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tags/tag3.xml" ContentType="application/vnd.openxmlformats-officedocument.presentationml.tags+xml"/>
  <Override PartName="/ppt/tags/tag4.xml" ContentType="application/vnd.openxmlformats-officedocument.presentationml.tags+xml"/>
  <Override PartName="/ppt/notesSlides/notesSlide5.xml" ContentType="application/vnd.openxmlformats-officedocument.presentationml.notesSlide+xml"/>
  <Override PartName="/ppt/ink/ink13.xml" ContentType="application/inkml+xml"/>
  <Override PartName="/ppt/tags/tag5.xml" ContentType="application/vnd.openxmlformats-officedocument.presentationml.tags+xml"/>
  <Override PartName="/ppt/tags/tag6.xml" ContentType="application/vnd.openxmlformats-officedocument.presentationml.tags+xml"/>
  <Override PartName="/ppt/notesSlides/notesSlide6.xml" ContentType="application/vnd.openxmlformats-officedocument.presentationml.notesSlide+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0.xml" ContentType="application/inkml+xml"/>
  <Override PartName="/ppt/ink/ink31.xml" ContentType="application/inkml+xml"/>
  <Override PartName="/ppt/ink/ink32.xml" ContentType="application/inkml+xml"/>
  <Override PartName="/ppt/ink/ink33.xml" ContentType="application/inkml+xml"/>
  <Override PartName="/ppt/ink/ink34.xml" ContentType="application/inkml+xml"/>
  <Override PartName="/ppt/ink/ink35.xml" ContentType="application/inkml+xml"/>
  <Override PartName="/ppt/ink/ink36.xml" ContentType="application/inkml+xml"/>
  <Override PartName="/ppt/ink/ink37.xml" ContentType="application/inkml+xml"/>
  <Override PartName="/ppt/ink/ink38.xml" ContentType="application/inkml+xml"/>
  <Override PartName="/ppt/ink/ink39.xml" ContentType="application/inkml+xml"/>
  <Override PartName="/ppt/ink/ink40.xml" ContentType="application/inkml+xml"/>
  <Override PartName="/ppt/ink/ink41.xml" ContentType="application/inkml+xml"/>
  <Override PartName="/ppt/ink/ink42.xml" ContentType="application/inkml+xml"/>
  <Override PartName="/ppt/ink/ink43.xml" ContentType="application/inkml+xml"/>
  <Override PartName="/ppt/ink/ink44.xml" ContentType="application/inkml+xml"/>
  <Override PartName="/ppt/ink/ink45.xml" ContentType="application/inkml+xml"/>
  <Override PartName="/ppt/ink/ink46.xml" ContentType="application/inkml+xml"/>
  <Override PartName="/ppt/ink/ink47.xml" ContentType="application/inkml+xml"/>
  <Override PartName="/ppt/ink/ink48.xml" ContentType="application/inkml+xml"/>
  <Override PartName="/ppt/ink/ink49.xml" ContentType="application/inkml+xml"/>
  <Override PartName="/ppt/ink/ink50.xml" ContentType="application/inkml+xml"/>
  <Override PartName="/ppt/ink/ink51.xml" ContentType="application/inkml+xml"/>
  <Override PartName="/ppt/ink/ink52.xml" ContentType="application/inkml+xml"/>
  <Override PartName="/ppt/ink/ink53.xml" ContentType="application/inkml+xml"/>
  <Override PartName="/ppt/ink/ink54.xml" ContentType="application/inkml+xml"/>
  <Override PartName="/ppt/ink/ink55.xml" ContentType="application/inkml+xml"/>
  <Override PartName="/ppt/ink/ink56.xml" ContentType="application/inkml+xml"/>
  <Override PartName="/ppt/ink/ink57.xml" ContentType="application/inkml+xml"/>
  <Override PartName="/ppt/ink/ink58.xml" ContentType="application/inkml+xml"/>
  <Override PartName="/ppt/ink/ink59.xml" ContentType="application/inkml+xml"/>
  <Override PartName="/ppt/ink/ink60.xml" ContentType="application/inkml+xml"/>
  <Override PartName="/ppt/ink/ink61.xml" ContentType="application/inkml+xml"/>
  <Override PartName="/ppt/ink/ink62.xml" ContentType="application/inkml+xml"/>
  <Override PartName="/ppt/ink/ink63.xml" ContentType="application/inkml+xml"/>
  <Override PartName="/ppt/ink/ink64.xml" ContentType="application/inkml+xml"/>
  <Override PartName="/ppt/ink/ink65.xml" ContentType="application/inkml+xml"/>
  <Override PartName="/ppt/ink/ink66.xml" ContentType="application/inkml+xml"/>
  <Override PartName="/ppt/ink/ink67.xml" ContentType="application/inkml+xml"/>
  <Override PartName="/ppt/ink/ink68.xml" ContentType="application/inkml+xml"/>
  <Override PartName="/ppt/ink/ink69.xml" ContentType="application/inkml+xml"/>
  <Override PartName="/ppt/ink/ink70.xml" ContentType="application/inkml+xml"/>
  <Override PartName="/ppt/ink/ink71.xml" ContentType="application/inkml+xml"/>
  <Override PartName="/ppt/ink/ink72.xml" ContentType="application/inkml+xml"/>
  <Override PartName="/ppt/ink/ink73.xml" ContentType="application/inkml+xml"/>
  <Override PartName="/ppt/ink/ink74.xml" ContentType="application/inkml+xml"/>
  <Override PartName="/ppt/ink/ink75.xml" ContentType="application/inkml+xml"/>
  <Override PartName="/ppt/ink/ink76.xml" ContentType="application/inkml+xml"/>
  <Override PartName="/ppt/ink/ink77.xml" ContentType="application/inkml+xml"/>
  <Override PartName="/ppt/ink/ink78.xml" ContentType="application/inkml+xml"/>
  <Override PartName="/ppt/ink/ink79.xml" ContentType="application/inkml+xml"/>
  <Override PartName="/ppt/ink/ink80.xml" ContentType="application/inkml+xml"/>
  <Override PartName="/ppt/ink/ink81.xml" ContentType="application/inkml+xml"/>
  <Override PartName="/ppt/ink/ink82.xml" ContentType="application/inkml+xml"/>
  <Override PartName="/ppt/ink/ink83.xml" ContentType="application/inkml+xml"/>
  <Override PartName="/ppt/ink/ink84.xml" ContentType="application/inkml+xml"/>
  <Override PartName="/ppt/ink/ink85.xml" ContentType="application/inkml+xml"/>
  <Override PartName="/ppt/ink/ink86.xml" ContentType="application/inkml+xml"/>
  <Override PartName="/ppt/ink/ink87.xml" ContentType="application/inkml+xml"/>
  <Override PartName="/ppt/ink/ink88.xml" ContentType="application/inkml+xml"/>
  <Override PartName="/ppt/ink/ink89.xml" ContentType="application/inkml+xml"/>
  <Override PartName="/ppt/ink/ink90.xml" ContentType="application/inkml+xml"/>
  <Override PartName="/ppt/ink/ink91.xml" ContentType="application/inkml+xml"/>
  <Override PartName="/ppt/ink/ink92.xml" ContentType="application/inkml+xml"/>
  <Override PartName="/ppt/ink/ink93.xml" ContentType="application/inkml+xml"/>
  <Override PartName="/ppt/ink/ink94.xml" ContentType="application/inkml+xml"/>
  <Override PartName="/ppt/ink/ink95.xml" ContentType="application/inkml+xml"/>
  <Override PartName="/ppt/ink/ink96.xml" ContentType="application/inkml+xml"/>
  <Override PartName="/ppt/ink/ink97.xml" ContentType="application/inkml+xml"/>
  <Override PartName="/ppt/ink/ink98.xml" ContentType="application/inkml+xml"/>
  <Override PartName="/ppt/ink/ink99.xml" ContentType="application/inkml+xml"/>
  <Override PartName="/ppt/ink/ink100.xml" ContentType="application/inkml+xml"/>
  <Override PartName="/ppt/ink/ink101.xml" ContentType="application/inkml+xml"/>
  <Override PartName="/ppt/ink/ink102.xml" ContentType="application/inkml+xml"/>
  <Override PartName="/ppt/ink/ink103.xml" ContentType="application/inkml+xml"/>
  <Override PartName="/ppt/ink/ink104.xml" ContentType="application/inkml+xml"/>
  <Override PartName="/ppt/ink/ink105.xml" ContentType="application/inkml+xml"/>
  <Override PartName="/ppt/ink/ink106.xml" ContentType="application/inkml+xml"/>
  <Override PartName="/ppt/ink/ink107.xml" ContentType="application/inkml+xml"/>
  <Override PartName="/ppt/ink/ink108.xml" ContentType="application/inkml+xml"/>
  <Override PartName="/ppt/ink/ink109.xml" ContentType="application/inkml+xml"/>
  <Override PartName="/ppt/ink/ink110.xml" ContentType="application/inkml+xml"/>
  <Override PartName="/ppt/ink/ink111.xml" ContentType="application/inkml+xml"/>
  <Override PartName="/ppt/ink/ink112.xml" ContentType="application/inkml+xml"/>
  <Override PartName="/ppt/ink/ink113.xml" ContentType="application/inkml+xml"/>
  <Override PartName="/ppt/ink/ink114.xml" ContentType="application/inkml+xml"/>
  <Override PartName="/ppt/ink/ink115.xml" ContentType="application/inkml+xml"/>
  <Override PartName="/ppt/ink/ink116.xml" ContentType="application/inkml+xml"/>
  <Override PartName="/ppt/ink/ink117.xml" ContentType="application/inkml+xml"/>
  <Override PartName="/ppt/ink/ink118.xml" ContentType="application/inkml+xml"/>
  <Override PartName="/ppt/ink/ink119.xml" ContentType="application/inkml+xml"/>
  <Override PartName="/ppt/ink/ink120.xml" ContentType="application/inkml+xml"/>
  <Override PartName="/ppt/ink/ink121.xml" ContentType="application/inkml+xml"/>
  <Override PartName="/ppt/ink/ink122.xml" ContentType="application/inkml+xml"/>
  <Override PartName="/ppt/ink/ink123.xml" ContentType="application/inkml+xml"/>
  <Override PartName="/ppt/ink/ink124.xml" ContentType="application/inkml+xml"/>
  <Override PartName="/ppt/ink/ink125.xml" ContentType="application/inkml+xml"/>
  <Override PartName="/ppt/ink/ink126.xml" ContentType="application/inkml+xml"/>
  <Override PartName="/ppt/ink/ink127.xml" ContentType="application/inkml+xml"/>
  <Override PartName="/ppt/ink/ink128.xml" ContentType="application/inkml+xml"/>
  <Override PartName="/ppt/ink/ink129.xml" ContentType="application/inkml+xml"/>
  <Override PartName="/ppt/ink/ink130.xml" ContentType="application/inkml+xml"/>
  <Override PartName="/ppt/ink/ink131.xml" ContentType="application/inkml+xml"/>
  <Override PartName="/ppt/ink/ink132.xml" ContentType="application/inkml+xml"/>
  <Override PartName="/ppt/ink/ink133.xml" ContentType="application/inkml+xml"/>
  <Override PartName="/ppt/ink/ink134.xml" ContentType="application/inkml+xml"/>
  <Override PartName="/ppt/ink/ink135.xml" ContentType="application/inkml+xml"/>
  <Override PartName="/ppt/ink/ink136.xml" ContentType="application/inkml+xml"/>
  <Override PartName="/ppt/ink/ink137.xml" ContentType="application/inkml+xml"/>
  <Override PartName="/ppt/ink/ink138.xml" ContentType="application/inkml+xml"/>
  <Override PartName="/ppt/ink/ink139.xml" ContentType="application/inkml+xml"/>
  <Override PartName="/ppt/ink/ink140.xml" ContentType="application/inkml+xml"/>
  <Override PartName="/ppt/tags/tag7.xml" ContentType="application/vnd.openxmlformats-officedocument.presentationml.tags+xml"/>
  <Override PartName="/ppt/tags/tag8.xml" ContentType="application/vnd.openxmlformats-officedocument.presentationml.tags+xml"/>
  <Override PartName="/ppt/notesSlides/notesSlide7.xml" ContentType="application/vnd.openxmlformats-officedocument.presentationml.notesSlide+xml"/>
  <Override PartName="/ppt/ink/ink141.xml" ContentType="application/inkml+xml"/>
  <Override PartName="/ppt/ink/ink142.xml" ContentType="application/inkml+xml"/>
  <Override PartName="/ppt/ink/ink143.xml" ContentType="application/inkml+xml"/>
  <Override PartName="/ppt/ink/ink144.xml" ContentType="application/inkml+xml"/>
  <Override PartName="/ppt/ink/ink145.xml" ContentType="application/inkml+xml"/>
  <Override PartName="/ppt/ink/ink146.xml" ContentType="application/inkml+xml"/>
  <Override PartName="/ppt/ink/ink147.xml" ContentType="application/inkml+xml"/>
  <Override PartName="/ppt/ink/ink148.xml" ContentType="application/inkml+xml"/>
  <Override PartName="/ppt/ink/ink149.xml" ContentType="application/inkml+xml"/>
  <Override PartName="/ppt/ink/ink150.xml" ContentType="application/inkml+xml"/>
  <Override PartName="/ppt/ink/ink151.xml" ContentType="application/inkml+xml"/>
  <Override PartName="/ppt/ink/ink152.xml" ContentType="application/inkml+xml"/>
  <Override PartName="/ppt/ink/ink153.xml" ContentType="application/inkml+xml"/>
  <Override PartName="/ppt/ink/ink154.xml" ContentType="application/inkml+xml"/>
  <Override PartName="/ppt/ink/ink155.xml" ContentType="application/inkml+xml"/>
  <Override PartName="/ppt/ink/ink156.xml" ContentType="application/inkml+xml"/>
  <Override PartName="/ppt/ink/ink157.xml" ContentType="application/inkml+xml"/>
  <Override PartName="/ppt/ink/ink158.xml" ContentType="application/inkml+xml"/>
  <Override PartName="/ppt/ink/ink159.xml" ContentType="application/inkml+xml"/>
  <Override PartName="/ppt/ink/ink160.xml" ContentType="application/inkml+xml"/>
  <Override PartName="/ppt/ink/ink161.xml" ContentType="application/inkml+xml"/>
  <Override PartName="/ppt/ink/ink162.xml" ContentType="application/inkml+xml"/>
  <Override PartName="/ppt/ink/ink163.xml" ContentType="application/inkml+xml"/>
  <Override PartName="/ppt/ink/ink164.xml" ContentType="application/inkml+xml"/>
  <Override PartName="/ppt/ink/ink165.xml" ContentType="application/inkml+xml"/>
  <Override PartName="/ppt/ink/ink166.xml" ContentType="application/inkml+xml"/>
  <Override PartName="/ppt/ink/ink167.xml" ContentType="application/inkml+xml"/>
  <Override PartName="/ppt/ink/ink168.xml" ContentType="application/inkml+xml"/>
  <Override PartName="/ppt/ink/ink169.xml" ContentType="application/inkml+xml"/>
  <Override PartName="/ppt/ink/ink170.xml" ContentType="application/inkml+xml"/>
  <Override PartName="/ppt/ink/ink171.xml" ContentType="application/inkml+xml"/>
  <Override PartName="/ppt/ink/ink172.xml" ContentType="application/inkml+xml"/>
  <Override PartName="/ppt/ink/ink173.xml" ContentType="application/inkml+xml"/>
  <Override PartName="/ppt/ink/ink174.xml" ContentType="application/inkml+xml"/>
  <Override PartName="/ppt/ink/ink175.xml" ContentType="application/inkml+xml"/>
  <Override PartName="/ppt/ink/ink176.xml" ContentType="application/inkml+xml"/>
  <Override PartName="/ppt/ink/ink177.xml" ContentType="application/inkml+xml"/>
  <Override PartName="/ppt/ink/ink178.xml" ContentType="application/inkml+xml"/>
  <Override PartName="/ppt/ink/ink179.xml" ContentType="application/inkml+xml"/>
  <Override PartName="/ppt/ink/ink180.xml" ContentType="application/inkml+xml"/>
  <Override PartName="/ppt/ink/ink181.xml" ContentType="application/inkml+xml"/>
  <Override PartName="/ppt/ink/ink182.xml" ContentType="application/inkml+xml"/>
  <Override PartName="/ppt/ink/ink183.xml" ContentType="application/inkml+xml"/>
  <Override PartName="/ppt/ink/ink184.xml" ContentType="application/inkml+xml"/>
  <Override PartName="/ppt/ink/ink185.xml" ContentType="application/inkml+xml"/>
  <Override PartName="/ppt/ink/ink186.xml" ContentType="application/inkml+xml"/>
  <Override PartName="/ppt/ink/ink187.xml" ContentType="application/inkml+xml"/>
  <Override PartName="/ppt/ink/ink188.xml" ContentType="application/inkml+xml"/>
  <Override PartName="/ppt/ink/ink189.xml" ContentType="application/inkml+xml"/>
  <Override PartName="/ppt/ink/ink190.xml" ContentType="application/inkml+xml"/>
  <Override PartName="/ppt/ink/ink191.xml" ContentType="application/inkml+xml"/>
  <Override PartName="/ppt/ink/ink192.xml" ContentType="application/inkml+xml"/>
  <Override PartName="/ppt/ink/ink193.xml" ContentType="application/inkml+xml"/>
  <Override PartName="/ppt/ink/ink194.xml" ContentType="application/inkml+xml"/>
  <Override PartName="/ppt/ink/ink195.xml" ContentType="application/inkml+xml"/>
  <Override PartName="/ppt/ink/ink196.xml" ContentType="application/inkml+xml"/>
  <Override PartName="/ppt/ink/ink197.xml" ContentType="application/inkml+xml"/>
  <Override PartName="/ppt/ink/ink198.xml" ContentType="application/inkml+xml"/>
  <Override PartName="/ppt/ink/ink199.xml" ContentType="application/inkml+xml"/>
  <Override PartName="/ppt/ink/ink200.xml" ContentType="application/inkml+xml"/>
  <Override PartName="/ppt/ink/ink201.xml" ContentType="application/inkml+xml"/>
  <Override PartName="/ppt/ink/ink202.xml" ContentType="application/inkml+xml"/>
  <Override PartName="/ppt/ink/ink203.xml" ContentType="application/inkml+xml"/>
  <Override PartName="/ppt/ink/ink204.xml" ContentType="application/inkml+xml"/>
  <Override PartName="/ppt/ink/ink205.xml" ContentType="application/inkml+xml"/>
  <Override PartName="/ppt/ink/ink206.xml" ContentType="application/inkml+xml"/>
  <Override PartName="/ppt/ink/ink207.xml" ContentType="application/inkml+xml"/>
  <Override PartName="/ppt/ink/ink208.xml" ContentType="application/inkml+xml"/>
  <Override PartName="/ppt/ink/ink209.xml" ContentType="application/inkml+xml"/>
  <Override PartName="/ppt/ink/ink210.xml" ContentType="application/inkml+xml"/>
  <Override PartName="/ppt/ink/ink211.xml" ContentType="application/inkml+xml"/>
  <Override PartName="/ppt/ink/ink212.xml" ContentType="application/inkml+xml"/>
  <Override PartName="/ppt/ink/ink213.xml" ContentType="application/inkml+xml"/>
  <Override PartName="/ppt/ink/ink214.xml" ContentType="application/inkml+xml"/>
  <Override PartName="/ppt/ink/ink215.xml" ContentType="application/inkml+xml"/>
  <Override PartName="/ppt/ink/ink216.xml" ContentType="application/inkml+xml"/>
  <Override PartName="/ppt/ink/ink217.xml" ContentType="application/inkml+xml"/>
  <Override PartName="/ppt/ink/ink218.xml" ContentType="application/inkml+xml"/>
  <Override PartName="/ppt/ink/ink219.xml" ContentType="application/inkml+xml"/>
  <Override PartName="/ppt/ink/ink220.xml" ContentType="application/inkml+xml"/>
  <Override PartName="/ppt/ink/ink221.xml" ContentType="application/inkml+xml"/>
  <Override PartName="/ppt/ink/ink222.xml" ContentType="application/inkml+xml"/>
  <Override PartName="/ppt/ink/ink223.xml" ContentType="application/inkml+xml"/>
  <Override PartName="/ppt/ink/ink224.xml" ContentType="application/inkml+xml"/>
  <Override PartName="/ppt/ink/ink225.xml" ContentType="application/inkml+xml"/>
  <Override PartName="/ppt/ink/ink226.xml" ContentType="application/inkml+xml"/>
  <Override PartName="/ppt/ink/ink227.xml" ContentType="application/inkml+xml"/>
  <Override PartName="/ppt/ink/ink228.xml" ContentType="application/inkml+xml"/>
  <Override PartName="/ppt/ink/ink229.xml" ContentType="application/inkml+xml"/>
  <Override PartName="/ppt/ink/ink230.xml" ContentType="application/inkml+xml"/>
  <Override PartName="/ppt/ink/ink231.xml" ContentType="application/inkml+xml"/>
  <Override PartName="/ppt/ink/ink232.xml" ContentType="application/inkml+xml"/>
  <Override PartName="/ppt/ink/ink233.xml" ContentType="application/inkml+xml"/>
  <Override PartName="/ppt/ink/ink234.xml" ContentType="application/inkml+xml"/>
  <Override PartName="/ppt/ink/ink235.xml" ContentType="application/inkml+xml"/>
  <Override PartName="/ppt/ink/ink236.xml" ContentType="application/inkml+xml"/>
  <Override PartName="/ppt/ink/ink237.xml" ContentType="application/inkml+xml"/>
  <Override PartName="/ppt/ink/ink238.xml" ContentType="application/inkml+xml"/>
  <Override PartName="/ppt/ink/ink239.xml" ContentType="application/inkml+xml"/>
  <Override PartName="/ppt/ink/ink240.xml" ContentType="application/inkml+xml"/>
  <Override PartName="/ppt/ink/ink241.xml" ContentType="application/inkml+xml"/>
  <Override PartName="/ppt/ink/ink242.xml" ContentType="application/inkml+xml"/>
  <Override PartName="/ppt/ink/ink243.xml" ContentType="application/inkml+xml"/>
  <Override PartName="/ppt/ink/ink244.xml" ContentType="application/inkml+xml"/>
  <Override PartName="/ppt/ink/ink245.xml" ContentType="application/inkml+xml"/>
  <Override PartName="/ppt/ink/ink246.xml" ContentType="application/inkml+xml"/>
  <Override PartName="/ppt/ink/ink247.xml" ContentType="application/inkml+xml"/>
  <Override PartName="/ppt/ink/ink248.xml" ContentType="application/inkml+xml"/>
  <Override PartName="/ppt/ink/ink249.xml" ContentType="application/inkml+xml"/>
  <Override PartName="/ppt/ink/ink250.xml" ContentType="application/inkml+xml"/>
  <Override PartName="/ppt/ink/ink251.xml" ContentType="application/inkml+xml"/>
  <Override PartName="/ppt/ink/ink252.xml" ContentType="application/inkml+xml"/>
  <Override PartName="/ppt/ink/ink253.xml" ContentType="application/inkml+xml"/>
  <Override PartName="/ppt/ink/ink254.xml" ContentType="application/inkml+xml"/>
  <Override PartName="/ppt/ink/ink255.xml" ContentType="application/inkml+xml"/>
  <Override PartName="/ppt/ink/ink256.xml" ContentType="application/inkml+xml"/>
  <Override PartName="/ppt/ink/ink257.xml" ContentType="application/inkml+xml"/>
  <Override PartName="/ppt/ink/ink258.xml" ContentType="application/inkml+xml"/>
  <Override PartName="/ppt/ink/ink259.xml" ContentType="application/inkml+xml"/>
  <Override PartName="/ppt/ink/ink260.xml" ContentType="application/inkml+xml"/>
  <Override PartName="/ppt/ink/ink261.xml" ContentType="application/inkml+xml"/>
  <Override PartName="/ppt/ink/ink262.xml" ContentType="application/inkml+xml"/>
  <Override PartName="/ppt/ink/ink263.xml" ContentType="application/inkml+xml"/>
  <Override PartName="/ppt/ink/ink264.xml" ContentType="application/inkml+xml"/>
  <Override PartName="/ppt/ink/ink265.xml" ContentType="application/inkml+xml"/>
  <Override PartName="/ppt/ink/ink266.xml" ContentType="application/inkml+xml"/>
  <Override PartName="/ppt/ink/ink267.xml" ContentType="application/inkml+xml"/>
  <Override PartName="/ppt/ink/ink268.xml" ContentType="application/inkml+xml"/>
  <Override PartName="/ppt/ink/ink269.xml" ContentType="application/inkml+xml"/>
  <Override PartName="/ppt/ink/ink270.xml" ContentType="application/inkml+xml"/>
  <Override PartName="/ppt/ink/ink271.xml" ContentType="application/inkml+xml"/>
  <Override PartName="/ppt/ink/ink272.xml" ContentType="application/inkml+xml"/>
  <Override PartName="/ppt/notesSlides/notesSlide8.xml" ContentType="application/vnd.openxmlformats-officedocument.presentationml.notesSlide+xml"/>
  <Override PartName="/ppt/ink/ink273.xml" ContentType="application/inkml+xml"/>
  <Override PartName="/ppt/ink/ink274.xml" ContentType="application/inkml+xml"/>
  <Override PartName="/ppt/ink/ink275.xml" ContentType="application/inkml+xml"/>
  <Override PartName="/ppt/ink/ink276.xml" ContentType="application/inkml+xml"/>
  <Override PartName="/ppt/ink/ink277.xml" ContentType="application/inkml+xml"/>
  <Override PartName="/ppt/ink/ink278.xml" ContentType="application/inkml+xml"/>
  <Override PartName="/ppt/ink/ink279.xml" ContentType="application/inkml+xml"/>
  <Override PartName="/ppt/ink/ink280.xml" ContentType="application/inkml+xml"/>
  <Override PartName="/ppt/ink/ink281.xml" ContentType="application/inkml+xml"/>
  <Override PartName="/ppt/ink/ink282.xml" ContentType="application/inkml+xml"/>
  <Override PartName="/ppt/ink/ink283.xml" ContentType="application/inkml+xml"/>
  <Override PartName="/ppt/ink/ink284.xml" ContentType="application/inkml+xml"/>
  <Override PartName="/ppt/ink/ink285.xml" ContentType="application/inkml+xml"/>
  <Override PartName="/ppt/ink/ink286.xml" ContentType="application/inkml+xml"/>
  <Override PartName="/ppt/ink/ink287.xml" ContentType="application/inkml+xml"/>
  <Override PartName="/ppt/ink/ink288.xml" ContentType="application/inkml+xml"/>
  <Override PartName="/ppt/ink/ink289.xml" ContentType="application/inkml+xml"/>
  <Override PartName="/ppt/ink/ink290.xml" ContentType="application/inkml+xml"/>
  <Override PartName="/ppt/ink/ink291.xml" ContentType="application/inkml+xml"/>
  <Override PartName="/ppt/ink/ink292.xml" ContentType="application/inkml+xml"/>
  <Override PartName="/ppt/ink/ink293.xml" ContentType="application/inkml+xml"/>
  <Override PartName="/ppt/ink/ink294.xml" ContentType="application/inkml+xml"/>
  <Override PartName="/ppt/ink/ink295.xml" ContentType="application/inkml+xml"/>
  <Override PartName="/ppt/ink/ink296.xml" ContentType="application/inkml+xml"/>
  <Override PartName="/ppt/ink/ink297.xml" ContentType="application/inkml+xml"/>
  <Override PartName="/ppt/ink/ink298.xml" ContentType="application/inkml+xml"/>
  <Override PartName="/ppt/ink/ink299.xml" ContentType="application/inkml+xml"/>
  <Override PartName="/ppt/ink/ink300.xml" ContentType="application/inkml+xml"/>
  <Override PartName="/ppt/ink/ink301.xml" ContentType="application/inkml+xml"/>
  <Override PartName="/ppt/ink/ink302.xml" ContentType="application/inkml+xml"/>
  <Override PartName="/ppt/ink/ink303.xml" ContentType="application/inkml+xml"/>
  <Override PartName="/ppt/ink/ink304.xml" ContentType="application/inkml+xml"/>
  <Override PartName="/ppt/ink/ink305.xml" ContentType="application/inkml+xml"/>
  <Override PartName="/ppt/ink/ink306.xml" ContentType="application/inkml+xml"/>
  <Override PartName="/ppt/ink/ink307.xml" ContentType="application/inkml+xml"/>
  <Override PartName="/ppt/ink/ink308.xml" ContentType="application/inkml+xml"/>
  <Override PartName="/ppt/ink/ink309.xml" ContentType="application/inkml+xml"/>
  <Override PartName="/ppt/ink/ink310.xml" ContentType="application/inkml+xml"/>
  <Override PartName="/ppt/ink/ink311.xml" ContentType="application/inkml+xml"/>
  <Override PartName="/ppt/ink/ink312.xml" ContentType="application/inkml+xml"/>
  <Override PartName="/ppt/ink/ink313.xml" ContentType="application/inkml+xml"/>
  <Override PartName="/ppt/ink/ink314.xml" ContentType="application/inkml+xml"/>
  <Override PartName="/ppt/ink/ink315.xml" ContentType="application/inkml+xml"/>
  <Override PartName="/ppt/ink/ink316.xml" ContentType="application/inkml+xml"/>
  <Override PartName="/ppt/ink/ink317.xml" ContentType="application/inkml+xml"/>
  <Override PartName="/ppt/ink/ink318.xml" ContentType="application/inkml+xml"/>
  <Override PartName="/ppt/ink/ink319.xml" ContentType="application/inkml+xml"/>
  <Override PartName="/ppt/ink/ink320.xml" ContentType="application/inkml+xml"/>
  <Override PartName="/ppt/ink/ink321.xml" ContentType="application/inkml+xml"/>
  <Override PartName="/ppt/ink/ink322.xml" ContentType="application/inkml+xml"/>
  <Override PartName="/ppt/ink/ink323.xml" ContentType="application/inkml+xml"/>
  <Override PartName="/ppt/ink/ink324.xml" ContentType="application/inkml+xml"/>
  <Override PartName="/ppt/ink/ink325.xml" ContentType="application/inkml+xml"/>
  <Override PartName="/ppt/ink/ink326.xml" ContentType="application/inkml+xml"/>
  <Override PartName="/ppt/ink/ink327.xml" ContentType="application/inkml+xml"/>
  <Override PartName="/ppt/ink/ink328.xml" ContentType="application/inkml+xml"/>
  <Override PartName="/ppt/notesSlides/notesSlide9.xml" ContentType="application/vnd.openxmlformats-officedocument.presentationml.notesSlide+xml"/>
  <Override PartName="/ppt/ink/ink329.xml" ContentType="application/inkml+xml"/>
  <Override PartName="/ppt/ink/ink330.xml" ContentType="application/inkml+xml"/>
  <Override PartName="/ppt/ink/ink331.xml" ContentType="application/inkml+xml"/>
  <Override PartName="/ppt/ink/ink332.xml" ContentType="application/inkml+xml"/>
  <Override PartName="/ppt/tags/tag9.xml" ContentType="application/vnd.openxmlformats-officedocument.presentationml.tags+xml"/>
  <Override PartName="/ppt/tags/tag10.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4241" r:id="rId1"/>
  </p:sldMasterIdLst>
  <p:notesMasterIdLst>
    <p:notesMasterId r:id="rId210"/>
  </p:notesMasterIdLst>
  <p:handoutMasterIdLst>
    <p:handoutMasterId r:id="rId211"/>
  </p:handoutMasterIdLst>
  <p:sldIdLst>
    <p:sldId id="356" r:id="rId2"/>
    <p:sldId id="357" r:id="rId3"/>
    <p:sldId id="359" r:id="rId4"/>
    <p:sldId id="570" r:id="rId5"/>
    <p:sldId id="360" r:id="rId6"/>
    <p:sldId id="361" r:id="rId7"/>
    <p:sldId id="362" r:id="rId8"/>
    <p:sldId id="376" r:id="rId9"/>
    <p:sldId id="377" r:id="rId10"/>
    <p:sldId id="569" r:id="rId11"/>
    <p:sldId id="363" r:id="rId12"/>
    <p:sldId id="387" r:id="rId13"/>
    <p:sldId id="368" r:id="rId14"/>
    <p:sldId id="386" r:id="rId15"/>
    <p:sldId id="369" r:id="rId16"/>
    <p:sldId id="364" r:id="rId17"/>
    <p:sldId id="365" r:id="rId18"/>
    <p:sldId id="366" r:id="rId19"/>
    <p:sldId id="367" r:id="rId20"/>
    <p:sldId id="374" r:id="rId21"/>
    <p:sldId id="380" r:id="rId22"/>
    <p:sldId id="370" r:id="rId23"/>
    <p:sldId id="371" r:id="rId24"/>
    <p:sldId id="372" r:id="rId25"/>
    <p:sldId id="571" r:id="rId26"/>
    <p:sldId id="373" r:id="rId27"/>
    <p:sldId id="375" r:id="rId28"/>
    <p:sldId id="382" r:id="rId29"/>
    <p:sldId id="383" r:id="rId30"/>
    <p:sldId id="384" r:id="rId31"/>
    <p:sldId id="385" r:id="rId32"/>
    <p:sldId id="388" r:id="rId33"/>
    <p:sldId id="389" r:id="rId34"/>
    <p:sldId id="390" r:id="rId35"/>
    <p:sldId id="391" r:id="rId36"/>
    <p:sldId id="421" r:id="rId37"/>
    <p:sldId id="395" r:id="rId38"/>
    <p:sldId id="392" r:id="rId39"/>
    <p:sldId id="393" r:id="rId40"/>
    <p:sldId id="394" r:id="rId41"/>
    <p:sldId id="396" r:id="rId42"/>
    <p:sldId id="397" r:id="rId43"/>
    <p:sldId id="398" r:id="rId44"/>
    <p:sldId id="399" r:id="rId45"/>
    <p:sldId id="400" r:id="rId46"/>
    <p:sldId id="401" r:id="rId47"/>
    <p:sldId id="402" r:id="rId48"/>
    <p:sldId id="403" r:id="rId49"/>
    <p:sldId id="404" r:id="rId50"/>
    <p:sldId id="405" r:id="rId51"/>
    <p:sldId id="406" r:id="rId52"/>
    <p:sldId id="407" r:id="rId53"/>
    <p:sldId id="408" r:id="rId54"/>
    <p:sldId id="409" r:id="rId55"/>
    <p:sldId id="411" r:id="rId56"/>
    <p:sldId id="412" r:id="rId57"/>
    <p:sldId id="413" r:id="rId58"/>
    <p:sldId id="410" r:id="rId59"/>
    <p:sldId id="414" r:id="rId60"/>
    <p:sldId id="415" r:id="rId61"/>
    <p:sldId id="416" r:id="rId62"/>
    <p:sldId id="417" r:id="rId63"/>
    <p:sldId id="418" r:id="rId64"/>
    <p:sldId id="419" r:id="rId65"/>
    <p:sldId id="420" r:id="rId66"/>
    <p:sldId id="422" r:id="rId67"/>
    <p:sldId id="423" r:id="rId68"/>
    <p:sldId id="424" r:id="rId69"/>
    <p:sldId id="425" r:id="rId70"/>
    <p:sldId id="426" r:id="rId71"/>
    <p:sldId id="427" r:id="rId72"/>
    <p:sldId id="428" r:id="rId73"/>
    <p:sldId id="429" r:id="rId74"/>
    <p:sldId id="430" r:id="rId75"/>
    <p:sldId id="431" r:id="rId76"/>
    <p:sldId id="432" r:id="rId77"/>
    <p:sldId id="433" r:id="rId78"/>
    <p:sldId id="434" r:id="rId79"/>
    <p:sldId id="435" r:id="rId80"/>
    <p:sldId id="436" r:id="rId81"/>
    <p:sldId id="438" r:id="rId82"/>
    <p:sldId id="439" r:id="rId83"/>
    <p:sldId id="440" r:id="rId84"/>
    <p:sldId id="441" r:id="rId85"/>
    <p:sldId id="442" r:id="rId86"/>
    <p:sldId id="443" r:id="rId87"/>
    <p:sldId id="444" r:id="rId88"/>
    <p:sldId id="445" r:id="rId89"/>
    <p:sldId id="446" r:id="rId90"/>
    <p:sldId id="447" r:id="rId91"/>
    <p:sldId id="448" r:id="rId92"/>
    <p:sldId id="449" r:id="rId93"/>
    <p:sldId id="450" r:id="rId94"/>
    <p:sldId id="451" r:id="rId95"/>
    <p:sldId id="452" r:id="rId96"/>
    <p:sldId id="453" r:id="rId97"/>
    <p:sldId id="454" r:id="rId98"/>
    <p:sldId id="455" r:id="rId99"/>
    <p:sldId id="458" r:id="rId100"/>
    <p:sldId id="456" r:id="rId101"/>
    <p:sldId id="459" r:id="rId102"/>
    <p:sldId id="460" r:id="rId103"/>
    <p:sldId id="572" r:id="rId104"/>
    <p:sldId id="573" r:id="rId105"/>
    <p:sldId id="457" r:id="rId106"/>
    <p:sldId id="462" r:id="rId107"/>
    <p:sldId id="463" r:id="rId108"/>
    <p:sldId id="464" r:id="rId109"/>
    <p:sldId id="465" r:id="rId110"/>
    <p:sldId id="466" r:id="rId111"/>
    <p:sldId id="467" r:id="rId112"/>
    <p:sldId id="582" r:id="rId113"/>
    <p:sldId id="468" r:id="rId114"/>
    <p:sldId id="469" r:id="rId115"/>
    <p:sldId id="470" r:id="rId116"/>
    <p:sldId id="471" r:id="rId117"/>
    <p:sldId id="473" r:id="rId118"/>
    <p:sldId id="474" r:id="rId119"/>
    <p:sldId id="475" r:id="rId120"/>
    <p:sldId id="476" r:id="rId121"/>
    <p:sldId id="477" r:id="rId122"/>
    <p:sldId id="478" r:id="rId123"/>
    <p:sldId id="479" r:id="rId124"/>
    <p:sldId id="574" r:id="rId125"/>
    <p:sldId id="575" r:id="rId126"/>
    <p:sldId id="576" r:id="rId127"/>
    <p:sldId id="578" r:id="rId128"/>
    <p:sldId id="579" r:id="rId129"/>
    <p:sldId id="580" r:id="rId130"/>
    <p:sldId id="480" r:id="rId131"/>
    <p:sldId id="481" r:id="rId132"/>
    <p:sldId id="482" r:id="rId133"/>
    <p:sldId id="483" r:id="rId134"/>
    <p:sldId id="484" r:id="rId135"/>
    <p:sldId id="485" r:id="rId136"/>
    <p:sldId id="486" r:id="rId137"/>
    <p:sldId id="487" r:id="rId138"/>
    <p:sldId id="488" r:id="rId139"/>
    <p:sldId id="489" r:id="rId140"/>
    <p:sldId id="490" r:id="rId141"/>
    <p:sldId id="491" r:id="rId142"/>
    <p:sldId id="492" r:id="rId143"/>
    <p:sldId id="493" r:id="rId144"/>
    <p:sldId id="494" r:id="rId145"/>
    <p:sldId id="495" r:id="rId146"/>
    <p:sldId id="496" r:id="rId147"/>
    <p:sldId id="497" r:id="rId148"/>
    <p:sldId id="498" r:id="rId149"/>
    <p:sldId id="499" r:id="rId150"/>
    <p:sldId id="500" r:id="rId151"/>
    <p:sldId id="501" r:id="rId152"/>
    <p:sldId id="581" r:id="rId153"/>
    <p:sldId id="584" r:id="rId154"/>
    <p:sldId id="585" r:id="rId155"/>
    <p:sldId id="586" r:id="rId156"/>
    <p:sldId id="502" r:id="rId157"/>
    <p:sldId id="503" r:id="rId158"/>
    <p:sldId id="504" r:id="rId159"/>
    <p:sldId id="507" r:id="rId160"/>
    <p:sldId id="505" r:id="rId161"/>
    <p:sldId id="506" r:id="rId162"/>
    <p:sldId id="508" r:id="rId163"/>
    <p:sldId id="589" r:id="rId164"/>
    <p:sldId id="587" r:id="rId165"/>
    <p:sldId id="590" r:id="rId166"/>
    <p:sldId id="592" r:id="rId167"/>
    <p:sldId id="593" r:id="rId168"/>
    <p:sldId id="594" r:id="rId169"/>
    <p:sldId id="595" r:id="rId170"/>
    <p:sldId id="591" r:id="rId171"/>
    <p:sldId id="509" r:id="rId172"/>
    <p:sldId id="510" r:id="rId173"/>
    <p:sldId id="511" r:id="rId174"/>
    <p:sldId id="512" r:id="rId175"/>
    <p:sldId id="513" r:id="rId176"/>
    <p:sldId id="514" r:id="rId177"/>
    <p:sldId id="515" r:id="rId178"/>
    <p:sldId id="516" r:id="rId179"/>
    <p:sldId id="517" r:id="rId180"/>
    <p:sldId id="518" r:id="rId181"/>
    <p:sldId id="519" r:id="rId182"/>
    <p:sldId id="520" r:id="rId183"/>
    <p:sldId id="521" r:id="rId184"/>
    <p:sldId id="522" r:id="rId185"/>
    <p:sldId id="523" r:id="rId186"/>
    <p:sldId id="524" r:id="rId187"/>
    <p:sldId id="525" r:id="rId188"/>
    <p:sldId id="526" r:id="rId189"/>
    <p:sldId id="527" r:id="rId190"/>
    <p:sldId id="528" r:id="rId191"/>
    <p:sldId id="596" r:id="rId192"/>
    <p:sldId id="534" r:id="rId193"/>
    <p:sldId id="535" r:id="rId194"/>
    <p:sldId id="536" r:id="rId195"/>
    <p:sldId id="532" r:id="rId196"/>
    <p:sldId id="529" r:id="rId197"/>
    <p:sldId id="583" r:id="rId198"/>
    <p:sldId id="599" r:id="rId199"/>
    <p:sldId id="610" r:id="rId200"/>
    <p:sldId id="611" r:id="rId201"/>
    <p:sldId id="600" r:id="rId202"/>
    <p:sldId id="601" r:id="rId203"/>
    <p:sldId id="609" r:id="rId204"/>
    <p:sldId id="602" r:id="rId205"/>
    <p:sldId id="603" r:id="rId206"/>
    <p:sldId id="606" r:id="rId207"/>
    <p:sldId id="607" r:id="rId208"/>
    <p:sldId id="608" r:id="rId209"/>
  </p:sldIdLst>
  <p:sldSz cx="9144000" cy="5143500" type="screen16x9"/>
  <p:notesSz cx="7010400" cy="9296400"/>
  <p:defaultTex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3072">
          <p15:clr>
            <a:srgbClr val="A4A3A4"/>
          </p15:clr>
        </p15:guide>
        <p15:guide id="2" pos="5577">
          <p15:clr>
            <a:srgbClr val="A4A3A4"/>
          </p15:clr>
        </p15:guide>
        <p15:guide id="3" pos="180">
          <p15:clr>
            <a:srgbClr val="A4A3A4"/>
          </p15:clr>
        </p15:guide>
        <p15:guide id="4" orient="horz" pos="167">
          <p15:clr>
            <a:srgbClr val="A4A3A4"/>
          </p15:clr>
        </p15:guide>
        <p15:guide id="5" pos="168">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eah, Beng Mey" initials="CBM" lastIdx="5" clrIdx="0">
    <p:extLst>
      <p:ext uri="{19B8F6BF-5375-455C-9EA6-DF929625EA0E}">
        <p15:presenceInfo xmlns:p15="http://schemas.microsoft.com/office/powerpoint/2012/main" userId="S-1-5-21-1971345664-1559653683-1850952788-208039" providerId="AD"/>
      </p:ext>
    </p:extLst>
  </p:cmAuthor>
  <p:cmAuthor id="2" name="R2, Arun" initials="RA" lastIdx="6" clrIdx="1">
    <p:extLst>
      <p:ext uri="{19B8F6BF-5375-455C-9EA6-DF929625EA0E}">
        <p15:presenceInfo xmlns:p15="http://schemas.microsoft.com/office/powerpoint/2012/main" userId="S::Arun_R2@dell.com::4ce6e22d-8e4c-415a-bdf8-c4b2db8d373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53" autoAdjust="0"/>
    <p:restoredTop sz="94434" autoAdjust="0"/>
  </p:normalViewPr>
  <p:slideViewPr>
    <p:cSldViewPr snapToGrid="0">
      <p:cViewPr varScale="1">
        <p:scale>
          <a:sx n="153" d="100"/>
          <a:sy n="153" d="100"/>
        </p:scale>
        <p:origin x="462" y="210"/>
      </p:cViewPr>
      <p:guideLst>
        <p:guide orient="horz" pos="3072"/>
        <p:guide pos="5577"/>
        <p:guide pos="180"/>
        <p:guide orient="horz" pos="167"/>
        <p:guide pos="168"/>
      </p:guideLst>
    </p:cSldViewPr>
  </p:slideViewPr>
  <p:notesTextViewPr>
    <p:cViewPr>
      <p:scale>
        <a:sx n="3" d="2"/>
        <a:sy n="3" d="2"/>
      </p:scale>
      <p:origin x="0" y="0"/>
    </p:cViewPr>
  </p:notesTextViewPr>
  <p:sorterViewPr>
    <p:cViewPr>
      <p:scale>
        <a:sx n="200" d="100"/>
        <a:sy n="200" d="100"/>
      </p:scale>
      <p:origin x="0" y="-44574"/>
    </p:cViewPr>
  </p:sorterViewPr>
  <p:notesViewPr>
    <p:cSldViewPr snapToGrid="0">
      <p:cViewPr varScale="1">
        <p:scale>
          <a:sx n="66" d="100"/>
          <a:sy n="66" d="100"/>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slide" Target="slides/slide158.xml"/><Relationship Id="rId170" Type="http://schemas.openxmlformats.org/officeDocument/2006/relationships/slide" Target="slides/slide169.xml"/><Relationship Id="rId191" Type="http://schemas.openxmlformats.org/officeDocument/2006/relationships/slide" Target="slides/slide190.xml"/><Relationship Id="rId205" Type="http://schemas.openxmlformats.org/officeDocument/2006/relationships/slide" Target="slides/slide204.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slide" Target="slides/slide159.xml"/><Relationship Id="rId181" Type="http://schemas.openxmlformats.org/officeDocument/2006/relationships/slide" Target="slides/slide180.xml"/><Relationship Id="rId216" Type="http://schemas.openxmlformats.org/officeDocument/2006/relationships/tableStyles" Target="tableStyles.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92" Type="http://schemas.openxmlformats.org/officeDocument/2006/relationships/slide" Target="slides/slide191.xml"/><Relationship Id="rId206" Type="http://schemas.openxmlformats.org/officeDocument/2006/relationships/slide" Target="slides/slide205.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6" Type="http://schemas.openxmlformats.org/officeDocument/2006/relationships/slide" Target="slides/slide5.xml"/><Relationship Id="rId23" Type="http://schemas.openxmlformats.org/officeDocument/2006/relationships/slide" Target="slides/slide22.xml"/><Relationship Id="rId119" Type="http://schemas.openxmlformats.org/officeDocument/2006/relationships/slide" Target="slides/slide118.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13" Type="http://schemas.openxmlformats.org/officeDocument/2006/relationships/slide" Target="slides/slide12.xml"/><Relationship Id="rId109" Type="http://schemas.openxmlformats.org/officeDocument/2006/relationships/slide" Target="slides/slide108.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189" Type="http://schemas.openxmlformats.org/officeDocument/2006/relationships/slide" Target="slides/slide188.xml"/><Relationship Id="rId3" Type="http://schemas.openxmlformats.org/officeDocument/2006/relationships/slide" Target="slides/slide2.xml"/><Relationship Id="rId214" Type="http://schemas.openxmlformats.org/officeDocument/2006/relationships/viewProps" Target="viewProps.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79" Type="http://schemas.openxmlformats.org/officeDocument/2006/relationships/slide" Target="slides/slide178.xml"/><Relationship Id="rId195" Type="http://schemas.openxmlformats.org/officeDocument/2006/relationships/slide" Target="slides/slide194.xml"/><Relationship Id="rId209" Type="http://schemas.openxmlformats.org/officeDocument/2006/relationships/slide" Target="slides/slide208.xml"/><Relationship Id="rId190" Type="http://schemas.openxmlformats.org/officeDocument/2006/relationships/slide" Target="slides/slide189.xml"/><Relationship Id="rId204" Type="http://schemas.openxmlformats.org/officeDocument/2006/relationships/slide" Target="slides/slide203.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164" Type="http://schemas.openxmlformats.org/officeDocument/2006/relationships/slide" Target="slides/slide163.xml"/><Relationship Id="rId169" Type="http://schemas.openxmlformats.org/officeDocument/2006/relationships/slide" Target="slides/slide168.xml"/><Relationship Id="rId185" Type="http://schemas.openxmlformats.org/officeDocument/2006/relationships/slide" Target="slides/slide184.xml"/><Relationship Id="rId4" Type="http://schemas.openxmlformats.org/officeDocument/2006/relationships/slide" Target="slides/slide3.xml"/><Relationship Id="rId9" Type="http://schemas.openxmlformats.org/officeDocument/2006/relationships/slide" Target="slides/slide8.xml"/><Relationship Id="rId180" Type="http://schemas.openxmlformats.org/officeDocument/2006/relationships/slide" Target="slides/slide179.xml"/><Relationship Id="rId210" Type="http://schemas.openxmlformats.org/officeDocument/2006/relationships/notesMaster" Target="notesMasters/notesMaster1.xml"/><Relationship Id="rId215" Type="http://schemas.openxmlformats.org/officeDocument/2006/relationships/theme" Target="theme/theme1.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handoutMaster" Target="handoutMasters/handoutMaster1.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commentAuthors" Target="commentAuthors.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202" Type="http://schemas.openxmlformats.org/officeDocument/2006/relationships/slide" Target="slides/slide201.xml"/><Relationship Id="rId18" Type="http://schemas.openxmlformats.org/officeDocument/2006/relationships/slide" Target="slides/slide17.xml"/><Relationship Id="rId39" Type="http://schemas.openxmlformats.org/officeDocument/2006/relationships/slide" Target="slides/slide38.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presProps" Target="presProps.xml"/><Relationship Id="rId2" Type="http://schemas.openxmlformats.org/officeDocument/2006/relationships/slide" Target="slides/slide1.xml"/><Relationship Id="rId29" Type="http://schemas.openxmlformats.org/officeDocument/2006/relationships/slide" Target="slides/slide28.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7865ABAC-9291-4D87-9512-817B6B64A1EE}" type="datetimeFigureOut">
              <a:rPr lang="en-US" smtClean="0"/>
              <a:t>4/2/2022</a:t>
            </a:fld>
            <a:endParaRPr lang="en-US"/>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52CBB36E-289C-400C-9E73-A4320D1DC1F4}" type="slidenum">
              <a:rPr lang="en-US" smtClean="0"/>
              <a:t>‹#›</a:t>
            </a:fld>
            <a:endParaRPr lang="en-US"/>
          </a:p>
        </p:txBody>
      </p:sp>
      <p:sp>
        <p:nvSpPr>
          <p:cNvPr id="6" name="fl" descr="                              Dell - Internal Use - Confidential&#10;"/>
          <p:cNvSpPr txBox="1"/>
          <p:nvPr/>
        </p:nvSpPr>
        <p:spPr>
          <a:xfrm>
            <a:off x="0" y="8737600"/>
            <a:ext cx="7010400" cy="592470"/>
          </a:xfrm>
          <a:prstGeom prst="rect">
            <a:avLst/>
          </a:prstGeom>
          <a:noFill/>
        </p:spPr>
        <p:txBody>
          <a:bodyPr vert="horz" rtlCol="0">
            <a:spAutoFit/>
          </a:bodyPr>
          <a:lstStyle/>
          <a:p>
            <a:r>
              <a:rPr lang="en-US" sz="850" b="1">
                <a:solidFill>
                  <a:srgbClr val="7F7F7F"/>
                </a:solidFill>
                <a:latin typeface="museo sans for dell"/>
              </a:rPr>
              <a:t>                              Dell - Internal Use - Confidential</a:t>
            </a:r>
          </a:p>
          <a:p>
            <a:endParaRPr lang="en-US"/>
          </a:p>
        </p:txBody>
      </p:sp>
    </p:spTree>
    <p:extLst>
      <p:ext uri="{BB962C8B-B14F-4D97-AF65-F5344CB8AC3E}">
        <p14:creationId xmlns:p14="http://schemas.microsoft.com/office/powerpoint/2010/main" val="1100104109"/>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1:37:29.808"/>
    </inkml:context>
    <inkml:brush xml:id="br0">
      <inkml:brushProperty name="width" value="0.05292" units="cm"/>
      <inkml:brushProperty name="height" value="0.05292" units="cm"/>
      <inkml:brushProperty name="color" value="#0070C0"/>
    </inkml:brush>
  </inkml:definitions>
  <inkml:trace contextRef="#ctx0" brushRef="#br0">8586 1363 0,'-14'-14'0,"54"14"15,-13-13-15,12 13 0,14-13 16,0 13-16,27-13 0,-1 13 16,0-14-16,1 1 0,12 13 0,-12-13 15,-1 0-15,0 13 0,14-13 0,-14-1 16,1 14-16,-14-13 0,0 13 15,-13-13-15,0 13 0,-13-13 0,-1 13 16,-12 0-16,-14-14 0,0 14 0,0 0 16,1 0-16,-1 0 0</inkml:trace>
  <inkml:trace contextRef="#ctx0" brushRef="#br0" timeOffset="250.89">8824 1548 0,'238'-53'32,"-159"40"-32,-12 13 0,12-14 0,-13 1 15,13 0-15,1 0 0,-14 0 0,13 13 16,-13-14-16,1 1 0,-28 13 15,14-13-15,-13 13 0,-14 0 0,1-13 16,-1 13-16,-13 0 0,1 0 16,-1 0-16,0-14 15</inkml:trace>
  <inkml:trace contextRef="#ctx0" brushRef="#br0" timeOffset="6532.98">9393 3321 0,'26'0'15,"-13"13"-15,1-13 0,12 0 16,1 0-16,12 0 0,14 0 0,0 0 16,13 0-16,-13 0 0,13 0 15,14 0-15,-27 0 0,26 0 0,-13 0 16,0 0-16,0 0 0,1 0 0,-1 0 15,-13 0-15,0 0 0,13 0 0,-13 0 16,-14 0-16,1 0 0,0 0 16,-14 0-16,14 0 0,-14 0 0,1 0 15,-1 0-15,-13 0 0,1 0 0,12 0 16,-13 0-16,1 0 16</inkml:trace>
  <inkml:trace contextRef="#ctx0" brushRef="#br0" timeOffset="9397.84">3797 3982 0,'26'0'31,"1"0"-15,12 0-16,14 13 0,0-26 0,13 13 15,1 0-15,12 0 0,13 0 16,-12-13-16,-1 13 0,1 0 0,-1-13 16,0 13-16,-13 0 0,1 0 0,-14 0 15,-1 0-15,-12 0 0,-13-14 16,-1 14-16,1 0 0,-1 0 0,-13 0 15,0 0-15,1 0 0,-1 0 16,0 0-16,0 0 0,1 0 16,-28-13 15,-12 13-31,13 0 16</inkml:trace>
  <inkml:trace contextRef="#ctx0" brushRef="#br0" timeOffset="10029.94">3731 3440 0,'13'-14'0,"0"28"32,-13 12-32,0 0 0,13 1 15,-13 26-15,14-13 0,-1-1 16,-13 14-16,13 0 0,-13-13 0,0 13 15,0-14-15,13 1 0,-13 0 0,0-14 16,0 1-16,13-1 0,-13-13 16,0 14-16,0-14 0,0 0 0,0 1 15,14-14-15,-14 13 0,0-26 32</inkml:trace>
  <inkml:trace contextRef="#ctx0" brushRef="#br0" timeOffset="10861.8">3731 3373 0,'0'-13'16,"13"13"-16,40-13 15,-27 0-15,1 13 16,12-13-16,14 13 0,-13-14 0,13 14 16,66-13-16,-53 0 0,0 0 15,0 13-15,1-14 0,-1 14 16,0-13-16,0 13 0,-13-13 0,0 13 15,0-13-15,0 13 0,0 0 0,-14-14 16,14 14-16,-13 0 0,0 0 16,-14-13-16,0 13 0,-12 0 0,12 0 15,-13-13-15,14 13 0,-14 0 16,0 0-16,1 0 0,-1 0 16,0-13-16,0 13 15,0 0-15,1 0 16,-1 0 15,-13 13 32,0 0-48,0 0 1,0 1-16,0-1 0,0 13 0,13 1 15,-13-1-15,0 14 0,0 0 0,13-1 16,-13 1-16,14-14 0,-14 14 16,13 0-16,-13-14 0,13 1 0,-13-1 15,0 1-15,13-14 0,-13 13 0,14 1 16,-14-14-16,0 0 0,13 1 16,-13 12-16,0-13 0,13-13 15,-13 13-15,0 1 0,0-1 0,13-13 16,-13 13-16,0 0 0,0 1 0,0-1 31,0 0-15,-13-13-16,0 0 15,0 0-15,-1 13 16,1-13-16,-13 0 0,12 0 0,-25 14 16,12-14-16,1 13 0,-14-13 0,0 13 15,1 0-15,-14 0 0,13-13 16,0 27-16,1-27 0,-1 13 0,-13 0 15,27 1-15,-14-1 0,13 0 0,1 0 16,0-13-16,12 14 16,1-14-16,0 0 0</inkml:trace>
  <inkml:trace contextRef="#ctx0" brushRef="#br0" timeOffset="11571.52">6085 3373 0,'-13'14'15,"13"-1"-15,13 13 0,-13 14 16,14 0-16,-1-1 0,-13 14 0,13 13 16,0-13-16,1 0 0,-14 13 0,13-26 15,0 13-15,-13-13 0,0-1 16,13 1-16,-13-13 0,0-1 0,0-13 16,13 14-16,-13-14 0,0 0 0,0 0 15,0 1-15,0-1 16</inkml:trace>
  <inkml:trace contextRef="#ctx0" brushRef="#br0" timeOffset="13082.84">6059 3307 0,'26'-13'0,"1"13"0,-14 0 0,0 0 15,14 0-15,-1 0 0,1 0 16,-1 0-16,14 0 0,0 0 0,-1 0 15,1 0-15,13 0 0,0 0 0,0 0 16,0 0-16,0 0 0,-1 0 16,1 0-16,0 0 0,13 0 15,14 0-15,-27 0 0,13 0 0,13 0 16,-26 0-16,0 0 0,13 0 16,-13 0-16,0 0 0,13 0 0,-13-13 15,0 13-15,0 0 0,0 0 0,0 0 16,0 0-16,0 0 0,-14 0 0,14-13 15,0 13-15,-13 0 0,13 0 16,-14-14-16,14 14 0,-13 0 0,0-13 16,-1 13-16,1 0 0,0 0 0,-1 0 15,-12-13-15,13 13 16,-14 0-16,14 0 0,-14 0 0,1 0 16,-1-13-16,1 13 0,-1 0 0,0 0 15,1 0-15,-14 0 0,14 0 16,-14-14-16,13 14 0,1 0 0,-14 0 15,13 0-15,-12 0 0,12 0 0,1-13 16,-14 13-16,0 0 0,14 0 16,-14 0-16,13 0 0,-13 0 0,1 0 15,12 0-15,-13 0 0,1 0 0,-1 0 16,0 0-16,0 0 0,1 0 16,-1 0-16,0 0 0,0 0 0,0 0 15,1 0-15,-1 0 16,0 0-1,0 0 1,1 0 0,-1 13 15,-13 1-31,0-1 16,-13-13-16,13 13 0,0 0 15,0 1-15,0-1 0,-14 13 16,14-12-16,0 12 0,0 0 0,0 1 15,0-1-15,0 1 0,0-1 0,14 1 16,-14-1-16,0 1 0,0-1 16,13 1-16,-13-1 0,0-13 15,0 14-15,13-14 0,-13 13 0,0-12 16,0-1-16,0 0 0,13 0 16,-13 1-16,0-1 0,0 0 0,0 0 15,0 0-15,0 1 0,0-1 16,0 0-1,0 0 1,-13 1-16,0-14 16,0 0-16,13 13 15,-14-13-15,1 0 0,0 0 0,0 0 16,-1 13-16,-12-13 0,13 0 0,0 0 16,-14 0-16,1 0 0,12 0 15,-12 13-15,-14-13 0,14 0 16,-1 0-16,-26 0 0,14 14 0,-1-14 15,-13 0-15,0 0 0,0 0 0,14 0 16,-14 0-16,0 0 0,13 13 16,-13-13-16,13 0 0,-12 0 0,-1 0 15,13 13-15,-26-13 0,13 0 0,-13 13 16,0 0-16,13-13 0,0 0 16,0 14-16,0-1 0,0-13 0,0 13 15,0-13-15,0 0 0,-53 13 16,53 1-16,1-14 0,-1 0 15,13 13-15,-13-13 0,13 13 16,1-13-16,-1 0 0,0 0 0,14 13 16,-1-13-16,-12 0 0,12 0 0,1 0 15,-1 14-15,1-14 0,-1 0 16,1 0-16,-1 0 0,14 0 0,-13 0 16,-1 0-16,14 0 0,0 0 0,-14 0 15,14 13-15,0-13 16,0 0-16,0 0 0,-1 0 0,1 0 15,0 0-15,0 0 0,-1 0 0,1 0 16,0 0-16,0 0 16,-1 0-16,1 0 15,0 0 1,0 0-16,0 0 16,-1 0-16,1 0 0,0 0 15,0 0-15,-1 0 0,1 0 16,0 0-16,0 0 0,-1 0 15,1 0-15,0 0 16,0-13-16,0 13 16,-1 0-16,1 0 15,0-14 1,0 14 0,-1 0 15,28-26-16</inkml:trace>
  <inkml:trace contextRef="#ctx0" brushRef="#br0" timeOffset="15998.61">9049 4895 0,'26'13'16,"1"-13"-16,12 0 16,14 0-16,-13 0 0,26 0 0,-13 0 15,0 0-15,26-13 0,1 13 16,-1 0-16,0 0 0,1 0 0,-1 0 16,-13-13-16,0 13 0,-13 0 15,0 0-15,0 0 0,-13 0 0,0 0 16,-14 0-16,1 0 0,-1 0 0,-13 0 15,14 0-15,-14 0 0,0 0 16,0 0-16,1 0 0,-1 13 16</inkml:trace>
  <inkml:trace contextRef="#ctx0" brushRef="#br0" timeOffset="16342.8">9260 5040 0,'133'-13'31,"-80"13"-31,0 0 0,-1-13 16,28 13-16,-1 0 0,1 0 0,-14 0 15,13 0-15,-26 0 0,0 0 0,13 0 16,-26 0-16,13 13 0,0-13 15,-14 0-15,-12 0 0,12 0 16,-12 0-16,-1 0 0,-12 0 0,12 0 16,-13 0-16,1 0 0,-1 0 0,0 0 15,0 13-15,0-13 0,1 0 16,-1 0 0,0 0-16,-39 14 46,12-14-46,1 0 16</inkml:trace>
  <inkml:trace contextRef="#ctx0" brushRef="#br0" timeOffset="18111.16">12607 4247 0,'0'396'63,"-13"-277"-63,79 292 94,-26-398-94,635 0 0,-411 0 15,-171 1-15,-1-1 16,173 26-16,-172-12 15,-14-14-15,93 14 16,-93-14-16,1 0 0,-1 0 16,1 1-16,-1-1 0,0 0 0,80 0 15,-80 0-15,1-13 0,-14 14 0,13-14 16,-13 13-16,80 0 16,-80-13-16,-13 0 0,13 0 15,-13 13-15,0-13 0,0 0 0,0 0 16,-13 14-16,12-14 0,1 0 0,-13 0 15,0 0-15,-14 0 0,14 0 16,26 13-16,-26-13 0,-1 0 16,-12 0-16,-1 0 0,1 0 0,-1 0 15,1 0-15,-14 0 0,13 0 16,1 0-16,-14 0 0,0 0 16,1 0-16,-1 0 0,0 0 15,0 0-15,0 0 0,1 0 0,-1 0 16,0-13-16,0 13 15,1 0-15,-1 0 0,0 0 16,0 0-16,1-14 0,-1 14 16,0 0-16,0-13 15,0 13-15,1 0 16,-1 0-16,0-13 0,0 13 0,1-13 16,-1 13-16,0-14 15,0 14-15,14-13 0,-14 13 16,0-13-16,0 0 0,1 13 0,12-13 0,-13 13 15,1-14-15,-1 14 0,0-13 16,0 0-16,0 13 0,1-13 16,-1-1-16,0 14 0,-13-13 15,13 0-15,1 0 0,-1-1 16,0 1-16,-13-13 0,13 13 16,1-14-16,25-13 0,-26 14 15,1-1-15,25-25 16,1 12-16,-27 13 0,14 1 15,-14 13-15,0-14 0,0 14 0,14-13 16,-14 12-16,40-39 16,-53 40-16,13-13 0,0-1 15,1 1-15,-14 13 16,0-14-16,0 14 0,0-14 0,0 1 16,-14 0-16,14-14 0,-13 0 0,-13-26 15,-1 26-15,1 1 0,-1-1 16,-65-39-16,39 52 15,0-13-15,-13 14 0,-14 0 16,1 12-16,-27-12 0,27 13 0,-14-1 0,-13 1 16,14 0-16</inkml:trace>
  <inkml:trace contextRef="#ctx0" brushRef="#br0" timeOffset="19278.34">19513 3876 0,'-53'13'15,"106"-26"-15,-132 40 0,39-14 0,14 0 0,-14 14 16,0-1-16,0 0 0,1 1 0,-54 52 15,53-39-15,1 0 0,-1-1 16,0 14-16,14-13 16,-14 13-16,14 0 0,-1-14 0,1 14 15,-14 53-15,27-66 0,0 13 16,-1-14-16,14 1 0,0 0 16,0 0-16,14 52 0,12-52 15,1 13-15,65 26 0,-39-26 16,0-13-16,13-1 0,14 1 15,12 0-15,93 39 16,-105-52-16,26-1 0,52 14 16,-78-14-16,-1-13 0,106 14 15,-92-14-15,0 0 0,-1-13 16,1 0-16,-1 0 0,14 14 0,79-28 16,-92 14-16,0 0 0,-1 0 15,1-13-15,-14 13 0,1-13 16,12 13-16,-12-13 0,-1-1 0,-13 14 15,13-26-15,-12 13 0,-14 0 0,13-1 16,-13-12-16,-1-1 0,28 1 16,-40 0-16,-1-14 15,14-13-15,-40 26 0,14-12 16,-1-41-16,-12 41 0,-14-14 16,-14-66-16,-12 53 15,-1-1-15,-39-78 0,13 66 16,-13 12-16,-13 1 0,-1-13 0,-12 26 15,-1-13-15,-132-53 0,106 66 16,0 0-16,-13 13 16,0 1-16,-1-1 0,-12 13 0,-1 1 0,1 13 15,-1-1-15,1 1 0,-133 13 16,146 13-16,-1 1 16,14-1-16,13 13 0</inkml:trace>
  <inkml:trace contextRef="#ctx0" brushRef="#br0" timeOffset="20383.08">16338 5993 0,'0'39'16,"-13"-12"-16,13-1 0,-13 1 0,-1 52 15,1-39-15,13 0 16,-13 39-16,0-39 0,-1-1 16,14 1-16,-13-13 0,13 12 15,0-26-15,-13 14 0,13-14 16,0 0-16</inkml:trace>
  <inkml:trace contextRef="#ctx0" brushRef="#br0" timeOffset="20622.8">16298 6006 0,'-26'0'15,"13"0"-15,-14 0 0,14 13 0,-27 0 16,14 14-16,-27-1 0,-40 41 15,54-41-15,-41 40 16,1 0-16,52-39 16,1-14-16,-1 13 0,27-12 15</inkml:trace>
  <inkml:trace contextRef="#ctx0" brushRef="#br0" timeOffset="20831.96">16351 5953 0,'27'27'0,"52"52"16,-52-66-16,-1 14 16,14-1-16,26 14 0,-26-27 15,12 13-15,1-12 0,14-1 16,-1 0-16,0 0 0,13-13 15,1 0-15</inkml:trace>
  <inkml:trace contextRef="#ctx0" brushRef="#br0" timeOffset="21218.08">20108 5728 0,'0'40'16,"0"-27"-1,0 0-15,0 14 0,-13 13 16,-13 65-16,12-52 0,1 0 16,0 13-16,-27 40 0,27-53 15,-13 26-15,12-52 16,1 13-16,0-14 0,0 1 0,-1-1 15,1 0-15,13-12 16,0-1-16</inkml:trace>
  <inkml:trace contextRef="#ctx0" brushRef="#br0" timeOffset="21473.79">20135 5913 0,'-13'0'16,"-14"14"-16,14-14 0,0 13 0,-1-13 16,-25 26-16,12 1 0,1-14 15,13 0-15,-14-13 0,14 13 16,0 1-16,-1-1 0,1-13 15,0 0-15,26-27 16</inkml:trace>
  <inkml:trace contextRef="#ctx0" brushRef="#br0" timeOffset="21622.04">20016 5847 0,'26'-26'16,"-52"52"-16,65-65 0,-25 39 0,-1 0 0,0 0 16,0 0-16,1 0 0,-1 13 15,0 0-15,0 0 0,14 14 0,26 12 16,-27-12-16,1-1 15,12 1-15,-12-1 0,39 14 16,-40-27-16,14 0 0,-14 1 0,1-1 16,-14 0-16,27 0 0,-27-13 15</inkml:trace>
</inkml:ink>
</file>

<file path=ppt/ink/ink1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20:04.930"/>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4419 1416 0,'26'-14'0,"265"-65"32,-198 66-32,-1-1 15,27 1-15,0 0 0,-13 0 0,27 0 16,-1-1-16,-13 1 0,13 13 0,-26-13 16,-13 13-16,12 0 0,-12 0 15,0-13-15,-1 13 0,-12-14 0,-1 14 16,-13 0-16,-13 0 0,0 0 0,0-13 15,-27 13-15,1 0 0,-1 0 16,-13 0-16,1 0 0,-1 0 16</inkml:trace>
  <inkml:trace contextRef="#ctx0" brushRef="#br0" timeOffset="274.27">5014 1482 0,'0'0'0,"26"-14"0,1 14 0,26-13 15,13 13-15,0-13 0,13 0 0,14-14 16,26 14-16,0-13 0,13 12 16,1-12-16,-14 13 0,13-14 15,-13 14-15,-26 0 0,-1 0 0,-12-1 16,-1 14-16,0-13 0,-12 0 0,-28 13 15,14-13-15,-13 13 0,-14 0 16,1 0-16,-14 0 0,0 0 0,0 0 16,1 0-16,-1 0 0,-26 13 31</inkml:trace>
  <inkml:trace contextRef="#ctx0" brushRef="#br0" timeOffset="40336.03">10557 476 0,'-13'0'0,"-1"0"32,1 0-32,26 13 93</inkml:trace>
  <inkml:trace contextRef="#ctx0" brushRef="#br0" timeOffset="40701">10028 913 0,'53'-13'15,"-106"26"-15,132-26 0,-52 13 0,12-14 16,1 14-16,13 0 0,0 0 0,0 0 15,0-13-15,0 13 0,-1 0 0,1 0 16,-13 0-16,0 0 0,-1 0 0,-12 0 16,13 0-16,-14 0 0,-13-13 15,14 13-15,-1 0 0,-13 0 16,14 0-16,-14 0 0,0 0 16,1 0-1,-14-13-15,13 13 0</inkml:trace>
  <inkml:trace contextRef="#ctx0" brushRef="#br0" timeOffset="40974.61">10716 675 0,'66'26'31,"-40"-13"-31,-13-13 0,14 14 16,-1-1-16,14 13 0,-13-12 0,12-1 15,-12 0-15,-1 0 0,-13 0 0,14 1 16,-14-1-16,0 0 0,0 0 0,1 14 16,-14-14-16,0 0 0,0 0 15,-14 40-15,1-26 16,-13-1-16,-1 1 0,1 12 0,13-12 0,-14-1 15,1-12-15,-1 12 16,14-13-16</inkml:trace>
  <inkml:trace contextRef="#ctx0" brushRef="#br0" timeOffset="41702.83">12435 542 0,'-13'-13'0,"0"0"32,0 13-32,-14 13 0,1-13 0,13 0 15,-14 13-15,1 1 0,-1-1 16,14-13-16,-13 13 0,12 0 15,1-13-15,0 14 0,0-1 0,-1-13 16,14 13-16,0 0 16,14 0-16,-1-13 0,0 14 15,0-14-15,1 13 0,12-13 0,0 0 16,1 13-16,-1-13 0,1 13 0,12-13 16,-12 14-16,-1-1 0,1-13 15,-1 13-15,-12-13 0,-1 13 0,0 1 16,-13-1-16,13-13 0,-26 13 15,13 0-15,0 0 0,-13 1 0,0-1 16,-1 0-16,-12 0 0,13 1 16,-14-1-16,14 0 0,-14-13 15,-25 26-15,25-26 0,14 0 16,-14 14-16,14-14 0,-13 0 0,13 0 16,-1 0-16,1 0 0,0-14 15,13 1 1,0 0-16,0 0 0</inkml:trace>
  <inkml:trace contextRef="#ctx0" brushRef="#br0" timeOffset="42031.83">12912 410 0,'0'27'32,"0"-14"-17,0 0-15,0 13 0,0 1 16,0-1-16,0 1 0,0-1 0,0 14 16,0-14-16,0 1 0,0-1 0,13 1 15,-13-1-15,0-12 0,13 12 16,-13-13-16,13 14 0,-13-14 15,14 0-15,-1 0 0,0 1 0,0-14 16,1 13-16,-1-13 0,0 0 16,0 0-16,0 0 0,1 0 0,-1 0 15,0-13-15,0 13 0,1-14 16,-1 14-16,0-13 0,-13 0 0</inkml:trace>
  <inkml:trace contextRef="#ctx0" brushRef="#br0" timeOffset="42240.12">12766 728 0,'-13'0'0,"39"-14"32,-12 14-32,-1 0 15,0-13-15,14 13 0,-14 0 0,13-13 16,1 13-16,-1-13 0,1 13 15,-1-14-15,1 14 0,-1-13 0,-13 13 16,14 0-16,-1 0 0,1 0 0,-1 0 16</inkml:trace>
  <inkml:trace contextRef="#ctx0" brushRef="#br0" timeOffset="43096.16">13507 741 0,'0'-13'0,"0"-1"32,-13 1-32,-14 13 31,14 13-15,0-13-16,13 14 0,-13-14 0,-1 13 15,14 0-15,-13 0 0,0 1 16,13-1-16,-13 0 15,13 0-15,0 0 0,0 1 16,13-14-16,0 13 16,0-26-1,1 13-15,-1 0 0,-13-14 16,13 14-16,0 0 0,1 0 16,-1 0-1,0 0 1,-13 14-16,13-14 15,-13 13-15,13-13 0,1 0 16,-1 0-16,0 0 16,0-13-16,1-1 15,-14 1-15,13 0 0,0 0 16,-13 0-16,13-1 0,-13-12 16,13-1-16,-13 14 0,0-13 0,14-1 15,-14 1-15,0-1 0,0 1 0,13 13 16,-13-1-16,0 1 0,0 0 15,0 0-15,0 39 32,0-13-32,0 14 0,0-1 15,0 1-15,0-1 0,0 1 0,13-1 16,-13-13-16,0 14 0,13-1 0,-13-12 16,14-1-16,-1 0 0,-13 0 0,13 0 15,0-13-15,1 14 0,-1-14 16,0 0-16,0-14 0,0 14 15,1-13-15,12 0 0,-13 0 16,1 0-16,-1 13 0,-13-14 0,13 14 16,0 0-1,1 0-15,-1 14 16,0-14-16,-13 13 16,13-13-16,14 13 15,-14-13 1,0 0-16,0-13 15,1 13-15,-14-13 0</inkml:trace>
  <inkml:trace contextRef="#ctx0" brushRef="#br0" timeOffset="43282.77">13573 675 0,'27'0'16,"-14"0"0,13 0-16,1-14 0,-14 1 0,13 13 0,14-13 15,0 0-15,-14 0 0,1 13 16,-1 0-16,1-14 0,-14 14 16</inkml:trace>
  <inkml:trace contextRef="#ctx0" brushRef="#br0" timeOffset="43874.95">14182 648 0,'13'40'32,"-13"-27"-32,13 0 0,-13 1 15,13-1 1,-13 0 0,0 0-16,14-13 15,-14-13 16,13 0-31,0 13 16,-13-13-16,13 13 0,1-14 31,-1 28-31,0-14 16,0 0-16,0 13 16,1 0-1,-14 0-15,0 1 16,13-14-1,-13-14 17,13 1-17,0 0-15,1 0 16,-1 13 0,0 0-16,0 0 15,0 0-15,1 0 0,-1 0 16,0 0-16,0 0 0,1 0 0,-1 13 15,0-13-15,0 0 0,1 0 0,-1 0 16,-13 13-16,13-13 0,0 0 16</inkml:trace>
  <inkml:trace contextRef="#ctx0" brushRef="#br0" timeOffset="44918.91">14698 820 0,'13'-13'16,"13"0"0,-12 13-1,-14-13-15,13-1 0,-13 1 0,0 0 16,13 0 0,-13-1-16,0 1 15,0 0 1,-26 26 15,26 0-15,0 1-16,0-1 31,13 0-15,-13 0-1,13-13 1,0 14-1,0-14 1,1 0 0,-1 0 31,0 0-32,0-14 1,1 1-16,-1 13 15,0 0 1,0-13-16,14 26 16,-14-13-1,0 0 1,-13 13-16,13 1 16,1-14-1,-1 0 16,0-14-31,0 14 16,1-13 0,-1 13-16,0 0 31,0 0-31,0 0 16,1 0-16,-1 0 0,0-13 15,0 13-15,1-13 16,-1 13-16,-13-14 0,13 1 0,0 0 15,1 13-15,-1-13 0,-13-1 0,13-12 16,0 0-16,0 12 0,-13 1 16,0 0-16,14 0 0,-14-1 15,0 1-15,0 0 0,-14 39 32,14-12-17,0 12-15,0-13 0,0 1 16,0-1-16,0 0 0,0 13 0,0-12 15,0-1-15,0 0 0,14 0 16,-14 1-16,0-1 0,13-13 16,0 0-1,0 0-15,-13-13 16,14-1 0</inkml:trace>
  <inkml:trace contextRef="#ctx0" brushRef="#br0" timeOffset="45188">15068 622 0,'40'0'31,"-27"-13"-31,13 13 0,1 0 16,-14 0-16,14-14 0,-1 14 15,0 0-15,1-13 0,-1 13 0,1 0 16,-14 0-16,14 0 0,-14-13 0,0 13 16,0 0-16,0 0 0,1 0 15,-1 0-15,0 0 0,0 0 32,-26 13-17</inkml:trace>
  <inkml:trace contextRef="#ctx0" brushRef="#br0" timeOffset="46400.52">15941 622 0,'-13'0'0,"39"-13"31,-12 13-31,-1 0 16,0 0-16,14 0 0,-14-14 0,13 14 15,1 0-15,-1 0 0,-13 0 0,14 0 16,-14 0-16,13-13 0,-12 13 16,-1 0-16,0 0 0,0 0 15,1 0-15,-1 0 0,13 0 16,-12 0-16,-1 0 31,0-13-31</inkml:trace>
  <inkml:trace contextRef="#ctx0" brushRef="#br0" timeOffset="46729.09">16259 463 0,'26'13'47,"-13"-13"-32,1 0-15,-1 13 0,0-13 16,0 0-16,0 0 0,-13 14 16,14-14-16,-1 0 0,0 0 0,14 13 15,-27 0-15,13-13 0,0 13 16,0 1-16,-13-1 16,0 0-16,0 0 0,-13 27 15,0-27-15,0 14 0,-14-1 16,14-13-16,-14 14 0,14-14 15,-13 14-15,13-14 0,-1 13 0,1-26 16,0 13-16</inkml:trace>
  <inkml:trace contextRef="#ctx0" brushRef="#br1" timeOffset="51962.16">16828 357 0,'0'-13'0,"13"13"16,-13 13-1,0 0-15,0 1 16,0 12-16,0-13 0,13 14 0,-26-1 16,13 1-16,0-1 0,0 1 0,0-1 15,0 1-15,0-1 0,0 0 16,0-12-16,0 12 0,0-13 0,0 1 16,0-1-16,0 0 0,0 0 15,0 1-15,0-1 0,13-13 31</inkml:trace>
  <inkml:trace contextRef="#ctx0" brushRef="#br1" timeOffset="52511.6">17026 384 0,'0'26'31,"13"-26"-31,-13 13 0,0 1 0,0 12 16,0-13-16,0 0 0,0 14 15,-13-14-15,13 0 0,0 14 0,0-14 16,-13 0-16,13 1 0,0-1 15,0 0-15,0 0 16,13-26 15,0 13-15,0 0-16,1 0 16,-1 13-1,0-13-15,0 13 0,1-13 16,-14 14-16,13-1 0,0-13 0,0 13 15,0-13-15,1 13 0,-1-13 16,0 0 0,0-13-1</inkml:trace>
  <inkml:trace contextRef="#ctx0" brushRef="#br1" timeOffset="52744.08">16669 595 0,'53'-13'32,"-27"13"-32,-13-13 15,14 13-15,-1 0 0,1-13 0,-1 13 16,14-14-16,-14 1 0,1 13 0,-1-13 15,14 13-15,-14-13 0,1 13 16,13-14-16,-1 14 0,-12 0 0,-14-13 16,13 13-16</inkml:trace>
  <inkml:trace contextRef="#ctx0" brushRef="#br1" timeOffset="53490.96">17449 622 0,'-13'0'31,"13"-13"-31,-13 13 15,0 0 1,-1 13 15,14 0-31,-13-13 0,13 13 16,0 0-16,0 1 0,-13-1 16,26-13-1,-13 13-15,13-13 16,1 13-16,-1-26 15,0 13-15,0 0 16,0 0-16,14 13 16,-14-13-1,0 0-15,1-13 16,-1 13-16,0 0 0,0-13 0,1 13 16,-14-13-16,13-1 0,0 1 0,0 0 15,0 0-15,1-14 0,-14 14 16,13-13-16,-13-1 0,13 14 15,-13 0-15,0-14 0,0 14 0,13 0 16,-13 0-16,0-1 0,0 1 16,0 53 15,0-27-31,0 0 0,0 14 0,14-1 16,-14 1-16,13-14 0,0 13 0,-13-12 15,13 12-15,1-13 16,-1 0-16,0 1 0,0-1 0,0 0 15,1-13-15,-1 0 0,0-13 16,0 13 0,-13-13-16</inkml:trace>
  <inkml:trace contextRef="#ctx0" brushRef="#br1" timeOffset="53703.24">17515 516 0,'40'0'32,"-27"0"-32,14 0 0,12-13 15,-12 13-15,13-14 0,13 14 16,-14-13-16,1 13 0,-14-13 0,14 13 16,-13-13-16,-1 13 0,0 0 0,-12 0 15,12 0-15,1-13 0,-14 13 16,13 0-16,-12 0 0,-1 0 0</inkml:trace>
  <inkml:trace contextRef="#ctx0" brushRef="#br1" timeOffset="54335.54">19063 357 0,'-13'0'0,"26"0"0,-39 0 0,13 0 16,-1 13-16,1 1 15,0-1-15,0 0 0,-1 0 0,1 14 16,0 12-16,0-12 0,-14 26 16,27-27-16,-13 1 0,13-14 0,0 13 15,0-12-15,0 12 0,0-13 16,13 1-16,-13-1 0,13 0 16,1 0-16,-1 1 0,0-14 0,0 13 0,14-13 15,-14 0-15,14 0 16,12-13-16,-12-1 0,-1 14 0,14-13 15,-14 0-15</inkml:trace>
  <inkml:trace contextRef="#ctx0" brushRef="#br1" timeOffset="55026.35">19434 542 0,'0'-13'16,"0"26"-16,-14-26 0,14 0 16,-13 13-16,0 0 15,0 0-15,0 0 16,-1 0-16,1 13 0,0-13 15,0 13-15,-1 1 0,1-14 16,0 13-16,0 0 0,13 0 0,-14-13 16,14 14-16,-13-1 0,13 0 15,0 0-15,0 0 16,0 1-16,13-14 16,-13 13-16,14-13 15,-1-13 1,0-1-16,-13 1 15,13 13-15,-13-13 0,14 13 16,-14-13-16,0 0 0,13 13 16,-13-14-16,0 1 15,13 0 1,-13 39 46,0-12-46,13-14 0,1 13-16,-1-13 15,0-13 1,0 13-16,0 0 16,1 0-16,-1 0 15,0-14-15,0 14 16,1 0-16,-1 14 15,0-14 1,0 0 0,-13 13-16,13-13 0,1 13 15,-1-26 32,0 13-47,0 0 0,1-13 16,-1 13-1,0 0-15,0 0 16,1 0-16,-1 0 16,0 0-16,0 0 15,-13 13-15,13-13 0,1 0 16,-1 0-16</inkml:trace>
  <inkml:trace contextRef="#ctx0" brushRef="#br1" timeOffset="55922.65">20386 291 0,'0'40'32,"0"-27"-32,0 13 15,13-12-15,-13 12 0,0 1 0,14-1 16,-14 0-16,0 1 0,13-14 0,-13 14 16,0-14-16,0 13 0,0-12 15,13-1-15,-13 0 0,0 0 16,0 0-16,0 1 15,-13-41 17,13 14-17,-13 0-15,13 0 0,0-1 0,13 1 16,-13 0-16,13 0 0,-13-1 16,13 1-16,1 0 0,-1 0 0,0 13 15,0-14-15,0 14 0,1 0 0,-1 0 16,0 0-16,0 0 0,1 14 15,-14 12 1,0-13-16,-14 1 16,1-1-16,0 0 0,13 0 15,-13 1-15,-1-1 0,1 0 16,0-13-16,0 13 0,13 0 0,-13-13 16,13 14-16,-14-14 0,14 13 0,0 0 31,14-13-31,-1 0 15,0 0-15,13-13 0,-12 13 0,12-13 0,1-1 16,-14 1-16,13 13 0,-12-13 16,12-13-16,-13 12 0,0 1 0,1 0 15,-1 0-15,-13-1 0,13 1 0,-13 0 16,13 13-16,-13-13 0,-26 26 31,13 0-15,13 0-16,-14 1 0,14-1 15,0 0-15,0 0 16,0 1-16,0-1 0,0 0 16,14-13-16,-1 0 0,-13 13 0,13-13 15,0 0-15,1 0 0,12 0 16,-13 0-16,14-13 0,-1 13 0,1-13 16,-1 13-16,14-13 0,-14-1 0</inkml:trace>
  <inkml:trace contextRef="#ctx0" brushRef="#br1" timeOffset="56343.05">21497 93 0,'0'0'0,"0"26"16,0 1-16,0-14 15,-13 13-15,13-13 0,0 14 16,0 13-16,0-14 0,-13 14 16,13-1-16,0-12 0,0 13 0,0-14 15,0 0-15,0 1 0,0-1 0,13 1 16,-13-14-16,13 14 0,1-14 15,-14 0-15,13-13 0,0 13 0,0-13 16,1 0-16,-1 0 0,0 0 0,0 0 16,14 0-16,-14-13 0,0 13 15,0-13-15,1 13 0,-1-13 0,0 13 16,0-14-16,1 14 0,-1 0 0,-13-13 16,13 13-16,0 0 0,-13-13 15,13 13 1,-13-13-16,14 13 0</inkml:trace>
  <inkml:trace contextRef="#ctx0" brushRef="#br1" timeOffset="56610.21">21325 463 0,'-13'0'32,"40"-13"-32,-14 13 0,0 0 15,0 0-15,14-13 0,-14 13 16,13 0-16,-12-14 0,12 14 0,1 0 15,-14-13-15,13 13 0,1 0 0,-1 0 16,-13-13-16,1 13 0</inkml:trace>
  <inkml:trace contextRef="#ctx0" brushRef="#br1" timeOffset="57102.28">21762 595 0,'13'-26'16,"0"13"-1,1 13-15,-14-14 16,13 1-16,0 0 0,-13 0 16,13-1-16,-13 1 0,14 0 15,-14 0 1,0 0-16,-14 13 15,1 13 1,0 0-16,0 0 16,13 0-16,-14-13 0,14 14 15,0-1-15,0 0 0,0 0 16,0 1-16,14-1 0,-14 0 16,13-13-16,0 13 0,0-13 15,1 0-15,-1 14 0,13-14 0,-12 0 16,-1 0-16,0 0 0,13-14 0,-12 14 15,12 0-15,-13 0 0,14-13 16,-14 13-16</inkml:trace>
  <inkml:trace contextRef="#ctx0" brushRef="#br1" timeOffset="57359.9">22132 450 0,'-13'0'0,"0"13"31,26-13-15,-13 13-16,0 0 0,13-13 0,1 14 15,-14-1-15,13 0 0,-13 0 16,13-13-16,-13 14 0,13-1 0,-13 0 16,14 0-16,-14 1 0,0-1 15,-14 0-15,14 0 16,0 0-16,-13-13 15</inkml:trace>
  <inkml:trace contextRef="#ctx0" brushRef="#br1" timeOffset="57799.8">22397 278 0,'0'0'0,"0"26"31,-13 1-15,13-14-16,0 0 0,0 14 15,0-1-15,0-13 0,0 14 0,0-14 16,0 13-16,13-12 0,-13 12 16,13-13-16,-13 1 0,13-1 0,1 0 15,-1 0-15,0-13 0,0 0 0,1 14 16,-1-14-16,0 0 0,0 0 15,0-14-15,1 14 0,12-13 0,-13 13 16,1-13-16,-1 13 0,0-13 0,0-1 16,1 14-16,-14-13 0,13 13 15,0-13-15,0 0 16,-26 39 15,13-13-15,-13-13-16,13 14 0,0-1 15,0 0-15,13 0 16,-13 1-16,13-1 16,0-13-1,14-13-15,-14 13 16,0 0-16,-13-14 16,14 14-16,-14-13 0</inkml:trace>
  <inkml:trace contextRef="#ctx0" brushRef="#br1" timeOffset="57999.05">22304 463 0,'0'0'0,"27"0"15,-1-13 1,1 13-16,-1 0 0,1-13 0,-1 13 15,14 0-15,-14-14 0,1 14 16,-1 0-16,1-13 0,12 13 16,-12 0-16,-1 0 0,1 0 0</inkml:trace>
  <inkml:trace contextRef="#ctx0" brushRef="#br1" timeOffset="58459.78">23310 304 0,'0'-13'0,"-13"40"31,-1-14-31,14 0 16,-13 13-16,13-12 0,-13 12 15,13-13-15,0 14 0,-13-14 0,13 0 16,0 0-16,0 1 0,13 12 0,-13-13 15,0 1-15,13-1 16,-13 0-16,13 0 0,-26-26 47,0 0-47,0 13 0,-1 0 16,14-13-16,-13 13 0,0 0 0,0 0 15,0 13-15,-1-13 0,1 0 0,0 13 16,0-13-16,-1 13 0,1 1 15,0-1-15,13 0 0,0 0 16,13 0-16,0-13 16,-13 14-16,27-14 0,-14 0 15,0 0-15,14 0 0,-14-14 0,13 14 16,1 0-16,-14-13 0,14 13 0,-14 0 16,0-13-16,0 13 0,0 0 15,1-13-15,-1 13 0,-13-13 0,13 13 16,0 0-16</inkml:trace>
  <inkml:trace contextRef="#ctx0" brushRef="#br1" timeOffset="74442.17">5040 3479 0,'159'-39'16,"-119"25"-1,13 1-15,0-13 0,0 12 0,13 1 16,-13-13-16,-1 13 0,15-1 0,-14-12 16,-1 13-16,-12-1 0,0 1 0,13 0 15,-27 13-15,1-13 0,-14 13 16</inkml:trace>
  <inkml:trace contextRef="#ctx0" brushRef="#br1" timeOffset="74646.14">5226 3770 0,'26'-13'15,"14"-13"-15,-1 12 16,14-12-16,0-1 0,13 1 0,0-14 15,27 1-15,0-1 0,-14 0 16,0 14-16,14-14 0,-14 14 0,-12-1 16,-1 14-16,0-13 0,-13 12 0,-14-12 15,1 13-15,0-1 0,-14 14 16</inkml:trace>
  <inkml:trace contextRef="#ctx0" brushRef="#br1" timeOffset="76910.59">12449 53 0,'-53'-27'15,"39"41"-15,-12-14 0,0 13 0,-1 0 16,-13 27-16,-12-14 0,12 14 0,-13 13 16,0-13-16,0 39 0,-13 0 0,13 1 15,0 12-15,0-12 0,14-1 0,-1 0 16,13-12-16,14-15 15,-13 15-15,26-14 0,0-1 0,0 1 16,13-13-16,13 13 0,1-13 0,13-1 16,12-12-16,1-1 0,0 1 0,27-14 15,-14-13-15,26 13 0,1-26 16,26 0-16,13 0 0,-13-14 0,14 1 16</inkml:trace>
  <inkml:trace contextRef="#ctx0" brushRef="#br1" timeOffset="77753.98">23363 26 0,'39'14'15,"-25"-1"-15,12 13 16,1 1-16,12-1 0,1 14 16,158 225 15,-184-213-31,-1 1 0,13 27 0,-26-27 15,-13 0-15,0 0 0,0-1 16,-1 1-16,-25 0 0,12-13 0,-12 13 16,12-13-16,-13-1 0,1 1 0,-14 0 15</inkml:trace>
  <inkml:trace contextRef="#ctx0" brushRef="#br1" timeOffset="86913.9">9221 7329 0,'26'0'0,"27"0"15,-40 0-15,14 0 16,-14 0-16,13 0 0,-12 0 0,-1 0 15,13 0-15,-12 0 0,-1 0 16,0 0-16,0 0 0,1 0 0,-1-13 16,0 13-16,0 0 0,0 0 15,1 0 1,-1 0-16,-13-14 16</inkml:trace>
  <inkml:trace contextRef="#ctx0" brushRef="#br1" timeOffset="87234.13">9538 7197 0,'13'13'16,"1"-13"-16,-1 13 0,0-13 15,-13 13-15,13 1 0,1-14 0,-1 13 16,0 0-16,0 0 0,1-13 16,-14 13-16,13 1 0,0-1 0,-13 0 15,13-13-15,-13 13 0,0 1 16,0-1-16,-13-13 0,13 13 0,-13 0 15,13 1-15,-13-1 0,-1 0 0,14 0 16,-13-13-16,0 13 0</inkml:trace>
  <inkml:trace contextRef="#ctx0" brushRef="#br1" timeOffset="92446.36">10425 7144 0,'-14'0'0,"14"39"31,0-25-31,0-1 15,0 0-15,0 0 0,0 1 16,0 12-16,0-13 0,-13 14 0,13-14 16,0 0-16,0 0 0,0 1 0,0-1 15,-13 0-15,13 14 16,-13-14-16,13 0 16,0 0-16</inkml:trace>
  <inkml:trace contextRef="#ctx0" brushRef="#br1" timeOffset="92786.03">10372 7104 0,'13'-26'0,"-26"52"0,39-52 0,-13 26 16,1-14-16,-1 14 0,0 0 0,14 14 16,-14-14-1,0 13-15,0-13 0,0 13 0,-13 0 16,14 1-16,-14-1 0,0 0 15,-14 0-15,14 0 16,-13 1-16,0-1 0,0 0 0,-14 14 16,14-14-16,0-13 15,0 13-15,-1 0 0,1 0 0,0-13 16,0 14-16</inkml:trace>
  <inkml:trace contextRef="#ctx0" brushRef="#br1" timeOffset="93139.16">10557 7276 0,'13'13'0,"-26"-26"0,26 39 0,-13-12 16,13-14-16,-13 13 15,0 0-15,0 0 0,-13-13 0,13 14 16,0-1-16,0 0 15,0-39 32,0 12-47,13 14 16,1-13-16,-14 0 0,13 13 0,0-13 16,0 13-16,0-14 0,1 14 0,-1 0 15,0 0-15,0 0 16,1 0-16,-1 14 0,0-1 15,-13 0-15,13 0 16,-13 1-16,0-1 16,0 0-16,0 0 0,0 1 15,-13-1-15</inkml:trace>
  <inkml:trace contextRef="#ctx0" brushRef="#br1" timeOffset="93359.84">10848 7302 0,'0'40'31,"0"-27"-31,0 1 0,-13-1 0,13 0 16,0 0-16,0 1 0,0-1 15,0 0-15,0 0 16,0 0-16</inkml:trace>
  <inkml:trace contextRef="#ctx0" brushRef="#br1" timeOffset="94630.82">11073 7250 0,'13'13'32,"-13"0"-17,0 0-15,0 0 16,0 1-16,13-1 15,-13 0-15,13-26 63,-13 0-47,14 13-16,-1 0 15,0 0 1,0 13-1,1-13-15,-14 13 16,0 0-16,13-13 16,0 14-16</inkml:trace>
  <inkml:trace contextRef="#ctx0" brushRef="#br1" timeOffset="94974">11404 7210 0,'0'26'16,"0"-12"-1,0-1-15,0 0 0,0 0 16,0 0-16,0 1 0,0-1 15,0 0-15,0 0 0,0 1 0</inkml:trace>
  <inkml:trace contextRef="#ctx0" brushRef="#br1" timeOffset="95144.14">11443 7064 0</inkml:trace>
  <inkml:trace contextRef="#ctx0" brushRef="#br1" timeOffset="95351.42">10848 7078 0,'40'0'15,"-27"0"-15,0 0 16,0 13-16</inkml:trace>
  <inkml:trace contextRef="#ctx0" brushRef="#br1" timeOffset="95739.95">11708 7210 0,'-53'13'31,"40"0"-31,-1 1 0,1-1 16,13 0-16,-13 0 0,0 0 16,13 1-16,-13 12 15,13-13-15,0 1 16,13-1-16,-13 0 0,13-13 15,0 13-15,0-13 16,1 0-16,-1 0 0,13 0 16</inkml:trace>
  <inkml:trace contextRef="#ctx0" brushRef="#br1" timeOffset="96491.22">11615 7104 0,'0'0'0,"0"-13"32,0 39-32,-13-12 0,13-1 15,0 13-15,-13-13 0,13 14 0,-13 13 16,13-14-16,-14 14 0,1-14 0,13 1 16,-13-1-16,13-13 0,-13 14 15,13-1-15,0-13 0,-14 1 0,14-1 16,0 0-16,-13 0 0,13 1 0,0-1 15,0 0-15,0 0 32</inkml:trace>
  <inkml:trace contextRef="#ctx0" brushRef="#br1" timeOffset="96807.93">11628 7250 0,'0'0'0,"14"-14"0,-1 1 16,0 13-16,0 0 0,1-13 16,-1 13-16,0 13 15,0-13-15,1 13 0,-1-13 16,-13 14-16,13-14 0,-13 13 0,0 0 15,0 0-15,0 0 16,0 1-16,-13-1 0,13 0 0,-13 0 16,-1-13-16,1 14 0,0-1 0,0 0 15,-1-13-15,1 13 0,0-13 16,0 14-16,-1-14 0,1 0 16,13 13-16,-13-13 0</inkml:trace>
  <inkml:trace contextRef="#ctx0" brushRef="#br1" timeOffset="97482.87">11959 7316 0,'0'0'16,"13"0"-16,-26-14 31,-13 28 0,12-14-31,14 13 0,-13-13 16,13 13-16,-13-13 15,13 13-15,0 1 16,0-1 0,13-13-1,0 0 1,1-13-16,-1-1 16,0 14-16,-13-13 15,13 13 1,1 0-16,-14 13 15,13-13 1,-13 14-16,13-14 16,0 13-1,14-26-15,-14-1 16,0 14-16,0-13 0,14 0 16,-14 0-16,0-14 0,1 14 15,-1 0-15,0-14 0,0 1 0,-13-1 16,14 14-16,-1-13 0,-13 13 15,13-1-15,-13 1 0,-13 40 32,13-14-17,-13 13-15,13-13 0,0 1 0,0 12 16,-14-13-16,14 1 0,14-1 16,-14 0-16,0 0 0,13 0 0,0 1 15,0-1-15,0-13 16,1 13-16,-1-13 0,0 0 15,0-13-15,1 13 0,-1 0 16,0 0-16</inkml:trace>
  <inkml:trace contextRef="#ctx0" brushRef="#br1" timeOffset="102190.04">12806 7263 0,'-13'0'0,"52"0"31,-25 0-31,12 0 16,0 0-16,-12 0 0,-1 0 15,0 0-15,0 13 0,1-13 0,-1 0 16,0 0-16,0 0 0,1 0 16,-1 0-16,0 0 15,0 0-15,0 0 16,1 0 0</inkml:trace>
  <inkml:trace contextRef="#ctx0" brushRef="#br1" timeOffset="102694">12978 7157 0,'13'26'31,"0"-26"-31,1 0 0,-14 14 16,13-14-16,0 13 0,0-13 15,-13 13-15,13-13 0,1 0 0,-1 13 16,0-13-16,0 14 0,1-1 15,-14 0-15,13-13 16,-13 13-16,0 0 0,0 1 16,-13-1-16,13 0 0,-14-13 0,1 13 15,0 14-15,-14-14 16,1 0-16,0 14 0,-1-14 0,1 0 16,12 0-16,1 1 0,0-1 0,0 0 15,-1 0-15,1-13 0,13 14 0</inkml:trace>
  <inkml:trace contextRef="#ctx0" brushRef="#br1" timeOffset="104933.97">13851 7117 0,'-13'27'47,"13"-14"-47,0 0 16,-14 0-16,14 1 0,-13 12 0,13 1 16,-13-14-16,13 13 0,-13-13 0,13 14 15,0-14-15,0 0 0,0 1 16,0-1-16,0 0 0,0 0 15,0 1-15,13-1 16,0-13-16,0 13 16,1-13-16,-1 0 15,0 0-15,0 0 0,1-13 16,-1 13-16,0 0 0,-13-13 16,13 13-16,1-14 15</inkml:trace>
  <inkml:trace contextRef="#ctx0" brushRef="#br1" timeOffset="105150.58">13666 7302 0,'26'-13'31,"-13"13"-31,1 0 0,-1-13 0,0 13 0,0 0 16,1 0-16,-1 0 0,13-13 16,-13 13-16,1 0 0,-1 0 0,13 0 15,-12 0-15,-1 0 0,0 0 0,0 13 16</inkml:trace>
  <inkml:trace contextRef="#ctx0" brushRef="#br1" timeOffset="105634.1">14036 7448 0,'0'-26'31,"13"12"-31,-13 1 16,14 13-16,-14-13 0,0 0 15,0-1-15,13 1 16,-13 0-16,-13 0 16,-14 13 15,27 13-31,-13 0 16,13 0-16,-13-13 15,13 14-15,0-1 0,0 0 16,13 0-16,-13 1 15,13-14-15,-13 13 16,13-13-16,1 0 0,-1 13 0,0-13 0,0 0 16,1 0-16,-1 0 0,0 0 15,0 0-15</inkml:trace>
  <inkml:trace contextRef="#ctx0" brushRef="#br1" timeOffset="105984.47">14248 7316 0,'0'0'15,"-13"0"1,13 13-16,0 0 15,0 0 1,13-13-16,-13 14 0,13-1 16,-13 0-16,0 0 15,0 1-15,13-14 0,-13 13 0,-13 0 16,13 0-16,0 0 16,-13 1-16,0-1 15,-1-13-15,1 13 16,0-13-16,0 0 15</inkml:trace>
  <inkml:trace contextRef="#ctx0" brushRef="#br1" timeOffset="106408.71">14473 7144 0,'0'-13'0,"0"26"0,-14 13 47,14-13-47,0 1 0,-13-1 0,13 13 16,0-12-16,-13-1 0,13 0 0,0 0 15,0 14-15,0-14 16,0 0-16,13 0 0,-13 1 15,13-14-15,-13 13 0,14-13 16,-1-13-16,0 13 16,0 0-16,-13-14 0,14 14 0,-14-13 15,13 13-15,-13-13 0,13 13 16,-13 13 15,0 0-31,13 1 16,-13-1-16,0 0 15,14-13-15,-14 13 16,13-13-16,-13 14 0,13-14 16,0 0-16,0 0 31</inkml:trace>
  <inkml:trace contextRef="#ctx0" brushRef="#br1" timeOffset="106658.11">14380 7276 0,'13'0'0,"67"-13"32,-67 13-32,0 0 0,0-13 15,1 13-15,12 0 0,-13 0 16,14 0-16,-14 0 0,0 0 16</inkml:trace>
  <inkml:trace contextRef="#ctx0" brushRef="#br1" timeOffset="107373.43">14936 7170 0,'0'-13'15,"-14"39"-15,1-12 16,13-1-16,0 0 16,-13 14-16,13-14 0,0 0 0,0 13 0,0-12 15,0-1-15,0 0 0,0 0 16,0 1-16,0-1 0,13 0 16,-13 0-16,0 1 15,-26-28 16,26 1-31,-13 13 16,-1 0-16,1-13 0,0 13 0,0 0 16,-1 0-16,-12 0 0,13 13 0,-14-13 15,14 13-15,0-13 0,0 14 16,-1-14-16,1 13 0,0-13 0,13 13 16,-13 0-16,26 0 15,0-13-15,0 14 16,1-14-16,12 0 0,-13 0 15,14 13-15,-14-13 0,13 0 0,1 0 16,-1-13-16,1 13 0,-1 0 0,1 0 16,-1-14-16</inkml:trace>
  <inkml:trace contextRef="#ctx0" brushRef="#br1" timeOffset="107534.76">15386 7448 0</inkml:trace>
  <inkml:trace contextRef="#ctx0" brushRef="#br1" timeOffset="130900.29">10808 4286 0,'27'-13'31,"-14"13"-31,0 0 0,0-13 0,1 13 16,-1-13-16,0 13 0,0 0 15,1-14-15,-41 14 47,14 14-47,0-14 16,-14 13-16,14-13 0,0 13 16,-14-13-16,14 13 0,0-13 0,-14 13 15,14 1-15,0-14 0,0 13 16,13 0-1,13 0-15,0-13 16,0 14-16,1-1 0,12-13 16,-13 13-16,0-13 0,1 0 15,-1 13-15,0-13 0,0 14 16,1-1-16,-14 0 16,0 0-16,-14 0 15,14 1-15,-13-14 0,0 13 16,0 0-16,-1-13 0,1 13 15,0 1-15,0-14 0,0 0 16,-1 13-16,1 0 0,0-13 16,0 0-1</inkml:trace>
  <inkml:trace contextRef="#ctx0" brushRef="#br1" timeOffset="131238.01">11060 4273 0,'-14'-13'16,"14"26"-16,0 0 16,0 0-16,0 1 0,0-1 0,0 0 15,0 0-15,0 1 0,14-1 0,-1 0 16,0-13-16,-13 13 15,13-13-15,0 0 0,14 0 0,-14 0 16,0 0-16,1 0 0,-1-13 16,0 13-16,0-13 0,1 13 0,-1-13 0,-13-1 15,13 14-15,-13-13 0,0 0 16,0 0-16,-13-1 0,13 1 16,-13 0-16,13 0 0,-14 0 15,1 13-15,13-14 0,-13 14 16,0-13-16,-1 13 0,1 0 0,-13 0 15,12 0-15,1 0 0,0 0 16,0 0-16,0 0 0</inkml:trace>
  <inkml:trace contextRef="#ctx0" brushRef="#br1" timeOffset="131741.76">10491 4101 0,'-27'27'0,"54"-54"0,-80 67 0,40-27 0,-1 0 15,14 14-15,-13-1 0,0 14 16,0-1-16,13 1 0,0 0 0,0 0 16,13-1-16,0 1 0,0 0 0,14-1 15,-14 1-15,27 0 0,-14-14 16,14-13-16,0 14 0,39-1 15,-39-13-15,-1-13 0,1 14 16,0-14-16,13-14 0,-14 14 16,14-13-16,0 0 0,-13 0 0,13 0 15,-14-1-15,14-12 0,-13 13 0,-14-14 16,14 14-16,-13-13 0,12-1 16,-12 1-16,-14-1 0,13 1 0,-12-1 15,12 1-15,-13-1 0,1 1 0,-14-14 16,13 14-16,0-14 0,-13 0 0,0 1 15,0-1-15,0 0 0,-13 1 16,0-1-16,13 0 0,-27 14 0,14-14 16,-14 14-16,-12 12 0,12-12 0,-12 13 15,-14-1-15,13 1 0,-13 13 16,13-13-16,-13 13 0,1 0 16,-1 0-16,0 13 0,0-13 0,0 13 15,0 1-15,0-1 0,0 0 0,13 0 16,1 14-16,-1-14 0,0 14 15,14-14-15,0 13 0,-14 1 0,27-1 16,-1-13-16,1 14 0,0-14 0,0 0 16</inkml:trace>
  <inkml:trace contextRef="#ctx0" brushRef="#br1" timeOffset="134119">11536 4643 0,'13'0'31,"14"0"-15,-1 0-16,-13 14 0,27-14 0,-14 0 16,27 0-16,-13 0 0,13 0 0,13 0 15,-13-14-15,13 14 16,0-13-16,0 13 0,14-13 0,-14 0 15,0 13-15,0-13 0,0-1 0,-13 14 0,0-13 16,-13 13-16,13-13 16,-27 13-16,1 0 0,-1-13 0,-13 13 15,14 0-15,-14 0 0,0 0 0,1 0 16,-1 0-16,0 0 16,0-14-16,0 14 15,1 0-15,-1 0 16,0 0 15,0 0-15</inkml:trace>
  <inkml:trace contextRef="#ctx0" brushRef="#br1" timeOffset="134651.9">13322 4313 0,'26'-14'0,"-13"14"15,1 0-15,-1 0 0,0 0 16,0 0-16,1 14 0,-1-14 15,0 0-15,0 13 0,-13 0 0,0 0 16,0 1-16,0-1 16,0 0-16,-13 0 0,0 1 0,0 12 0,-1-13 15,1 0-15,0 1 0,0-14 16,-1 13-16,14 0 0,-13-13 16,13 13-16,-13-13 0,13 14 0,0-1 31,26-13-31,-12 0 15,12 0-15,-13 0 0,1 0 16,-1-13-16,13 13 0,-12 0 0,-1 0 16,0-14-16,0 14 0,0 0 15,1-13-15,-1 13 0,0 0 0,0-13 16</inkml:trace>
  <inkml:trace contextRef="#ctx0" brushRef="#br1" timeOffset="134991.04">13772 4313 0,'0'0'0,"-27"0"0,14 0 0,0 0 15,-1 0-15,14 13 0,0 0 16,0 14-1,14-14 1,-14 0-16,13 0 0,-13 1 16,13-14-16,-13 13 0,13 0 15,-13 0-15,0 0 0,14 1 0,-14-1 16,0 0-16,-14 0 0,14 1 16,-13-1-16,13 0 15,-13-13-15,0 13 0,-1-13 16,14 14-16,-13-14 0,13 13 0,-13-13 15,0 0-15</inkml:trace>
  <inkml:trace contextRef="#ctx0" brushRef="#br1" timeOffset="135350.57">14168 4432 0,'53'0'31,"-39"0"-31,-1-13 0,0 13 16,14 0-16,-14 0 0,13 0 0,-13 0 16,14-14-16,-14 14 0,0 0 0,1 0 15,12 0-15,-13-13 0,0 13 16,1 0-16,-1 0 15,0-13-15</inkml:trace>
  <inkml:trace contextRef="#ctx0" brushRef="#br1" timeOffset="135590.04">14354 4247 0,'53'0'31,"-27"13"-31,-13-13 0,0 0 0,14 13 0,-1 0 16,1-13-16,-14 13 0,14 1 15,-1-1-15,-13 0 0,0 0 16,1 1-16,-14-1 0,13 0 0,-13 0 16,0 1-16,0-1 0,-13 13 0,13-13 15,-14 1-15,1 12 0,0-13 16,0 1-16,0-1 0,13 0 0,-14 0 15,1 1-15,0-14 0</inkml:trace>
  <inkml:trace contextRef="#ctx0" brushRef="#br1" timeOffset="137545.91">15161 4419 0,'39'-40'15,"-25"40"1,-1-27-16,0 14 0,0-13 15,0 12-15,-13 1 0,14 0 16,-14 0-16,13 0 0,-13-1 0,0 1 16,-13 0-16,13 0 15,-14 13-15,-12 13 16,13 0-16,0-13 0,-1 27 16,1-14-16,0 0 0,0 0 0,13 14 15,-14-14-15,14 0 0,0 0 16,0 1-16,0-1 0,0 0 15,14 0-15,-1 1 0,0-1 16,0 0-16,14-13 0,-1 0 16,-13 0-16,14 0 15,-14 0-15,14-13 0,-14 13 0,13 0 16,-12-13-16,-1 13 0,13-14 0,-13 14 16,1-13-16,12 13 0,-13-13 15,1 0-15,-1-1 0,0 1 16,-13 0-16,0 0 15,0-1 1,-13 14-16,0 14 16,-14-14-1,27 13-15,-13-13 0,0 13 16,-1-13-16,14 13 0,-13 1 16,13-1-16,0 0 15,13-13 1,1 0-1,-1 0-15,0 0 0,0-13 0,1 13 16,-14-13-16,13 13 0,0 0 0,0-14 16,1 14-16,-1 0 15,0 0-15,0 0 16,0 0 0,1 0-1,-1 0-15,0 0 16,0 0-16,1 0 0,-1-13 15,0 0-15,0 0 0,0-1 16,1 1-16,-1 0 0,0 0 16,0-27-16,1 14 0,-1-1 0,0-12 15,-13 12-15,13 14 0,-13-14 0,14 14 16,-14 0-16,0 0 0,0-1 16,0 1-16,0 40 15,0-14 1,0 13-16,-14-12 0,28 12 15,-14 1-15,0-1 0,0-13 16,13 14-16,-13-1 0,13-13 0,0 14 16,-13-14-16,13 0 0,1 0 0,-14 1 15,13-1-15,0-13 0,-13 13 16,13-13-16,1 0 0,-1 0 16,0-13-16</inkml:trace>
  <inkml:trace contextRef="#ctx0" brushRef="#br1" timeOffset="137749.87">15703 4141 0,'0'0'0,"26"0"31,1 0-31,-14 0 16,14 0-16,-1-13 0,1 13 15,-1 0-15,14-14 0,-1 1 0,1 13 16,0-13-16,-1 0 0,-12 13 0,-1 0 16,14 0-16,-14 0 0</inkml:trace>
  <inkml:trace contextRef="#ctx0" brushRef="#br1" timeOffset="138030.6">16761 4207 0,'27'-13'31,"-14"13"-31,0 0 0,1 0 0,12 0 15,-13 0-15,0-14 0,1 14 16,-1 0-16,13 0 0,-12 0 0,-1 0 16,0-13-16,0 13 0,0 0 15,1 0-15,-1-13 0,0 13 0,0 0 16,-13-13-16</inkml:trace>
  <inkml:trace contextRef="#ctx0" brushRef="#br1" timeOffset="138283.79">16907 3995 0,'26'0'0,"-12"0"0,12 13 16,-13-13-16,0 14 0,1-1 0,12 0 15,-13 0-15,14 1 0,-14 12 16,0-13-16,1 1 0,-1-1 0,0 0 15,-13 13-15,13-12 0,-13-1 0,0 0 16,0 14-16,-13-14 0,13 0 16,-13 0-16,13 14 0,-13-14 0,-1 0 15,1 0-15,0 1 0,0-1 0,-1-13 16,1 13-16,0-13 0</inkml:trace>
  <inkml:trace contextRef="#ctx0" brushRef="#br1" timeOffset="138985.99">17754 4128 0,'-14'13'31,"1"0"-15,13 0-1,-13-13-15,13 13 0,0 1 0,0-1 16,0 0-16,13-13 15,-13 13-15,13 1 16,1-14-16,-1 0 16,0 0-16,0-14 15,0 14-15,-13-13 16,14 13-16,-14-13 0,13 13 16,0 0 15,0 0-31,-13 13 15,14-13-15,-14 13 0,13-13 0,0 0 16,0 14 0,1-14-16,-1 0 15,-13-14-15,13 14 16,-13-13-16,13 0 0,-13 0 16,0-1-16,13 1 15,-13 0-15,0 0 16,0 0-1,14 13 17</inkml:trace>
  <inkml:trace contextRef="#ctx0" brushRef="#br1" timeOffset="139331.59">18058 4114 0,'-27'14'0,"67"-28"0,-53 14 0,53 0 16,-40 14-16,13-14 0,0 0 15,-13 13-15,13 0 0,0-13 16,1 13-16,-1 0 0,0-13 0,-13 14 15,13-1-15,-13 0 0,14 0 16,-14 1-16,13-1 16,-13 0-16,13-26 47,0 0-47,0-1 15,-13 1-15,14 13 0,-14-13 0,13 0 16,0 13-16,0 0 0,-13-14 0,14 14 15,-1 0-15,0 0 16,0 0-16,1 14 0,-1-14 16,-13 13-16,13 0 0,-13 0 15,13-13-15,-13 14 0,0-1 16,0 0 0,0 0-1</inkml:trace>
  <inkml:trace contextRef="#ctx0" brushRef="#br1" timeOffset="139456.2">18468 4061 0,'0'-13'0,"-13"13"15</inkml:trace>
  <inkml:trace contextRef="#ctx0" brushRef="#br1" timeOffset="139838.72">18627 3916 0,'13'0'15,"-26"0"-15,26 13 31,-13 0-31,0 14 0,0-14 0,0 13 16,13-12-16,-13 12 0,0-13 16,0 14-16,0-14 0,0 14 0,13-14 15,-13 13-15,0-13 0,14 1 0,-14-1 16,13-13-16,-13 13 0,13-13 0,-13 13 16,13-13-16,14 0 15,-14-13 1,0 0-16,0 0 15,1 13 1,-14-14-16,13 28 16,-13-1-1,13-13-15,0 13 16,-13 0-16,14-13 16,-14 14-16,13-14 0,0 0 15,0-14 1,0 14-16,-13-13 15</inkml:trace>
  <inkml:trace contextRef="#ctx0" brushRef="#br1" timeOffset="140038.68">18481 4075 0,'40'0'31,"-27"0"-31,14-14 15,12 14-15,1-13 0,0 0 0,-1 0 16,14 13-16,-13-14 0,13 1 0,-14 0 16,1 0-16,-13 13 0,-14-13 15,0 13-15,0-14 0,-39 14 16,-1 0 0,-26 14-16</inkml:trace>
  <inkml:trace contextRef="#ctx0" brushRef="#br1" timeOffset="140802.07">11695 4815 0,'26'14'0,"-13"-1"15,27 0-15,0 0 0,13 14 0,13-14 16,0 27-16,26-14 0,14 14 0,0 0 16,0-1-16,13 1 0,-13 0 15,0-14-15,0 14 0,-14-14 16,-12 1-16,-14-1 0,0 1 0,0-1 15,-13 1-15,0-14 0,-14 0 16,1 13-16,-13-26 0,12 27 16,-25-27-16,-1 13 0,0-13 15,0 0-15,0 0 16,-13-13-16,14 0 16,-14-1-16,13 14 15</inkml:trace>
  <inkml:trace contextRef="#ctx0" brushRef="#br1" timeOffset="141172">13772 5199 0,'0'0'15,"13"0"-15,0 0 0,0 13 0,0-13 0,-13 14 16,14-14-16,-14 13 0,13 0 16,-13 0-16,0 0 0,0 14 15,-13-14-15,13 14 0,-14-14 0,1 13 16,13-12-16,-13 12 0,0-13 16,13 0-16,-13-13 0,13 14 0,-14-1 15,14 0-15,-13-13 0,13 13 16,13-13 15,14-13-15,-14 13-16,0 0 0,0-13 0,1 13 15,-1-13-15,0 13 0,0-14 16,1 14-16,-1-13 0,0 13 16,0-13-16,1 13 0,-1-13 0</inkml:trace>
  <inkml:trace contextRef="#ctx0" brushRef="#br1" timeOffset="141455.06">14116 5226 0,'-27'0'32,"14"13"-32,13 13 15,0-13 1,0 1-16,13-1 0,-13 0 15,13-13-15,-13 13 0,14 1 16,-14-1-16,0 0 0,13 0 0,-13 1 16,0-1-16,0 0 15,0 0-15,0 0 0,-13 1 16,13-1-16,-14-13 0,1 13 16,13-39 15</inkml:trace>
  <inkml:trace contextRef="#ctx0" brushRef="#br1" timeOffset="141709.96">14790 5345 0,'27'0'31,"-1"-14"-31,-13 14 0,1 0 0,-1 0 16,0-13-16,0 13 0,0 0 15,40-26 1,-39 26-16,-1-14 15</inkml:trace>
  <inkml:trace contextRef="#ctx0" brushRef="#br1" timeOffset="141950.37">14870 5133 0,'26'13'0,"40"0"31,-39 1-31,-14-1 0,13 0 0,-12-13 16,12 27-16,0-14 0,-12 0 0,-1 0 15,0 0-15,-13 1 0,13 12 0,-26-13 16,13 1-16,0 12 0,-13-13 16,0 14-16,13-14 0,-14 13 0,1-12 15,0 12-15,0-13 0,0 1 0,-1-14 16,14 13-16</inkml:trace>
  <inkml:trace contextRef="#ctx0" brushRef="#br1" timeOffset="143294.91">15729 5159 0,'0'40'31,"0"-27"-15,0 1-16,0-1 0,0 0 0,14 0 0,-14 0 15,0 1-15,0-1 16,0 0-16,13 0 0,-13 1 15,0-1-15,0 0 32,13-26 30,-13 0-62,0-1 16,0 1-16,0 0 0,13 0 15,-13-1-15,0 1 16,0 0-16,0 0 16,0 0-16,0-1 0,0-12 15,0 13 1,0-1 0,14 28 30,-1-1-46,-13 0 16,13 0-16,-13 1 0,13-14 16,-13 13-16,14 0 0,-1-13 0,-13 13 15,13-13-15,-13 13 0,13-13 0,-13 14 16,13-14 0,1 0-1,-1-27 1,-13-65 15,0 78-15,0-52 15,13 66-31,0-13 16,1 13-16</inkml:trace>
  <inkml:trace contextRef="#ctx0" brushRef="#br1" timeOffset="143595.1">16087 5067 0,'0'13'0,"0"-26"0,0 39 0,-14-26 15,14 13-15,0 1 0,0-1 0,0 0 16,0 0-16,14 1 0,-14-1 16,13 0-16,0 0 0,0 1 15,1-1-15,-1-13 0,0 0 16,0 0-16,0 13 0,1-13 15,-1-13-15,0 13 0,0-13 16,-13-1 0,0-12-16,0 13 15,-13-1-15,13 1 0,-13 0 16,0 13-16,13-13 0,-14-1 0,1 14 16,13-13-16,-13 13 0,0 0 15,0 0-15,-1 13 16,1-13-16,13 14 15</inkml:trace>
  <inkml:trace contextRef="#ctx0" brushRef="#br1" timeOffset="144164.26">16007 5543 0,'0'40'0,"0"26"32,0-40-32,0-12 0,0-1 0,0 0 15,0 0-15,0 0 0,-13 1 16,13-1-16,0 0 15,13 0 1,-13-39 0,14 13-16,-14-1 15,13 1-15,0 13 0,-13-13 16,13 0-16,0 13 0,-13-13 0,14 13 16,-1 0-16,0 0 0,0 0 15,-13 13-15,14-13 0,-14 13 16,13 0-16,-26 14 15,-1-14 1,14 0-16,-13-13 0,13 13 16,-13-13-16,0 14 0,-1-1 15</inkml:trace>
  <inkml:trace contextRef="#ctx0" brushRef="#br1" timeOffset="144394.87">16325 5503 0,'0'27'31,"0"-14"-31,0 0 16,0 0-16,0 1 0,0-1 15,0 0-15,0 0 16,0 1-16,0-1 0,0 0 0,0 0 16,0 1-16,13-1 15</inkml:trace>
  <inkml:trace contextRef="#ctx0" brushRef="#br1" timeOffset="144587.21">16298 5543 0,'27'-26'32,"-27"12"-32,13 14 0,0 0 0,0-13 15,1 13-15,-1 0 0,0 0 16,0 0-16</inkml:trace>
  <inkml:trace contextRef="#ctx0" brushRef="#br1" timeOffset="144746.69">16325 5622 0,'-13'14'16,"39"-28"15,0 14-16,-12 0-15,-14-13 0,13 13 16,0-13-16,0 13 0,14-13 16,-14 13-16,0-14 0</inkml:trace>
  <inkml:trace contextRef="#ctx0" brushRef="#br1" timeOffset="145061.65">17079 5252 0,'26'0'16,"1"0"-16,-14 0 0,0-13 16,14 13-16,-1 0 0,-13 0 15,14-13-15,-14 13 0,14 0 16,-14 0-16,13-14 0,-13 14 0,14 0 16,-14-13-16,0 13 0,1 0 15,-1-13-15</inkml:trace>
  <inkml:trace contextRef="#ctx0" brushRef="#br1" timeOffset="145313.79">17251 5054 0,'0'0'0,"40"13"0,-27 0 15,13-13-15,-13 0 0,1 13 0,12 0 16,-13-13-16,14 14 0,-14-1 0,0 0 16,0 0-16,1 1 0,-1-1 15,0 0-15,-13 0 0,0 1 0,0-1 16,0 0-16,0 0 0,-13 14 0,13-14 16,-13 0-16,-1 0 0,14 1 15,-13-1-15,13 0 0,-13-13 0</inkml:trace>
  <inkml:trace contextRef="#ctx0" brushRef="#br1" timeOffset="146672.91">18177 5014 0,'-13'26'47,"13"-12"-47,0-1 15,0 0-15,0 0 0,0 0 16,13 1-16,-13-1 15,0 0-15,13-13 0,-13 13 16,13-13-16,-13 14 0,14-14 16,-1 0-1,0 0-15,0-14 0,0 1 16,-13 0-16,14 0 16,-14-1-16,0 1 0,13 13 15,-13-13-15,0 0 16,0 0-16,13 13 15,-13 13 17,13 0-32,1 0 15,-14 0 1,13-13-16,-13 14 0,13-14 16,0 13-16,1-13 15,-1 0 1,-13-13-16,13 13 0,-13-14 15,0 1-15,13 13 0,-13-13 16,0 0-16,0 0 0,0-1 16,0 1-16,0 0 0,0 0 15,-13-1-15,13 1 16,0 40 15,0-14-15,0 0-16,0 0 15,0 1-15,0-1 0,13 0 0,-13 0 16,13 0-16,1 1 16,-1-14-1,0 0 1,0 0-16,-13-14 0,14 14 16,-14-13-16,13 13 15,0 0-15,0 0 0,1 0 16,-1 0-1,0 13-15,0 1 16,-13-1 0,0 0-1,0 0-15,13-39 63,-13 13-63,14-1 15,-14 1-15,13 0 16,0 0-16,0 0 16,1 13-16,-1-14 15,0 14-15,0 0 16,0 0-16,1 0 16,-1 0-1,0 0 1,-13 14-16,13-1 15,-13 0 1,14 0 0,-14 0-1</inkml:trace>
  <inkml:trace contextRef="#ctx0" brushRef="#br1" timeOffset="147138.87">18944 4842 0,'0'13'0,"-13"40"31,13-40-31,0 0 16,-13 1-16,26-1 0,-13 0 15,0 0-15,13-13 0,-13 14 0,13-14 16,1 0-16,-1 13 0,13-26 31,-12 13-31,-1 0 0,0-14 16,0 14-16,0 0 16,1 0-1,-1 14 1,0-1-1,-13 0 1,13-13-16,14 0 31</inkml:trace>
  <inkml:trace contextRef="#ctx0" brushRef="#br1" timeOffset="147307.07">18931 4948 0,'26'0'31,"-12"0"-31,-1-14 16,0 14-16,0 0 0,1 0 15,-1-13-15</inkml:trace>
  <inkml:trace contextRef="#ctx0" brushRef="#br1" timeOffset="147765.67">19976 4101 0,'26'-13'16,"-12"13"-16,-1 0 0,0 0 15,0 0-15,14 0 0,-14-13 0,14 13 16,-1 0-16,-13-14 0,14 14 16,-14 0-16,13 0 0,-12-13 0,-1 13 15,13 0-15,-26-13 0</inkml:trace>
  <inkml:trace contextRef="#ctx0" brushRef="#br1" timeOffset="148002.15">20135 3916 0,'0'0'0,"0"-13"0,13 26 31,0-13-31,14 13 16,-14 0-16,0 1 0,14-14 0,-14 13 16,13 0-16,-12 0 0,-1 0 15,0 1-15,0-1 0,0 0 0,1 0 16,-14 1-16,13-14 0,-13 13 0,0 0 15,13 0-15,-13 1 0,0-1 16,-13 0-16,13 0 0,0 0 0,0 14 16,0-14-16,-13 0 0,13 14 15</inkml:trace>
  <inkml:trace contextRef="#ctx0" brushRef="#br1" timeOffset="148289.91">20029 4948 0,'0'0'0,"13"-14"0,0 14 15,1 0-15,-1-13 0,0 13 0,0 0 16,14-13-16,-14 13 0,13 0 16,-12-13-16,12 13 0,-13-13 0,14 13 15,-14 0-15,0-14 0,1 14 0,-1-13 16,0 13-16,0-13 0</inkml:trace>
  <inkml:trace contextRef="#ctx0" brushRef="#br1" timeOffset="148508.87">20333 4683 0,'40'13'31,"-27"1"-31,0-14 0,1 13 0,-1 0 16,0 0-16,0-13 0,1 13 15,-1 1-15,-13-1 0,13 0 16,-13 0-16,0 1 0,0-1 0,0 0 0,0 0 15,-13 1-15,0-1 0,13 0 16,-14 0-16,1 0 0,0 1 16,0-14-16,-1 13 0,1-13 15</inkml:trace>
  <inkml:trace contextRef="#ctx0" brushRef="#br1" timeOffset="150842.66">21484 3678 0,'0'0'0,"-13"13"47,0 0-32,-1 0-15,1 1 0,0-1 0,0 0 0,0 0 16,-1 14-16,-12-14 0,13 0 16,-1 0-16,14 1 0,-13-1 15,0 0-15,0 0 0,-1 1 16,14-1-1,14-13 1,-1 0-16,0 0 16,0 0-16,1-13 0,-1 13 15,13 0-15,-12-14 0,12 14 16,-13 0-16,14-13 0,-14 13 0,0 0 16,0-13-16,1 13 0,-1 0 0,0 0 15,-13-13-15,13 13 0,1 0 16,-14-14-1</inkml:trace>
  <inkml:trace contextRef="#ctx0" brushRef="#br1" timeOffset="151064.56">21537 3704 0,'0'-13'15,"-13"0"1,0 26-1,13 0-15,0 0 16,0 1-16,0-1 0,0 0 0,-14 0 16,14 1-16,0-1 0,0 13 15,0-13-15,0 1 0,0 12 16,0-13-16,0 1 0,-13-1 0,26 0 16,-13 0-16,0 1 0,14-14 15</inkml:trace>
  <inkml:trace contextRef="#ctx0" brushRef="#br1" timeOffset="151371.23">21775 3717 0,'-13'14'15,"13"-1"-15,-13 0 0,13 0 0,0 1 16,0-1-16,0 0 15,0 0-15,0 0 0,13-13 16,-13 14-16,13-14 0,0 13 0,1-13 16,-1 0-16,0 0 0,0 0 15,1-13-15,-1 13 0,0 0 0,0-14 16,1 1-16,-1 13 0,-13-13 0,0 0 16,13 0-16,-26-1 15,13 1-15,-13 0 16,-1 0-16,1 13 0,0-14 0,0 14 15,-1 0-15,1 0 0,0 0 16,0 0-16,-1 0 0,1 0 16,0 0-16</inkml:trace>
  <inkml:trace contextRef="#ctx0" brushRef="#br1" timeOffset="151844.6">22529 3334 0,'0'39'16,"0"-12"-16,-13-14 16,13 14-16,0-1 0,-13 14 15,13-1-15,-13 1 0,13 0 0,-14-14 16,1 14-16,13 0 0,-13-14 0,0 1 16,13-1-16,-14 0 0,14 1 15,0-14-15,-13 0 0,13 1 0,0-1 16,-13 0-16,13 0 15</inkml:trace>
  <inkml:trace contextRef="#ctx0" brushRef="#br1" timeOffset="152222.41">22834 3664 0,'0'0'0,"0"-13"0,-14 13 31,-12 13-31,13-13 16,-1 0-16,1 14 0,0-14 0,0 13 16,-1-13-16,14 13 0,-13-13 15,13 13 1,0 1-1,0-1-15,13-13 0,-13 13 16,14 0 0,-14 1-16,0-1 15,-14-13-15,14 13 0,0 0 16,-13-13-16,0 13 0,0 1 16,0-1-16,-1-13 0,1 13 15,13 0-15,-13-13 0,0 14 0,-1-14 16,14 13-16</inkml:trace>
  <inkml:trace contextRef="#ctx0" brushRef="#br1" timeOffset="152522.87">22873 3664 0,'13'0'16,"-13"14"-16,0-1 15,0 0-15,0 0 16,14 1-16,-14-1 16,13 0-16,0-13 15,-13 13-15,13-13 0,1 0 16,-1 0-16,0-13 0,0 13 16,1-13-16,-14 0 15,0-1 1,0 1-16,0 0 0,-14 0 15,14-1-15,-13 14 16,0 0-16,0-13 0,-1 13 16,1 0-16,-13 0 0,12 0 15,1 0-15,-13 0 0,13 0 0,-14 13 16,1-13-16</inkml:trace>
  <inkml:trace contextRef="#ctx0" brushRef="#br1" timeOffset="155019.04">21550 4723 0,'14'-13'0,"-28"26"0,41-26 16,-14 13-16,0 0 16,-13 26-16,0-13 15,-13 0-15,13 1 16,-13-1-16,0 0 0,-1 0 0,14 1 15,-13-1-15,0 0 16,13 0 0,13-13-1,0 0-15,1 0 0,-1 14 0,0-14 16,0 0-16,0 0 16,1 0-16,-14 13 0,13-13 0,-13 13 15,0 0 1,-13 0-16,-1-13 15,1 14-15,0-14 0,0 13 16,0-13-16,-1 0 16</inkml:trace>
  <inkml:trace contextRef="#ctx0" brushRef="#br1" timeOffset="155398.37">21788 4723 0,'0'0'0,"14"13"15,-1-13-15,0 13 16,-13 0-16,0 1 16,0-1-16,13 0 0,-13 0 15,-13 1-15,13-1 0,0 0 0,0 0 16,-13 1-16,13-1 0,-13 0 15,13 0-15,-14-13 16,41-26 15,-14 13-31,0-1 0,1 1 0,25-40 16,-25 40 0,-1-14-16,0 14 0,-13 0 0,13 0 15,-13 0-15,0-1 0,0 1 16,-13 0-16,0 0 15,0 13-15,-1-14 16,1 14-16,-13 0 16,12 14-16,1-14 15</inkml:trace>
  <inkml:trace contextRef="#ctx0" brushRef="#br1" timeOffset="155638.79">22172 4471 0,'0'0'0,"13"14"15,-13-1-15,0 0 16,0 14-16,0-14 0,0 13 16,0 14-16,0 0 0,0-1 0,0 1 15,-13 0-15,13-1 0,-13 1 0,13 0 16,-13-14-16,13 14 0,0-27 15,-14 14-15,14-14 0,0 0 0,0 0 16,0 1-16,0-1 0,0 0 16,27-26-1</inkml:trace>
  <inkml:trace contextRef="#ctx0" brushRef="#br1" timeOffset="156026.1">22595 4815 0,'0'0'0,"-13"-13"0,0 13 0,0 0 15,-14 0 1,14 13-16,0-13 0,0 0 16,-1 0-16,1 14 15,13-1-15,13 0 16,1-13 0,-14 13-16,13-13 0,-13 14 0,13-14 15,-13 13-15,13-13 0,-13 13 16,0 0-1,-13 0-15,0 1 0,0-1 16,-1-13-16,1 13 16,0-13-16,0 13 0,-1-13 15</inkml:trace>
  <inkml:trace contextRef="#ctx0" brushRef="#br1" timeOffset="156327.06">22714 4882 0,'27'39'31,"-14"-26"-31,0-13 0,1 14 16,-1-14-16,0 0 15,0 0-15,1 0 0,-1 0 0,0 0 16,0 0-16,0-14 0,1 14 15,-14-13-15,13 13 0,-13-13 16,0 0-16,0 0 16,-13 13-16,13-14 0,-14 14 0,1-13 15,0 13-15,0-13 0,0 13 16,-1 0-16,1 0 0,0 0 0,0 0 16,-1 0-16,-12 0 0,13 0 0,-1 0 15,1 13-15,0-13 0,0 0 16,0 0-16,-1 13 0</inkml:trace>
  <inkml:trace contextRef="#ctx0" brushRef="#br1" timeOffset="157819.04">23257 3717 0,'0'-13'15,"13"13"-15,-13 13 32,13-13-17,-13 14-15,0-1 0,0 0 0,0 0 16,14 1-16,-14 12 0,0-13 0,0 0 16,13 1-16,-13-1 0,0 0 15,13-13-15,-13 13 0,0 1 0,13-14 16,-13 13-16,13-13 0,1 0 15,-1 0-15,0 0 16,0 0-16,1-13 0,12-1 0,1 1 16,12 0-16,-12-14 0,12 1 0,1 13 15,13-14-15,-13 1 16,-1-1-16,1 14 0,0-13 0,-1 12 16,-12 1-16,13-13 0,-14 13 0,0-1 15,1 1-15,-14 13 0,0-13 0,1 0 16,-1 13-16,0 0 0,0-14 15,1 14-15,-14-13 0,13 13 16,0 0-16,-13-13 16,13 13-16</inkml:trace>
  <inkml:trace contextRef="#ctx0" brushRef="#br1" timeOffset="164614.81">5662 6879 0,'40'0'15,"-14"13"1,-13-13-16,14 0 0,26 14 0,-27-14 16,14 0-16,13 13 0,13-13 15,-40 13-15,14-13 0,-13 0 16,12 0-16,-12 0 0,-1 13 0,1-13 15,-14 0-15,13 0 0,-12 0 0,-1 0 16,0 0-16</inkml:trace>
  <inkml:trace contextRef="#ctx0" brushRef="#br1" timeOffset="164995.26">5953 6959 0,'0'0'0,"40"0"32,-14 0-32,1 0 0,-1 0 0,1 0 15,12 0-15,-12 0 0,52 0 0,-39 0 16,0 0-16,-1-14 0,-12 14 16,12 0-16,-12 0 0,-1 0 0,1-13 15,-14 13-15,13 0 0,-12 0 16,-1 0-16,0 0 0,0 0 0,1 0 15,-1 0-15,0 0 16,0 0 0,1 0-16,-1 0 15,0 0 1</inkml:trace>
  <inkml:trace contextRef="#ctx0" brushRef="#br1" timeOffset="177411.07">21775 10372 0,'93'0'16,"-53"0"-16,-14 0 0,199 0 31,-159 0-31,0 0 0,0 0 0,0 0 15,-13 0-15,0 0 0,13 0 0,-13 0 16,13 0-16,-13 0 0,0 0 16,-13-14-16,0 14 0,-1 0 0,-12 0 15,-1 0-15,1 0 0,-14 0 0,0 0 16,0 0-16,1 0 0,-1 0 16</inkml:trace>
  <inkml:trace contextRef="#ctx0" brushRef="#br1" timeOffset="177639.78">22622 10385 0,'26'0'0,"-12"0"0,-1 0 16,146 13-1,-133-13 1,14 0-16,-1 0 0,-12 0 0,13 0 15,-14 0-15,0 0 16,-12 0-16,12 0 0,-13 13 0,1-13 0,-1 0 16,0 0-16</inkml:trace>
  <inkml:trace contextRef="#ctx0" brushRef="#br1" timeOffset="179448.91">7885 11126 0,'66'-14'32,"-53"14"-32,0 0 0,14-13 15,-1 13-15,1 0 0,-1 0 0,14 0 16,-1 0-16,14 0 0,-13 0 0,26 0 15,-13 0-15,0 0 0,13-13 16,-13 13-16,13 0 0,-13 0 0,13 0 16,14-13-16,-14 13 0,13 0 0,1-13 15,-14 13-15,0-14 0,0 14 16,-13 0-16,0 0 0,0-13 0,0 13 16,0 0-16,-1-13 0,1 13 15,-13 0-15,13 0 0,-13 0 0,13 0 16,-1 0-16</inkml:trace>
  <inkml:trace contextRef="#ctx0" brushRef="#br1" timeOffset="180159.96">13242 11192 0,'199'0'16,"-146"0"-16,370-13 31,-344 13-31,1 0 0,-1-14 0,1 14 16,12 0-16,-12 0 0,-1-13 16,0 13-16,1 0 0,-1-13 0,0 13 15,1-13-15,-1 13 0,-13-14 16,0 14-16,-13-13 0,0 13 0,0-13 15,0 13-15,-26 0 0,12-13 0,-12 13 16,-14 0-16,13 0 0,-12 0 0,-1 0 16,0-13-16,0 13 0,1 0 0,-1 0 15,0 0 1,0 0-16</inkml:trace>
  <inkml:trace contextRef="#ctx0" brushRef="#br1" timeOffset="182303.33">19910 10821 0,'0'-13'0,"0"40"47,0-14-47,0 0 16,0 0-16,0 1 15,0-1-15,13-13 0,-13 13 16,13-13-16,1 0 16,-1 0-16,13 0 0,1 0 0,-1-13 15,14 0-15,0-1 0,12 1 16,15-13-16,-14-1 0,-1 14 0,1-13 16,-13 12-16,13 1 0,-27 0 15,14 0-15</inkml:trace>
</inkml:ink>
</file>

<file path=ppt/ink/ink1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6.829"/>
    </inkml:context>
    <inkml:brush xml:id="br0">
      <inkml:brushProperty name="width" value="0.025" units="cm"/>
      <inkml:brushProperty name="height" value="0.025" units="cm"/>
      <inkml:brushProperty name="ignorePressure" value="1"/>
    </inkml:brush>
  </inkml:definitions>
  <inkml:trace contextRef="#ctx0" brushRef="#br0">78 1,'-3'6,"-2"6,1 5,1 1,-3 2,0 1,1 0,1-1,-2-3,1-1,0-1,2 1,-3 1,0 1,2 1,0 0,2-3</inkml:trace>
</inkml:ink>
</file>

<file path=ppt/ink/ink1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7.244"/>
    </inkml:context>
    <inkml:brush xml:id="br0">
      <inkml:brushProperty name="width" value="0.025" units="cm"/>
      <inkml:brushProperty name="height" value="0.025" units="cm"/>
      <inkml:brushProperty name="ignorePressure" value="1"/>
    </inkml:brush>
  </inkml:definitions>
  <inkml:trace contextRef="#ctx0" brushRef="#br0">1 1,'6'0,"6"0,5 0,1 0,2 0,1 0,-1 0,1 0,-1 0,0 0,0 0,0 0,-4 0</inkml:trace>
</inkml:ink>
</file>

<file path=ppt/ink/ink1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7.987"/>
    </inkml:context>
    <inkml:brush xml:id="br0">
      <inkml:brushProperty name="width" value="0.025" units="cm"/>
      <inkml:brushProperty name="height" value="0.025" units="cm"/>
      <inkml:brushProperty name="ignorePressure" value="1"/>
    </inkml:brush>
  </inkml:definitions>
  <inkml:trace contextRef="#ctx0" brushRef="#br0">58 29,'-6'7,"0"0,1 0,-1 1,1 0,1 0,0 0,0 0,0 1,1-1,1 1,-1 0,2 0,-1 0,1 1,0 10,1-16,0 0,0 0,0 0,1 0,-1 0,1 0,0 0,0 0,1-1,-1 1,1 0,0-1,0 1,0-1,0 0,1 0,-1 1,1-2,0 1,-1 0,2 0,-1-1,0 0,0 0,1 1,-1-2,1 1,0 0,-1-1,1 0,0 0,0 0,0 0,0-1,0 1,4-1,-2 0,0 1,1-1,-1-1,0 1,0-1,1 0,-1 0,0-1,0 0,0 0,-1-1,1 1,0-1,-1 0,7-6,-8 6,0-1,-1 0,1 0,-1 0,0-1,0 1,-1-1,1 1,-1-1,0 0,0 0,-1 0,0 0,0-1,0 1,0 0,-1 0,0-8,1 6,-1 0,-1 0,0 0,0 1,0-1,0 0,-1 0,0 1,-1-1,0 1,0-1,0 1,-1 0,1 0,-1 1,-1-1,1 1,-1 0,-11-9,1 3</inkml:trace>
</inkml:ink>
</file>

<file path=ppt/ink/ink1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8.325"/>
    </inkml:context>
    <inkml:brush xml:id="br0">
      <inkml:brushProperty name="width" value="0.025" units="cm"/>
      <inkml:brushProperty name="height" value="0.025" units="cm"/>
      <inkml:brushProperty name="ignorePressure" value="1"/>
    </inkml:brush>
  </inkml:definitions>
  <inkml:trace contextRef="#ctx0" brushRef="#br0">1 1,'0'0</inkml:trace>
</inkml:ink>
</file>

<file path=ppt/ink/ink1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9.107"/>
    </inkml:context>
    <inkml:brush xml:id="br0">
      <inkml:brushProperty name="width" value="0.025" units="cm"/>
      <inkml:brushProperty name="height" value="0.025" units="cm"/>
      <inkml:brushProperty name="ignorePressure" value="1"/>
    </inkml:brush>
  </inkml:definitions>
  <inkml:trace contextRef="#ctx0" brushRef="#br0">26 29,'2'-3,"0"1,1-1,0 1,-1 0,1 0,0 0,0 0,0 1,0-1,0 1,0-1,1 1,-1 0,0 0,1 1,-1-1,1 1,-1 0,0 0,1 0,-1 0,1 0,-1 1,1-1,-1 1,0 0,1 0,-1 1,0-1,0 0,0 1,0 0,0 0,0 0,-1 0,1 0,0 1,-1-1,0 1,0-1,0 1,0 0,0 0,0 0,-1 0,1 0,-1 1,0-1,0 0,0 1,0-1,-1 0,0 1,1-1,-1 1,0-1,-1 1,1-1,0 0,-1 1,0-1,0 0,0 1,0-1,-3 4,-1 2,0 0,-1 0,0-1,-1 0,1 0,-2 0,1-1,-1 0,0 0,-10 5,7-4,0 1,0 0,1 0,-14 18,24-27,0 1,-1-1,1 1,-1 0,1-1,0 1,-1-1,1 1,0 0,0-1,-1 1,1 0,0-1,0 1,0 0,0-1,0 1,0 0,0 0,0-1,0 1,0 0,1-1,-1 1,0 0,0-1,1 1,-1 0,0-1,1 2,21 11,32-1,-41-11,1-1,-1-1,0 0,1 0,13-5,38-3,-48 9</inkml:trace>
</inkml:ink>
</file>

<file path=ppt/ink/ink1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0.153"/>
    </inkml:context>
    <inkml:brush xml:id="br0">
      <inkml:brushProperty name="width" value="0.025" units="cm"/>
      <inkml:brushProperty name="height" value="0.025" units="cm"/>
      <inkml:brushProperty name="ignorePressure" value="1"/>
    </inkml:brush>
  </inkml:definitions>
  <inkml:trace contextRef="#ctx0" brushRef="#br0">250 1,'22'8,"-8"0,-37 3,-26 4,32-12,0 2,1 0,0 1,0 0,0 2,1 0,0 0,-27 22,41-30,0 1,1 0,-1-1,1 1,-1 0,1 0,-1-1,1 1,0 0,-1 0,1 0,0 0,0 0,-1-1,1 1,0 0,0 0,0 0,0 0,0 0,0 0,1 0,-1 0,0 0,0-1,1 1,-1 0,0 0,1 0,-1 0,1-1,-1 1,1 0,-1 0,1-1,0 1,-1 0,1-1,0 1,-1-1,1 1,0-1,0 1,0-1,-1 0,1 1,1-1,55 27,-38-20,-15-5,0 0,0 1,0-1,0 1,-1 0,1 0,-1 0,0 0,0 1,0-1,0 1,2 4,-4-7,-1 1,1-1,-1 1,0 0,0-1,0 1,0 0,0-1,0 1,0 0,0-1,0 1,-1 0,1-1,-1 1,0-1,1 1,-1-1,0 1,0-1,0 1,0-1,0 0,0 0,0 1,0-1,0 0,-1 0,1 0,0 0,-1 0,1-1,-1 1,1 0,-1-1,-1 1,-8 4,1 0,-1-1,0 0,-1-1,1 0,0-1,-1-1,0 1,-20-2,15 0</inkml:trace>
</inkml:ink>
</file>

<file path=ppt/ink/ink1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0.660"/>
    </inkml:context>
    <inkml:brush xml:id="br0">
      <inkml:brushProperty name="width" value="0.025" units="cm"/>
      <inkml:brushProperty name="height" value="0.025" units="cm"/>
      <inkml:brushProperty name="ignorePressure" value="1"/>
    </inkml:brush>
  </inkml:definitions>
  <inkml:trace contextRef="#ctx0" brushRef="#br0">56 1,'0'3,"-3"5,-2 4,1 3,1 2,1 2,-3-2,0-1,0 0,2 1,0 0,-1 1,-1 1,0 0,2-3</inkml:trace>
</inkml:ink>
</file>

<file path=ppt/ink/ink1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0.990"/>
    </inkml:context>
    <inkml:brush xml:id="br0">
      <inkml:brushProperty name="width" value="0.025" units="cm"/>
      <inkml:brushProperty name="height" value="0.025" units="cm"/>
      <inkml:brushProperty name="ignorePressure" value="1"/>
    </inkml:brush>
  </inkml:definitions>
  <inkml:trace contextRef="#ctx0" brushRef="#br0">0 36,'10'0,"7"0,3 0,2 0,0-3,1-1,-2-1,0 2,-1 0,0 2,0 0,-1 1,0 0,0 0,1-3,-1-2,0 1,-2 1</inkml:trace>
</inkml:ink>
</file>

<file path=ppt/ink/ink1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8.852"/>
    </inkml:context>
    <inkml:brush xml:id="br0">
      <inkml:brushProperty name="width" value="0.025" units="cm"/>
      <inkml:brushProperty name="height" value="0.025" units="cm"/>
      <inkml:brushProperty name="ignorePressure" value="1"/>
    </inkml:brush>
  </inkml:definitions>
  <inkml:trace contextRef="#ctx0" brushRef="#br0">77 23,'-3'0,"0"0,0 0,0 0,0 0,0 1,0-1,0 1,0 0,0 0,0 0,1 0,-1 1,0-1,1 1,-1-1,1 1,-1 0,1 0,0 0,0 0,0 0,0 1,0-1,1 1,-4 4,4-2,-1 0,1-1,0 1,0 0,0 0,1 0,0 0,0 0,0 0,0 0,1-1,0 1,0 0,3 8,-3-8,1 0,0 0,1-1,-1 1,1-1,0 1,0-1,0 0,0 0,1 0,0-1,-1 1,1-1,6 4,-7-5,0-1,0 0,1 1,-1-1,0 0,1-1,-1 1,0-1,1 1,-1-1,1 0,-1 0,1 0,-1-1,0 1,1-1,-1 0,0 0,1 0,-1 0,0-1,0 1,5-4,-4 2,-1 1,1 0,-1-1,0 1,0-1,0 0,-1 0,1 0,0 0,-1-1,0 1,0-1,0 0,0 1,-1-1,0 0,1 0,-1 0,-1 0,1 0,0 0,-1 0,0 0,0 0,0 0,-1 0,1 0,-1 0,0 0,0 0,-3-7,2 5,-1 1,1 0,-1 0,0 0,0 1,0-1,-1 1,0-1,0 1,0 1,0-1,-1 0,1 1,-1 0,0 0,0 0,0 1,0 0,-1 0,1 0,-1 0,-8-1,-3 2</inkml:trace>
</inkml:ink>
</file>

<file path=ppt/ink/ink1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9.201"/>
    </inkml:context>
    <inkml:brush xml:id="br0">
      <inkml:brushProperty name="width" value="0.025" units="cm"/>
      <inkml:brushProperty name="height" value="0.025" units="cm"/>
      <inkml:brushProperty name="ignorePressure" value="1"/>
    </inkml:brush>
  </inkml:definitions>
  <inkml:trace contextRef="#ctx0" brushRef="#br0">1 0,'0'4,"0"0</inkml:trace>
</inkml:ink>
</file>

<file path=ppt/ink/ink1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25:31.361"/>
    </inkml:context>
    <inkml:brush xml:id="br0">
      <inkml:brushProperty name="width" value="0.05292" units="cm"/>
      <inkml:brushProperty name="height" value="0.05292" units="cm"/>
      <inkml:brushProperty name="color" value="#0070C0"/>
    </inkml:brush>
  </inkml:definitions>
  <inkml:trace contextRef="#ctx0" brushRef="#br0">754 3056 0,'27'0'16,"-14"13"-16,13-13 0,14 0 0,13 0 0,0 0 16,26 0-16,14 0 0,-14 0 0,14 0 15,13 13-15,-14-13 0,40 0 16,-26 14-16,0-14 0,0 0 15,-13 13-15,12-13 0,-12 0 0,13 13 0,-27-13 16,14 0-16,-14 13 0,1-13 16,-14 0-16,-13 0 0,39 0 15,-52 0-15,-14 14 0,1-28 16,-1 14-16,1 0 0,-14 0 0,13 0 16,-12 0-16,-1 0 15</inkml:trace>
  <inkml:trace contextRef="#ctx0" brushRef="#br0" timeOffset="299.62">2236 3215 0,'66'13'0,"-132"-26"0,158 26 0,-52-13 16,0 0-16,13 0 0,13 0 16,-13-13-16,13 13 0,-13 0 0,13 0 15,-13 0-15,0 0 0,0 0 0,0-14 16,-1 14-16,-12 0 0,-13 0 16,-1 0-16,1 0 0,-14 0 0,0 0 15,13 0-15,-12 0 0,-1 0 16,-13-13-16,13 26 0,0-13 15</inkml:trace>
  <inkml:trace contextRef="#ctx0" brushRef="#br0" timeOffset="1271.83">6813 3082 0,'132'-13'16,"-79"13"-16,27 0 0,-1 0 0,0-13 0,14 13 16,0 0-16,-1 0 0,1 0 0,13 0 15,-14 0-15,-12 0 0,-1 0 16,0 0-16,1 0 0,-14 0 16,-13 0-16,0 0 0,-14-13 0,1 13 0,-13 0 15,-1 0-15,-13-14 0,0 14 16,1 0-16</inkml:trace>
  <inkml:trace contextRef="#ctx0" brushRef="#br0" timeOffset="1549.23">7223 3135 0,'66'27'15,"-39"-27"1,-1 0-16,27 0 0,-13 13 0,13-13 16,0 0-16,26 0 0,-26 0 0,26 0 15,-13 0-15,-13 0 0,14 13 16,-15-13-16,1-13 0,-13 13 0,13 0 16,-27 0-16,1 0 0,-1 0 0,1 0 15,-1 0-15,-13 0 0,1 0 16,-1 0-16,0 0 0,0 0 0,1 13 15</inkml:trace>
  <inkml:trace contextRef="#ctx0" brushRef="#br0" timeOffset="2348.02">11576 3149 0,'0'0'0,"79"0"0,-39 0 16,13 0-16,13-14 0,13 14 0,0 0 15,1 0-15,12 0 0,14 0 16,-13 0-16,-1 0 0,1 0 15,0 0-15,-1 0 0,-12 0 0,-1 0 16,0-13-16,-12 13 0,-15 0 0,1 0 16,-13 0-16,0 0 0,-1 0 15,-25-13-15,12 13 0,-13 0 0,1 0 16</inkml:trace>
  <inkml:trace contextRef="#ctx0" brushRef="#br0" timeOffset="2614.46">11800 3228 0,'40'13'0,"-13"-13"0,171 13 15,-119-13 1,14 0-16,-14 0 0,14 0 0,0 0 15,-1 0-15,-12 0 0,-1 0 0,0 0 16,-26 0-16,13 0 0,-13 0 16,0 0-16,-13 0 0,-14 0 15,1 0-15,-1 0 0,-13 0 0,1 0 0,-1 0 16,0 0-16,0 0 16</inkml:trace>
  <inkml:trace contextRef="#ctx0" brushRef="#br0" timeOffset="5973.18">1931 3850 0,'40'13'63,"-27"-13"-63,1 0 0,-1 0 15,0 0-15,14 0 16,-1 0-16,-13 0 0,27 0 0,-14 0 16,14 0-16,13 13 0,0-13 0,145 0 15,-132 0 1,14 0-16,-1 0 0,1 0 0,-1 0 15,0 0-15,14 0 0,-14 0 0,1 0 16,12 0-16,-12 0 0,-1 0 16,0 0-16,14 0 0,-14 0 0,14 0 15,-14 0-15,1 0 0,12-13 0,-12 13 16,12 0-16,-12 0 16,-1 0-16,0 0 0,1 0 0,-1 0 0,1 0 15,-14 0-15,13 0 0,-13 0 16,-13 0-16,13 13 0,-13-13 15,0 0-15,0 0 0,0 0 0,0 0 16,-13 0-16,-14 0 0,14 0 0,-14 0 16,-13 0-16,14 0 0,-1 0 15,-12 0-15,-1 0 0,13 0 0,-13 0 16,1 0-16,-1 0 0,0 0 16,0 0-16,1 0 15,-1 0-15,0 0 16,0 0 15</inkml:trace>
  <inkml:trace contextRef="#ctx0" brushRef="#br0" timeOffset="8138.24">20320 3942 0,'40'-13'0,"105"13"32,-92 0-32,0 0 0,13 0 0,-13 0 15,26 0-15,1 0 0,-14 0 16,0 0-16,-13 0 0,13 0 0,-13 0 16,0 0-16,0 0 0,-13 0 15,-14 0-15,27 0 16,-27 0-16</inkml:trace>
  <inkml:trace contextRef="#ctx0" brushRef="#br0" timeOffset="8405.66">20558 3942 0,'66'14'15,"-39"-14"1,-1 0-16,14 13 0,0-13 0,12 13 16,-12-13-16,13 0 0,0 13 0,-13-13 15,13 0-15,-14 13 0,-12-13 16,-1 0-16,14 0 0,-14 0 0,1 0 16,-14 0-16,13 0 0,-12 0 0,12 0 15,-13 0-15,1 0 0,-1 0 0,0 0 16,0 0-16,1-13 15</inkml:trace>
  <inkml:trace contextRef="#ctx0" brushRef="#br0" timeOffset="8922.94">23244 3757 0,'105'0'32,"-78"0"-32,-1 0 15,27 13-15,-13-13 0,13 0 0,-13 14 16,13-14-16,-1 0 0,-12 13 0,13-13 15,-13 0-15,-14 0 0,1 0 16,-1 0-16</inkml:trace>
  <inkml:trace contextRef="#ctx0" brushRef="#br0" timeOffset="9139.75">23588 3850 0,'53'0'0,"-27"0"15,0 0-15,1 0 0,-1 0 0,1 13 16,-1-13-16,1 0 16,-1 0-16,1 0 0,-1 0 0,-13 0 15,14 0-15,-14 0 0,0 0 0,0 0 16</inkml:trace>
  <inkml:trace contextRef="#ctx0" brushRef="#br0" timeOffset="11935.78">833 4802 0,'0'0'0,"67"-13"0,-28 13 0,1 0 15,26 0-15,13-13 0,1 13 0,12 0 16,1-14-16,0 14 0,-1 0 16,1-13-16,13 13 0,-14 0 0,1-13 15,-14 13-15,14 0 0,-14-13 0,1 13 16,-14 0-16,-13 0 0,0 0 16,-14 0-16,1 0 0,-27-13 0,14 13 15,-1 0-15,-13 0 0,1 0 0,-1 0 16,0 0-16,0 0 0,1 13 15</inkml:trace>
  <inkml:trace contextRef="#ctx0" brushRef="#br0" timeOffset="12860.1">6839 4802 0,'0'0'0,"67"0"0,144-13 16,-118 13-16,-14 0 16,14 0-16,13 0 0,0 0 15,-1 0-15,1 0 0,0 0 0,40 0 16,-14 13-16,0-13 0,-26 0 0,-13 0 16,12 0-16,1 13 0,-13-13 15,-1 0-15,1 0 0,-14 0 0,1 0 16,-14 0-16,-13 0 0,-13 0 15,-1 0-15,-12 0 0,-1 0 0,1 0 16,-14 0-16,0 0 0,0 0 16,1 0-16</inkml:trace>
  <inkml:trace contextRef="#ctx0" brushRef="#br0" timeOffset="14044.34">13785 4710 0,'26'0'0,"-13"0"16,1 0-16,-1 0 0,0 0 0,14 13 16,-14-13-16,13 0 0,14 0 15,-14 0-15,27 0 0,0 0 0,13 0 16,1 0-16,-1 0 0,13 0 0,0 0 15,1 13-15,-1-13 0,93 0 16,-79 0-16,-14 0 16,1 0-16,-1 0 0,-13 0 0,0 13 15,-13-13-15,0 0 0,-13 0 16,-1 0-16,1 0 0,-13 13 0,-14-13 16,13 0-16,-12 0 0,-1 0 0,0 0 15,0 0-15,0 0 0,-13 14 16,14-14-16,-1 0 15,-13 13-15,13-13 0</inkml:trace>
  <inkml:trace contextRef="#ctx0" brushRef="#br0" timeOffset="14720.04">19685 4815 0,'79'14'0,"279"-1"32,-266-13-32,1 0 0,13 0 15,13 13-15,13-13 0,-26 13 0,26-13 16,-13 14-16,13-1 0,-26-13 16,0 0-16,13 13 0,-13-13 0,-13 13 15,-1-13-15,1 13 0,-14-13 0,1 14 16,-14-14-16,0 13 0,26-13 15,-65 0-15,-1 13 0,1-13 16,-14 0-16,0 0 0,1 0 0,-1 13 16</inkml:trace>
  <inkml:trace contextRef="#ctx0" brushRef="#br0" timeOffset="21643.21">4247 6297 0,'0'-13'31,"-14"13"-15,1 0-16,0 0 15,0 0 1,13 13-16,-14 0 0,1 1 0,-13-1 16,13 0-16,-1 13 0,-12 1 15,13-1-15,-1 1 0,14-14 0,-13 0 16,0 14-16,13-14 0,-13 0 16,13 0-16,0 1 0,13-14 15,-13 13-15,13-13 0,0 0 16,14 0-16,-14 0 15,0 0-15,1-13 0,-1 13 16,0 0-16,0 0 0,0 0 16,1 0-16,-14 13 0,13-13 15,-13 13-15,13-13 16,-13 13-16,0 1 0,13-1 16,-13 0-16,0 0 0,0 1 15,0-1-15,14 0 16,-14 0-16</inkml:trace>
  <inkml:trace contextRef="#ctx0" brushRef="#br0" timeOffset="22035.86">4419 6482 0,'0'27'16,"0"-14"0,0 0-16,0 0 0,0 1 15,-14-1-15,14 13 0,0-12 0,0-1 16,-13-13-16,13 13 0,0 0 0,0 1 15,-13-1 1,13-40 15,0 14-15,0 0-16,13-14 0,-13 14 0,13 0 16,1 0-16,-1-1 0,0 1 0,0 13 15,0-13-15,1 0 0,-1 13 0,0-13 16,0 13-16,1-14 0,-1 14 15,0 0-15,0 0 0</inkml:trace>
  <inkml:trace contextRef="#ctx0" brushRef="#br0" timeOffset="22267.97">4604 6496 0,'0'52'16,"13"-38"0,-13-1-1,13-13-15,0 13 0,1-13 16,-1 0-16,0 0 0,0 0 0,1 0 15,-1 0-15,0 0 16,-13-13-16,13 13 0,0-13 0,-13-1 16,0 1-1,0 0-15,0 0 0,-13 13 16,13-13-16,-13 13 0,0-14 16,0 14-16,-14 0 15</inkml:trace>
  <inkml:trace contextRef="#ctx0" brushRef="#br0" timeOffset="22756.85">4921 6456 0,'0'0'0,"0"-13"0,-13 39 63,13-13-48,0 1-15,0-1 0,0 0 16,0 0-16,0 0 0,13 1 16,-13-1-16,0 0 0,0 0 0,13 1 15,-13-1-15,14-13 16,-1 0-16,13 0 15,-12 0-15,-14-13 0,13 13 16,0-14-16,0 1 0,-13 0 16,14 13-16,-14-13 0,0-1 15,13 1-15,-13 0 16,0 0-16,13 13 16</inkml:trace>
  <inkml:trace contextRef="#ctx0" brushRef="#br0" timeOffset="23158.01">5199 6482 0,'-13'66'15,"0"-39"-15,13-14 16,0 14-16,0-1 0,-14-13 15,14 14-15,0-14 0,0 13 0,0-12 0,0-1 16,0 0-16,0 0 0,0 1 16,0-1-16,0 0 15,0-39 1,0 12 0,14-12-16,-1-14 0,-13 1 15,13-1-15,0 0 0,1 0 0,-1 1 16,0 12-16,0 1 0,0-1 0,1 14 15,-1 0-15,0 13 0,-13-13 16,13 13-16,1 0 0,-1 13 16,-13 0-16,0 0 15,0 1-15,-13-1 16,13 0-16,-14 0 0,1 1 16,0-1-16,0 0 0,-1 13 0,1-12 15,0-1-15,13 0 0,-13-13 16</inkml:trace>
  <inkml:trace contextRef="#ctx0" brushRef="#br0" timeOffset="23543.41">6072 6297 0,'-26'106'32,"26"-80"-32,0 1 0,-14-1 0,14 1 15,0-14-15,0 13 0,0-12 0,0 12 16,-13-13-16,13 1 0,13-1 16,-13 0-16,14-39 31,-14 12-31,0-12 0,13-1 15,-13 1-15,13-14 0,0 1 0,-13-1 16,14 0-16,-1 14 0,0-1 16,-13 14-16,13 0 0,-13 0 0,14 13 15,12 0 1,-26 13-16,13 0 0,0 0 0,1 1 16,-14 12-16,13 0 0,-13-12 0,13 12 15,-13 1-15,13-14 0,-13 13 16,0-12-16,14-1 0,-14 0 0,0 0 15,13 0-15,-13 1 0,0-1 16</inkml:trace>
  <inkml:trace contextRef="#ctx0" brushRef="#br0" timeOffset="23759.88">5940 6482 0,'26'0'31,"1"0"-31,-14 0 16,27-13-16,-14 13 0,27 0 0,-13 0 15,13-13-15,-14 13 0,1 0 16,-13 0-16,-1-13 0,0 13 0,14 0 16,-27 0-16,14 0 0,-1 0 0,1 0 15,-14 0-15,13 0 16</inkml:trace>
  <inkml:trace contextRef="#ctx0" brushRef="#br0" timeOffset="24451.81">11311 6125 0,'0'0'0,"-27"27"0,14-14 0,0 0 0,-13 0 15,12 0-15,1 14 0,-13-1 16,12 1-16,14-14 0,-13 14 15,0-14-15,13 13 0,-13-13 0,13 1 16,0-1-16,0 0 0,13-13 0,-13 13 16,13-13-16,0 0 0,1 0 15,-1 0-15,13 0 0,-12-13 0,12 13 16,0-13-16,-12 13 0,-1-13 0,13 13 16,-12 0-16,-1-14 0,0 14 15,0 0-15,1 14 0,-1-14 16,-13 13-16,13-13 0,-13 13 15,13 0-15,-13 1 16,0-1-16,0 0 16,0 0-16,13-13 0,-13 14 15</inkml:trace>
  <inkml:trace contextRef="#ctx0" brushRef="#br0" timeOffset="24748.01">11536 6310 0,'13'14'15,"0"-1"-15,-13 0 16,0 0-16,14 0 16,-14 1-16,0-1 0,0 0 15,13-13-15,-13 13 16,13-26 15,-13 0-31,13 0 16,-13-1-16,13 1 0,1 0 15,-1 0 1,0 0-16,0 13 16,1-14-16,-1 14 0,0 0 15</inkml:trace>
  <inkml:trace contextRef="#ctx0" brushRef="#br0" timeOffset="24982.85">11787 6297 0,'0'0'0,"13"0"0,-13 13 16,0 1 0,0-1-16,0 0 15,0 0-15,14 0 16,-1 1-16,0-14 16,0 0-1,1 0-15,-1-14 16,-13 1-1,0 0-15,0 0 16,0 0 0,-13 13-16,13-14 15,-14 28 1</inkml:trace>
  <inkml:trace contextRef="#ctx0" brushRef="#br0" timeOffset="25500.98">12039 6297 0,'0'13'47,"0"1"-47,0-1 15,0 0 1,0 0-16,13-13 0,-13 13 15,13-13 1,0 0-16,0 0 0,1 0 16,-14-13-16,13 13 15,0-13-15,-13 0 16,13 0-16,-13-1 0,14 1 16,-14 0-16,13 0 15,-13-1 1,0 54 15,0-27-15,-13-13-16,13 14 0,0-1 15,0 0-15,0 0 16,0 0-16,-14-13 16,14 14-16,0-1 15,0 0 1,0 0-1</inkml:trace>
  <inkml:trace contextRef="#ctx0" brushRef="#br0" timeOffset="25896.03">12343 6257 0,'0'27'31,"0"-14"-31,-13 0 0,13 1 0,0 12 16,-14-13-16,14 14 0,-13-1 0,13 1 15,-13-1-15,0 1 0,13-1 16,-14-13-16,14 14 0,-13-14 0,13 0 16,-13 0-16,13 1 0,0-1 15,-13-13-15,26-13 32,0-14-32,-13 14 0,13-27 15,1 14-15,12-14 0,-13 14 16,1-14-16,-1 13 0,0 1 15,0 13-15,0 0 0,1-1 0,-1 1 16,0 13-16,0-13 0,1 26 16,-1 0-1,-26 1-15,13-1 16,-14 0-16,1 0 0,0 0 0,0 1 16,-1-1-16,1 0 0,0 0 15,0-13-15,13 14 0</inkml:trace>
  <inkml:trace contextRef="#ctx0" brushRef="#br0" timeOffset="26166.87">13401 6178 0,'-53'53'16,"40"-27"-16,0-12 16,0-1-16,-1 13 0,14 1 15,-13-14-15,0 13 0,0 1 0,13-14 16,-14 14-16,1-14 0,0 0 16,13 14-16,-13-14 0,13 0 15,0 0-15,-14-13 0,14 13 16,0 1-1</inkml:trace>
  <inkml:trace contextRef="#ctx0" brushRef="#br0" timeOffset="27395.99">13401 6204 0,'93'-13'31,"-80"13"-31,0 0 0,-13 13 16,13-13-16,-13 14 0,14-14 16,-14 13-16,-14 0 0,14 0 15,-13 1-15,0-1 0,0-13 16,13 13-16,-13 0 0,13 1 15,0-1-15,0 0 16,13 0-16,-13 0 0,13 1 0,0-14 16,-13 13-16,0 0 0,13 0 0,-13 1 15,0-1-15,-13-13 0,0 13 16,0 0-16,0 1 0,-14-1 0,1 0 16,-1 0-16,1 0 0,-1 1 0,1-14 15,-1 13-15,1-13 0,-1 13 16,1-13-16,-1 0 0</inkml:trace>
  <inkml:trace contextRef="#ctx0" brushRef="#br0" timeOffset="28094.82">9512 5741 0,'0'27'0,"13"-1"16,-13 14-16,0 13 0,0 13 15,0 13-15,0 14 0,0 39 16,0-13-16,0 27 0,0 0 0,0-1 0,0 14 16,-13 13-16,13 0 15,-13 0-15,-1 53 0,1 0 0,-13-54 16,-1 54-16,1 0 0,-14-13 0,14 13 16,-14-13-16,13-1 0,14-39 15,-13-13-15,13 13 0,-1 0 0,1-13 16,0-1-16,13-12 0,-13-1 0,13-12 15,-14-1-15,14-13 0,-13 0 0,13-40 16,0 1-16,-13-1 0,13 1 16,0-14-16,-13 0 0,13-26 0,-14-1 15,14 1-15,0-27 0,-13 14 0,13-14 16</inkml:trace>
  <inkml:trace contextRef="#ctx0" brushRef="#br0" timeOffset="30147.72">265 7580 0,'0'-13'16,"13"40"0,0-14-1,-13 13-15,0-13 0,13 14 16,-13-1-16,14 1 0,-14-1 16,0 1-16,0-1 0,0 1 0,13-14 15,-13 13-15,0-12 0,0-1 16,0 0-16,0 0 0,13-13 0</inkml:trace>
  <inkml:trace contextRef="#ctx0" brushRef="#br0" timeOffset="30456.98">450 7580 0,'0'-13'15,"0"53"16,13-40-31,-13 13 0,13 0 0,0 0 16,-13 1-16,14-1 0,-1 0 0,0 0 16,0-13-16,1 0 0,-1 14 15,0-14-15,0 0 0,1 0 0,-1-14 16,0 14-16,-13-13 0,13 13 16,-13-13-16,0 0 15,0-1-15,-13 1 0,13 0 0,-13 0 16,13 0-16,-13-1 0,-1 1 15,1 0-15,13 0 0,-13-1 0,0 14 0,-1-13 16,1 13 0,0 0-16,0 0 15</inkml:trace>
  <inkml:trace contextRef="#ctx0" brushRef="#br0" timeOffset="30855.46">622 7408 0,'13'14'0,"0"-1"0,-13 0 16,0 0-16,13 0 0,-13 14 15,14 13-15,-1-1 0,0 1 0,0 0 16,-13-1-16,14 1 0,-1 0 16,0-1-16,14-12 0,-14 13 15,-13-27-15,13 13 0,0-12 0,-13-1 16,13 0-16,-13 0 0,0 0 0,14-13 15,-28-26 17,1 13-32,13-14 0,-13 1 0,0-14 15,13 0-15,-13 14 0,13 0 16,0 12-16,0-12 0,13-1 0,-13 14 16,0 0-16,13 0 0,0-1 15,-13 1-15,13 13 0,1-13 16,-1 26-16,0-13 15,-13 13-15,0 1 0,0-1 16,0 0-16,-13 0 0,13 1 16,0-1-16,-13-13 0,-1 13 15,14 0-15,-13-13 0,13 14 0,-13-14 16</inkml:trace>
  <inkml:trace contextRef="#ctx0" brushRef="#br0" timeOffset="31220.08">1019 7541 0,'0'0'15,"-14"0"-15,1 13 16,0-13-16,13 13 0,-13 0 15,13 1-15,0-1 0,0 0 16,0 0 0,0 0-16,13-13 15,0 0-15,0 0 16,1 0-16,-14-13 16,13 13-16,0-13 15,0 13 1,1 0-1,-1 0 1,0 13 0,0-13-1</inkml:trace>
  <inkml:trace contextRef="#ctx0" brushRef="#br0" timeOffset="31659.58">1204 7355 0,'13'27'31,"-13"-14"-31,0 0 0,0 14 16,13-14-16,-13 0 0,0 14 16,0-14-16,0 13 0,0-12 0,0-1 15,0 0-15,0 0 0,0 1 16,0-1-16,0 0 0,0 0 0,-13-13 16,13 13-16,-26-26 31,26 0-16,13-13-15,-13 12 16,13 1-16,-13 0 0,13 0 16,1-1-16,-1 1 15,0 13-15,13 0 16,-12 13 0,-1-13-16,0 14 0,0-1 15,-13 0-15,14-13 16,-14 13-16,0 1 15</inkml:trace>
  <inkml:trace contextRef="#ctx0" brushRef="#br0" timeOffset="32074.82">1402 7527 0,'27'0'16,"-27"-13"-16,13 13 16,-13-13-16,13 0 0,-13-1 15,0 1-15,13 13 0,-13-13 16,0 0 0,0 39 15,14-13-31,-14 1 15,13-14-15,0 13 16,0-13-16,1 0 16,-1-13-16,0 13 15</inkml:trace>
  <inkml:trace contextRef="#ctx0" brushRef="#br0" timeOffset="32408.79">489 8176 0,'0'26'16,"0"1"-16,27-1 16,-27 0-16,13 1 15,-13-1-15,13-12 0,-13 12 0,14 1 16,-14-1-16,0-13 0,13 14 0,-13-14 15,0 0-15</inkml:trace>
  <inkml:trace contextRef="#ctx0" brushRef="#br0" timeOffset="32679.15">463 8414 0,'0'26'16,"13"40"0,0-52-16,-13-1 0,14 13 15,-1-13-15,-13 1 0,13-14 0,0 13 16,1 0-16,-1-13 0,0 0 16,0 0-16,1 0 15,-1-13-15,13 0 0,-13-1 16,1-12-16,-1 0 0,0 12 15,-13-12-15,13 13 0,-13-1 16,14 1-16,-14 0 0</inkml:trace>
  <inkml:trace contextRef="#ctx0" brushRef="#br0" timeOffset="35401.05">423 8877 0,'-13'-13'0,"26"26"0,-39-26 16,26 39 15,0-13-31,13 14 0,-13-1 16,13 1-16,1 12 0,-1-12 15,-13 12-15,13 1 0,0-13 0,0 12 16,-13-12-16,14-14 0,-14 13 0,0 1 15,13-14-15,-13 14 0,0-14 16,0 0-16,0 0 0,0 0 16,0 1-16,0-1 0,0 0 15,-13 0-15,-1-13 16,-12-13 0,13 13-16,0-13 15,13 0-15,-14-1 16,14 1-16,0 0 15,0 0-15,0 0 0,0-1 16,14 1-16,-14 0 0,13-14 0,0 14 16,0-13-16,0 13 0,-13-14 15,14 14-15,-1-14 0,0 14 0,-13 0 16,13-14-16,-13 14 0,14 0 0,-14 0 16,0 0-16,0-1 15,-14 1 1,1 26 15,13 1-31,0-1 0,0 0 16,13 0-16,-13 0 0,14 1 15,-1-1 1,-13 0-16,13-13 0,0 0 16,-13 13-16,14-13 0,-1 0 0,0 0 15,13 0-15,-26-13 16,14 13-16,-1 0 0</inkml:trace>
  <inkml:trace contextRef="#ctx0" brushRef="#br0" timeOffset="35835.78">728 8983 0,'0'0'0,"13"26"47,0-13-47,0 1 16,1-1-16,-14 0 16,13-13-16,-13 13 15,13-13-15,0 0 16,-13-13 15,0 0-31,0 0 16,0-1-16,0-12 15,0 13 1,0-1-16,13 14 16,-13-13-1,14 13 1,-1-13-1,0 13-15,-13-13 0,13 13 16,1 0-16,-14-14 0,13 14 16,0-13-16,0 13 0,-13-13 0,13 13 15,1-13-15</inkml:trace>
  <inkml:trace contextRef="#ctx0" brushRef="#br0" timeOffset="36315.71">992 8811 0,'-13'0'16,"0"0"-1,13 13-15,-14 0 16,14 0 0,0 1-16,14-14 15,-14 13-15,0 0 0,13 0 16,-13 0-16,13-13 0,-13 14 15,13-14-15,-13 13 16,14-13-16,-14 13 0,13-13 16,0-13 15,-13 0-15,13 13-16,-13-14 0,0 1 15,14 13-15,-14-13 16,13 13-1,0 0-15,0 0 16,-13 13 0,13-13-16,1 13 15,-1-26 17,-13 0-32,13 0 15,-13 0 1,0-54-1,0 54-15,0 0 16,0 0-16,13-1 0,-13 1 16,14 0-16</inkml:trace>
  <inkml:trace contextRef="#ctx0" brushRef="#br0" timeOffset="37315.98">5212 7236 0,'14'0'0,"-1"0"31,-40 14 1,14-14-32,0 13 15,0-13-15,-1 0 0,1 13 0,0-13 16,0 0-16,13 13 15,-14-13-15,14 13 0,0 1 16,14-1-16,-14 0 16,13-13-16,0 13 15,-13 1-15,13-1 0,-13 0 16,0 0-16,0 1 16,0-1-16,-13-13 15,13 13-15,-13 0 0,0-13 0,-1 13 16,1-13-16,0 0 0,0 14 0,0-14 15,-1 13-15,1-13 16,0 0-16,0 0 0,-1 0 0,1 0 16,13-13-16</inkml:trace>
  <inkml:trace contextRef="#ctx0" brushRef="#br0" timeOffset="37559.75">4736 7117 0,'-106'159'31,"106"-119"-31,-13-14 0,13 14 16,0-14-16,13 14 0,-13 0 16,13-14-16,1 14 0,-1-14 0,13 1 15,-12-1-15,12 1 0,0-14 0,-12 0 16,12 0-16,-13-13 0,14 14 15,-1-14-15,-12 0 0,12 0 0,0 0 16,-12-14-16,12 14 0,1-13 0,-1 13 16</inkml:trace>
  <inkml:trace contextRef="#ctx0" brushRef="#br0" timeOffset="37887.71">5173 7038 0,'185'93'31,"-159"-67"-31,1 0 0,-1 1 16,1-1-16,-14 1 0,13 12 0,-12-12 16,-1-1-16,-13 14 0,0-27 15,0 14-15,0 12 0,-13-12 0,-1 13 16,-12-1-16,-1 1 0,1 0 0,-14-1 16,1 1-16,-1-13 15,0 12-15,14-12 0,-1-14 0,1 13 0,-1-26 16</inkml:trace>
  <inkml:trace contextRef="#ctx0" brushRef="#br0" timeOffset="38763.97">12343 7025 0,'13'-14'0,"13"1"31,-52 13-15,13 0 0,0 13-16,-1-13 0,-12 0 15,13 14-15,-1-14 0,1 13 16,0-13-16,0 13 16,26 0-1,-13 1-15,13-14 16,0 13-16,1 0 0,-1-13 15,-13 13-15,13-13 0,0 0 0,-13 14 16,14-1-16,-28 0 16,14 0-16,-13 0 15,0-13-15,0 14 0,-1-1 0,1-13 16,-13 13-16,-1-13 0,1 13 16,13-13-16,-14 0 0,14 0 15,0 0-15,-1 0 0,1 0 0,0 0 0</inkml:trace>
  <inkml:trace contextRef="#ctx0" brushRef="#br0" timeOffset="38999.75">11946 6879 0,'-27'27'0,"14"-14"16,0-13-16,-27 159 31,40-133-31,0-13 0,0 14 0,14 12 16,-1-12-16,0-1 0,0 1 15,14-1-15,-1-13 0,-13 1 0,14-1 16,-1-13-16,-12 13 0,12-13 16,0 0-16,1 0 0,-1-13 0,1 13 15,-1-13-15</inkml:trace>
  <inkml:trace contextRef="#ctx0" brushRef="#br0" timeOffset="39258.96">12462 6694 0,'40'26'16,"-27"1"-16,13-14 15,1 27-15,12-14 0,-12 14 16,13 0-16,-14-1 0,0 1 0,-12 0 16,12-1-16,-26 1 0,13 0 0,-13-1 15,0 1-15,-13 0 0,0-1 16,-14 14-16,14-26 0,-13 26 0,-1-27 16,1 1-16,-1-1 0,1 1 0,-1-1 15,1 1-15,13-14 16</inkml:trace>
  <inkml:trace contextRef="#ctx0" brushRef="#br0" timeOffset="41367.3">4974 8109 0,'-13'27'16,"13"-14"-16,-13 14 0,13-1 0,-14 14 15,14-14-15,-13 14 0,0 0 16,0 13-16,0-14 0,-1 1 0,-12 66 16,13-80-16,-1-13 15,14 14-15,-13-14 0,13 0 16,0 1-16,0-1 0,-13-13 0,13 13 16</inkml:trace>
  <inkml:trace contextRef="#ctx0" brushRef="#br0" timeOffset="41659.3">4948 8083 0,'-14'0'16,"1"0"0,0 13-16,0 0 0,13 1 15,-13-1-15,-1 0 0,1 14 0,0-1 16,0 1-16,-1-1 0,1 0 16,0 1-16,0-14 0,13 0 15,-14 14-15,1-14 0,13 0 0,-13 1 16,13-1-16,0 0 0,-13-13 15</inkml:trace>
  <inkml:trace contextRef="#ctx0" brushRef="#br0" timeOffset="41906.85">4842 8136 0,'79'26'16,"-52"-12"0,-14-14-16,13 13 0,-12 0 0,12 0 15,1 1-15,-14-14 0,13 13 16,-13 0-16,1 0 0,12-13 0,-13 13 16,1 1-16,-1-14 0,0 0 15,-13 13-15,13-13 0,1 13 16,-1-13-1</inkml:trace>
  <inkml:trace contextRef="#ctx0" brushRef="#br0" timeOffset="43088.75">4524 9327 0,'-13'26'16,"0"-26"-16,13 13 15,0 0-15,-13 1 0,13-1 0,0 0 16,0 0-16,0 14 0,-14-14 16,14 0-16,0 1 0,0-1 0,0 0 15,0 0-15,0 0 16,14-39 15,-14 13-31,0-14 0,13 14 16,-13-13-16,0 12 15,13-12-15,-13 13 0,13-14 0,-13 14 16,14 0-16,-1 0 0,-13-1 0,13 14 16,0-13-16,1 13 15,-1 0-15,0 0 0,0 13 16,0 1-16,-13-1 0,14 0 16,-1 0-16,-13 0 15,0 1-15,0-1 0,13 0 0,-13 0 16,0 1-1,0-41 17,13 14-32,-13 0 15,14-1-15,-14 1 0,13 0 0,0 13 16,0-13-16,0 0 0,1 13 16,-1-14-16,0 14 0,0 14 15,1-14-15,-1 13 0,0 0 16,-13 0-16,13 0 0,-13 1 15,0-1-15,14 0 0,-14 0 0,0 1 16,0-1-16,0 0 0,0 0 16,13 1-16,0-14 15</inkml:trace>
  <inkml:trace contextRef="#ctx0" brushRef="#br0" timeOffset="43427.13">5054 9485 0,'39'-39'31,"-39"25"-31,0 1 16,13 0-16,-13 0 0,0-1 15,0 1-15,0 0 16,-26 13 15,26 13-31,-13-13 0,13 13 0,-13 1 16,13-1-16,-14-13 0,14 13 16,0 0-16,0 1 0,0-1 15,14 0-15,-1 0 0,13-13 16,-13 0-16,1 0 15,-1 0-15,0 0 0,0 0 16,14-13-16,-14 13 0</inkml:trace>
  <inkml:trace contextRef="#ctx0" brushRef="#br0" timeOffset="43999.85">5490 9340 0,'-53'0'31,"40"13"-31,0 0 16,0-13-16,13 13 0,-14 1 15,14-1-15,-13 0 0,13 0 0,-13 1 16,13-1-16,0 0 16,0 0-16,13-13 0,-13 14 0,13-1 15,1-13-15,12 0 16,-13 0-1,0-13-15,1 13 16,-1-14-16,13-39 16,-12 40-16,-14 0 0,13-14 15,-13 14-15,13 0 0,-13-13 0,0 12 16,0-12-16,0 13 0,13-14 0,-13 14 16,0 0-16,0 0 0,0-1 15,0 1-15,0 0 16,-13 39 15,13-12-31,0-1 16,0 0-16,13 0 0,-13 0 0,0 1 15,13 12-15,-13-13 0,14 1 0,-14-1 16,13 0-16,0 0 0,-13 0 16,13 1-16,1-14 0,-1 0 15,0 0-15,0 0 0,1 0 16,-1 0-16,0 0 15,0 0-15,0 0 16,1 0-16,-14 13 16,13 0-16,-13 0 15,13 1 1</inkml:trace>
  <inkml:trace contextRef="#ctx0" brushRef="#br0" timeOffset="44547.93">6112 9274 0,'0'0'15,"-13"0"-15,-1 13 0,1-13 0,13 13 16,-13-13-16,0 13 0,-1 1 16,14-1-16,0 0 0,0 0 15,0 0-15,0 1 16,14-14-16,-1 0 0,-13 13 15,13-13-15,0 0 0,1 0 0,-1 0 16,0-13-16,0 13 16,1 0-16,-1 0 0,0 0 15,0 0-15,0 0 0,1 0 16,-1 0-16,-13 13 16,13-13-16,0 13 0,1 0 15,-1 1 1,0-14-16,0 13 15</inkml:trace>
  <inkml:trace contextRef="#ctx0" brushRef="#br0" timeOffset="44687.7">6324 9234 0,'0'0'0,"-14"0"0,1 13 32</inkml:trace>
  <inkml:trace contextRef="#ctx0" brushRef="#br0" timeOffset="45131.75">6443 9327 0,'13'39'31,"0"-26"-31,-13 1 16,13-1-1,1-13 16,-1-13-15,0 13 0,0 0-1,0 0-15,1 0 0,-1-14 16,0 14-16,14-13 16,-14 0-16,0 0 15,0 13-15,1-13 0,-1-1 16,0 14-1,-26 14 17,13-1-17,0 0-15,0 0 32,13-13-17,0 0-15</inkml:trace>
  <inkml:trace contextRef="#ctx0" brushRef="#br0" timeOffset="47231.77">12343 7792 0,'0'0'0,"-13"26"31,13-12-31,-14-1 0,14 13 16,0-12-16,0 12 0,-13 1 0,13 12 15,-13 1-15,13-14 0,0 14 16,-13-27-16,13 14 0,0-1 16,-14 1-16,14-14 0,0 13 0,-13-12 15,13-1-15,0 0 0,0 0 16,-13 0-16</inkml:trace>
  <inkml:trace contextRef="#ctx0" brushRef="#br0" timeOffset="47459.85">12382 7805 0,'-79'80'46,"53"-67"-46,-14 40 16,27-40-16,-14 13 0,14-12 0,0 12 16,0-13-16,-1 1 0,1-1 0,0-13 15,13 13-15,-13 0 0</inkml:trace>
  <inkml:trace contextRef="#ctx0" brushRef="#br0" timeOffset="47655.78">12343 7766 0,'0'39'0,"26"27"16,-13-39 0,-13-14-16,14 0 0,-14 14 0,13-14 15,0 0-15,-13 0 0,13 1 0,1-1 16,-14 0-16,13 0 0,0 1 15,0-14-15</inkml:trace>
  <inkml:trace contextRef="#ctx0" brushRef="#br0" timeOffset="48308.27">11906 9168 0,'0'-13'0,"0"26"0,-13 0 32,0 0-32,13 1 0,0 12 15,-13-13-15,13 14 0,-14-1 0,14 1 16,-13-1-16,13 0 0,0 1 15,-13-1-15,13-12 0,0-1 0,0 13 16,0-12-16,0-1 0,0 0 16</inkml:trace>
  <inkml:trace contextRef="#ctx0" brushRef="#br0" timeOffset="48575.12">11880 9102 0,'13'-27'0,"-26"54"0,39-54 0,-13 27 16,1 13-16,-1-13 16,0 14-16,0-1 0,-13 0 0,0 0 15,0 1-15,14 12 0,-28-13 16,14 14-16,-13-14 0,13 13 0,-13 1 15,0-14-15,-1 0 0,1 14 0,0-14 16,13 0-16,-13-13 0,0 13 16,-1 1-16</inkml:trace>
  <inkml:trace contextRef="#ctx0" brushRef="#br0" timeOffset="48779.18">12105 8996 0,'0'92'31,"0"-65"-31,-14-1 16,14 14-16,-13 0 0,13-14 0,-13 14 0,13-14 15,0 1-15,-13-1 0,13 1 0,0-1 16,0-13-16,0 1 15,0-1-15</inkml:trace>
  <inkml:trace contextRef="#ctx0" brushRef="#br0" timeOffset="49175.86">12303 9300 0,'-26'-13'15,"52"26"-15,-66-26 0,27 13 16,0 0-16,0 13 16,0 0-16,-1 1 0,1-1 15,0 0-15,13 0 0,-13 0 16,-1 1-16,14-1 0,0 0 0,0 0 16,0 1-16,14-14 0,-14 13 15,13-13-15,0 0 0,14 0 16,-14-13-16,0-1 15,0 14-15,0-13 0,1 0 0,-14 0 16,13-1-16,0 1 0,0 0 16,-13 0-1,14 13-15,-14 13 32,0 0-32,0 0 15,0 1-15,0-1 0,13 0 16,-13 0-16,0 1 0,13-1 15,0 0-15,0-13 16,1 0-16</inkml:trace>
  <inkml:trace contextRef="#ctx0" brushRef="#br0" timeOffset="49577.03">12660 9274 0,'0'0'0,"-13"-14"0,-27 28 32,27-1-32,0-13 0,13 13 15,-13 0-15,-1 1 0,14 12 0,-13-13 16,13 0-16,-13 1 0,13 12 16,0-13-16,0 1 0,0-1 0,0 0 15,13-13-15,-13 13 0,13 1 0,1-14 16,-1 13-16,0-13 0,0 0 15,1 0-15,-1 0 0,0 0 0,0-13 16,14 13-16,-14-14 0,0 1 16,0 13-16,1-13 0,-1 0 15,-13-1-15,13 1 0,0 0 16,-39 26 15,26 0-31,-13 1 16,13-1-16,-14 0 0,14 0 15,0 1-15,0-1 0,0 0 16,14 0-16,-1-13 16,0 0-16</inkml:trace>
  <inkml:trace contextRef="#ctx0" brushRef="#br0" timeOffset="49979.67">13110 9075 0,'0'0'0,"-26"13"0,26 1 16,-14-1-16,14 0 0,0 0 0,-13 1 16,13 12-16,-13-13 0,13 14 15,0-1-15,0 1 0,-13-1 16,13 1-16,0-14 0,0 13 0,0-13 15,0 1-15,0-1 0,13 0 16,-13 0 0,26-26-16,-12 13 15,-14-13-15,13 13 0,0-13 0,0 13 16,1-14-16,-1 14 16,0 0-16,0 0 0,0 0 15,1 0-15,-14 14 0,13-14 0,-13 13 16,0 0-16,0 0 15,-13 1-15,13-1 0,-14 0 0,1 0 16,0 1-16,0-1 16,0 0-16,-1 0 15,1-13-15,26-26 16,-13 13 0</inkml:trace>
  <inkml:trace contextRef="#ctx0" brushRef="#br0" timeOffset="50250.93">13388 9234 0,'-27'40'15,"27"-27"1,0 0-16,0 0 0,0 1 0,0-1 16,0 0-16,0 0 0,14 0 0,-1 1 15,0-14-15,0 13 16,1-13-16,-1-13 0,13 13 15,-12-14-15,-1 14 0,-13-13 0,13 0 16,0 0-16,-13 0 0,0-1 16,0 1-16,-13 0 0,13 0 0,-13-1 15,0 1-15,-1 0 0,-12 0 0,13 13 16,-14-13-16,14 13 0,-14-14 0,1 14 16,0 0-16,12 0 0,-12 0 15,-1 0-15</inkml:trace>
  <inkml:trace contextRef="#ctx0" brushRef="#br0" timeOffset="51541.06">6006 6773 0,'26'0'16,"-12"0"-1,-1 0-15,13 0 0,-12 0 0,12 0 16,1 0-16,-14 0 0,13 0 0,1 0 16,-1 0-16,-13 0 0,14 0 15,-1 0-15,-12 14 0,-1-14 0,0 0 16,0 0-16,0 13 0</inkml:trace>
  <inkml:trace contextRef="#ctx0" brushRef="#br0" timeOffset="52387.25">5900 6853 0,'40'0'15,"-27"0"-15,0 0 0,1 0 16,-1 0-16,13 0 0,1-14 16,-14 14-16,13 0 0,1 0 0,-14 0 15,14 0-15,-1 0 0,-13 0 16,14 0-16,-14 0 0,0 0 0,0 0 16,1 0-16,-1 0 0,0 0 15,0 0-15,1 0 0,-1 0 16,0-13-16,0 13 15,0 0 1,1 0 0,-1 0 46,0 0 313,-39 13-250,12-13-125,1 0 0</inkml:trace>
  <inkml:trace contextRef="#ctx0" brushRef="#br0" timeOffset="54259.68">13322 6720 0,'79'-26'31,"-66"26"-31,1 0 0,12 0 0,-13 0 16,1 0-16,-1 0 0,0 0 0,0 0 16,0 0-16,1 0 0,-1 0 15,0 0-15</inkml:trace>
  <inkml:trace contextRef="#ctx0" brushRef="#br0" timeOffset="54499.96">13375 6760 0,'39'0'31,"-12"0"-31,-14 0 0,0 0 15,1-13-15,-1 13 0,0 0 0,13 0 16,-12 0-16,-1 0 0,0 0 16,0 0-16,1 0 15,-1 0-15,0 0 0,0 0 16,0 0-16,-13 13 16</inkml:trace>
  <inkml:trace contextRef="#ctx0" brushRef="#br0" timeOffset="58138.38">10425 12158 0,'0'39'15,"0"-12"-15,-14-14 16,14 13-16,0 1 0,0-14 0,-13 14 16,13-1-16,0 0 0,0-12 0,0 12 15,0-13-15,0 14 0,-13-14 16,13 0-16,0 1 0,0-1 0,0 0 15,0 0-15,0-52 47,13 12-47,-13 1 0,0-14 0,13 0 16,-13 1-16,14-1 0,-1 0 16,-13 14-16,13-14 0,0 27 0,1-14 15,12 1-15,-26 13 0,13 13 16,0 0-16,14 0 15,-27 13-15,13 0 0,-13 14 16,13-1-16,-13-13 0,14 14 0,-14-1 16,0 1-16,0-1 0,0 1 15,0-1-15,0 0 0,0-12 0,0 12 16,0-13-16,0 1 0,0-1 16,0 0-16,0 0 0,0 1 15,0-1-15</inkml:trace>
  <inkml:trace contextRef="#ctx0" brushRef="#br0" timeOffset="58347.92">10425 12422 0,'26'0'46,"-13"0"-46,1 0 0,-1 0 16,0 13-16,13-13 0,1 0 16,-14 0-16,14 0 0,-14 0 0,13 0 15,1 0-15,-14 0 0,13 0 16,-12 0-16</inkml:trace>
  <inkml:trace contextRef="#ctx0" brushRef="#br0" timeOffset="58590.47">10980 12303 0,'0'0'0,"27"13"31,-14-13-31,0 0 16,0 0-16,1 0 0,-1 0 16,0 14-16,13-14 15,-12-14-15,-1 14 0,0 0 0,0 0 16</inkml:trace>
  <inkml:trace contextRef="#ctx0" brushRef="#br0" timeOffset="58868.18">11099 12144 0,'13'14'32,"1"-1"-32,-1 0 0,0 0 15,0-13-15,-13 14 0,14-1 16,-1 0-16,0 13 0,0-12 15,1-1-15,-1 13 0,0-12 0,-13-1 16,13 0-16,-13 0 0,0 14 0,0-14 16,-13 0-16,13 0 0,-13 14 15,0-14-15,-1 14 0,1-14 16,0 0-16,13 0 0,-13-13 16</inkml:trace>
  <inkml:trace contextRef="#ctx0" brushRef="#br0" timeOffset="59643.11">12091 12105 0,'0'26'31,"0"-13"-31,0 1 0,-13-1 0,13 0 16,0 0-16,0 1 0,0-1 16,-13 0-16,13 0 0,0 0 15,0 1-15,0-1 0,0 0 16,0 0-16,0-39 31,13 13-31,-13-1 16,0 1-16,13 0 0,1-13 0,-14 12 15,13 1-15,-13 0 0,13 0 16,0-1-16,-13 1 0,14 13 0,-1-13 16,0 13-16,0 0 15,1 0-15,-1 13 16,0 0-16,0 1 0,-13-1 15,13 0-15,-13 0 0,0 1 16,0-1 0,0 0-1,0-39 17,14 12-32,-14 1 0,0 0 15,13 0-15,0-1 0,0 1 16,1 13-16,-14-13 0,13 13 15,0 0-15,0 0 0,0 13 16,1-13-16,-14 13 0,13-13 16,-13 14-16,0-1 0,0 0 15,13 0-15,-13 1 0,0-1 16,13-13-16,-13 13 0,0 0 16,14 0-16,-1-13 15,0 0 1,0 0-16,1 0 0</inkml:trace>
  <inkml:trace contextRef="#ctx0" brushRef="#br0" timeOffset="59967.03">12594 12303 0,'0'0'0,"13"-26"16,1 26-16,-14-14 0,13 14 16,-13-13-16,13 0 0,0 0 0,-13 0 15,14-1-15,-14 1 16,0 0 0,0 0-1,-27 26 1,27 0-16,-13-13 0,13 13 0,-13 1 15,13-1-15,0 0 0,13-13 16,-13 13-16,13-13 0,-13 13 16,13 1-16,1-14 0,12 13 15,-13-13-15,14 0 0,-14 0 0,0 0 16,14 0-16</inkml:trace>
  <inkml:trace contextRef="#ctx0" brushRef="#br0" timeOffset="60687.87">13018 12158 0,'0'-14'0,"0"28"0,-14-28 0,1 14 16,0 0-16,0 0 15,-1 14-15,1-1 16,0 0-16,0 0 15,-1 1-15,1-1 0,13 0 0,-13 0 16,13 0-16,-13 1 0,13-1 0,0 0 16,0 0-16,13 1 15,0-1-15,0-13 16,1 0-16,-1-13 16,0 13-16,0-14 0,1 1 0,-1 13 15,0-26-15,0 12 0,1-12 16,-1 0-16,0-1 0,0 1 0,-13-1 15,13 1-15,-13 12 0,14-12 0,-14 13 16,0-14-16,13 14 0,-13 0 16,0 0-16,0-1 0,0 1 15,-13 40 1,-1-14 0,14 0-16,0 14 0,-13-14 15,13 0-15,0 13 0,0-12 0,0-1 16,0 0-16,0 14 0,0-14 15,0 0-15,13 0 0,-13 1 0,14-1 16,-1-13-16,0 13 0,0-13 16,1 0-16,-1 0 15,0 0-15,0 0 0,0 0 16,1 0-16,-1 0 16,-13 13-16,13-13 0,-13 13 15,13-13-15,-13 14 0,0-1 16,14 0-16,-14 0 15</inkml:trace>
  <inkml:trace contextRef="#ctx0" brushRef="#br0" timeOffset="60811.93">13348 12118 0,'0'-13'0,"0"26"15,0-40-15,-13 14 31</inkml:trace>
  <inkml:trace contextRef="#ctx0" brushRef="#br0" timeOffset="61271.08">13388 12184 0,'13'27'16,"-13"-14"-16,-13-13 16,13 13-16,0 0 0,0 0 15,13-13-15,-13 14 16,13-14-16,1 0 0,-1-14 16,0 14-16,0 0 15,1-13-15,-1 13 16,0-13-16,0 13 15,0 0 1,1 13 0,-14 0-16,26 40 47</inkml:trace>
  <inkml:trace contextRef="#ctx0" brushRef="#br0" timeOffset="61348.88">13613 12158 0,'-27'-27'31</inkml:trace>
  <inkml:trace contextRef="#ctx0" brushRef="#br0" timeOffset="61755.01">13666 12250 0,'0'13'16,"0"-26"-16,0 40 15,0-14 32,13-13-16,0 0-31,0 0 16,1-13 0,-1 13-16,0 0 15,0-14-15,1 1 0,-1 13 16,0-13-16,0 13 15,-13-13-15,13 13 0,-13 13 47,0 0-47,0 0 16,14 1-16,-1-14 16,0 0-16,0 0 15,1 0-15</inkml:trace>
  <inkml:trace contextRef="#ctx0" brushRef="#br0" timeOffset="62436.94">14459 12118 0,'0'-13'15,"-26"26"1,13 0-16,0 0 15,13 1 1,0-1-16,0 13 16,0-12-16,13-14 15,-13 13-15,13-13 16,0 0 0,0 0-16,1 0 15,-1 0-15,-13-13 0,13-1 16,-13 1-16,0 0 0,0 0 15,0-1-15,0 1 0,0 0 16,-13 13-16,13-13 16,0-1-16,0 1 15,13 13 17,0 0-32,1 13 15,-1-13-15,0 14 16,0-1-16,-13 0 15,14-13-15,-1 13 0,-13 1 0,13-1 16,-13 0-16,0 0 16,0 1-16,0-1 15,13-26 32,0 13-47,-13-14 16,14 14-16,-14-13 0,13 0 15,0 13-15,0-13 0,1-1 16,-1 14-16,0-13 0,0 13 16</inkml:trace>
  <inkml:trace contextRef="#ctx0" brushRef="#br0" timeOffset="62927.63">15174 11919 0,'0'40'16,"0"-27"-1,0 1-15,0-1 0,0 0 0,0 0 16,0 1-16,0-1 0,0 0 0,0 0 16,-13 0-16,13 1 0,0-1 15,-14-13-15,14 13 0,-13-26 32,13 0-32,0-1 15,0-12-15,13 13 16,1-27-16,-1 14 0,0-1 15,14 1-15,-14-1 0,13 14 0,-13 0 16,1 0-16,-1-1 0,0 14 16,0 0-16,1 14 15,-14-1-15,0 0 16,-14 0-16,14 0 0,-13 14 0,0-14 16,0 0-16,-1 14 0,1-14 15,0 0-15,0 1 0,0-1 0,-1 0 16,1-13-16,13 13 0,13-13 31</inkml:trace>
  <inkml:trace contextRef="#ctx0" brushRef="#br0" timeOffset="63115.68">15558 11748 0,'0'-14'0,"-14"94"31,14-54-31,-13 1 16,13-1-16,-13 0 0,0 14 16,-1-13-16,14 12 0,-13-25 15,13 12-15,0 0 0,0 1 0,-13-1 16,13-12-16,0-1 0,0 0 16,13 0-16,-13 1 0,0-1 0</inkml:trace>
  <inkml:trace contextRef="#ctx0" brushRef="#br0" timeOffset="64311.06">15743 12039 0,'-14'0'0,"28"0"0,-41-14 16,14 28-16,0-14 15,0 0-15,13 13 0,-14-13 0,1 13 16,13 0-16,-13-13 0,13 13 0,-13 1 16,13-1-16,0 0 15,13 0 1,0-13-1,0 0-15,1-13 16,-1 13-16,-13-13 0,13 13 16,0-13-16,0 13 15,-13 13 17,14 0-32,-14 0 15,13 1 1,0-1-16,0-13 15,1 0-15,-1 0 16,0 0-16,0 0 0,1 0 0,-1 0 16,0 0-16,0-13 0,0 13 0,1-14 15,-1 1-15,0 13 0,-13-13 16,13 13-16,-13-13 0,-26 13 47,26 13-47,-13-13 15,13 13-15,-14 0 16,14 14-16,14-27 16,-14 13-16,13 0 0,0-13 15,0 0-15,1 14 0,-1-14 16,0 0-16,0 0 0,1-14 16,-1 14-16,0 0 0,0-13 0,0 13 15,1-13-15,-1 0 16,0-1-16,-13 1 0,13 0 0,-13 0 15,14-1-15,-14-12 0,0 13 16,13 0-16,-13-14 0,0 14 16,13 0-16,-13-1 0,0 1 0,0 0 15,0 0-15,13 13 0,-13-14 0,0 1 16,0 0 0,-26 39-1,26-12 1,-13-1-16,13 0 15,-14 0-15,14 1 0,-13 12 0,13-13 16,-13 1-16,13-1 0,0 13 0,-13-13 16,13 1-16,0-1 0,0 0 15,0 0-15,0 1 0,-14-1 16,28 0 0,12-26 15,-13 13-16,1 0-15,-14-13 0,13 13 16,0 0 0,0 13-16,0-13 15,-13 13-15,0 0 16,-13 1 0,0-1-16,0-13 15,0 13-15,-1-13 0,1 13 16,0-13-1,26-26 1,0 13 0</inkml:trace>
  <inkml:trace contextRef="#ctx0" brushRef="#br0" timeOffset="64551.94">16298 12105 0,'14'13'31,"-14"0"-31,0 0 15,13 1 1,0-1 0,0-13-16,14-13 15,-14-1 1,0 1-16,-13 0 16,0 0-16,0-1 15,-13 14-15,0-13 16,-1 13-16,1 0 0,0 0 15,0 13-15,-14-13 0,1 0 0,-14 14 16,0-1-16</inkml:trace>
  <inkml:trace contextRef="#ctx0" brushRef="#br0" timeOffset="65123.68">10372 13176 0,'0'-13'0,"0"39"16,0-12-1,0-1-15,-14 0 0,14 14 16,0-14-16,0 0 0,0 14 0,0-14 16,0 0-16,0 13 0,0-12 0,0-1 15,0 0-15,0 0 0,0 1 16,14-1-16,-14 0 0,0 0 16,0 1-16</inkml:trace>
  <inkml:trace contextRef="#ctx0" brushRef="#br0" timeOffset="65706.97">10385 13282 0,'0'-13'0,"13"-40"31,0 53-31,-13-13 0,14 13 16,-1 0-16,0 0 15,0 0-15,1 13 16,-1 0 0,-13 0-16,0 1 0,0-1 15,0 0 1,0 0-16,0 1 16,0-1-16,0 0 0,0 0 0,0 0 15,0 1-15,-13-1 0,-1 0 0,14 0 16,-13 1-16,0-1 0,0 0 15,13 0-15,-14 1 0,1-1 0,0-13 16,0 13-16,-1 0 0,1-13 16,0 13-1</inkml:trace>
  <inkml:trace contextRef="#ctx0" brushRef="#br0" timeOffset="66102.86">11179 13309 0,'13'-14'15,"0"14"1,0 0-16,1 0 0,-1 0 16,0 0-16,0 0 0,0-13 0,1 13 15,-1 0-15,0 0 0,0 0 16,1-13-16,-1 13 16</inkml:trace>
  <inkml:trace contextRef="#ctx0" brushRef="#br0" timeOffset="66368.08">11351 13110 0,'53'13'31,"-40"1"-15,0-14-16,13 13 0,-12 0 0,-1 0 15,13 0-15,-12 1 0,-1-1 0,0 0 16,0 0-16,-13 1 0,14-1 16,-14 0-16,0 0 0,0 1 0,0-1 15,0 0-15,-14 0 0,14 0 0,0 1 16,0-1-16</inkml:trace>
  <inkml:trace contextRef="#ctx0" brushRef="#br0" timeOffset="67094.67">12687 13176 0,'0'27'16,"0"-14"0,0 0-16,0 0 0,0 1 15,0-1-15,0 0 16,0 0-16,0 1 15,13-14-15,0-14 32,0 14-32,1-13 15,-14 0-15,13 13 0,0-13 16,0 13-16,-13-14 16,14 14-16,-1 0 0,0 0 15,0 14-15,1-1 16,-14 0-16,13-13 15,-13 13 1,0 1-16,13-1 16,0-40 15,0 27-15,-13-13-16,14 0 0,-1 13 15,-13-13-15,13 13 0,0-14 16,1 14-16,-1 14 15,0-14-15,0 13 16,1-13-16,-14 13 16,13-13-16,-13 13 0,13-13 0,0 14 15,0-14-15,-13 13 0,14-13 16</inkml:trace>
  <inkml:trace contextRef="#ctx0" brushRef="#br0" timeOffset="67379.69">13229 13335 0,'0'-26'16,"0"12"-16,0 1 15,13 0-15,-26 0 16,-13 26 15,12 0-15,14 0-16,-13 1 15,13-1-15,0 0 16,0 0-16,13-13 0,-13 13 0,14-13 16,-1 0-16,0 14 0,0-14 15,1 0-15,12 0 0</inkml:trace>
  <inkml:trace contextRef="#ctx0" brushRef="#br0" timeOffset="68052.87">13666 13203 0,'-14'-14'15,"28"28"-15,-28-41 0,1 27 16,0 0-1,0 13-15,0 1 0,-1-14 16,14 13-16,-13 0 0,0 0 16,13 1-16,-13-1 0,13 0 0,-14 0 15,14 1-15,0-1 0,-13 0 0,26-13 16,-13 13-16,0 0 16,14-13-16,-1 14 15,0-28-15,14 14 16,-14-13-16,0 0 15,-13 0-15,13 0 0,0-1 0,-13 1 16,14 0-16,-1-14 0,-13 1 0,0 13 16,13-1-16,-13-12 0,13 13 15,-13 0-15,0-1 0,0 1 0,0 0 16,14 0-16,-14-1 16,-14 41 15,14-14-31,0 14 0,-13-14 0,13 0 15,0 13-15,0-12 0,0 12 16,0-13-16,0 14 0,13-14 0,-13 0 16,0 1-16,0-1 15,14-13-15,-14 13 0,13-13 0,0 0 16,0 0-16,1 0 16,-1 0-16,0 0 0,0 0 15,0 0-15,-13 13 31,14 0-31,-14 1 16</inkml:trace>
  <inkml:trace contextRef="#ctx0" brushRef="#br0" timeOffset="68169.77">13944 13176 0,'-14'-13'16</inkml:trace>
  <inkml:trace contextRef="#ctx0" brushRef="#br0" timeOffset="68824.53">14116 13216 0,'-14'13'16,"14"0"-16,-13 1 0,13-1 15,0 0-15,0 0 0,0 1 16,0-1-16,13-13 16,-13 13-16,14-13 15,-1 0-15,0 0 16,0-13-16,0 13 0,1 0 16,-1-13-16,0 13 15,0 0-15,1 0 16,-14 13-1,13 0-15,-13 0 16,0 0-16,0 1 16</inkml:trace>
  <inkml:trace contextRef="#ctx0" brushRef="#br0" timeOffset="69357.83">14367 13295 0,'0'14'0,"0"-1"31,0 0-31,13-13 0,0 0 16,1 0 15,-1 0 0,0 0-15,0-13-16,0 13 16,1-13-16,-1 13 15,0 0 1,0 0-1,-13 13 1,0 0-16,0 0 16,0 0-1,14 1 1,-1-14-16,0 0 16</inkml:trace>
  <inkml:trace contextRef="#ctx0" brushRef="#br0" timeOffset="70209.1">15042 13176 0,'0'-13'15,"-14"13"1,1 0-1,0 0 1,0 13 31,-1-13-31,1 0 30,0 0-30,13 13 0,0 1-16,0-1 15,0 0-15,0 0 16,0 1-16,0-1 0,0 0 16,13 0-16,-13 1 15,13-14-15,-13 13 0,14-13 0,-1 13 16,0-13-1,0 0 1,1-13-16,-1 0 16,-13-1-16,0 1 15,-13 0-15,13 0 16,0-1 0,0 1-1,26 13 16,-13 13-31,0 1 16,1-14-16,-14 13 0,13-13 16,-13 13-16,13-13 0,-13 13 0,13 1 15,1-1 17,-14-26-1,13-1-31,-13 1 0,13 13 15,-13-13-15,13 0 0,1-1 16,-1 1-16,0 0 0,0 0 16,0-1-16,1 14 0,12-13 0,-13 13 15,14-13-15</inkml:trace>
  <inkml:trace contextRef="#ctx0" brushRef="#br0" timeOffset="70770.13">16219 13057 0,'0'40'15,"0"-80"-15,-13 93 0,13-40 0,0 1 0,0 12 16,-14-13-16,14 14 0,0-1 16,-13 1-16,13-1 0,0 1 0,0-1 15,0 0-15,0 1 0,0-1 0,0-12 16,0 12-16,0-13 0,0 1 15,0-1-15,0 0 0,0 0 0,0 0 16,-13-13-16,13-26 31,0 13-31,0-14 0,0 1 16,0-1-16,13-12 0,-13-1 16,13 0-16,1 1 0,-1 12 15,0-13-15,0 27 0,-13 0 0,14 0 16,-1 0-16,-13-1 0,13 1 0,0 13 15,1 13 1,-14 1-16,0-1 16,0 0-16,-14 0 0,14 14 0,-13-14 15,0 0-15,0 14 0,-1-14 16,14 0-16,-13 0 0,0 1 0,0-1 16,-1 0-16</inkml:trace>
  <inkml:trace contextRef="#ctx0" brushRef="#br0" timeOffset="70972.11">16470 12991 0,'14'-13'16,"-28"26"-16,28 0 31,-14 1-31,-14-1 0,14 0 0,0 0 16,-13 14-16,13-14 0,0 13 15,-13 1-15,13-1 0,-13-13 16,13 1-16,0 12 0,0-13 0,-14 1 16,14-1-16,0 0 0,14 0 15,-14 1-15,13-14 0,0 13 16,0 0-16</inkml:trace>
  <inkml:trace contextRef="#ctx0" brushRef="#br0" timeOffset="71800.73">16775 13216 0,'0'-13'0,"-14"13"16,1 0-16,0 0 15,0 13-15,-1-13 0,1 13 16,0 0-16,0 1 0,0-1 16,13 0-16,-14 0 15,14 1 1,14-1-1,-1-13-15,0-13 16,0 13-16,-13-14 0,13 1 16,1 0-16,-1 13 0,-13-13 0,26-14 15,-26 14-15,14 0 16,-14-1-16,13 14 16,-13 14 15,0-1-31,0 0 15,0 0-15,0 1 16,13-14-16,-13 13 0,13-13 16,1 13-16,-1-13 15,0 0-15,13 0 16,-12 0-16,-1-13 0,0 13 16,0-13-16,1-1 15,-14 1-15,13 13 16,-13-13-16,-13 26 47,13 0-32,-14 1 1,28-1 0,-14 0-16,13-13 15,0 0 1,0 0-16,0 0 15,1-13-15,-1 13 0,-13-13 0,13 13 16,0-14-16,-13 1 16,14 13-16,-14-13 0,13 13 15,-13 26 17,0-12-32,0-1 15,0 0-15,13-13 16,-13 13-16,13-13 15,-13 14-15,14-14 0,-1 0 16,0 0-16,0 0 0</inkml:trace>
  <inkml:trace contextRef="#ctx0" brushRef="#br0" timeOffset="72548.08">17370 13044 0,'-27'40'32,"27"-27"-32,0 0 0,-13 0 0,13 14 15,0-14-15,-13 13 0,13-12 0,0 12 16,0-13-16,0 1 0,-13-1 16,13 0-16,0 0 0,0 1 15,0-1-15,13-13 16,0 0-1,0 0-15,-13-13 16,14 13-16,-1-14 0,0 14 16,0 0-1,1 0 1,-28 14 0,14-1-16,-13 0 15,0 0-15,0 0 16,-1 1-16,1-14 15,53-14 17,-27 1-17,14 13-15,-27-13 0,13 13 16,0-13-16,0 13 0,0-13 0,1 13 16,-14-14-16,13 14 15,0 14 1,-13-1-16,13 0 15,1-13 1,-1 13 0,0-13-16,0 0 15,-13-13-15,14 13 16,-1-13-16,-26 0 16,13-1-1,-14 1-15,1 0 0,13 0 16,-13 13-16,13-14 0,-13 1 15,13 0-15,-14 0 0,14-1 16,0 1-16,0 0 0</inkml:trace>
  <inkml:trace contextRef="#ctx0" brushRef="#br0" timeOffset="73159.37">17767 12224 0,'39'-13'16,"-78"26"-16,105-26 0,-53 13 0,14 0 15,-1 0-15,-13-14 0,14 14 0,-14 0 16,13 0-16,-12 0 0,-1-13 0,0 13 15,0 0-15,1 0 0,-1 0 16,0 0-16,-13 13 0,13-13 16,1 14-16,-14-1 0,13 0 0,0 0 15,-13 14-15,13-1 0,0 1 0,-13 12 16,0 1-16,14 0 0,-14 13 16,0-14-16,13 14 0,-13-13 0,0 13 15,0 0-15,0-14 0,0 14 16,0-13-16,13 13 0,-13-13 0,0-1 15,0 1-15,0-14 0,0 1 16,0-1-16,0 1 0,0-14 0,0 0 16,-13 14-16,13-14 0,-13 0 0,-1 0 0,14 1 15,-13-1-15,-26 13 16,25-26-16,1 14 0,-13-14 16,12 13-16,-12-13 0,13 0 0,-14 0 15,14 13-15,0-13 0,-14 0 16,14 0-16,0 0 0,0-13 0,-1 13 15,1 0-15</inkml:trace>
  <inkml:trace contextRef="#ctx0" brushRef="#br0" timeOffset="75863.89">4128 1416 0,'-27'39'0,"1"-26"15,12 14-15,-12-1 0,-1 14 16,-12-13-16,-1 12 0,14 1 0,-14 0 16,0-1-16,14-12 0,-1 12 0,14-12 15,-13-1-15,12-12 0,1-1 16,0 0-16,13 0 0,-13 0 0</inkml:trace>
  <inkml:trace contextRef="#ctx0" brushRef="#br0" timeOffset="76052.73">4299 1416 0,'-79'105'31,"53"-65"-31,-14 0 16,0-1-16,-52 67 15,39-53-15,-13 0 0,-27 53 0,40-66 16,0-1-16</inkml:trace>
</inkml:ink>
</file>

<file path=ppt/ink/ink1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9.729"/>
    </inkml:context>
    <inkml:brush xml:id="br0">
      <inkml:brushProperty name="width" value="0.025" units="cm"/>
      <inkml:brushProperty name="height" value="0.025" units="cm"/>
      <inkml:brushProperty name="ignorePressure" value="1"/>
    </inkml:brush>
  </inkml:definitions>
  <inkml:trace contextRef="#ctx0" brushRef="#br0">21 0,'-3'7,"-2"5,1 3,0 4,2 1,0 0,2 1,-1 0,1-1,0 0,1 0,-1-1,0 1,0-4</inkml:trace>
</inkml:ink>
</file>

<file path=ppt/ink/ink1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00.449"/>
    </inkml:context>
    <inkml:brush xml:id="br0">
      <inkml:brushProperty name="width" value="0.025" units="cm"/>
      <inkml:brushProperty name="height" value="0.025" units="cm"/>
      <inkml:brushProperty name="ignorePressure" value="1"/>
    </inkml:brush>
  </inkml:definitions>
  <inkml:trace contextRef="#ctx0" brushRef="#br0">7 1,'3'0,"0"0,0 0,0 0,-1 0,1 0,0 1,0-1,0 1,-1 0,1 0,0 0,-1 0,1 0,-1 0,1 1,-1 0,1-1,-1 1,0 0,0 0,0 0,3 4,-4-3,0-1,0 1,-1 1,1-1,-1 0,1 0,-1 0,0 0,0 0,0 0,-1 0,1 0,-1 0,1 1,-1-2,0 1,0 0,-1 0,1 0,-3 4,-22 29,22-32,0 1,0 0,1 0,-1 0,1 0,0 0,0 1,1-1,0 1,-2 6,4-11,0 0,1 0,-1 0,0 1,1-1,-1 0,1 0,-1 0,1 0,0 0,-1 0,1 0,0 0,0 0,0-1,-1 1,1 0,0 0,0-1,0 1,0 0,0-1,0 1,1-1,-1 0,0 1,0-1,0 0,0 0,1 1,-1-1,0 0,0 0,0 0,0 0,2-1,45-2,33-14,-63 15</inkml:trace>
</inkml:ink>
</file>

<file path=ppt/ink/ink1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01.182"/>
    </inkml:context>
    <inkml:brush xml:id="br0">
      <inkml:brushProperty name="width" value="0.025" units="cm"/>
      <inkml:brushProperty name="height" value="0.025" units="cm"/>
      <inkml:brushProperty name="ignorePressure" value="1"/>
    </inkml:brush>
  </inkml:definitions>
  <inkml:trace contextRef="#ctx0" brushRef="#br0">121 7,'5'-1,"-10"-2,-17 0,19 4,-49 10,49-11,0 1,0 0,0 0,0 0,0 1,0-1,0 1,0-1,1 1,-1 0,1 0,-1 0,-2 4,5-5,0 0,-1 0,1 0,0 0,0 0,0 0,0 0,0 0,0 0,0 0,0 0,0 0,0 0,1 0,-1 0,0 0,1 0,-1 0,1 0,-1 0,1 0,-1 0,1-1,0 1,-1 0,1 0,0-1,0 1,0 0,0-1,-1 1,3 0,33 20,-31-18,10 4,-5-2,0 0,0 0,0 1,-1 0,15 13,-22-18,-1 1,1 0,0 0,-1 0,0 1,1-1,-1 0,0 0,0 1,0-1,0 0,-1 1,1-1,-1 1,1-1,-1 1,0-1,0 1,0 0,0-1,-1 1,1-1,-1 1,1-1,-1 0,0 1,0-1,0 1,0-1,0 0,-2 2,-1 2,0 0,0-1,0 0,-1 0,0 0,0 0,-1-1,1 0,-1 0,1 0,-13 5,3-2</inkml:trace>
</inkml:ink>
</file>

<file path=ppt/ink/ink1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01.630"/>
    </inkml:context>
    <inkml:brush xml:id="br0">
      <inkml:brushProperty name="width" value="0.025" units="cm"/>
      <inkml:brushProperty name="height" value="0.025" units="cm"/>
      <inkml:brushProperty name="ignorePressure" value="1"/>
    </inkml:brush>
  </inkml:definitions>
  <inkml:trace contextRef="#ctx0" brushRef="#br0">21 0,'0'7,"0"5,-4 4,0 2,0 2,0 1,2 0,0-1,1 0,1 0,0 0,0 0,0-1,1-3</inkml:trace>
</inkml:ink>
</file>

<file path=ppt/ink/ink1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01.945"/>
    </inkml:context>
    <inkml:brush xml:id="br0">
      <inkml:brushProperty name="width" value="0.025" units="cm"/>
      <inkml:brushProperty name="height" value="0.025" units="cm"/>
      <inkml:brushProperty name="ignorePressure" value="1"/>
    </inkml:brush>
  </inkml:definitions>
  <inkml:trace contextRef="#ctx0" brushRef="#br0">0 39,'7'0,"5"0,4-3,3-2,1 1,0 0,1 2,0-3,-1 0,0 0,0 2,-4 0</inkml:trace>
</inkml:ink>
</file>

<file path=ppt/ink/ink1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0.273"/>
    </inkml:context>
    <inkml:brush xml:id="br0">
      <inkml:brushProperty name="width" value="0.025" units="cm"/>
      <inkml:brushProperty name="height" value="0.025" units="cm"/>
      <inkml:brushProperty name="ignorePressure" value="1"/>
    </inkml:brush>
  </inkml:definitions>
  <inkml:trace contextRef="#ctx0" brushRef="#br0">53 37,'-2'1,"-1"-1,1 0,-1 1,1 0,0-1,-1 1,1 0,0 0,0 1,0-1,0 0,0 1,0-1,0 1,0 0,0-1,1 1,-1 0,1 0,-1 0,1 0,0 0,0 1,0-1,0 0,0 0,0 1,1-1,-1 1,1-1,0 0,0 1,0 3,-1 1,0-1,1 1,1-1,-1 1,1-1,0 1,0-1,1 0,-1 1,2-1,4 11,-3-13,0 1,0-1,1 0,-1 0,1 0,0-1,0 0,0 0,1 0,-1 0,1-1,0 0,-1 0,1 0,0-1,0 0,0 0,0-1,0 1,0-1,9-1,-9 1,0-1,0 1,-1-1,1 0,0-1,-1 1,1-1,-1 0,1 0,-1-1,0 0,0 0,0 0,-1 0,1-1,-1 1,1-1,-1-1,0 1,-1 0,1-1,4-7,-7 8,0 0,-1 0,1 0,0 0,-1 0,0 0,0 0,0 0,-1 1,1-1,-1 0,0 0,0 0,0 0,-1 1,1-1,-1 0,0 1,0 0,0-1,0 1,-1 0,1 0,-1 0,0 0,-4-3,-3-2,1-1,-1 2,-1 0,1 0,-1 0,0 2,-14-6,7 5</inkml:trace>
</inkml:ink>
</file>

<file path=ppt/ink/ink1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0.609"/>
    </inkml:context>
    <inkml:brush xml:id="br0">
      <inkml:brushProperty name="width" value="0.025" units="cm"/>
      <inkml:brushProperty name="height" value="0.025" units="cm"/>
      <inkml:brushProperty name="ignorePressure" value="1"/>
    </inkml:brush>
  </inkml:definitions>
  <inkml:trace contextRef="#ctx0" brushRef="#br0">0 1,'0'0</inkml:trace>
</inkml:ink>
</file>

<file path=ppt/ink/ink1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1.477"/>
    </inkml:context>
    <inkml:brush xml:id="br0">
      <inkml:brushProperty name="width" value="0.025" units="cm"/>
      <inkml:brushProperty name="height" value="0.025" units="cm"/>
      <inkml:brushProperty name="ignorePressure" value="1"/>
    </inkml:brush>
  </inkml:definitions>
  <inkml:trace contextRef="#ctx0" brushRef="#br0">54 0,'-5'7,"-1"-1,1 1,0-1,1 1,0 1,0-1,0 1,1-1,0 1,1 0,0 0,0 1,-1 10,2-13,1-1,-1 1,1-1,0 1,1-1,-1 1,1-1,0 0,0 1,1-1,0 0,0 0,0 1,0-2,1 1,0 0,0 0,0-1,1 0,-1 1,6 3,-7-6,0 0,1-1,0 1,-1-1,1 1,0-1,0 0,-1 0,1 0,0 0,0-1,0 1,0-1,0 0,0 0,0 0,1 0,-1 0,0-1,0 1,0-1,-1 0,1 0,0 0,0 0,0 0,-1-1,1 1,0-1,-1 0,3-2,-1 1,-1 0,0 0,0-1,0 1,-1-1,1 1,-1-1,0 0,0 0,0 0,0 0,-1 0,0 0,0-1,0 1,0 0,0-1,-1 1,0-1,0 1,-1-5,-1 0,0 1,-1 0,0 0,-1 0,0 1,0-1,0 1,-1 0,0 0,-1 1,1-1,-1 1,-1 0,1 1,-1-1,0 1,0 1,-11-6,6 5</inkml:trace>
</inkml:ink>
</file>

<file path=ppt/ink/ink1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2.124"/>
    </inkml:context>
    <inkml:brush xml:id="br0">
      <inkml:brushProperty name="width" value="0.025" units="cm"/>
      <inkml:brushProperty name="height" value="0.025" units="cm"/>
      <inkml:brushProperty name="ignorePressure" value="1"/>
    </inkml:brush>
  </inkml:definitions>
  <inkml:trace contextRef="#ctx0" brushRef="#br0">16 2,'2'0,"0"-1,0 1,-1 0,1 0,0 0,0 0,0 0,-1 0,1 1,0-1,0 0,-1 1,1 0,0-1,0 1,-1 0,1 0,-1 0,1 0,-1 0,1 0,-1 0,0 1,0-1,1 0,-1 1,0-1,0 1,0-1,-1 1,1 0,0-1,0 1,-1 0,1-1,-1 1,0 0,1 0,-1 0,0-1,0 1,0 0,0 0,-1 0,1-1,0 1,-1 0,1 0,-1-1,-1 4,-3 8,0-1,0 0,-2-1,1 1,-14 16,6-3,14-24,0-1,0 1,-1 0,1-1,0 1,0 0,0-1,0 1,0 0,0-1,0 1,1 0,-1-1,0 1,0-1,0 1,1 0,-1-1,0 1,1-1,-1 1,1 0,2 1,-1-1,1 0,0 1,0-1,-1 0,1-1,0 1,0 0,0-1,0 0,0 0,0 0,6 0,9 0,0-1,0-1,29-6,-29 4</inkml:trace>
</inkml:ink>
</file>

<file path=ppt/ink/ink1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4.702"/>
    </inkml:context>
    <inkml:brush xml:id="br0">
      <inkml:brushProperty name="width" value="0.025" units="cm"/>
      <inkml:brushProperty name="height" value="0.025" units="cm"/>
      <inkml:brushProperty name="ignorePressure" value="1"/>
    </inkml:brush>
  </inkml:definitions>
  <inkml:trace contextRef="#ctx0" brushRef="#br0">1 1,'6'0,"7"0,3 0,2 0,2 0,1 0,0 0,-1 0,0 0,4 0,0 0,-1 0,-3 0</inkml:trace>
</inkml:ink>
</file>

<file path=ppt/ink/ink1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27:06.444"/>
    </inkml:context>
    <inkml:brush xml:id="br0">
      <inkml:brushProperty name="width" value="0.05292" units="cm"/>
      <inkml:brushProperty name="height" value="0.05292" units="cm"/>
      <inkml:brushProperty name="color" value="#0070C0"/>
    </inkml:brush>
  </inkml:definitions>
  <inkml:trace contextRef="#ctx0" brushRef="#br0">14803 2844 0,'-13'0'93,"26"0"-61,40 0-32,93 0 15,26 0-15,40 0 16,224 0-16,-52-39 16,145-67-16,-53 66 15,-92-26-15,-80 26 16,-132 14-16,-93 13 15,-65-1-15</inkml:trace>
  <inkml:trace contextRef="#ctx0" brushRef="#br0" timeOffset="1432.96">1759 3836 0,'14'14'47,"25"-1"-32,67-13-15,66 0 16,0 0-16,40 0 16,52 13-16,-39-13 15,13 40-15,-66-40 16,-26 26-16,-27-12 16,-53-1-16</inkml:trace>
  <inkml:trace contextRef="#ctx0" brushRef="#br0" timeOffset="3336.29">13944 3797 0,'39'0'62,"41"13"-46,39 0-16,39-13 16,14 0-1,14 0-15,52 0 16,26 0-16,27 0 15,-39 0-15,39 0 16,-80 0-16,-39 0 16,-39 0-16,-14 0 15,-93 0-15,-13 0 16</inkml:trace>
  <inkml:trace contextRef="#ctx0" brushRef="#br0" timeOffset="5880.85">6429 4458 0,'0'-13'0,"0"0"0,-13 39 31,13-13-15,0 14-16,-13-1 0,13 1 16,-13-1-16,13 14 0,0-14 0,-14 1 15,14-1-15,-13 1 0,13-1 0,-13 1 16,13-14-16,0 13 0,-13-12 15,13-1-15,0 0 0,-13 0 0,13 1 16,0-1-16</inkml:trace>
  <inkml:trace contextRef="#ctx0" brushRef="#br0" timeOffset="6166.91">6376 4471 0,'27'-13'0,"-54"26"0,67-39 0,-27 26 0,1-13 15,12 13-15,-13 0 0,1 0 0,-1 0 16,0 0-16,0 13 0,0-13 15,1 13-15,-1-13 0,-13 13 0,13 1 16,-13-1-16,-13 0 0,13 0 16,-13 1-16,13-1 0,-27 13 15,14-12-15,0-1 0,0-13 16,-1 13-16,1 0 0,0-13 0,0 13 16,-1 1-1</inkml:trace>
  <inkml:trace contextRef="#ctx0" brushRef="#br0" timeOffset="6464.44">6641 4789 0,'13'-13'15,"-26"26"-15,40-40 0,-27 14 16,13 0-16,-13 0 0,0-14 15,0 14-15,0 0 16,0 0 0,-13 13-16,-1 13 15,1-13-15,13 13 0,-13 0 16,13 1-16,-13-14 0,13 13 0,0 0 16,-14 0-16,14 0 0,14-13 15,-14 14-15,0-1 0,13-13 0,0 13 16,0 0-16,1-13 0,-1 0 15,0 0-15,13 0 0,-12 0 16,-1 0-16</inkml:trace>
  <inkml:trace contextRef="#ctx0" brushRef="#br0" timeOffset="6868.01">6919 4577 0,'-13'-13'16,"26"26"-16,-40 1 15,27-1 1,0 0-16,0 0 0,0 14 0,-13-14 16,13 13-16,0 14 0,0-14 0,0 14 15,0 0-15,-13-14 0,13 1 16,0-1-16,0 1 0,0-1 0,0-13 16,0 14-16,0-14 0,0 0 0,-13 1 15,13-1-15,-14-13 16,1-27-1,13 14-15,-13 0 0,13-14 16,0-12-16,0-14 0,0 13 0,0 14 16,0-1-16,0 1 0,13-1 15,-13 14-15,13-13 0,1 12 16,-1 14-16,-13-13 0,13 13 0,0 0 16,1 13-1,-1 1-15,-13-1 0,0 0 16,0 0-16,0 0 15,0 1-15,-13-1 0,13 0 16,-14 0-16,14 1 0,-13-1 16,13 0-16</inkml:trace>
  <inkml:trace contextRef="#ctx0" brushRef="#br0" timeOffset="7129.09">7144 4683 0,'0'-13'16,"0"39"15,13-12-31,-13-1 0,0 0 16,0 0-16,13 0 0,-13 1 15,0-1-15,0 0 0,0 0 16,0 1-16,-13-1 0,0 0 15,13 0-15,-13-13 0,13 14 16,-14-14-16,1 13 0,0-13 16</inkml:trace>
  <inkml:trace contextRef="#ctx0" brushRef="#br0" timeOffset="7271.38">7263 4762 0,'26'-13'16,"-52"26"-16,79-26 0,-40 13 15,0 0-15,-13 13 16,13-13-16,-13 14 16,14-1-16,-14 0 0,0 0 15,0 1-15,-14-1 0,14 0 16,0 0-16</inkml:trace>
  <inkml:trace contextRef="#ctx0" brushRef="#br0" timeOffset="7407.85">7461 4564 0</inkml:trace>
  <inkml:trace contextRef="#ctx0" brushRef="#br0" timeOffset="8605.08">11536 4419 0,'-27'0'31,"14"13"-31,0 0 0,-14 0 0,14 14 16,-13-1-16,-1 1 0,1-1 16,-1 1-16,14-1 0,0-13 0,0 0 15,13 1-15,-14-1 0,14 0 0,0 0 16,0 1-16,0-1 15,14-13-15,-1 13 0,0-13 16,14 0-16,-14-13 0,13 13 16,1-13-16,-14 13 0,13-14 0,-12 1 15,-1 13-15,13-13 0,-26 0 16,14 13-16,-1-14 0,0 14 0,-13-13 16,13 13-16,-13 13 31,0 1-16,14-14-15,-14 13 0,13 0 16,0-13-16,-13 13 0,13-13 16,0 0-16,14 0 0,-14 0 0,0 0 15,1 0-15,-1 0 0,0 0 0,-13-13 16,13 13-16,-13-13 16,0 0-16,0-1 15,0 1-15,-13 0 0,0 0 16,0 13-16,-1 0 15,-12 0-15,13 0 16,-1 0-16</inkml:trace>
  <inkml:trace contextRef="#ctx0" brushRef="#br0" timeOffset="8787.99">11933 4445 0,'0'0'15,"13"-13"1,-13 39 0,0-13-16,0 1 15,0-1-15,0 0 0,-13 0 0,13 14 16,-14-14-16,14 14 0,-13-14 16,0 13-16,13-13 0,0 1 0,0-1 15</inkml:trace>
  <inkml:trace contextRef="#ctx0" brushRef="#br0" timeOffset="9060.94">12184 4524 0,'-79'14'31,"52"-1"-31,1 0 0,13 0 16,-27 1-16,27-1 0,-14 0 15,14 0-15,0 0 0,-1-13 16,1 14-16,13-1 0,-13-13 0,13 13 0,0 0 16,13 1-1,0-14 1,1 0-16,-1 0 0,0 0 0,14 0 16,-14 0-16,0 0 0,14 0 15,-14 0-15,13 0 0,1 0 16,-14-14-16,0 14 0</inkml:trace>
  <inkml:trace contextRef="#ctx0" brushRef="#br0" timeOffset="9335.74">12435 4564 0,'-13'-13'0,"0"39"32,0-12-32,13-1 0,0 0 15,0 0-15,-14 0 0,14 1 16,0-1-16,14 0 16,-14 0-16,13 1 0,0-1 15,0-13-15,1 0 16,-14 13-16,13-13 0,0 0 0,0 0 15,1 0-15,-1 0 0,0 0 16</inkml:trace>
  <inkml:trace contextRef="#ctx0" brushRef="#br0" timeOffset="9588.53">12435 4683 0,'14'-13'0,"-1"13"16,0-13-16,0 13 0,1-14 16,-14 1-1,0 0 1,0 0 0,0 0-16,0-1 15,13 14-15,-13-13 0,13 13 16,0 0-16,-13-13 0,27 13 0,-14-13 15,13 13-15,-12-14 0,12 14 16,1 0-16</inkml:trace>
  <inkml:trace contextRef="#ctx0" brushRef="#br0" timeOffset="13592.46">9644 4471 0,'0'-13'0,"0"53"31,0-27-15,-13 27-16,13 13 0,-13 0 0,13 13 15,-14 13-15,1 1 0,13 25 16,-13 1-16,0 0 0,-1 13 0,1 13 15,0-13-15,-13 14 0,-1 12 0,1-12 16,-1 12-16,1 1 0,-1 12 16,-12-12-16,12-1 0,1 1 0,-1-1 15,1-12-15,-1-1 0,14-13 0,0 0 16,0 0-16,13-39 16,-14-1-16,14-13 0,-13 14 0,13-28 15,0 1-15,-13-13 0,13 0 0,0-1 16,0-25-16,-13 12 0,13-13 0,0 1 15,-14-1-15</inkml:trace>
  <inkml:trace contextRef="#ctx0" brushRef="#br0" timeOffset="14674.2">992 6496 0,'0'26'31,"0"-13"-31,0 0 0,0 14 16,0-14-16,0 14 0,0-1 15,13-13-15,-13 14 0,0-1 0,0-13 16,0 1-16,0 12 0,0-13 0,0 1 16,0-1-16,0 0 15,14 0-15,-14 0 0</inkml:trace>
  <inkml:trace contextRef="#ctx0" brushRef="#br0" timeOffset="15295.84">1138 6535 0,'0'27'15,"0"-14"1,0 0-16,0 0 0,0 14 16,13-14-16,-13 0 0,13 1 0,-13-1 15,13 0-15,1 0 0,-14 0 0,13 1 16,0-14-16,0 0 0,-13 13 16,14-13-16,-1 0 0,0-13 15,0 13-15,0 0 0,-13-14 0,14 14 16,-14-13-16,13 0 0,-13 0 15,0 0-15,0-1 0,0 1 0,0 0 16,-13 0-16,13-1 0,-14 1 0,14 0 16,-13 0-16,0-1 0,0 14 15,13-13-15,-13 13 0,-1 0 0,1 0 16,0 0-16,0 0 0,13 13 16,-14-13-16,1 0 15</inkml:trace>
  <inkml:trace contextRef="#ctx0" brushRef="#br0" timeOffset="15587.46">1310 6482 0,'13'14'16,"-13"-1"-16,13 0 16,-13 0-16,13-13 0,-13 13 0,14 1 15,-1-1-15,0 0 0,0 0 16,1-13-16,-1 0 0,0 14 0,0-14 15,0 0-15,14-14 0,-14 14 16,0 0-16,1-13 0,-1 13 0,0-13 16,0 13-16,-13-13 0,14-1 0,-14 1 15,0 0-15,-14 0 16,14 0-16,-13-1 0,0 1 16,0 0-16,-1 0 0,1 13 0,0-14 15,0 14-15,-14 0 0,14 0 0,0 0 16,0 14-16,-1-14 15,1 13-15,0-13 0,13 13 0,-13 0 16</inkml:trace>
  <inkml:trace contextRef="#ctx0" brushRef="#br0" timeOffset="18674.9">1786 6257 0,'13'27'32,"-13"-14"-17,13 14-15,-13-1 0,0-13 16,0 14-16,14-1 0,-14-13 16,0 14-16,13-1 0,-13-12 15,0-1-15,0 13 0,13-13 0,-13 1 0</inkml:trace>
  <inkml:trace contextRef="#ctx0" brushRef="#br0" timeOffset="18986.18">1812 6271 0,'14'-27'15,"-1"14"1,0 13-16,0 13 16,1-13-16,-14 13 0,0 1 15,0-1-15,0 0 16,0 0-16,-14-13 15,14 14-15,0-1 0,-13 0 0,13 0 16,-13 0-16,13 1 16</inkml:trace>
  <inkml:trace contextRef="#ctx0" brushRef="#br0" timeOffset="19544.82">1984 6350 0,'0'0'0,"0"-13"15,14 0-15,-14-1 16,-14 1 0,14 0-1,-13 39 16,13-12-15,13-1-16,1 0 16,-1-13-16,0 0 15,0 0-15,1 0 0,-1 0 16,0 0-16,0-13 0,0 13 0,1-13 16,-1 13-16,0-14 0,0 14 15,1-13-15,-14 0 0,13 13 0,-13-13 16,0-1-16,0 1 0,0 0 15,-13 0 1,-1 26 0,14 0-1,0 0-15,-13 1 16,13-1-16,13 0 0,-13 0 16,14-13-16,-14 14 0,13-14 15,0 0-15,0 0 16,0 0-16,1-14 0,-1 1 15,0 0-15,-13 0 16,0-1 0,0 1-16,0 0 0,0 0 15,-13-1-15,0 14 16,-1 0 0,1 14-16,0-14 15,0 13-15</inkml:trace>
  <inkml:trace contextRef="#ctx0" brushRef="#br0" timeOffset="19971.74">2275 6046 0,'0'-14'0,"0"28"0,14-1 31,-1 13-31,-13-12 16,0 12-16,0 1 0,13 12 0,-13 1 15,0 0-15,13-1 0,-13 1 16,14-14-16,-14 1 0,13-1 0,-13 1 16,0-14-16,13 14 0,-13-14 0,0 0 15,0 0-15,0 0 0,13-13 16,-13 14-16,0-1 0,-26-40 31,26 14-15,0-13-16,0 13 0,-13-120 31,13 107-31,0 13 0,0-1 16,13 1-16,-13 0 0,13 0 15,0 13 1,0 0-16,-13 13 16,14-13-16,-14 13 0,0 0 0,13-13 15,-13 14-15,0-1 0,0 0 0,0 0 16,0 0-16,0 1 15,-13-1-15</inkml:trace>
  <inkml:trace contextRef="#ctx0" brushRef="#br0" timeOffset="20286.82">2461 5940 0,'13'26'31,"-13"-12"-31,0-1 16,0 0-16,0 0 0,13 0 0,-13 14 15,0-14-15,13 0 0,-13 14 0,14-14 16,-14 0-16,13-13 0,-13 14 16,13-1-16,0-13 0,0 0 15,-13-13-15,14 13 0,-14-14 16,13 1-16,0 13 15,-13-13-15,13 13 16,1-13-16,-1 26 16,0-13-1,-13 13-15,0 0 16,13-13-16,-13 14 0,0-1 16,0 0-16</inkml:trace>
  <inkml:trace contextRef="#ctx0" brushRef="#br0" timeOffset="20569.04">1177 6998 0,'40'-26'0,"291"-120"31,-265 120-31,27-14 0,-1 0 16,-26 1-16,14 12 0,-14 1 15,13-1-15,-26 1 0,13-1 0,-13 1 16,0 13-16,-13 0 0,-14-1 0,1 1 16,-14 13-16,0 0 0,-39 13 31,-1 1-16</inkml:trace>
  <inkml:trace contextRef="#ctx0" brushRef="#br0" timeOffset="20936">1310 7011 0,'66'-13'15,"212"-79"1,-225 65-16,-1 1 16,1 12-16,0-12 0,-13 13 15,0 0-15,-1-1 0,-12 1 0,26 0 16,-40 13-16,0 0 0,0-13 16,1 13-16,-1 0 0,-13-14 15,13 14-15,0 0 0,1 0 16,-14-13-16,13 13 15,0 0 17,-39 0 30,12 13-62,1-13 16,0 14-16</inkml:trace>
  <inkml:trace contextRef="#ctx0" brushRef="#br0" timeOffset="28045.16">8149 5252 0,'-13'26'32,"13"-12"-32,0 12 15,-13-13-15,13 14 0,-14-14 0,14 14 16,-13-1-16,13-13 0,-13 14 16,13-14-16,0 0 0,-13 0 0,13 1 15,0-1-15,0 0 0,-13-13 16,13 13-16,0 0 0,0 1 15,13-14 1,-13 13-16,13-13 16,0 0-16,0 0 15,1 0-15,-1 0 0,0 0 16,0 0-16,1 0 0,-1 13 16,13-13-16,-12 0 0,-1 0 15,0 13-15,0-13 0,0 0 16,1 0-16,-1 14 0,0-14 0,0 0 15,1 0-15,-14 13 16,13-13-16,0 0 0,0 0 16,1 0-16,-1-13 15,0 13-15,0-14 16,0 14-16,-13-13 16,0 0-16,14 13 0,-14-13 0,13-1 15,-13 1-15,0 0 0,13 0 16,-13 0-16,0-14 0,13 14 0,-13-14 15,0 14-15,0 0 0,14 0 0,-14 0 16,0-1-16,0 1 0,0 0 16,0 0-16,0-1 0,13 1 15,-13 0-15,0 0 32,0-1-32,0 1 15</inkml:trace>
  <inkml:trace contextRef="#ctx0" brushRef="#br0" timeOffset="28387.34">8189 5239 0,'26'0'0,"-12"0"0,-1 13 15,0-13-15,0 0 0,0 0 16,1-13-16,12 13 0,-13 0 16,1 0-16,-1 0 0,13 0 0,-12 0 15,-1 0-15,0 0 0,0 0 0,0 0 16,1 0-16</inkml:trace>
  <inkml:trace contextRef="#ctx0" brushRef="#br0" timeOffset="29102.88">7580 5424 0,'0'-13'16,"-13"39"0,13-13-1,0 1-15,0-1 0,0 0 16,0 0-16,0 1 0,0-1 0,0 0 15,-13-13-15,13 13 0,0 0 16,0 1-16,13-1 16</inkml:trace>
  <inkml:trace contextRef="#ctx0" brushRef="#br0" timeOffset="29364.34">7541 5384 0,'13'-13'15,"0"-13"1,0 26-16,1 13 16,-14 0-1,0 0 1,0 1-16,0-1 15,-14-13-15,14 13 0,-13 0 0,13 0 16,-13-13-16,0 14 16,-1-1-1</inkml:trace>
  <inkml:trace contextRef="#ctx0" brushRef="#br0" timeOffset="29641.12">7408 5252 0,'-26'26'0,"52"-52"0,-52 79 0,13-40 16,13 14-16,0-1 0,-14 1 0,14-1 15,0 14-15,0-1 16,0 1-16,0-14 0,14 14 0,-14-13 0,13-14 16,-13 13-16,13-12 0,0 12 15,1-13-15,-1 0 0,0 1 0,0-14 16,0 0-16,1 0 0</inkml:trace>
  <inkml:trace contextRef="#ctx0" brushRef="#br0" timeOffset="29884.26">7673 5199 0,'106'79'31,"-93"-52"-31,13-1 15,-12 1-15,12-1 0,-13 1 0,-13-1 16,14-13-16,-14 14 0,0-1 16,0 1-16,-14 12 0,1 1 0,0-13 15,0-1-15,-14 14 0,14-14 0,0-13 16,0 1-16</inkml:trace>
  <inkml:trace contextRef="#ctx0" brushRef="#br0" timeOffset="30917.74">13772 5226 0,'0'-14'16,"0"80"15,0-39-31,-14-1 0,14 1 0,0-1 0,-13 1 16,13-1-16,0 1 0,0-14 15,-13 13-15,13-12 0,0 12 16,0-13-16,0 0 0,0 1 0,0-1 16,13 0-1</inkml:trace>
  <inkml:trace contextRef="#ctx0" brushRef="#br0" timeOffset="31526.18">13824 5212 0,'27'-13'0,"39"13"31,-53 0-31,14 0 0,-14-13 0,13 13 16,1 0-16,-14 0 0,14 0 0,-14 0 16,0 0-16,14 0 0,-14 0 15,0 0-15,0 0 0,0 0 16,1 0-16,-1 13 0,0-13 16,-13 13-16,0 1 15,13-14-15,-13 13 0,0 0 16,0 0-16,0 0 0,0 14 0,0-14 15,0 0-15,14 14 0,-14-1 16,0-12-16,0-1 0,0 13 0,0-13 16,0 14-16,13-14 0,-13 0 15,0 1-15,0-1 0,0 0 16,0 0-16,0 0 0,0 1 16,-13-1-16,13 0 0,-14-13 15,1 13-15,0 1 16,0-14-16,-1 0 0,-12 13 0,13-13 15,-14 0-15,14 0 0,-13 0 0,12 0 16,-12 0-16,13 0 0,-14 0 16,14 0-16,0 0 0,-14 0 15,14 0-15,0-13 0,0 13 0,-1 0 0,1 0 16,0-14-16,0 14 0,13-13 16</inkml:trace>
  <inkml:trace contextRef="#ctx0" brushRef="#br0" timeOffset="32187.82">13811 5292 0,'27'0'16,"-14"0"-16,0 0 15,0 0-15,14-14 0,-14 14 16,14 0-16,-14 0 0,13 0 16,1 0-16,-14 0 0,13 0 0,1-13 15,-14 13-15,0 0 0,14 0 0,-14 0 16,0 0-16</inkml:trace>
  <inkml:trace contextRef="#ctx0" brushRef="#br0" timeOffset="32752.87">13600 5345 0,'-14'-14'16,"-25"14"-1,25 0-15,1 14 16,0-14-16,0 13 0,-14 0 0,14 0 16,0 1-16,0-14 15,13 13-15,-14 0 0,14 0 0,-13-13 16,13 13-16,13 14 0,1-27 15,-1 13 1,0-13-16,0 0 0,1 0 0,-1 0 16,0 0-16,0 0 0,14 0 0,-14 0 15,13 0-15,-12 0 0</inkml:trace>
  <inkml:trace contextRef="#ctx0" brushRef="#br0" timeOffset="33237.85">13600 5199 0,'13'40'16,"-13"-27"0,13 0-16,-13 0 0,13 14 0,0 13 15,-13-14-15,0-13 0,0 14 16,0-14-16,0 13 0,-13 14 15,13-27-15,0 1 0,-13-1 16,13 13-16,-13-13 0,0 1 0,13-1 16,-14 0-16,1-13 0</inkml:trace>
  <inkml:trace contextRef="#ctx0" brushRef="#br0" timeOffset="33512.68">13295 5239 0,'-13'39'0,"26"-78"0,-39 92 0,26-27 16,-13 1-16,-1-1 0,14 14 15,-13-14-15,13 1 0,-13 12 0,13-12 0,13-1 16,-13 1-16,0-14 16,27 40-16,-27-40 0,13 14 15,0-27-15,14 13 0,-14 0 0,0 0 16,0-13-16</inkml:trace>
  <inkml:trace contextRef="#ctx0" brushRef="#br0" timeOffset="43069">8255 4934 0,'-26'14'16,"12"12"-1,1-26-15,13 13 0,0 1 16,-13-1-16,13 0 0,0 0 16,0 1-16,0-1 0,13-13 15,-13 13-15,0 0 16,13-13-16,1 13 15,-1-13-15,0-13 0,0 13 16,0 0-16,-13-13 0,14 13 16,-1-13-16,0 13 0,-13-13 15,13 13-15,-13-14 0,14 1 16,-1 26 31,0 1-16,0-14-15,1-14-1,-1 14-15,0-13 16,0 0-16,-13 0 16,13-1-1,-13 1 1,14 13-16,-14-13 15</inkml:trace>
  <inkml:trace contextRef="#ctx0" brushRef="#br0" timeOffset="43371.98">8559 4934 0,'0'14'16,"0"-1"-16,-13 0 0,13 0 15,0 27 16,0-27-31,0 1 16,0-41 15,13 14-31,-13 0 16,13-1-16,1 1 0,-1 13 16,-13-13-1,13 26 1,-13 0-16,-13 1 15,13-1-15,-13 0 16,13 0 0</inkml:trace>
  <inkml:trace contextRef="#ctx0" brushRef="#br0" timeOffset="43517.06">8771 4815 0,'13'0'0,"0"27"32,1-14-32,-14 0 0,0 1 0,0-1 15,0 0-15,-14 0 0,14 0 16,0 1-16,0-1 0</inkml:trace>
  <inkml:trace contextRef="#ctx0" brushRef="#br0" timeOffset="44596.86">14552 4802 0,'0'-13'31,"-26"26"-31,12 0 0,14 1 0,-13-1 16,13 0-16,0 0 15,-13 1-15,13-1 0,0 0 0,0 0 16,0 0-16,0 1 15,0-1-15,13 0 16,0-13-16,-13 13 16,27-13-16,-14-13 15,0 13-15,1-13 0,-1 13 0,0-13 16,0 13-16,0-14 0,1 1 16,-1 0-16,0 13 0,-13-13 15,13 13-15,1 13 47,-14 0-31,13-13-1,0 13-15,0-13 16,1-13 0,-1 0-1,-13 0 16,0 0-15,0-1-16</inkml:trace>
  <inkml:trace contextRef="#ctx0" brushRef="#br0" timeOffset="44940.85">14870 4815 0,'0'14'0,"0"-1"0,0 0 15,13-13-15,-13 13 0,0 1 0,0-1 16,0 0-16,-13 0 16,13 0-16,0 14 15,0-14-15,0 0 16,13-26 15,-13-13-15,13 12-16,-13-25 0,40-67 47,-40 93-47,-40 79 47,27-53-47,13 0 15,0 1-15</inkml:trace>
  <inkml:trace contextRef="#ctx0" brushRef="#br0" timeOffset="45185.07">15174 4736 0,'13'13'31,"-13"0"-31,0 1 16,-13-1-16,13 0 16,0 0-16,0 1 15,0-1-15,0 0 16,-13-13-16</inkml:trace>
  <inkml:trace contextRef="#ctx0" brushRef="#br0" timeOffset="47095.54">8559 4167 0,'0'27'31,"0"-14"-31,-13 13 16,13-12-16,0-1 0,0 13 15,-13-13-15,13 1 0,0-1 16,0 0-16,0 0 0,-13 14 0,13-14 16,0 0-16,0 1 0,-14-1 15,14 0-15,0 0 16,-13-13-16,13 13 0,0 1 15</inkml:trace>
  <inkml:trace contextRef="#ctx0" brushRef="#br0" timeOffset="47683.15">8480 4445 0,'26'13'15,"-12"-13"1,-1 0-16,0 0 0,0 0 0,0 0 16,14 0-16,-14 0 0,0 0 15,1 0-15,-1 0 0,0 0 0,0 0 16,14 0-16,-14 0 16,-13-13-16,13 13 15</inkml:trace>
  <inkml:trace contextRef="#ctx0" brushRef="#br0" timeOffset="47945.8">8387 4061 0,'-26'27'0,"52"-54"0,-65 67 16,25-27-16,1 1 0,0-1 0,0 0 16,-1 13-16,1 1 0,0 13 15,0-14-15,0 40 0,13-13 16,0-26-16,0-1 0,0 0 16,13 1-16,-13-14 0,13 14 15,13-1-15,-12-13 0,-1-13 16,13 14-16,-12-14 0,-1 0 0,13 0 15</inkml:trace>
  <inkml:trace contextRef="#ctx0" brushRef="#br0" timeOffset="48262.59">8731 4088 0,'27'0'0,"-54"0"0,67 0 0,-27 13 16,0-13-16,14 13 0,-1 14 0,27 12 15,-26-12-15,-14-1 16,27 40-16,-14-39 0,-26-1 15,13 1-15,-13-1 0,0 1 16,-13 12-16,0-12 0,0 13 0,-14-1 16,1 1-16,-1 0 0,-12-1 0,12-12 15,1-1-15,-1 1 0,1-1 16,-1-13-16</inkml:trace>
  <inkml:trace contextRef="#ctx0" brushRef="#br0" timeOffset="48774.02">13917 4299 0,'0'14'16,"-13"-1"-16,13 0 0,-13 0 0,13 1 16,-14-1-16,14 13 0,-13-12 0,13-1 15,-13 0-15,13 13 0,0-12 16,-13-1-16,13 0 0,0 0 16,0 1-16</inkml:trace>
  <inkml:trace contextRef="#ctx0" brushRef="#br0" timeOffset="49116.85">13996 4273 0,'14'-13'0,"-28"26"0,41-26 0,-14 0 15,0 13-15,14 13 16,-14 0-1,-26 13-15,13-12 16,-13-1-16,-1 0 0,-12 0 0,13 1 16,-1-1-16,1 0 0,0 0 15,-13 1-15,12-1 16,1 0-16,13 0 0,-13-13 16,13 13-16,13 1 15,-13-1 1,13-13-16,1 0 0,-1 0 15,0 13-15,0-13 0,0 0 0,1 0 16,-1-13 0,0 13-16,0 0 0</inkml:trace>
  <inkml:trace contextRef="#ctx0" brushRef="#br0" timeOffset="49367.85">13573 4220 0,'-26'27'0,"52"-54"0,-66 80 16,40-40-16,-13 14 0,13-1 16,-13 1-16,13-1 0,0 14 15,-13-1-15,26-12 0,-13 13 0,13-14 16,-13 14-16,13-14 0,1-13 0,12 27 15,-13-27-15,14 1 0,-14-1 16,13-13-16,-12 13 0,12-13 16,-13 0-16,14 0 0,-1-13 0,27 0 15</inkml:trace>
  <inkml:trace contextRef="#ctx0" brushRef="#br0" timeOffset="49630.09">14116 4114 0,'13'0'16,"0"14"-16,13-1 0,80 159 31,-92-133-31,-1-12 16,-13 13-16,0-14 0,0 14 0,-13-1 15,-1-12-15,1 13 0,0 12 16,-14-12-16,-12 0 0,12-14 16,1 14-16,-1-14 0,-12 1 0,12-1 0,1-12 15,-1-1-15,1 0 0</inkml:trace>
  <inkml:trace contextRef="#ctx0" brushRef="#br0" timeOffset="59135.42">8109 6244 0,'0'-13'31,"0"53"0,14-40-31,-14 13 0,0 0 16,0 0-16,0 1 15,0-1-15,0 0 0,0 0 0,0 0 16,0 1-16,0-1 0,0 0 16,0 0-16,0 1 0,0-1 15</inkml:trace>
  <inkml:trace contextRef="#ctx0" brushRef="#br0" timeOffset="59420.63">8123 6191 0,'0'0'0,"13"-26"0,-13 13 16,13 13-16,0 0 0,-13-14 0,14 14 15,12 0-15,-26 14 16,13-14-16,1 13 16,-1 0-16,-13 0 15,0 0-15,-13-13 0,13 14 16,0-1-16,-14 0 0,14 0 16,-13-13-16,13 14 0,-13-1 0,0-13 15,13 13-15,-14-13 0</inkml:trace>
  <inkml:trace contextRef="#ctx0" brushRef="#br0" timeOffset="59684.92">7964 6046 0,'-93'106'31,"93"-80"-31,-13 0 0,13 1 16,0-1-16,-13 1 0,13-1 0,0 1 15,13-1-15,-13 1 0,0-1 0,13-13 16,1 14-16,-14-14 0,13 14 16,0-14-16,14 0 0,-14-13 0,0 13 15,0-13-15,0 0 0,1 0 16,12-13-16</inkml:trace>
  <inkml:trace contextRef="#ctx0" brushRef="#br0" timeOffset="59939.75">8268 5913 0,'0'0'0,"13"0"0,93 67 32,-79-41-32,-1 0 0,1 1 15,-14 13-15,0-14 0,14 14 16,-14-14-16,-13 14 0,0-14 0,0 14 16,-13 0-16,-1-1 0,1 1 0,-13 0 15,12-14-15,-12 14 0,0 0 16,12-14-16,1 1 0,0-14 0</inkml:trace>
  <inkml:trace contextRef="#ctx0" brushRef="#br0" timeOffset="60512.27">12925 6218 0,'0'39'31,"-13"-12"-31,13-14 0,0 0 0,-14 14 15,14-14-15,-13 13 0,13-12 0,0 12 16,-13-13-16,13 1 0,0-1 16,0 13-16,0-12 0,0-1 15,0 0-15,0 0 16</inkml:trace>
  <inkml:trace contextRef="#ctx0" brushRef="#br0" timeOffset="60751.99">12925 6257 0,'40'14'31,"-27"-14"-31,0 13 16,-13 0-16,0 14 15,0-14-15,-26 26 16,12-25-16,14-1 16,-13 0-16,0 0 0,0-13 0,-1 14 15,1-1-15</inkml:trace>
  <inkml:trace contextRef="#ctx0" brushRef="#br0" timeOffset="61008.28">12713 6138 0,'-39'40'0,"25"-27"0,-12 14 16,-1 39-16,14-40 0,13 1 15,-13-1-15,13 1 0,26 118 31,-12-118-31,-1-1 0,0 1 0,0-14 16,1 0-16,12 0 0,-13-13 16,0 14-16,1-14 0,-1 0 15,13 0-15,-12 0 0,-1 0 0,0 0 0,0-14 16</inkml:trace>
  <inkml:trace contextRef="#ctx0" brushRef="#br0" timeOffset="61275.89">13084 6085 0,'13'0'16,"-26"0"-16,39 14 0,1-1 15,-14 0-15,0 0 0,13 14 0,1-1 16,-14 1-16,14-1 0,-14 1 15,0-1-15,0 14 0,-13-14 0,14 1 16,-14-1-16,-14 1 0,14 12 0,-13-12 16,0 12-16,0-12 0,-14 13 15,14-14-15,-14 1 0,14-1 0,0-13 16,0 0-16,0 1 0,-14-1 0,14-13 16,0 13-16</inkml:trace>
  <inkml:trace contextRef="#ctx0" brushRef="#br0" timeOffset="73527.14">14989 6363 0,'-14'66'31,"1"-52"-31,13 12 0,-13 1 16,13-14-16,-13 13 0,13-13 0,-14 1 16,14 12-16,0-13 0,0 1 15,-13-1-15,13 0 0,0 0 16,0 1-16,13-14 16</inkml:trace>
  <inkml:trace contextRef="#ctx0" brushRef="#br0" timeOffset="73981.13">15002 6403 0,'0'0'0,"13"0"0,-13-13 0,13 13 0,1 0 16,-1 13-16,0-13 15,0 0-15,0 0 0,-13 13 0,0 40 31,0-40-31,0 1 16,0-1-16,0 0 31,0 0-31,14-13 0,-14 13 16,13 1 0,-13-1-16,-13 0 0,13 0 15,-14-13-15,1 14 0,0-14 16,0 13-16,0-13 15,-1 0-15,1 0 0,0 0 16,0 0 0</inkml:trace>
  <inkml:trace contextRef="#ctx0" brushRef="#br0" timeOffset="74304.09">15266 6324 0,'14'-14'16,"-28"28"-16,41-41 0,-27 54 31,-13-14-31,13 13 16,0-13-16,-14 14 0,14-14 0,-13 14 15,13-1-15,0-13 0,-13 14 0,13-14 16,0 0-16,0 0 0,0 1 16,13-14-16,-13 13 0,0 0 15,13-13-15,1 0 0,12 0 16,-13 0-16,1-13 0,-1 13 15,0-13-15,0 13 16,-13-14-16,14 14 0,-1 0 16,0 0-1,-13 14-15,0-1 0,0 0 16,0 0-16,0 1 16,0-1-16,0 0 0,0 0 15,0 1 1</inkml:trace>
  <inkml:trace contextRef="#ctx0" brushRef="#br0" timeOffset="74447.27">15518 6403 0,'-13'0'0,"-1"13"31</inkml:trace>
  <inkml:trace contextRef="#ctx0" brushRef="#br0" timeOffset="74887.78">15729 6496 0,'-13'13'31,"13"0"-31,0 0 0,0 0 15,0 1 1,-13-14-16,13 13 16,26-26 46,-12 13-46,-1 13-16,0-13 15,-13 13-15,13-13 16,-13 13-16,14-13 0,-14 14 16,13-14-16,0 0 15,0 0-15,14 0 16,-14 0-16</inkml:trace>
  <inkml:trace contextRef="#ctx0" brushRef="#br0" timeOffset="75304">16192 6310 0,'0'-13'16,"0"40"-1,0-14-15,-13 0 0,13 13 0,-13-12 16,13 12-16,-13 1 0,0-14 0,13 13 16,0-12-16,-14-1 0,14 0 15,0 13-15,0-12 0,0-1 16,0 0-16,-13-13 47,0 0-47,0 0 15,-14 13 1,14-13-16,13 14 16,-13-14-16,0 13 0,39-13 31,-13 0-31,0 0 15,1-13-15,-1 13 16,0 0-16,0 0 0,1 0 0,-1 0 16,0 0-16,0 0 0,0 0 15,1 13 1,-1-13 0,-13 13-16,13-13 15</inkml:trace>
  <inkml:trace contextRef="#ctx0" brushRef="#br0" timeOffset="75428.05">16378 6469 0,'-14'-13'0,"1"13"15</inkml:trace>
  <inkml:trace contextRef="#ctx0" brushRef="#br0" timeOffset="75743.98">16364 6509 0,'14'0'0,"-14"13"16,13 0-1,-13 0-15,0 1 0,0-1 16,13 0 0,-13 0-1,13-13 1,1 0 0,-14-13-1,13 13-15,0-13 0,0 13 16,1-13-1,-1 13-15,0 0 16,-13-14-16,13 14 0,0 0 16,1 0-16,-1 0 15,-13-13-15</inkml:trace>
  <inkml:trace contextRef="#ctx0" brushRef="#br0" timeOffset="76020.33">16669 6496 0,'0'-14'16,"0"41"-1,0-14 1,0 0-16,0 0 16,0 1-1,0-1-15,0 0 0,0 0 16,-13 1-16,13-1 0,-14 0 16,28-39 30,-1 26-46,-13-14 0,13 14 16,0-13-16,0 0 0,1 0 16,-1-1-16,0 14 15,-13-13-15,-13 0 32</inkml:trace>
  <inkml:trace contextRef="#ctx0" brushRef="#br0" timeOffset="76496.92">14790 6284 0,'-26'40'0,"13"-27"16,13 0-16,-14 199 31,28-173-31,-1 1 0,0-13 15,13 12-15,1-12 0,-1-1 16,27 1-16,0-1 0,0-13 0,0-13 16,0 13-16,13-13 0,0-13 0,14 0 15,-1 0-15</inkml:trace>
  <inkml:trace contextRef="#ctx0" brushRef="#br0" timeOffset="76837.92">16775 6112 0,'13'13'16,"0"0"-16,0 14 0,-13-14 0,14 27 15,-1-14-15,0 14 0,0 0 0,-13-1 16,13 1-16,-13-14 0,0 1 16,0 13-16,-13-1 0,13 1 0,-13 0 15,-27 26-15,27-40 0,0 1 16,-14-1-16,1-13 0,13 14 15,-14-14-15,1 0 0,-1 0 16,1 1-16</inkml:trace>
  <inkml:trace contextRef="#ctx0" brushRef="#br0" timeOffset="77524.19">15002 7474 0,'-13'27'31,"13"-14"-31,0 0 0,0 14 16,-14-1-16,14-12 0,0 12 16,-13 0-16,13 1 0,0-14 0,-13 14 15,13-14-15,0 0 0,0 0 0,0 1 16,0-1-16,0 0 0,0 0 0</inkml:trace>
  <inkml:trace contextRef="#ctx0" brushRef="#br0" timeOffset="77795.92">15002 7474 0,'26'-13'15,"-52"26"-15,66-26 0,-27 13 0,0 0 0,0 0 16,0 13-16,1 1 0,-1-14 15,0 13-15,-13 13 0,13-12 0,-13-1 16,0 13-16,0-12 0,-13 12 16,0 0-16,0 14 0,-1-27 0,1 14 15,-13-14-15,13 14 0,-1-14 0,1 0 16,0 0-16,0-13 0,-1 13 0,1-13 16</inkml:trace>
  <inkml:trace contextRef="#ctx0" brushRef="#br0" timeOffset="78795.92">15293 7554 0,'0'0'0,"-27"13"32,14 0-32,13 1 0,-13-1 15,13 0-15,-13 0 16,13 0-16,0 1 0,0-1 0,13 40 15,0-53 1,0 13-16,1-13 0,-1 0 0,0 0 16,0 0-16,1 0 0,-1 0 0,0-13 15,0 0-15,1-1 0,-14 1 16,13 0-16,-13-14 16,0 14-16,0 0 0,-13 0 0,13 0 15,-14-1-15,1 1 0,0 13 16,0-13-16,-1 13 0,1 0 15,0 0-15,0 13 0,-14-13 0,14 0 16,0 13-16,0 1 0,-1-1 16,14 0-16,0 0 15,0 0-15,14-13 0,-1 14 16,0-14-16,0 0 0,0 0 0,14 0 16,-14 0-16,0 0 0,14 0 15,-14-14-15,0 14 0,14-13 16,-14 13-16,0-13 0,0 13 0,1-13 15,-1 13-15,0-13 0,0 13 16,-13-14 0,14 14-16,-14 14 31,13-1-15,-13 0-1,13-13 1,0 0-16,1-13 15,-1 13-15,0 0 16,0-13 0,0 13-1,-13 13 1,14 0-16,-1-13 16,-13 13-16,13-13 15,-13 13-15,13-13 0,1 0 16,-1 0-16,0 0 15,0-13-15,0 13 0,1-13 16,-1 0-16,0 0 0,-13-1 16,13 1-16,-13 0 0,0-14 15,14 14-15,-14-13 0,0 12 16,0 1-16,0 0 0,0 0 0,0 0 16,13-1-16,-26 41 31,-1-14-31,14 13 0,-13-12 15,0 25-15,0-12 0,13-1 0,-14 1 16,1-14-16,13 13 0,0-12 16,0-1-16,-13 0 0,13 0 15,0 1-15,13-14 16,14-14 0,-14 14-16,0-13 0,0 13 15,1-13-15,-1 13 0,0 0 0,0 0 16,1-13-16,-1 13 0,0 13 0,0-13 15,0 0-15,-13 13 0,14-13 16,-14 13-16,0 1 0,0-1 0,-14 0 16,1 0-16,13 1 0,-13-1 15,0 0-15,0 0 0,13 0 16,-14-13-16,1 0 0,13 14 0,-13-28 31</inkml:trace>
  <inkml:trace contextRef="#ctx0" brushRef="#br0" timeOffset="79112.11">16047 7329 0,'0'0'16,"0"40"0,0-27-16,-13 0 0,13 0 15,0 14-15,0-1 0,-13-13 0,13 14 16,0-1-16,0-12 0,0 12 15,0-13-15,13 14 0,-13-14 0,13 0 16,0 0-16,0-13 16,1 0-16,-1 0 0,0-13 0,0 13 15,1-13-15,-1 0 0,0 0 16,0-1-16,0 14 16,-13-13-16,0 40 46,0-14-46,0 0 16,14 0 0,-1-13-16</inkml:trace>
  <inkml:trace contextRef="#ctx0" brushRef="#br0" timeOffset="79515.73">15650 8149 0,'0'53'16,"0"-40"-16,0 14 15,-13-14-15,13 13 16,0 1-16,0-1 0,0 1 0,0-14 16,0 14-16,0-14 0,0 13 0,0-13 0,0 1 15,0-1-15,0 0 16,0 0-16</inkml:trace>
  <inkml:trace contextRef="#ctx0" brushRef="#br0" timeOffset="80195.2">15610 8348 0,'27'0'94,"-27"-14"-94,0 1 15,0 0-15,0 0 16,13-1-16,0 1 15,-13 0-15,14 0 0,-1 0 16,0 13-16,0-14 0,0 14 0,1 0 16,-1 0-16,0 0 0,0 0 15,1 14-15,-14-1 16,0 13 0,0-13-1,13 1-15,-13-1 16,13-13-16,0 13 0,1-13 15,-14 13-15,13-13 0,0 14 16,-13-1-16,13-13 0,-13 13 0,13-13 16,-13 13-16,0 1 0,-13-1 15,13 0-15,-13 0 0,0 0 16,0 1-16,-1-14 0,1 13 16,0-13-16,0 13 0,-1-13 15,1 0-15,0 0 0,0 0 0,13-13 16,-14 13-16,14-13 15,0-1-15</inkml:trace>
  <inkml:trace contextRef="#ctx0" brushRef="#br0" timeOffset="80497.89">15928 8189 0,'13'-13'0,"-26"26"0,39-40 16,-12 54 15,-14-14-31,-14 0 16,14 1-16,0-1 0,0 0 0,0 0 15,0 0-15,0 1 0,0-1 16,14 0-16,-14 0 0,13-13 16,-13 14-16,13-14 0,0 0 15,14 0-15,-14-14 16,0 14-16,0 0 16,1-13-16,-1 13 0,0 0 31,0 13-31,-13 1 15,0-1-15,0 0 16,0 0-16,0 1 0,-13-1 16,13 0-16</inkml:trace>
  <inkml:trace contextRef="#ctx0" brushRef="#br0" timeOffset="80620.11">16179 8229 0,'0'-14'16</inkml:trace>
  <inkml:trace contextRef="#ctx0" brushRef="#br0" timeOffset="80987.89">16338 8268 0,'0'40'31,"-13"-40"-31,13 13 0,0 0 0,0 1 15,-13-1-15,13 0 16,0 0-16,26-26 47,-13 0-31,0 13-16,1-13 15,-1 13 1,0 13-16,0 0 15,1-13 1,-14 13-16,13-13 0,0 14 16,0-14-16</inkml:trace>
  <inkml:trace contextRef="#ctx0" brushRef="#br0" timeOffset="81419.17">16761 8123 0,'0'0'0,"-13"26"32,13-13-17,0 1-15,-13-1 0,13 13 0,-13-12 16,13-1-16,0 13 0,0-13 16,-14 1-16,14-1 0,0 0 0,0 0 15,0 1-15,-13-1 16,0-13 15,0 0-31,13 13 0,-13-13 16,-1 0-16,1 13 0,0-13 0,13 14 15,-13-14-15,-1 13 0,1-13 16,13 13-16,-13-13 16,26 13-16,14-26 15,-14 13-15,27-13 16,-27 13-16,0 0 0,0 0 15,0-13-15,1 13 0,-1 0 16,0 0-16,0 0 0,1 0 16,-1 0-16,-13 13 15,13-13 1,-13 13-16,0 0 31</inkml:trace>
  <inkml:trace contextRef="#ctx0" brushRef="#br0" timeOffset="81563.78">16894 8268 0,'0'-13'0,"0"26"16,0-39-16,-14 26 0,1 13 31</inkml:trace>
  <inkml:trace contextRef="#ctx0" brushRef="#br0" timeOffset="81896.3">16920 8295 0,'13'0'0,"-13"13"16,14-13-1,-14 13-15,0 0 16,0 1 0,13-1-1,0-26 17,0 13-32,0 0 15,1 0 1,-1-14-16,0 28 31,0-14-31,1 0 16,-1 0-1,0 0 1,0 0-16</inkml:trace>
  <inkml:trace contextRef="#ctx0" brushRef="#br0" timeOffset="82139.92">17171 8321 0,'14'-13'0,"-1"13"16,-40 13-16,67-26 31,-53 39-15,13-12-16,-13-1 15,13 0-15,-27 14 16,27-14-16,-13 0 0,0 0 16,13 0-16,-13-13 0,13 14 15,13-41 16,-13 14-31,13 13 0,-13-13 16,13 13-16,-13-13 16</inkml:trace>
  <inkml:trace contextRef="#ctx0" brushRef="#br0" timeOffset="82376.39">15822 8731 0,'251'-13'31,"-184"0"-31,-1 13 16,0-13-16,13 13 0,-26 0 0,53-14 15,-66 1-15,-1 13 16,1 0-16,-13-13 0,-14 13 0,0 0 16,0-13-16,0 13 0,-13-14 15,14 14-15,-28-13 0</inkml:trace>
  <inkml:trace contextRef="#ctx0" brushRef="#br0" timeOffset="84179.85">886 2937 0,'0'0'0,"27"26"0,-27-12 16,13-1-16,0 13 0,0 14 15,1-14-15,-1 14 0,0 0 0,-13-1 16,13 14-16,1 0 0,-1-13 0,-13 13 16,0-13-16,13 12 0,-13-12 15,0-13-15,0 12 0,13-12 0,-13-14 16,0 13-16,0-12 0,0-1 0,0 0 16</inkml:trace>
  <inkml:trace contextRef="#ctx0" brushRef="#br0" timeOffset="85132.09">966 2910 0,'0'0'0,"0"-13"16,13 13-16,0 0 0,0 0 0,27 0 16,0 0-16,-14 0 0,27 0 15,13 0-15,14 0 0,-14 0 16,13 0-16,14 0 0,-14 0 16,14 0-16,-1 0 0,1 0 0,13 0 15,0-13-15,-14 13 0,14 0 0,0 0 16,0 0-16,0 0 0,-14 0 15,14-13-15,-13 13 0,12 0 0,-12 0 16,0 0-16,-14 0 0,0 0 0,1 0 16,-14-13-16,0 13 0,-13 0 15,0 0-15,13 0 0,-13 0 0,-13 0 16,13-14-16,-14 14 0,-12 0 16,12 0-16,-12 0 0,-1 0 15,1 0-15,13-13 0,-14 13 0,27 0 16,-27 0-16,1-13 0,-1 13 15,1 0-15,-1 0 0,1-13 16,-1 13-16,1 0 0,12 0 0,-26 0 16,14 0-16,-1-14 0,1 14 0,-1 0 15,1 0-15,12 0 0,-25 0 16,12 0-16,1 0 0,-1 0 0,0 0 16,-12 0-16,12 0 0,1 0 15,-14 0-15,0 0 0,14 0 16,-14 0-16,13 0 0,-13 0 0,14 0 0,-14 0 15,14 0-15,-14 0 0,0 0 16,0 0-16,1 0 0,-1 14 16,0-14-16,0 0 0,0 0 0,1 0 15,-1 0-15,0 0 0,0 0 16,1 0-16,-1 0 16,0 0-1,0 0 1,1 13-16,-1-13 15,-13 13-15,13-13 0,0 13 16,0 1 0,-13-1-16,14 0 0,-1 0 0,0 0 15,0 1-15,1 12 0,-1-13 16,13 40-16,-12-40 0,-1 14 16,0-1-16,0 1 0,0-14 15,-13 14-15,14-1 0,-1-13 0,-13 14 16,26 39-16,-26-40 0,14 14 15,-14-14-15,13 41 0,-13-28 16,13-12-16,-13-1 16,0 1-16,0 12 0,0-12 0,13-1 0,-13 1 15,0-1-15,13-13 0,-13 14 16,0-14-16,14 0 0,-14 1 16,0-1-16,0 0 0,0 0 0,0 0 15,0 1-15,-14-14 16,1 0-16,0 13 0,-27-13 15,1 0-15,-14 13 0,-13-13 0,-14 0 16,-12 0-16,-1 13 0,-13-13 0,-172 14 16,133-14-16,-14 13 15,14-13-15,-14 13 0,13 0 0,-12-13 16</inkml:trace>
  <inkml:trace contextRef="#ctx0" brushRef="#br0" timeOffset="86764.95">7131 4061 0,'0'0'0,"0"-13"0,0 0 16,13 26 31,-13 0-47,0 1 0,0-1 0,0 13 15,0-12-15,0-1 0,13 13 0,-13-13 16,0 14-16,0-14 0,0 0 15,0 1-15,0-1 0,0 0 16,0 0-16,0 14 0,13-14 16,-13 0-1,-13 0-15,13 1 16</inkml:trace>
  <inkml:trace contextRef="#ctx0" brushRef="#br0" timeOffset="87163.09">7051 4260 0,'0'-13'15,"13"39"1,-13-13 0,0 0-16,14-13 0,-14 14 0,13-1 15,-13 0-15,13 0 0,0 1 16,1-1-16,-14 0 16,13-13-16,0 0 15,0 0-15,0 0 16,1 0-16,-14-13 15,13 13-15,0-13 16,0-1-16,-13 1 0,14 13 16,-14-13-16,13 0 0,-13-1 15,13 14 1,-13-13-16,13 13 16</inkml:trace>
  <inkml:trace contextRef="#ctx0" brushRef="#br0" timeOffset="88164.07">12065 4035 0,'0'-13'31,"0"39"-15,-13-13-16,13 1 0,0-1 0,0 13 16,-13-12-16,13-1 0,-14 0 15,14 13-15,-13-12 0,13-1 0,0 0 16,-13 0-16,13 1 0,-13-1 0,13 0 16,0 0-16,-14 0 15</inkml:trace>
  <inkml:trace contextRef="#ctx0" brushRef="#br0" timeOffset="88547.09">11919 4220 0,'0'-13'0,"0"53"31,0-27-15,14-13-16,-14 13 0,0 0 16,13-13-16,-13 13 0,13-13 15,-13 14-15,13-1 16,1-13 0,-1 0-16,0 0 15,0-13-15,1-1 16,-1 14-16,-13-13 15,13 13-15,-13-13 0,13 13 0,0 0 16,-13-13-16,14 13 16,-1-13-1,0 26 1,0 0 15</inkml:trace>
  <inkml:trace contextRef="#ctx0" brushRef="#br0" timeOffset="106379.29">2090 6773 0,'-13'14'0,"0"-14"31,52-14 0,-25 14-15,-1 0-16,0 0 0,14-13 0,-14 13 16,13-13-16,-13 13 0,14-13 15,-1 13-15,1-14 0,-14 1 16,14 13-16,-1-13 0,-13 13 0,14-13 0,-14 13 15,0-13-15,0 13 0,1 0 16,-14-14-16,13 14 0,0 0 16,0 0-1</inkml:trace>
  <inkml:trace contextRef="#ctx0" brushRef="#br0" timeOffset="119461.22">4683 3982 0,'0'-13'16,"13"39"30,-13-13-46,0 14 0,0-14 16,14 14-16,-14-14 0,0 13 16,13-12-16,0 12 0,-13 0 0,13-12 15,0 12-15,1-13 0,-1 1 16,0-1-16,0 0 0,14 0 0,26 0 16,-27 1-16,1-14 0,12 0 15,14 0-15,-13-14 0,13 14 16,0 0-16,0-13 0,0 0 0,0 13 15,0-13-15,-14 13 0,14-13 0,-13 13 16,-1 0-16,1-14 0,-13 14 16,12 0-16,-25 0 0,12 0 15,0-13-15,-12 13 0,-1 0 0,13 0 16,-12 0-16,-1 0 0,0 0 16,0 0-16,1 0 15,-1 0-15,0-13 16,0 13-16,-13-13 31</inkml:trace>
  <inkml:trace contextRef="#ctx0" brushRef="#br0" timeOffset="119769.07">5768 4075 0,'-13'0'16,"26"0"-16,0 13 15,0-13-15,-13 13 16,27-13-16,-14 13 0,0-13 0,1 14 16,-1-14-16,13 13 0,-13 0 0,1 0 15,-1 0-15,0-13 0,0 14 16,1-1-16,-14 0 0,0 0 15,13 1-15,-13-1 0,-13 0 0,13 13 16,-14-12-16,1-1 0,0 13 16,0-12-16,-14 12 0,14-13 0,-13 1 15,12-1-15,1 0 0,0 0 0,-14 0 16,14 1-16,0-1 0</inkml:trace>
  <inkml:trace contextRef="#ctx0" brushRef="#br0" timeOffset="120972.33">7157 4101 0,'0'-13'16,"13"26"15,-13 0-31,0 1 16,0-1-16,0 0 0,13 0 16,-13 0-16,0 14 0,0-14 0,0 0 15,0 1-15,0 12 0,0-13 16,0 0-16,0 1 15,0-1-15,0 0 0,-13-13 0,13 13 16,0 1-16,0-1 0</inkml:trace>
  <inkml:trace contextRef="#ctx0" brushRef="#br0" timeOffset="121292.18">7091 4260 0,'-13'0'0,"26"0"0,-13 26 47,13-13-47,-13 1 15,0-1-15,13 0 0,1 0 16,-14 1-16,13-14 15,-13 13-15,0 0 0,13-13 16,-13 13 0,13-13-16,0-13 15,1 13-15,-14-13 16,13 13-16,0-13 16,0 13-1,1-14-15</inkml:trace>
  <inkml:trace contextRef="#ctx0" brushRef="#br0" timeOffset="122362.29">12105 4035 0,'-14'40'16,"14"-27"-1,0 0-15,-13 0 0,13 1 0,-13-1 16,13 0-16,-13 13 0,13-12 0,-13-1 15,13 0-15,-14 0 0,14 1 16,0-1-16,-13 0 0,13 0 16</inkml:trace>
  <inkml:trace contextRef="#ctx0" brushRef="#br0" timeOffset="122688.77">11972 4180 0,'14'14'47,"-14"-1"-31,13 0-16,0 0 15,0 1-15,1-1 16,-1-13-16,0 0 16,-13 13-16,13-13 0,0 0 0,1 0 15,12-13 1,-13 13 0,1 0-16,-1-13 0,0 13 15,0-14 1</inkml:trace>
  <inkml:trace contextRef="#ctx0" brushRef="#br0" timeOffset="124216.12">15121 7990 0,'0'0'16,"26"0"0,-12 0-16,12 0 0,1 0 15,12-13-15,-12 13 0,26 0 0,-14-13 16,14 13-16,0-13 0,0 13 16,13-13-16,-13 13 0,0-14 0,0 1 15,0 13-15,-13-13 0,-14 13 16,0 0-16,1 0 0,-14-13 15,14 13-15,-14 0 0</inkml:trace>
  <inkml:trace contextRef="#ctx0" brushRef="#br0" timeOffset="124465.04">15293 8070 0,'66'-13'0,"-132"26"0,159-26 0,-67-1 0,0 14 16,1 0-16,13-13 0,-1 13 15,1-13-15,0 13 0,-1-13 16,-12 13-16,-1 0 0,1-14 0,-1 14 16,-13 0-16,14 0 0,-14 0 0,0-13 15,1 13-15,-1 0 16,0 0-16</inkml:trace>
  <inkml:trace contextRef="#ctx0" brushRef="#br0" timeOffset="125811.71">10332 8586 0,'-13'-14'0,"13"67"32,13-39-32,-13-1 0,0 13 15,0 1-15,0-14 0,0 13 0,0 1 16,0-1-16,0-12 0,0 12 16,0 1-16,0-14 0,0 26 15,0-25-15,0-1 0,13-13 0,-13 13 16,0 0-16</inkml:trace>
  <inkml:trace contextRef="#ctx0" brushRef="#br0" timeOffset="126112.04">10279 8572 0,'66'-66'32,"-53"66"-32,14 0 0,-1 0 0,-12 0 15,12 0-15,-13 14 0,14-1 16,-14 0-16,0-13 0,0 13 0,-13 0 16,14 1-16,-14-1 0,0 0 15,0 14-15,0-14 0,-14 0 0,14 0 16,-13 1-16,0 12 0,0-13 15,0 0-15,-1 1 0,1-1 0,0-13 16,0 13-16,-1 0 0,1 1 16</inkml:trace>
  <inkml:trace contextRef="#ctx0" brushRef="#br0" timeOffset="126804.53">10755 8612 0,'-13'0'16,"0"0"-16,0 0 0,-1 0 0,1 13 16,0-13-16,0 14 15,-1-1-15,1-13 0,13 13 0,-13 0 16,13 1-16,-13-1 0,13 0 0,-13-13 15,13 13-15,0 0 0,0 1 16,0-1-16,13-13 0,-13 13 16,13-13-16,13-13 31,-12 13-31,-14-13 16,13-1-16,0 14 0,-13-13 0,13 13 15,1-13-15,-1 13 0,-13-13 0,13 13 16,0 0-16,1 0 15,-1 0-15,0 0 0,-13 13 16,13-13-16,-13 13 0,0 0 16,13-13-16,-13 14 0,0-1 15,0 0 1,14-39 31,-14 12-47,0 1 0,13 0 15,0 0-15,-13 0 16,13-1-16,1 1 0,-14 0 0,13 0 16,0-1-16,0 1 0,1-13 0,-1 12 15,13-12-15,-13 0 0,1 12 16,-1 1-16,0-13 0,0 12 0,-13 1 16,14-13-16,-1 13 0,-13-1 15,13 1-15,-13 0 0,0 0 16,13-1-16,-13 41 31,13-14-31,-13 0 0,0 1 16,0-1-16,0 0 0,14 13 15,-14 1-15,0-1 0,13-12 0,-13 12 16,13-13-16,-13 14 0,0-14 0,13 13 16,-13-12-16,0-1 0,0 0 15,14 0-15,-14 1 0,0-1 0</inkml:trace>
  <inkml:trace contextRef="#ctx0" brushRef="#br0" timeOffset="127095.7">11007 8599 0,'26'-13'15,"-52"26"-15,65-40 0,-25 27 0,-1-13 16,0 13-16,0-13 0,0 13 16,14 0-16,-14-13 0,0 13 15,1 0-15,-1 0 0,0 0 0,0 0 16,1 0-16,-1 13 0,0-13 16,-13 13-16,13-13 0,0 13 15,-13 1-15,0-1 0,14 0 0,-14 0 16,0 1-16,13-1 15,-13 0-15,0 0 0,0 1 16</inkml:trace>
  <inkml:trace contextRef="#ctx0" brushRef="#br0" timeOffset="127256.43">11351 8414 0,'-14'0'16,"28"0"-16,-28-13 0</inkml:trace>
  <inkml:trace contextRef="#ctx0" brushRef="#br0" timeOffset="127849.83">11536 8506 0,'-27'40'32,"27"-27"-17,0 0-15,0 1 0,0-1 16,0 0-16,0 0 0,14-13 15,-14 14-15,13-14 0,0 0 16,14 0-16,-14-14 16,0 14-16,0-13 0,0 13 0,1-13 15,-1 0-15,0 13 16,0 0-16,1 0 16,-14 13-1,13-13-15,-13 13 0,0 0 16,13 1-16,-13-1 15,0 0-15,13 0 0,-13 1 16</inkml:trace>
  <inkml:trace contextRef="#ctx0" brushRef="#br0" timeOffset="128014.2">11774 8414 0,'0'0'0,"-13"0"15,13 13 1</inkml:trace>
  <inkml:trace contextRef="#ctx0" brushRef="#br0" timeOffset="128469.66">11919 8361 0,'-13'26'15,"13"-12"1,0-1-16,0 13 0,0 1 15,-13-1-15,13 1 0,0 12 0,-13 1 16,13-14-16,-13 1 0,13-1 0,0-12 16,0 12-16,-14-13 0,14 14 15,0-14-15,0 0 0,0 0 16,0 1-16,-13-14 0,13-14 31,0 1-31,0 0 16,0-14-16,0 1 0,13 13 0,-13-14 15,14 1-15,-14 13 16,13-14-16,0 14 0,-13 0 0,26-14 16,-12 27-16,-1 0 15,13 0-15,-26 13 16,14-13-16,-14 14 0,0-1 16,0 0-16,0 0 0,0 1 0,-14-1 15,14 0-15,-13-13 16,0 27-16</inkml:trace>
  <inkml:trace contextRef="#ctx0" brushRef="#br0" timeOffset="129363.85">12158 8453 0,'-27'27'31,"14"-27"-31,13 13 16,-13-13-16,13 13 0,0 1 0,0-1 16,-14-13-16,14 13 0,0 0 15,14 0 1,-14 1-16,13-14 0,0 0 15,0 0 1,1 0-16,-14-14 0,13 14 16,0-13-16,-13 0 0,13 13 15,-13-13 1,14 13-16,-14-13 16,13 26-1,0-13 1,-13 13-16,0 0 15,13-13 1,-13 13 0,13-13-16,1 0 31,-1 14-15,0-14-16,0-14 15,1 14 1,-1-13-16,0 0 15,0 13-15,0-13 0,1 0 16,-14-1-16,13 1 0,0 0 0,-13-14 16,0 14-16,13-13 0,-13 13 15,0-14-15,0 14 0,14 0 0,-14-1 16,0 1-16,0-13 0,0 12 16,0 41 15,0-14-31,-14 14 0,14-14 15,0 13-15,0-12 0,0-1 0,0 13 0,0-13 16,0 1-16,0-1 16,0 13-16,14-26 0,-14 14 0</inkml:trace>
  <inkml:trace contextRef="#ctx0" brushRef="#br0" timeOffset="129546.85">12356 8467 0,'-13'0'0,"26"-14"31,0 14-31,0 0 16,1-13-16,12 13 0,1 0 16,-14-13-16,13 13 0,1 0 15,-1 0-15,-13-13 0</inkml:trace>
  <inkml:trace contextRef="#ctx0" brushRef="#br0" timeOffset="129928.95">12846 8467 0,'13'-14'16,"0"14"-16,0 0 15,0 0-15,1 0 0,-1 0 16,0 0-16,0 0 0,1 0 16,-1 0-16,0 0 15,0 0-15</inkml:trace>
  <inkml:trace contextRef="#ctx0" brushRef="#br0" timeOffset="130205.33">12965 8334 0,'13'-13'0,"0"26"0,0-13 16,1 14-16,-1-1 15,-13 0-15,13 0 0,0 1 0,-13-1 16,13-13-16,-13 13 0,0 0 16,0 0-16,0 1 0,0-1 0,0 0 15,-13 14-15,13-14 0,-13 0 16,0 13-16,13-12 0,-13-1 15,13 0-15</inkml:trace>
  <inkml:trace contextRef="#ctx0" brushRef="#br0" timeOffset="130848.8">13560 8149 0,'0'0'0,"-13"27"15,13-14 1,0 0-16,-14 0 0,14 1 0,0 12 16,0-13-16,0 14 0,-13-14 0,13 0 15,0 14-15,0-14 0,0 0 16,13 14-16,-13-14 0,0 0 15,0 0-15,0 0 0,0 1 16,14-14 0</inkml:trace>
  <inkml:trace contextRef="#ctx0" brushRef="#br0" timeOffset="131507.99">13533 8229 0,'14'-14'31,"12"14"0,-26 14-15,13-14-1,-13 13 1,0 0 0,0 0-1,14 0 1,-1-13-16,-13 14 0,13-14 16,0 13-16,-13 0 15,13-13-15,-13 13 0,14 1 16,-14-1-1,-14-13-15,14 13 0,0 0 0,-13-13 16,0 27-16,0-27 0,0 13 16,-1 0-16,1-13 15,0 13-15,0-13 16</inkml:trace>
  <inkml:trace contextRef="#ctx0" brushRef="#br0" timeOffset="131843.78">13732 8162 0,'0'27'32,"0"-14"-17,0 0-15,0 1 16,0-1-16,0 0 0,0 0 15,0 0-15,13 1 0,-13-1 16,13-13-16,1 0 16,-1 0-16,0-13 15,0 13-15,0 0 16,1-14 0,-1 28-16,-13-1 15,13 0-15,-13 0 16,0 1-16,0-1 15,13-13-15,-13 13 0,0 0 16</inkml:trace>
  <inkml:trace contextRef="#ctx0" brushRef="#br0" timeOffset="131999.57">13904 8189 0,'-13'0'15</inkml:trace>
  <inkml:trace contextRef="#ctx0" brushRef="#br0" timeOffset="132359.18">14023 8242 0,'0'13'0,"0"0"0,0 0 16,0 1-1,0-1-15,-13 0 16,13 0 0,26-26 31,-26 0-32,13 13-15,1 0 16,-1 0-1,0 13-15,0-13 16,1 0 0</inkml:trace>
  <inkml:trace contextRef="#ctx0" brushRef="#br0" timeOffset="132781.81">14274 8109 0,'-13'14'32,"13"-1"-32,-13-13 15,13 13-15,0 0 16,0 1-16,-13-1 0,13 0 0,0 0 16,0 1-16,0-1 0,0 0 15,13 0 1,-13 0-16,0 1 15,-13-14-15,-1 0 32,1 13-17,0 0 1,39-13 31,-12 0-47,-1-13 15,0 13 1,0 13-16,1-13 16,-14 13-1,13-13-15,-13 14 16,0-1 0</inkml:trace>
  <inkml:trace contextRef="#ctx0" brushRef="#br0" timeOffset="132940.29">14380 8162 0,'-26'14'16</inkml:trace>
  <inkml:trace contextRef="#ctx0" brushRef="#br0" timeOffset="133337.51">14446 8268 0,'-26'27'0,"26"-14"15,-13-13-15,13 13 16,0 0-16,-14 1 0,14-1 15,0 0 1,-13-13 0,40-13 46,-14 13-46,0-13-1,0 13-15,-13-14 16,13 14-16</inkml:trace>
  <inkml:trace contextRef="#ctx0" brushRef="#br0" timeOffset="133553.03">14512 8281 0,'0'27'32,"0"-14"-17,0 0-15,-13 1 16,13-1-16,-13-13 0,13 13 15,0 0-15,-13 1 0,13-1 0,-14 0 16,14 0-16,-13-13 0,13 13 16,13-39 15,1 13-31,-1 0 0,0-1 16,-13 1-16,13 13 0,1-13 0,-14 0 15,13 13-15,-13-14 0</inkml:trace>
  <inkml:trace contextRef="#ctx0" brushRef="#br0" timeOffset="134226.1">10848 9287 0,'-13'40'16,"13"-27"-1,0 13-15,0-13 0,0 1 0,-14-1 16,14 0-16,0 0 0,0 1 0,0-1 16,0 0-16,0 0 15,0 1-15,0-1 0,14 0 16,-1 0 0,13-13-1,1 0-15,-14 0 16,0-13-16,1 13 0,-1 0 15,0-13-15,0 13 0,0-13 0,1 13 16,-1 0-16,-13-14 0,13 14 16</inkml:trace>
  <inkml:trace contextRef="#ctx0" brushRef="#br0" timeOffset="134377.57">10927 9432 0,'27'-13'32,"-14"13"-32,0 0 0,0 0 15,1 0-15,-1 0 0,0-13 0</inkml:trace>
  <inkml:trace contextRef="#ctx0" brushRef="#br0" timeOffset="134552.94">10954 9274 0,'0'0'16,"13"-14"-1,0 14 1,0 0-16,1 0 0,-1 0 16,0 0-16,0 0 0,14 0 15,-14 0-15,27 0 0,-27 0 16</inkml:trace>
  <inkml:trace contextRef="#ctx0" brushRef="#br0" timeOffset="135071.75">11351 9327 0,'-14'-14'16,"1"28"0,13-1-16,-13 0 0,13 0 15,-13 0-15,-1 1 0,14-1 16,-13 0-16,13 14 0,-13-14 16,0 13-16,0-12 0,13-1 0,-14 0 15,14 0-15,-13 0 0,13 1 16,-13-1-16</inkml:trace>
  <inkml:trace contextRef="#ctx0" brushRef="#br0" timeOffset="135253.01">11165 9393 0,'0'-14'15,"0"41"1,0-14-16,14-13 0,-14 13 0,13 1 15,0-14-15,0 26 16,1-13-16,-1-13 0,0 14 16,0-1-16,0-13 0,14 13 0,-14-13 15,0 0-15,1 13 0</inkml:trace>
  <inkml:trace contextRef="#ctx0" brushRef="#br0" timeOffset="135997.15">11655 9247 0,'-13'40'31,"13"-27"-31,0 0 0,0 14 16,13-14-16,-13 13 0,0 1 0,0-1 16,0 1-16,13-1 0,-13-12 0,0 12 15,0-13-15,13 14 0,-13-14 16,0 0-16,0 0 0,0 1 16,0-1-16,0-53 31,0 14-16,-13 12-15,13-12 0,0-14 0,0 14 16,0-1-16,0 1 0,13-1 16,-13 14-16,0-13 0,14 13 15,-1-1-15,0 1 0,0 13 16,1 0 0,-1 0-16,-13 13 0,0 1 0,0-1 15,0 0-15,0 0 0,0 0 16,0 1-16,0-1 0,-13 0 15,13 0-15,-14 1 0,14-1 16,-13-13-16,13 13 16,0 0-16</inkml:trace>
  <inkml:trace contextRef="#ctx0" brushRef="#br0" timeOffset="136422.17">11853 9432 0,'14'-26'0,"-28"52"15,28-65-15,-14 25 0,0 1 16,0 0 0,0 0-16,13 39 78,0-26-63,0 13-15,0-13 16,-13 14-16,14-14 16,-1 13-16,-13 0 15,13-13-15,-13 13 16,13-13-1,-13-13 1,14 0 0,-14 0-1,13 13-15,-13-14 16,13 14-16,-13-13 0,13 13 16,1-13-16,-1 13 0,0-13 15</inkml:trace>
  <inkml:trace contextRef="#ctx0" brushRef="#br0" timeOffset="136580.37">12197 9274 0,'0'13'31,"-13"0"-15,13 0-16,0 1 0,0-1 15,0 0-15,0 0 16,0 0-16,0 1 15,0-1-15</inkml:trace>
  <inkml:trace contextRef="#ctx0" brushRef="#br0" timeOffset="136724.84">12158 9194 0,'0'0'0</inkml:trace>
  <inkml:trace contextRef="#ctx0" brushRef="#br0" timeOffset="137236.64">12263 9300 0,'0'13'16,"0"27"15,0-27-31,0 0 16,14 1-1,-1-41 16,-13 14-15,13 13-16,-13-13 16,13 13-16,-13-13 15,27 13 1,-27 13 0,13 0-1,-13 0 1,13-13-1,0-13 32,1 13-31,-14-13 0,13 13-16,0 0 31,0 0-31,1 0 15,-14-13 1,13 13-16,0 0 16</inkml:trace>
  <inkml:trace contextRef="#ctx0" brushRef="#br0" timeOffset="137822.2">12554 9313 0,'0'-13'31,"-26"26"0,26 1-15,0-1-1,13-13 1,0 0 0,1 0-16,-1 0 15,0-13-15,0 13 16,-13-14-16,14 14 0,-1-13 0,0 0 16,0 0-16,1-1 15,-1 1-15,0 0 16,0 26 31,-13 0-32,13-13 1,1 0 0,-1-13-16,0 0 15,-13 0-15,13 0 16,1-1-16,-14 1 0,13 0 15,-13 0-15,13 13 0,-13-14 0,13 28 32,-13-1-17,0 0-15,0 0 16,0 1-16,0-1 16,14-13-1,-1 0-15,0 0 16,-13-13-16,13 13 0,-13-14 15</inkml:trace>
  <inkml:trace contextRef="#ctx0" brushRef="#br0" timeOffset="138751.68">10279 8348 0,'-13'-14'0,"0"14"16,-1-13 0,1 13-16,0 0 31,0 0-31,-1 13 0,1 1 16,13-1-16,0 0 15,0 0-15,0 1 0,0-1 0,0 0 16,0 0-16,0 14 0,0-14 0,13 13 15,-13-12-15,0 12 0,0-13 16,0 14-16,0-14 0,0 13 0,0-12 16,0 12-16,0-13 0,-13 1 0,13-1 15,0 0-15,-13 0 0,13 0 16,0 1-16,-13-14 0,13 13 16,-13-13-16,26 26 46,0-26-30,-13 14-16,13 12 0,-13 1 0,13-1 16,1 14-16,-14-1 0,0 1 15,0 0-15,0-1 0,0 14 0,0-13 16,0 13-16,0-13 0,0 13 0,0-14 16,0-12-16,0 12 0,13-12 15,-13-1-15,0-12 0,13-1 16,0 13-16,-13-13 0,14-13 0,-1 14 15,0-14-15,14 0 0,-14-14 16,13 14-16,14-26 0,-14 13 0,1 0 16,-1-1-16,-12 1 0,12 13 0,-13-26 15</inkml:trace>
  <inkml:trace contextRef="#ctx0" brushRef="#br0" timeOffset="139311.41">10028 9102 0,'13'0'0,"-26"0"0,-1 13 32,1-13-17,0 13-15,-13-13 0,-1 13 0,-13 1 16,1-14-16,-1 13 0,0 0 15,-13 0-15,1-13 0,12 14 0,-13-14 16,0 13-16,0 0 0,0-13 16,13 13-16,1-13 0,-1 13 0,14-13 15,-1 0-15,14 0 0,-13 0 16,12 14-16,1-14 0,0 0 0,0 0 16,-1 0-16,14 13 0,-13-13 0,0 0 31</inkml:trace>
  <inkml:trace contextRef="#ctx0" brushRef="#br0" timeOffset="139639.21">9274 9102 0,'-14'0'16,"-38"26"0,38-26-16,1 13 0,0-13 15,13 14-15,-13-1 0,-1 0 0,1-13 16,0 13-16,0 1 0,-1-1 16,14 0-16,-13-13 0,13 13 0,0 0 15,-13 1-15,13-1 0,0 0 16,13 0-16,-13 1 0,0-1 15,13-13-15,1 13 0,-1 0 0,0-13 16,14 13-16,-14-13 0,0 0 16,27 0-16,-14 14 0,-13-14 15,14-14-15,-1 14 0,-12 0 16</inkml:trace>
  <inkml:trace contextRef="#ctx0" brushRef="#br0" timeOffset="140264.74">6866 9300 0,'0'-13'0,"0"39"31,0-12-31,0-1 0,0 0 15,0 13-15,0-12 0,13 12 16,-13-13-16,0 14 0,13-1 0,-13-12 16,0-1-16,14 0 0,-1 13 15,-13-12-15,13-1 0,0 0 16,-13 0-16</inkml:trace>
  <inkml:trace contextRef="#ctx0" brushRef="#br0" timeOffset="140556.14">6879 9353 0,'27'-26'0,"-54"52"0,67-52 0,-27 12 0,0 14 15,1 0-15,-1 0 0,13 14 16,-13-14-16,14 13 0,-14 0 0,0 0 15,1 0-15,-1 1 0,0-1 0,-13 0 16,13 14-16,-13-14 0,0 0 16,0 14-16,0-14 0,-13 0 0,13 0 15,-13 14-15,13-14 0,-13 0 0,-1 0 16,1 1-16,0-14 0,13 13 16,-13 0-16,-1-13 0,14 13 15,-13-13-15,0 0 16</inkml:trace>
  <inkml:trace contextRef="#ctx0" brushRef="#br0" timeOffset="141253.84">7236 9393 0,'0'39'31,"14"-25"-31,-14-1 15,0 0-15,13 0 0,0 1 16,0-1-16,0 0 0,1-13 16,-1 13-16,0-13 0,0 0 15,1 0-15,-1 0 0,0 0 16,0-13-16,1 13 0,-14-13 0,13 13 16,-13-13-16,0-1 0,0 1 15,0 0-15,-13 0 0,13-1 16,-14 14-16,14-13 0,-13 0 0,0 13 15,0-13-15,-1 13 16,1 0-16,0 0 16,0 0-16,13 13 0,0 0 15,-14-13 1,28 13-16,-14 1 16,13-1-16,0-13 15,0 0-15,1 0 16,-1 0-16,0 0 0,0-13 15,1-1-15,-1 14 16,-13-13-16,13 0 0,0 0 16,-13-1-16,13 14 0,-13-13 15,0 0-15,14 13 0,-14-13 16,13 13 0,0 13-1,0 0-15,1 0 16,-1-13-1,0 14 1,0-14-16,1-14 16,-1 1-16,-13 0 15,13 13-15,-13-13 16,13 0-16,-13-1 0,0 1 16,13 13-1,1 0 16,-14 13-31,13 1 0,-13-1 16,13 0-16,-13 0 16,13 0-16,-13 1 0,14-14 15,-14 13-15</inkml:trace>
  <inkml:trace contextRef="#ctx0" brushRef="#br0" timeOffset="141631.97">7726 9088 0,'0'27'16,"0"-14"0,13 0-16,-13 1 15,0-1-15,0 0 0,13 0 16,-13 1-16,0-1 0,0 0 0,0 0 15,14 0 1,-14 1 0,13-14-16,0 0 31,0 0-31,0 0 16,1 0-16,-1 13 15,0 0 1,-13 0-16,-13 14 15,13-14-15,-13-13 16,13 13-16,-14 0 16</inkml:trace>
  <inkml:trace contextRef="#ctx0" brushRef="#br0" timeOffset="141928.18">7924 9062 0,'0'26'31,"0"-12"-31,14-1 0,-14 0 16,0 0-16,0 1 0,13-1 16,-13 0-16,13 0 15,0-13 1,0 0-16,1 0 15,-1 0 1,0 0 0,0 0-16,1 14 15,-1-14 1,0 13-16,0-13 16,0 0-1,-13 13-15,14-13 16</inkml:trace>
  <inkml:trace contextRef="#ctx0" brushRef="#br0" timeOffset="142668.07">7607 9671 0,'13'26'32,"-13"-13"-32,13 0 15,-13 1-15,0-1 0,13 0 16,-13 0-16,0 1 0,0-1 0,14 0 15,-14 0-15,13 0 16,0-26 15,0 0-31,1 0 16,-1 0 0,0 13-16,0 0 15,1-14-15,-1 14 0,-13 14 16,13-14-16,0 13 15,-13 0-15,0 0 16,0 0-16,-13-13 0,13 14 16,0-1-16,-13-13 0,13 13 15,-13 0-15,-1-13 16,1-13 15</inkml:trace>
  <inkml:trace contextRef="#ctx0" brushRef="#br0" timeOffset="142983.99">7818 9604 0,'14'40'31,"-14"-27"-31,13 1 16,-13-1-16,13 0 0,0 0 15,1 0-15,-1-13 32,0 0-32,0-13 0,1 13 15,-14-13-15,13 13 0,0-13 16,0 13 0,0 0-1,1 13 1,-14 0-16,13 0 15,-13 1-15,0-1 16,0 0 0</inkml:trace>
  <inkml:trace contextRef="#ctx0" brushRef="#br0" timeOffset="143112.34">8043 9565 0,'0'0'0</inkml:trace>
  <inkml:trace contextRef="#ctx0" brushRef="#br0" timeOffset="143668.04">8096 9618 0,'13'13'0,"-13"0"16,0 0-16,0 1 0,14-1 0,-14 0 16,13 0-1,13-13 32,-12-13-16,-14 0-15,13 13 0,-13-13-16,13 13 0,-13-14 15,0 1-15,13 0 16,-13 0-1,14 13-15,-1 0 32,0 13-17,-13 0-15,0 0 0,0 1 16,13-1-16,-13 0 16,0 0-16,0 0 0,0 1 0,0-1 15,0 0-15,0 0 0,0 1 16,13-41 15,-13 14-31,14 0 16,-14-1-16,13 1 0,-13 0 15,13 0-15,0 13 0,-13-13 0,14-1 16,-1 1-16,-13 0 0,13 0 0,0 13 16,-13-14-16,14 1 0,-1 13 15,0-13-15</inkml:trace>
  <inkml:trace contextRef="#ctx0" brushRef="#br0" timeOffset="143803.7">8599 9538 0</inkml:trace>
  <inkml:trace contextRef="#ctx0" brushRef="#br0" timeOffset="147684.01">11814 11073 0,'0'0'0,"39"0"15,-12 0-15,-1 0 16,14 0-16,13 0 0,-13 0 0,12 0 16,1 0-16,0 0 0,-13 0 15,0 0-15,-1 0 0,14 0 0,-13 0 16,-14 0-16,14 0 0,0 0 0,-1 0 16,14 0-16,-13 0 0,13 13 0,-13-13 15,13 0-15,-14 13 0,14-13 16,0 0-16</inkml:trace>
  <inkml:trace contextRef="#ctx0" brushRef="#br0" timeOffset="148054.94">14142 11139 0,'40'13'31,"-27"-13"-31,13 0 0,-12 0 0,12 0 16,14 0-16,-14 0 0,14 0 0,-14 0 0,27 0 16,-13 0-16,0 0 15,13-13-15,-14 13 0,-12 0 0,12 0 16,1 0-16</inkml:trace>
  <inkml:trace contextRef="#ctx0" brushRef="#br0" timeOffset="148939.84">14856 10530 0,'0'-13'0,"14"40"31,-14-14-15,0 0-16,0 0 0,0 14 0,0-1 15,-14 14-15,14-14 0,0 14 16,-13-13-16,13-1 0,0 0 16,-13 1-16,13-1 0,0 1 0,0-14 0,0 14 15,0-14-15,0 0 0,-13 0 0,13 0 16,0 1 0,0-1-16,0 0 15,13-13-15,0-13 16</inkml:trace>
  <inkml:trace contextRef="#ctx0" brushRef="#br0" timeOffset="149848.13">14777 10464 0,'13'-13'0,"53"0"15,-39 0 1,26 13-16,-14 0 0,14-14 0,0 14 0,0 0 16,0-13-16,-13 13 0,13 0 15,0 0-15,0-13 0,-1 13 0,1 0 16,-13 0-16,13-13 0,-13 13 0,-1 0 15,-12-14-15,12 14 0,-12 0 16,-1 0-16,1-13 0,-1 13 16,-12 0-16,-1 0 0,13 0 0,-13-13 15,1 13-15,-1 0 0,0 0 16,0 0-16,1-13 0,-1 13 16,0 0-1,0 0 1,1 0-16,-1 0 109,-26 13-93,13 0-1,-14 0-15,14 1 16,0-1-16,-13 13 0,13-12 16,-13-1-16,13 13 0,-13 1 15,13 12-15,-14-12 0,1 13 0,13-14 16,-13 14-16,0-14 0,13 1 16,-14-1-16,14 1 0,-13-1 0,0 0 15,13 1-15,0-1 0,-13-12 16,13-1-16,0 13 0,0-12 0,-13-1 15,13 0-15,0 0 0,0 0 16,0 1-16,0-1 16,0 0-16,0 0 15,0 1 1,0-1 0,-14-13 30,1 0-46,0-13 16,-14 13-16,1 0 0,-1 0 16,-12 0-16,-14 0 0,0 0 15,0 0-15,-26 0 0,-1 13 0,1-13 16,0 0-16,-14 0 0,14 13 0,-1-13 16,1 0-16,13 13 0,0-13 15,13 0-15,13 13 0,-13-13 16,27 0-16,-1 14 0,1-14 0,12 0 0,1 13 15,0-13-15,39 13 16,-12-13 0</inkml:trace>
  <inkml:trace contextRef="#ctx0" brushRef="#br0" timeOffset="156044.07">8546 11430 0,'0'0'0,"40"0"16,-27 13-16,0-13 16,14 0-16,-1 0 0,14 0 0,-14 0 15,27 13-15,-13-13 0,13 0 16,0 14-16,0-14 0,-14 0 0,14 0 16,0 0-16,0 0 0,0 13 15,13-13-15,-13 0 0,0 0 16,0 0-16,-13 0 0,12 0 0,1 0 0,0 0 15,-13 0-15,0 0 0,-1 0 16,1 0-16,-14 0 0,1 0 16,-1 0-16,1 0 0,-1 0 0,-12 0 15,12 0-15,-13 0 0,0 0 0,1 0 16,-1 0-16,0 0 0,0 0 16,1 0-16,-1 0 15,0 0-15,0 0 16,1 0-1,-1 0 1,0 0-16,0 0 16,0 13-1,1-13 1,-1 0-16,0 0 16,0 0-1,1 0-15,-1 0 0,0 0 16,0 0-16,1 0 0,-1 0 15,0 0-15,0 0 0,0-13 16,1 13-16,-1 0 0,0 0 0,0 0 16,1 0-16,-1-13 0,0 13 0,0 0 15,1 0-15,-1-14 16,0 14-16,0 0 0,-13-13 16,13 13-16,1-13 0,-1 0 15,0 0 1,-13-1-16,13 1 15,-13 0-15,0 0 0,14-1 16,-14 1-16,0 0 0,0 0 16,13-1-16,-13 1 0,0 0 0,0 0 15,0 0-15,0-1 0,0 1 16,0 0-16,0 0 0,0-1 16,0 1-16,-13 13 0,13-13 0,-14 0 15,14-1-15,-13 14 0,13-13 16,-13 0-16,0 13 0,13-13 15,-14 13-15,1-13 0,0 13 0,0-14 16,0 14-16,-14-13 0,14 13 16,-14 0-16,14-13 0,-13 13 15,12-13-15,-12 13 0,13-14 0,-14 14 16,14 0-16,-13-13 0,12 13 0,-12 0 16,13-13-16,-14 13 0,1 0 15,13 0-15,-14-13 0,14 13 0,-14 0 16,14 0-16,-13 0 0,12 0 0,-12 0 15,13-13-15,-14 26 0,14-26 16,-13 13-16,12 13 0,1-13 0,-13 0 16,12 0-16,-12 0 0,13 0 0,0 0 15,-1 0-15,-12 0 0,13 0 16,-1 0-16,1 13 0,-13-13 0,13 0 16,-1 0-16,1 0 0,0 0 15,0 0-15,-1 0 0,1 0 0,0 0 16,0 0-16,-1 0 0,1 0 15,0 0-15,0 0 0,0 13 0,-1-13 16,-12 0-16,13 0 0,-1 0 0,1 0 16,0 0-16,-14 0 0,14 0 15,0 0-15,-13 0 0,12 0 0,-12 0 16,13 0-16,-14 0 0,14 0 0,-13 0 16,12 0-16,-12 0 15,13 0-15,-14 0 0,14 0 0,0 0 16,-1 0-16,-12 0 0,13-13 0,0 13 15,-1 0-15,1 0 0,0 0 16,0 0-16,-1 0 0,1 0 0,0 0 16,-14 0-16,14 0 15,0 0 1,0 0-16,0 0 16,-1 0-16,-12 0 15,26-13 1,-13 13-16,-1 0 0,1 0 0,0 0 0,0 0 15,-1 0-15,1 0 0,0 0 16,0 0-16,-14 0 0,14 0 16,0 0-16,0 0 0,-1 0 0,-12 0 15,13 0-15,-1 0 0,1 0 0,0-13 16,0 13-16,0 0 0,-1 0 16,1 0-16,0 0 0,0 0 0,-1 0 15,1 0-15,0 0 0,0 0 16,0 0-16,-1 0 0,1 0 15,0 0-15,0 0 0,-1 0 0,1 0 16,-13 0-16,12 0 0,1 0 0,0 0 16,0 0-16,-14 0 0,14 0 15,0 0-15,0 0 0,-1 0 16,1 13-16,0-13 0,0 0 0,-14 13 16,14-13-16,0 13 0,0-13 0,-1 13 15,-12 1-15,13-1 0,-1 0 16,1 0-16,0 27 0,-13-14 0,12 1 15,14-1-15,-13 1 0,13-1 0,0 1 16,0-1-16,13 1 0,-13-1 16,14 1-16,12 12 0,-13-12 0,14-1 15,-1 1-15,1-1 0,12-13 0,1 14 16,0-14-16,-1 0 16,14 1-16,0-14 0,0 0 0,0 13 0,0-13 15,0 0-15</inkml:trace>
  <inkml:trace contextRef="#ctx0" brushRef="#br0" timeOffset="167229.74">17502 476 0,'0'40'0,"0"-27"0,-13 14 15,13-1-15,0 1 0,-13 12 0,13-12 16,0-1-16,-14 1 0,14-1 15,0 1-15,-13-1 0,13-13 0,0 14 16,0-14-16,0 0 0,-13-13 16,26 13-16</inkml:trace>
  <inkml:trace contextRef="#ctx0" brushRef="#br0" timeOffset="167637.26">17674 609 0,'-13'-14'0,"-14"14"32,14 14-32,0-14 0,0 0 15,0 13-15,-1 0 0,1 0 0,0 0 0,0 1 16,-1-14-16,1 13 16,13 0-16,0 0 0,-13 1 0,13-1 15,0 0-15,13 0 16,0-13-16,1 14 0,-1-14 15,0 0-15,0 0 0,1 0 16,-1 0-16,13-14 0,-13 14 0,14-13 16,-14 0-16,0 13 0,14-13 0,-14-1 15,0 1-15,1 0 0,-14 0 16,13 13-16,-13-14 0,13 1 16,0 13-16,-13-13 0,13 26 31,-13 0-16,0 1-15,-13-1 0,13 0 0,0 0 16,0 1-16,0-1 16,0 0-16,0 0 0,0 1 0,0-1 15,0 0-15,13-13 0,-13 13 0</inkml:trace>
  <inkml:trace contextRef="#ctx0" brushRef="#br0" timeOffset="168062.02">17833 609 0,'13'-27'0,"0"14"32,1 0-32,-1 26 15,-13 0-15,-13 14 16,13-14-1,-14 0-15,14 0 0,-13 0 0,13 1 16,-13-1-16,13 0 0,0 0 16,0 1-1,13-14-15,0 0 16,1 0-16,12-14 16,-13 14-16,1-13 15,-1 13-15,13-13 0,-13 0 0,1 13 16,-1-14-16,0 14 0,0-13 0,1 13 15,-14 13 1,0 1 0,0-1-16,-14-13 15,14 13-15,0 0 0,0 1 16,14-1-16,-14 0 16,13 0-16,0-13 15,0 14 1,1-14-16</inkml:trace>
  <inkml:trace contextRef="#ctx0" brushRef="#br0" timeOffset="168324.81">18891 503 0,'0'0'0,"-13"39"31,13-25-31,0-1 0,0 0 16,0 0-16,0 1 0,0-1 0,0 0 15,0 0-15,0 14 0,0-14 0,0 0 16,0 0-16,0 1 0,0-1 0</inkml:trace>
  <inkml:trace contextRef="#ctx0" brushRef="#br0" timeOffset="168798.99">18957 529 0,'0'0'0,"14"-26"0,-1 26 16,0 0 15,-13 13-31,0 0 0,0 0 15,0 1-15,-13-1 0,13 0 16,0 0-16,0 1 0,0-1 16,0 0-16,0 0 0,0 0 15,0 14-15,0-14 16,0 0 0,13-13-1</inkml:trace>
  <inkml:trace contextRef="#ctx0" brushRef="#br0" timeOffset="169136.94">19196 609 0,'0'13'16,"0"0"0,0 0-16,0 0 15,0 1-15,0-1 16,13-13-1,0 0 1,0 0-16,-13-13 16,13 13-16,1-14 15,-1 14-15,0-13 16,0 13-16,-13 13 16,14-13-1,-1 0-15,-13 14 16,13-14-16,0 0 31,1 0 0,-14-14-31</inkml:trace>
  <inkml:trace contextRef="#ctx0" brushRef="#br0" timeOffset="170161.26">21656 384 0,'-13'26'47,"13"-13"-47,0 14 0,0-14 15,-13 0-15,13 14 0,-14-14 0,14 13 16,0-12-16,0 12 0,-13-13 16,13 1-16,0-1 0,0 0 15,0 0-15,0 0 16,0-52 15,0 26-15,0-1-16,0 1 0,13 0 0,-13 0 15,0-1-15,0 1 0,14 13 16,-14-13-16,13 0 16,0 26-1,-13 0-15,13 0 16,1 1 0,-14-1-1,13-13-15,0 0 31,0-13-15,1-1 0,-1 14 15,0 0-15,0 0-16,0-13 0</inkml:trace>
  <inkml:trace contextRef="#ctx0" brushRef="#br0" timeOffset="170355.75">21987 437 0,'0'-14'16,"-27"28"-1,14-1 1,0 0-16,13 0 0,-13 0 0,0 1 16,13-1-16,-14 0 0,14 0 15,-13 1-15,13-1 0,0 0 0,0 0 16,13 1-16,1-1 0,-14 0 15,13-13-15,0 0 16,0 13-16,0-13 0,1 0 0,-1 0 16,0 0-16,14 0 0</inkml:trace>
  <inkml:trace contextRef="#ctx0" brushRef="#br0" timeOffset="170545.34">22357 476 0,'-13'-13'0,"26"26"0,-39-13 32,13 13-32,13 1 15,0-1-15,-14-13 0,14 13 0,0 0 16,-13 1-16,13-1 0,0 0 16,0 0-16,0 1 0,0-1 15,0 0-15</inkml:trace>
  <inkml:trace contextRef="#ctx0" brushRef="#br0" timeOffset="170795.13">22344 463 0,'13'-26'0,"-26"52"0,40-66 15,-14 40-15,0 14 16,0-14-16,-13 13 0,13-13 15,1 13-15,-14 0 0,13 0 0,-13 1 16,13-1-16,-13 0 0,0 0 16,0 14-16,0-14 0,0 0 15,0 1-15,-13-1 0,13 13 0,-13-13 16,-1 1-16,14-1 0,-13-13 0,0 13 16,13 0-16,-13-13 0</inkml:trace>
  <inkml:trace contextRef="#ctx0" brushRef="#br0" timeOffset="171244.02">22953 450 0,'-27'26'15,"27"-13"1,0 1-16,0-1 0,-13 13 0,13-12 15,0-1-15,0 0 0,-13 0 16,13 1-16,0-1 0,0 13 0,0-13 16,0 1-16,0-1 15</inkml:trace>
  <inkml:trace contextRef="#ctx0" brushRef="#br0" timeOffset="172058.73">22966 476 0,'13'0'0,"0"0"15,-13 13-15,14-13 16,-14 14-16,0 12 16,0-13-1,0 1-15,0-1 0,-14 0 16,14 0-16,0 1 0,0-1 15,0 0-15,0 0 16,0 0-16,-13-13 16,13 14-16,0-1 15,0 0-15,-13 0 16,0-13 0</inkml:trace>
  <inkml:trace contextRef="#ctx0" brushRef="#br0" timeOffset="172329.05">23085 622 0,'0'0'0,"13"13"32,0 0-17,-13 0 1,14-13-16,-1 14 0,0-14 15,0 0 1,1 0 0,-1 0-16,0 0 15,-13-14-15,13 1 16,0 0 0,-13 0-1</inkml:trace>
  <inkml:trace contextRef="#ctx0" brushRef="#br0" timeOffset="172597.06">23283 595 0,'14'-13'31,"-1"26"-31,-13 1 16,13-1-1,-13 0 1,0 0 0,13-26 31,0 13-32,-13-13-15,14 13 0,-14-13 16,13 13-16,-13-14 15,13 14 1,0 0-16</inkml:trace>
  <inkml:trace contextRef="#ctx0" brushRef="#br0" timeOffset="173023.81">23482 556 0,'0'0'16,"13"0"-16,-39 13 46,26 0-14,0 0-32,0 1 15,13-14-15,-13 13 0,0 0 16,0 0-16,0 0 16,0 1-16,0-1 0,0 0 0,0 0 15,-13-13-15,13 14 0,0-1 0,-14 0 16,1 0-16,13 1 15,-13-14-15,13 13 16,-13 0-16,39-39 31,-13 12-15,1 1-16,-1 0 0,0 13 0,0-13 16,0-1-16,1 14 0,-1-13 15,0 0-15,0 13 0,1 0 0,-14-13 16,13 13-16,0-14 15,0 14 1,1-13 0</inkml:trace>
  <inkml:trace contextRef="#ctx0" brushRef="#br0" timeOffset="173707.86">17978 979 0,'159'-27'31,"-106"27"-31,13-13 0,14 0 16,-14 0-16,13 0 0,-13-1 0,14 1 15,12 0-15,-12 0 0,-1-1 0,0 1 16,1 0-16,-14 0 0,-13 13 15,0 0-15,-27 0 0,1-13 0</inkml:trace>
  <inkml:trace contextRef="#ctx0" brushRef="#br0" timeOffset="173910.9">18508 1045 0,'26'-13'0,"-52"26"0,79-39 0,-40 26 0,13-14 15,1 1-15,-1 13 0,1-13 16,12 0-16,-12-1 0,12 14 0,-12 0 16,-1-13-16,1 13 0,-1-13 15</inkml:trace>
  <inkml:trace contextRef="#ctx0" brushRef="#br0" timeOffset="181239.12">22463 1759 0,'-53'186'15,"14"-107"-15,-1 14 0,0 12 0,-13-12 0,14 26 16,-1-13-16,-13 0 0,13 0 0,1 0 15,-1-14-15,0 1 0,1-1 16,12-26-16,1 1 0,-1-1 16,1-13-16,-1 13 0,1-13 0,13 0 15</inkml:trace>
  <inkml:trace contextRef="#ctx0" brushRef="#br0" timeOffset="181559.47">21524 3387 0,'0'39'0,"0"-78"0,0 105 0,-13-40 16,13 1-16,0-1 0,0 1 0,0-1 15,0 14-15,13-1 0,-13-12 0,13 13 16,-13-14-16,13-13 0,1 14 0,-1-14 16,0 0-16,13 0 15,1-13-15,-1 14 0,27-28 0,-13 14 0,26-13 16,-13-13-16,0 13 0,13-14 0,-13 14 16,-13-14-16,-1 14 0,1 0 15,0 0-15,-1-1 0,1 1 16,-13 13-16,-1-13 0</inkml:trace>
  <inkml:trace contextRef="#ctx0" brushRef="#br0" timeOffset="183903.15">14870 11668 0,'-53'172'16,"26"-119"-16,1 0 0,-1 13 15,1-13-15,-14 13 0,14 0 0,-1-13 16,1 13-16,-1-13 0,1 0 0,-1 0 16,14 0-16,-13-13 0,12-14 15,1 14-15,13-14 0,-13-12 0,13-1 16,-13 0-16,13 0 0,-13 0 16</inkml:trace>
  <inkml:trace contextRef="#ctx0" brushRef="#br0" timeOffset="184156.28">14856 11748 0,'-39'13'15,"25"13"-15,-12-13 16,-27 40-16,27-26 0,-27 26 16,26-14-16,1-12 0,13-1 15,-14 1-15,1-1 0,12 1 16,1-14-16,-13 13 0,12-12 16,14-1-16</inkml:trace>
  <inkml:trace contextRef="#ctx0" brushRef="#br0" timeOffset="184363.84">14870 11734 0,'105'172'31,"-78"-145"-15,-1-1-16,-12-13 0,-1 1 0,13-1 15,-13 0-15,1 0 0,-1 1 0,0-1 16,0 0-16,1-13 16,-1 0-16,-13 13 0</inkml:trace>
</inkml:ink>
</file>

<file path=ppt/ink/ink1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5.898"/>
    </inkml:context>
    <inkml:brush xml:id="br0">
      <inkml:brushProperty name="width" value="0.025" units="cm"/>
      <inkml:brushProperty name="height" value="0.025" units="cm"/>
      <inkml:brushProperty name="ignorePressure" value="1"/>
    </inkml:brush>
  </inkml:definitions>
  <inkml:trace contextRef="#ctx0" brushRef="#br0">1 15,'10'0,"9"-3,6-1,1 0,-4 1</inkml:trace>
</inkml:ink>
</file>

<file path=ppt/ink/ink1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7.881"/>
    </inkml:context>
    <inkml:brush xml:id="br0">
      <inkml:brushProperty name="width" value="0.025" units="cm"/>
      <inkml:brushProperty name="height" value="0.025" units="cm"/>
      <inkml:brushProperty name="ignorePressure" value="1"/>
    </inkml:brush>
  </inkml:definitions>
  <inkml:trace contextRef="#ctx0" brushRef="#br0">0 0,'4'0,"3"0,5 0,3 0,3 0,1 0,1 0,0 0,0 0,0 0,0 0,0 0,0 0,-1 0,1 0,-4 0</inkml:trace>
</inkml:ink>
</file>

<file path=ppt/ink/ink12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05:40.775"/>
    </inkml:context>
    <inkml:brush xml:id="br0">
      <inkml:brushProperty name="width" value="0.05292" units="cm"/>
      <inkml:brushProperty name="height" value="0.05292" units="cm"/>
      <inkml:brushProperty name="color" value="#002060"/>
    </inkml:brush>
    <inkml:brush xml:id="br1">
      <inkml:brushProperty name="width" value="0.05292" units="cm"/>
      <inkml:brushProperty name="height" value="0.05292" units="cm"/>
      <inkml:brushProperty name="color" value="#FF0000"/>
    </inkml:brush>
  </inkml:definitions>
  <inkml:trace contextRef="#ctx0" brushRef="#br0">9644 2262 0,'-13'0'15,"79"27"1,66-27-1,53 0-15,27 0 16,53 0-16,92 0 16,-66 0-16,0 0 15,-159 0-15,-26 0 16,-93 0-16</inkml:trace>
  <inkml:trace contextRef="#ctx0" brushRef="#br0" timeOffset="1079.1">17701 2289 0,'13'0'62,"40"13"-46,66 0-16,53-13 15,39 0-15,107 0 16,79 0-16,106 0 16,12-13-16,81-80 15,-14 14-15,-93 13 16,1 0-16,-120 39 15,-158-13-15,-40 1 16,-93 39-16,-65 0 16</inkml:trace>
  <inkml:trace contextRef="#ctx0" brushRef="#br0" timeOffset="62079.64">9009 1588 0,'0'0'0,"-13"-14"0,13 41 31,-13-14-31,13 27 0,0 13 16,0-14-16,0 27 0,-14 1 15,14-28-15,0 27 0,0-13 0,-13 0 16,13-13-16,0 13 0,0-14 0,0 1 16,0 0-16,0-14 0,0 1 0,13-1 15,-13-13-15,0 14 16,0-14-16,0 0 0,14-13 0</inkml:trace>
  <inkml:trace contextRef="#ctx0" brushRef="#br0" timeOffset="62800.06">8890 1521 0,'0'-13'0,"13"0"0,67-14 31,-41 14-31,27 0 0,1 0 0,12 0 16,0-1-16,14 1 0,26-13 0,0 12 16,13-12-16,-13-1 0,27 14 15,-14-13-15,14-1 0,-14 1 0,0 13 16,1-14-16,12 14 0,-26-14 16,13 14-16,-26 0 0,13 0 0,-26 0 15,0-1-15,-1 1 0,-12 0 0,-1 0 16,0-1-16,1 14 0,-14-13 0,0 0 15,-13 13-15,0-13 0,-13-1 16,12 14-16,-12 0 0,0 0 16,-14 0-16,1 0 0,-1-13 0,-13 13 15,1 0-15,12 0 0,-13 0 0,1-13 16,-1 13-16,0 0 16,0 0-16,0 0 15,1 0-15,-1 0 16,0 0-1,0 13-15,1 0 16,-1-13-16,0 27 0,14-1 16,-14 14-16,13 0 0,1 13 0,-1 0 15,1 0-15,-1-14 0,1 14 16,-14 0-16,13-13 0,1 13 0,-14 0 16,13 0-16,-12-14 0,12 1 0,-13 0 15,1-1-15,-1 1 0,-13-14 16,13 14-16,0-13 0,0-1 0,1 14 15,-14-27-15,13 13 0,-13-12 16,0-1-16,0 0 0,13-13 16,-13 13-16,0 1 0,-13-1 0,13 0 15,-13 13 1,-1-26-16,-12 14 0,13-14 0,-14 13 16,-26 0-16,14-13 0,-27 13 0,-14 1 15,1-1-15,-1 0 0,-12 13 16,-27-12-16,0-1 0,0 13 0,-14 1 15,14-1-15,0 1 0,0-1 16,13 1-16,27-14 0,13 13 0,13-26 16,0 27-16,0-14 0,27-13 0,-14 13 15,27 1-15</inkml:trace>
  <inkml:trace contextRef="#ctx0" brushRef="#br0" timeOffset="63884.43">18799 1521 0,'-14'93'0,"1"-53"15,13-1-15,-13 27 0,13-13 16,-13 14-16,-1-15 0,14 15 0,-13-28 16,13 14-16,0-13 0,-13 0 15,13-1-15,0 1 0,0-14 0,0-12 16,0 12-16,0 1 0,0-14 0,13 0 15,-13 0-15</inkml:trace>
  <inkml:trace contextRef="#ctx0" brushRef="#br0" timeOffset="64436.43">18878 1164 0,'93'-26'0,"-186"52"0,252-66 0,-93 27 0,27 0 15,-14 0-15,40 0 16,13-1-16,-13 1 0,14 0 0,12 0 16,-13-1-16,14 1 0,-1 13 0,1-13 15,0 13-15,-14-13 0,0 13 16,-26 0-16,0 0 0,0 0 0,-1-14 15,-12 14-15,13 0 0,-27 0 0,1 0 16,-14 0-16,-13 0 0,0 0 0,-14 0 16,1 0-16,-14 0 0,-12 0 15,12 0-15,-13 0 0,1 0 0,-1 14 16,0-14-16,0 0 0,0 0 0,1 13 16,-1-13-16,0 26 15,14 14-15,-14 0 16,0-1-16,-13 1 0,13 0 0,1 13 15,-14 0-15,13-14 0,-13 28 16,0-15-16,0 15 0,13-1 0,-13-13 16,0 13-16,0-27 0,0 14 0,0 0 15,13-13-15,-13 0 0,0-1 0,0 1 16,0-13-16,0-1 0,0 0 16,0 1-16,0-1 0,-13-12 0,13-1 15,0 13-15,-13-13 0,13 1 16,-13-1-16,-1 0 0,-12-13 15,-1 13-15,-12 1 0,-1-14 0,-26 13 16,0-13-16,-14 0 0,-12 0 0,-1 0 16,-39 0-16,-14 0 0,-12-13 15,-1 13-15,-26 0 0,-1 0 0,-25 0 16,-67-14-16</inkml:trace>
  <inkml:trace contextRef="#ctx0" brushRef="#br0" timeOffset="65744.64">4233 3268 0,'40'0'16,"-14"0"-16,1 0 0,26 0 0,0 0 15,26 0-15,-13-14 0,14 14 0,12-13 16,1 0-16,-1 13 0,1-13 15,0 13-15,-1-14 0,-12 14 0,12-13 16,1 13-16,-14-13 0,14 0 0,-14 13 16,1-13-16,-14 13 0,-13 0 0,0-14 15,-1 14-15,-25 0 0,13-13 16,-14 13-16,-13 0 0,1 0 0,12 0 16,-13 0-16,0 0 0,1 0 15,-1 0 1</inkml:trace>
  <inkml:trace contextRef="#ctx0" brushRef="#br0" timeOffset="67008.75">12224 3268 0,'66'0'15,"304"26"1,-264-26-16,26 0 16,14 0-16,-14 13 0,27-13 0,0 0 15,-1 0-15,1 0 0,0 0 0,0 14 16,13-14-16,-14 0 0,1 0 0,0 0 15,-14 0-15,1 0 16,-14 0-16,-26 0 0,0 0 0,-13 0 16,-1 0-16,-12 0 0,-28 0 0,15 0 15,-28 0-15,1 0 0,-14 0 16,1 0-16,-14 0 0,0 0 0,1 0 16,-1-14-16,0 14 0,-53-13 31,14 13-16,-1 0-15,14 0 0,-13 0 16</inkml:trace>
  <inkml:trace contextRef="#ctx0" brushRef="#br0" timeOffset="67562.38">14049 3109 0,'0'0'0,"67"-13"0,91-1 31,-78 14-31,12 0 0,1 0 0,39-13 15,14 13-15,-14 0 0,0 0 0,14 13 16,-14-13-16,14 0 0,-14 14 0,-13-14 16,-26 0-16,12 0 0,94 13 15,-107-13-15,-12 0 0,-1 0 16,-26 0-16,0 0 0,0 0 0,-13 0 16,-14 0-16,1 0 15,39 0-15,-53 0 0,0 0 16,0 0-16,1 0 0,-1 0 15,0 0-15,0 0 16,1 0 0,-1-13 15</inkml:trace>
  <inkml:trace contextRef="#ctx0" brushRef="#br0" timeOffset="79732.64">2408 8599 0,'317'-66'0,"-634"132"0,714-145 15,-318 65-15,0 1 0,14 0 0,0 0 16,-14-1-16,14 1 0,-14 0 16,0 0-16,1 13 0,-14-13 0,-27 13 15,14 0-15,0 0 0,-26-14 16,-1 14-16</inkml:trace>
  <inkml:trace contextRef="#ctx0" brushRef="#br0" timeOffset="79961.56">2672 8837 0,'66'-13'15,"146"-27"1,-159 27-16,0 0 16,0 13-16,0 0 0,0-14 15,0 14-15,-14-13 0,14 13 0,-13 0 16,-14 0-16,1 0 0,-1 0 0,1 0 16,-1 0-16,1 0 0</inkml:trace>
  <inkml:trace contextRef="#ctx0" brushRef="#br0" timeOffset="80861.56">7554 9895 0,'-13'27'16,"-1"-1"-16,14-12 0,-13 118 31,13-106-31,-13 1 16,13-1-16,0-13 0,0 14 0,0-14 15,0 0-15,-13 1 0,13-1 16,0 0-16,0 0 0,13-39 47,0 13-47,-13-14 0,13 1 0,1-14 15,-1 14-15,0-14 0,0 0 0,1 14 16,-1-14-16,13 14 0,-13-1 16,14 1-16,-14-1 0,0 14 15,1 13-15,-1-13 0,0 13 0,0 0 16,1 0-16,-1 0 0,-13 13 15,13 0-15,0 0 0,0 14 0,-13-1 16,0 1-16,14-1 0,-14 1 0,0-1 16,0 14-16,-14 0 0,14-14 0,0 0 15,0 1-15,-13-1 0,13 1 16,0-1-16,0-12 0,0-1 0,0 0 16,0 13-16,-13-12 0,13-1 15,0 0-15,13-13 16</inkml:trace>
  <inkml:trace contextRef="#ctx0" brushRef="#br0" timeOffset="81356.56">5834 10769 0,'53'0'15,"-13"0"-15,13 0 16,13-14-16,13 14 0,14 0 0,-1-13 16,1 13-16,39-13 0,1 0 15,12 13-15,14-14 0,-14 1 0,14 0 16,13 0-16,0-1 0,0 14 16,13-13-16,0 0 0,-13 0 15,14 13-15,-1-13 0,0-1 0,-13 14 16,0-13-16,13 13 0,-26-13 0,13 13 15,-27 0-15,14-13 0,-13 13 16,-14 0-16,-26 0 0,-14-14 0,1 14 16,0 0-16,-14 0 0,-26 0 15,0 0-15,-13 0 0,-14 0 0,-13-13 0,0 13 16,1 0-16,-67 13 31,26-13-31,-12 14 0,-14-14 0,-13 13 16</inkml:trace>
  <inkml:trace contextRef="#ctx0" brushRef="#br0" timeOffset="82628.81">6562 11086 0,'0'0'16,"0"-13"-16,0 0 0,-14-1 15,14 41 17,0-14-32,0 0 15,0 14-15,0-14 0,0 13 0,0-12 0,0 12 16,0 1-16,0-14 16,0 13-16,0-13 0,0 14 0,14-14 15,-14 0-15,0 1 0,0 12 0,0-13 16,0 1-16,13-1 15,-13 0-15,0 0 0</inkml:trace>
  <inkml:trace contextRef="#ctx0" brushRef="#br0" timeOffset="82891.36">6178 11523 0,'0'0'16,"53"0"0,-27 0-16,14-14 0,0 14 15,-1-13-15,1 0 0,0 0 16,0 13-16,12-14 0,-12 1 16,0 13-16,0-13 0,-1 0 0,1 13 15,0-13-15,-14 13 0,-13 0 0,14-14 16,-14 14-16,0 0 0,0 0 0,1 0 15,-1 0-15,-13 14 0</inkml:trace>
  <inkml:trace contextRef="#ctx0" brushRef="#br0" timeOffset="83373.13">6601 11695 0,'-13'0'0,"-27"0"31,40 13-31,-13-13 0,0 13 0,0 0 16,-14 14-16,27-1 0,-13-13 15,0 1-15,13-1 0,-13-13 0,13 13 16,0 0-16,13 1 16,13-14-16,-12-14 15,-1 1-15,13 0 0,-13 0 16,14-1-16,-1-12 0,-12 13 15,12 0-15,-13-1 0,1 1 0,-1 0 16,0 0-16,0 13 16,0 13-16,1 0 15,-14 0-15,0 1 0,0-1 16,0 0-16,0 0 0,0 0 0,0 1 16,0-1-16,0 13 15,0-12-15,0-1 0,13-13 0,-13 13 16,13 0-1</inkml:trace>
  <inkml:trace contextRef="#ctx0" brushRef="#br0" timeOffset="83617.28">7223 11179 0,'0'0'16,"-13"13"-16,13 13 15,-13-12-15,13 12 0,-14 14 16,14-14-16,-13-13 0,13 14 0,0-1 16,0-12-16,0 12 0,0-13 15,0 0-15,0 14 0,0-14 0,0 0 16</inkml:trace>
  <inkml:trace contextRef="#ctx0" brushRef="#br0" timeOffset="83792.05">7064 11351 0,'-13'0'15,"53"0"16,-27 0-31,14 0 16,-14 0-16,13 0 0,1 0 16,-1 0-16,1-14 0,-1 14 0,-13 0 15</inkml:trace>
  <inkml:trace contextRef="#ctx0" brushRef="#br0" timeOffset="84064.78">7938 10967 0,'0'26'31,"0"-12"-31,0-1 0,0 13 15,13-12-15,-13 12 0,0 0 0,13-12 16,-13 12-16,0 1 0,0-14 16,13 13-16,-13-12 0,0-1 0,13 13 15,-13-13-15,0 1 0,0-1 16,0 0-16</inkml:trace>
  <inkml:trace contextRef="#ctx0" brushRef="#br0" timeOffset="84314.97">7660 11404 0,'26'-14'31,"1"14"-31,-14 0 16,13 0-16,1-13 0,12 13 0,1 0 15,0-13-15,0 0 0,-1 13 16,-12 0-16,-1-14 0,1 14 0,-1-13 16,0 13-16,1 0 0,-14 0 0,0 0 15,1-13-15,-1 13 0,0 0 16</inkml:trace>
  <inkml:trace contextRef="#ctx0" brushRef="#br0" timeOffset="84830.96">7832 11615 0,'-14'-13'0,"28"26"0,-41-39 16,14 26-16,-13 13 16,12-13-16,1 0 0,0 13 15,0 0-15,-1 1 0,1-1 0,0 0 16,0 14-16,-1-14 0,1 0 15,13 0-15,-13 1 0,13-1 0,0 0 16,0 0-16,13-13 0,0 13 16,1-13-16,12-13 15,-13 13-15,14-13 0,-1 0 0,1 0 16,-1-1-16,1 1 0,-1 0 0,14-14 16,-27 14-16,0 13 15,1-13-15,-1 13 16,0-13-16,0 26 15,-13 0 1,13 0-16,-13 1 0,0-1 16,0 0-16,0 0 0,0 1 0,14-1 15,-14 0-15,0 0 0,0 0 16,13 1-16,-13-1 16,13-13-16</inkml:trace>
  <inkml:trace contextRef="#ctx0" brushRef="#br0" timeOffset="85600.53">6892 11853 0,'0'0'0,"-13"27"31,13-14-31,0 0 0,0 0 16,0 1-16,0-1 0,13 0 15,1 0-15</inkml:trace>
  <inkml:trace contextRef="#ctx0" brushRef="#br0" timeOffset="86195.33">8295 11695 0,'13'0'0,"0"0"0,-13 13 16,13-13-16,-13 13 0,0 0 16,0 1-16,0-1 15,0 0-15,0 0 0,-13 0 16,13 1-16,-13-1 0,13 0 0,-13 0 16,13 1-16,-14-14 0,14 13 0,0 0 15,-13-13 1,13 13-16,13-13 15,1-13 1,-1 13-16,0 0 16,0-13-16,1 13 0,-1-13 0,0-1 15,0 1-15,1 0 0,-1 0 0,0-1 16,0 1-16</inkml:trace>
  <inkml:trace contextRef="#ctx0" brushRef="#br0" timeOffset="86416.31">8771 11086 0,'-13'26'31,"13"-12"-31,0-1 0,0 13 15,0-12-15,0-1 0,0 13 0,0-12 16,0-1-16,0 13 0,0-13 16,0 14-16,-14-14 0,14 0 0,0 1 15</inkml:trace>
  <inkml:trace contextRef="#ctx0" brushRef="#br0" timeOffset="86600.34">8533 11337 0,'0'-13'16,"13"0"-1,0 0-15,0 13 0,14 0 16,-14-14-16,14 14 0,-1 0 16,-13-13-16,14 13 0,-1 0 0,-13 0 15,14-13-15,-14 13 0,14 0 0</inkml:trace>
  <inkml:trace contextRef="#ctx0" brushRef="#br0" timeOffset="86871.69">9432 10874 0,'0'53'15,"14"-39"1,-14 12-16,13-13 0,-13 14 16,13-1-16,-13 14 0,13-14 0,-13 1 15,0-1-15,0 1 0,14-1 16,-14 1-16,0-14 0,0 13 0,-14-13 15</inkml:trace>
  <inkml:trace contextRef="#ctx0" brushRef="#br0" timeOffset="87077.56">9088 11470 0,'93'-40'15,"-53"27"1,-1 0-16,1-1 0,0 1 16,-1 13-16,41-26 0,-54 12 0,1 14 15,-1-13-15,1 13 0,-1 0 16,-13-13-16,1 13 0,-1 0 16,0 0-16</inkml:trace>
  <inkml:trace contextRef="#ctx0" brushRef="#br0" timeOffset="87484.5">9221 11536 0,'-13'-13'0,"26"26"0,-26-40 0,-1 27 16,1 14-1,0-1-15,0-13 16,-1 13-16,14 14 0,-13-14 0,0 13 15,13-13-15,-13 1 0,13 12 16,0-13-16,-14 1 0,14-1 0,0 0 16,14 0-16,-14 1 0,0-1 0,13 0 15,-13 0-15,13-13 0,0 13 16,1-13-16,-1 0 0,0 0 16,0 0-16,1-13 0,-1 13 0,13-13 15,-13 13-15,1 0 0,-14-13 0,13 13 16</inkml:trace>
  <inkml:trace contextRef="#ctx0" brushRef="#br0" timeOffset="88084.39">9194 11576 0,'14'39'15,"-14"-26"1,0 1-16,0-1 0,13 13 15,-13-12-15,0-1 0,13 0 0,-13 0 16,13 1-16,0-1 16,1 0-16,-1 0 0,0 0 15,0-13-15,1 0 0,-1 0 16,0 0-16,0 14 0,0-14 16,1 0-16,-1 0 0,0-14 0</inkml:trace>
  <inkml:trace contextRef="#ctx0" brushRef="#br0" timeOffset="88411.58">9618 11695 0,'26'13'47,"-13"0"-32,-13 0-15,14 1 16,-14-1-16,13-13 16,-13 13-16,0 0 0,0 0 15,0 14-15,0-14 16,-13 0-16,13 1 15,-14-1-15,1 0 0,0 0 16,13 0-16,-13-13 0,13 14 16</inkml:trace>
  <inkml:trace contextRef="#ctx0" brushRef="#br0" timeOffset="88929.54">10014 11073 0,'0'26'16,"0"-13"-1,0 14-15,0-14 0,0 0 0,0 14 16,0-14-16,0 14 0,0-1 16,0-13-16,0 0 0,0 1 15,0 12-15,0-13 0</inkml:trace>
  <inkml:trace contextRef="#ctx0" brushRef="#br0" timeOffset="89121.52">9895 11179 0,'-13'0'0,"53"0"31,-27 0-15,0 0-16,14 0 0,-14 0 0,13 0 15,-12 0-15,12 13 0,1-13 16,-14 0-16,13 0 0,1 0 0,-1 0 15</inkml:trace>
  <inkml:trace contextRef="#ctx0" brushRef="#br0" timeOffset="89280.55">10451 11165 0,'0'-13'47</inkml:trace>
  <inkml:trace contextRef="#ctx0" brushRef="#br0" timeOffset="89503.28">10861 11099 0,'13'0'31,"-13"-13"-31</inkml:trace>
  <inkml:trace contextRef="#ctx0" brushRef="#br0" timeOffset="89952.67">9565 11602 0,'66'40'47,"-132"-80"-31,119 159 15</inkml:trace>
  <inkml:trace contextRef="#ctx0" brushRef="#br0" timeOffset="90833.35">11417 10795 0,'0'26'15,"0"-12"-15,-13 12 16,13-13-16,0 1 0,0 12 16,0-13-16,0 14 0,0-14 0,0 0 15,0 14-15,0-14 0,13 13 0,-13-12 16,0-1-16,0 0 0,0 0 16,0 0-16,0 1 0</inkml:trace>
  <inkml:trace contextRef="#ctx0" brushRef="#br0" timeOffset="91053.67">11245 11192 0,'0'0'0,"26"-13"31,-13 13-31,1 0 16,12-14-16,-13 14 0,27 0 15,-13 0-15,-1-13 0,14 13 0,-1-13 16,1 13-16,0 0 0,-14 0 0,1-13 16,-1 13-16,1 0 0,-1 0 15,-13 0-15,14 13 0</inkml:trace>
  <inkml:trace contextRef="#ctx0" brushRef="#br0" timeOffset="91592.42">11589 11562 0,'-13'-26'16,"26"52"-16,-26-65 0,13 25 0,-14 14 16,1 0-16,0 0 15,0 14-15,-1-14 16,14 13-16,-13 0 0,0 0 0,0 1 15,13-1-15,-14 0 0,14 0 0,-13 0 16,13 1-16,0-1 16,13 0-16,-13 0 0,14-13 15,-1 0-15,0 0 0,0 0 16,14-13-16,-14 13 0,0-13 16,1 0-16,12 13 0,-13-14 0,0 1 15,1 13-15,-1-13 0,0 0 16,0 13-16,1-13 15,-1 26 1,-13 0-16,0 0 0,0 0 16,0 1-16,0-1 0,0 0 0,0 0 15,0 1-15,13-1 16,-13 0-16,0 0 16,13 1-16,-13-1 15</inkml:trace>
  <inkml:trace contextRef="#ctx0" brushRef="#br0" timeOffset="91928.35">11919 11642 0,'0'26'31,"0"-13"-31,0 1 0,0-1 16,-13-13-16,13 13 0,0 0 16,0 1-1,27-28 1,-14 1 0,0 13-16,0 0 15,-13-13-15,14 13 0,-1 0 16,0 0-16,0 0 15,1 0-15,-1 0 16,-13 13-16,-13 0 31,-1-13-31</inkml:trace>
  <inkml:trace contextRef="#ctx0" brushRef="#br0" timeOffset="92380.42">10980 10914 0,'0'27'15,"0"-14"-15,0 0 16,0 0-16,0 14 0,0-14 0,0 13 16,-13-12-16,13 12 15,0-13-15,0 14 0,0-1 0,0-13 0,0 14 16,0-14-16,-13 0 0,13 1 15,0-1-15,0 0 0</inkml:trace>
  <inkml:trace contextRef="#ctx0" brushRef="#br0" timeOffset="92560.48">10808 11112 0,'0'-13'0,"27"13"15,-14-13-15,0 13 16,14 0-16,-14 0 0,13 0 16,1 0-16,-14 0 0,13 0 0,1-13 15,-1 13-15,-12 0 0,12 0 0,0 0 16</inkml:trace>
  <inkml:trace contextRef="#ctx0" brushRef="#br0" timeOffset="99176.28">9168 5067 0,'0'-27'0,"0"54"0,-13-67 16,-1 27-1,1 26-15,0 0 0,0 1 16,-1 12-16,1 0 0,0 14 16,0-13-16,0 12 0,-1-12 0,14-1 0,-13 1 15,13-1-15,0-13 16,0 14-16,0-14 0,13 0 0,-13 1 15,14-14-15,-14 13 0,13-13 0,0 0 16,0-13-16,14-1 0,-14 1 16,13-13-16,-12-1 0,12 1 0,-13-14 15,1 0-15,-14 1 0,13-1 0,-13 0 16,0 1-16,0 12 0,-13 1 16,13 12-16,0 1 0,-14 0 0,1 0 15,0 13-15,-14 13 0,1 0 16,-1 14-16,14-1 0,-13 27 15,-1-27-15,14 14 0,0 0 16,0 39-16,13-52 0,0-1 16,0 1-16,13-14 0,-13 0 0,13 0 15,0 1-15,1-1 0,-1-13 16,0-13-16,0-1 16,14 1-16,-14-13 0,13-1 0,-12-13 0,-14 14 15,13-14-15,-13-39 0,0 39 16,0 1-16,-13 12 0,13 1 15,-14-1-15,14 14 0,-13 13 0,0 0 16,0 0-16,-1 26 16,-12 1-16,13-1 0,0 14 15,-1 0-15,1 13 0,0-14 0,13 1 0,-13 0 16,13-1-16,13-12 0,-13-14 16,0 14-16,13-14 0,0 0 0,-13 0 15,14 0-15,-1-13 0,0 0 16,0-13-16,0 13 0,1-13 0,12-13 15,-13-1-15,1-13 0,-1 1 0,0-1 16,-13 0-16,0 1 0,0-1 16,0 13-16,0 14 0,0-13 0,0 13 15,0-1-15,-13 1 0,0 26 16,-1 1-16,1 12 0,0 0 16,0 14-16,-1 0 0,14 0 15,-13-1-15,13-12 0,0-1 16,0 1-16,13-14 0,-13 13 0,0-12 15,14-1-15,-14 0 0,13-13 16,0 13-16,0-13 0,1-13 0,-1 0 16,0 0-16,0-14 0,14 1 15,-27-1-15,13-13 0,-13 1 0,13 12 16,-13 1-16,-13-1 0,13 14 16,0-13-16,0 12 0,-13 14 15,-14 14-15,14-1 16,0 27-16,0-14 0,-14 40 15,27-39-15,0-1 0,-13-13 16,13 14-16,0-14 0,0 0 16,13 1-16,-13-1 0,13 0 0,1-13 15,-1 0 1,0-13-16,0 0 0,14-1 0,-14-12 16,0-1-16,0-12 0,1 12 0,-14 1 15,0-1-15,0 1 0,13-1 16,-13 14-16,0 0 0,0 0 0,-27 39 31,14-13-31,13 14 0,-26-1 16,13 14-16,13-14 0,-14-12 15,14 12-15,0-13 0,0 1 0,0-1 16,0 0-16,0 0 0,27-26 16,-14 0-1,0-14-15,0 1 0,1-1 0,-1-12 16,0 12-16,-13 1 0,0-1 0,0 1 15,0 13-15,0-14 0,-13 14 0,0 0 16,13 0-16,-14 13 16,1 0-16,0 0 0,-13 0 15,12 0-15,1 13 0</inkml:trace>
  <inkml:trace contextRef="#ctx0" brushRef="#br0" timeOffset="99729.36">7885 4564 0,'-14'27'16,"14"-1"-1,0-13-15,0 0 0,-13 14 0,13-1 16,0 1-16,-13-14 0,13 13 16,0-12-16,0-1 0,0 13 0,0-12 0,0-1 15,13 0 1</inkml:trace>
  <inkml:trace contextRef="#ctx0" brushRef="#br0" timeOffset="100200.71">8387 4564 0,'0'0'0,"27"0"0,-14 0 16,0 13-16,0-13 15,-13 14-15,14-1 0,-14 0 16,0 0-16,0 0 0,-14 1 0,14-1 16,-13 13-16,0-12 0,13-1 15,-13 0-15,13 0 0,0 0 0,-13 1 16,-1-1-16,14 0 15,14 0 1,-1-13-16,0 0 16,0-13-16,0 13 0,14-13 15,-14 13-15,14-13 0,12-1 16,-12 1-16,-1 0 0,1 0 0,-1 0 16</inkml:trace>
  <inkml:trace contextRef="#ctx0" brushRef="#br0" timeOffset="100776.7">9803 4485 0,'13'0'0,"13"13"15,-26 0-15,14 0 16,-14 1-16,-14-1 0,14 0 15,0 0-15,0 1 0,-13-1 16,26 0-16,-13 0 16,14-13-16,-1 13 15,0-13-15,0 14 0,1-1 16,-1-13-16,-13 13 0,13-13 16,-13 13-16,0 1 0,0-1 15,-13 0-15,0 0 16,-1 0-16,1 1 0,13-1 15,-13-13-15,0 13 0,13 0 0,-14-13 16</inkml:trace>
  <inkml:trace contextRef="#ctx0" brushRef="#br0" timeOffset="101157.42">10649 4392 0,'-52'40'31,"38"-27"-31,1 0 0,0 0 16,0 1-16,-14-1 0,27 0 16,-13 0-16,0-13 0,0 14 0,13-1 15,-14 0-15,14 0 0,0 1 32,14-1-32,-1-13 15,0 0-15,0 0 0,0 0 16,14 0-16,-14 0 0,0-13 15,1 13-15,-1 0 0,13-14 0,-13 14 16,1-13-16,-1 13 0,0-13 16</inkml:trace>
  <inkml:trace contextRef="#ctx0" brushRef="#br0" timeOffset="101339.34">10636 4392 0,'-13'79'32,"13"-65"-32,0 12 0,0 1 0,0-1 15,0 1-15,0-1 0,0-13 16,0 14-16,0-1 0,0 1 0,0-1 16,0-13-16,0 14 0,0-14 0,0 13 15</inkml:trace>
  <inkml:trace contextRef="#ctx0" brushRef="#br0" timeOffset="128249.53">17462 6152 0,'-39'0'31,"26"13"-31,-14 0 0,1 0 0,-14 0 16,-26 27-16,39-13 15,1-14-15,-1 13 0,1-12 0,0 12 0,12-13 16,1 0-16,0 1 0,0-1 15,13 0-15,0 0 16,0 1-16,39-1 16,-25 0-16,12-13 0,0 13 15,1-13-15,13 0 0,-14 0 16,1 0-16,12 0 0,-12 14 0,-1-14 16,1 0-16,-14-14 0,13 14 0,-13 0 15,27 0-15,-27 0 16,1-13-16,-14 0 15</inkml:trace>
  <inkml:trace contextRef="#ctx0" brushRef="#br0" timeOffset="128449.43">17383 6152 0,'-13'13'15,"13"0"-15,-13 13 16,13 1-16,-27 39 0,27-26 15,-13-1-15,0 54 16,-40 238 15,53-292-15,0-12 0</inkml:trace>
  <inkml:trace contextRef="#ctx0" brushRef="#br0" timeOffset="128758.78">16192 7117 0,'40'-13'15,"-80"26"-15,120-39 0,39-1 0,53-12 16,66 12-16,13-12 15,1 12 1,-120 14-16,-13 13 0,159-27 16,-106 1-16,-53 13 15,-66 13-15,0-14 16,-14 14-16,-25 0 16,-54 0-1,14 14 1,-1-14-16,-13 13 0,1 0 0,-1 0 15,0-13-15,1 14 0</inkml:trace>
  <inkml:trace contextRef="#ctx0" brushRef="#br0" timeOffset="129629.77">16947 7170 0,'0'0'0,"-14"0"15,1 13-15,0 1 16,0-1 0,13 13-16,0-12 0,-14 25 15,14-12-15,0-14 0,-13 13 16,26 1-16,-13-14 0,0 14 0,14-1 16,-1-13-16,0 0 15,0 1-15,1-1 0,12-13 16,-13 0-16,0 0 0,1-13 15,-1 13-15,0-14 16,0-25-16,-13 12 16,0-12-16,0 12 0,0 14 15,-13-14-15,13 1 0,-13 0 16,0-14-16,-1 27 0,14-1 16,-13 1-16,0 0 0,0 0 15,0 13 1,13 13-16,-14 0 0,14 0 15</inkml:trace>
  <inkml:trace contextRef="#ctx0" brushRef="#br0" timeOffset="129784.59">17211 7236 0,'13'0'0</inkml:trace>
  <inkml:trace contextRef="#ctx0" brushRef="#br0" timeOffset="130294.05">17410 7144 0,'-40'13'16,"40"0"-1,0 0-15,13 14 16,-13-14-16,13 0 16,1 27-16,-1-27 0,-26 146 62,-1-146-62,14 0 0,14-79 63,-1 40-63,13-14 15,27-66 1,-53 93 0,0-13-16,0-1 15,0 14-15,-13 0 0,0 13 16,-1-13-1,-12 26-15,0-13 16,12 13-16,1 0 0,0-13 16,13 13-16</inkml:trace>
  <inkml:trace contextRef="#ctx0" brushRef="#br0" timeOffset="130621.31">17701 7144 0,'-27'0'15,"14"0"-15,0 13 16,-1-13-16,14 13 0,-13-13 0,0 13 16,0 1-16,0-1 15,13 0-15,13-13 16,0 0-1,0 0 1,0 0-16,1 0 0,-1 0 16,0 0-16,-13 13 15,13-13-15,-13 14 16,14-1-16,-14 0 0,0 0 16,0 0-16,-14 1 0,14-1 15,0 0-15,0 0 0,0 1 16,0-1-16,0 0 15</inkml:trace>
  <inkml:trace contextRef="#ctx0" brushRef="#br0" timeOffset="130945.45">17952 7170 0,'-13'-13'16,"-14"13"-16,14 13 16,0-13-16,0 13 15,13 1-15,-14-1 16,28 0-16,-14 0 16,13-13-16,-13 14 0,13-1 0,0 0 15,-13 0-15,14 0 16,-1 1-16,-13-1 15,0 0-15,-13 0 16,13 1-16,0-1 0,-14-13 0,1 13 16,-13 0-1,12-13-15,-12 0 16,13-13-16</inkml:trace>
  <inkml:trace contextRef="#ctx0" brushRef="#br0" timeOffset="131175.7">18574 6601 0,'26'-13'0,"-13"13"16,1 0-16,-1 0 16,0 0-16</inkml:trace>
  <inkml:trace contextRef="#ctx0" brushRef="#br0" timeOffset="131466.34">18494 6813 0,'14'13'0,"12"-13"16,-13 0-16,106-39 62</inkml:trace>
  <inkml:trace contextRef="#ctx0" brushRef="#br0" timeOffset="136629.31">20174 6376 0,'-13'14'31,"-13"12"-31,13-13 16,-14 14-16,1-1 0,-1 1 15,14-1-15,-14 1 0,-25 12 16,12-12-16,27-1 16,-1-12-16,14-1 15,53 26 16,-26-39-15,26-13-16,277-26 47,-316 39-47,-1 0 16,-13-40 15</inkml:trace>
  <inkml:trace contextRef="#ctx0" brushRef="#br0" timeOffset="136826.49">20241 6376 0,'0'0'32,"0"27"-17,0-14-15,-14 0 0,14 40 16,0-26-16,-13-14 0,0 40 15,13-27-15,-13 1 16,13-1-16,-14 27 0,14-26 16,-13 12-1,13-25-15,0-1 0,0 0 16,13-13-16</inkml:trace>
  <inkml:trace contextRef="#ctx0" brushRef="#br0" timeOffset="137013.74">20585 6575 0,'0'0'0,"0"-13"0</inkml:trace>
  <inkml:trace contextRef="#ctx0" brushRef="#br0" timeOffset="137406.54">21021 6324 0,'-13'13'31,"0"0"-15,-1 0-16,1 0 0,-40 40 15,0 0-15,27-26 16,-14 26-16,27-40 15,0 0-15,0 0 0,-1 1 0,14-1 16,-13 0-16,13 0 16,0 1-1,13-14-15,1 0 0,-1 0 16,0 0-16,13 0 0,-12 0 0,12 0 16,1 0-16,-1-14 0,1 14 15,-14 0-15,13 0 0,1-13 16,-1 13-16,1 0 0,-14-13 15,0 13-15,0 0 0,1 0 16,-14-13-16</inkml:trace>
  <inkml:trace contextRef="#ctx0" brushRef="#br0" timeOffset="137657.62">20968 6337 0,'0'39'31,"-13"-25"-31,13-1 16,0 0-16,-13 14 0,0 26 15,-1-14-15,14-12 16,-13-1-16,0 14 0,13-27 15,-13 27-15,13-27 0,0 0 16,-14-13-16,14 13 0,0 1 16</inkml:trace>
  <inkml:trace contextRef="#ctx0" brushRef="#br0" timeOffset="138044.7">21325 6324 0,'-26'0'15,"13"13"-15,-1 0 0,-12 13 16,-14 27-16,27-26 16,0 13-1,13-1-15,0-26 16,26 14-16,-12-14 15,-1-13-15,0 0 0,0 0 16,0 0-16,1 0 0,12-13 16,-13 0-16,1-14 15,-14 14-15,0 0 16,-14 13 0,-118 13 15,79 27-16,14-14-15</inkml:trace>
  <inkml:trace contextRef="#ctx0" brushRef="#br0" timeOffset="138322.67">19936 7131 0,'0'0'15,"27"-14"-15,26 1 16,145-27 0,-39 1-16,13 12 15,92-12 1,-12-1-1,-107 27-15,-79-1 0,27 1 16,-27 0 0,-26 13-16,-14 0 15,-65 0 1,12 13 0</inkml:trace>
  <inkml:trace contextRef="#ctx0" brushRef="#br0" timeOffset="138569.1">20082 7210 0,'13'13'16,"14"-13"0,25 0-16,41-13 15,-40 13-15,119-40 16,-66 27-16,0 0 15,-14 0-15,-39 13 16,-26-14-16,12 14 16,-12 0-16,-14 0 15,0 0-15</inkml:trace>
  <inkml:trace contextRef="#ctx0" brushRef="#br0" timeOffset="141078.72">9009 5331 0,'27'-13'47,"-94"53"109,81-27-156,12-26 16,1 0-16,-14-1 16,119-290 31,-132 278-47,-13 26 0,0-14 15,-1 14 1,-25 14-16,-14 39 15,40-27-15,-14 14 0,14-14 16,0 14-16,-1-14 0,1 27 16,13-13-16,0-27 0,0 0 15,13 1-15,1 12 0,12-13 16,-13-13-16,1 14 0,12-14 16</inkml:trace>
  <inkml:trace contextRef="#ctx0" brushRef="#br0" timeOffset="142392.43">10398 5424 0,'27'13'0,"-14"-13"15,0 0-15,0-13 16,14 13-16,-14 0 0,13 0 0,-12 0 16,12-13-16,-13 13 0,14 0 0,-14 0 15,13-13-15,-12 13 0,12 0 16,-13 0-16,1 0 0,-1-14 16,0 14-16,-53 14 31,27-14-31,-27 13 15,14-13-15,13 0 16,-14 0-16,1 13 0,-1-13 0,14 0 16,0 0-16,0 0 0,0 13 15,-1-13-15,1 0 0,0 0 0,39 13 32,-12-13-17,-1 0-15,26-13 0,-25 13 16,12 0-16,14 0 15,-27 0-15,0 0 0,0 0 0,1 0 16,-1 0-16,0-13 0,-39 26 47,12-13-47,1 13 0,0-13 16,0 0-16,0 0 0,-1 0 15,1 0-15,0 0 0,0 14 16,-1-14-16,1 0 15,13 13-15,0 0 16</inkml:trace>
  <inkml:trace contextRef="#ctx0" brushRef="#br0" timeOffset="144776.56">10636 5517 0,'0'26'0,"40"53"31,-27-52-31,0-14 0,1 0 16,12 1-16,-13-1 0,14 0 15,-1-13-15,1 13 0,-1-13 0,1 0 16,12 0-16,14 0 0,-13 0 0,13 0 16,0 0-16,0-13 0,-14 13 15,27-13-15,1 0 0,65-14 16,-66 14-16,13-14 0,67 1 15,-80-1-15,13 1 0,-12 13 16,-1-14-16,13 1 0,-13 13 16,67-27-16,-67 14 0,-13 12 0,39-12 15,-52 13-15,0-1 16,-27 14-16,13-13 0,-12 13 16,12-13-16,-13 13 0,0 0 15,-13-13-15,14 13 0,-1 0 0,-13-14 16,-13 1 31</inkml:trace>
  <inkml:trace contextRef="#ctx0" brushRef="#br0" timeOffset="145192.5">12515 5173 0,'39'0'15,"-25"0"-15,12 0 0,-13 0 0,1 0 16,12 0-16,-13 0 16,1 0-16,25 0 0,-26 0 15,14 0-15,-14 0 0,0 0 0,1 0 16,-1 0-16,0 0 0,0 0 16,-13 13-16,14-13 0,-1 0 0,-13 13 15,13-13-15,-13 13 0,0 1 0,13-14 16,-13 13-16,0 0 0,0 0 15,-13 14-15,13-14 0,-13 27 16,0-27-16,-1 13 0,14-12 16,-13-1-16,0 0 0,13 0 0,-13 0 15,13 1-15,-14-1 0,14 0 0,-13 0 16</inkml:trace>
  <inkml:trace contextRef="#ctx0" brushRef="#br1" timeOffset="154186.64">13652 4921 0,'-13'-13'0,"0"39"47,13-12-47,-13-1 0,13 0 16,-13 0-16,13 1 0,-14 25 15,14-12-15,0-14 0,0 27 16,0-14-16,0-13 16,0 1-16,0-1 0,0 0 0,0 0 15,14 1-15,-14-1 0,13-13 0,0 13 0,0-13 16,0 0-1,1 0-15,-1 0 0,0-13 0,0 13 16,1-13-16,-1 13 0,0-14 0,0 1 16,1-13-16,-1 12 0,-13 1 15,0 0-15,0 0 0,0-1 16,0 1-16,0 0 0,0-13 0,0 12 16,-13-12-16,-1 13 0,14-1 15,-13 1-15,13 0 0,-13 0 16,0-1-16,-1 14 15,14-13-15,-26 13 0,13 0 16,13 13 0,-14-13-16,14 14 15,14-1-15</inkml:trace>
  <inkml:trace contextRef="#ctx0" brushRef="#br1" timeOffset="154559.64">14010 4908 0,'-27'13'32,"27"0"-32,-13 1 0,13-1 15,0 0-15,0 0 16,-13 1-16,13-1 0,13 13 15,-13-12-15,13-1 16,0 0-16,1-13 16,-1 0-16,13 0 15,-12 0-15,-14-13 0,13 13 0,0 0 16,-13-13-16,13-1 0,1 1 16,-14 0-16,13 0 0,-13-1 0,13 1 15,-13 0-15,0-14 0,0 14 0,0 0 16,13 0-16,-13 0 0,0-1 15,0 1-15,0 0 0,0 0 16</inkml:trace>
  <inkml:trace contextRef="#ctx0" brushRef="#br1" timeOffset="154826.29">14340 4696 0,'0'-13'16,"0"40"15,0-14-15,0 0-16,0 0 0,0 0 0,0 27 15,0-27-15,0 14 16,0-14-16,0 0 0,0 1 0,0 12 16,0-13-16,0 0 0,14 1 15,-14-1 1,13 0-16</inkml:trace>
  <inkml:trace contextRef="#ctx0" brushRef="#br1" timeOffset="155017.31">14248 4908 0,'0'0'15,"13"-26"1,0 26 0,1-14-16,-1 14 15,0 0-15,0-13 0,27 0 16,-27 13-16,0-13 0,14-1 15,-1 14-15,-13-13 16,1 13-16</inkml:trace>
  <inkml:trace contextRef="#ctx0" brushRef="#br1" timeOffset="155356.5">14658 4604 0,'0'0'0,"0"26"46,0-13-46,0 1 0,13-1 16,-13 0-16,0 14 0,0-14 16,13 13-16,-13-13 0,0 14 0,0-14 15,14 14-15,-14-1 16,13-13-16,-13 1 0,13-14 0,-13 13 16,13-13-16,1 0 15,-1 0-15,0-13 16,0 13-16,-13-14 15,13 1-15,1 0 0,-1 13 16,-13-13-16,13 13 16,0 13-1,-13 0 1,0 0-16,14 1 0,-14-1 16,0 0-1,0 0-15</inkml:trace>
  <inkml:trace contextRef="#ctx0" brushRef="#br1" timeOffset="155528.31">14975 4630 0,'0'-13'0,"-13"13"15</inkml:trace>
  <inkml:trace contextRef="#ctx0" brushRef="#br1" timeOffset="156162.51">15147 4789 0,'-13'-13'0,"13"-1"16,-13 1 0,13 0-16,-13 13 15,-1 0 1,1 13-16,0 0 16,13 1-1,0-1-15,0 0 16,0 0-16,0 1 15,13-14-15,-13 13 0,13-13 16,1 13-16,-1-13 0,0 0 16,0-13-16,1 13 0,-1 0 15,0-13-15,0 13 16,1-14-16,-14 1 0,26 0 16,-26 0-16,13 13 0,-13-14 0,13 14 15,1-13-15,-1 13 16,0 13-1,-13 1-15,0-1 16,0 0-16,-13 0 16,13 1-16,0-1 15,0 0 1,13-39 15,-13 12-31,13 14 16,-13-13-16,14 0 0,-1 0 15,0-1-15</inkml:trace>
  <inkml:trace contextRef="#ctx0" brushRef="#br1" timeOffset="156444.94">14023 5331 0,'40'-26'16,"-14"26"0,1-13-16,25-1 0,1-12 15,212-53 1,-106 52-16,-93 1 15,66-1-15,-66 14 0,133-27 47</inkml:trace>
  <inkml:trace contextRef="#ctx0" brushRef="#br1" timeOffset="156692.37">14168 5345 0,'67'-14'32,"-54"14"-32,13-13 15,54 0-15,-41 0 0,1 13 16,0-14-16,13 1 0,26 0 0,-26 0 15,-13 0-15,-14 13 0,27-14 16,-13 1 0,-27 13-16,0 0 0,0 0 15,1 0-15,-1 0 16,0-13-16</inkml:trace>
  <inkml:trace contextRef="#ctx0" brushRef="#br1" timeOffset="158112.31">14512 5411 0,'14'13'0,"-1"0"16,13 0-16,1 1 16,12-1-16,67 27 0,-40-27 15,1 13-15,-1-13 0,13 14 0,-13-14 16,0 14-16,1-14 0,-1 13 16,0-12-16,-13-1 0,13 0 15,-26 0-15,52 14 0,-52-14 16,0-13-16,-14 13 0,0-13 0,-12 0 15,12 13-15,-13-13 0,1 0 16,-1 14-16,0-14 0,0 0 16,-13-14 31,0 1-32</inkml:trace>
  <inkml:trace contextRef="#ctx0" brushRef="#br1" timeOffset="158537.57">15769 5649 0,'13'13'16,"1"-13"-16,-14 13 0,13 1 16,13 12-16,-12-13 15,-1 0-15,-13 1 16,13-1-16,-13 0 0,0 0 0,0 1 0,0-1 15,0 13-15,-13-12 0,-14 12 16,1 14-16,-1-14 0,-26 14 16,14-1-16,-14 14 0,0-13 0</inkml:trace>
</inkml:ink>
</file>

<file path=ppt/ink/ink12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08:31.607"/>
    </inkml:context>
    <inkml:brush xml:id="br0">
      <inkml:brushProperty name="width" value="0.05292" units="cm"/>
      <inkml:brushProperty name="height" value="0.05292" units="cm"/>
      <inkml:brushProperty name="color" value="#FF0000"/>
    </inkml:brush>
  </inkml:definitions>
  <inkml:trace contextRef="#ctx0" brushRef="#br0">10067 5556 0,'53'0'63,"66"0"-48,67 0-15,78 0 16,93 0-16,252 0 16,39 0-16,0 0 15,67 0 1,-80 0-16,-53 0 15,26 0-15,-145 0 16,-132 0-16,-13 0 16,-120 0-16,-66 0 15,-52 0-15,-67 0 16</inkml:trace>
  <inkml:trace contextRef="#ctx0" brushRef="#br0" timeOffset="1191.16">7686 6390 0,'13'0'125,"80"0"-125,66 0 15,39 0-15,120 0 16,145 0-16,145 0 16,146 0-16,106 0 15,66 0-15,-26 0 16,-14 0-16,14 0 16,-120 0-16,-132 0 15,-184 0-15,-173 0 16,-119 0-16,-67 0 15,-78 0-15</inkml:trace>
  <inkml:trace contextRef="#ctx0" brushRef="#br0" timeOffset="5711.03">2897 8837 0,'119'0'63,"133"27"-48,184-27-15,199 0 16,53 0-16,198 0 16,54 0-16,25 0 15,67 0-15,-40 0 16,-92 0-16,-146 0 16,-251 0-16,-252 0 15,-132 0-15,-66 0 16</inkml:trace>
  <inkml:trace contextRef="#ctx0" brushRef="#br0" timeOffset="11087.17">16484 661 0,'0'-13'31,"0"40"-15,0-14-16,13 13 15,-13-12-15,0-1 0,0 13 16,0-12-16,0-1 0,0 13 0,0-13 15,0 14-15,0-14 0,0 0 0,0 14 16,0-14-16,-13 0 0,13 0 0,0 1 16,0-1-16</inkml:trace>
  <inkml:trace contextRef="#ctx0" brushRef="#br0" timeOffset="11338.25">16761 886 0,'14'0'0,"-14"14"31,13-1-31,-13 0 0,0 0 0,0 0 16,-13 1-16,13-1 0,0 0 15,-14 0-15,14 14 0,-13-14 16,13 0-16,-13 1 0,13-1 0,-13 0 16,13 0-16,-14-13 0</inkml:trace>
  <inkml:trace contextRef="#ctx0" brushRef="#br0" timeOffset="11751.98">17013 675 0,'26'0'0,"-52"0"0,52-14 0,-13 14 16,1 14-16,-1-14 16,0 13-16,-13 0 15,0 0-15,-13 14 16,13-14-16,-13 0 0,-1 14 0,1-14 16,0 0-16,0 0 0,13 1 15,-14-1-15,1 0 0,13 0 0,-13-13 16,13 14-16,-13-1 15,26 0 1,0-13 0,0 0-16,1 0 15,-1 0-15,0 0 0,0 0 16,1 0-16,-1-13 0,0 13 16,0 0-16,1 0 0</inkml:trace>
  <inkml:trace contextRef="#ctx0" brushRef="#br0" timeOffset="11957.56">17317 794 0,'13'13'0,"14"13"31,-14-12-31,-13-1 0,0 0 16,0 0-16,0 1 15,0-1-15,0 0 0,-13 13 0,-1-12 16,14-1-16,-13 0 16,13 0-16,-13-13 0</inkml:trace>
  <inkml:trace contextRef="#ctx0" brushRef="#br0" timeOffset="12377.47">17568 622 0,'14'-13'0,"-1"26"31,0 0-31,-13 0 16,0 0-16,0 1 16,0-1-16,13 0 15,0 0 1,1-13-16,-1 14 0,0-1 15,0-13-15,-13 26 16,14-26-16,-14 14 16,-14-1-16,14 0 0,-13 0 15,0 0-15,0 1 0,-1-14 16,14 13-16,-13 0 0,0-13 16,13 13-16</inkml:trace>
  <inkml:trace contextRef="#ctx0" brushRef="#br0" timeOffset="12637.17">17952 728 0,'13'13'16,"-13"0"-16,0 0 16,0 1-16,0-1 0,0 0 15,-13 0-15,13 0 0,-13 1 16,13-1-16,-13 0 0,-1 0 16,1 14-16,0-14 15</inkml:trace>
  <inkml:trace contextRef="#ctx0" brushRef="#br0" timeOffset="13003.98">18256 569 0,'0'0'0,"0"13"16,-13 0 0,13 1-16,-13-1 0,0 0 15,13 0-15,-14 0 0,1 1 0,13-1 16,-13 0-16,0 0 0,-1 1 16,14-1-16,-13 0 15,13 0 1,0 1-16,13-14 15,1 13-15,-1-13 16,0 0-16,0 0 0,1 0 16,-1 0-16,0 0 0,0 0 0,0-13 15,1 13-15,-1 0 0,0-14 16,0 14-16,1 0 0,-14-13 16,13 13-16</inkml:trace>
  <inkml:trace contextRef="#ctx0" brushRef="#br0" timeOffset="13270.9">18269 542 0,'-13'53'31,"13"-39"-31,0-1 16,0 13-16,0-13 0,0 27 15,0-13-15,-13-14 0,13 13 0,0 1 16,0 12-16,-13-25 16,13-1-16,13-13 0,-13 26 15,0-12-15</inkml:trace>
  <inkml:trace contextRef="#ctx0" brushRef="#br0" timeOffset="13544">18640 648 0,'26'27'32,"-26"-14"-32,14 0 15,-14 0-15,0 1 0,13-1 0,-13 13 0,0-12 16,0-1-16,0 0 0,0 13 16,0-12-16,0-1 0,-13 0 15,13 0-15,0 1 0,-14-1 0,14 0 0,-13 0 16</inkml:trace>
  <inkml:trace contextRef="#ctx0" brushRef="#br0" timeOffset="15054.21">19024 569 0,'13'0'0,"0"0"16,-13-13-16,13 13 16,0 0-1,1 0-15,-41 0 31,14 13-15,0-13-16,0 13 0,-1-13 16,1 0-16,0 13 0,0-13 15,13 14-15,-14-14 16,14 13 0,14 0-1,-1 0-15,0-13 16,0 13-16,1-13 0,-14 14 15,13-14-15,0 13 0,0-13 16,-13 13-16,13-13 0,-13 13 16,0 1-16,0-1 0,-13-13 15,13 13-15,-13 0 0,13 1 16,-13-14-16,0 13 0,-1 0 0,1-13 16,0 13-16,0-13 0,-1 0 15,1 13-15,0-13 0,0 0 16</inkml:trace>
  <inkml:trace contextRef="#ctx0" brushRef="#br0" timeOffset="15416.9">19248 609 0,'-13'13'15,"0"0"1,0 0-16,13 0 16,0 1-16,-13-1 0,13 0 15,0 0-15,0 1 0,0-1 16,13 0-16,0 0 0,0 1 16,0-14-16,1 0 15,-1 0-15,0 0 0,0 0 16,1-14-16,-1 14 0,0-13 15,0 0-15,1 0 16,-14-1-16,0 1 0,0 0 0,0 0 16,0-1-16,0 1 0,-14 13 15,14-13-15,-13 0 0,0 0 16,0-1-16,-1 14 16,-12 0-16,13 0 15</inkml:trace>
  <inkml:trace contextRef="#ctx0" brushRef="#br0" timeOffset="15711.92">19434 582 0,'0'13'16,"0"1"-16,0-1 15,0 0-15,0 0 0,13 0 16,-13 1-16,0-1 0,13 0 15,-13 0-15,13-13 16,-13 14-16,14-14 0,-1 13 0,0-13 16,0 0-16,0 0 0,14 0 15,-14 0-15,-13-13 16,13 13-16,1-14 0,-1 1 16,-13 0-16,0 0 0,0-1 15,-13 1-15,13 0 16,-14 0-16,14 0 0,-13 13 15,0-14-15,0 14 16,-1-13-16,1 26 0,0-13 16</inkml:trace>
  <inkml:trace contextRef="#ctx0" brushRef="#br0" timeOffset="16069.24">19910 661 0,'0'-13'0,"13"0"16,0 13-16,1 0 16,-1-13-16,13 13 15,-13-13-15,1 13 0,-1 0 16,0 0-16,0 0 0,-13-14 0,14 14 15,-1 0-15,0 0 0,-13 14 16</inkml:trace>
  <inkml:trace contextRef="#ctx0" brushRef="#br0" timeOffset="16234.11">19923 728 0,'27'0'31,"-14"0"-31,0-14 16,0 14-16,0 0 0,1 0 0,-1-13 15,0 13-15,0 0 16,1 0-16,-1 0 0</inkml:trace>
  <inkml:trace contextRef="#ctx0" brushRef="#br0" timeOffset="17042.02">20757 423 0,'13'27'32,"-13"-14"-32,0 0 15,-13 0-15,13 1 0,0-1 16,0 13-16,0-12 0,0-1 0,0 13 16,0-12-16,0-1 0,0 0 15,0 0-15,0 0 0,0 1 0,0-1 16,0 0-16,0 0 15,0-39 32,13 13-47,-13-1 0,0-12 0,0 13 16,13-14-16,-13 1 16,13-1-16,-13 1 0,13-1 0,-13 14 0,0-13 15,14 13-15,-14-1 0,13 1 16,-13 0-16,0 0 15,13 13-15,0 13 16,1-13-16,-14 13 0,13 0 16,-13 1-16,0-1 0,13 0 15,-13 0-15,0 14 0,13-14 0,-13 0 16,0 0-16,14 14 0,-14-14 16,0 0-16,0 1 0,13 12 15,-13-13-15,0 0 16,13-13-16,-13 14 0</inkml:trace>
  <inkml:trace contextRef="#ctx0" brushRef="#br0" timeOffset="17234.18">20770 648 0,'-13'0'0,"26"0"0,-26-13 16,26 13-1,0-13-15,0 13 16,0 0-16,1-13 0,-1 13 0,13 0 16,-12-14-16,12 14 15,-13 0-15,27-13 0,-14 13 16,-12 0-16,-1 0 0</inkml:trace>
  <inkml:trace contextRef="#ctx0" brushRef="#br0" timeOffset="17729.2">21193 635 0,'-13'-13'16,"13"0"-1,0-1-15,0 1 16,0 0-16,0 0 0,0-1 16,0 1-16,0 0 0,0 0 0,13-1 15,-13 1-15,0 0 0,0 0 16,0 0 0,0 52 30,13-39-30,-13 13-16,14-13 16,-1 0-16,0 0 15,0 0-15,0-13 0,1 13 16,-1 0-16,0-13 16,0 13-16,1 0 15,-14 13 1,13-13-16,-13 13 15,13 1-15,-13-1 16,0 0-16,13 0 16,-13 1-16,14-1 15,-1 0 1</inkml:trace>
  <inkml:trace contextRef="#ctx0" brushRef="#br0" timeOffset="17939.23">21683 463 0,'13'0'16,"0"-13"-16,14 13 15,-14-13 1,0 13-16,0 0 15,0 13 1</inkml:trace>
  <inkml:trace contextRef="#ctx0" brushRef="#br0" timeOffset="18104">21669 569 0,'-13'13'16,"40"-13"-1,-14 0 1,0 0-16,0 0 16,1 0-16,-1-13 15,0 13-15</inkml:trace>
  <inkml:trace contextRef="#ctx0" brushRef="#br0" timeOffset="28624.1">22423 503 0,'-13'53'0,"13"-40"0,0 13 15,-13-26 1,13 14-16,0-1 0,0 0 16,0 0-16</inkml:trace>
  <inkml:trace contextRef="#ctx0" brushRef="#br0" timeOffset="29420.1">22807 450 0,'-13'-13'16,"0"13"-16,-1 0 15,1 0 1,0 0 0,13 13-16,-13-13 15,13 13 1,0 13-16,13-12 16,-13-1-16,0 0 0,13 0 15,-13 1-15,0-1 0,13 0 16,-13 0-16,0 1 0,0-1 0,0 0 15,0 0-15,0 0 0,-13 1 16,13-1-16,-13-13 16,13 13-16,-13-13 0,-1 13 0,1-13 15,0 14 1,0-28 0,26 1-1,0 0-15,0 0 16,1-1-16,-1 1 0,0 0 0,0 13 15,-13-13-15,14 0 0,-1-1 16,-13 1-16,13 0 0,-13 0 0,0-1 16,13 1-16,-13 0 0,0 0 15,0-14 1,-13 27-16,13-13 0,-13 0 16,0 13-16,-1 0 15,1-13 1,0 26-16</inkml:trace>
  <inkml:trace contextRef="#ctx0" brushRef="#br0" timeOffset="29749.1">23058 542 0,'14'14'16,"-14"-1"-16,13-13 15,-13 13-15,13-13 0,0 0 0,1 0 16,12 0-16,-26-13 16,13 13-16,1 0 0,-14-13 15,13 13-15,0-14 0,-13 1 16,0 0-16,0 0 0,0-1 15,0 1-15,-13 13 16,13-13-16,-13 0 0,-1 13 16,1 0-16,-13-13 0,12 13 15,1 0-15,-13 0 0,12 0 0,-12 0 16,13 13-16,-14-13 0,1 0 16,13 13-16,-14-13 0</inkml:trace>
  <inkml:trace contextRef="#ctx0" brushRef="#br0" timeOffset="31295.23">21061 1402 0,'13'14'16,"0"-1"-1,-13 0-15,0 13 16,14-12-16,-14-1 16,0 13-16,0-12 0,0-1 0,13 0 15,-13 0-15,0 1 0,0-1 0,0 0 16,0 0-16,13 0 0</inkml:trace>
  <inkml:trace contextRef="#ctx0" brushRef="#br0" timeOffset="31492.65">21365 1349 0,'0'-13'0,"0"26"0,0 1 47,13-1-47,-13 13 0,0-12 16,0-1-16,0 0 0,0 0 0,0 0 15,14 1-15,-14-1 0,0 0 16,0 0-16,0 1 0,0-1 16</inkml:trace>
  <inkml:trace contextRef="#ctx0" brushRef="#br0" timeOffset="31680.29">21167 1548 0,'-14'0'16,"54"-27"15,-27 27-31,1 0 0,-1 0 0,0 0 15,0-13-15,27 13 0,-27 0 16</inkml:trace>
  <inkml:trace contextRef="#ctx0" brushRef="#br0" timeOffset="32160.15">21630 1548 0,'-14'-13'47,"14"-1"-47,0 1 16,0 0-16,14 0 15,-14-1 1,0 1 0,13 26 15,0 1-16,0-14-15,-13 13 16,14-13-16,-1 0 16,-13 13-16,13-13 0,0 13 15,1-13-15,-1 0 16,0 14-16,0-14 16,0 0-16,1 0 15,-1 0 1</inkml:trace>
  <inkml:trace contextRef="#ctx0" brushRef="#br0" timeOffset="33053.71">18177 1468 0,'26'-13'16,"1"0"0,-54 26 31,14-13-47,0 13 0,0-13 0,-1 0 15,14 14-15,-13-14 0,13 13 16,0 0-1,13 0 1,1 1-16,-1-1 16,0-13-16,-13 13 0,13-13 0,-13 13 15,14 1-15,-14-1 16,0 0 0,-14-13-16,14 13 0,-13-13 0,13 13 15,-13-13-15,0 0 0,-1 14 16,1-14-16,0 13 0,0 0 0,0-13 15,-14 13-15,14-13 0,-14 14 16</inkml:trace>
  <inkml:trace contextRef="#ctx0" brushRef="#br0" timeOffset="33395.33">16444 2090 0,'40'0'15,"-1"0"1,1-13-16,39 13 0,1 0 0,26-13 16,13 0-16,0-1 0,13 1 0,13 0 15,1 0-15,-1-14 0,1 14 16,13-14-16,-14 1 0,14 0 0,132-14 15,-145 27-15,-14-1 16,-13-12-16,-26 13 0,-1 13 0,1-14 16,-14 1-16,-13 13 0,-13-13 15,40 13-15,-80 0 0,13-13 16,-12 13-16,-1 0 0,0 0 16,-39 0-1,12 13-15</inkml:trace>
  <inkml:trace contextRef="#ctx0" brushRef="#br0" timeOffset="34005.58">16669 2381 0,'0'0'0,"0"27"47,0-14-47,0 0 16,0 0-16,-13 1 0,13-1 0,0 0 15,-14 0-15,14 1 0,0-1 0,-13 0 16,13 0-16,0 0 0,-13 1 16,13-1-16,0 0 0</inkml:trace>
  <inkml:trace contextRef="#ctx0" brushRef="#br0" timeOffset="34652.21">16828 2606 0,'-14'0'16,"1"0"-16,0 13 0,-14 1 15,1-1-15,-1 0 0,1 14 16,0-14-16,-14 13 0,-92 54 31,105-67-31,14 0 0,-14 0 0,14 1 16,0-14-16,0 13 0,-1 0 16,1 0-16,0 0 15,13 1-15</inkml:trace>
  <inkml:trace contextRef="#ctx0" brushRef="#br0" timeOffset="34950.18">16761 2844 0,'0'14'16,"0"-1"-16,0 53 31,0-53-31,0 0 0,0 1 15,0-1-15,0 0 0,0 0 16,0 0-16,0 1 16</inkml:trace>
  <inkml:trace contextRef="#ctx0" brushRef="#br0" timeOffset="35312.93">17119 2434 0,'0'40'32,"0"-27"-32,0 0 15,0 14-15,0-14 0,0 13 16,0-12-16,0-1 0,0 0 15,0 0-15,0 1 0,13-1 16,-13 0-16,0 0 0</inkml:trace>
  <inkml:trace contextRef="#ctx0" brushRef="#br0" timeOffset="35517.1">17039 2606 0,'-13'-13'16,"26"13"-16,0-13 15,1 13-15,-1 0 16,0 0-16,0-14 0,14 14 0,-14 0 16,0 0-16,0-13 0,1 13 15,12 0-15,-13-13 0</inkml:trace>
  <inkml:trace contextRef="#ctx0" brushRef="#br0" timeOffset="35772.24">17489 2302 0,'0'40'31,"0"-27"-31,0 0 0,-13 13 16,13 1-16,0-14 0,0 27 16,0-27-16,0 0 0,0 1 15,0-1-15,0 0 0,13-13 16</inkml:trace>
  <inkml:trace contextRef="#ctx0" brushRef="#br0" timeOffset="35985.18">17714 2421 0,'-27'13'15,"27"0"1,-13 1-16,0-1 0,0 0 15,-1 14-15,1-1 0,-13 14 0,13-14 16,-14 1-16,14-1 0,-14 14 16,14-27-16,0 0 0,13 14 15,-13-14-15,-1 0 0,14 0 16,-13 1-16</inkml:trace>
  <inkml:trace contextRef="#ctx0" brushRef="#br0" timeOffset="36370.1">17687 2699 0,'27'0'0,"-14"0"0,0 0 0,1 13 16,-14 0 0,0 0-16,0 1 15,0-1-15,-14 0 0,1 14 16,0-14-16,0-13 0,13 13 16,-14 0-16,1 1 0,13-1 15,-13-13 1,13 13-16,13 0 15,14-13 1,-14-13-16,0 13 16,0 0-16,1 0 0,12-13 0,-13 13 15,0-13-15,1 13 0,-1-14 16,0 1-16,0 13 0,1-13 16,-1 0-16</inkml:trace>
  <inkml:trace contextRef="#ctx0" brushRef="#br0" timeOffset="36578.11">18018 2328 0,'0'27'31,"13"-14"-31,-13 0 16,14 0-16,-14 1 0,13 12 15,-13-13-15,0 1 0,13-1 16,-13 0-16,0 0 0,0 14 16</inkml:trace>
  <inkml:trace contextRef="#ctx0" brushRef="#br0" timeOffset="36766.17">17926 2500 0,'-14'0'0,"28"-13"0,-1 13 15,0 0-15,0-13 0,0 13 16,40-13 0,-39-1-16,-1 14 15,0-13-15</inkml:trace>
  <inkml:trace contextRef="#ctx0" brushRef="#br0" timeOffset="36970.44">18283 2209 0,'13'27'16,"-13"-14"-1,0 13-15,0-12 0,0-1 16,0 0-16,0 0 0,0 1 16,0-1-16,0 0 0,0 0 15,13-13-15,-13 13 0</inkml:trace>
  <inkml:trace contextRef="#ctx0" brushRef="#br0" timeOffset="37176.15">18508 2302 0,'0'0'16,"-14"26"15,1-12-31,13-1 0,-26 0 0,12 0 16,1 14-16,0-1 0,-13 1 0,12-14 16,1 13-16,0-12 0,0 12 15,-1-13-15,1 0 0,13 1 0,-13-14 16,13 13-16,0 0 0,0 0 15</inkml:trace>
  <inkml:trace contextRef="#ctx0" brushRef="#br0" timeOffset="37618.33">18415 2606 0,'26'-13'32,"-12"26"-32,-1-13 15,0 13-15,0 1 16,-13-1 0,14 0-16,-14 0 15,13 1-15,-13-1 16,13 0-16,-13 0 15,0 0-15,0 1 16,0-1-16,-13 0 16,0 0-1,-1-13-15,14 14 0,-13-14 16,0 0-16</inkml:trace>
  <inkml:trace contextRef="#ctx0" brushRef="#br0" timeOffset="37829.21">18719 2262 0,'27'13'16,"-27"1"-1,13-1-15,-13 0 16,0 0-16,0 1 0,0-1 15,13 0-15,-13 13 0,0 1 16,0-14-16,0 0 0,0 1 16,0-1-16</inkml:trace>
  <inkml:trace contextRef="#ctx0" brushRef="#br0" timeOffset="38013.21">18666 2408 0,'14'-14'16,"-1"14"-1,0-13 1,0 13-16,0 0 16,1 0-16,-1 0 0,0 0 15</inkml:trace>
  <inkml:trace contextRef="#ctx0" brushRef="#br0" timeOffset="38220.25">18931 2209 0,'0'-13'16,"13"39"15,-13-12-31,0-1 15,0 0-15,0 0 0,0 1 16,0-1-16,0 0 0,0 0 16,-13 1-16,26-1 15,-13 0-15</inkml:trace>
  <inkml:trace contextRef="#ctx0" brushRef="#br0" timeOffset="38435.93">19196 2275 0,'0'-13'16,"-14"40"-1,14-14 1,-13 0-16,0 0 0,0 1 16,-1 12-16,1-13 0,0 14 0,0-14 15,-1 13-15,1-12 0,0-1 0,0 13 16,0-12-16,-1-1 0,1 0 15,0 0-15,0 0 0,13 1 0,0-1 16,-14-13-16</inkml:trace>
  <inkml:trace contextRef="#ctx0" brushRef="#br0" timeOffset="38753.15">19209 2514 0,'13'0'16,"-39"13"0,26 0-16,-14-13 15,1 13-15,0 0 0,0-13 16,13 14-16,-14-1 0,1 0 0,0-13 16,13 13-16,-13 1 0,-1-1 15,1 0 1,13 0-16,13 1 15,1-14 1,12 0 0,-13 0-16,1 0 15,-1 0-15,0-14 0,0 14 0,1-13 16,12 0-16,-13 0 16,0-1-16</inkml:trace>
  <inkml:trace contextRef="#ctx0" brushRef="#br0" timeOffset="38958.18">19301 2514 0,'0'-14'16,"-13"28"15,13-1-31,0 0 16,-13 0-16,13 0 0,0 14 16,0-14-16,0 0 0,0 1 15,0-1-15,0 0 0,13 0 0,-13 1 16,0-1-16,0 0 0,0 0 15,0 0-15,13 1 16,1-14 0</inkml:trace>
  <inkml:trace contextRef="#ctx0" brushRef="#br0" timeOffset="39269.21">19513 2183 0,'-13'26'32,"13"-13"-32,0 1 0,13-1 15,-13 0-15,0 0 0,0 1 16,0-1-16,0 0 0,0 0 16,0 1-16,0 12 0,0-13 15,0 0-15</inkml:trace>
  <inkml:trace contextRef="#ctx0" brushRef="#br0" timeOffset="39467.98">19407 2302 0,'13'-13'16,"1"13"-16,-1 0 15,0 0-15,0 0 0,1-14 16,-1 14-16,0 0 0,0 0 0,14 0 16,-14 0-16,0 0 0,0 0 15,1 0-15,-1 0 0</inkml:trace>
  <inkml:trace contextRef="#ctx0" brushRef="#br0" timeOffset="40156.11">19870 2064 0,'13'26'47,"-13"-13"-47,0 1 16,0-1-16,0 0 0,-13 0 0,13 1 15,0-1-15,0 0 0,-13-13 16,13 13-16,0 0 0</inkml:trace>
  <inkml:trace contextRef="#ctx0" brushRef="#br0" timeOffset="40428.04">20122 2117 0,'0'-14'0,"0"28"0,-14-1 15,1 0 1,0 0-16,0 1 0,-14 12 16,1 14-16,-1-14 0,1 1 15,-1 12-15,1-12 0,-1-1 0,-12 40 16,12-39-16,1 13 16,13-14-16,-1-13 0,14 0 15,-13 1-15,13-1 16,13-13-1</inkml:trace>
  <inkml:trace contextRef="#ctx0" brushRef="#br0" timeOffset="41092.78">20095 2474 0,'-66'13'156,"132"-26"-156,-159 79 31,107-53-15,25 67-1,-52-80-15,-40 53 0,27-53 16,13 13-16,-1-13 0,1-13 31</inkml:trace>
  <inkml:trace contextRef="#ctx0" brushRef="#br0" timeOffset="41433.08">20135 2514 0,'13'-14'0,"-13"28"31,0-1-31,0 0 16,0 0-16,0 0 16,13-13-16,-13 14 0,0-1 15,13-13-15,-13 13 0,14-13 0,-1 0 16,0 13-16,0-13 15,1-13-15,-1 13 0,0 0 16,0 0-16,1-13 0,-1 0 16,0-1-1,-13 1-15,0 0 16,-13 13-16,13-13 16,-13 13-16,13-13 15,-14 13-15,1 0 0,0 0 0,0 0 16,-1 0-16,1 0 15,0 0-15</inkml:trace>
  <inkml:trace contextRef="#ctx0" brushRef="#br0" timeOffset="41733.55">20346 2500 0,'0'14'0,"0"-28"0,0 41 0,14-27 16,-14 13-16,0 0 16,13-13-16,0 13 0,0-13 15,1 0-15,-1 0 0,0 0 0,0 0 16,1 0-16,-1 0 0,0 0 16,13 0-16,-12-13 0,-1 13 15,0 0-15,0-13 0,1 13 0,-1-13 16,-13 0-16,0-1 15,0 1-15,0 0 16,-13 13-16,13-13 16,-14 13-16,1 0 0,0-14 0,0 14 15,-14 0-15,14 0 0,-13 0 16,12 0-16,1-13 0</inkml:trace>
  <inkml:trace contextRef="#ctx0" brushRef="#br0" timeOffset="42500.96">22384 1402 0,'39'-13'31,"-25"13"-31,-1 0 0,0 0 16,14 0-16,-14 0 0,0 0 16</inkml:trace>
  <inkml:trace contextRef="#ctx0" brushRef="#br0" timeOffset="42644.3">22331 1548 0,'13'-13'16,"-26"26"-16,39-26 0,-12 13 15,-1-14-15,0 14 0,0 0 0</inkml:trace>
  <inkml:trace contextRef="#ctx0" brushRef="#br0" timeOffset="43138.14">20360 1574 0,'26'0'31,"-13"0"-31,1 0 16,-1 0-16,0 0 15,0 0-15</inkml:trace>
  <inkml:trace contextRef="#ctx0" brushRef="#br0" timeOffset="43295.95">20307 1720 0,'26'0'15,"-13"0"1,1 0-16,-1 0 0,0 0 0,0-13 15</inkml:trace>
  <inkml:trace contextRef="#ctx0" brushRef="#br0" timeOffset="49571.28">20518 2421 0,'0'-13'0,"-13"13"16,0 0-1,0 0 1,0 0 0,13 13-16,-14-13 0,1 0 15,0 13-15,0 0 16,-1 1-16,14-1 16,-13-13-16,13 13 0,-13 0 15,13 1-15,0-1 16,0 0-16,-13 0 15,26-13-15,-13 13 16</inkml:trace>
  <inkml:trace contextRef="#ctx0" brushRef="#br0" timeOffset="51021.02">22529 886 0,'27'-13'16,"-14"13"-16,0 0 0,0 0 16,14-13-16,-14 13 0,14 0 0,12-13 15,-12 13-15,-1-14 0,14 14 16,-14-13-16,14 13 0,-14 0 0,1-13 16,-1 13-16,1-13 0,-1 13 15,-12 0-15,-1 0 0</inkml:trace>
  <inkml:trace contextRef="#ctx0" brushRef="#br0" timeOffset="51270.2">22503 966 0,'39'0'0,"1"-14"0,92 1 31,-52 0-31,-54 0 16,14 0-16,-14 13 0,1-14 16,-1 14-16,27-13 15,-39 13-15,-1-13 0,0 13 0,0 0 16,0 0-16,1 0 0,-1-13 16,0 13-1</inkml:trace>
  <inkml:trace contextRef="#ctx0" brushRef="#br0" timeOffset="57700.18">19897 4194 0,'39'0'0,"-25"0"0,25 0 16,1-14-16,13 14 15,13-13-15,13 0 0,1 0 0,39 0 16,0-14-16,0 14 0,13-14 0,133-12 16,-120 25-16,1-12 15,-1 13-15,1 0 0,-14-1 0,146-12 16,-146 13-16,-26 13 0,-13 0 16,-1-14-16,-12 14 0,-1 0 0,-13 0 15,-13 0-15,-13 0 0,-14 0 16,1 0-16,-14 0 0,0 0 0,-39 14 31,-1-14-31,1 0 0,-27 0 16,0 13-16</inkml:trace>
  <inkml:trace contextRef="#ctx0" brushRef="#br0" timeOffset="58157.92">20135 4617 0,'0'40'31,"0"-27"-31,-13 13 16,13-12-16,0 25 15,0-12-15,0-14 0,-14 0 0,14 14 16,0-14-16,0 0 0,-13 14 16,13-14-16,0 0 15,0 0-15,0 0 0,0 1 0</inkml:trace>
  <inkml:trace contextRef="#ctx0" brushRef="#br0" timeOffset="58377.06">20492 4564 0,'13'27'31,"-13"-1"-15,0-13-16,0 14 0,0-14 0,0 0 16,0 14-16,0-14 0,-13 0 0,13 0 15,0 0-15,0 14 0,0-14 16,-13 0-16,13 1 0,0-1 16,-13 0-16</inkml:trace>
  <inkml:trace contextRef="#ctx0" brushRef="#br0" timeOffset="58588.2">20227 4815 0,'27'0'31,"-14"0"-31,0-13 0,1 13 16,12 0-16,-13 0 0,14 0 15,-14 0-15,13-13 0,-12 13 16,12 0-16,1 0 0,-14-13 0,13 13 16,-13 0-16,1 0 0,-1 0 0,0-14 15</inkml:trace>
  <inkml:trace contextRef="#ctx0" brushRef="#br0" timeOffset="58969.49">20823 4643 0,'-27'40'15,"27"-27"-15,-13 1 16,13-1-16,0 0 0,0 0 15,0 0-15,13 14 16,-13-14-16,13-13 0,1 13 0,-1-13 16,0 0-16,0 0 0,1 0 15,-1 0-15,0 0 0,0 0 16,-13-13-16,14 13 0,-14-13 16,0 0-16,0-14 15,0 14-15,0 0 16,-14 0-16,1-1 0,13 1 15,-13 0-15,0 0 0,-1 13 16,1 0-16,13-14 16,-13 14-16,0 0 15,-1 14-15</inkml:trace>
  <inkml:trace contextRef="#ctx0" brushRef="#br0" timeOffset="59270">21127 4696 0,'0'0'0</inkml:trace>
  <inkml:trace contextRef="#ctx0" brushRef="#br0" timeOffset="59653.33">21431 4591 0,'-13'-14'16,"-13"28"-16,12-14 16,1 13-16,0-13 0,13 13 15,-13-13 1,13 13-16,13 0 16,-13 1-16,13-14 15,0 13-15,1 0 0,-1-13 16,-13 13-16,13-13 0,0 0 15,-13 14-15,13-1 16,-13 0-16,-13 0 16,13 0-1,-13-13-15,13 14 0,-13-14 0,0 13 16,-1-13-16,1 0 0,0 13 0,0-13 16,-1 13-16,1-13 15</inkml:trace>
  <inkml:trace contextRef="#ctx0" brushRef="#br0" timeOffset="59863.05">21683 4511 0,'13'-13'0,"0"39"31,-13-12-31,0-1 15,0 0-15,0 0 0,0 1 0,0-1 16,0 0-16,0 0 0,-13 14 16,13-14-16,13 0 0,-13 0 0,0 1 15,0-1-15,0 0 0</inkml:trace>
  <inkml:trace contextRef="#ctx0" brushRef="#br0" timeOffset="60052.33">21564 4710 0,'39'0'16,"-26"0"-16,1 0 16,12 0-16,-13-14 0,1 14 15,12 0-15,-13 0 0,1 0 16,-1 0-16,0 0 0,0-13 0,0 13 15,1 0-15,-1 0 0,0 0 16</inkml:trace>
  <inkml:trace contextRef="#ctx0" brushRef="#br0" timeOffset="63801.32">22146 4577 0,'0'-13'0,"-14"13"15,1 13 1,0 1 0,13-1-16,-13 13 15,13 1-15,-14-14 0,14 0 16,0 0-16,0 1 0,0-1 0,0 0 16,14 0-16,-14 0 0,0 1 0,13-14 15,0 13-15,0 0 16,1-13-16,-1 0 0,0 0 0,0 0 15,1 0-15,-1-13 0,0 13 0,0-13 16,0-1-16,-13 1 0,0 0 16,0 0-16,0 0 15,0-1-15,0 1 0,0 0 0,-13 0 16,13-1-16,-13 1 0,0 0 16,13 0-16,-13 13 15,13-13-15,-14 13 0,1 0 16,0 0-16,0 0 15</inkml:trace>
  <inkml:trace contextRef="#ctx0" brushRef="#br0" timeOffset="63943.73">22384 4617 0,'0'-13'0</inkml:trace>
  <inkml:trace contextRef="#ctx0" brushRef="#br0" timeOffset="64410.21">22476 4551 0,'53'13'31,"-53"0"-31,0 1 16,0-1-1,0 0 1,13 0-16,-13 0 15,14-13-15,-1 14 16,-13-1-16,13-13 16,-13 13-16,0 0 0,0 1 15,-13-14-15,13 13 16,0 0-16,-13-13 0,-1 13 16,1-13-16,13 13 0,-13-13 0,0 14 15,0-14-15,-1 0 16</inkml:trace>
  <inkml:trace contextRef="#ctx0" brushRef="#br0" timeOffset="64611.89">22767 4524 0,'14'-13'15,"-1"26"-15,-13 1 16,13-1-1,-13 0-15,0 0 0,0 1 16,0-1-16,0 0 0,13-13 16,-13 13-16,0 0 0,0 1 0,0-1 15,0 0-15,-13 0 16,13 1-16</inkml:trace>
  <inkml:trace contextRef="#ctx0" brushRef="#br0" timeOffset="64819.87">22609 4710 0,'13'-14'0,"0"14"0,0 0 16,1 0-16,12-13 0,-13 13 15,0 0-15,1 0 0,-1 0 0,27-13 31,-27 13-31,0 0 0,0 0 0,1 0 16,-14-13-16</inkml:trace>
  <inkml:trace contextRef="#ctx0" brushRef="#br0" timeOffset="69163.22">22688 4538 0,'0'-14'16,"13"1"15,0 13-15,1 0-1,-1 0-15,0 0 0,0 13 0,1-13 16,-1 0-16,-13 14 16,13-14-16,-13 13 0,13-13 0,-13 13 15,0 0-15,0 1 0,-13-1 16,0 0-16,0 0 16,-1-13-16,14 13 0,-13-13 15,0 14-15,0-14 0,-1 13 0,1 0 16,0-13-1,13 13-15,-13-13 16,39 0 15,-13 0-31,1 0 16,-1 0-16,0 14 0,0-14 16,1 0-16,-1 13 0,0-13 15,-13 13-15,13-13 0,1 0 16,-14 13-16,13 0 0,-13 1 15,-13-1 1,13 0-16,-14 0 0,1 1 16,0-14-16,0 13 0,-1-13 15,1 0-15,13 13 0,-13-13 16,0 0-16,-1 0 16,1 0-16</inkml:trace>
  <inkml:trace contextRef="#ctx0" brushRef="#br0" timeOffset="69455.36">23164 4538 0,'14'-14'15,"-14"41"1,0-14-16,-14 0 16,14 1-16,0-1 0,0 0 15,0 0-15,-13 0 0,13 1 16,0-1-16,0 0 0,0 0 15,0 1-15,0 12 16,0-13 0</inkml:trace>
  <inkml:trace contextRef="#ctx0" brushRef="#br0" timeOffset="69682.32">22953 4710 0,'-14'-14'0,"28"14"16,12 0-1,-13-13-15,1 13 0,-1 0 16,13 0-16,-13 0 0,14 0 0,-14-13 16,14 13-16,-14 0 0,0 0 15,0 0-15,27-13 0,-27 13 16,0 0-16,1 0 0,-14-14 0,13 14 15,0 0-15,0-13 16</inkml:trace>
  <inkml:trace contextRef="#ctx0" brushRef="#br0" timeOffset="70212.03">23574 4564 0,'-13'0'16,"0"13"-16,0-13 16,13 14-16,0-1 0,-14-13 0,14 13 15,0 0-15,0 0 0,-13 1 0,26-1 16,-13 0-16,0 0 15,14 1-15,-14-1 0,13-13 16,0 13-16,0-13 0,1 0 16,-1 0-16,0 0 15,0 0-15,-13-13 16,14 13-16,-14-13 16,0-1-16,-14 1 0,14 0 15,0 0-15,-13-1 0,13 1 16,0 0-16,-13 13 0,13-13 0,-13 0 15,-1-1 1,1 14 0</inkml:trace>
  <inkml:trace contextRef="#ctx0" brushRef="#br0" timeOffset="70378.05">23773 4630 0,'13'0'15,"0"-13"-15</inkml:trace>
  <inkml:trace contextRef="#ctx0" brushRef="#br0" timeOffset="70754.17">23998 4511 0,'26'0'15,"-26"13"-15,13-13 0,1 40 32,-28-27-32,14 1 15,-13-1-15,0 0 0,0 0 16,-1 0-16,1 1 0,13-1 16,-13-13-16,13 13 15,-13-13-15,26 13 31,0-13-31,0 0 16,1 0-16,-1 0 16,0 0-16,0 0 15,1 0-15,-1-13 16,0 13-16,0 0 16</inkml:trace>
  <inkml:trace contextRef="#ctx0" brushRef="#br0" timeOffset="71277.03">24368 4485 0,'0'-14'15,"-26"28"1,12-14-16,1 13 16,0-13-16,0 0 0,13 13 15,-13-13-15,-1 0 0,1 13 0,0-13 16,13 14-16,-13-14 16,13 13-16,0 0 15,13-13 1,-13 13-16,0 1 15,13-14-15,-13 13 0,13 0 16,-26 0 0,13 0-1,-13-13-15,13 14 16,-13-1-16,-1-13 16,1 13-16,0-13 15</inkml:trace>
  <inkml:trace contextRef="#ctx0" brushRef="#br0" timeOffset="71521.92">24619 4471 0,'14'27'31,"-14"-14"-15,0 0-16,0 1 0,0-1 0,0 0 16,13 0-16,-13 1 0,0-1 15,0 0-15,0 0 16,0 0-16,13 1 0,-13-1 16,-13 0-1</inkml:trace>
  <inkml:trace contextRef="#ctx0" brushRef="#br0" timeOffset="71739.02">24461 4643 0,'53'0'31,"-40"0"-31,13 0 0,-12 0 15,-1-13-15,26 13 0,-12 0 16,-14 0-16,0 0 0,1 0 16,12 0-16,-13 0 0,1 0 15,-1 0-15,-13-13 0,13 13 0,0 0 16,0 0-16</inkml:trace>
  <inkml:trace contextRef="#ctx0" brushRef="#br0" timeOffset="75415.89">23323 5424 0,'-26'26'32,"26"-12"-32,0-1 15,0 13-15,13-12 16,-13-1-16,0 0 16,13-13-16,0 13 0,-13 0 15,13-13-15,1 0 0,-14 14 0,13-14 16,0 0-16,0 0 0,1 0 15,-1 0-15,-13-14 16,13 14-16,-13-13 0,13 13 16,-13-13-16,0 0 0,-13-14 15,13 14 1,-13 0-16,0 0 0,-1 13 16,14-14-16,-13 14 0,0-13 15,0 13 1,-1 13-1</inkml:trace>
  <inkml:trace contextRef="#ctx0" brushRef="#br0" timeOffset="75579.67">23588 5411 0,'-14'13'47</inkml:trace>
  <inkml:trace contextRef="#ctx0" brushRef="#br0" timeOffset="76016.13">23707 5398 0,'-27'26'16,"27"-13"-1,-13 0-15,13 1 0,0-1 16,0 0-16,0 0 0,0 1 0,13-1 16,-13 0-16,13-13 15,1 13-15,-1 0 0,13-13 16,-12 0-16,-1 0 0,0 0 16,0 0-16,0 0 15,1 0-15,-14-13 0,13 13 16,-13-13-16,0 0 0,0 0 15,0-1 1,0 1-16,0 0 0,-13 13 0,13-13 16,0-1-16,-14 14 0,14-13 0,-13 13 15,0 0-15,13-13 0,-13 13 0,0 0 16,-1 0-16,1 13 16,0-13-16,0 0 15</inkml:trace>
  <inkml:trace contextRef="#ctx0" brushRef="#br0" timeOffset="76767.33">23971 5437 0,'-13'40'31,"13"-14"-15,0-12-16,0-1 15,13 0-15,0 0 16,-13 0-16,14-13 16,-1 0-16,0 0 15,0 0-15,1-13 16,-1 13-16,-13-13 15,0 0-15,0-14 16,0 14 0,0 0-16,-13 0 0,13-1 15,-14 14 1,1-13-16,0 13 16,13-13-16,-13 26 15</inkml:trace>
  <inkml:trace contextRef="#ctx0" brushRef="#br0" timeOffset="77174.1">24262 5345 0,'0'0'0,"14"0"16,25 26-1,-52-13 1,13 1 0,-13-1-16,0 0 0,13 0 15,-14 0-15,1 1 0,0-14 16,13 13-1,0 0-15,0 0 16,13-13-16,0 0 16,1 0-1,-1 0-15,0 14 0,0-14 0,0 0 16,1 0-16,-1 0 0,0 0 0,0 0 16,14 0-1,-14-14-15,0 14 16,1 0-1</inkml:trace>
  <inkml:trace contextRef="#ctx0" brushRef="#br0" timeOffset="78351.86">22423 3373 0,'27'0'0,"-54"0"0,67 0 0,-27-13 16,1 13 0,-41 13-1,14 1 1,0-1-16,-14-13 0,1 13 15,13 0-15,-14-13 0,14 14 0,0-14 16,-14 13-16,27 0 16,-13-13-16,13 13 0,13 0 15,-13 1 1,13-1-16,1-13 0,-1 13 0,0 0 16,-13 1-16,13-14 0,1 13 15,-1 0-15,0 0 0,-13 1 16,0-1-1,-13 0-15,0-13 0,-1 13 16,1-13-16,0 13 0,0-13 0,-1 14 16,-12-14-16,13 13 0,-1-13 0,1 0 15,0 0-15,0 0 16,0 0-16</inkml:trace>
  <inkml:trace contextRef="#ctx0" brushRef="#br0" timeOffset="79297.89">19315 4538 0,'26'0'0,"14"-14"15,-27 14 1,0 0-16,0 0 0,1 0 15</inkml:trace>
  <inkml:trace contextRef="#ctx0" brushRef="#br0" timeOffset="79437.08">19235 4696 0,'13'0'0,"1"0"0,-1 0 0,0-13 16,0 13-16</inkml:trace>
  <inkml:trace contextRef="#ctx0" brushRef="#br0" timeOffset="79900.28">20201 6588 0,'26'-13'0,"-52"26"0,66-26 0,-27 0 0,0 13 16,0 0-16,1 0 15,-1 0-15,0 0 0,0 0 0,0 0 16</inkml:trace>
  <inkml:trace contextRef="#ctx0" brushRef="#br0" timeOffset="80088.95">20148 6826 0,'26'-13'16,"-12"13"-1,-1 0-15,0-13 0,0 13 16,1 0-16,-1-13 0,13 13 16,-12 0-16,-1-14 0,13 14 0,-13-13 15,1 13-15</inkml:trace>
  <inkml:trace contextRef="#ctx0" brushRef="#br0" timeOffset="90169.22">21630 6826 0,'158'-26'31,"-91"13"-31,12-1 0,-13 14 0,13-13 16,1 0-16,-1 13 0,1-13 0,65-14 15,-66 27-15,-12-13 16,12 0-16,-13 13 0,0-13 0,-13 13 16,0-14-16,0 14 0,0 0 15,-13-13-15,-1 13 0,-12 0 0,13-13 16,-27 13-16,13 0 0,-13 0 16,1 0-16,-1 0 0,0 0 0,0 0 15,-26 13 1,0-13-16,-14 13 15</inkml:trace>
  <inkml:trace contextRef="#ctx0" brushRef="#br0" timeOffset="90728.17">22119 7183 0,'40'-13'0,"-27"13"0,27 0 15,-27 0 1,0 13 0,-26 1-16,13-1 15,-13 0-15,0 0 16,-1 1-16,1-1 0,0 0 16,0 0-16,-1 0 15,14 1 1,14-14-1,-1 0 1,0 0-16,0 0 16,1 0-16,-1-14 15,0 14-15,0 0 0,0 0 0,1-13 16,-1 13-16</inkml:trace>
  <inkml:trace contextRef="#ctx0" brushRef="#br0" timeOffset="90877.88">22437 7236 0,'0'-13'0,"0"0"16</inkml:trace>
  <inkml:trace contextRef="#ctx0" brushRef="#br0" timeOffset="91206.8">22582 7131 0,'-13'13'0,"26"-26"0,-39 39 15,26-13 1,0 0-16,0 1 15,13-1-15,0 0 16,0-13-16,1 0 16,-1 0-16,0 0 0,0 0 15,1-13-15,-1 13 0,0 0 16,-13-13-16,13 13 0,-13-14 16,0 1-16,13 13 0,-13-26 15,-13 26-15,13-13 16,-13 13-16,13-14 0,-13 14 15,0 0-15,-1-13 16,1 13-16,0 13 16,0-13-16</inkml:trace>
  <inkml:trace contextRef="#ctx0" brushRef="#br0" timeOffset="91999.9">22873 7025 0,'0'-14'16,"13"41"31,1-14-31,-1 0-16,-13 1 0,13-1 15,-13 0-15,13 0 0,-13 1 16,0-1-16,0 0 15,0 0-15,-13-13 0,13 13 0,-13 1 16,0-14-16,13 13 0,-14-13 0,14 13 16,-13-13-16,0 13 15,13-39 1,13 13-16,-13-1 16,13 1-16,1 13 15,-1-13-15,-13-13 0,13 12 0,0 1 16,1 0-16,-1-14 0,-13 14 15,13-13-15,-13 12 16,0 1-16,-13 0 16,0 0-16,-1 0 0,1 13 15,0 0-15,0 0 0,-1 0 16,1 0-16,0 0 16,0 0-16,0 0 0</inkml:trace>
  <inkml:trace contextRef="#ctx0" brushRef="#br0" timeOffset="101280.11">22622 6297 0,'26'0'0,"-52"13"31,-1-13-15,14 14-16,0-14 0,0 13 15,-1-13-15,1 0 0,0 13 16,0-13-16,13 13 0,-13-13 0,13 13 16,13 1-1,0-14-15,0 0 0,0 13 16,1-13-16,-1 13 0,0-13 0,0 13 15,1-13-15,-14 14 0,13-14 16,-13 13 0,-13 0-16,13 0 0,-14-13 15,1 14-15,-13-14 0,12 13 0,-12 0 16,13-13-16,0 13 0,-14-13 0,14 13 16,0-13-16,-1 0 0,1 14 15,0-14-15</inkml:trace>
  <inkml:trace contextRef="#ctx0" brushRef="#br0" timeOffset="101603.17">23521 6548 0,'27'-13'16,"-14"0"-16,0 13 0,1 0 0,-1 0 16,0 0-16,0 0 0,1 0 0,-1 0 15,0 0-15,0 0 16</inkml:trace>
  <inkml:trace contextRef="#ctx0" brushRef="#br0" timeOffset="101767.85">23548 6668 0,'0'0'0,"13"13"15,0-13 1,1 0-16,-1 0 16,0 0-16,-13-13 15,13 13-15,1 0 0,-1 0 0</inkml:trace>
  <inkml:trace contextRef="#ctx0" brushRef="#br0" timeOffset="102669.14">24143 6456 0,'40'-13'16,"-27"-1"-1,0 14-15,-13 14 0,14-14 16,-1 0-16,-13 13 0,13-13 16,-13 13-16,-13 14 15,13-14-15,-13 0 0,13 0 0,-14 0 16,1 1-16,0-14 0,0 13 15,13 0-15,-14 0 0,1-13 16,13 14-16,-13-14 0,13 13 0,-13-13 16,13 13-1,13 0 1,0-13-16,14 0 16,-14 0-16,13 0 15,-12-13-15,-1 13 16,0 0-16,0 0 0,1 0 0,-1 0 15,0-13-15</inkml:trace>
  <inkml:trace contextRef="#ctx0" brushRef="#br0" timeOffset="102816.04">24487 6588 0,'0'-13'31</inkml:trace>
  <inkml:trace contextRef="#ctx0" brushRef="#br0" timeOffset="103336.85">24818 6443 0,'-27'13'16,"14"0"0,0 0-16,0-13 0,0 14 15,-1-1-15,1-13 16,13 13-16,-13-13 0,13 13 0,0 0 15,0 1 1,0-1-16,13-13 16,-13 13-16,13-13 15,1 0-15,-1 0 0,0 0 16,-13 13-16,13-26 0,0 26 16,1-26-16,-1 13 0,0 0 15,0-13-15,1 13 0,-14-13 16,13 13-16,-13-14 15,0 1-15,0 0 16,0 0-16,0-14 16,0 14-1,0 0-15,-13 26 47,13 0-47,-14 1 0,14-1 16,0 0-16,-13 13 0,13-12 15,0-1-15,0 0 0,0 0 16,0 1-16,0-1 0,-13 0 0,13 0 16,0 1-16,0-1 0,0 0 15</inkml:trace>
  <inkml:trace contextRef="#ctx0" brushRef="#br0" timeOffset="103579.93">24117 6906 0,'53'-14'16,"-40"14"0,27-13-16,-1 13 0,1 0 0,13-13 15,-13 13-15,13 0 0,-14-13 16,14 13-16,-13 0 0,13-14 15,-14 14-15,-12 0 0,-1 0 0,-12 0 16,12 0-16,-13 0 0,0 0 0,1 14 16</inkml:trace>
  <inkml:trace contextRef="#ctx0" brushRef="#br0" timeOffset="103876.19">23998 6985 0,'53'0'16,"-40"-13"-1,66 13-15,-26 0 0,0 0 0,0-13 16,0 13-16,13 0 0,-13 0 16,0 0-16,0 0 0,0 0 15,0 0-15,0 0 0,-1 0 0,-12-14 16,13 14-16,0 0 0,-13 0 0,-1-13 15,-12 13-15,-1 0 0,1-13 16,12 13-16,-12-13 0,-14 13 0,14-14 16,-1 1-16,-13 13 0,14-13 0,-14 0 15,13-1-15,-12 1 0,-1 0 16,0-13-16,0 12 0,1-12 16,-14 13-16,13-14 0</inkml:trace>
  <inkml:trace contextRef="#ctx0" brushRef="#br0" timeOffset="104173.33">25387 6707 0,'-53'-344'15,"26"305"-15,1-1 16,-14 0-16,1 0 0,-1 14 0,0 0 16,-13-1-16,14 1 0,-1 12 15,0 1-15,1 0 0,-14 0 0,13 13 16,-13 0-16,13 0 0,-13 13 0,14-13 16,-14 13-16,0 14 0,0-14 15,0 13-15,13 1 0,1-1 16,-1 1-16,0 12 0,14-12 0,-14-1 15,14 14-15,-1 0 0,14-14 16,-13 14-16,-1 26 0,14-40 16,0 14-16,-1-13 0,14 12 15,0-12-15,14-14 0,-14 13 16,13 1-16,0-14 0,-13 0 0,13 1 16,1-1-16,-1 0 0,13 13 15,-13-12-15,1-14 0,-14 13 0,13-13 16,0 0-16,0 0 15,1 0-15</inkml:trace>
  <inkml:trace contextRef="#ctx0" brushRef="#br0" timeOffset="109790.08">2924 1482 0,'-14'0'0,"120"-40"31,-40 27-31,1 0 0,12-14 16,14 14-16,-14 0 0,40-14 0,0 1 15,-13-1-15,13 14 0,-40 0 0,14-14 16,-14 14-16,1 0 0,-1 0 16,-13-1-16,0 1 0,-13 13 0,-13-13 15,0 0-15,-14 13 0,1-14 16,-14 14-16</inkml:trace>
  <inkml:trace contextRef="#ctx0" brushRef="#br0" timeOffset="109992.9">3492 1402 0,'27'0'0,"-1"0"0,80-13 31,-40 0-31,1 0 0,65-14 16,-66 14-16,13 0 0,-26-1 0,13 1 16,-13 0-16,0 13 0,-13 0 15,0-13-15,-14 13 0,-13 0 0,1 0 16,12 0-16,-13 0 0</inkml:trace>
  <inkml:trace contextRef="#ctx0" brushRef="#br0" timeOffset="110329.28">4273 1601 0,'0'26'31,"0"-13"-31,0 1 0,13-1 0,0 13 0,1-12 16,-1 12-16,0-13 0,0 0 15,14 1-15,-14 12 0,14-13 16,12 14-16,-12-27 0,-1 13 0,1 0 16,-1-13-16,1 0 0,-1 0 0,0 0 15,1 0-15,-1 0 0,-12 0 16,12 0-16,0 0 0,1-13 0,-14 13 15,14 0-15,-14-13 0,0 13 0,0 0 16,1-13-16,-1 13 0,0 0 16,-13-14-16</inkml:trace>
  <inkml:trace contextRef="#ctx0" brushRef="#br0" timeOffset="110557.21">4736 1574 0,'13'0'16,"93"40"15,-79-40-31,-14 13 0,13 0 0,-13 1 16,1-1-16,-1 13 0,0-12 16,-13-1-16,0 13 0,-13 1 0,13-1 15,-27 14-15,1-14 0,0 14 16,-14 0-16,0-1 0,0-12 0,-12-1 15,-15 27-15,28-40 0,12 14 16</inkml:trace>
  <inkml:trace contextRef="#ctx0" brushRef="#br0" timeOffset="111651.95">5622 1588 0,'0'26'15,"0"-13"-15,0 0 0,-13 1 16,13 12-16,0-13 0,0 14 0,0-14 16,0 13-16,0-12 0,-13 12 0,13-13 15,0 1-15,0-1 16,0 0-16,0 0 0,13-39 31,-13-1-31,0 14 16,13-13-16,1 12 0,-1-12 15,13-27-15,-12 40 0,-1 0 16,0 13-16,0-14 0,0 14 16,1 0-16,-1 0 0,0 0 0,0 0 15,-13 14-15,27 12 0,-27-13 16,0 1-16,13-1 0,-13 13 0,0-13 15,0 1-15,13-1 0,-13 0 16,0 0-16,14 1 0,-1-1 16,0-13-16,0 0 15,0-13-15,1 13 0,-1-14 16,0 14-16,0-13 0,1 0 0,-1 0 16,0-1-16,0 1 0,-13 0 0,13 0 15,-13 0-15,14 13 0,-14-14 16,13 14-16,-13 14 31,0-1-31,0 0 16,13 0-16,-13 0 0,13 1 15,1-1-15,-1-13 0,0 13 16,0-13-16,1-13 16,-1 13-1,-13-13-15,0-1 16,0 1-16,0 0 15,0 0-15,0 0 16,0-1 0,0 1-16,26 26 15,-13-13 1,-13 14-16,14-14 0,-1 13 16,0 0-16,0 0 0,1 0 15,-1 1-15,0-1 16,0 0-1,1-39 17,-14 12-17,13 1-15,-13 0 0,13 0 0,-13 0 16,26-14-16,-26 14 0,14 0 16,-1 13-16,-13-14 0,13 14 15,0 0 1</inkml:trace>
  <inkml:trace contextRef="#ctx0" brushRef="#br0" timeOffset="112138.06">6601 1601 0,'-13'26'31,"13"-13"-31,0 14 16,0-14-1,0 0-15,0 1 16,13-41 15,1 27-15,-14-13-16,13 0 15,0 13-15,0 0 16,1 0 0,-1 0-16,0 0 0,0 13 15,0-13-15,-13 13 16,14 0 0,-1 1-1,0-28 16,0 14-15,-13-13-16,14 13 0,-14-13 16,13 13-16,0-13 0,0-1 15,0 14-15,1-13 16</inkml:trace>
  <inkml:trace contextRef="#ctx0" brushRef="#br0" timeOffset="112960.14">7210 1588 0,'0'-14'0,"-27"-12"31,14 26-31,0-13 16,0 13-1,0 13-15,-1-13 16,14 13-16,-13-13 0,13 13 16,-13 1-16,0-1 0,13 0 15,0 0-15,-14 0 16,28 1-1,-1-14 1,0 0 0,0 0-16,1 13 15,-1-13-15,0 0 16,0 0 0,0 0-16,1 0 15,-1 0-15,0 0 0,0-13 16,1 13-16,-1-14 0,0 1 15,0 0-15,-13 0 0,13 0 16,1-1-16,-1 1 0,-13-13 0,13 12 16,-13-12-16,13-14 15,-13 27-15,0 0 0,0 0 0,14 13 0,-14-14 16,0 1-16,-14 40 47,14-14-47,0 0 0,0 13 15,0-12-15,0-1 0,0 13 0,0-12 16,0-1-16,0 0 0,14 0 0,-14 1 16,13-1-16,0 0 0,0-13 15,1 0-15,-1 0 16,0 0-16,0 0 0,0 0 16,1 0-16,-1 13 15,0-13-15,0 13 16,1-13-1,-14 14-15,13-14 0,0 0 16,-13 13-16,13-13 16,1 0-16,-1 0 15</inkml:trace>
  <inkml:trace contextRef="#ctx0" brushRef="#br0" timeOffset="113070.93">7594 1455 0</inkml:trace>
  <inkml:trace contextRef="#ctx0" brushRef="#br0" timeOffset="113857.02">7898 1495 0,'-13'0'16,"26"0"-16,-40 0 0,14-13 0,0 26 31,13 0-15,13 0-16,-13 1 0,0-1 15,0 0-15,0 0 0,13 1 0,-13-1 16,0 0-16,-13 0 0,13 0 0,-13 14 15,0-14-15,13 0 16,-14-13-16,1 14 0,0-14 0,0 13 16,0 0-16,-1-13 15,1 0-15,0-13 16,26 0 15,0 13-31,1-14 0,-1 14 0,0 0 16,0-13-16,14 0 0,-14 13 15,13-13-15,-12 13 0,12-14 0,-13 14 16,1-13-16,25 0 0,-26 13 16,-13-13-16,27 0 0,-14 13 15,-13-14 1,13 14-16,-13 27 47,0-14-32,14 0 1,-1-13-16,0 0 0,-13 13 16,13-13-16,0 0 0,1 0 15,-1 0-15,0 0 16,-13 14-16</inkml:trace>
  <inkml:trace contextRef="#ctx0" brushRef="#br0" timeOffset="114684.92">9088 1323 0,'0'66'31,"0"-53"-31,0 14 0,0-1 0,0 1 16,0-1-16,-13 14 0,13-14 0,0 1 15,0 26-15,-13-40 0,13 0 16,0 14-16,0-14 0,0 0 15,0 0-15,0 0 0</inkml:trace>
  <inkml:trace contextRef="#ctx0" brushRef="#br0" timeOffset="115045.93">9274 1310 0,'0'0'0,"0"-14"0,0 1 16,0 53 0,0-27-1,0 0-15,0 14 0,-14-14 16,14 14-16,0-14 0,0 13 16,0-13-16,0 14 0,0-14 0,0 14 15,14-14-15,-14 0 0,0 0 0,13 1 16,0-14-16,-13 13 15,13-26-15,14 13 16,-14 0-16,-13-14 16,13 14-16,0 0 15,1 0-15,-1 14 16,0-14-16,-13 13 16,13-13-16,-13 13 0,14-13 15,-14 13-15,13-13 16,0 0-16</inkml:trace>
  <inkml:trace contextRef="#ctx0" brushRef="#br0" timeOffset="115244.93">9009 1535 0,'40'-14'31,"-27"14"-31,27 0 16,-14 0-16,1 0 0,26-13 0,-27 13 15,0 0-15,1 0 16,-1 0-16,1 0 0,12 0 16,-12 0-16</inkml:trace>
  <inkml:trace contextRef="#ctx0" brushRef="#br0" timeOffset="117153">9895 1535 0,'40'-14'47,"-27"14"-47,-13-13 0,27 0 15,-14 13-15,-13-13 0,13 13 16,0-14-16,-13 1 0,0 0 0,14 0 15,-14 0 1,0-1-16,-14 14 16,-12 14-1,13-1-15,13 0 16,0 0-16,0 0 0,-13-13 0,26 14 16,-13-1-16,0 0 0,13-13 15,-13 13-15,13 1 0,0-14 16,1 0-16,-1 0 0,0 0 0,0 0 15,1 0-15,-1-14 0,13 1 16,-12 13-16,-1-13 0,13-14 0,-13 14 16,1-13-16,12-1 0,-13 1 0,1-14 15,-1 14-15,0-1 0,-13 1 16,13-1-16,-13 14 0,0 0 0,14 0 16,-14-1-16,0 1 0,13 0 15,-13 0-15,0 52 31,0-25-31,0 12 0,0 1 0,0-1 16,0 14-16,-13-1 0,13 14 16,-14-13-16,14 0 0,-13 13 15,0 0-15,0-14 0,-1 14 0,-12 26 16,13-39-16,-1-13 0,1-1 16,13 1-16,-13-14 0,13 0 15,-13 0-15,13 0 0,-13-13 0,13 14 16,0-41 15,13 14-31,-13 0 0,13 0 16,-13-14-16,13 14 0,-13-14 0,13 1 15,1-1-15,-1 1 0,0-14 0,0 14 16,14-1-16,-14-12 16,0 12-16,1-12 0,-1 12 0,0-13 15,0 1-15,27-27 0,-27 39 16,0 14-16,-13 0 0,14-1 15,-14 1-15,0 0 0,13 13 0,-13-13 16,13 26 0,-13 13-1,0-12-15,-13 39 16,13-14-16,-13-12 0,-1 12 16,1-12-16,13 13 0,-13-14 0,0 1 0,-1-1 15,1 0-15,13-12 0,-13-1 16,13 0-16,0 0 0,-13 1 15,13-1-15,0 0 0,-13-13 16,39 0 0,-13-13-1,0 0-15,1-1 0,-1-12 0,13 13 16,-12-14-16,12 1 0,-13-1 0,14 1 16,-14-1-16,0 14 0,0 0 15,-13 0-15,14-1 0,-14 1 16,13 13-16,-13-13 0,-13 39 31,13-12-31,0-1 16,-14 0-16,14 0 0,0 1 15,-13-14-15,13 13 0,0 0 0,0 0 16,0 1-16,0-1 16,13-13-16,-13 13 0,14-13 15,-1 0-15,0 0 0,0 0 16</inkml:trace>
  <inkml:trace contextRef="#ctx0" brushRef="#br0" timeOffset="117828.56">10755 1468 0,'-13'14'0,"-13"25"31,12-25-31,14-1 0,0 0 16,0 0-16,0 1 15,14-1-15,-1-13 16,0 0-16,14 0 16,-14-13-16,0-1 0,0 14 0,0-13 15,14-13-15,-14 12 16,0-12-16,1-1 0,-1 1 0,0-14 15,0 14-15,1-1 0,-1 1 0,-13 13 16,13-1-16,-13 1 0,0 0 16,13 0-16,-13 0 0,13 26 31,-13 0-31,0 13 0,0-12 0,14-1 16,-14 13-16,0 1 0,0-14 15,0 14-15,13-1 0,-13-13 16,0 14-16,0 12 0,0-25 0,0-1 15,0 0-15,0 0 16,-13 1-16,-14-14 16,14 0-1,13-14-15,-13 14 16,13-13 0,0 0-1,13 0-15,0-1 16,0 14-16,1-13 15,12 13-15,-13-13 0,27 0 16,-14-1-16,1 14 0,-14-13 0,14 13 16,-14 0-16,13-13 0</inkml:trace>
  <inkml:trace contextRef="#ctx0" brushRef="#br0" timeOffset="118421.34">11681 1389 0,'-26'27'15,"26"-14"-15,-13-13 0,13 13 16,0 0-16,0 0 0,0 1 0,13-1 16,-13 0-16,13-13 0,-13 13 15,13-13-15,1 14 0,-1-14 16,13 0 0,-12 0-16,-14-14 0,0 1 15,0 0-15,0 0 16,0-1-16,-14 1 15,14 0-15,0 0 0,-13 0 16,13-1-16,13 28 47,1-1-47,-14 0 0,13 40 16,0-40-16,-13 0 15,0 14-15,-13-14 0,13 14 16,0-14-16,-13 13 0,13-13 15,-14 1-15,14-1 0,-13 0 0,0 0 16,13 1-16,-13-14 16,26-27-1,-13 14 1,13 0-16,0-1 0,1-12 16,12 0-16,-13 12 0,0 1 0,1 0 15,12-14-15,-13 14 0,1 13 16,25-26-16,-26 12 0,1 14 15,-1 0-15,-13-13 0</inkml:trace>
  <inkml:trace contextRef="#ctx0" brushRef="#br0" timeOffset="119818.22">12753 1323 0,'0'0'0,"-13"0"16,-1 13-1,1-13-15,0 13 0,0 1 16,13-1-16,-13 0 0,-1 0 16,14 1-16,-13-1 0,13 0 0,-13 0 15,13 0-15,0 1 0,0-1 0,0 0 16,0 0-16,13-13 0,-13 14 0,13-1 16,1-13-16,-1 0 0,0 0 15,0 0-15,14 0 0,-14 0 16,0 0-16,14-13 0,-27-1 0,13 14 15,0-13-15,0 0 16,-13-14-16,14 14 0,-14-13 16,0-1-16,0 14 0,0 0 0,-14-14 15,14 14-15,-13 0 16,13 0-16,-13-1 0,0 14 16,13-13-16,-14 13 0,1 13 15,0-13-15,0 14 0,13-1 16,-14-13-16,14 13 0,0 14 15,14-14 1,-1 0-16,0-13 0,0 13 16,1-13-16,-1 14 15,0-14-15,0 0 0,1 0 16,-1-14-16,0 14 0,0 0 0,0 0 16,-13-13-16,14 13 0,-1-13 15,0 13 1,0 0-16,1 0 47,-14 13-47,0 0 15,13 1 1,0-14 0,0 13-16,1-13 15,-1-13-15,0 13 16,0 0-16,0 0 0,1-14 15,-1 14 1,0 0 0,0 0-16,1 0 15,-1-13-15,0 13 16,0-13-16,0 13 16,1-13-16,-1-1 0,0 1 0,0 13 15,1-26-15,-1 12 0,0 1 16,0 0-16,1-13 0,-14 12 0,13-12 15,0-1-15,0-12 16,-13 12-16,13 14 0,-13-13 0,0-1 16,14 27-16,-14-13 0,0 0 15,0 39 1,0 1 0,0-14-16,0 13 0,-14 1 0,14-1 15,0 14-15,-13-14 0,13 1 16,-13-1-16,13-13 0,0 14 15,0-14-15,-13 14 0,13-14 0,0 0 16,0 14-16,0-14 0,0 0 16,13 0-16,0-13 31,0 0-15,1 0-1,-14-13 1,13 0-1,-13 0-15</inkml:trace>
  <inkml:trace contextRef="#ctx0" brushRef="#br0" timeOffset="119989.06">13242 1270 0,'14'-13'16,"-1"0"-1,0 13-15,0 0 0,1 0 16,-1-14-16,0 14 0,13 0 0,-12-13 0</inkml:trace>
  <inkml:trace contextRef="#ctx0" brushRef="#br0" timeOffset="120122.29">13613 1124 0,'0'14'0,"0"-1"16,0 0-16,0 0 0,0 1 15,-13-1-15,13 0 0,0 0 0,-14 1 16,14 12-16,0-13 16,-13 0-16</inkml:trace>
  <inkml:trace contextRef="#ctx0" brushRef="#br0" timeOffset="120890.07">19037 913 0,'66'-13'16,"-53"13"-16,14 0 16,-1 0-16,1 0 0,12 0 0,-12-14 15,-1 14-15,1 0 16,-1 0-16,1 0 0,-1 0 0,0 0 0,-12 0 16,-1 0-16,13 14 0,-12-14 15</inkml:trace>
  <inkml:trace contextRef="#ctx0" brushRef="#br0" timeOffset="121072.26">19143 966 0,'0'0'0,"-14"0"0,41 13 32,-14-13-17,0 0-15,1 0 0,-1 0 0,13 0 16,-13 0-16,14 0 0,-1 0 15,1 0-15,-14 0 0,14 0 16,-14 0-16,13-13 0,-13 13 0,14 0 16,-14 0-16</inkml:trace>
  <inkml:trace contextRef="#ctx0" brushRef="#br0" timeOffset="121724.97">19394 1177 0,'26'14'32,"-12"-14"-17,-1 13-15,0-13 0,14 0 0,-14 0 16,0 13-16,13-13 0,1 0 0,-1 0 15,-12 0-15,12 0 0,1 0 16,-14 0-16,13 0 0,-13 0 0,1 0 16,12 0-16,-13 0 0,1 0 0,-1 0 15,0 0-15,0 0 0</inkml:trace>
  <inkml:trace contextRef="#ctx0" brushRef="#br0" timeOffset="122059.95">19738 1098 0,'26'0'16,"-12"13"0,-1-13-16,0 13 0,0-13 15,1 14-15,-1-14 0,-13 13 16,13-13-16,-13 13 0,13-13 0,-13 13 16,13-13-16,-13 14 0,0-1 15,0 0-15,-13-13 0,13 13 16,-13-13-16,13 14 0,-13-1 15,0-13-15,-1 0 0,14 13 16,-13-13-16</inkml:trace>
  <inkml:trace contextRef="#ctx0" brushRef="#br0" timeOffset="125993.37">24567 7157 0,'-14'26'0,"1"107"31,0-107-31,13 1 0,0 12 0,-13-12 15,13-14-15,0 13 0,0 1 16,-14-1-16,14-12 0,0-1 0,-13 13 16,13-12-16,0-1 0,-13 0 15</inkml:trace>
  <inkml:trace contextRef="#ctx0" brushRef="#br0" timeOffset="126215.52">24619 7223 0,'0'0'0,"-92"53"31,65-27-31,1-12 0,0 12 16,-1 1-16,1-14 0,12 13 15,-12-12-15,-1 12 0,14-13 0,0 0 0,-13 1 16,26-1-16,-14-13 0,1 13 16,0 0-16</inkml:trace>
  <inkml:trace contextRef="#ctx0" brushRef="#br0" timeOffset="126384.9">24448 7276 0,'-106'119'0,"212"-238"0,-80 106 16,-13 0-16,0 13 0,1 0 15,-1 0-15,0 13 0,0-13 16,1 13-16,-1-13 0,0 13 16,13 0-16,-12 1 0,-1-1 0,0 0 15,0 0-15,1 1 0,-1-1 16,0-13-16,0 13 0,1 0 16,-1-13-16,-13 14 0,13-14 15</inkml:trace>
  <inkml:trace contextRef="#ctx0" brushRef="#br0" timeOffset="132676.66">2752 8149 0,'39'0'0,"-12"-13"0,26 13 15,0-13-15,0 13 0,26-14 0,-13 1 16,13 0-16,1 0 0,-1 0 0,-13-1 16,14 1-16,-1 0 0,0 0 15,1-1-15,-1 1 0,1 0 0,-27 13 16,-1-13-16,1 13 0,-13-13 0,-13 13 15,-1 0-15,-13 0 0</inkml:trace>
  <inkml:trace contextRef="#ctx0" brushRef="#br0" timeOffset="132896.1">3149 8255 0,'-14'0'0,"28"0"0,25 0 15,-12-13-15,26 13 16,0-13-16,13 13 0,0-14 16,0 1-16,13 0 0,1 13 0,-1-13 15,0-1-15,-12 14 0,12-13 0,-26 13 16,0 0-16,0-13 0,-14 13 16,1 0-16,0 0 0,-14 0 15,1 0-15,12 0 0,-25 0 0</inkml:trace>
  <inkml:trace contextRef="#ctx0" brushRef="#br0" timeOffset="134472.15">6416 9499 0,'0'0'0,"40"0"16,-14 0-16,14-14 16,13 14-16,0 0 0,26-13 0,1 0 15,12 13-15,1 0 0,-1-13 16,-12 13-16,12-14 0,1 14 16,0-13-16,-1 13 0,-12-13 0,12 13 15,-12-13-15,-1 13 0,0 0 0,-13-14 16,-13 14-16,0 0 0,-13 0 0,0 0 15,-14-13-15,1 13 0,-1 0 16,-13 0-16,0 0 0,14 0 16,-14 0-16,0 0 0,1 0 0,-1 0 15,0 0-15,0 0 0</inkml:trace>
  <inkml:trace contextRef="#ctx0" brushRef="#br0" timeOffset="136520.13">13189 9565 0,'27'0'15,"-1"0"-15,1 0 16,13 0-16,12 0 0,-12 0 0,13 0 16,0-14-16,0 14 0,13 0 0,-13 0 15,0 0-15,0 0 0,0 0 16,0 0-16,0 0 0,-14 0 0,-12 0 16,-1 0-16,27 0 0,-26 0 15,-14 0-15,13 0 0</inkml:trace>
  <inkml:trace contextRef="#ctx0" brushRef="#br0" timeOffset="136848.15">13520 9657 0,'27'0'15,"-14"0"-15,13 0 0,1 0 0,237 0 32,-224 0-17,0 0-15,13 0 0,-14 0 0,-12 14 16,13-14-16,-14 0 0,0 0 0,1 0 16,-1 0-16,-12 0 0,-1 0 15,13 0-15,-12 0 0,-1 0 16,0 0-16,0 0 0,0 0 15,1 0 1,-1 0 0,0-14-1</inkml:trace>
  <inkml:trace contextRef="#ctx0" brushRef="#br0" timeOffset="138296.09">20267 9459 0,'27'-13'15,"-1"13"-15,0 0 16,54-14-16,-40 14 0,12 0 16,1 0-16,0 0 0,13 0 0,-13 0 15,0-13-15,13 13 0,-13 0 16,0 0-16,0 0 0,0 0 16,-13 0-16,-14 0 0,14 0 0,-14 0 15,-12 0-15,12 0 0,-13 0 16,0 0-16,-13 13 15,-13 1-15</inkml:trace>
  <inkml:trace contextRef="#ctx0" brushRef="#br0" timeOffset="138663.44">20333 9657 0,'159'14'31,"-106"-14"-31,0-14 0,13 14 0,-13 0 16,0 0-16,13 0 0,-13 0 0,0 0 16,66 0-16,-79-13 15,12 13-15,1 0 0,-26 0 0,12 0 16,-12 0-16,-1 0 0,1 0 0,-14 0 16,14 0-16,-14 0 0,0 0 15,0 0-15,0 0 0,1 0 16,-1 0-16,0 0 15,0 0-15,1 0 16,-1 0 15,0 0 16,14 0-31,-14 0-16</inkml:trace>
  <inkml:trace contextRef="#ctx0" brushRef="#br0" timeOffset="140016.94">22701 9459 0,'53'0'31,"-40"0"-31,14 0 0,-1 0 0,-12 0 16,25 0-16,-12 0 0,-1 0 0,1 0 16,12 0-16,-25 0 15,12 0-15,0-13 0,-12 13 0</inkml:trace>
  <inkml:trace contextRef="#ctx0" brushRef="#br0" timeOffset="140203.31">22767 9499 0,'14'0'0,"-1"-14"0,13 14 0,-12 0 16,25 0-16,-12-13 0,12 13 0,14-13 15,-13 13-15,0-13 0,13 13 16,-27 0-16,1-14 0,-1 14 0,0 0 16,1-13-16,-14 13 0</inkml:trace>
  <inkml:trace contextRef="#ctx0" brushRef="#br0" timeOffset="141156.04">1402 10411 0,'93'-13'31,"-53"13"-31,13 0 16,-1-13-16,1 13 0,0-13 0,13-1 16,14 14-16,-14-13 0,0 0 0,0 0 15,-13 13-15,-13-13 0,13-1 0,-14 14 16,1-13-16</inkml:trace>
  <inkml:trace contextRef="#ctx0" brushRef="#br0" timeOffset="141396.84">1680 10544 0,'40'-27'0,"-14"27"16,1-13-16,12 0 0,14 0 16,53-14-16,-40 14 0,0 0 15,-26-1-15,26 1 0,40 0 16,-53 0-16,0-1 0,26 1 16,-52 13-16,-1-13 0,54 0 31</inkml:trace>
  <inkml:trace contextRef="#ctx0" brushRef="#br0" timeOffset="152184.13">7170 10769 0,'-13'-14'16,"0"41"15,13-14-31,0 0 0,0 0 16,-13 1-16,13-1 0,0 0 15,0 0-15,-14 14 0,14-14 0,0 0 16,-13 1-16,13-1 0,0 0 16,0 0-16,-13 0 15,26-52 17,-13 26-32,13-14 0,-13 14 0,14-14 15,-1 14-15,-13-13 0,26-14 16,-13 27-16,1 0 0,-1 13 15,0-14-15,0 14 0,14 0 16,-14 0-16,-13 14 16,13-14-16,0 13 0,1-13 15,-14 13-15,13 0 0,-13 0 0,13 1 16,-13-1-16,13 0 0,-13 0 16,0 1-16,0-1 0,14 0 15,-14 0-15,0 1 16,13-1-16,0 0 15,0-13-15</inkml:trace>
  <inkml:trace contextRef="#ctx0" brushRef="#br0" timeOffset="152529.1">7580 10848 0,'14'-13'0,"-28"26"0,41-26 16,-27-1-16,13 14 0,0 0 15,0-13-15,1 13 16,-1 0-16,-13 13 16,0 1-1,-13-14-15,13 13 16,-14-13-16,1 13 15,13 0-15,-13-13 16,0 14-16,13-1 16,13-13 15,0 0-15,0-13-1,1 13-15,-1 0 16,0 0-16</inkml:trace>
  <inkml:trace contextRef="#ctx0" brushRef="#br0" timeOffset="152997.53">8229 10716 0,'26'-14'0,"-13"14"0,40 27 31,-40-27-31,-13 13 16,0 0-16,0 1 0,0-1 16,-13 0-16,0 13 0,0-12 0,-1-1 15,14 0-15,-13 0 0,0 1 16,13-1-16,-13-13 0,13 13 0,-13-13 16,13 13-16,-14 1 15,28-14 1,-1 0-1,0 0-15,0 0 0,14 0 0,-14 0 16,0-14-16,14 14 0,-14 0 0,13 0 16,-12-13-16,-1 13 0,0 0 15,0 0-15,0 0 0,1 0 16</inkml:trace>
  <inkml:trace contextRef="#ctx0" brushRef="#br0" timeOffset="153290.07">7183 11298 0,'106'-14'16,"-66"14"-16,0-13 0,13 13 16,-1-13-16,1 13 0,14-13 15,-1 0-15,0 13 0,0-14 0,0 1 16,-13 13-16,-13-13 0,13 13 0,-14-13 16,1 13-16,0-14 0,-14 14 15,-13 0-15,1 0 0,-1 0 0</inkml:trace>
  <inkml:trace contextRef="#ctx0" brushRef="#br0" timeOffset="153577.01">7091 11456 0,'40'14'0,"-27"-14"0,13 0 15,14 0-15,0 0 0,12 0 0,-12-14 16,13 14-16,0-13 0,0 13 16,13-13-16,0 13 0,0-13 15,-13 0-15,0 13 0,0-14 0,0 14 0,-13-13 16,-14 13-16,1 0 16,-1-13-16,1 13 0,-14 0 0,0 0 0,0 0 15,0-13-15,1 13 0,-1 0 16,0 0-1,0 0-15</inkml:trace>
  <inkml:trace contextRef="#ctx0" brushRef="#br0" timeOffset="154860.91">12528 11364 0,'26'-13'0,"-52"26"0,79-26 16,-40 13-16,0-14 0,1 28 15,-1-14-15,13 0 0,-12 0 0,-1 0 16,0 13-16,0 0 0,0-13 0,1 13 15,-14 1-15,13-1 0,-13 0 16,-13 0-16,13 0 0,-14 14 0,1-14 16,0 0-16,0 1 0,0 12 0,-14-13 15,14 1-15,0-1 16,-1 0-16,14 0 16,0 0-1,14-13-15,-1 0 0,0 0 0,14 0 16,-1-13-16,14 13 0,-1-13 15,14 13-15,-13-13 0,13 13 0,0-13 16,-13 13-16,-1-14 0,1 14 0,-14-13 16,-12 13-16,12 0 0,-13 0 15,0 0-15</inkml:trace>
  <inkml:trace contextRef="#ctx0" brushRef="#br0" timeOffset="155199.44">10769 11972 0,'26'0'0,"0"-13"0,279-13 31,-186 12-31,13 14 0,14-13 16,-1 0-16,-13 13 0,14-13 0,13 13 0,-14-13 16,14-1-16,0 14 0,-1-13 15,1 13-15,0 0 0,-14-13 16,160 0-16,-160 13 0,1-14 16,-14 14-16,0-13 0,-26 13 15,-13 0-15,-1-13 0,-12 13 0,-1 0 16,-26-13-16,0 13 0,-13 0 0,-14 0 15,-13 0-15,1 0 0,-41 0 32</inkml:trace>
  <inkml:trace contextRef="#ctx0" brushRef="#br0" timeOffset="155856.87">11311 12065 0,'-13'-13'16,"-1"52"-1,14-12 1,-13-14-16,13 14 0,0-1 0,-13 1 15,13-1-15,0 0 0,-13 14 0,13-13 16,0-1-16,0 0 0,-13-12 16,13 12-16,0 1 0,0-14 0,0 0 15,0 14-15,-14-14 0,14 0 16,0 0-16</inkml:trace>
  <inkml:trace contextRef="#ctx0" brushRef="#br0" timeOffset="156136.93">10425 12793 0,'158'-27'16,"-92"27"-1,1-13-15,12 13 0,93-27 16,-79 27-16,-14-13 0,93 0 15,-93 13-15,1-13 0,-1 13 16,-13-13-16,-13 13 0,0 0 16,0-14-16,-13 14 0,-1 0 0,-12 0 15,-14 0-15,13 0 0,-12 0 0,-1 0 16,-13 14 0,-13-1-16,-1-13 15</inkml:trace>
  <inkml:trace contextRef="#ctx0" brushRef="#br0" timeOffset="159249.2">11099 13070 0,'0'-13'16,"-13"13"0,0 0-1,-14 0-15,14 0 16,0 13-16,0-13 0,-1 0 16,1 14-16,0-1 15,26 0 1,0 0-1,-13 1-15,14-1 0,-1 0 16,0 0-16,-13 0 0,13 1 16,1-14-16,-1 13 0,-13 0 0,13 0 15,-13 1-15,0-1 0,0 0 16,-13 0-16,13 1 0,-13-1 16,-1-13-16,1 13 0,-13 0 0,12 0 15,1-13-15,-13 0 0,13 14 16,-14-14-16,14 0 0,0 0 0,-1 0 15,1 0-15,0 0 0,0-14 16,26 1 0,-13 0-16,13 13 15,0-13-15,1 0 0,-1-14 0,0 14 16,0 0-16,1-1 0,12 1 0,-13-13 16,0 12-16,-13 1 15,14 0-15,-14 0 0,0 0 0,0-1 16,0 1-16,-14 0 0,1 0 15,13-1-15,-13 14 16,0-13-16,0 13 0,-1 0 16,1 0-1</inkml:trace>
  <inkml:trace contextRef="#ctx0" brushRef="#br0" timeOffset="159533.24">11112 13176 0,'0'40'15,"0"-80"-15,14 93 0,-14-40 0,0 1 0,0-1 16,13-13-16,-13 13 0,13 0 16,0 1-16,1-14 15,-1 13-15,0-13 0,0 0 0,1 0 0,-1 0 16,0 0-16,0 0 0,0-13 15,1 13-15,-1-14 16,0 1-16,-13 0 0,0 0 16,-13-1-16,13 1 0,-13 0 15,-1 0-15,1-1 0,0 14 16,0-13-16,0 0 0,-1 13 0,1-13 16,0 13-16,0-13 0,13-1 31,0 1-31</inkml:trace>
  <inkml:trace contextRef="#ctx0" brushRef="#br0" timeOffset="159916.19">12687 12422 0,'-13'40'15,"-1"-14"-15,14-12 16,0 12-16,0-13 0,0 14 0,0-1 16,0 1-16,0-1 0,0-13 0,0 14 15,0-14-15,-13 13 0,13-12 16,0 25-16,0-25 0,0-1 0</inkml:trace>
  <inkml:trace contextRef="#ctx0" brushRef="#br0" timeOffset="160133.12">12382 12700 0,'14'-13'0,"39"13"32,-40-13-32,13 13 0,1 0 0,-1-14 15,14 14-15,0-13 0,-1 13 0,1 0 16,-14-13-16,14 13 0,0-13 16,-14 13-16,1-14 0,12 14 0,-12-13 15</inkml:trace>
  <inkml:trace contextRef="#ctx0" brushRef="#br0" timeOffset="160648.19">14063 12184 0,'0'27'31,"0"-14"-15,0 13-16,0-13 0,0 14 16,0-1-16,0 1 0,13-1 15,-13 1-15,0-1 0,0 1 0,0-1 16,0 1-16,0-14 0,0 13 0,13-13 16,-13 1-16,0-1 0,0 0 15,13-13-15,-13 13 0,0 1 16</inkml:trace>
  <inkml:trace contextRef="#ctx0" brushRef="#br0" timeOffset="160944.44">13639 12687 0,'27'-13'0,"-14"13"0,0 0 16,14-14-16,12 14 0,1 0 0,13-13 16,-13 13-16,13-13 0,-1 13 0,1 0 15,14 0-15,-15-13 0,54 13 16,-53 0-16,-13 0 0,0 0 16,-1 0-16,-12 0 0,-1 0 0,1 0 15,-1-14-15,-13 14 0,14 14 16,-14-28-16,0 28 0,0-14 0,1 0 15,-1 0-15,-13-14 0,13 14 16,0 0-16,1 0 0,-1-13 16</inkml:trace>
  <inkml:trace contextRef="#ctx0" brushRef="#br0" timeOffset="167816.14">22873 9446 0</inkml:trace>
  <inkml:trace contextRef="#ctx0" brushRef="#br0" timeOffset="169337">13904 13057 0,'26'-13'31,"-12"13"-15,-1 0-16,0 0 0,0-13 0,0 13 15,1-13-15,-1 13 0,0 0 16,0-14-16,1 14 0,-41 0 47,14 14-47,0-14 15,-1 0-15,1 0 0,0 13 16,0-13-16,0 0 0,-1 0 31,41 13-15,-14-13-16,0 0 15,0 13-15,1-13 16,-1 0-16,0 0 0,0 13 0,1-13 0,-1 0 16,-13 14-16,13-14 0,0 0 0,-13 13 15,0 0 1,0 14-16,-13-14 16,0 0-16,0 0 0,-1 0 15,1 1-15,0-14 0,0 13 16,-14 0-16,14-13 0,0 13 0,0 1 15,-1-14-15,1 0 0,0 13 0,0-13 16</inkml:trace>
  <inkml:trace contextRef="#ctx0" brushRef="#br0" timeOffset="169658.02">14274 13123 0,'0'0'0,"0"14"16,0-1-16,0 0 0,14 0 15,-1 0-15,-13 1 0,13-14 16,0 13-16,0-13 0,1 13 0,-1-13 16,0 0-16,0 0 0,1 0 15,-1 0-15,0-13 0,0 13 0,-13-13 16,13 13-16,-13-14 0,14 14 0,-14-13 15,-14-13 1,1 13-16,0-1 0,0 14 16,0-13-16,-1 13 0,-12 0 0,13-13 15,-14 13-15,14 0 0,-13 0 16,12 0-16,-12 0 0,13 13 16,-1-13-16,-12 0 0,13 0 0,-1 13 15,1 1-15,0-14 0</inkml:trace>
  <inkml:trace contextRef="#ctx0" brushRef="#br0" timeOffset="170806.13">10094 8877 0,'-13'26'16,"13"-13"-16,0 27 16,0 0-16,-14 13 0,14 0 15,0 13-15,0 0 0,0 0 0,0-13 16,0 0-16,0 0 0,0-13 0,0-1 16,0 1-16,0-14 15,0 1-15,0-1 0,0 1 0,0-1 16,0-13-16,0 1 0,0-1 0,0 0 15</inkml:trace>
  <inkml:trace contextRef="#ctx0" brushRef="#br0" timeOffset="171973.93">9803 8850 0,'39'-13'0,"-78"26"0,92-39 0,-27 26 16,14-13-16,0-1 0,12 14 16,-12-13-16,26 13 0,-13-13 0,27 0 15,-14 13-15,13-14 0,-13 14 0,14-13 16,-1 0-16,-13 13 0,14-13 15,-1 0-15,0 13 0,1-14 16,65 1-16,-92 0 0,0 13 16,53-13-16,-66 13 15,12-14-15,-12 14 0,-13 0 0,-1 0 16,1 0-16,-1-13 0,-13 13 0,14 0 16,-14 0-16,0 0 0,0 0 15,1 0-15,12 0 0,-13-13 16,1 13-16,-1 0 15,0 0-15,0 13 16,0-13-16,1 0 0,-14 13 16,13-13-16,0 14 0,0-14 15,1 13-15,-1-13 16,0 13-16,0-13 16,0 0-16,-13 13 0,14-13 15,-1 0-15,0 0 16,-13 14-16,13-14 0,1 0 15,-14 13-15,13-13 0,0 13 16,0-13-16,1 13 0,-1-13 16,0 13-16,0-13 15,0 14-15,1-14 16,-1 13 0,0-13-1,0 13 1,1-13-1,-1 0 17,0 13-32,0-13 15,1 0-15,-1 0 32,0 0-32,0 0 15,0 0 1,1 0-1,-1 0 1,0 0 0,0 14-1,1-14 1,-1 13-16,-13 0 16,13-13-16,0 13 0,-13 1 15,13-14-15,1 13 0,-14 0 16,13 0-16,-13 0 0,13-13 0,-13 14 15,13-1-15,1 13 0,-14-12 16,13-1-16,0 13 0,-13-12 16,0-1-16,13 0 15,-13 0-15,0 14 0,0-14 0,0 0 16,0 0-16,0 1 0,0-1 0,-13 13 16,13-12-16,0-1 0,0 0 15,0 0-15,0 0 0,-13 14 16,13-14-16,0 0 0,-13 14 15,13-14-15,-14 0 0,14 0 16,-13 1-16,13-1 16,-13 0-16,0-13 0,-1 13 0,1 1 15,0-1-15,0 0 0,0 0 16,-27 1-16,13-1 0,-12 0 0,-14 0 16,13 0-16,-26 1 0,13-1 15,-66 13-15,66-12 0,-13-14 16,13 13-16,0-13 0,-66 13 0,66-13 15,0 0-15,0 0 16,0 0-16,14-13 0,-41 0 16,41 13-16,12-14 0,1 1 0,12 13 15,-12-13-15,13 0 16</inkml:trace>
  <inkml:trace contextRef="#ctx0" brushRef="#br0" timeOffset="172754.12">10861 8215 0,'-26'0'0,"52"0"0,-79 0 16,53 14-16,-26-14 0,-1 26 16,14-13-16,-13 14 0,12-14 15,1 0-15,0 14 0,0-14 0,13 13 16,-14-12-16,14-1 0,-13 0 15,13 0-15,0 0 0,13 1 16,1-1-16,12-26 16,-13 13-16,1-14 15,-1 1-15,0 0 0,0-13 16,1 12-16,-1-12 0,0-1 0,0 14 16,-13 0-16,13-14 0,-13 14 0,14 0 15,-14 0-15,0 0 16,0 39-1,0-13 1,0 0-16,0 1 0,0-1 16,0 0-16,0 0 0,0 14 15,0-14-15,0 0 0,13 1 0,-13-1 16,0 0-16,13 0 0,0-13 16,1 0-16</inkml:trace>
  <inkml:trace contextRef="#ctx0" brushRef="#br0" timeOffset="172945.13">11126 8215 0,'-14'27'0,"1"-14"16,13 13-16,0-12 0,-13-1 16,13 13-16,0-12 0,0 12 0,-13-13 15,13 14-15,0-14 0,0 0 16,0 0-16,0 14 0,0-14 0,0 0 15,-13 1-15,13-1 0,0 0 16,13 0-16</inkml:trace>
  <inkml:trace contextRef="#ctx0" brushRef="#br0" timeOffset="173853.15">22595 8864 0,'-53'79'31,"40"-39"-15,0-1-16,0 14 0,0 0 15,-14 0-15,14 0 0,0 0 0,-14 0 16,14-14-16,0 1 0,0 0 0,13-14 15,-14 1-15,14-1 0,-13 1 16,13-14-16,0 13 0,0-12 0,-13-1 16,13 0-16,0 0 0,0 1 15</inkml:trace>
  <inkml:trace contextRef="#ctx0" brushRef="#br0" timeOffset="175318.11">1164 9591 0,'66'0'31,"-39"0"-31,65-13 16,-39 13-16,0-13 0,0 13 16,13-14-16,14 14 0,-14-13 15,13 0-15,-13 0 0,14 13 0,-14-13 16,0-1-16,0 1 0,0 0 0,0 0 16,-13 13-16,-13-14 0,13 1 15,-13 13-15,-14-13 0,1 13 0,-1 0 16,-13 0-16,14-13 0,-14 13 0,0 0 15,0 0-15,1 0 16,-1-14-16,0 14 16,0 0-16,1 0 31,-14 14-31,0-1 16,13-13-16,-13 13 0,0 0 15,13 1-15,-13-1 0,0 0 16,13 0-16,-13 14 0,13-14 0,1 13 15,-1-12-15,0 12 0,0 1 0,14-1 16,-1 14-16,-12-14 0,12 1 16,0-1-16,-12 14 0,12-14 0,1 1 15,-14 12-15,0-12 0,0-1 16,14 14-16,-14-14 0,-13 1 16,13-1-16,0 1 0,-13-14 0,0 14 15,14-14-15,-14 13 0,0-13 0,0 1 16,-14 12-16,14-13 0,-13 1 15,0 12-15,0-13 0,-14 1 0,-12 12 16,12-13-16,-13 14 0,-26-14 0,13 0 16,-13 0-16,0 14 0,-13-14 15,13 0-15,-27 1 0,14-1 0,-14 0 16,0 0-16,14 14 0,-27-14 16,0 13-16,14-12 0,-14 12 0,27 0 15,-1-12-15,1 12 0,13-13 16,-1 14-16,15-14 0,25 14 0,1-14 15,12-13-15,1 13 0,26-13 0,14 0 16,26-13-16</inkml:trace>
  <inkml:trace contextRef="#ctx0" brushRef="#br0" timeOffset="176285.27">22569 8718 0,'-40'0'31,"80"13"-31,-27-13 16,14 0-16,-1 0 0,1 0 0,-1 0 16,14 13-16,-1-13 0,14 0 0,-13 0 15,13 0-15,0 0 0,0 0 16,-14 0-16,-12 0 0,-1 0 0,1 0 16,-1 0-16,1 0 0,-14 0 15,0 14-15,0-1 16,-26 0-16,13 0 0</inkml:trace>
  <inkml:trace contextRef="#ctx0" brushRef="#br0" timeOffset="176559.14">22119 9657 0,'27'0'16,"-54"0"-16,67 0 0,0-13 0,12 0 0,15 13 16,-1-13-16,0-1 0,13 1 15,-13 0-15,14 13 0,-1-13 0,-13-1 16,14 1-16,-1 0 0,-13 0 0,0 13 16,1-13-16,-28-1 0,14 1 15,-13 13-15,-14-13 0,-13 13 0,14-13 16,-14 13-16,0-14 0,-39 14 15,-1 0 1,-25 0-16</inkml:trace>
  <inkml:trace contextRef="#ctx0" brushRef="#br0" timeOffset="177491.63">2156 10782 0,'-26'0'0,"52"0"0,-65 0 0,25 0 16,1 0-16,0 0 16,0 13-16,0-13 0,-1 13 0,1 14 15,0-14-15,0 13 0,-1-12 16,1 12-16,13-13 0,-13 14 16,13-14-16,-13 0 0,13 0 0,0 1 15,0-1-15,0 0 0,13-13 0,-13 13 16,13 1-16,0-14 15,1 0-15,-1 0 0,0 0 16,0-14-16,1 14 0,-1-13 0,0 0 16,0 0-16,0-1 15,1 1-15,-1 0 0,-13 0 0,13 13 16,-13-13-16,13-1 0,-13 1 16,14 13-1,-14-13 1,13 26-1,-13 0-15,0 1 16,13-1-16,-13 0 16,0 0-16,13 0 0,-13 1 15,13-1-15,-13 0 0,14-13 16,-14 13-16,13-13 0,0 14 0</inkml:trace>
  <inkml:trace contextRef="#ctx0" brushRef="#br0" timeOffset="178255.51">2540 10835 0,'13'-14'15,"14"14"1,-27 14-16,0-1 15,0 0-15,-14 0 16,1 14-16,0-14 0,0 14 0,0-1 16,-1-13-16,-12 0 0,26 1 0,-13-1 15,-1 0-15,14 0 0,-13-13 16,13 14-16,-13-1 16,39-13-1,-12 0 1,-1-13-16,13 13 0,-12 0 0,-1-14 15,0 14-15,13-13 0,-12 13 0,-1 0 16,0-13-16,14 13 0,-14 0 16,0 0-16,0-13 0,1 13 15,-1 0-15,-13-14 0,13 14 0,0 0 16,0 0 0,1-13-1,-1 13 1,0 0 46,-13-13 220,13 13-282,-13-13 15</inkml:trace>
  <inkml:trace contextRef="#ctx0" brushRef="#br0" timeOffset="179349.46">15729 11668 0,'53'-13'0,"-39"13"15,12 0-15,1-13 0,-1 13 16,0 0-16,1 0 0,-14-14 0,14 14 16,-1 0-16,-13 0 0,1 0 0,-1 0 15,0 0-15,0 14 0</inkml:trace>
  <inkml:trace contextRef="#ctx0" brushRef="#br0" timeOffset="179539.81">15729 11853 0,'0'14'0,"27"-28"15,-14 14 1,0 0-16,14 0 0,-14 0 0,14-13 16,-1 13-16,-13 0 0,14 0 0,-1-13 15,1 13-15,-1-13 0,1 13 16,-1 0-16,-13-14 0,14 14 15,-1-13-15</inkml:trace>
</inkml:ink>
</file>

<file path=ppt/ink/ink12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12:00.855"/>
    </inkml:context>
    <inkml:brush xml:id="br0">
      <inkml:brushProperty name="width" value="0.05292" units="cm"/>
      <inkml:brushProperty name="height" value="0.05292" units="cm"/>
      <inkml:brushProperty name="color" value="#FF0000"/>
    </inkml:brush>
  </inkml:definitions>
  <inkml:trace contextRef="#ctx0" brushRef="#br0">8017 2659 0,'13'0'63,"66"0"-47,67 0-16,39 0 15,27 0-15,119 0 16,-14 0-16,120 0 15,-40 0-15,-67 0 16,-12 0-16,-159 0 16,-54 0-16,-52 0 15,-40 13 267</inkml:trace>
  <inkml:trace contextRef="#ctx0" brushRef="#br0" timeOffset="1104.83">8109 1707 0,'-13'13'16,"53"0"31,13 27-47,53-40 15,79 13-15,0 0 16,27-13-16,119 0 16,105 0-16,27 0 15,-26 0-15,26 0 16,-146-53-16,-92 27 16,-40 13-16,-79-14 15,-66 27-15,-27 0 16</inkml:trace>
  <inkml:trace contextRef="#ctx0" brushRef="#br0" timeOffset="1655.93">11972 1693 0,'14'27'31,"-14"79"-15,13 39-16,0 1 15,-13 12 1,0 14-16,0 0 16,0 0-16,0 14 15,0-41-15,0-13 16,0-52-16,0-41 15,0-25-15</inkml:trace>
  <inkml:trace contextRef="#ctx0" brushRef="#br0" timeOffset="3106.43">8414 1720 0,'-13'0'47,"-14"-13"-47,-26 13 16,-53 0-16,27 0 15,13 0-15,-40 0 16,53 0-16,-13 0 15,13 0-15,13 0 16,27 0 0,13 13 62,-13 40-78,-14-14 15,27 28-15,0 38 16,0-25-16,0 39 16,-13-27-16,13-25 15,-26 52-15,26-66 16,0-1-16,-27 1 16,27-13-1,0-13-15,0-14 16,0 0-16,0 0 15,0 14 1,27-14 234,26-13-234,26 13-16,-13-13 15,80 0-15,12 0 16,-25 0-16,-1 0 16,-66 0-16,-39 0 15,-14 0 1</inkml:trace>
  <inkml:trace contextRef="#ctx0" brushRef="#br0" timeOffset="5073.96">10544 2686 0,'13'0'62,"13"105"-46,40 1-16,14 53 15,-1-14-15,40 27 16,-13 0-16,53 27 16,-27-67-16,27-13 15,158 53-15,-26-79 16,14-27-16,105-26 16,-40-40-16,-13 0 15,14-27-15,-14-39 16,-53 13-16,-79-13 15,-79 13-15,-67 27 16,-66 26 0</inkml:trace>
  <inkml:trace contextRef="#ctx0" brushRef="#br0" timeOffset="5897.04">14830 3982 0,'13'13'31,"27"14"-31,-1-27 16,41 26-16,12-13 15,14 1-15,13-1 16,-26-13-16,13 40 16,-27-40-16,-26 0 15,0 0-15,-40 13 94,-13 0-94,0 13 16,0 14-16,-13 13 15,-40 40-15,13-54 16,1 41-16,26-41 16,-27 14-16,27-26 15,13-1-15,-27 1 16,27-14-1</inkml:trace>
  <inkml:trace contextRef="#ctx0" brushRef="#br0" timeOffset="7793.73">10861 1852 0,'66'-26'78,"106"-80"-78,106-13 16,159-40-16,131-13 15,1 13-15,-39 40 16,65 79-16,-79-65 16,-53 39-16,-172 52 15,-93 14-15,-92 0 16,-53 0-16,-40 0 78,-13 14-47,0-1-31,0 0 16,0 0-16,0 0 15</inkml:trace>
  <inkml:trace contextRef="#ctx0" brushRef="#br0" timeOffset="8698.41">15690 529 0,'13'0'47,"66"53"-47,14-26 16,-14 12-16,40-12 16,-66-1-16,0-26 15,-13 13-15,-14-13 16,1 14-16,-14-1 125,-13 0-110,-26 0-15,-14 27 16,-13-27-16,0 27 16,27-27-16,12-13 15,-12 27-15,13-27 16,0 13 0,-1 0 62</inkml:trace>
  <inkml:trace contextRef="#ctx0" brushRef="#br0" timeOffset="13528.88">7885 2355 0,'13'0'78</inkml:trace>
  <inkml:trace contextRef="#ctx0" brushRef="#br0" timeOffset="16080.07">8956 4498 0,'13'0'0,"-13"-13"15,-26 26 17,26 0-32,-27 0 0,14 1 0,0 12 15,-13 1-15,-1-1 0,14 0 16,-14 1-16,1-1 0,13 1 0,-1-14 15,1 0-15,13 0 0,-13 1 0,0-1 16,13 0-16,0 0 16,13-13-1,0 14-15,0-14 0,14 0 16,-14-14-16,0 14 0,14 0 0,-1-13 16,1 13-16,-14 0 0,13-13 15,1 13-15,-14-13 0,14 13 16,-14 0-16,13-14 0,-12 1 15,-1 13-15,0 0 0,-13-13 16,13 13-16,0-13 0,-13 0 16,0-1-16,0 1 0</inkml:trace>
  <inkml:trace contextRef="#ctx0" brushRef="#br0" timeOffset="16269.49">9062 4577 0,'0'0'0,"-13"-39"0,13 25 0,0 1 16,-13 13-16,-1-13 15,1 26 1,13 0-1,0 1-15,0 12 0,0 1 0,0-1 16,0 0-16,-13 1 16,13-1-16,0 14 0,0-14 0,0 1 15,0-1-15,13 1 0,-13-1 0,0 1 16,0-1-16,0 14 0,13-27 16,-13 0-16,14 1 15,-1-14-15</inkml:trace>
  <inkml:trace contextRef="#ctx0" brushRef="#br0" timeOffset="16454.77">9313 4683 0,'0'-26'31</inkml:trace>
  <inkml:trace contextRef="#ctx0" brushRef="#br0" timeOffset="16771.84">9578 4538 0,'0'0'0,"0"-14"0,0 1 0,-13 13 16,-14 13-1,14-13-15,13 14 16,-13-1-16,0 0 0,13 0 16,0 1-16,13-1 15,-13 0-15,13-13 0,-13 13 0,13 0 16,0 1-16,-13-1 0,14 0 15,-14 0-15,0 1 16,0-1-16,0 0 16,-14 0-16,14 0 15,-13-13-15,13 14 0,-13-1 16,0-13-16,13 13 0,-13 0 0,-1-13 16,14 14-16,0-1 0,-13-13 0,13 13 15,-13 0-15</inkml:trace>
  <inkml:trace contextRef="#ctx0" brushRef="#br0" timeOffset="17387.86">9036 5702 0,'0'0'16,"-40"26"-16,27 1 0,-14-14 0,14 0 0,-14 14 16,1-14-16,13 13 0,-14 1 15,14-14-15,0 0 0,13 14 0,-13-14 16,-1 0-16,14 0 0,0 1 15,0-1-15,0 0 0,14-13 16,-14 13-16,13-13 0,-13 13 16,13-13-16,0 0 0,1 0 0,-1 0 15,13 0-15,-13 0 0,1-13 0,12 13 16,-13-13-16,14 13 0,-14-13 16,14 0-16,-14-1 0,0 1 0,0 0 15,0 0-15</inkml:trace>
  <inkml:trace contextRef="#ctx0" brushRef="#br0" timeOffset="17577.16">9115 5702 0,'-13'-27'0,"-1"14"16,1 26-1,13 1-15,0-1 16,-13 0-16,13 0 0,0 14 0,0-1 16,0-13-16,0 14 15,13 52-15,-13-52 0,0-1 16,0 1-16,0 12 0,0-12 0,0-1 15,13-13-15,-13 14 0,0-14 16,14 0-16,-14 14 0,13-27 0,-13 13 16,13-13-16</inkml:trace>
  <inkml:trace contextRef="#ctx0" brushRef="#br0" timeOffset="17727.09">9287 5900 0,'-13'0'0,"-1"0"32,1 0-17,13 13-15</inkml:trace>
  <inkml:trace contextRef="#ctx0" brushRef="#br0" timeOffset="18003.21">9472 5794 0,'0'93'31,"13"-80"-15,1 0-16,-1-13 15,0 14-15,0-14 0,0 0 16,1 0-16,-1 0 15,-13-14-15,13 14 16,-13-13-16,0 0 16,-13 0-16,0 0 15,-1 13-15,1 0 0,13-14 16,-26 14-16,13-13 0,-1 13 0,1-13 16,-13 13-16,12-13 0</inkml:trace>
  <inkml:trace contextRef="#ctx0" brushRef="#br0" timeOffset="18367.18">8559 5569 0,'66'-26'0,"-132"52"0,185-78 0,-66 38 16,0-12-16,13 13 0,14-1 15,-14 1-15,13 0 0,1 0 0,-1 0 0,-13 13 16,0 0-16,-13 0 0,27 13 16,-14 0-16,0 0 0,-13 14 15,0-1-15,0 1 0,-14 12 0,1 1 16,-14 0-16,-12-1 0,-1 1 0,-13 0 16,0 13-16,-13-14 0,-1 14 0,1 0 15,-13 0-15,-14 0 0,14-13 16,-14 13-16,0-14 0,1 1 0,-1-14 15,-13 14-15,0-13 0,13-1 0,-26-13 16,26 14-16,-12-27 0,12 13 16,0-13-16,1 0 0,-1-13 0,0-1 15,0 1-15,1-13 0,12-1 16,-12-12-16,12 12 0,1-13 0</inkml:trace>
  <inkml:trace contextRef="#ctx0" brushRef="#br0" timeOffset="18851.82">8758 5159 0,'0'0'0,"66"-13"0,-26 13 0,-1-13 0,1 0 15,13-1-15,13 1 0,-13 0 0,13 0 16,0 0-16,-13-14 0,0 14 16,13 0-16,-13-14 0,-13 1 0,-1 12 15,1 1-15,0-13 0,0-1 16,-1 14-16,54-66 15,-80 39-15,13 14 0,1-14 16,-14 0-16,0 14 0,-13-14 0,0 0 16,-13 1-16,0-1 0,0 14 0,-14-14 15,-12 0-15,12 14 0,-13-1 16,-26 1-16,13 13 0,-13-1 0,0 1 16,0 0-16,0 13 0,0 0 0,-14 13 15,14 0-15,0 1 0,13 12 0,-13-13 16,13 14-16,0 12 0,0-12 15,13-1-15,1 14 0,-1 0 16,14-1-16,-1-12 0,14 13 0,-14-14 0,14 14 16,0-14-16,13 14 0,-13-1 15,13 1-15,-13-13 0,-1 12 16</inkml:trace>
  <inkml:trace contextRef="#ctx0" brushRef="#br0" timeOffset="19716.08">7170 6046 0,'0'53'16,"0"-40"-1,13 0-15,-13 0 0,0 1 16,14 12-16,-1-13 16,-13 0-16,13 1 0,0-28 31,-13 1-31,0 0 0,0 0 16,0 0-16,0-14 0,14 14 0,-14 0 15,0-14-15,0 14 0,13 0 16,-13-1-16,0 1 0,0 0 15,13 13-15,-13-13 0,13 13 16,0 13-16,1-13 16,-14 13-16,13-13 15,-13 13-15,13-13 0,-13 14 16,13-14-16,1 0 0,-1 13 16,0-13-1,14 0 1,-14-13-16,0 13 15,0 0-15,0-14 16,1 14-16,12 14 16,-13-14-16,-13 13 15</inkml:trace>
  <inkml:trace contextRef="#ctx0" brushRef="#br0" timeOffset="20082.99">7646 5874 0,'27'-13'15,"-14"-1"-15,0 14 16,1 0-16,-1 0 0,0 0 16</inkml:trace>
  <inkml:trace contextRef="#ctx0" brushRef="#br0" timeOffset="20263.8">7686 6072 0,'0'0'0,"40"-13"31,-27 0-15,0 13-16,1 0 0,-1-14 15,0 1-15,0 13 16,0 0-16,1-13 0,-1 13 0,0-13 16,0 13-16,1-13 0,-1 13 0,-13-14 15</inkml:trace>
</inkml:ink>
</file>

<file path=ppt/ink/ink12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44:49.793"/>
    </inkml:context>
    <inkml:brush xml:id="br0">
      <inkml:brushProperty name="width" value="0.05292" units="cm"/>
      <inkml:brushProperty name="height" value="0.05292" units="cm"/>
      <inkml:brushProperty name="color" value="#FF0000"/>
    </inkml:brush>
  </inkml:definitions>
  <inkml:trace contextRef="#ctx0" brushRef="#br0">6906 1495 0,'39'13'0,"-78"-26"0,118 26 16,-26-13-16,0 0 0,26 0 0,1 0 16,78-13-16,-78 13 0,12-13 15,67 13-15,-93-14 0,0 14 16,-13 0-16,0 0 0,-13 0 16,0-13-16,-14 13 0,0 0 0,1 0 15,-1 0-15,-12 0 0,-1 0 0,13 0 16,-12 0-16,-1 0 15,13 0-15,-13 0 0,54 13 0,-41-13 16,14 0-16,-14 0 0</inkml:trace>
  <inkml:trace contextRef="#ctx0" brushRef="#br0" timeOffset="337.77">9750 1336 0,'0'0'0,"66"0"0,-26 0 15,13 0-15,-14 0 0,14-13 16,185 13-1,-185 0-15,66 0 0,-66 0 16,0 0-16,-13 0 0,0 0 16,-14 13-16,0-13 0,1 0 15,-1 0-15,-12 0 0,-1 0 0,13 0 16,-12 0-16,-1 0 0,0 13 16,0-13-16,0 0 15</inkml:trace>
  <inkml:trace contextRef="#ctx0" brushRef="#br0" timeOffset="914.12">13957 1296 0,'106'14'16,"-67"-28"-16,1 14 0,13 0 15,13 0-15,0 0 0,0 0 0,14 0 16,-1 0-16,-13 0 0,0 0 0,-13 0 16,13 0-16,-13 0 0,53 0 15,-66 0-15,-14 0 0,1 0 0,-14 0 16,13 0-16,-12 0 0,-1 0 15,0 0-15,0 0 0,-39-13 32,13 13-32,-1 0 15,1 0-15,0 0 0,0 0 16,0 0-16</inkml:trace>
  <inkml:trace contextRef="#ctx0" brushRef="#br0" timeOffset="3450.37">18680 3056 0,'79'13'0,"-158"-26"0,198 26 0,-53 0 0,0-13 16,13 0-16,1 0 0,12 14 0,-12-14 15,-1 0-15,0 0 0,54 0 16,-80 13-16,0-13 0,-14 0 16,-12 0-16,-1 0 0,1 0 0,-14 0 15,0 0-15,14 0 0,-14 0 16,0 0-16,-26-13 31</inkml:trace>
  <inkml:trace contextRef="#ctx0" brushRef="#br0" timeOffset="5846.19">15954 4008 0,'27'14'16,"-14"-14"-16,14 0 0,12 0 0,14 0 16,13 0-16,14 0 0,12 0 0,1 0 15,13 0-15,0 0 0,-1 0 16,133 0-16,-132 13 0,-13-13 15,13 0-15,-14 0 0,-12 0 0,12 0 16,-26 13-16,14-13 0,-27 0 16,0 0-16,0 0 0,-14 0 0,-12 0 15,-1 13-15,1-13 0,-1 0 0,-13 0 16,1 0-16,12 0 0,-13 0 16,1 0-16</inkml:trace>
  <inkml:trace contextRef="#ctx0" brushRef="#br0" timeOffset="6847.22">1548 5159 0,'92'-26'0,"-52"26"0,397-40 16,-345 27-1,1 13-15,-1-13 0,1 0 16,0 13-16,-1-14 0,-12 14 0,-1-13 16,0 13-16,27-13 0,-53 0 15,-13 13-15,0 0 16,-14 0-16,14-14 0,-27 14 15</inkml:trace>
  <inkml:trace contextRef="#ctx0" brushRef="#br0" timeOffset="7117.17">1998 5278 0,'251'-52'16,"-185"38"-1,0 1-15,0 13 0,1-26 16,12 12-16,-13 1 0,0 0 0,0 0 16,1-1-16,-15 14 0,-12-13 0,0 0 15,-14 13-15,14-13 16,-27 13-16,106-27 15</inkml:trace>
  <inkml:trace contextRef="#ctx0" brushRef="#br0" timeOffset="12121.89">14777 6390 0,'106'-14'0,"-67"14"0,226 0 31,-212-13-31,0 13 0,0 0 16,0 0-16,0 0 0,-14 0 0,14 0 16,-13 0-16,-14 0 0,1 0 15,-1 0-15,1 0 0,-14 0 0,0 0 16,0 0-16,1 0 0,-1 0 16,0 0-16,0 0 0,1 0 15,-1 0 1,0 0-1,-13 13-15,13-13 0,1 0 16,-1 0-16,13 0 0</inkml:trace>
  <inkml:trace contextRef="#ctx0" brushRef="#br0" timeOffset="12538.76">17555 6429 0,'172'14'31,"-119"-14"-31,0 0 0,0 0 0,13 0 16,-13 0-16,13 0 0,-13 0 0,-13-14 15,-1 14-15,-12 0 0,-1 0 16,-13 0-16,1 0 0,-14-13 16,-40 13-16,-13 0 15,-13 0-15,-27 0 0,-12 0 16,-41 0-16</inkml:trace>
  <inkml:trace contextRef="#ctx0" brushRef="#br0" timeOffset="13253.2">3969 7316 0,'-13'0'16,"158"0"15,-79-14-15,0 1-16,14 13 0,-1-26 15,0 26-15,1-13 0,-1-1 0,1 1 16,12 0-16,-12 0 0,12-1 0,-12 1 15,12 0-15,-12 13 0,12 0 16</inkml:trace>
  <inkml:trace contextRef="#ctx0" brushRef="#br0" timeOffset="13553.29">7752 7316 0,'0'0'0,"93"-14"0,-53 14 15,13 0-15,-14-13 0,14 13 0,-13 0 16,-1 0-16,-12-13 0,13 13 16,-14 0-16,40 0 15,-26-13-15,-14 13 0,-12 0 16,-1 0-16,0 0 0,0 0 0,1 0 16</inkml:trace>
  <inkml:trace contextRef="#ctx0" brushRef="#br0" timeOffset="18437.06">1640 8864 0,'14'0'16,"-1"13"-16,0-13 0,0 0 0,1 0 15,-1 0-15,0 0 16,0 0-16,14 0 0,-14 0 15,13 0-15,1 0 0,-14 0 0,27 0 16,-1 0-16,-12 0 0,26 0 16,-13 0-16,65 0 0,-52 0 15,0-13-15,0 13 0,0 0 0,0 0 16,0 0-16,13 0 16,-13-14-16,0 14 0,13 0 0,-13 0 15,13 0-15,-13 0 0,13-13 0,-13 13 16,13 0-16,14 0 0,-28 0 15,15 0-15,-1 0 0,-13 0 0,79 0 16,-66 0-16,13 0 0,-26 0 16,27 0-16,-27 0 0,13 0 15,-13 0-15,13 0 0,-13 0 0,13 0 16,-13 0-16,13 0 0,-13 0 0,13 0 16,-13 0-16,13 13 0,-13-13 15,13 0-15,-13 0 0,0 0 0,26 14 16,-26-14-16,0 0 0,13 0 0,-13 13 15,0-13-15,13 0 0,-13 0 16,0 0-16,0 13 0,0-13 0,-13 0 16,13 0-16,0 13 0,-14-13 0,14 0 15,0 0-15,0 0 16,0 0-16,0 0 0,13 13 0,-13-13 16,0 0-16,0 0 0,66 0 15,-66 0-15,53 0 16,-40 0-16,-13 0 0,0 0 0,-1 0 15,1 0-15,0 0 0,13 0 0,-13 0 16,0 0-16,13 0 0,-13 0 16,27 0-16,-27 0 0,13 0 0,-13 0 15,0 0-15,13 0 0,-13 0 0,0 0 16,-1 0-16,1 0 0,40 0 16,-40 0-16,0 0 0,39 0 15,-39 0-15,-13 14 16,0-14-16,-1 0 0,-12 0 0,13 0 15,-14 0-15,27 13 0,-13-13 16,-14 0-16,14 0 0,-14 0 0,14 0 16,-14 0-16,14 0 0,0 13 15,-14-13-15,67 0 16,-54 0-16,14 0 16,-13 0-16,-13 13 0,12-13 15,14 0-15,0 0 16,-26 0-16,-1 0 0,-13 0 15,14 0-15,-1 0 0,14 0 0,-14 0 16,1 0-16,-1 0 0,40 0 16,-26 0-16,0 0 0,52 0 15,-39 0 1,13-13-16,-26 13 0,26 0 16,-13-13-16,-26 13 0,12 0 15,1 0-15,0 0 0,13 0 16,-14 0-16,1-13 0,0 13 0,-14 0 15,14 0-15,-1 0 0,14 0 0,-13 0 16,53-14-16,-40 14 16,-14 0-16,14-13 0,0 13 15,0 0-15,-13 0 0,13-13 0,0 13 16,-1 0-16,1 0 0,-13-13 0,13 13 16,0 0-16,0 0 15,0-13-15,-14 13 0,14 0 0,93-14 16,-40 14-16,-67-13 15,14 13-15,40 0 16,-53 0-16,13 0 0,-14-13 0,14 13 16,-13 0-16,0 0 0,-1 0 0,14 0 15,-13 0-15,-1 0 0,54-13 16,-66 13-16,12 0 0,54 0 16,-53 0-16,12 0 0,-12 0 15,0 0-15,92 0 16,-92 0-16,-1-14 15,94 14-15,-94 0 16,14 0-16,-13 0 0,0 0 16,13-13-16,79 13 15,-92 0-15,52 0 0,-52 0 16,13 0-16,-13 0 0,-1 0 16,1 0-16,26 0 0,-26 0 15,-1 0-15,1 0 0,0 0 16,13 0-16,-14 0 0,14 0 15,-13 0-15,13 0 0,-27 0 0,14 13 16,0-13-16,-14 0 0,27 0 0,13 0 16,-26 0-16,-14 0 15,14 0-15,0 0 0,-14 0 0,27 0 16,-13 14-16,-14-14 0,27 0 0,-13 0 16,-14 0-16,14 0 0,-13 0 15,12 0-15,-12 0 0,12 0 0,-12 0 16,-1 0-16,14 13 0,-14-13 0,1 0 15,-1 0-15,1 0 0,-1 0 0,1 0 16,-14 0-16,13 0 0,1 0 16,-1 13-16,1-13 0,-14 0 0,13 0 15,1 0-15,-14 13 0,14-13 0,-1 0 16,-13 0-16,14 0 16,-1 0-16,-13 14 0,14-14 0,-14 0 15,14 0-15,-1 0 0,14 13 16,-27-13-16,40 13 15,-27-13-15,1 0 0,-14 13 0,14-13 16,-1 0-16,0 0 0,1 13 0,-1-13 16,14 0-16,-14 14 0,1-14 15,-1 0-15,1 0 0,-1 13 0,1-13 16,-1 0-16,1 0 0,-1 0 0,-13 0 16,14 13-16,-1-13 0,27 0 15,-26 0-15,-14 0 16,40 0-16,-40 0 0,13 0 15,1 0-15,-14 0 0,14 0 16,-1 0-16,-13 0 0,14 0 0,-14 0 16,13 0-16,1 0 0,-1 0 0,-12 0 15,12 0-15,1 0 0,-1 0 16,-13 0-16,40-13 16,-40 13-16,14 0 0,-1 0 0,-12 0 0,12 0 15,0 0-15,-12 0 0,12 0 16,1 0-16,-14 0 0,13 0 15,1 0-15,-1 0 0,1 0 0,12 0 16,-12 0-16,-1 0 0,1 0 16,-1 0-16,1 0 0,26 0 15,-27 0-15,-13 0 0,40 0 16,-40 0-16,14 0 0,-14 0 16,14 0-16,-14 0 0,13 0 15,-13 0-15,14 0 0,-14 0 0,14 0 16,-14 0-16,13 0 0,-13-13 0,14 13 15,-14 0-15,14 0 0,-14 0 16,27 0-16,-27 0 0,13 0 16,1 0-16,-14 0 0,13 0 15,-12-14-15,12 14 16,1 0-16,-1 0 16,-13 0-16,27-13 0,-27 13 15,0 0-15,1-13 0,12 13 16,-13 0-16,1 0 0,25-13 15,-26 13-15,1-13 0,25 13 16,-25-14-16,-1 14 0,0-13 16,0 13-16,1 0 0,-1-13 0,0 13 15,0-13-15,0 13 0,1-14 0,-1 1 16,0 13-16,-13-13 0,13 13 16,1-13-16,-1-1 0,0 1 0,0 13 15,0-13-15,1 0 0,-1 0 16,27-14-16,-27 14 0,0 0 15,14-1-15,-14 1 0,0-13 16,0 12-16,0 1 0,14 0 0,-14 0 16,0 0-16,1-1 0,-1 1 0,0 0 15,0 0-15,1-1 0,-14 1 16,13 0-16,13-13 0,-13-1 16,1 14-16,-1-14 15,0 14-15,-13 0 0,13-14 16,-13 14-16,14 0 0,-14-13 15,13 12-15,-13 1 0,0 0 0,0 0 16,0-14-16,0 14 0,0-14 16,0 14-16,0 0 0,-13-13 15,13 12-15,-14 1 0,1-13 16,0 12-16,-14-12 16,1 13-16,0 0 0,-1-14 0,1 14 15,-14 0-15,13-1 0,-12 1 0,-41-13 16,27 12-16,14 14 15,-1-13-15,-13 0 0,14 13 0,-14-13 16,-53 0-16,66 13 0,-13-14 16,-53 14-16,40-13 15,13 13-15,-13 0 0,-13-13 16,13 13-16,-1 0 0,-12-13 0,13 13 16,0-14-16,-80 14 0,67-13 15,13 13-15,-14-13 16,-12 13-16,12-13 0,1 13 0,-93-14 15,79 1-15,1 13 0,-93-13 16,79 13-16,-93-13 16,67 13-16,39-13 0,-12 13 0,-1 0 15,-27-14-15,14 14 0,14 0 0,-120-13 16,119 0-16,-26 13 16,26-13-16,-27 13 0,41-14 15,-173 1-15,146 13 0,13-13 16,-26 13-16,26 0 0,-13-13 15,-119-1-15,106 14 0,26 0 16,-132-13-16,105 13 0,28 0 16,-1 0-16,-26-13 0,26 13 15,0 0-15,-26 0 0,26 0 0,0 0 16,0 0-16,0 0 0,-13-13 0,13 13 16,1 0-16,-1 0 0,0 0 15,0 0-15,0 0 0,14 0 16,-14 13-16,0-13 0,0 0 0,-92 0 15,105 13-15,-13-13 0,0 0 16,1 13-16,12-13 0,-92 14 16,92-14-16,-13 0 0,-79 13 15,92 0-15,1-13 0,-1 0 16,14 13-16,-14-13 0,-92 0 16,106 14-16,-1-14 0,-12 0 15,12 0-15,1 13 0,0-13 0,-14 0 16,14 0-16,-14 0 0,14 13 15,-80-13-15,80 0 0,-1 13 16,1-13-16,-1 0 0,1 0 16,13 0-16,-13 14 0,-1-14 0,1 0 15,13 0-15,-14 0 0,1 0 16,-1 13-16,-65-13 0,92 0 16,-13 0-16,13 0 0,-13 0 15,13 0-15,-66 0 16,66 0-16,0 0 0,-13 0 0,-40 0 15,40 0-15,13 0 0,0-13 16,0 13-16,0 0 0,-13 0 0,13 0 16,0-14-16,-26 14 0,26 0 0,-13 0 15,13-13-15,0 13 0,-13 0 16,13 0-16,0-13 0,0 13 16,-13 0-16,13 0 0,0 0 0,0 0 15,0 0-15,0 0 0,0 0 0,1 0 16,-1 0-16,13 0 0,-13 0 15,-53 13-15,53-13 0,0 0 16,-39 0-16,39 13 16,13-13-16,-13 0 0,14 0 0,-1 0 15,-26 14-15,26-14 0,14 0 16,-14 0-16,13 0 0,-12 0 16,-1 0-16,-26 0 0,39 0 15,-12 0-15,-41 0 0,41-14 16,-1 14-16,-13 0 0,27 0 15,-27-13-15,13 13 0,0 0 16,1-13-16,-1 13 0,-53 0 16,54 0-16,12 0 0,-13 0 15,1 0-15,12 0 0,-12 0 0,-27 0 16,26 13-16,13-13 0,-52 13 16,53-13-16,-1 14 0,-13-14 15,1 13-15,12 0 0,1-13 16,-40 26-16,39-12 0,-65 25 15,78-25-15,-12-1 16,13 0-16,-14 0 16,14 1-16,-27 12 0,27 0 15,-13-12-15,-1 12 0,14-13 16,0 1-16,-1-1 0,1 0 16,0 0-16,-13 14 0,26-14 15,-14 0-15,-25 40 16,25-40-16,14 1 0,-13 12 15,0-13-15,0 27 16,-1-14-16,14-12 0,-13 25 16,0-12-16,13-14 0,0 13 15,-13-12-15,13 12 0,-13 14 16,13-14-16,0 1 0,0-1 16,0 14-16,0-14 0,0 1 15,13-1-15,-13 1 0,13-1 16,13 14-16,1-14 0,-14 1 15,40 12-15,-26-25 0,78 39 16,-78-40 0,52 0-16,-39 0 0,0 1 15,-1-14-15,54 13 0,-40-13 16,39 0-16,-25 0 16,91 0-16</inkml:trace>
  <inkml:trace contextRef="#ctx0" brushRef="#br0" timeOffset="19765.28">16219 9657 0,'0'0'0,"-13"40"16,13-27-1,0 14 1,0-14-16,0 0 16,-14 0-16,14 1 0,0-1 15,0-40 32,0 14-47,0 0 16,0 0-16,14-1 0,-14 1 15,0 0-15,0 0 16,13 0-16,0 13 31,0 13-31,-13 0 16,14 0-16,-1 0 0,0 1 16,-13-1-16,13 0 15,1-13-15,-1 0 16,0 0-1,0-13-15,0 0 0,1-1 0,-1 14 16,0-13-16,-13 0 0,13 13 0,1-13 16,-1 0-1,0 13-15,0 13 16,-13 0-16,14 0 16,-1 0-16,-13 1 15,0-1-15,0 13 0,13-12 16,-13-1-16,0 0 0,0 0 15,0 0-15,13-13 16,0 0-16,1 0 16,-1 0-16</inkml:trace>
  <inkml:trace contextRef="#ctx0" brushRef="#br0" timeOffset="20106.77">16801 9790 0,'13'-27'16,"-26"54"-16,26-67 0,-13 13 0,0 14 0,0 0 15,0-13 1,0 12-16,-13 28 31,0-1-15,13 0-16,0 0 0,-13 14 0,13-14 15,0 0-15,0 0 0,0 14 0,0-14 16,0 0-16,0 0 0,13 14 16,0-27-16,0 13 0,14 0 15,-14-13-15,0 0 0,27 0 16,-14 0-16,1-13 15,-14 13-15,13-13 0</inkml:trace>
  <inkml:trace contextRef="#ctx0" brushRef="#br0" timeOffset="20637.3">17343 9684 0,'-13'-13'0,"-26"13"16,25 0-1,1 0-15,0 0 16,13 13-16,-13-13 0,-14 13 16,14 0-16,0-13 0,-1 27 15,1-27-15,13 13 0,-13 0 16,13 0-16,-13 1 16,26-1-16,-13 0 15,13-13 1,0 0-16,1 0 15,-1-13-15,0 13 0,14-13 16,-14-1-16,0 1 0,-13 0 16,13 13-16,1-13 0,-1-1 15,0 14-15,-13-13 16,13 13-16,0 0 31,-13 13-31,0 1 16,14-1-1,-14 0 1,13-13 0,0 0-1,0 0-15,1 0 0,-1 0 16,13 0 0,-13 0-16,1 0 15,-1 0-15,0 0 16,0 0-1,1 0-15,12 0 16,-13 0-16,1-13 16,-1 13-16</inkml:trace>
  <inkml:trace contextRef="#ctx0" brushRef="#br0" timeOffset="21874.1">16404 10425 0,'0'26'31,"-13"-26"-31,13 13 0,0 1 15,0-1-15,-13 0 16,13 0 0,0-39 15,13 13-15,-13-1-16,0 1 0,13 0 15,-13 0-15,0-1 16,13 1-16,1 13 31,-14 13-31,13-13 16,0 14-16,0-1 15,1 0 1,-1-13 0,0-13-16,0 13 15,0-13-15,1 13 16,-14-14-16,13 14 15,0-13-15,0 13 16,1 13 0,-1 1-1,-13-1 1,0 0-16,0 0 16,0 1-16,0-1 15,13-13-15,-13 13 16,0 0-16,0 0 0,13-13 15,1 14-15,-1-14 16,0 0-16,-13 13 0</inkml:trace>
  <inkml:trace contextRef="#ctx0" brushRef="#br0" timeOffset="22194.04">16841 10544 0,'0'-14'0,"0"1"31,0 0-31,0 0 16,13 13-16,-26-13 31,0 26-15,-1 0-16,14 0 15,-13 0-15,13 1 16,0-1-16,0 0 0,13 0 16,-13 1-16,14-1 15,-1-13-15,-13 13 16,13-13-16,0 0 16,14 0-16,-14 0 15</inkml:trace>
  <inkml:trace contextRef="#ctx0" brushRef="#br0" timeOffset="22878.01">17238 10425 0,'0'0'0,"-14"-14"0,1 14 16,0 0-16,0 0 15,-1 0 1,1 14-16,0-14 0,0 13 0,0-13 16,-1 13-16,14 0 0,-13-13 0,13 14 15,-13-1-15,13 0 0,-13 0 16,26 0-16,0-13 16,-13 14-16,13-14 15,14-14-15,-14 14 0,0 0 16,0-13-16,1 0 0,12 0 0,-13 0 15,1-1-15,-1-12 0,0 13 0,0-40 16,1 39-16,-1-12 16,-13 0-16,0 12 0,13 1 15,-13-13-15,0 12 0,13 1 16,-13 0-16,-13 26 31,0 0-31,13 1 0,-13-1 16,13 0-16,-14 0 0,14 14 0,0-14 15,0 0-15,0 14 0,0-14 16,14 0-16,-1 14 0,0-14 16,0-13-16,0 0 0,1 0 15,-1 0-15,0 0 0,0 0 16,14 0-16,-14 0 16,0 0-1,0 13-15,-13 0 16,14 1-1,-14-1 1,0 0-16</inkml:trace>
  <inkml:trace contextRef="#ctx0" brushRef="#br0" timeOffset="23361.93">17661 10319 0,'-40'26'31,"27"-13"-31,13 1 0,-13-14 16,13 13-16,-13-13 16,13 13-16,0 0 15,0 1-15,13-14 16,0 0-16,0-14 15,0 14-15,1-13 16,-1 13-16,0-13 0,0 13 16,1 0-16,-1 13 31,0-13-31,0 13 16,1 1-1,-1-14 1</inkml:trace>
  <inkml:trace contextRef="#ctx0" brushRef="#br0" timeOffset="24410.31">16457 11390 0,'0'27'16,"0"-14"-1,0 0-15,0 14 16,0-14-16,0 0 16,0 0-16,0 1 0,0-1 15,27-40 16,-27 14-15,0 0-16,13 0 0,-13-1 16,0 1-16,0 0 0,13 0 15,-13 0-15,0-1 16,0 1-16,13 40 47,-13-14-32,13-13-15,-13 13 16,27-26 0,-14 13-1,0 0-15,-13-13 0,14 13 16,-1 0-16,0 0 16,-13 13-1,13-13-15,-13 13 16,14-13-16,-14 13 15,13-13-15,0 0 16,0 0 0,0 0-16,1 0 0,-14-13 0,13 13 15,0-13-15,0 13 0,1-13 16,-1 13-16,-13-14 0,13 14 16,0-13-16,1 0 15,-14 26 16,13 0-31,-13 1 0,0-1 16,0 0-16,13 0 16,-13 0-1,13 1-15,0-14 0,1 13 16,-1-13-16,0 0 0,0 0 16,1 0-16,-1-13 0,0-1 15,0 1-15,-13 0 16,0 0-1,0 0-15,-13-1 16,0 1-16,0 13 16,-1-13-16</inkml:trace>
  <inkml:trace contextRef="#ctx0" brushRef="#br0" timeOffset="25061.55">17277 11284 0,'-26'14'31,"13"-1"-31,-1 0 15,14 0-15,-13-13 0,13 14 16,0-1-16,-13-13 0,0 26 16,13-12-16,0-1 15,0 0 1,13 0-16,0-13 16,0 0-1,1-13-15,-1 13 0,-13-13 16,26-14-16,-12 14 0,-1 0 15,-13-14-15,13 1 0,0-1 16,0 1-16,1-27 16,-14 27-16,13 12 0,-13-12 0,0 13 15,0-1-15,0 1 16,0 0-16,-13 26 31,-1 0-31,14 1 16,0-1-16,-13 13 0,13 1 15,0-14-15,0 14 0,0-1 16,13-13-16,-13 14 0,14-14 16,-1 0-16,-13 0 15,26-13-15,-12 14 0,-14-28 16,13 14-16,0 0 0,0-13 0,40-13 16,-53 12-1,27 1-15,-14 13 16,0 0-16,0 13 15,-13 1 1,0-1 0,14 0-16,-14 0 15,13-13-15,0 0 16,13 0 0,-12 0-16,-1-13 0</inkml:trace>
  <inkml:trace contextRef="#ctx0" brushRef="#br0" timeOffset="25355.54">18018 11086 0,'13'13'15,"14"-26"1,-27 0-16,13 13 15,-13-13-15,13 13 0</inkml:trace>
  <inkml:trace contextRef="#ctx0" brushRef="#br0" timeOffset="25619.49">18296 10253 0,'40'0'31,"-27"0"-31,0 0 0,0 0 16,1-14-16</inkml:trace>
  <inkml:trace contextRef="#ctx0" brushRef="#br0" timeOffset="25948.14">18058 9525 0,'53'0'15,"-40"0"-15,13 0 16,1 0-16,79-13 16,-53 13-16,-14 0 0,41 0 15,-41 0-15</inkml:trace>
  <inkml:trace contextRef="#ctx0" brushRef="#br0" timeOffset="27195.31">18759 9327 0,'26'0'0,"1"0"0,-14 0 16,14 0-16,-1 0 0,0-14 15,1 14-15,26 0 16,-40 0-16,0-13 0,40 26 31,-40 1-15,-13-1-16,0 0 0,14 13 16,-14 14-16,0 0 15,13 66-15,0-40 0,-13 0 16,13 0-16,-13 13 0,14-12 0,-1 12 15,0 0-15,0 1 0,-13-14 0,14 13 16,-1 1-16,-13-1 0,13-13 16,-13 0-16,0 53 0,0-66 15,0 0-15,0-13 0,0 13 16,0-13-16,-13 39 0,0-39 16,-1-1-16,1 1 0,0-14 15,13-12-15,-13 12 16,-1-13-16,1 1 0,0 12 15,0-26-15,-1 13 0,1 0 0,0-13 16,0 0-16,0 14 0,-1-14 16,1 0-16,0 0 0,-14 0 15,14 0-15,0 0 0,0 0 0,-1-14 16,1 14-16,0 0 16,13-13-16,-13 13 0,13-13 0,-13 0 15</inkml:trace>
  <inkml:trace contextRef="#ctx0" brushRef="#br0" timeOffset="28797.64">20055 9842 0,'-26'0'0,"26"14"15,-13-1-15,-1 0 0,-12 14 0,-14 26 16,27-27-16,-13 14 15,12-14-15,1 1 0,0-1 16,0 14-16,0-27 0,13 0 16,0 0-16,0 14 0,0-14 15,13 0-15,0-13 16,0 0-16,14 0 0,-14 0 16,0 0-16,0-13 0,14 13 15,-14-13-15,27-14 0,-27 14 16,0 0-16,14-13 15,-27 12-15,13 1 0,0 13 0,-13-13 16,13 26 0,-13 0-16,0 1 15,0-1-15,0 0 0,14 0 16,-14 0-16,0 14 16,13-14-16,-13 0 15,13 1-15,0-14 16,0 0-16,1 0 15,12-14-15,-13 1 16,1-13-16,-1 12 0,-13 1 16,0-13-16,0 13 15,0-14-15,0 14 16,0 0-16,-13-14 0,-1 27 16,14-13-16,-13 13 15,0 0-15,0 0 16,-1 13-16,14 0 15,0 1 17,14-14-32,-1 13 0,0-13 15,0 0-15,14 0 16,-14 0-16,0 0 16,1 0-16,-1 13 15,0-13-15,0 13 16,-13 1-16,13-14 15,-13 13-15,0 0 16,14-13 0,-14 13-16,0 0 31,26-26 0,-26 0-31,13 0 16,1 13-16,-1-13 15,0 13-15,0-14 0,1 14 16,-1 14 0,0-14-1,0 13 1,0-13 0,-13 13-16,14-13 15,-1 13 1,0-13-1,0 0-15,1 0 16,-1 0-16,-13-13 16,13 13-16,0-13 15,1 0-15,-1-1 16,0 14-16</inkml:trace>
  <inkml:trace contextRef="#ctx0" brushRef="#br0" timeOffset="29361.51">21048 9618 0,'-27'79'31,"14"-39"-31,13-1 0,-27 27 16,14-26-16,-13 40 15,13-54-15,-1 14 0,14-14 16,-13-13-16,13 14 0,-13-14 0,0 14 16,13-14-16,-14 0 15,1-13 1,26-26 0,-13 12-16,14 1 0,-1-27 15,13 27-15,-12 0 0,-1 0 16,13-1-16,-13 1 0,27 0 15,-13 13-15,-14 0 0,0 0 16,14 0-16,-14 13 16,-13 0-16,13-13 0,-13 14 15,13-1-15,-26 13 16,-13 14-16,12-27 16,1 1-16,0-14 15,13 13-15,-13-13 0,-14 13 16,14-26-16,26 0 31</inkml:trace>
  <inkml:trace contextRef="#ctx0" brushRef="#br0" timeOffset="29498.47">21299 9962 0,'0'13'15,"0"-26"-15,0 39 0,0-13 16,0 0-16,0 1 0,-13-1 15,13 0-15,-14 0 0,14 1 16,-13-1-16</inkml:trace>
  <inkml:trace contextRef="#ctx0" brushRef="#br0" timeOffset="29660.79">21352 9750 0,'-13'0'0,"-1"0"15,-12 13-15,26 0 16</inkml:trace>
  <inkml:trace contextRef="#ctx0" brushRef="#br0" timeOffset="30076.41">21550 9909 0,'-13'13'0,"13"0"15,0 0-15,-13 1 0,0 12 16,13-13-16,-27 27 15,27-27-15,-13 14 16,0-14 0,13 0-16,-14 0 15,41-39 17,-14 13-32,0-1 0,-13 1 15,27 0-15,-14 0 16,-13-1-16,27 14 0,-14 0 15,0 0 1,0 0-16,0 14 0,1-1 16,-14 0-1,13-13-15,-13 13 0,13 1 16,0-14 0,1 13-16,-1-13 0,0 0 15,0 0-15</inkml:trace>
  <inkml:trace contextRef="#ctx0" brushRef="#br0" timeOffset="30900.6">22027 10001 0,'0'-13'0,"-14"0"31,1 13-31,0 0 16,0 0-16,-1 0 0,1 0 0,0 13 16,0-13-1,0 13-15,-14-13 0,27 13 16,-13-13-16,0 14 16,-1-14-16,14 13 15,14 0 1,-1 0-16,0-13 15,0 0-15,-13 14 16,14-14-16,-1 0 0,13 0 16,-13 0-16,1-14 15,-1 14-15,0 0 16,14-13-16,-14 0 0,40-40 16,-14-13-16,1 13 15,0-26 1,-1 12-16,-12 28 15,-1-1-15,-26 27 16,14 0-16,-14 39 31,-27 40-15,14-53-16,0 27 0,-1 13 16,1-27-16,106-39 218,-40 13-202,-14 13 0,-25-13-16,-1 27 15,0-14-15,-13 0 16,0 1-16,0-1 0,0 13 15,0-12 1,-13-14-16,13 13 0,-13 0 16</inkml:trace>
  <inkml:trace contextRef="#ctx0" brushRef="#br0" timeOffset="31015.06">22542 9816 0,'14'-13'16</inkml:trace>
  <inkml:trace contextRef="#ctx0" brushRef="#br0" timeOffset="31463.35">22781 9750 0,'-14'0'16,"28"0"-16,-41 13 0,14 0 15,0 1-15,-1-1 0,1 0 16,0 0-16,13 0 16,0 1-16,0-1 15,13-13 1,14-13 0,-14-1-16,0 1 15,0 13-15,-13-13 0,14 0 16,-1 0-1,-13 39 17,0-13-17,13-13-15,0 13 16,1-13-16,-1 0 16,0 0-16,0 0 0,-13 14 15,13-14-15,1 0 16</inkml:trace>
  <inkml:trace contextRef="#ctx0" brushRef="#br0" timeOffset="32044.41">20558 10583 0,'80'-26'16,"-160"52"-16,186-52 0,-66 13 0,-1-1 0,54 1 15,0 0-15,39-13 16,53-14-1,-66 27 1,-53-1 15,-26 1-31,-27 13 16,14 0-16,-14-13 16,0 13-1,0 0-15,1 0 16,-1 0-1,0 0 17,0 0 15,-13-13 31,0 26-47</inkml:trace>
  <inkml:trace contextRef="#ctx0" brushRef="#br0" timeOffset="-60341">21788 1746 0,'40'13'78,"53"14"-62,-27-27-16,26 0 15,-39 26-15,-13-26 16,0 14-16,-27-14 15,0 0-15,0 0 16,-13 13 0,14 0-16,-1 0 15,13 80-15,14 0 16,13 52-16,0 40 16,26 14-16,-26-41 15,0 28-15,0-41 16,-13 54-16,26 25 15,0-12-15,27 145 16,-1-66-16,14 67 16,-53-107-16,53 80 15,0 92-15,-1-66 16,15 80-16,-1 52 16,0-26-16,-27 106 15,-26-185 1,-13-40-16,-13-40 15,0-39-15,26 52 16,-53-145-16,0 0 16,-13 0-16,14 0 15,12 0-15,-26 26 16,40 54-16,-27 12 16,40-52-16,-40-27 15,0-52-15,14-41 16,-27-39-16,13 0 15,-13-40-15,0 0 16,0 1 93,-66-14-109,-40 0 16,-40 0-16,-118 0 16,-40 39-1,-186 41-15,40-41 16,1 54-16,25-27 16,93-26-16,80 26 15,53 0-15,132-39 16,-14 12-16,54-26 15</inkml:trace>
</inkml:ink>
</file>

<file path=ppt/ink/ink12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12:38.182"/>
    </inkml:context>
    <inkml:brush xml:id="br0">
      <inkml:brushProperty name="width" value="0.05292" units="cm"/>
      <inkml:brushProperty name="height" value="0.05292" units="cm"/>
      <inkml:brushProperty name="color" value="#FF0000"/>
    </inkml:brush>
  </inkml:definitions>
  <inkml:trace contextRef="#ctx0" brushRef="#br0">7673 238 0,'0'-13'15,"0"53"1,0-14 0,-13 27-16,13 0 0,0 26 15,0-13-15,0 14 0,0 12 0,-14-12 16,14 12-16,0-12 0,0-1 0,14 14 16,-14-14-16,0-13 0,0 14 15,0-27-15,13-1 0,-13 1 0,0-13 16,13-13-16,-13-1 0,0 0 0,0-12 15,13-1-15,-13 0 0,14 0 16,-1-26 0</inkml:trace>
  <inkml:trace contextRef="#ctx0" brushRef="#br0" timeOffset="336.77">7633 397 0,'53'-13'31,"-40"13"-31,27-14 0,0 14 16,-1-13-16,14 13 0,0-13 16,0 0-16,13 0 0,0-1 0,1 1 15,12 0-15,-13 0 0,14-1 0,-1-12 16,0 13-16,1-14 0,-1 14 0,0 0 16,14-14-16,-14 14 0,1 0 15,12 0-15,-12-1 0,-1 1 16,0 0-16,1 0 0,-14-1 0,27 1 0</inkml:trace>
  <inkml:trace contextRef="#ctx0" brushRef="#br0" timeOffset="2412.01">15121 26 0,'26'-13'0,"-12"26"0,-1 1 15,0-14-15,-13 13 0,13-13 16,1 13-16,-1 0 0,0-13 0,-13 14 15,13-14-15,0 13 0,1 0 0,-1 0 16,13-13-16,-12 14 0,-1-1 16,0 0-16,0-13 0,1 13 0,-1 0 15,0-13-15,0 14 0,0-14 16,-13 13-16,14-13 0,-1 13 0,0 0 0,0 1 16,1-14-1,-14 13-15,13 0 0,-13 0 0,13 1 16,0-1-16,-13 0 0,14 0 0,-14 0 15,13 1-15,-13-1 0,13 13 0,0-12 16,-13 12-16,13 0 0,1-12 16,-14 12-16,13-13 0,0 14 0,-13-14 15,13 14-15,1-1 0,-14-13 0,13 14 16,-13-1-16,13-13 0,-13 1 0,0 12 16,0-13-16,13 1 0,-13 12 15,0-13-15,0 0 0,0 14 16,13-14-16,-13 0 0,0 1 0,0-1 15,0 13-15,0-13 0,0 14 16,0-14-16,0 0 0,-13 1 16,13 12-16,0-13 0,0 1 0,0-1 15,-13 13-15,13-13 0,0 1 0,-13-1 16,13 0-16,-13 0 0,13 1 0,-14-1 16,1 0-16,0 0 0,0 1 15,-1-1-15,-12 0 0,13 0 0,-27 0 16,0 1-16,1-1 0,-14-13 15,-13 13-15,13 0 0,-13 1 0,-14-1 16,14-13-16,-13 13 0,12 0 16,-12 1-16,13-14 0,-80 26 15,67-13-15,13-13 0,-13 13 0,-1 1 16,-12-14-16,12 13 0,-12-13 0,12 0 16,-12 13-16,-1-13 0,-13 0 15,-26 13-15,26-13 0,-13 14 0,-13-14 16,26 0-16,-26 13 0,39-13 0,0 0 15,1 13-15,-1-13 0,14 0 0,-14 13 16,14-13-16,13 0 0,0 14 16,-1-14-16,14 0 0,1 0 0,-1 13 15,-14-13-15,1 13 0,13-13 0,1 0 16,-1 13-16,0-13 16,0 13-16,0-13 0,-13 0 0,26 14 15,-13-14-15,0 0 0,0 13 0,14-13 16,-1 0-16,13 0 0,1 0 0,-1 13 15,1-13-15,0 0 0,-1 0 16,1 0-16,-1-13 0,14 13 0,-13 0 16,-1 0-16,-13 0 0,14 0 0,-27 0 15,13 0-15,-13-13 0,0 13 16,1 0-16,12 0 0,-26 0 0,13 0 16,0 0-16,0 0 0,0 0 0,0 0 15,-13 0-15,13 0 0,0-14 16,-13 14-16,13 0 0,0 0 15,0 0-15,0 0 0,0 0 0,1 0 16,12 0-16,-13 0 0,0 14 0,0-14 16,13 0-16,-13 0 0,14 0 15,12 0-15,-12 0 0,-1 0 0,14 0 16,-14 0-16,13 0 0,1 0 0,-14 0 16,14 0-16,-1 0 0,-12 0 0,12 0 15,1 0-15,-1 0 0,1 0 16,-1 13-16,-12-13 0,12 0 15,1 0-15,-1 0 0,1 0 0,-1 13 16,1-13-16,-1 0 0,1 13 16,-1-13-16,1 0 0,0 14 0,-1-14 15,1 13-15,-1-13 0,1 0 0,13 13 16,-14-13-16,14 13 0,-14-13 0,14 0 16,-13 13-16,12-13 0,-12 0 15,13 14-15,0-14 0,-1 0 0,-12 13 16,13-13-16,-1 0 0,1 0 0,0 13 15,0-13-15,-1 0 0,1 13 16,0-13-16,0 0 0,0 0 0,13 14 16,-27-14-16,14 0 15,0 0-15,-1 13 0,1-13 0,0 0 16,0 13-16,0-13 16,-1 0-16,1 0 0,0 13 0,0-13 15,-1 0-15,1 0 0,0 0 16,0 14-16,-1-14 0,1 0 15,0 0-15,0 0 0,0 0 16,-14 0-16,14 0 16,0 0-1,-1 0-15,1 0 16,0 0 0,13 13-16,-13-13 31,-1-13-16,1 13 1,0-14 15,13 1-31,0 0 16,-13 13-16,13-13 0,0-1 16,0 1-16,0 0 15,0 0-15,0-1 0,0 1 0,0 0 16,0 0-16,0 0 0,0-1 15,0 1-15,0 0 0,0 0 0,0-1 16,13 1-16,-13 0 16,0 0-16,0 0 0,13-1 15,-13 1-15,0 0 0,0 0 0,13-1 16,-13 1-16,0 0 0</inkml:trace>
  <inkml:trace contextRef="#ctx0" brushRef="#br0" timeOffset="21540.72">2778 4736 0,'-26'0'16,"79"0"15,-27 0-31,1 0 0,-1 0 0,27 0 16,0 0-16,0 0 0,0 0 0,0 0 16,13 0-16,-13-13 0,13 13 15,-13 0-15,0 0 0,-1 0 0,15 0 16,-28 0-16,14-13 0,0 13 0,-13 0 15,-14 0-15,1 0 0,-1 0 16,1 0-16,-1-14 0,-13 14 0,1 0 16,-1 0-16,0 0 0,0 0 15,-39 14 1,13-14-16,-14 0 16</inkml:trace>
  <inkml:trace contextRef="#ctx0" brushRef="#br0" timeOffset="22465.7">2805 4882 0,'0'0'15,"39"0"-15,-12 0 0,26-14 16,-14 14-16,14-13 0,0 13 16,13-13-16,14 13 0,-14-13 0,0 13 15,13 0-15,-26-14 0,13 14 0,-13 0 16,0 0-16,0 0 15,0 0-15,-13 0 0,-1 0 0,1 0 16,-13 0-16,-1 0 0,1 0 0,-14 0 16,13 0-16,-13 0 0,1 0 15,-1 0-15,0 0 0,0 0 0,1 0 16,-1 0-16,0 0 16,0 0-1,1 0-15,-41 0 219,14 0 172,0 0-376,-1 0 1</inkml:trace>
  <inkml:trace contextRef="#ctx0" brushRef="#br0" timeOffset="26688.67">9644 4842 0,'27'-66'16,"-54"132"-16,54-146 0,-14 67 0,-13-13 16,13 13-16,-13-1 0,13 1 0,-13 0 0,0-14 15,13 14-15,-13 0 0,14 13 0,-14-13 16,0 0-16,0-1 16,13 14-16,-13-13 0,0 0 0,13 13 15</inkml:trace>
  <inkml:trace contextRef="#ctx0" brushRef="#br0" timeOffset="27304.9">10332 4723 0,'26'-40'0,"-52"80"0,52-93 0,-12 40 15,-14-1-15,13 1 0,0 0 16,-13 0-16,13 0 0,-13-1 0,14-12 16,-1 26-16,-13-13 0,13-1 0,0 1 15,-13 0 1,14 13-16,-1 0 16,0 13-16,0-13 0</inkml:trace>
  <inkml:trace contextRef="#ctx0" brushRef="#br0" timeOffset="27744.86">10980 4683 0,'13'-26'0,"-13"12"0,27-52 32,-14 53-17,-13 0-15,13 0 0,-13-1 0,14 1 16,-14 0-16,13 13 0,-13-13 0,13 13 15,0-14-15,0 1 16,1 13-16,-1 0 0,0 0 16</inkml:trace>
  <inkml:trace contextRef="#ctx0" brushRef="#br0" timeOffset="28144.78">12144 5106 0,'-13'0'15</inkml:trace>
  <inkml:trace contextRef="#ctx0" brushRef="#br0" timeOffset="28769.85">12435 4789 0,'0'0'0,"-13"40"16,13-27-16,0 13 16,-13 14-16,13 13 0,0-13 15,-13 13-15,13-14 0,0 1 0,0 13 16,0-13-16,0-1 0,0-12 15,0-1-15,0 1 0,0-1 0,0-13 16,0 14-16,0-14 0,0 0 0,0 0 16,0 1-16,0-1 0</inkml:trace>
  <inkml:trace contextRef="#ctx0" brushRef="#br0" timeOffset="29409.82">12475 4710 0,'0'0'0,"79"-14"16,-39 1-16,384-53 16,-332 53-1,1 13-15,-1-13 0,14-1 16,0 14-16,-13-13 0,12 13 0,-12 0 15,0-13-15,-1 13 0,-12 0 0,12 0 16,-12-13-16,-14 13 0,0 0 16,0 0-16,-13 0 0,-13 0 0,-1 0 15,1 0-15,0 0 0,-14 0 0,1 0 16,-1 0-16,-13 13 0,14-13 16,-1 0-16,-13 0 0,1 13 15,12-13-15,-13 13 0,1-13 0,-1 14 16,0-1-16,0 13 0,0 1 0,14-1 15,-14 1-15,0 12 0,-13 1 16,14 0-16,-1-14 0,0 14 0,0-1 16,-13 14-16,14-13 0,-14-13 0,13 12 15,-13 1-15,13 0 0,-13-14 16,13 1-16,-13-1 0,0 0 0,0 1 16,13-14-16,-13 0 0,0 14 15,0-14-15,0 14 0,0-14 0,0 0 16,0 0-16,0 0 0,-13 1 15,13-1-15,0 0 0,-13-13 0,13 13 16,-13 1-16,-14-14 0,14 13 0,-27 0 16,1-13-16,-14 13 0,-13-13 15,0 13-15,-14-13 0,1 14 0,-14-14 16,-13 0-16,-26 13 0,-13-13 0,12 13 16,-26 0-16,14-13 0,-14 14 15,14-1-15,-14 0 0,13 0 0,1 1 16,13-1-16,13 0 0,-14 0 0,54 0 15,-14 1-15,14-14 0,13 13 16,13-13-16,0 13 0,26-13 16,-12 0-16,26 0 0,-14 0 0,14 13 15,0-13-15,-1 0 16</inkml:trace>
  <inkml:trace contextRef="#ctx0" brushRef="#br0" timeOffset="33472.61">1482 5345 0,'-14'26'15,"1"-26"1,13 13 31,-13-13 250,26 14-219,0-14-63,1 0-15</inkml:trace>
  <inkml:trace contextRef="#ctx0" brushRef="#br0" timeOffset="34096.51">1429 5331 0,'0'0'0,"-13"-13"0,-1 13 0,1 0 31,13 13-31,0 1 16,0 12-16,13-13 0,1 14 16,12 12-16,0-12 0,1 13 0,13-14 15,-1 14-15,1-1 0,13-12 16,0 13-16,0-14 0,13 0 0,0 14 15,13-13-15,-12-1 0,12 1 0,13-14 16,-12 13-16,-1-13 16,14 14-16,-14-14 0,1 14 0,-1-14 15,0 0-15,-12 13 0,-1-12 0,0-1 0,-27 0 16,1 0-16,0 1 16,0-1-16,-14-13 0,0 13 0,-12-13 15,-1 13-15,0-13 0,0 0 0,1 14 16</inkml:trace>
  <inkml:trace contextRef="#ctx0" brushRef="#br0" timeOffset="34660.85">1402 5345 0,'0'0'0,"0"-14"0,0 1 16,14 0-16,-14-14 0,26 1 15,-13 13-15,14-14 0,-1 1 0,1-1 16,12 1-16,1-14 0,0 14 0,-1-1 15,1 1-15,0-1 0,-1 14 16,1-13-16,39-1 0,-39 1 16,0 13-16,0-1 0,-14 1 0,14 0 15,-14 0-15,-13-1 0,1 14 16,-1-13-16,0 13 0</inkml:trace>
  <inkml:trace contextRef="#ctx0" brushRef="#br0" timeOffset="34954.78">1786 4802 0,'40'-13'0,"52"26"31,-65 0-31,-1-13 0,1 14 16,-1-14-16,1 13 16,-1 0-16,-13 0 0,14 1 0,-14-1 15,0 0-15,0 0 0,-13 0 0,0 14 16,0-14-16,0 27 0,-26-14 16,13 14-16,-14 0 0,-12-1 0,12 1 15,-13 0-15,1-1 0,12 1 16,-12 0-16</inkml:trace>
  <inkml:trace contextRef="#ctx0" brushRef="#br0" timeOffset="41788.04">14420 6985 0,'0'0'0,"39"0"0,-12-13 16,13 13-16,13-13 0,13 13 0,13-14 16,0 1-16,14 13 0,0-13 0,-1 13 15,-12-13-15,12 13 0,1 0 16,-1-14-16,1 14 0,-14 0 15,1 0-15,-1 0 0,-26 0 0,0 14 16,0-14-16,-27 0 0,1 0 0,-1 0 16,1 13-16,-14-13 0,0 0 15,-13 13-15,-13 0 16,0-13-16,-14 14 0,-26-14 0</inkml:trace>
  <inkml:trace contextRef="#ctx0" brushRef="#br0" timeOffset="42024.56">14565 7091 0,'0'0'0,"53"0"15,-13 0-15,13 0 16,0 0-16,26 0 0,0 0 0,14 0 16,-14 0-16,14 0 0,-14 0 0,1 0 15,-1 0-15,1 0 0,-27 0 16,13 0-16,-13 0 0,-1 0 0,-12 0 15,-13 0-15,-1 0 0,1 0 0,-14 0 16,13 0-16,-13 0 0,1 0 0,-1 0 16,0 0-16,0 0 15,1 13-15</inkml:trace>
  <inkml:trace contextRef="#ctx0" brushRef="#br0" timeOffset="42535.8">15756 7250 0,'-13'39'15,"26"-78"-15,-26 91 0,13-25 0,0-1 0,13-12 16,0 25-16,14 1 0,-1 13 16,14-13-16,13-1 0,-14 1 0,28-14 15,-1 14-15,0-13 0,26 12 16,14-12-16,-26-14 0,25 13 0,15 1 15,-1-14-15,13 0 0,0 1 16,0-1-16,14 0 0,-14 0 0,1-13 16,-1 0-16,0 14 0,-13-14 0,-13 0 15,-13 0-15,12 0 0,-12 0 16,0 0-16,-1 0 0,-12 0 0,-1 0 16,-13 0-16,-13 0 0,0 0 0,0 0 15,-13 0-15,-14 0 0,1 0 16,-14 0-16,0 0 0,0 0 0,0 0 15,1 0-15,-1 0 0,0 0 16,0-14 0,-13 1-1,0 0 1</inkml:trace>
  <inkml:trace contextRef="#ctx0" brushRef="#br0" timeOffset="42843.77">18799 7620 0,'26'13'31,"1"-13"-31,-1 13 0,0 1 16,54 12-16,-40-13 0,-1 1 15,1 12-15,-14-13 0,14 1 0,0 12 16,-14-13-16,1 0 0,12 14 16,1-1-16,-27-12 0,-13-1 15,14 0-15,-14 14 0,0-14 0,-14 13 16,1 1-16,-13-1 0,-14 1 0,-13-1 16,0 14-16,-13-14 0,0 1 15,0-1-15,-1 14 0,-38-14 0,38 1 16,-12 12-16,13-12 0,0-1 15,13 1-15</inkml:trace>
  <inkml:trace contextRef="#ctx0" brushRef="#br0" timeOffset="95892.59">20386 4207 0,'-13'26'16,"13"27"-1,0-26-15,0-1 0,0 14 16,0-14-16,0 1 0,13-1 16,-13 1-16,0-14 0,0 13 0,0-12 15,0 12-15,0-13 0,0 1 0,0-1 16,0 0-16,0-53 31,0 14-31,13-14 16,-13 0-16,14 1 0,-1-14 0,0-13 15,14 13-15,-14-13 0,0 26 0,0 0 16,0 1-16,1 12 16,-14 14-16,13-14 0,0 14 15,0 26-15,1 1 16,-14-1-16,13 13 0,-13 1 15,13 13-15,0-14 0,1 14 16,-14-14-16,13 14 0,0-14 0,0-13 16,0 1-16,1 12 0,-1-13 0,0 1 15,0-1-15,1-13 16,-14 13-16,13-13 0,13 13 16,-26 1-16,13-1 0,1 0 0,-14 0 15,13 0-15,0 1 0,-13-1 0,13 0 16,-13 14-16,14-14 15,-1 13-15,-13-12 0,0-1 0,13 0 16,0 0-16,-13 0 16,14-13-16,-14 14 15,13-14-15,0 0 0</inkml:trace>
  <inkml:trace contextRef="#ctx0" brushRef="#br0" timeOffset="97141.97">20413 4458 0,'13'-39'0,"-26"78"0,39-92 0,-13 40 16,-13 0-16,14-14 0,-1 1 0,0-1 15,0-12-15,0-1 0,14-39 16,-14 39-16,0 14 16,1-14-16,-14 13 0,13 14 0,0-13 15,-13 13-15,0-1 0,13 14 0,1 14 31,-14-1-31,0 13 0,0 1 0,13 12 16,-13 1-16,0 0 0,13-1 16,0 1-16,-13 0 0,13-1 0,1-12 15,-1 13-15,0-27 0,-13 13 16,13-12-16,1-1 0,-14 0 0,13-13 16,13 0-1,-26-13-15,13 0 0,1-14 16,12 1-16,1-41 0,-14 41 15,0-14-15,0 14 0,1-1 0,-1 14 16,0 0-16,0 0 0,0 0 16,1 26-16,-14 0 15,13 13-15,-13 1 0,0 13 16,0-1-16,13 1 0,-13 0 0,0 13 16,13-14-16,-13-12 0,14 12 15,-14-12-15,13-1 0,-13 1 0,13-14 16,-13 0-16,0 14 0,13-14 0,-13 0 15,0 0-15,14-13 16,-14 14-16,13-14 0,-13-14 16,26 1-16,-13 13 0,1-13 15</inkml:trace>
  <inkml:trace contextRef="#ctx0" brushRef="#br0" timeOffset="97584.8">21352 4313 0,'26'-14'0,"-52"28"0,66-28 0,-27 14 0,13 0 15,-13 0-15,27 0 0,-13 0 0,26 0 16,-1 14-16,1-1 0,14 13 15,-15-12-15,1 12 0,0 1 0,-13-1 16,-14 0-16,14 1 0,-13-14 16,-1 14-16,0-1 0,14 27 15,-27-40-15,-13 0 0,14 1 16,-14-1-16,13 0 0,-13 0 0,0 1 16,13-1-16,-13 0 0,0 0 15</inkml:trace>
  <inkml:trace contextRef="#ctx0" brushRef="#br0" timeOffset="97974.79">22185 4339 0,'27'27'0,"-54"-54"0,67 67 0,-27-27 0,0 0 16,1 14-16,12-1 0,-13-13 0,14 14 16,-14-1-16,14 1 0,-14-1 15,0-12-15,-13 12 0,13-13 0,-13 14 16,0-14-16,0 13 0,-13 14 16,-13-14-16,-1 14 0,-13 0 0,1 0 15,-14 12-15,-13 1 0,-14 0 0,-12 0 16,26 0-16,-93 40 0,93-54 15,-1 1-15</inkml:trace>
  <inkml:trace contextRef="#ctx0" brushRef="#br0" timeOffset="102420.96">1363 9194 0,'225'-26'47,"-159"26"-47,0-13 0,13-1 0,-13 1 15,14 0-15,-1 0 0,-13-1 0,14 14 16,-14-13-16,0 0 0,13 0 16,-13 0-16,1-1 0,-28 1 0,14 13 15,-13-13-15,0 13 0,-14 0 16,-13-13-16,0 13 0,1 0 0,-1 0 16</inkml:trace>
  <inkml:trace contextRef="#ctx0" brushRef="#br0" timeOffset="102721.7">1019 9525 0,'53'-13'0,"-14"0"0,1-1 16,304-78-1,-265 78-15,-13 1 16,14-13-16,-1 13 0,-13-1 0,14 1 16,-14 0-16,0 0 0,0 13 0,-13-14 15,-13 14-15,13-13 0,-14 0 16,1 13-16,-14 0 0,-12 0 0,12-13 16,-13 13-16,1 0 0,-1 0 0,0 0 15,0 0-15,1 0 0,12 0 16,-26-13-1,13 13-15</inkml:trace>
  <inkml:trace contextRef="#ctx0" brushRef="#br0" timeOffset="104665.16">4577 9168 0,'40'-13'0,"-14"13"16,14 0-16,13-14 0,26 14 0,1-13 16,12 13-16,1 0 15,13-13-15,-14 0 0,41 13 0,-1-14 16,0 14-16,1-13 0,-1 13 0,-13-13 15,-13 13-15,-14 0 0,1-13 16,0 13-16,-14 0 0,0-13 0,-26 13 16,0 0-16,0 0 0,-13-14 0,-14 14 15,1 0-15,-14 0 0,0 0 16,0 0-16</inkml:trace>
  <inkml:trace contextRef="#ctx0" brushRef="#br0" timeOffset="104980.81">4961 9234 0,'185'0'0,"-105"0"0,-1-13 16,0 13-16,358-13 31,-345 13-31,1 0 0,-14 0 0,1 0 16,-1-14-16,-13 14 0,-13 0 15,0 0-15,-13 0 0,0 0 0,-14 0 16,0 0-16,-12 0 0,12 0 0,-13 0 16,1 0-16,-1 0 0,-13-13 15,13 13-15</inkml:trace>
  <inkml:trace contextRef="#ctx0" brushRef="#br0" timeOffset="107292.51">21167 6085 0</inkml:trace>
  <inkml:trace contextRef="#ctx0" brushRef="#br0" timeOffset="107980.77">23072 6099 0</inkml:trace>
  <inkml:trace contextRef="#ctx0" brushRef="#br0" timeOffset="109110.75">21127 6099 0,'40'0'16,"-27"0"0,0 0-16,14 13 0,-14-13 15,26 0-15,-12 0 0,26 0 16,-13 0-16,12 0 0,15 0 0,-14 0 16,13 0-16,-13 0 0,13 0 0,-13 13 15,13-13-15,-13 0 0,0 0 0,13 0 16,-13 0-16,0 0 0,0 0 15,-1 0-15,1 0 0,0 0 16,-26 0-16,12 0 0,-12 13 0,-1-13 16,1 0-16,-14 0 0,13 0 0,-12 0 15,-1 0-15,0 0 0,0 0 16,1 0-16,-1 0 0,0 0 16,0 0-16,1 0 15,-1 0 1,0 0-1,0 0 79,-26-13 62,0 13-140</inkml:trace>
  <inkml:trace contextRef="#ctx0" brushRef="#br0" timeOffset="110449.74">22569 6006 0,'13'26'62,"0"-26"-46,-13 14 0,14-14-16,-14 13 0,13-13 15,-13 13-15,13-13 0,0 13 16,1-13-16,-14 14 15,13-14-15,0 0 0,-13 13 0,13-13 16,0 0-16,-13 13 0,14-13 16,-1 0-16,-13 13 0,13-13 15,0 0-15,1 0 16,-1 14-16,0-14 31,0 0-15,-13 13-1,14-13 48,-41 0 187,27 13-250,-13-13 16,13 13-16,-13-13 15,13 13-15,-14-13 0,14 14 16,-13-14-16,13 13 0,-13-13 0,0 13 15,-1 0-15,1 1 32,0-1-32,0 0 31,0-13 0,13 13 0,0-39 188,13 26-219</inkml:trace>
  <inkml:trace contextRef="#ctx0" brushRef="#br0" timeOffset="112382">21140 6998 0,'40'0'47,"-27"0"-47,0 0 16,14 0-16,-14 0 0,0 0 15,14 0-15,-1 0 0,1 0 0,-1 0 16,14 0-16,-1-13 0,1 13 0,13 0 16,0 0-16,0 0 0,0 0 15,13 0-15,-26-13 0,26 13 0,-13 0 16,0 0-16,0 0 0,-1-13 0,15 13 16,-14 0-16,-1 0 0,15 0 15,-14 0-15,-14 0 0,1-14 16,0 14-16,-14 0 0,0 0 0,1 0 15,-1 0-15,-12 0 0,12 0 0,-13 0 16,1 0-16,-1 0 0,0 0 16,0 0-16,14 0 15,-14 0-15,0 0 16,0-13 0,1 13-1,-1 0 48</inkml:trace>
  <inkml:trace contextRef="#ctx0" brushRef="#br0" timeOffset="113017.71">22622 6760 0,'26'13'47,"-26"1"-47,14-14 0,-14 13 16,13-13-16,0 0 0,0 13 0,0-13 15,1 13-15,-1-13 0,0 13 16,0 1-16,1-14 0,-1 0 16,0 13-16,0-13 0,1 0 15,-14 13-15,13-13 0,0 0 16,0 13-16,0-13 15,1 0 1,-14 14 0,13-14-1,0 13 17,-26 0-17,13 0 1,-13 1-16,-1-1 0,1 0 0,0 0 15,-13 14-15,-27 12 16,26-12-16,-13-14 0,1 14 0,12-14 16,-12 13-16,-1 1 0,13-14 0,-12 0 15</inkml:trace>
  <inkml:trace contextRef="#ctx0" brushRef="#br0" timeOffset="113949.96">2421 10081 0,'-13'53'16,"-1"-40"-16,14 0 16,0 13-16,0-12 0,0 12 15,-13 1-15,13-1 0,0 1 0,-13-1 16,13 0-16,-13 1 0,13-14 0,0 14 16,0-14-16,-13 0 0,13 0 15,0 1-15,0-1 0</inkml:trace>
  <inkml:trace contextRef="#ctx0" brushRef="#br0" timeOffset="114181.95">2646 10173 0,'0'-13'0,"-13"13"16,26 26-1,-13-12 1,0 12-16,0-13 0,0 1 16,0 12-16,0-13 0,0 14 0,0-14 15,0 13-15,0-12 0,0-1 0,0 0 16,0 14-16,0-14 0,0 0 16,0 0-16,0 1 0</inkml:trace>
  <inkml:trace contextRef="#ctx0" brushRef="#br0" timeOffset="114377.9">2514 10332 0,'0'-13'0,"0"26"0,39-13 31,-26 0-31,1 0 15,-1 0-15,13 0 0,-12 0 0,-1 0 16,13 0-16,-12 0 0,-1 0 16,13-13-16</inkml:trace>
  <inkml:trace contextRef="#ctx0" brushRef="#br0" timeOffset="114580.93">3043 10134 0,'0'26'32,"0"-13"-32,0 0 0,0 1 15,0-1-15,0 13 0,0-12 0,0-1 16,0 0-16,0 0 0,0 1 16,-14-1-16,14 0 0,14 0 15,-14 0-15,0 1 0,0-1 0,13-13 16,-13 13-16,13-13 0</inkml:trace>
  <inkml:trace contextRef="#ctx0" brushRef="#br0" timeOffset="114933.86">3532 10134 0,'0'26'31,"13"-13"-31,-13 0 0,0 1 16,0 12-16,0-13 0,0 1 15,0-1-15,14 0 0,-14 0 0,0 14 16,0-14-16,0 0 16,0 0-16,13 1 0,-13-1 15</inkml:trace>
  <inkml:trace contextRef="#ctx0" brushRef="#br0" timeOffset="115196.71">3321 10292 0,'0'0'0,"26"14"16,-13-14-16,0 0 15,1 0-15,12 0 0,1 0 16,-14 0-16,13-14 0,14 14 0,-27 0 16,27 0-16,-14 0 0,1-13 0,-1 13 15,1 0-15,-14-13 0,13 13 16,-12 0-16,12-13 0,-13 13 0,1-14 16,-1 14-16,0 0 0,0-13 15,0 13-15,1 0 0,-1-13 16</inkml:trace>
  <inkml:trace contextRef="#ctx0" brushRef="#br0" timeOffset="116678.68">4101 10134 0,'0'0'0,"13"-14"0,-13 1 0,14 13 0,-1 0 16,0 0-16,0 0 0,0 0 15,1 0-15,-1 13 0,0-13 16,0 14-16,1-1 0,-14 0 16,0 0-16,0 0 15,-14 1-15,14-1 0,-13 0 0,0 0 16,-14 14-16,14-14 0,0-13 0,0 13 16,0 1-16,-1-1 15,1-13-15,13 13 0,-13-13 16,0 13-16,26 0 31,0-13-31,0 0 0,14 14 16,-14-14-16,0 0 15,0-14-15,14 14 0,-14 0 0,0 0 16,14-13-16,-14 13 0,13-13 0,-12 13 16,12-13-16</inkml:trace>
  <inkml:trace contextRef="#ctx0" brushRef="#br0" timeOffset="116861.85">4617 10054 0,'-13'-13'0,"13"39"31,-13-12-31,13-1 16,0 13-16,0-12 0,0-1 15,0 13-15,0-13 0,0 1 16,0-1-16,-14 0 0,14 0 0,0 1 15,0-1-15,0 0 0,0 0 0</inkml:trace>
  <inkml:trace contextRef="#ctx0" brushRef="#br0" timeOffset="117047.71">4392 10213 0,'27'13'47,"-14"-13"-32,0 0-15,0-13 0,14 13 0,-1 0 16,-13 0-16,14 0 0,-1-13 0,14 13 16,-14 0-16</inkml:trace>
  <inkml:trace contextRef="#ctx0" brushRef="#br0" timeOffset="117465.25">4948 10041 0,'26'-13'0,"-13"13"0,1 0 15,-1 0-15,0 0 0,0 0 16,1 0-16,-14 13 0,13-13 0,-13 13 16,0 0-16,13 1 0,-26-1 0,13 0 15,-13 0-15,-1 14 0,-12-1 16,13-13-16,-1 1 0,1-1 0,0 0 15,0 0-15,-1 1 0,1-14 0,13 13 16,-13-13-16,13 13 0,-13-13 16,13 13-16,-13 1 15,26-1 1,0-13-16,0 0 0,0 0 16,1 0-16,-1 0 0,13 0 0,1-13 15,-1 13-15,1-14 0,12 1 0,1 0 16,0 0-16,-14-1 0,1 1 15</inkml:trace>
  <inkml:trace contextRef="#ctx0" brushRef="#br0" timeOffset="117630.19">5398 10081 0,'13'-27'16,"-26"54"-16,26-67 0,-13 27 0,0-1 15,0 54 32,-13-27-47,13 1 0,0-1 16,0 13-16,0-12 0,0 12 0,0-13 15,0 0-15,0 14 0,0-14 0,0 0 16,13 1-16,-13-1 0,0 0 16</inkml:trace>
  <inkml:trace contextRef="#ctx0" brushRef="#br0" timeOffset="117805.8">5252 10173 0,'0'0'0,"40"13"31,-27-26-31,0 13 0,14 0 16,-14 0-16,0 0 0,14 0 0,-14 0 16,13 0-16,1-13 0</inkml:trace>
  <inkml:trace contextRef="#ctx0" brushRef="#br0" timeOffset="118112.82">5728 10014 0,'0'-13'15,"13"13"-15,14 40 31,-27-27-31,0 0 0,0 1 0,-13-1 16,-1 0-16,14 14 16,-13-14-16,0 0 0,0 13 0,0-12 15,13-1-15,0 0 0,-14-13 16,14 13-16,0 1 16,0-1-16,14-13 15,-1 0-15,0 0 16,0-13-16,0 13 0,14 0 15,-14-14-15,0 14 0,14-13 16,-14 0-16,14 0 0</inkml:trace>
  <inkml:trace contextRef="#ctx0" brushRef="#br0" timeOffset="118293.73">6072 10001 0,'13'-13'0,"-26"26"0,26-39 0,1 13 31,-28 39 0,14-13-31,0 0 0,0 1 0,0-1 16,0 0-16,0 0 0,0 1 16,-13-1-16,13 0 0,0 0 0,0 1 15,0-1-15,13 0 0,-13 0 16,0 0-16,0 1 0,0-1 16</inkml:trace>
  <inkml:trace contextRef="#ctx0" brushRef="#br0" timeOffset="118470.98">5927 10160 0,'26'-13'31,"-13"13"-31,1 0 16,-1-13-16,13 13 0,1 0 15,-14-14-15,13 14 0,1 0 16,-1-13-16,1 13 0,12 0 0</inkml:trace>
  <inkml:trace contextRef="#ctx0" brushRef="#br0" timeOffset="118873.81">6482 9975 0,'0'0'0,"27"0"16,12 26-1,-39-13 1,0 1-16,0-1 0,-13 13 16,13-12-16,-13-1 0,0 0 0,0 14 15,13-14-15,-14 0 0,1-13 0,13 13 16,-13 0-16,13 1 0,0-1 16,-13-13-16,26 13 15,0 0-15,0-13 16,1 0-16,-1 0 0,0 0 0,0 0 15,0 0-15,14-13 0,-1 13 16,1-13-16,-14 13 0,14-13 16,12-1-16</inkml:trace>
  <inkml:trace contextRef="#ctx0" brushRef="#br0" timeOffset="119035.86">7011 9988 0,'0'-13'31,"-13"26"-31,13 0 15,-13-13-15,13 13 0,-13 1 16,13-1-16,0 13 0,-13-12 0,13-1 16,0 0-16,-14 14 0,14-14 15,0 0-15,0 0 0,0 0 0,-13 1 0,13-1 16,0 0-16</inkml:trace>
  <inkml:trace contextRef="#ctx0" brushRef="#br0" timeOffset="119202.27">6813 10160 0,'66'-13'32,"-53"13"-32,1 0 15,-1 0-15,13 0 0,-12-13 0,-1 13 16</inkml:trace>
  <inkml:trace contextRef="#ctx0" brushRef="#br0" timeOffset="119537.93">7302 9988 0,'14'0'0,"12"13"15,-13-13-15,-13 13 16,14 1-16,-14-1 16,0 0-16,-14 0 0,14 1 15,-13-1-15,13 0 0,-13 0 0,13 1 16,-13-1-16,13 0 16,-14-13-16,14 13 15,0 0-15,14-13 16,-1 14-16,0-14 15,0-14-15,1 14 16,12 0-16,-13 0 0,1 0 0,-1-13 16,13 13-16,-13 0 0,1-13 0,-1 13 15,0 0-15,0-13 0,1 13 16,-1-13-16,0 13 0</inkml:trace>
  <inkml:trace contextRef="#ctx0" brushRef="#br0" timeOffset="119750.56">7858 9895 0,'-13'27'16,"0"-14"0,13 0-16,-14 1 0,14-1 15,0 0-15,-13 13 0,13-12 0,-13-1 0,13 0 16,-13 14-16,13-14 0,0 0 15,-13 0-15,13 1 0,0-1 16,-14 0-16,14 0 0,-13-13 16</inkml:trace>
  <inkml:trace contextRef="#ctx0" brushRef="#br0" timeOffset="119956.13">7594 9988 0,'26'0'31,"-13"0"-31,0-13 0,1 13 16,-1 0-16,13 0 0,-12 0 0,12-13 16,-13 13-16,27 0 0,-14-14 15,1 14-15,-1-13 0,1 13 0,13-13 16</inkml:trace>
  <inkml:trace contextRef="#ctx0" brushRef="#br0" timeOffset="120845.71">21220 7779 0,'39'-13'32,"-26"-1"-32,27 14 0,0 0 15,0-13-15,12 13 0,1 0 0,0 0 16,27-13-16,-27 13 0,13 0 15,-13 0-15,13 0 0,0-13 0,-13 13 16,13 0-16,-13 0 0,0 0 16,0-14-16,-14 14 0,1 0 0,-13 0 15,-1 0-15,-13 0 0,1 0 0,12 0 16,-13-13-16,0 13 0,1 0 16,-1 0-16,-13-13 15,13 13-15,-26-13 31</inkml:trace>
  <inkml:trace contextRef="#ctx0" brushRef="#br0" timeOffset="121153.34">22278 7541 0,'26'0'32,"1"13"-32,-14-13 0,0 13 0,14-13 0,-14 13 15,13 1-15,1-1 0,-1 0 0,1 0 16,-1 0-16,-13 1 16,14 12-16,-14-13 0,0 14 15,1-14-15,-14 0 0,0 1 0,0-1 16,-14 0-16,1 0 0,0 0 15,-14 14-15,-12-14 0,12 0 0,-12 14 16,-1-14-16,0 0 0,1 1 0,-14-1 16,-13 0-16,13 0 0,-27 0 15,14 1-15,-13-14 0,-14 13 0</inkml:trace>
  <inkml:trace contextRef="#ctx0" brushRef="#br0" timeOffset="122022.65">8440 9842 0,'-26'14'16,"13"-14"-16,13 13 15,-14 0-15,1-13 0,0 13 0,0 1 16,-1-1-16,-12 0 0,13-13 0,-1 13 15,1 1-15,0-1 16,0-13-16,13 13 0,-13-13 0,-1 13 16,14 0-1,14-13 1,-1 0 0,-13 14-16,13-14 0,0 0 15,14 0-15,-14 0 0,0 0 16,14-14-16,-1 14 0,-13 0 0,14 0 15,-14 0-15,13 0 0,-12 0 16,-1 0-16,0-13 0,0 13 0,1 0 16,-1 0-16,0 0 0</inkml:trace>
  <inkml:trace contextRef="#ctx0" brushRef="#br0" timeOffset="123206.57">8202 9776 0,'-13'-13'31,"26"13"-31,0-13 16,1 13-16,-1 0 0,0 0 0,0 0 16,0 0-16,1 0 0,-1 0 15,13 0-15,-12 0 0,-1 13 0,0-13 16,0 0-16,14 13 0,-14 1 16,0-14-16,-13 13 15,0 0-15,0 0 0,-13-13 16,13 13-16,-13 1 0,0-1 15,-1 0-15,1-13 16,-13 13-16,12 1 0,1-14 0,0 13 16,0-13-16,-14 13 0,14-13 0,0 13 15,0-13-15,-1 0 0,1 14 16,0-14-16,0 0 0,13 13 0,-14-13 16,1 0-16,40 13 31,-14-13-16,0 0-15,0 0 0,1 0 16,-1 0-16,13 0 0,-13 13 16,14-13-16,-14 0 0,14 0 15,-1 13-15,1-13 0,-1 14 0,0-14 16,1 13-16,-14-13 0,0 13 0,14-13 16,-27 13-16,13 1 0,0-1 15,-13 0-15,0 0 16,0 1-16,-13-1 0,13 0 0,-13 0 15,0 14-15,-14-14 16,14 0-16,0-13 0,-14 13 0,14 1 0,-13-1 16,12 0-16,1-13 0,-13 0 0,12 13 15,1-13-15,0 0 0,13 14 16,-13-14-16,-1 0 0,1 0 16,13-14-16,13 1 15,1 0 1</inkml:trace>
  <inkml:trace contextRef="#ctx0" brushRef="#br0" timeOffset="123596.25">8850 9869 0,'0'-13'31,"0"39"-31,0-13 0,0 1 16,0 12-16,0-13 0,0 14 0,0-14 16,0 13-16,0 1 0,0-14 15,0 14-15,0-14 0,0 0 0,0 14 16,0-14-16,0 0 0,0 0 0,0 0 15</inkml:trace>
  <inkml:trace contextRef="#ctx0" brushRef="#br0" timeOffset="123807.72">8652 10107 0,'13'-13'15,"0"13"-15,1 0 0,65-13 32,-53 13-32,1 0 0,-14 0 0,14 0 15,-1 0-15,0 0 0,1-14 16,-1 14-16,1 0 0,-1 0 0,1 0 16,-1-13-16,1 13 0,-1 0 0,1 0 15</inkml:trace>
  <inkml:trace contextRef="#ctx0" brushRef="#br0" timeOffset="124216.62">9327 9882 0,'13'0'0,"13"0"31,-26 13-31,0 1 0,-13-1 16,13 0-16,-13-13 0,13 13 15,0 1-15,-13-14 0,13 13 16,0 0-16,0 0 0,13 0 15,-13 1-15,13-1 0,0 0 16,0 0-16,1 1 0,-1-14 16,0 13-16,-13 0 0,13 0 0,-13 1 15,0-1-15,0 0 0,0 0 0,0 0 16,-13 1-16,0-14 0,0 13 16,-1 0-16,1 0 0,0 1 15,0-14-15,0 13 0,-1-13 0,1 0 16</inkml:trace>
  <inkml:trace contextRef="#ctx0" brushRef="#br0" timeOffset="124405.96">9591 9816 0,'27'-13'0,"-1"26"15,-13 0 1,1 0-16,-14 14 15,0-14-15,13 0 0,-13 14 0,0-14 16,0 14-16,13-14 0,-13 13 0,0-13 16,0 14-16,0-14 0,0 0 0,0 1 15,0 12-15,0-13 16</inkml:trace>
  <inkml:trace contextRef="#ctx0" brushRef="#br0" timeOffset="124597.98">9472 10041 0,'13'0'15,"1"0"1,-1 0-16,0-13 0,0 13 16,14 0-16,-14 0 0,13 0 15,1 0-15,-1-14 0,14 14 0,-14 0 16,1 0-16,13-13 0,-14 13 15,0 0-15,1 0 0</inkml:trace>
  <inkml:trace contextRef="#ctx0" brushRef="#br0" timeOffset="125632.62">10200 9803 0,'13'0'0,"-26"0"0,39 0 15,-13 0-15,1 13 16,-14 0 0,0 0-16,0 1 0,-14-1 15,14 0-15,-13-13 0,13 13 16,0 1-16,-13-14 0,13 13 0,0 0 15,0 0 1,0 1-16,13-14 0,-13 13 0,13-13 16,1 13-16,-1 0 15,0 0-15,0 1 0,-13-1 16,0 0-16,0 0 16,0 1-16,-13-1 15,13 0-15,-13 0 0,0 1 0,-1-14 16,1 13-16,0 0 0,0-13 0,-14 0 15,27 13-15,-13-13 0,0 0 16,0 0-16,-1 0 16</inkml:trace>
  <inkml:trace contextRef="#ctx0" brushRef="#br0" timeOffset="125849.76">10583 9829 0,'14'13'15,"-1"1"-15,-13-1 16,0 0-16,0 0 0,0 14 0,0-14 16,0 0-16,0 14 0,0-14 15,0 13-15,0-12 0,13-1 0,-13 0 16,-13 0-16,13 14 0,0-14 15,0 0-15</inkml:trace>
  <inkml:trace contextRef="#ctx0" brushRef="#br0" timeOffset="126040.66">10372 10067 0,'0'0'0,"13"0"31,0 0-31,14 0 0,-14 0 0,13 0 16,1 0-16,-14-13 0,13 13 16,1 0-16,-1 0 0,1-13 15,12 13-15,-25 0 0,12-13 0,1 13 16,-1 0-16,-13 0 0,14-14 0</inkml:trace>
  <inkml:trace contextRef="#ctx0" brushRef="#br0" timeOffset="126580.61">10927 9803 0,'14'0'47,"-1"13"-31,0 0-16,-13 0 16,13 1-16,-13-1 15,0 0-15,13 0 0,-13 1 16,0-1-16,14 0 0,-1 0 15,-13 1-15,0-1 0,13 0 16,-13 0-16,0 0 0,-13 1 16,13-1-16,-13 0 15,13 0-15,-14-13 0,1 14 16,0-14-16,13 13 0,-13-13 16,0 13-16,-1-13 0,1 13 15</inkml:trace>
  <inkml:trace contextRef="#ctx0" brushRef="#br0" timeOffset="126785.5">11218 9842 0,'27'0'16,"12"27"15,-39-14-31,0 0 0,0 14 15,0-14-15,0 0 0,0 1 0,0-1 16,0 13-16,0-13 0,0 14 16,0-14-16,-13 0 0,13 1 0,0-1 15,-13 0-15,13 0 0,0 1 16</inkml:trace>
  <inkml:trace contextRef="#ctx0" brushRef="#br0" timeOffset="127000.83">11099 9935 0,'27'13'16,"-14"-13"-16,27 0 15,-14 0-15,1 0 0,-1 0 0,0-13 16,14 13-16,-27 0 0,27 0 0,-27 0 15,14-13-15,-1 13 0,-13 0 16,14-13-16,-14 13 0,0 0 0,1 0 16,-1-14-16</inkml:trace>
  <inkml:trace contextRef="#ctx0" brushRef="#br0" timeOffset="127762.72">21656 8533 0,'0'0'0,"13"13"0,1-13 16,12 0-16,1 0 0,-1 0 0,27 0 15,0 13-15,0-13 0,0 0 0,0 0 16,13 0-16,13 0 0,-26 0 16,13 0-16,0 0 0,-13 0 0,0-13 15,-13 13-15,-1 0 0,1 0 16,-27 0-16,14 0 0,-1 0 0,-12 0 15,-1 0-15,0 0 0,0 0 16,-13-13-16,13 13 0,1-13 16</inkml:trace>
  <inkml:trace contextRef="#ctx0" brushRef="#br0" timeOffset="128061.75">22569 8401 0,'40'13'31,"-40"0"-15,13-13-16,0 13 0,0 0 0,1 1 16,-1-14-16,0 13 0,13 0 15,-12 0-15,-1 1 0,0-1 0,14 13 16,-27-13-16,13-13 0,0 14 15,-13-1-15,13 0 0,-13 0 16,0 1 0,0-1-16,-13-13 0,13 13 0,-13 0 15,0 1-15,-1-14 0,1 13 16,0-13-16,0 13 0,-1 0 16,1-13-16,0 13 0,-13-13 15,12 14-15</inkml:trace>
  <inkml:trace contextRef="#ctx0" brushRef="#br0" timeOffset="128873.59">11959 9763 0,'-40'27'15,"14"-14"1,13 0-16,0 0 0,-14 0 15,14 1-15,0-1 0,-1 0 0,1-13 16,13 13-16,-13 1 0,0-1 16,13 0-16,-13-13 0,13 13 15,13 1-15,0-14 16,0 13-16,0-13 0,1 0 16,12 0-16,-13 0 0,14 0 15,-1 0-15,1 0 0,-1-13 0,1 13 16,-1 0-16,1-14 0,-1 14 0,0-13 15,-12 13-15,-1 0 0,0-13 16,0 13-16,1 0 0,-14-13 16</inkml:trace>
  <inkml:trace contextRef="#ctx0" brushRef="#br0" timeOffset="129077.85">11933 9790 0,'0'0'0,"0"13"16,13 13-16,-13-13 15,0 14-15,0-14 0,13 0 16,-13 1-16,0 12 0,0-13 0,0 1 16,0 12-16,0-13 0,13 0 15,-13 1-15,0-1 0,0 0 0,14 0 16</inkml:trace>
  <inkml:trace contextRef="#ctx0" brushRef="#br0" timeOffset="129297.57">12316 9737 0,'14'0'0,"-28"0"16,14 26 15,0-13-31,-13 1 0,13 12 0,0-13 16,0 0-16,0 1 0,0-1 0,0 0 15,0 0-15,0 1 0,0-1 16,-13 0-16,26 0 0,-13 1 0,0-1 16</inkml:trace>
  <inkml:trace contextRef="#ctx0" brushRef="#br0" timeOffset="129512.92">12144 9895 0,'14'-13'15,"-1"13"-15,0 0 0,0 0 16,1-13-16,-1 13 0,0 0 0,13 0 15,-12 0-15,-1 0 0,0 0 16,14 0-16,-14 0 0,0 0 0,0 0 16,14-13-16,-14 13 0,13 0 0</inkml:trace>
  <inkml:trace contextRef="#ctx0" brushRef="#br0" timeOffset="130020.63">12846 9723 0,'-27'14'31,"14"-14"-31,0 13 16,-1-13-16,1 13 0,0 0 16,-14 1-16,14-1 0,-13 0 0,-1 0 15,14 0-15,0 1 0,0-1 0,-1-13 0,1 13 16,0 0-16,0 1 15,13-1-15,0 0 16,13 0 0,-13 1-16,13-14 0,0 0 15,1 13-15,-1-13 0,0 0 0,0 0 16,14 0-16,-14 0 0,0 0 0,14 0 16,-14-13-16,13 13 0,-12-14 15,-1 14-15,0-13 0,0 0 16,1 0-16,-1-1 15,-13 1-15,0 0 0,0 0 0,0-1 16,0 1-16,0 0 0,0 0 16,-13 0-16,13-1 15,-27 28 1,27-1 0,0 0-16,-13 0 0,13 14 0,-13-14 15,13 13-15,0 1 0,-14-1 0,14 1 16,0-1-16,-13 1 15,13-1-15,0 1 0,0-1 0,-13-13 0,13 14 16,0-14-16,0 0 0,0 0 0,0 1 16,0-1-16,0 0 0,13 0 15</inkml:trace>
  <inkml:trace contextRef="#ctx0" brushRef="#br0" timeOffset="130729.83">21325 9327 0,'0'0'0,"27"0"15,13 0 1,-14 0-16,14 0 0,-1 0 0,14 0 0,13 0 16,-13 0-16,14 0 0,-1 0 0,0 0 15,0 0-15,66 13 16,-79-13-16,27 0 0,-28 0 16,1 0-16,0 0 0,0 0 0,-13 0 0,0 0 15,-27 0-15,13 0 0,1 0 16,-14 0-16,0-13 0,0 13 15,1 0-15,-1 0 0</inkml:trace>
  <inkml:trace contextRef="#ctx0" brushRef="#br0" timeOffset="130985.62">22595 9155 0,'27'13'0,"-54"-26"0,67 39 16,-27-26-16,1 13 0,-1 1 15,0-1-15,-13 0 0,13 0 0,0 0 16,-13 1-16,0-1 16,0 0-16,0 0 0,-13 1 0,13-1 15,-26 13-15,-1-13 0,1 1 0,-14 12 16,0-13-16,-12 14 0,12-14 15,-13 0-15,-13 1 0,0-1 0,-14-13 16,1 13-16</inkml:trace>
  <inkml:trace contextRef="#ctx0" brushRef="#br0" timeOffset="131941.6">13269 9763 0,'13'27'16,"-13"-14"0,0 0-16,0 0 0,-13 0 0,13 14 15,0-14-15,0 14 0,0-14 0,0 13 16,0-12-16,0 12 0,0-13 16,0 0-16,0 1 0,0 12 0,0-13 15,0 1-15</inkml:trace>
  <inkml:trace contextRef="#ctx0" brushRef="#br0" timeOffset="132132.96">13110 9935 0,'13'0'15,"1"0"-15,-1 0 0,0 0 0,13 0 16,-12 0-16,12 0 0,1 0 0,-1 0 16,1 0-16,-1 0 0</inkml:trace>
  <inkml:trace contextRef="#ctx0" brushRef="#br0" timeOffset="132321.09">13851 9723 0,'-27'53'15,"27"-39"-15,27-81 0,-67 147 0,40-54 16,0-13-16,-13 1 0,13-1 0,0 13 16,-13-12-16,13-1 0,0 13 0,0-12 15,0-1-15,0 0 0</inkml:trace>
  <inkml:trace contextRef="#ctx0" brushRef="#br0" timeOffset="133045.19">1336 10438 0,'13'0'0,"1"0"0,-1 0 16,0-13-16,0 13 0,1 0 0,12 0 15,-13 0-15,14-14 0,-1 14 0,-13 0 16,1 0-16,-1 0 0,0 0 16</inkml:trace>
  <inkml:trace contextRef="#ctx0" brushRef="#br0" timeOffset="133187.62">1416 10517 0,'26'0'32,"-13"0"-32,14-13 15,-1 13-15,-13 0 0</inkml:trace>
  <inkml:trace contextRef="#ctx0" brushRef="#br0" timeOffset="133590.84">1879 11946 0,'52'0'32,"-38"0"-32,12 0 0,1 0 0,-1-13 15,14 13-15,-14 0 0,14 0 0,-14 0 16,1-14-16,-1 14 0,1 0 0</inkml:trace>
  <inkml:trace contextRef="#ctx0" brushRef="#br0" timeOffset="133781.29">1958 12144 0,'26'0'31,"1"0"-15,-1-13-16,1 13 0,12-13 0,14 13 16,-13-13-16,0 13 0,13-14 0,-14 1 15,14 13-15,0-13 0,13 0 16,-26 13-16</inkml:trace>
  <inkml:trace contextRef="#ctx0" brushRef="#br0" timeOffset="135188.78">3122 10306 0</inkml:trace>
  <inkml:trace contextRef="#ctx0" brushRef="#br0" timeOffset="135501.26">4299 10319 0</inkml:trace>
  <inkml:trace contextRef="#ctx0" brushRef="#br0" timeOffset="137995.79">5080 10226 0</inkml:trace>
  <inkml:trace contextRef="#ctx0" brushRef="#br0" timeOffset="138680.96">6482 10173 0</inkml:trace>
  <inkml:trace contextRef="#ctx0" brushRef="#br0" timeOffset="139055.81">7355 10173 0,'14'0'15</inkml:trace>
  <inkml:trace contextRef="#ctx0" brushRef="#br0" timeOffset="139882.56">9551 10081 0,'0'13'32</inkml:trace>
  <inkml:trace contextRef="#ctx0" brushRef="#br0" timeOffset="142332.81">4524 10649 0,'0'0'0,"305"-13"15,-213 13 1,-12 0-16,12 0 0,1 0 0,-1 0 16,1-13-16,13 13 0,26 0 15,0-13-15,1 13 0,12-13 0,-12 13 16,12-14-16,1 14 0,-1-13 0,1 13 15,12-13-15,1 13 16,-13 0-16,12-13 0,-12 13 0,13-14 16,-14 1-16,1 13 0,12-13 0,-12 13 15,-14-13-15,1 13 0,-28-13 16,-12 13-16,13 0 0,-14-14 0,1 14 16,-14 0-16,-26 0 0,0-13 0,-13 13 15,-14 0-15,1 0 0,-14 0 16</inkml:trace>
  <inkml:trace contextRef="#ctx0" brushRef="#br0" timeOffset="142664.56">7633 10821 0,'13'14'0,"-13"-1"31,0 0-31,-13 0 0,13 1 16,0-1-16,0 0 0,-13 0 0,13 14 15,0-14-15,-13 0 0,13 0 0,0 1 16,0-1-16</inkml:trace>
  <inkml:trace contextRef="#ctx0" brushRef="#br0" timeOffset="142968.59">8109 10821 0,'-39'14'31,"26"-14"-31,-14 13 0,14 0 0,-14 0 16,1-13-16,13 14 0,-14-1 0,14 0 15,0 0-15,0-13 0,-1 14 16,1-1-16,0 0 16,26 0-16,-13 0 15,13-13-15,1 0 0,-1 14 16,13-14-16,-12 0 0,12 0 0,-13 0 16,14 0-16,-1 0 0,1 0 0,-1-14 15,-13 14-15,14 0 0,-14-13 16,13 13-16,-12-13 0,-1 13 0,0-13 15,0 13-15</inkml:trace>
  <inkml:trace contextRef="#ctx0" brushRef="#br0" timeOffset="143171.87">8242 10808 0,'-13'-13'32,"-1"39"-32,1-26 15,13 14-15,-13-1 0,13 0 0,-13 14 16,13-14-16,-14 13 0,1 1 15,13-14-15,0 13 0,-13 1 0,13-14 16,0 14-16,0-14 0,0 13 0,0-13 16,-13 14-16,13-14 0,0 0 15,0 1-15,0-1 0,0 0 16,13 0-16</inkml:trace>
  <inkml:trace contextRef="#ctx0" brushRef="#br0" timeOffset="145798.79">5318 12131 0,'27'-13'15,"-1"13"1,-13 0-16,1 13 15,-1 0-15,-13 1 16,0-1-16,0 0 0,0 0 0,-13 14 16,-1-14-16,1 13 0,0-12 15,0 12-15,-1-13 0,1 14 0,0-14 16,0 0-16,-1 0 0,1-13 0,13 14 16,-13-14-16,13 13 0,-13-13 15,13 13-15,26-13 31,-13 0-31,1 0 16,-1-13-16,0 13 0,0 0 16,1 0-16,-1-13 0,0 13 0,14 0 15,-14-14-15,0 14 0,0 0 0,0-13 16,1 13-16,-1-13 0,0 13 16,0 0-16</inkml:trace>
  <inkml:trace contextRef="#ctx0" brushRef="#br0" timeOffset="145970.6">5675 12211 0,'0'-14'15</inkml:trace>
  <inkml:trace contextRef="#ctx0" brushRef="#br0" timeOffset="146316.04">5900 12078 0,'-53'80'31,"40"-67"-31,13 27 16,0-27-16,13 0 0,-13 0 16,14 14-16,-1-14 0,0 0 15,0 0-15,14 1 0,-14-1 0,0 0 0,0-13 16,14 0-16,-14 13 0,0-13 15,0 0-15,1 0 0,-1 0 16,-13-13-16,13 13 0,0-13 16,-13 0-16,-13-1 15,0 1 1,0 13-16,13-13 16,-14 13-16,14-13 0,-13 13 15</inkml:trace>
  <inkml:trace contextRef="#ctx0" brushRef="#br0" timeOffset="146917.69">6575 12012 0,'-13'13'78,"-1"-13"-62,1 14 31,13-1 15,-13-13-62,13 13 0,-13-13 16,13 13-16,-13-13 0,13 13 15,-14-13-15,1 14 0,0-14 16,13 13-16,-13 0 0,-1-13 16,1 13-16,0-13 0,0 14 0,-1-1 15,1-13-15,13 13 0,-13-13 16,13 13 0,0 1-16,13-14 15,-13 13-15,13-13 0,1 0 16,-1 0-16,0 0 15,0 0-15,14 13 0,-14-13 0,0 0 16,1 0-16,-1-13 0,0 13 16,0 0-16,0 0 0,1 0 0,-1 0 15,0-13-15,0 13 0,1 0 16,-14-14-16,13 14 0,-13-13 0</inkml:trace>
  <inkml:trace contextRef="#ctx0" brushRef="#br0" timeOffset="147101.66">6535 11999 0,'-66'132'31,"53"-105"-31,13 12 0,-13 1 16,13 0-16,0-14 0,0 1 15,0-1-15,-14 0 0,14 1 0,0-1 16,0 1-16,0-14 0,0 14 15,0-14-15,-13 13 0,13-13 0</inkml:trace>
  <inkml:trace contextRef="#ctx0" brushRef="#br0" timeOffset="147387.81">4961 12925 0,'40'-13'0,"277"-40"31,-237 40-31,-1-1 16,13 1-16,-12-13 0,12 12 0,1 1 15,0 0-15,-14 0 0,14-1 0,-14 1 16,0 0-16,14 0 0,-27-14 15,14 14-15,-14 0 0,0 13 16,-26-13-16,12-1 0,-12 14 0,-13-13 16,-1 13-16,-13 0 0</inkml:trace>
  <inkml:trace contextRef="#ctx0" brushRef="#br0" timeOffset="147633.54">5106 13097 0,'40'0'16,"-80"0"-16,93 0 0,-13 0 0,13 0 16,0 0-16,0 0 0,26-13 15,-13 13-15,27-14 0,-14 14 0,1 0 16,-1-13-16,0 13 0,1-13 15,-1 0-15,-13 13 0,14-13 0,-14-1 16,0 1-16,-13-13 0,13-1 0,-13 14 16,13-14-16,-13 1 0</inkml:trace>
  <inkml:trace contextRef="#ctx0" brushRef="#br0" timeOffset="149172.1">14155 10081 0,'27'0'0,"105"-27"31,-79 14-31,-13 13 0,12-13 16,-12 13-16,0-14 0,13 14 0,-14-13 16,1 13-16,-13 0 0,12 0 0,-25-13 15,12 13-15,0 0 0,-12 0 16,-1 0-16,0 0 0,0 0 0,1 0 16,-14 13-16,13-13 0,0 13 15,-13 1-15,0-1 0,0 0 16,0 14-16,0-14 0,0 13 15,0 14-15,0 0 0,0 13 0,0-14 16,-13 14-16,13 0 0,0 13 0,0-13 16,0 13-16,0-13 0,0 13 15,13 1-15,-13-15 0,13 15 0,0-1 16,1-13-16,-1 0 0,0-1 0,0 1 16,-13-13-16,14 0 0,-1-1 15,0 1-15,0 0 0,-13 0 0,14-14 16,-14-13-16,13 14 0,-13-1 0,0-13 15,0 1-15,0-1 0,0 0 16,0 0-16,0 1 0,0-1 0,-13 0 16,-1 0-16,1-13 0,0 13 15,-14 1-15,-12-1 0,-1-13 0,-13 13 0,-13 0 16,-13 1-16,-1-14 16,-12 13-16,-54 0 0,14 0 0,-27 1 15,-13-1-15,0 0 0,-26 13 0,-1-12 16,-39 12-16,40 1 0,12-14 15,-12 13-15,13 1 0,-14-14 0,14 13 16,0 1-16,-159 13 0,172-14 16,0 0-16,13-12 0,14 12 15,12 1-15,1-14 0,13 0 16,40 0-16,-14 1 0,14-1 0,26-13 16,0 0-16,0 0 0</inkml:trace>
  <inkml:trace contextRef="#ctx0" brushRef="#br0" timeOffset="150016.71">7607 11390 0,'145'40'0,"-105"-40"0,-14 0 15,14 0-15,13 0 0,-13 0 0,13-13 16,277-27 15,-277 14-31,0 12 0,0 1 0,-13 0 0,-1 0 16,-12-14-16,-1 14 15,1 0-15,-14-14 0,0 14 0,1-13 16,-1-1-16,-13 14 0,-13-14 0,-1-12 16,-12-14-16,-1 13 0,-12-13 15,-1 14-15,-13-14 0,0 13 0,-13 0 16,0 14-16,0-14 0,-106 0 16,92 27-16,-105 13 15,53 27-15,13-1 0,-13 27 0,26 0 16,-13 0-16,13 13 0,13 13 15,1 1-15,25-1 0,15 1 0,-1-14 16,39 0-16,1 0 0,13-13 16,13 0-16,14 0 0,-1 0 0,14-14 15,26 1-15</inkml:trace>
</inkml:ink>
</file>

<file path=ppt/ink/ink12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15:15.686"/>
    </inkml:context>
    <inkml:brush xml:id="br0">
      <inkml:brushProperty name="width" value="0.05292" units="cm"/>
      <inkml:brushProperty name="height" value="0.05292" units="cm"/>
      <inkml:brushProperty name="color" value="#FF0000"/>
    </inkml:brush>
  </inkml:definitions>
  <inkml:trace contextRef="#ctx0" brushRef="#br0">8096 11245 0,'27'66'0,"-27"132"16,0-131 0,0 12-16,0-13 0,0 13 0,-14-12 15,14-1-15,0 13 0,0-13 0,-13-13 16,13 0-16,0 0 0,0-13 0,0-1 15,0-12-15,0-1 0,-13 1 16,13-14-16,0 0 0,0 0 0</inkml:trace>
  <inkml:trace contextRef="#ctx0" brushRef="#br0" timeOffset="669.9">7594 11258 0,'13'-26'0,"225"-54"32,-93 54-32,-65 12 0,12 1 15,41 0-15,-1 0 0,0 0 16,14-1-16,-1 1 0,14 0 0,-13 0 0,26-1 15,0 1-15,0 0 0,-1 0 16,1 13-16,0-13 0,-13 13 16,0 0-16,0-14 0,-14 14 0,-12 0 15,-28 0-15,-12 0 0,0 14 0,-14-14 16,0 13-16,1-13 0,-14 13 16,-26 0-16,12-13 0,-12 13 0,13 14 15,-26-14-15,-1 0 16,14 1-16,-27 12 0,0-13 0,0 0 15,1 14-15,-1-1 0,0 1 16,0 13-16,0-1 0,1 1 0,12 13 16,-13 0-16,1 13 0,-1-13 15,0 13-15,0-13 0,-13 0 16,14 0-16,-1 0 0,0 0 0,0-1 16,0-12-16,1 0 0,-14 13 0,13-14 15,-13 1-15,13-13 0,-13 12 0,13-12 16,-13-14-16,0 13 0,0-12 15,0-1-15,-13 0 0,13 0 0,-13 1 16,0-1-16,-1 0 0,1 0 0,-13-13 16,-14 13-16,-13 1 0,0-14 15,-13 0-15,-13 13 0,-14-13 16,1 0-16,-1 0 0,-26 0 0,-13 0 16,-27 0-16,0 0 0,0-13 0,1 13 15,-28 0-15,14 0 0,-13 0 16,0 0-16,0 0 0,0 0 0,-1 0 15,1 0-15,0 0 0,0 0 0,13 0 16,-13 0-16,26 13 0,0-13 16,0 0-16,1 0 0,12-13 0,14 13 15,26 0-15,13-14 0,1 14 0,12-13 16,1 0-16,13 0 0,13 0 16,0-1-16</inkml:trace>
  <inkml:trace contextRef="#ctx0" brushRef="#br0" timeOffset="2133.64">16708 10821 0,'-39'14'15,"26"-1"-15,-14-13 16,-13 13-16,1 14 0,12-14 0,-12 0 15,12 0-15,1 1 0,-1-14 16,14 13-16,0 0 0,-1-13 0,14 13 16,-13 0-16,26 1 15,1-1-15,12 0 16,-13-13-16,14 13 0,-14-13 16,14 0-16,-14 14 0,0-14 0,0 0 15,-13 13-15,13-13 0,-13 13 16,-13 0-1,0 0-15,0 1 0,-14-1 0,-12 0 16,12 0-16,-13 1 0,14-1 0,0 0 16,-1 0-16,14-13 0,0 14 15,-1-14-15,14 13 0,-13-13 16,26 13 0,1-13-16,12 0 15,-13 13-15,14-26 0,12 13 16,-12 0-16,13 0 0,-14 0 0,14 0 15,-14 0-15,14 0 0,-14 0 0,1 0 16,-1 0-16,1-13 0,-1 13 16,1 0-16,-14-13 0,13 13 0,-12-14 15</inkml:trace>
  <inkml:trace contextRef="#ctx0" brushRef="#br0" timeOffset="2677.81">17304 10861 0,'0'-26'0,"0"12"16,0-52 0,-13 53-16,13 0 0,0 0 15,-14-1-15,14 1 0,-13 0 16,13 0 0,-13 26-16,0-13 15,-1 13-15,14 0 0,-13 14 0,0-1 16,0 1-16,-1 12 0,1 1 0,0 0 15,13 0-15,-13-14 0,0 14 16,13-14-16,0 1 0,-14-1 0,14 0 16,0-12-16,0 12 0,0-13 0,0 1 15,0-1-15,0 0 0,0 0 16,0 1-16,14-14 16</inkml:trace>
  <inkml:trace contextRef="#ctx0" brushRef="#br0" timeOffset="2873.18">16841 11099 0,'0'0'0,"26"-13"16,1 13-1,-14 0-15,27 0 0,-1-13 0,14 13 16,-13 0-16,13-13 0,-14 13 0,14-14 15,-13 14-15,13-13 0,0 13 16,0-13-16,0 0 0,-14-1 16,14 14-16,-13-13 0</inkml:trace>
  <inkml:trace contextRef="#ctx0" brushRef="#br0" timeOffset="3234.02">17846 10729 0,'27'-13'0,"-14"-1"15,0 14-15,0 0 0,1 0 16,-14 14-16,13-14 0,13 13 16,-26 0-16,13 0 15,-13 14-15,0-14 0,0 13 16,0-12-16,-13 12 0,0-13 16,0 27-16,0-27 0,-1 14 15,-12-1-15,13-26 0,13 13 16,0 1-1,26-14 1,-13-14-16,1 1 0</inkml:trace>
  <inkml:trace contextRef="#ctx0" brushRef="#br0" timeOffset="3466.28">18190 10702 0,'0'-13'16,"0"26"-16,-13-26 15,0 26-15,-1 1 0,-12-1 16,13 0-16,0 0 0,-27 14 15,27-1-15,13-13 0,-14 14 16,1-14-16,13 0 0,0 1 16,0-1-16,0 0 0,0 0 0,13 1 15,-13-1-15,14 0 0,-1 0 0,13 0 16,-12 1-16,12-14 0,-13 0 16,14 13-16,-14-13 0,13 0 0,-12 0 15,-1 0-15,0 13 0,0-13 0,0 0 16,1 0-16</inkml:trace>
  <inkml:trace contextRef="#ctx0" brushRef="#br0" timeOffset="3908.65">16536 11509 0,'278'14'16,"-556"-28"-16,662 28 0,-278-14 0,26 0 16,14-14-16,132 1 0,-14 13 15,-132-13-15,1 13 0,-27-13 16,-1 13-16,-12-14 0,0 14 15,-1-13-15,-26 13 0,0-13 0,-26 13 16,0 0-16,-14 0 0,-12-13 0,-1 13 16,0 0-16,-53 0 15,27 0 1,-27 0-16,1 13 0,-1-13 0</inkml:trace>
  <inkml:trace contextRef="#ctx0" brushRef="#br0" timeOffset="4482.84">17489 11853 0,'-27'0'16,"14"14"-1,-40 12-15,14-13 0,-1 0 16,-26 14-16,39-14 15,14 0-15,0 1 0,0-14 16,-1 13-16,1 0 0,13 0 16,0 1-16,13-14 0,-13 13 0,14-13 15,-1 13-15,0 0 0,0-13 16,1 0-16,-14 13 0,13-13 16,-13 14-16,13-14 0,-13 13 0,-13 13 15,0-12 1,-1-14-16,14 13 0,-13-13 15,13 13-15,-13 0 0,13 1 16,13-14 15,0 0-31,1 0 0,12 0 16,-13 0-16,14 0 0,-14 0 0,13-14 16,27 14-16,-39-13 15,12 13-15,0 0 0,-12 0 0,12-13 16,1 0-16,-1 13 0,-13 0 15,-13-14-15,14 14 0,-1 0 16,0-13-16</inkml:trace>
  <inkml:trace contextRef="#ctx0" brushRef="#br0" timeOffset="4885.87">18045 11827 0,'13'-40'0,"0"27"0,-13-27 15,-13 27 1,13 0-16,0 0 16,-13 13-16,13-14 0,-27 28 15,27-1 1,-13 13-16,-14 27 0,14-26 16,13 12-16,-13 1 0,13 0 15,0-14-15,0 1 0,0 12 0,0-12 16,0 12-16,13-12 0,-13-1 0,0 1 15,13-1-15,-13-12 0,0-1 16,0 0-16,0 13 0,0-12 16,0-1-16</inkml:trace>
  <inkml:trace contextRef="#ctx0" brushRef="#br0" timeOffset="5076.81">17701 12184 0,'0'0'0,"39"0"31,-25-13-31,12 13 16,-13 0-16,53-13 0,-26 13 15,0-14-15,13 1 16,-14 13-16,1-13 0,39-14 16,-52 14-16,-1 13 0,14-13 15,-27 0-15,0 0 0,1 13 16,-14-14-16</inkml:trace>
  <inkml:trace contextRef="#ctx0" brushRef="#br0" timeOffset="5766.83">17410 10557 0,'-14'0'0,"28"0"0,-28-27 0,14 14 16,0 0-16,-13 0 0,13-27 15,0 27-15,0-14 0,0 1 16,0-1-16,0 1 0,0-14 16,0 14-16,0-1 0,13 1 15,-13-1-15,0 1 0,0 13 0,0 0 16,0-1-16,0 1 0,0 0 15,0 0-15,0-1 16,0 1-16</inkml:trace>
  <inkml:trace contextRef="#ctx0" brushRef="#br0" timeOffset="5974.65">17423 10067 0,'-27'27'31,"27"-14"-31,-13 0 16,13 1-16,-13-1 0,0 13 16,-1-13-16,1 1 0,13-1 0,-13 13 15,0-12-15,0-1 0,-1 0 0,14 14 16,-13-27-16,13 13 0,-13 0 15,13 0-15</inkml:trace>
  <inkml:trace contextRef="#ctx0" brushRef="#br0" timeOffset="6153.69">17370 10081 0,'53'26'31,"-53"-13"-31,26 1 0,-13-14 0,1 13 16,-1 0-16,0 0 0,14 0 0,-14-13 15,0 14-15,0-1 0,1-13 16</inkml:trace>
  <inkml:trace contextRef="#ctx0" brushRef="#br0" timeOffset="8381.94">17277 9578 0,'0'-27'15,"14"14"-15,-14 0 0,13 0 16,0 0-16,0-1 0,0-12 0,1-1 16,-1 1-16,0-1 0,0-12 15,-13 12-15,14-12 0,-14-1 0,0 0 16,0 14-16,0-1 0,0 1 0,0-1 16,0 1-16,0 13 0,0-14 0,-14 14 15,14 0-15,-13 13 16,0 26-16,0-12 15,-1 12-15,1 14 0,0-14 0,0 14 16,0 0-16,-1 12 0,1 15 16,0-15-16,0-12 0,-1 0 15,14 13-15,-13-14 0,13 1 0,-13-13 16,0 12-16,13-12 0,0-1 0,-14 1 16,14-14-16,0 0 0,-13 14 15,13-14-15,0 0 0,-13 0 0,13 0 16,-13-13-16,13 14 0,-13-14 15,-1-14 1,14 1 0,0 0-16,0 0 15,0 0-15,14-1 16,-14 1-16,13 0 0,0 13 16,0-13-16,0-1 0,1 1 15,-1 0-15,13-13 0,1-1 0,-1 1 16,-12 12-16,12-12 0,0-1 0,-12-12 15,-1 12-15,13 1 0,-12 13 16,-14-14-16,13 14 0,-13 0 16,13 13-16,-13-14 0,13 1 0,-13 0 15,0 0 1,0 39 31,0-13-47,-13 1 15,13-1-15,0 0 16,0 0-16,0 1 0,0-1 16,0 0-16,13-13 0,-13 13 15,0 1-15,13-1 16,1-13 0,-1 13-16,-13-26 0,13 13 15,0 0-15,1 0 0,-1-13 0,0-1 16,0 14-16,1-13 0,-1 0 15,-13 0-15,13 13 0,0-14 0,-13 1 16,13 0-16,-13 0 16,-26 26 31,26 0-32,0 0-15,0 1 16,13-1-16,0 0 15,1-13-15,-1 0 16,0 0-16,14 0 16,-14 0-16,0 0 0,0-13 0,1 13 15,-1 0-15,0-13 0,0-1 16,0 14-16,-13-13 16,14 0-1,-28 0 1,1-1-1,0 14 1,13 14 0,0-1-1,0 0 1,13-13-16,0 13 16,1 1-1,-1-1 1,-13 0-1,0 0-15,0 1 16,0-1 0,0 0-16,0 0 15,13-13 1,0-13 15,1 13-31,-14-13 0,13 0 0,0-1 16,-13 1-16,13 0 0,-13 0 15,0-1-15,14 1 0,-14 0 16,0 0-16,13 13 16,-26 13 15,13 0-15,13 0-16,-13 1 15,13-14 1,0 0-1,0-14 1,1 1-16,-1 0 0,-13 0 16,13 13-16,-13-14 15,13 14-15,-13-13 0,0 26 47,14 1-31,-14-1-1,13-13 1,0 0 0,0 0 15,1 0-15,-1-13-1,0 13-15,0-14 31,0 14-31,1 0 16,-1 14-16,-13-1 16,13-13-1</inkml:trace>
  <inkml:trace contextRef="#ctx0" brushRef="#br0" timeOffset="8860.77">18045 10491 0,'0'0'15,"26"-27"-15,-13 27 16,14-13-16,-1 0 0,1-14 16,12 14-16,1 0 0,-14 0 0,14-1 15,13 1-15,-26 0 0,12 0 0,1 0 16,-14-1-16,1 14 0,-14-13 16,14 13-16,-14-13 0,0 13 0,0 0 15,-13-13-15,13 13 0,1-14 16</inkml:trace>
  <inkml:trace contextRef="#ctx0" brushRef="#br0" timeOffset="9108.29">18441 10186 0,'40'14'15,"-27"-14"1,1 0-16,-1 0 0,0 13 16,0-13-16,1 13 0,12-13 0,-13 13 15,0-13-15,1 14 0,-1-1 0,0 0 16,-13 0-16,0 1 16,0-1-16,0 0 15,0 0-15,-13 0 0,0 1 0,13-1 16,-14 0-16,1-13 0,13 13 15,-13 1-15,0-1 16</inkml:trace>
  <inkml:trace contextRef="#ctx0" brushRef="#br0" timeOffset="9662.11">19050 9922 0,'0'0'0,"13"26"31,0 1-31,-13-14 0,0 0 15,14 14-15,-14-1 0,13 1 0,-13-14 16,13 13-16,-13-12 0,13 12 16,-13-13-16,14 0 0,-1 1 15,-13-1-15,13-13 0,0 13 0,1 0 16,-1-13-16,0-13 16,0 13-16,-13-13 0,13 0 15,-13-1-15,14 1 0,-14-13 0,13-1 16,-13 1-16,13-14 0,0 0 0,-13 14 15,0 0-15,14-1 16,-14 14-16,0-14 0,0 14 0,13 0 0,-13 0 16,0-1-16,13 41 31,-26-14-31</inkml:trace>
  <inkml:trace contextRef="#ctx0" brushRef="#br0" timeOffset="11174.16">19526 10014 0,'-13'-13'0,"0"13"0,0 0 15,-1 0-15,1 13 16,0-13-16,0 14 0,-1-1 15,1 0-15,0 0 0,0-13 16,13 14-16,-13-1 0,-1-13 0,14 13 16,-13 0-1,26 1 1,1-14-16,-1-14 16,0 14-16,-13-13 0,13 13 15,0-13 1,1 13-16,-14-13 0,13 13 15,-13 13 17,0 0-17,0 0 1,13-13-16,14-13 16,-14 0-1,0 13-15,-13-13 0,13-1 16,0 1-16,-13 0 0,14-14 0,-14 1 15,0 13-15,13-14 0,-13 1 16,13-1-16,-13 1 0,13-1 0,-13 1 16,0 13-16,0 0 0,14-1 0,-14 1 15,0 0 1,-14 53 0,14-27-16,0 13 0,-13 1 15,13-1-15,-13 1 0,13-1 0,0-13 16,0 14-16,0-1 15,0-13-15,0 1 0,0 12 0,0-13 16,13 1-16,0-1 0,-13 0 16,14-13-16,-1 0 15,0 0-15,0 0 0,1-13 16,-1 13-16,0-13 0,0 13 16,-13-14-16,13 14 0,1-13 15,-14 26 32,0 1-31,0-1-1,13-13-15,0 0 16,0-13-16,1 13 16,-1-14-16,0 14 15,0-13-15,1 13 16,-1-13-16,0 13 47,0 13-32,0-26 1,1 13-16,-14-13 16,13 13-16,-13-14 15,13 14-15,0 14 47,-13-1-47,0 0 16,0 0-1,14-13-15,-1 14 16,0-14-16,0 0 16,0 0-16</inkml:trace>
  <inkml:trace contextRef="#ctx0" brushRef="#br0" timeOffset="11513.53">20307 9525 0,'-13'13'0,"-1"0"16,1 1-16,13 12 0,-26 1 0,12 12 16,1 1-16,-13 13 0,-1 0 15,14-14-15,-13 14 0,-1 0 0,14-13 16,0 0-16,-14-1 0,14 1 0,0-13 15,13-1-15,-14 0 0,14-12 16,-13-1-16,13 0 0,0 0 0,0 1 16,0-1-16,13-13 15</inkml:trace>
  <inkml:trace contextRef="#ctx0" brushRef="#br0" timeOffset="12008.01">20558 9803 0,'-26'0'16,"52"0"-16,-66 0 0,27 0 0,0 0 16,0 13-16,0 0 15,13 0-15,13-13 0,-13 14 16,0-1-16,13 0 0,-13 0 0,13 1 15,0 12-15,1-13 0,-1 1 0,-13-1 16,13 0-16,-13 0 0,13 0 16,1 1-16,-14-1 0,0 0 15,0 0-15,-14 1 16,14-1-16,-26-13 0,13 13 0,-1-13 16,-12 13-16,0-13 0,12 14 0,-12-14 15,-1 0-15,1 0 0,13 0 16,-1 0-16,1 0 0,0 0 0,0 0 15,0 0-15,39-14 32,0 14-32,1-13 0</inkml:trace>
  <inkml:trace contextRef="#ctx0" brushRef="#br0" timeOffset="12633.75">20876 9869 0,'13'-13'15,"-26"26"-15,-1-13 32,14 13-32,-13-13 0,0 13 15,13 1-15,-13-1 0,-1 0 16,14 0-16,-13 1 0,13-1 16,0 0-16,0 0 0,0 0 0,0 1 15,13-14 1,1 0-16,-1 0 0,0 0 15,0 0-15,1-14 0,-1 14 16,-13-13-16,13 13 16,-13-13-16,13 13 0,-13-13 0,0 0 15,14 13-15,-14 13 47,0 0-47,13-13 16,-13 13-16,0 0 31,13-13-15,0-13-1,0 0 1,1 0-16,-1 13 16,-13-13-16,13 13 0,0 0 15,1 0 1,-1 13-1,0 0-15,-13 0 16,0 0 15,13-13-15,1-13 0,-1 0-1,0 0 1,0 0-16,0 13 0,-13-14 15,14 14-15,-1-13 16,0 13-16,-13 13 16,13-13-16</inkml:trace>
  <inkml:trace contextRef="#ctx0" brushRef="#br0" timeOffset="12882.62">21220 10014 0,'26'-13'31,"-13"0"-31,-39 26 31,26 0-15,0 1-16,-13-14 16,13 13-16,0 0 15,13-13 1,0 0-16,0 0 0,0 0 15,1 0-15,-1 0 0,0 0 16,0 0-16</inkml:trace>
  <inkml:trace contextRef="#ctx0" brushRef="#br0" timeOffset="13817.83">18164 12634 0,'13'0'0,"13"13"31,-26 0-31,14-13 0,-1 14 16,0-1-16,0 0 0,0 0 0,1-13 15,-1 13-15,0 1 0,0-1 0,1-13 16,-1 13-16,0 0 0,0-13 16,1 14-16,-1-14 0,0 0 15,0 0-15,0 13 0,1-13 0</inkml:trace>
  <inkml:trace contextRef="#ctx0" brushRef="#br0" timeOffset="14088.95">18455 12647 0,'53'27'31,"-40"-14"-31,-13 0 0,13 0 16,0 0-16,1 1 0,-14 12 0,0-13 15,0 1-15,13-1 0,-26 0 16,13 0-16,0 1 0,-14-1 0,14 0 16,-13 0-16,0 0 0,0 1 15,-1-1-15,1-13 0,0 13 0,0-13 16,-1 13-16,-12-13 0,13 0 15,0 0-15</inkml:trace>
  <inkml:trace contextRef="#ctx0" brushRef="#br0" timeOffset="20448.16">4683 3691 0,'27'-13'0,"12"13"0,-12 0 0,-14 0 16,0 0-16,14 13 0,-14-13 0,0 13 15,0-13-15,14 13 16,-27 1-16,13-1 0,-13 0 0,0 0 16,0 1-16,-13 12 0,0 0 0,-1 14 15,-12-13-15,-1-1 0,14-13 16,-13 14-16,-1-1 0,1-13 0,13 1 16,-14-1-16,14-13 0,0 13 0,-1-13 15,1 13-15,0-13 16,0 14-16,26-1 31,0-13-31,0 0 0,1 0 16,-1 13-16,0-13 0,0 0 15,14 0-15,-14 0 0,0 13 0,14-13 16,-14 0-16,0 0 0,0 0 16,1 0-16,12 14 0,-13-14 0,1 0 15,-1 0-15,0 0 0,0 0 0,0 0 16</inkml:trace>
  <inkml:trace contextRef="#ctx0" brushRef="#br0" timeOffset="20705.73">5490 3823 0,'-26'13'31,"12"-13"-15,1 14-16,-13-1 0,-1 13 0,14 1 15,-13-14-15,-1 14 0,1-1 0,12-13 16,1 0-16,-13 14 0,13-14 16,-1 0-16,14 1 0,-13-1 0,0-13 15,0 13-15,13 0 0,-14-13 16</inkml:trace>
  <inkml:trace contextRef="#ctx0" brushRef="#br0" timeOffset="20917.8">5133 3850 0,'0'0'0,"26"13"31,-12 0-31,12 14 16,1-1-16,-1-13 0,-13 1 16,14 12-16,-14-13 0,0 0 0,14 14 0,-14-27 15,0 13-15,0 0 16,1 1-16,-1-1 0,0-13 0,-13 13 16,13-13-16</inkml:trace>
  <inkml:trace contextRef="#ctx0" brushRef="#br0" timeOffset="21139.8">5728 3757 0,'27'66'15,"-27"-39"1,13-1-16,-13-13 0,0 14 15,0-1-15,13 1 0,-13-1 0,0 1 16,13-1-16,-13-13 0,0 14 0,0-1 16,0-12-16,0-1 0,0 13 15,0-13-15,0 1 0</inkml:trace>
  <inkml:trace contextRef="#ctx0" brushRef="#br0" timeOffset="22626.02">22701 3241 0,'-13'-13'0,"-53"39"16,39-12 0,1-1-16,-14 0 0,14 14 0,-27-1 15,26 0-15,-12 1 0,-1 13 0,0-27 16,14 13-16,-1 1 0,1-1 15,-14 1-15,14-14 0,13 13 0,-14-12 16,14-1-16,-14 0 0,14 0 0,0-13 16,0 13-16</inkml:trace>
  <inkml:trace contextRef="#ctx0" brushRef="#br0" timeOffset="22828.84">21987 3347 0,'13'40'0,"0"-27"0,1 0 0,-1 14 15,106 105 1,-93-106-16,14 1 16,-14-1-16,14 1 0,13 12 15,-26-12-15,25 13 16,-52-27-16,14 13 0</inkml:trace>
  <inkml:trace contextRef="#ctx0" brushRef="#br0" timeOffset="23132.54">22212 4273 0,'-53'53'0,"26"-40"0,1 14 15,-1-1-15,1 1 0,0-1 0,-14 14 16,13-14-16,-12-13 0,26 14 16,-14-1-16,1 1 0,12-14 0</inkml:trace>
  <inkml:trace contextRef="#ctx0" brushRef="#br0" timeOffset="23333.54">21881 4326 0,'27'40'0,"-1"-14"16,-13-13-16,14 1 0,-1 12 0,-13 0 16,14 1-16,-1-14 0,1 14 0,-1-14 15,1 13-15,-14-12 0,0-1 0,14 0 16,-14 0-16,0 0 0,0 14 15</inkml:trace>
  <inkml:trace contextRef="#ctx0" brushRef="#br0" timeOffset="23598.51">22344 5173 0,'-40'13'0,"80"-26"0,-106 39 0,53-13 15,-14 14-15,-12-14 0,12 13 16,1 1-16,-14-14 0,13 0 0,-12 14 15,-1-1-15,14-12 0,-1-1 0</inkml:trace>
  <inkml:trace contextRef="#ctx0" brushRef="#br0" timeOffset="23804.59">21960 5159 0,'14'27'0,"-1"-27"0,0 13 0,0 0 16,1 1-16,-1-1 0,0 13 16,13 1-16,27 26 0,93 79 31,-120-106-31,-12 1 16,-1-1-16,-13-13 0,13 14 0</inkml:trace>
  <inkml:trace contextRef="#ctx0" brushRef="#br0" timeOffset="24049.77">22397 5900 0,'-40'27'0,"80"-54"0,-93 67 0,40-27 0,-14 0 16,1 1-16,-1 12 0,-12-13 15,12 14-15,1-1 0,-14-13 16,-13 27-16,14-13 16,12-14-16,14-13 0,-14 13 15</inkml:trace>
  <inkml:trace contextRef="#ctx0" brushRef="#br0" timeOffset="24257.98">22106 5887 0,'13'0'0,"-26"0"0,26 13 0,0 0 16,1 1-16,-1-1 15,-13 0-15,26 14 0,-12-14 16,12 0-16,0 13 0,1 1 0,-1-1 15,1-12-15,-1 12 0,1-13 16,-1 14-16,1-14 0,-14 13 0,0-12 16,14-1-16,-14 0 0,0 0 0,-13 1 15</inkml:trace>
  <inkml:trace contextRef="#ctx0" brushRef="#br0" timeOffset="24516.44">22291 6588 0,'-26'27'16,"-1"-14"-16,14 0 0,-13 14 15,-27 25-15,26-25 16,-13-14-16,14 14 0,0-1 0,-1 0 16,-13-12-16,27-1 0,-13 0 0,13-13 15,-1 0-15</inkml:trace>
  <inkml:trace contextRef="#ctx0" brushRef="#br0" timeOffset="24670.51">22199 6641 0,'26'40'0,"-52"-80"0,65 93 0,-39-40 16,13 0-16,1 1 0,-14 12 15,13-13-15,13 14 0,-12-1 0,-1-13 16,0 1-16,14-1 0,-14 0 0,0 0 16,13-13-16</inkml:trace>
  <inkml:trace contextRef="#ctx0" brushRef="#br0" timeOffset="26073.85">4299 3519 0,'-13'26'0,"0"-12"0,0 12 0,0 14 16,-1-14-16,-12 14 0,26 13 0,-13 0 16,-1 0-16,14-14 0,0 14 0,0-13 15,0 13-15,14-13 0,-1-1 16,13 1-16,1 0 0,-1-27 16,1 13-16,12-12 0,54-1 15,-53 0-15,66-26 16,-54 13-16</inkml:trace>
  <inkml:trace contextRef="#ctx0" brushRef="#br0" timeOffset="26393.42">5913 3532 0,'40'40'0,"-80"-80"0,93 93 0,-26-40 16,-1 14-16,1 12 0,-1 28 15,-13-41-15,14 106 16,-14-92-16,-26 0 0,13-1 0,-13 1 15,-1 0-15,1-14 16,-13 14-16,12-14 0,-12 1 0,13-1 16,-14-12-16,14-1 0,-13 13 15,12-26-15</inkml:trace>
  <inkml:trace contextRef="#ctx0" brushRef="#br0" timeOffset="26660.68">6760 3598 0,'13'27'0,"-26"-14"0,13 0 15,0 0-15,0 14 0,0-14 16,0 14-16,0-1 0,0 1 0,0-1 16,0 0-16,0 1 0,0-1 0,0-12 15,0 12-15,0-13 0,-13 14 16,13-14-16,0 0 0,0 0 0</inkml:trace>
  <inkml:trace contextRef="#ctx0" brushRef="#br0" timeOffset="26913.82">6482 3810 0,'27'-13'0,"-14"13"16,13 0-16,-12 0 0,12 0 15,1 0-15,52-13 16,-53 13-16,1 0 0,26 0 16,-27-14-16,1 14 0,-1 0 15,-13 0-15,14 0 0,-14-13 0,0 13 16,1 0-16,-1 0 0</inkml:trace>
  <inkml:trace contextRef="#ctx0" brushRef="#br0" timeOffset="30161.91">7660 3612 0,'13'0'0,"0"13"15,0-13-15,1 0 0,-1 13 0,-13 0 16,13 0-16,-13 1 16,0-1-16,-13 0 0,0 14 15,-1-14-15,1 13 0,0-12 0,-14 12 0,14 0 16,0-12-16,0-1 0,0 0 16,-1 0-16,1-13 0,13 14 0,-13-14 15,13 13-15,-13-13 0,-1 13 16,28 0-1,-1 1 1,0-14-16,0 0 0,1 0 16,-1 0-16,13 0 0,-13 0 15,14 0-15,-1 0 0,1-14 0,-1 14 16,14-13-16,0 13 0,-27-13 0</inkml:trace>
  <inkml:trace contextRef="#ctx0" brushRef="#br0" timeOffset="30328.34">8202 3691 0,'-13'53'15,"0"-40"1,13 14-16,-14-14 0,1 13 16,0-13-16,0 14 0,-1-1 0,1 1 15,0-1-15,0 1 0,0-14 0,-1 13 16</inkml:trace>
  <inkml:trace contextRef="#ctx0" brushRef="#br0" timeOffset="30517.81">7964 3836 0,'26'14'16,"-12"-14"-16,-1 0 15,0 13-15,0 0 16,1-13-16,-1 13 0,0-13 0,-13 14 16,13-1-16,0-13 0,1 13 0,-1 0 15</inkml:trace>
  <inkml:trace contextRef="#ctx0" brushRef="#br0" timeOffset="30860.83">8533 3717 0,'-53'0'15,"106"0"-15,-119 14 0,52-14 0,-12 0 16,13 0-16,13 13 0,-13-13 15,13 13-15,-14 0 16,28 1-16,-14-1 0,0 0 16,13 0-16,-13 0 0,13 1 15,-13-1-15,0 0 0,13 0 0,-13 1 16,0-1-16,0 0 0,-13 0 16,13 1-16,-13-1 0,0 0 0,-1 0 15,1 0-15,-13-13 0,12 14 16,1-14-16,-13 13 0,-14-13 0,27 0 15,-14 0-15,1 0 0,-1-13 0,-12-1 16,12 1-16</inkml:trace>
  <inkml:trace contextRef="#ctx0" brushRef="#br0" timeOffset="31125.45">7461 3440 0,'-53'52'16,"106"-104"-16,-145 131 0,65-39 0,-13-1 0,14 1 15,0 13-15,-1-13 0,14 13 16,0 13-16,13-27 0,0 14 0,13-13 16,-13 13-16,26 0 0,-12 0 15,12-14-15,0 14 0,14-26 16,-13-1-16,-1 1 0,14-1 0,-1-13 15,1 1-15,0-14 0,13 0 0,-14 0 16,14-14-16,0 1 0,-13 13 0,13-13 16</inkml:trace>
  <inkml:trace contextRef="#ctx0" brushRef="#br0" timeOffset="31413.85">8850 3585 0,'40'27'0,"-80"-54"0,93 67 16,-40-27-16,14 13 0,-1 1 15,-12-1-15,12 14 0,-13 0 16,1-1-16,-1 1 0,-13 0 0,0 0 0,0-14 15,0 14-15,0-1 0,-13 1 16,-1-13-16,1-1 0,0 14 0,0-14 16,-14 1-16,14-14 0,0 0 15,-1 0-15,1 0 0,0-13 0,0 14 16,0-14-16</inkml:trace>
  <inkml:trace contextRef="#ctx0" brushRef="#br0" timeOffset="31848.7">9525 3585 0,'13'53'32,"-13"-27"-32,0-12 0,0 12 0,0 1 15,0-1-15,0 1 0,0-1 0,0 0 16,0 1-16,-13-1 0,13 1 0,0-1 15,-13-12-15,13 12 16</inkml:trace>
  <inkml:trace contextRef="#ctx0" brushRef="#br0" timeOffset="32048.96">9128 3823 0,'27'0'16,"-14"0"-16,0 0 0,14 0 16,25 0-16,-25 0 0,13 0 15,26 0-15,-27 13 0,-12-13 16,26 0-16,-27 0 0,14 14 16,-14-14-16,1 0 0,-1 0 0</inkml:trace>
  <inkml:trace contextRef="#ctx0" brushRef="#br0" timeOffset="32689.81">10332 3691 0,'13'-13'31,"0"13"-15,1 13-1,-14 0 1,13-13 0,-13 13-16,0 1 0,13-14 15,-13 13-15,0 0 0,13 0 16,-13 1-16,14-14 0,-14 13 0,0 0 15,13 0-15,-13 0 0,0 1 16,0-1-16,0 0 0,-13-13 16,13 13-16,-14 1 0,1-1 0,0 0 15,0-13-15,-1 13 0,1-13 0,0 14 16,0-14-16,0 13 0,-1-13 16,1 0-16,13-13 15</inkml:trace>
  <inkml:trace contextRef="#ctx0" brushRef="#br0" timeOffset="32860.75">10729 3678 0,'13'39'32,"-13"-25"-32,0-1 0,-13 0 15,0 14-15,-1-1 0,1 0 0,-13 1 16,12-1-16,-12 1 0,0-1 0,12 1 15,-12-1-15,13-13 0,-1 1 16,1-1-16,13 0 0</inkml:trace>
  <inkml:trace contextRef="#ctx0" brushRef="#br0" timeOffset="33025.4">10570 3836 0,'40'27'31,"-27"-27"-31,-13 13 16,13-13-16,0 13 0,-13 1 0,14-14 15,-1 13-15,0-13 0,0 13 0,1-13 16</inkml:trace>
  <inkml:trace contextRef="#ctx0" brushRef="#br0" timeOffset="33489.89">11258 3744 0,'0'0'0,"-40"13"31,27-13-31,0 13 0,0 1 0,-14-14 16,14 13-16,-14 0 0,14 0 15,-13 0-15,13 1 0,-14-1 16,14 0-16,13 0 0,-13-13 0,13 14 15,-14-1-15,28 0 16,-1 0 0,0-13-16,0 0 0,1 14 15,-1-14-15,0 0 0,0 0 0,0-14 16,14 14-16,-14 0 0,0 0 16,1-13-16,12 13 0,-13-13 0,1 0 15,-1 13-15,0-14 0,-13 1 0,13-13 16,-13 12-16,13 1 0,-13 0 15,14 0-15,-14 0 0,0-1 0,13 14 16,-13-13-16,-27 26 31,27 1-31,-13 12 0,13-13 16,-13 14-16,0 12 0,13-12 0,-13 13 16,-1-14-16,14 0 0,0 1 15,-13-1-15,13 1 0,-13-1 0,13-12 16,-13-1-16,13 13 0,-14-13 0,1 1 15,13-1-15,-13-13 0,0 13 16,-1-13-16</inkml:trace>
  <inkml:trace contextRef="#ctx0" brushRef="#br0" timeOffset="33763.8">10107 3492 0,'-40'93'16,"80"-186"-16,-93 239 0,27-80 0,12 0 15,-12 0-15,26 1 0,-13-1 0,13-13 16,0 13-16,13-13 0,0 0 0,14 0 15,-14-14-15,13 1 0,1-14 16,-1 1-16,14-1 0,-14-12 0,14-14 16,0 13-16,-14-13 0,27-13 15,0 13-15,0-27 0</inkml:trace>
  <inkml:trace contextRef="#ctx0" brushRef="#br0" timeOffset="34012.94">11589 3479 0,'26'27'0,"54"145"16,-80-133-1,0 1-15,0 0 0,-14 13 16,1-14-16,-13 14 0,12-13 0,-12 13 15,-14-13-15,14-1 0,-14 1 0,0-14 16,14 14-16,-14-13 0,14-1 0,-1-13 16,14 0-16,-13 1 0,12-1 15,1-13-15</inkml:trace>
  <inkml:trace contextRef="#ctx0" brushRef="#br0" timeOffset="34355.75">12091 3691 0,'0'0'0,"14"13"0,-14 0 16,13 1-16,-13-1 0,0 0 0,0 14 16,0-1-16,0 0 0,-13 1 15,13 13-15,0-1 0,-14-12 0,14-1 16,-13 1-16,0-1 0,13-13 0,-13 14 15,13-14-15,-13 0 0,13 1 16</inkml:trace>
  <inkml:trace contextRef="#ctx0" brushRef="#br0" timeOffset="34544.78">11946 3916 0,'40'0'0,"-27"0"16,0 0-16,0 0 0,14 0 0,-14 0 16,13 0-16,-12 0 0,12 0 0,14-13 15,-14 13-15,14 0 0,0 0 0,-1 0 16,1 0-16,-14 0 0,14-14 16,-13 14-16</inkml:trace>
  <inkml:trace contextRef="#ctx0" brushRef="#br0" timeOffset="34954.8">13256 3770 0,'0'0'16,"-67"66"15,41-39-31,0-14 0,-1 14 0,14-14 16,-14 13-16,14-12 0,0-1 0,0 0 15,0 0-15,13 0 0,-14 1 16,14-1-16,0 0 0,0 0 0,14 1 16,-1-14-16,0 0 15,13 13-15,1-13 0,-1 0 16,1 0-16,-1 0 0,14 0 0,-14 0 16,14 0-16,-13 0 0,-1 0 15,0-13-15,1 13 0,-1-14 0,-12 1 16,12 0-16,-13 0 0</inkml:trace>
  <inkml:trace contextRef="#ctx0" brushRef="#br0" timeOffset="35145.81">13481 3717 0,'0'0'0,"-14"0"0,1 0 16,0 14-16,13-1 0,-13 0 0,-1 0 15,14 1-15,-13 12 16,0 0-16,13 1 0,-13-1 0,-1 1 15,14 13-15,-13-14 0,0-13 0,13 14 16,-13-1-16,13 1 0,-13-14 16,13 13-16,0-12 0,-14-1 0,14 0 15,14 0-15</inkml:trace>
  <inkml:trace contextRef="#ctx0" brushRef="#br0" timeOffset="35329.58">13864 3810 0,'-40'66'31,"27"-53"-31,0 14 0,-13 13 0,12-14 16,1 0-16,-13 1 0,12-1 15,-12 1-15,13-1 0,13-12 16,-14-1-16,14 0 0,-13 0 0</inkml:trace>
  <inkml:trace contextRef="#ctx0" brushRef="#br0" timeOffset="35505.71">13692 3942 0,'13'14'16,"-13"-1"-16,14 0 15,-14 0-15,13 0 0,0 1 16,-13-1-16,0 0 16,13-13-16</inkml:trace>
  <inkml:trace contextRef="#ctx0" brushRef="#br0" timeOffset="35821.67">14129 3744 0,'0'0'0,"13"0"0,0 13 16,-13 0-16,-13 14 15,13-14 1,-13 0-16,0 14 0,-14-1 0,14 1 16,0-14-16,-1 13 0,1-12 15,13-1-15,-13 0 0,13 0 16,0 0-16,13 1 0,0-1 15,1 0-15,-1-13 16,0 0-16,0 13 0,14-13 16,-14 0-16,0 0 0,0 0 0,1 0 15,-1 0-15,0 0 0,0 0 0,1-13 16,-1 0 0,-26 0-16,-1-1 15,1 1-15,0 0 0,0 0 0,-14-14 16</inkml:trace>
  <inkml:trace contextRef="#ctx0" brushRef="#br0" timeOffset="36046.04">12726 3532 0,'-79'199'16,"66"-146"-16,13 13 0,-13 0 0,13 0 16,13 0-16,0-13 0,0 0 0,14 0 15,-1 0-15,1-14 0,12 1 0,-12-13 16,13-1-16,-1-13 0,-12 1 16,12-14-16</inkml:trace>
  <inkml:trace contextRef="#ctx0" brushRef="#br0" timeOffset="36321.65">14235 3492 0,'53'53'0,"-40"-26"16,0 13-16,0-1 0,-13 1 16,13 0-16,-13 13 0,0-14 0,-13 27 15,0-13-15,0 0 0,-14-13 0,-26 53 16,27-41-16,-14-12 0,14-13 16,-14 12-16,14-12 0,-27 26 15,39-40-15,-12 0 0</inkml:trace>
  <inkml:trace contextRef="#ctx0" brushRef="#br0" timeOffset="36702.11">15055 3717 0,'0'27'15,"0"-1"-15,0-12 0,-13 12 0,13 0 16,-14 14-16,1 0 0,13-14 0,-13 1 16,13-1-16,-13 1 0,13-14 0,-14 13 15,14-12-15,0 12 0,0-13 16,-13-13-16</inkml:trace>
  <inkml:trace contextRef="#ctx0" brushRef="#br0" timeOffset="36909.32">14843 3956 0,'40'-14'15,"-27"14"-15,0 0 16,0 0-16,14 0 0,-14 0 0,14 0 16,-1 0-16,1-13 0,-1 13 15,-13 0-15,14 0 0,-1 0 0,1 0 16,-14 0-16,13 0 0,1 0 0</inkml:trace>
  <inkml:trace contextRef="#ctx0" brushRef="#br0" timeOffset="37377.56">15941 3797 0,'-53'0'0,"40"0"16,-13 13-16,12-13 0,-12 0 0,-27 13 15,40-13 1,-1 13-16,1-13 0,13 14 15,0-1-15,13-13 16,1 0-16,-14 13 0,13-13 16,0 13-16,0 1 0,1-1 0,-1-13 15,0 13-15,0 0 0,1 1 0,-1-14 16,-13 13-16,0 0 0,0 0 16,0 0-16,-13 1 0,-1-1 15,1-13-15,0 13 0,13 0 0,-27-13 16,14 14-16,0-1 0,0-13 15,-1 0-15,1 13 0,0-13 16</inkml:trace>
  <inkml:trace contextRef="#ctx0" brushRef="#br0" timeOffset="37557.18">16298 3731 0,'14'0'0,"-14"13"0,0 27 32,0-27-32,-14 13 0,14-13 0,-13 14 15,0 13-15,0-14 0,-1 1 0,1 12 0,0-12 16,-14-1-16,1 14 16,13-27-16,0 0 0,-1 1 15</inkml:trace>
  <inkml:trace contextRef="#ctx0" brushRef="#br0" timeOffset="37742.03">16219 3889 0,'0'14'31,"13"-1"-31,0 0 0,1 0 16,-1 1-16,0-14 15,0 0-15,1 13 0,12-13 16,-13 13-16,0-13 0,1 0 16</inkml:trace>
  <inkml:trace contextRef="#ctx0" brushRef="#br0" timeOffset="37927.87">16775 3704 0,'13'0'0,"-26"0"0,26 13 15,-26 1-15,13-1 0,0 13 16,-14-12-16,14 12 0,0 14 16,-13-1-16,0-12 0,0 13 15,-1-14-15,1 14 0,0-14 0,0 1 16,13-14-16,-13 13 0,-1-12 0,1-1 16,13 0-16,-13-13 0,0 13 15</inkml:trace>
  <inkml:trace contextRef="#ctx0" brushRef="#br0" timeOffset="38188.71">15650 3532 0,'-40'80'0,"80"-160"0,-93 212 0,27-79 0,13 14 16,-1-15-16,14 15 0,0-14 0,14-1 15,-1 1-15,0 0 0,13 0 16,1-13-16,13-14 0,-1 14 0,-12-27 16,39 27-16,-26-40 15,-1 0-15,-12 0 0</inkml:trace>
  <inkml:trace contextRef="#ctx0" brushRef="#br0" timeOffset="38441.05">17304 3413 0,'13'66'16,"0"14"-16,-26-41 0,13 14 15,-13 13-15,-14 1 0,14-1 0,-13 0 16,-1 0-16,1 0 0,-173 265 31,173-291-31,-14-1 0,0 1 16,1 0-16,-14-14 0,0 1 0,-13-1 16,0-13-16,13 0 0,-27 1 15,1-14-15,0 0 0,-14 0 0</inkml:trace>
  <inkml:trace contextRef="#ctx0" brushRef="#br0" timeOffset="39105.57">4921 4657 0,'0'0'0,"27"13"16,-1-13-16,1 0 0,39 0 0,13 0 15,1 0-15,12 0 0,14 0 16,26 0-16,27 0 0,13 0 0,0 0 15,0 0-15,26 0 0,14 0 16,66 0-16,13-13 0,-13 13 16,13 0-16,13 0 0,0 0 0,14 0 0,-1 0 15,1 0-15,-1 0 0,1 0 0,-1 13 16,1-13-16,-1 0 0,-12 0 16,-14 13-16,0-13 0,-14 13 0,-78 1 15,13-14-15,-14 13 0,0 0 0,-26 0 16,212 14-1,-291-14-15,-27-13 0,-27 0 16,-12 0-16</inkml:trace>
  <inkml:trace contextRef="#ctx0" brushRef="#br0" timeOffset="39840.18">7832 5146 0,'0'0'0,"39"0"0,-25 0 0,-1 0 0,13 13 16,-12-13-16,-1 0 0,0 14 0,0-1 15,0-13-15,-13 13 0,14 0 16,-14 1-16,0-1 0,0 0 0,-14 0 16,1 0-16,0 1 0,0 12 0,-14-13 15,1 14-15,13-14 0,-14 0 16,14 1-16,0-1 0,-14-13 15,27 13-15,-13-13 0,0 13 0,0-13 16,-1 13-16,28 1 31,-1-14-31,0 0 0,0 0 16,0 0-16,14 0 0,-1 0 0,1-14 16,-1 14-16,14-13 0,0 13 15,-1-13-15,-25 0 0,25 0 0,1-1 16,-14 1-16,14 0 0,-13-14 0,-1 14 15</inkml:trace>
  <inkml:trace contextRef="#ctx0" brushRef="#br0" timeOffset="40020.71">8572 5080 0,'0'0'16,"14"13"-16,-14 0 0,-14-13 15,14 14-15,0 12 0,0-13 16,0 14-16,0-14 0,0 0 0,0 14 15,0-1-15,0-13 0,0 14 0,0-14 16,0 14-16,0-14 16,0 13-16,0-12 0,0-1 0,0 13 0,0-13 15,-13 1-15</inkml:trace>
  <inkml:trace contextRef="#ctx0" brushRef="#br0" timeOffset="40259.65">8268 5331 0,'27'-13'31,"-14"13"-31,0 0 0,0 0 16,14 0-16,-14 0 0,0 0 15,14 0-15,-14 0 0,13 0 0,-12 0 16,12 0-16,1 0 0,-14 0 16,13-13-16,-13 13 0,1 0 0,12 0 15,-13-13-15</inkml:trace>
  <inkml:trace contextRef="#ctx0" brushRef="#br0" timeOffset="40752.74">9366 5226 0,'0'0'0,"13"0"0,-39 0 31,0 0-15,12 13-16,-12-13 0,13 0 0,-14 13 15,14-13-15,-13 13 0,12-13 16,1 0-16,13 13 0,-13-13 0,13 14 15,0-1 1,0 0-16,13 0 0,0 1 16,1-1-16,-1 0 0,0 0 0,0-13 15,0 14-15,1-1 0,-1 0 16,0 0-16,-13 0 0,0 1 16,0-1-16,-13 0 0,0 0 15,-1 1-15,1-14 16,0 13-16,0-13 0,0 13 15,-1 0-15,1-13 0,26-26 32</inkml:trace>
  <inkml:trace contextRef="#ctx0" brushRef="#br0" timeOffset="40940.35">9684 5199 0,'13'13'15,"13"67"17,-26-54-32,0-13 0,0 14 0,14-14 15,-14 14-15,0-14 0,0 13 16,0-13-16,0 1 0,0-1 0,0 0 16,0 0-16,0 1 0,0-1 0,0 0 15</inkml:trace>
  <inkml:trace contextRef="#ctx0" brushRef="#br0" timeOffset="41116.61">9591 5398 0,'80'-27'31,"-67"27"-31,13 0 0,1 0 15,-1 0-15,1 0 0,-1-13 0,-13 13 16,14 0-16,-1 0 0,-13 0 0,14 0 16</inkml:trace>
  <inkml:trace contextRef="#ctx0" brushRef="#br0" timeOffset="41540.05">10411 5305 0,'-39'26'32,"25"-26"-32,1 14 0,-13-1 0,-1 0 15,14 0-15,-13 1 0,-1-1 0,1 0 16,12 0-16,1 0 0,0-13 16,0 14-16,0-14 0,13 13 0,-14 0 15,14 0-15,0 1 16,14-1-16,-1 0 15,0-13-15,0 0 0,0 0 16,1 0-16,12 0 0,1 0 0,-14 0 16,13 0-16,1 0 0,-1-13 15,-13 13-15,14-13 0,-1-1 16,-12 14-16,12-13 0,-13 0 0,1 0 16,-1-1-16</inkml:trace>
  <inkml:trace contextRef="#ctx0" brushRef="#br0" timeOffset="41749.81">10544 5212 0,'0'14'16,"0"-28"-16,-14 41 0,1-14 0,13 0 15,-13 0-15,13 14 0,0-14 16,-13 14-16,13-14 0,0 13 0,0 1 16,0-1-16,0 1 0,0-1 0,0 1 15,-13-1-15,13 0 0,0-12 16,0 12-16,0-13 0,0 1 15,0 12-15,0-13 0,13 1 16,0-1-16</inkml:trace>
  <inkml:trace contextRef="#ctx0" brushRef="#br0" timeOffset="41989.74">11073 5226 0,'0'26'0,"0"-13"15,0 0-15,-13 1 0,13-1 16,-14 13-16,14 1 0,-13-1 16,13 1-16,-13-14 0,0 27 0,13-14 15,-14 1-15,14-1 0,-13-13 0,13 0 16,-13 14-16,13-14 0,-13 0 15,13 1-15,0-1 0,0 0 16</inkml:trace>
  <inkml:trace contextRef="#ctx0" brushRef="#br0" timeOffset="42204.93">10742 5464 0,'40'-14'31,"-27"14"-31,0 0 0,14-13 0,-1 13 16,1 0-16,-1-13 0,1 13 16,-1-13-16,14 13 0,-14-13 15,1 13-15,-1 0 0,14-14 0,-14 14 0,1 0 16,-1-13-16</inkml:trace>
  <inkml:trace contextRef="#ctx0" brushRef="#br0" timeOffset="42740.64">11549 5226 0,'27'0'0,"12"13"31,-26 0-31,1 0 0,-1 0 0,-13 1 16,13-1-16,-13 0 0,-13 0 0,13 14 16,-13-14-16,-1 14 0,-12-1 0,13-13 15,-14 14-15,14-14 0,-13 0 16,12 0-16,14 1 0,-13-1 0,0-13 15,0 13-15,13 0 0,-14-13 16,14 13-16,14-13 16,-1 0-16,0 0 15,0 0-15,1 0 0,12 0 16,1 0-16,-1-13 0,-13 13 0,14-13 16,-1 0-16,1 13 0,12-13 15,1-14-15,-14 14 0,14 0 0,26-27 16,-39 14-16,-1 12 0,14-12 15,-14 13-15,-12-1 16,-1 1-16,0 13 0,0-13 16,0 13-16,1 13 31,-14 0-31,0 1 0,0-1 0,0 0 16,0 0-16,0 1 0,0-1 0,0 0 15,0 0-15,0 0 0,0 14 16,0-14-16,0 0 0,0 1 0,-14-1 15,14 0-15,-13 0 16,13 0-16,0 1 0</inkml:trace>
  <inkml:trace contextRef="#ctx0" brushRef="#br0" timeOffset="43065.77">12012 5437 0,'27'0'32,"-1"0"-32,0-13 15,1 13-15,-1-13 16,-12 13-16,12-13 0,1-1 16,25 1-16,-25 0 0,-14 0 15,0 13-15,14-14 0,-14 14 0,0 0 16,-13-13-16,13 13 0,1 13 15,-1-13-15,-13 14 16,0-1-16,0 0 0,0 0 16,0 14-16,0-14 0,-13 0 15,13 14-15,0-14 0,-14 27 16,14-27-16,0 13 0,-13-13 16,13 1-16,-13 12 0,0-13 0,0 1 15,-1-1-15,1 0 0</inkml:trace>
  <inkml:trace contextRef="#ctx0" brushRef="#br0" timeOffset="43629.8">3717 4882 0,'53'0'0,"-106"0"0,120 0 0,-54 0 15,13-14-15,-13 14 0,1 0 0,12 0 16,1 0-16,-14-13 0,13 13 16,-12 0-16,-1 0 0,0 0 0</inkml:trace>
  <inkml:trace contextRef="#ctx0" brushRef="#br0" timeOffset="43784.71">3823 4961 0,'27'-13'16,"-14"13"0,0 0-16,0-14 0,14 14 15,-1 0-15,1-13 0,-1 13 0,1 0 16,-1 0-16,-13 0 0,14-13 16</inkml:trace>
  <inkml:trace contextRef="#ctx0" brushRef="#br0" timeOffset="44356.52">4696 7739 0,'27'0'0,"-1"0"15,-13 0-15,133 0 31,-120 0-31,1 0 0,-14 0 0,14 0 16,-14 0-16</inkml:trace>
  <inkml:trace contextRef="#ctx0" brushRef="#br0" timeOffset="44522.58">4789 7885 0,'26'-14'16,"1"14"-16,-14 0 16,14 0-16,-1 0 0,0-13 0,14 13 15,-13 0-15,26 0 0</inkml:trace>
  <inkml:trace contextRef="#ctx0" brushRef="#br0" timeOffset="45085.49">7210 7792 0,'40'0'16,"-27"0"-16,53 26 15,-66-12 1,0-1-16,0 0 0,-13 0 16,-1 1-16,-12 12 0,0 1 0,-1-1 15,1 0-15,-14-12 0,14 12 0,-1-13 16,-13 14-16,14-14 15,13 0-15,-1 0 0,1-13 0,0 14 16,0-14-16,13 13 16,13 0-1,0-13-15,0 0 16,14 0-16,-1 0 0,1-13 0,13 13 16,-1 0-16,1 0 0,0-13 0,-14 13 15,14 0-15,-14 0 0,1-14 16,-1 14-16,1-13 0,-1 13 0,-13-13 15</inkml:trace>
  <inkml:trace contextRef="#ctx0" brushRef="#br0" timeOffset="45240.82">7766 7951 0,'-14'0'0,"1"0"15,13-13 1</inkml:trace>
  <inkml:trace contextRef="#ctx0" brushRef="#br0" timeOffset="45584.68">8096 7766 0,'-39'13'0,"78"-26"0,-105 39 0,40-13 15,12 0-15,-12 14 0,0-14 0,-1 14 16,1-1-16,12 1 0,-12-14 16,26 13-16,-13-13 0,13 1 0,0-1 15,13 27-15,0-27 0,14 0 16,-14 0-16,13 0 0,-12 1 15,12-14-15,0 13 0,-12-13 0,-1 0 16,13 0-16,-12 0 0,-1 0 16,0 0-16,-13-13 15,0-1-15,0 1 16,-13 13-16,0-13 16,-1 13-16,1 0 0,13-13 0,-13 13 15,0 0-15,13-13 16</inkml:trace>
  <inkml:trace contextRef="#ctx0" brushRef="#br0" timeOffset="46005.94">8520 7924 0,'13'0'0,"-26"0"0,-1 14 31,1-14-31,0 13 0,-14-13 15,14 13-15,-13-13 0,-1 13 0,14 0 16,-13-13-16,12 14 0,1-1 16,0-13-16,0 13 0,-1 0 0,1-13 15,13 14-15,-13-14 0,13 13 0,0 0 16,13-13-16,-13 13 16,13-13-16,1 0 0,-1 0 15,0 0-15,14 0 0,-1 0 16,1-13-16,-1 13 0,14-13 0,-14 0 15,14-1-15,-1 1 0,-12 0 0,13-14 16,-14 14-16,-13 0 0,14 0 16,-14 0-16,0-1 0,0 14 0,-13-13 15,14 13-15,-28 27 32,1-27-32,0 26 0,-13 0 15,12-12-15,-12 12 0,13 1 16,-14-1-16,1 14 0,12-14 15,-12 1-15,13-1 0,-14 1 0,14-14 16,-13 26-16,26-25 0,0-1 16</inkml:trace>
  <inkml:trace contextRef="#ctx0" brushRef="#br0" timeOffset="46224.8">9181 8057 0,'-26'26'0,"52"-52"0,-79 65 0,27-12 16,-1-14-16,-26 13 0,14 14 0,-28-13 15,15 12-15,-15 1 0,-12 0 16,13-1-16,0 1 0,-53 26 16,66-26-16,0-14 0,26 1 15,-26 12-15,40-39 0,0 14 16,53-28-1,-1 1-15,1-13 0,26-1 16</inkml:trace>
  <inkml:trace contextRef="#ctx0" brushRef="#br0" timeOffset="46369.93">9221 8162 0,'-27'27'0,"54"-54"0,-80 80 0,26-13 15,-26 0-15,14-1 0,-41 14 16,1 0-16,-14 0 0,14 0 0,-14 0 15,1 0-15,-1 0 0,14 0 0,-14 0 16,14 0-16,-14-1 0,-52 28 16</inkml:trace>
  <inkml:trace contextRef="#ctx0" brushRef="#br0" timeOffset="74761.5">22410 3321 0,'-26'13'15,"13"-13"-15,-1 13 0,1-13 16,0 13-16,-14 0 0,1 14 16,-1-14-16,1 14 0,0-14 0,-1 13 15,-13-13-15,14 14 0,-14-14 16,14 14-16,-1-14 0,-12 0 0,12 14 0,1-14 15,-1 0-15,14 0 0,-13-13 16,12 13-16,1 1 0,0-14 16,0 13-16,-1-13 0,14 13 0,-13-13 15</inkml:trace>
  <inkml:trace contextRef="#ctx0" brushRef="#br0" timeOffset="75032.78">21960 3347 0,'0'0'0,"27"26"0,-14-12 16,0-1-16,1 0 0,12 14 0,-13-1 15,14 0-15,-1 1 0,1-1 0,-1 1 16,1-1-16,-14 1 0,26-1 15,-12 1-15,-1-14 0,1 13 0,-1-12 16,-12-1-16,12 0 0,-13 0 0,0 1 16,1-14-16,-1 13 0,0-13 15,-13 13-15,13-13 0,-13 13 0,14-13 16,-1 0-16</inkml:trace>
  <inkml:trace contextRef="#ctx0" brushRef="#br0" timeOffset="75993.42">21603 8506 0,'0'0'16,"0"-13"-16,0 53 16,0-1-16,0 1 15,-13 26-15,13 14 0,0-1 0,-13 0 16,13 54-16,0-1 0,-13 0 0,26 1 15,-13 12-15,0 14 0,0-14 0,13 14 16,-13 13-16,13-13 0,-13 13 16,0 13-16,0-13 0,0 13 0,0 0 15,0 1-15,0-14 0,13 13 16,-13-26-16,0-1 0,14-12 16,-1-1-16,-13-12 0,13-27 0,-13-14 15,13-12-15,-13-14 0,0 0 0,0-13 16,14-14-16,-14 1 0,0-13 0,-14-14 15,14 0-15,-13-26 16,13-14 0</inkml:trace>
  <inkml:trace contextRef="#ctx0" brushRef="#br0" timeOffset="79784.78">22450 8864 0,'-13'13'31,"13"0"-31,0 0 0,0 14 0,-14-14 16,14 13-16,0-12 0,0 12 0,0-13 16,-13 14-16,13-14 0,0 13 15,0-12-15,0-1 0,0 0 0,0 0 16,0 1-16,0-1 0,0 0 0,0 0 15,0 1 1,0-1-16</inkml:trace>
  <inkml:trace contextRef="#ctx0" brushRef="#br0" timeOffset="80247.8">22741 9022 0,'26'0'32,"-26"-13"-17,14 13-15,-1 0 0,0 0 16,0 0-16,1 0 0,-1 0 0,0 0 15,0-13-15,0 13 0,1 0 16,-1 0-16,0 0 0,0 0 16,1 0-16,-1-13 15,0 13-15,0 0 32,1 0-1</inkml:trace>
  <inkml:trace contextRef="#ctx0" brushRef="#br0" timeOffset="80625.66">22926 8850 0,'-13'0'31,"53"0"-16,-27 0-15,0 0 0,0 14 0,1-14 16,12 0-16,-13 13 0,14-13 0,-14 0 16,0 13-16,14-13 0,-14 0 0,0 13 15,0 0-15,1-13 16,-14 14-16,0-1 0,13 0 16,-13 0-16,-13 14 0,13-14 0,-14 0 15,1 1-15,0 12 16,0-13-16,-1 0 0,1 1 0,0 12 15,0-13-15,-1 1 0,1-1 0,13 0 16,-13-13-16,13 13 0</inkml:trace>
  <inkml:trace contextRef="#ctx0" brushRef="#br0" timeOffset="81160.75">23760 8824 0,'-40'26'31,"27"-26"-31,-1 14 0,1-1 0,-13 0 16,13 0-16,-14 0 0,14 1 0,0-1 16,-1 0-16,1 0 0,0 1 15,0-14-15,13 13 0,-14-13 0,14 13 16,0 0-16,0 1 16,14-14-16,-1 0 15,0 13-15,0-13 0,1 0 16,12 0-16,1 0 0,-14 0 0,13 0 15,1 0-15,-1 0 0,1 0 0,-1 0 16,0 0-16,-12 0 0,12 0 16,-13-13-16,1 13 0,-1 0 0,0 0 15,0 0-15,1-14 0,-1 14 16,-13-13-16,13 13 0</inkml:trace>
  <inkml:trace contextRef="#ctx0" brushRef="#br0" timeOffset="81404.73">23945 8797 0,'-27'27'31,"27"-14"-31,-13 0 16,13 1-16,0-1 0,-13 13 15,13-13-15,0 1 0,-13 12 0,13-13 16,0 1-16,-14 12 0,14-13 0,0 1 15,0-1-15,-13 0 0,13 0 16,0 0-16,-13 1 0,13-1 16,0 0-16,0 0 15</inkml:trace>
  <inkml:trace contextRef="#ctx0" brushRef="#br0" timeOffset="81817.64">24209 8824 0,'-26'13'16,"13"0"-16,13 1 15,-14-1-15,1 0 0,13 0 16,-13 0-16,13 1 0,-13 12 0,13-13 16,-13 1-16,13-1 0,0 0 0,0 0 15,13 1-15,0-1 0,0 0 16,0-13-16,1 13 16,-1-13-16,0 0 0,0-13 15,1 13-15,-1 0 0,-13-13 0,13 0 16,0 13-16,-13-14 0,14 1 15,-14 0-15,0 0 0,13-1 16,-13 1-16,0 0 0,-13 0 0,13-1 16,0 1-16,0 0 0,-14 13 0,14-13 15,-13 0-15,-13 13 16,-1 0 0,14 13-16</inkml:trace>
  <inkml:trace contextRef="#ctx0" brushRef="#br0" timeOffset="82140.67">24487 8824 0,'0'13'0,"-26"27"15,26-27-15,-13 0 16,13 0-16,0 1 0,0-1 15,0 0-15,0 0 0,13 1 16,-13-1-16,13-13 0,-13 13 16,13-13-16,0 0 0,1 0 0,-1 0 15,0 0-15,0 0 0,1 0 16,-1-13-16,0 13 0,0-13 16,-13-1-16,13 1 0,-13 0 0,0 0 15,0-1-15,0 1 0,0 0 16,-13-13-16,0 12 0,0 1 0,0 0 15,-1 0-15,1-1 0,-13 1 0,-1 13 16,14-13-16,-13 13 0,-1 0 16,1 13-16,-14 0 0,13 1 0,-12-1 15,12 0-15,1 0 0</inkml:trace>
  <inkml:trace contextRef="#ctx0" brushRef="#br0" timeOffset="82993.57">22476 9723 0,'-13'0'16,"13"14"-16,-13-1 15,13 0-15,0 14 16,-13-14-16,13 13 0,-14 1 0,14-1 16,-13 1-16,0-1 0,13 1 0,-13-14 15,13 13-15,-13 1 0,13-14 16,0 0-16,-14 0 0,14 1 0,0-1 15,0 0-15,0 0 0,14 1 16</inkml:trace>
  <inkml:trace contextRef="#ctx0" brushRef="#br0" timeOffset="83364.95">22966 9856 0,'13'-14'32,"0"14"-32,1 0 15,38 0 1,-38 0-16,-1 0 0,0 0 16,0 0-16,1 0 0,12 0 15,-13 0-15,1 0 16,-1 0-16,0 0 15,0-13 1</inkml:trace>
  <inkml:trace contextRef="#ctx0" brushRef="#br0" timeOffset="83701.6">23125 9671 0,'0'0'0,"26"13"47,-13-13-47,1 13 0,-1-13 16,0 0-16,0 13 0,0-13 0,-13 13 15,14-13-15,-1 14 0,0-14 0,0 13 16,1 0-16,-14 0 16,13-13-16,-13 14 0,0-1 0,0 0 15,0 0-15,0 0 0,-13 1 0,13 12 16,-14-13-16,1 1 0,0-1 16,0 0-16,-1 0 0,1 1 0,13-1 15,0 0-15,-13 0 0</inkml:trace>
  <inkml:trace contextRef="#ctx0" brushRef="#br0" timeOffset="84233.9">24130 9763 0,'-40'27'16,"27"-14"-16,0 0 16,0 0-16,-14 0 0,14 1 0,0 12 15,-14-13-15,14 1 16,0-1-16,0 0 0,-1 0 0,1 1 15,0-1-15,13 0 16,0 0 0,13-13-16,-13 13 15,13-13-15,1 0 0,-1 0 0,13 0 16,-13 0-16,14 0 0,-14 0 0,14 0 16,-1 0-16,-13 0 0,14 0 15,-1-13-15,1 13 0,-14 0 16,0 0-16,-13-13 0,13 13 15,1 0-15,-14-13 16</inkml:trace>
  <inkml:trace contextRef="#ctx0" brushRef="#br0" timeOffset="84457.53">24170 9776 0,'-14'0'15,"1"14"1,13-1-16,0 0 16,-13 0-16,13 0 0,0 1 0,-13-1 15,13 13-15,0-12 0,-13 12 0,13-13 16,-14 1-16,14-1 0,-13 0 16,13 13-16,0-12 0,-13-1 0,13 0 15,-13 0-15,13 1 0</inkml:trace>
  <inkml:trace contextRef="#ctx0" brushRef="#br0" timeOffset="84805.6">24355 9829 0,'-13'-13'0,"-1"26"16,1-13-1,13 13-15,0 1 0,-13-14 0,13 13 16,0 0-16,-13 0 0,13 1 0,13-1 16,-13 0-16,0 0 15,13 1-15,0-1 0,1-13 16,-1 13-16,0-13 0,0 0 0,1 0 16,-1 0-16,0 0 15,0-13-15,1 0 0,-14-1 16,0 1-16,0 0 0,0-14 15,0 14-15,0 0 16,-14 0-16,14-1 0,-13 1 16,0 0-16,0 13 15,-14 0-15,14 0 0,0 13 16,-1-13-16,1 13 16,0 1-16,0-1 15</inkml:trace>
  <inkml:trace contextRef="#ctx0" brushRef="#br0" timeOffset="85283.95">24606 9829 0,'0'13'0,"-13"40"31,26-39-31,-13-1 0,0 0 16,13 0-16,1-13 0,-14 14 15,13-14-15,0 0 0,0 0 0,1 0 16,-1 0-16,0 0 0,0 0 0,1 0 16,-1-14-16,0 1 15,0 0-15,-13 0 0,0-1 0,0 1 16,0 0-16,-13 0 16,0-1-16,0 1 0,-1 13 0,-12-13 0,-1 13 15,1-13-15,-27 13 16,0 13 15,-211 93 110</inkml:trace>
  <inkml:trace contextRef="#ctx0" brushRef="#br0" timeOffset="87813.51">22662 11695 0,'13'-14'0,"0"14"15,-13 14 1,-13-1-1,0 0-15,13 0 0,-14 1 16,1-1-16,0 13 0,0-13 0,-14 14 16,14-14-16,0 0 0,-14 14 15,14-14-15,0 0 0,0 0 0,13 1 16,-14-14-16,1 13 0,13 0 16,-13-13-16,13 13 15,0 1-15,26-14 16,-12 0-16,12 0 0,-13 0 15,14 0-15,-14 0 0,13 0 16,-12 0-16,12 0 0,1 0 16,-14 0-16,13 0 0,-13 0 0,1 0 15,-1 0-15,0 0 0,0-14 16,1 14-16,-1 0 16,-13-13-1</inkml:trace>
  <inkml:trace contextRef="#ctx0" brushRef="#br0" timeOffset="88044.27">22781 11708 0,'0'0'0,"0"-13"0,-14 39 15,14-13-15,0 1 16,0-1-16,-13 0 0,13 13 15,0 1-15,-13-1 0,13-12 0,-13 12 16,13 0-16,-14-12 0,14 12 0,-13-13 16,13 14-16,0-14 0,-13 0 15,13 1-15,0-1 0,0 0 0,0 0 16</inkml:trace>
  <inkml:trace contextRef="#ctx0" brushRef="#br0" timeOffset="88382.77">22979 11814 0,'0'-14'16,"-26"41"0,12-14-16,14 0 15,0 1-15,-13-1 0,13 0 0,0 0 16,13 0-16,-13 1 0,14-1 15,-1 0-15,0-13 16,0 0-16,1 13 0,-1-13 16,0 0-16,0-13 0,0 13 0,1-13 15,-1 13-15,-13-13 16,0-1-16,0 1 0,0 0 16,0 0-16,0 0 0,-13-1 15,-1 14-15,14-13 16,-13 13-16,0 0 0,0 0 0,13-13 0,-13 13 15,-1 0-15,1 0 16,0 0-16</inkml:trace>
  <inkml:trace contextRef="#ctx0" brushRef="#br0" timeOffset="88669.72">23178 11761 0,'0'0'0,"0"13"31,0 0-31,0 0 0,0 1 16,0-1-16,0 0 0,0 0 16,0 1-16,13-1 0,-13 0 15,13 0-15,0-13 0,-13 13 16,13-13-16,1 0 0,-1 0 16,-13 14-16,13-14 0,14-14 0,-14 1 15,-13 0 1,13 13-16,-13-13 0,0 0 15,-13-1-15,13 1 0,-13 0 16,-1 0-16,1 13 16,0 0-16,-14 0 15,14 0-15,0 13 16,0-13-16</inkml:trace>
  <inkml:trace contextRef="#ctx0" brushRef="#br0" timeOffset="88877.71">23561 11655 0,'0'0'0,"13"-13"0,-13 39 31,0-13-15,0 1-16,0 12 0,0-13 0,0 1 15,0 12-15,0-13 0,0 14 16,0-14-16,0 13 0,0-12 0,0-1 15,0 13-15,0-13 0,0 1 16,14-1-16,-14 0 0,0 0 16</inkml:trace>
  <inkml:trace contextRef="#ctx0" brushRef="#br0" timeOffset="89097.31">23495 11774 0,'-13'-13'16,"26"39"15,0-26-31,0 13 0,1 1 16,-1-1-16,0 0 16,0-13-16,-13 13 15,14-13-15,-14 14 0,13-14 0,0 13 16,0-13-16,1 0 15,-14 13-15,13-13 0,0 0 0</inkml:trace>
  <inkml:trace contextRef="#ctx0" brushRef="#br0" timeOffset="89419.88">23984 11589 0,'27'0'15,"-54"0"-15,67-13 0,-27 26 0,1-13 0,-1 0 16,0 0-16,-13 13 0,13 0 16,-13 0-16,0 1 15,0 12-15,-13-13 0,13 14 0,-13-14 16,-14 14-16,14-1 0,13-13 16,-13 14-16,0-27 0,13 13 0,-14 0 15,14 0-15,0 1 0,14-1 16,-1-13-1,0 0-15,0 0 0,1 0 16,12 0-16,-13 0 0,1 0 16,12-13-16,-13 13 0,0 0 0,1 0 15,-1 0-15,0 0 0,0 0 16,-13 13-16,0 0 16,-13-13-16</inkml:trace>
  <inkml:trace contextRef="#ctx0" brushRef="#br0" timeOffset="89714.35">22754 12382 0,'53'-26'0,"-26"13"0,12 0 0,14 13 15,0-27-15,13 14 0,0 0 0,14-1 16,-14 1-16,13 0 0,-13 0 16,14 13-16,-14-13 0,0-1 0,-13 14 15,-13-13-15,13 13 0,-27-13 0,0 13 16,-12 0-16,-1 0 0,13 0 16,-12-13-16,-41 26 31,1 0-31,-1-13 0,-12 13 15</inkml:trace>
  <inkml:trace contextRef="#ctx0" brushRef="#br0" timeOffset="89998.82">22701 12528 0,'80'-13'0,"250"-40"31,-263 40-31,12-1 0,-13 14 16,-13-13-16,0 13 0,-13-13 15,12 13-15,-12-13 0,0 13 0,-14-14 16,1 14-16,-1 0 0,-13 0 16,14 0-16,-14-13 0,0 13 0,1 0 15,-1 0-15,-40 13 31,1-13-15,13 0-16,-27 14 0,0-1 16,-13 0-16</inkml:trace>
  <inkml:trace contextRef="#ctx0" brushRef="#br0" timeOffset="95028.03">22622 10398 0,'132'-26'0,"-52"12"0,12 14 0,1-13 15,26 0-15,13 13 0,0-13 0,1 13 16,-1-13-16,0 13 0,14 0 0,-14 0 15,-26 0-15,26 0 0,-26 0 16,0 0-16,0 13 0,0-13 0,-14 0 16,14 0-16,-13 0 0,-14 0 0,0 0 15,-13 0-15,-26 0 0,0 0 0,-14 0 16,1 0-16</inkml:trace>
  <inkml:trace contextRef="#ctx0" brushRef="#br0" timeOffset="95089.8">25387 10319 0,'-27'-40'0,"1"40"0,-27 0 0,0 0 15</inkml:trace>
  <inkml:trace contextRef="#ctx0" brushRef="#br0" timeOffset="96104.53">22344 10941 0,'0'-14'15,"13"14"-15,1 0 0,-14-13 16,13 13-16,0 0 0,0 13 15,0-13-15,1 0 0,-1 0 0,0 14 16,0-14-16,1 13 0,-1 0 0,-13 0 16,0 0-16,0 1 15,0-1-15,-13 0 0,-1 0 16,1 14-16,0-14 0,0 0 0,-14 0 16,14 1-16,0-1 0,0-13 15,-1 13-15,1 0 0,0-13 0,0 14 16,-1-14-16,14 13 15,27-13 17,-14 0-32,0 0 0,14 0 15,-14 0-15,0 0 0,14 0 0,-14 0 16,0-13-16,14 13 0,-14 0 16,13 0-16,-13 0 0,1 0 0,-1 0 15,13-14-15,-12 14 0,-1 0 16,13-13-16,-12 13 15,-1-13-15,0 13 0,0-13 0,14 13 16</inkml:trace>
  <inkml:trace contextRef="#ctx0" brushRef="#br0" timeOffset="96393.52">22886 10914 0,'0'0'0,"-13"0"0,40 0 47,-14 0-47,0 0 0,14 0 0,-14 0 15,13 0-15,-12 0 0,12 0 16,0 0-16,-12 0 0,-1 0 0,13 0 15,-12 0-15,-1 0 0,0 0 0,0 0 16,14 0 0,-27-13-1</inkml:trace>
  <inkml:trace contextRef="#ctx0" brushRef="#br0" timeOffset="96673.71">23045 10782 0,'66'0'31,"-52"13"-31,25-13 16,-25 13-16,12-13 15,-13 13-15,27 1 0,-14 12 16,-12-13-16,-14 1 15,0-1-15,13 0 0,-26 0 16,13 1-16,0-1 0,-14 0 0,1 0 16,13 0-16,-13 1 0,0-1 0,13 0 15,-14-13-15,1 13 0,13 1 16</inkml:trace>
  <inkml:trace contextRef="#ctx0" brushRef="#br0" timeOffset="97056.61">23839 10821 0,'-66'40'31,"53"-40"-31,-1 13 0,1 1 16,0-1-16,0-13 0,-1 13 16,1 0-16,0 1 0,0-1 15,13 0 1,0 0-16,26 0 15,-13-13-15,1 0 16,-1 0-16,0 0 0,14 0 0,-14 14 16,13-14-16,-13 0 0,14 0 15,-14 0-15,14-14 0,-14 14 0,0 0 16,0 0-16,1 0 0,-1-13 0,0 13 16,0 0-16,-13-13 0,13 13 15</inkml:trace>
  <inkml:trace contextRef="#ctx0" brushRef="#br0" timeOffset="97281.64">23932 10782 0,'-14'0'0,"1"13"31,13 0-31,0 0 0,0 1 16,0-1-16,0 0 0,0 0 15,-13 1-15,13-1 0,0 0 0,0 0 16,0 1-16,0-1 0,0 0 16,-13 0-16,13 0 0,-14 1 15,14-1-15,0 0 0,14-13 16</inkml:trace>
  <inkml:trace contextRef="#ctx0" brushRef="#br0" timeOffset="97620.67">24090 10861 0,'-13'13'31,"0"1"-15,13-1-16,0 0 0,0 0 15,13 1-15,-13-1 0,13 0 16,1-13-16,-1 13 15,0-13-15,0 0 0,0 0 16,1 0-16,-1 0 0,0 0 0,0-13 16,1 0-16,-14 0 15,13-1-15,-13 1 16,-13 0-16,13 0 0,-14-1 0,14 1 16,-13 13-16,0-13 0,0 13 15,-1-13-15,1 13 0,0 0 16,0 0-16,0 0 0,-1 0 0,1 0 15,0 0-15,0 13 0,-1-13 16,14 13-16</inkml:trace>
  <inkml:trace contextRef="#ctx0" brushRef="#br0" timeOffset="97902.93">24342 10848 0,'-14'13'0,"14"0"0,-13 14 16,26-14 0,-13 0-16,14-13 15,-1 14-15,0-14 16,0 0-16,1 0 0,-1 0 0,0 0 16,0 0-16,1-14 15,-1 14-15,0-13 0,0 0 16,-13 0-16,0-1 0,0 1 0,-13 0 15,13 0-15,-13-1 16,0 1-16,-1 0 0,-12 13 16,13-13-16,-14 13 0,1 0 0,-1 13 15,-12-13-15,-1 0 0,-13 13 16,13 0-16</inkml:trace>
  <inkml:trace contextRef="#ctx0" brushRef="#br0" timeOffset="99513">23058 10597 0,'-52'39'31,"38"-26"-31,1 14 16,-13-14-16,12 0 0,1 14 0,0-1 15,0-12-15,-1-1 16,1 0-16,0 13 0,0-12 0,0-1 0,-1-13 16,14 13-16,-13 0 0,13 1 15</inkml:trace>
  <inkml:trace contextRef="#ctx0" brushRef="#br0" timeOffset="99703.72">22728 10702 0,'53'40'16,"-27"-27"-16,1 1 15,12 12-15,-12-13 0,-1 14 16,14-14-16,-14 0 0,1 0 0,-14 1 16,13-1-16,-12 0 0,12-13 0,-13 13 15,1 1-15,-1-14 0,0 13 16,0 0-16</inkml:trace>
  <inkml:trace contextRef="#ctx0" brushRef="#br0" timeOffset="101160.96">22463 3360 0,'-13'-13'16,"-27"26"-1,27-13-15,-13 13 0,12 1 0,-25-1 16,12 13-16,-26 1 0,14-1 0,-1 14 15,-13-14-15,0 14 0,0-13 16,0 12-16,14-12 0,-14 12 0,26-25 16,-13 12-16,14 1 0,0-14 0,12 0 15,1 0-15,0 0 0,0 1 16</inkml:trace>
  <inkml:trace contextRef="#ctx0" brushRef="#br0" timeOffset="101403.92">21987 3268 0,'40'26'16,"-80"-52"-16,93 65 0,-27-12 0,14 12 0,0 1 15,-14 13-15,27-13 0,0-1 0,0 14 16,0-13-16,0 13 0,0-13 15,-1-1-15,-12 1 0,13-14 0,-13 14 16,-14-13-16,1-14 0,-1 13 0,1 1 16,-14-14-16,0 0 15,0 0-15,-13 1 0,14-1 0,-14 0 16</inkml:trace>
  <inkml:trace contextRef="#ctx0" brushRef="#br0" timeOffset="106800.72">10530 9009 0,'67'-40'15,"-54"40"-15,0 0 0,0 0 0,0 0 0,1 14 16,-1-14-16,-13 13 0,13-13 16,-13 13-16,0 0 0,0 1 15,-13-1-15,13 13 0,-13-13 0,-14 1 16,14-1-16,0 0 0,0 0 16,-1 1-16,1-1 0,0 0 15,0 0-15,26 1 31,0-14-31,0 0 16,1-14-16,12 14 0,-13 0 16,14 0-16,-1 0 0,-13 0 0,14-13 15,-1 13-15,-12 0 0,-1 0 16,13-13-16,14 0 0,-27 13 16,0-14-16,1 14 0,-1-13 0</inkml:trace>
  <inkml:trace contextRef="#ctx0" brushRef="#br0" timeOffset="107072.21">11165 8903 0,'14'-13'31,"-1"13"-31,0 0 16,0-13-16,1 13 0,-1 0 15,0 0-15,0 0 0,0 0 16,-13-13-16,14 13 0,-1 0 16,0 0-16,0-14 15,1 14-15</inkml:trace>
  <inkml:trace contextRef="#ctx0" brushRef="#br0" timeOffset="107584.4">11893 8665 0,'-53'40'32,"40"-27"-32,0 0 0,-1 0 0,1-13 15,13 14-15,-13-1 0,0-13 0,13 13 16,-13 0-16,13 1 15,13-1 1,-13 0-16,26-13 16,-13 0-16,1 0 0,-1 0 15,0 0-15,0 0 0,14 0 16,-14-13-16,13 13 0,-12 0 0,-1 0 16,0 0-16,14 0 0,-14-13 0,0 13 15,-13-14-15,13 14 16</inkml:trace>
  <inkml:trace contextRef="#ctx0" brushRef="#br0" timeOffset="107785.68">11906 8639 0,'-13'13'31,"13"0"-31,0 0 0,0 1 0,0-1 16,0 13-16,0-13 0,0 1 16,0-1-16,-13 0 0,13 0 0,0 1 15,13 12-15,-13-13 16,0 1-16,0-1 0</inkml:trace>
  <inkml:trace contextRef="#ctx0" brushRef="#br0" timeOffset="108163.72">12118 8625 0,'-13'0'0,"-1"14"32,14-1-32,-13-13 0,13 13 0,0 14 15,0-14-15,0 0 16,0 0-16,13-13 0,-13 13 0,14 1 15,-1-14-15,0 13 0,0-13 0,1 0 16,-1 0-16,0 0 0,14 0 0,-14 0 16,13-13-16,-13 13 0,1 0 15,-1-14-15,0 14 0,0-13 0,-13 0 16,14 13-16,-14-13 0,13 0 0,-13-1 16,-13 1-16,13 0 15,0 0-15,-14-1 16,1 1-16,0 13 15,0-13-15,-14 26 32,14-13-17,13 13-15,26-13 32</inkml:trace>
  <inkml:trace contextRef="#ctx0" brushRef="#br0" timeOffset="108421.54">12435 8625 0,'0'40'15,"0"-27"1,14-13-16,-1 14 16,13-14-1,-12 0-15,-1-14 0,0 14 16,0 0-16,0-13 0,1 13 0,-14-13 15,13 13-15,-13-13 0,0-1 16,0 1-16,0 0 0,0 0 16,0-1-16,-13 1 0,-1 0 0,1 0 0,0 0 15,0 13-15,-14 0 0,1 0 16,-1 0-16,1 0 0,-14 0 16,-13 13-16,0-13 0</inkml:trace>
  <inkml:trace contextRef="#ctx0" brushRef="#br0" timeOffset="108960.76">11271 8771 0,'40'0'31,"-27"0"-31,0 13 15,1-13-15,-1 0 0,0 0 16,0 13-16,1-13 0,-1 0 0,0 14 16,0-14-16,0 13 0,-13 0 15,0 14 1,-13-14-16,13 0 0,-13 0 16,0 0-16,-14 14 0,1-14 0,-1 14 15,14-14-15,-13 13 0,-1 1 16,1-14-16,-1 13 0,14 1 0,-13-1 15</inkml:trace>
  <inkml:trace contextRef="#ctx0" brushRef="#br0" timeOffset="109493.02">10874 9671 0,'27'-14'16,"-14"14"-16,0 14 16,1-14-1,-14 13-15,0 0 16,0 0-16,13 0 15,-13 1-15,13-14 16,-13 13-16,13 0 16,0-13-16,1 13 0,-1 1 15,-13-1-15,13-13 16,-13 13-16,0 13 16,-13-12-16,0-1 15,-1 0-15,1 0 0,0 1 0,0-14 16,0 13-16,-1 0 0,1-13 0,0 13 15,0-13-15,13 14 16</inkml:trace>
  <inkml:trace contextRef="#ctx0" brushRef="#br0" timeOffset="109684.18">11192 9737 0,'26'0'0,"-52"0"0,66-14 0,-27 14 16,0 0-16,0 0 0,0-13 0,1 13 15,-1 0-15,0-13 0,0 13 0,14-13 16,-14 13-16,0-13 16,1 13-16,-1 0 0,0-14 15</inkml:trace>
  <inkml:trace contextRef="#ctx0" brushRef="#br0" timeOffset="109921.71">11377 9538 0,'0'0'0,"40"0"15,-27 0-15,0 0 16,0 13-16,1-13 0,-14 14 0,13-14 15,0 13-15,-13 0 0,13 0 16,-13 1-16,0-1 16,0 0-16,0 14 0,0-14 0,0 0 15,-13 0-15,13 0 0,0 14 0,-13-14 16,13 0-16,0 1 16,13-14-16</inkml:trace>
  <inkml:trace contextRef="#ctx0" brushRef="#br0" timeOffset="111565.16">12065 9406 0,'26'0'0,"-12"-13"0,-1 13 16,0 0-16,0 0 16,1 13-16,-1 0 0,0 0 15,-13 1-15,0-1 16,0 0-16,-13 0 0,13 1 16,-13 12-16,13-13 0,-14 14 0,1-14 15,0 0-15,13 0 0,-13 1 0,13-1 16,-14-13-16,14 13 0,-13-13 0,13 13 15,0 1-15,13-14 16,1-14 0,-1 14-16,0 0 0,14-13 15,-14 0-15,13 13 0,-12-13 16,25-1-16,-12-12 0,-1 13 0,1-14 16,-1 14-16,0-13 0,1 12 0,-14 1 15,0 0-15,1 0 16,-1-1-16,-13 1 0,13 0 0,-13 0 15,0-1-15,-13 1 16,0 13 0,-1 0-1,1 13-15,0 1 16,13-1 0,13 0-16,0-13 0,1 0 15,-1 13-15,0-13 0,0 0 0,1 0 16,-1 0-16,0 0 0,0 0 15,-13-13-15,13 13 0,-13-13 16,0 0 0,-13-1-16,0 1 15,0 13-15,0-13 0,-1 13 16,1-13-16,0 13 16,13-13-16,-13 13 0,26-14 15,0 14 1,0-13-16,1 13 0,-1 0 15,0 0-15,0 0 0,-13-13 0,13 13 16,1 13-16,-1-13 0,0 0 16,-13 13-1,13-13-15,-13 14 0,14-14 0,-14 13 16,13-13-16,-13 13 0,13-13 16,0 13-16,1-13 0,-1 0 15,0 0-15,0 0 0,14 0 16,-14-13-16,0 13 0,0 0 15,1-13-15,-1 0 0,-13-14 16,-13 27 0,13-13-16,-14 13 0,14-13 0,-13 13 15,0-14-15,0 14 0,-1 0 0,1 0 16,0 0-16,0 0 16,0 0-16,-1 14 0,1-14 15</inkml:trace>
  <inkml:trace contextRef="#ctx0" brushRef="#br0" timeOffset="112055.74">12978 9181 0,'-27'27'16,"27"-14"-16,0 0 16,0 0-16,0 0 15,14 1-15,-14-1 16,13-13-16,0 0 0,0 0 15,-13-13 1,14 13-16,-14-14 0,0 1 16,0 0-16,-14 13 0,14-13 15,-13 0-15,0 13 0,0-14 16,-1 14-16,1 0 16,0 0-16,-14 0 0,14 14 0,0-14 15</inkml:trace>
  <inkml:trace contextRef="#ctx0" brushRef="#br0" timeOffset="112444.87">11827 10173 0,'0'13'31,"0"1"-31,0-1 0,13 0 16,-13 0-16,0 1 0,13-1 15,-13 0-15,0 0 0,14-13 16</inkml:trace>
  <inkml:trace contextRef="#ctx0" brushRef="#br0" timeOffset="112673.54">12131 10213 0,'0'0'0,"13"-13"0,1-1 16,-1 14-16,0-13 15,0 13-15,1 0 0,-14-13 16,13 13-16,0 0 0,0-13 16</inkml:trace>
  <inkml:trace contextRef="#ctx0" brushRef="#br0" timeOffset="113393">12660 9962 0,'27'-14'0,"-1"-12"16,-13 26-16,1-13 15,-1 13-15,-40 13 32,27 0-17,-13-13-15,0 13 0,0-13 0,13 14 16,-13-14-16,-1 13 0,14 0 31,14 0-15,-1-13-16,0 13 15,0-13-15,0 0 16,-13 14-16,14-14 0,-14 13 16,13-13-16,-13 13 0,0 0 15,-13-13-15,13 14 16,-14-14-16,1 13 0,0 0 15,0-13-15,13 13 0,-13-13 0,-1 14 16,28-41 15,-1 14-31,0 13 0</inkml:trace>
  <inkml:trace contextRef="#ctx0" brushRef="#br0" timeOffset="113892.83">12872 9935 0,'13'13'31,"0"1"-15,1-14-1,-1 0 1,0 0-16,0 0 16,-13-14-16,0 1 31,0 0-31,-13 13 15,13-13-15,-13 13 0,13-14 16,-13 14-16,13-13 16,0 0-1,13 13 1,0-13-16,0 13 16,1 0-1,-1 0-15,0 0 16,0 0-16,1 13 15,-1 0 1,0-13 0,0 13-16,0-13 0,1 0 15,-1 0-15,0 0 0,0-13 16,1 13-16,-1 0 0,0-13 0,0 13 16,0-13-16,1 13 0,-14-14 15,0 1-15,0 0 16,0 0-16,-14 13 15,14-13-15,-13 13 0,0 0 0,0 0 16,0-14-16,-1 28 0,-12-14 0,13 0 16,-14 13-16,14 0 0,-13-13 15,-14 13-15,0 14 0</inkml:trace>
  <inkml:trace contextRef="#ctx0" brushRef="#br0" timeOffset="114528.76">12237 10014 0,'26'0'31,"-12"0"-15,-1 14-16,0-14 0,0 0 0,1 0 16,-1 13-16,0-13 0,0 0 15,0 13-15,1-13 16,-14 13-16,13-13 0,-13 14 15,0-1-15,-13 0 0,-1 0 16,14 1-16,-13-1 0,0 13 16,0-13-16,0 1 0,-14-1 0,14 13 15,0-12-15,-1-1 0,1 13 0,0-12 16</inkml:trace>
  <inkml:trace contextRef="#ctx0" brushRef="#br0" timeOffset="115660.45">13295 8387 0,'27'-13'16,"-14"13"-16,0-13 0,0 13 15,1-13-15,-1 13 0,0-14 16,0 14-16,1 0 0</inkml:trace>
  <inkml:trace contextRef="#ctx0" brushRef="#br0" timeOffset="115828.4">13269 8559 0,'26'-13'32,"-12"0"-32,-1 13 0,13 0 0,-13-13 15,1 13-15,-1 0 0,13-14 16,-12 14-16,12-13 0</inkml:trace>
  <inkml:trace contextRef="#ctx0" brushRef="#br0" timeOffset="117784.25">14116 7964 0,'13'0'0,"0"0"0,0 13 16,0-13-16,1 13 0,-1 1 15,0-14-15,-13 13 0,13 0 16,1 0-16,-14 1 0,0-1 0,13 0 16,-13 0-16,0 0 0,0 1 0,0-1 15,-13-13-15,13 13 0,0 0 16,-14-13-16,14 14 0,-13-14 16,0 13-16,0-26 15,13-1 1,13 1-1,-13 0-15,13 13 0,-13-13 0,13-1 16,-13 1-16,14 0 0,-14 0 0,0 0 16,0-1-16,13 1 0,-13 0 15,0 0-15,-13-1 16,13 1-16,0 0 0,-14 0 16,1 13-16,13-13 0,-13 13 15,0-14-15,-1 14 0,1 0 16,0 0-16,0 0 15,0 0-15,52 0 32,-26 0-17,1-13-15,-1 13 0,0 0 0,0 0 16,1 0 0,-1 0-16,-13 13 15,13 1 1,-13 12-1,0-13-15,13 0 16,1 1-16,-1-1 16,0 0-16,0-13 15,0 0-15,14 0 16,-14-13-16,0 13 16,-13-13-1,0-1-15,0 1 0,0 0 16,-13 13-16,13-13 0,-13 0 15,13-1-15,-13 14 16,13-13-16,-14 13 16,14-13-1,27 13 1</inkml:trace>
  <inkml:trace contextRef="#ctx0" brushRef="#br0" timeOffset="118009.16">14499 7990 0,'53'0'15,"-40"-13"1,1 0-16,-14 0 16,0 0-16,0-1 15,0 1-15,-14 0 0,14 0 0,-13-1 16,0 1-16,0 0 15,-1 13-15,-12 0 16,26 13-16,-13 0 0,-14 1 16,14 12-16,-13 1 0,12-1 0,-12 0 15</inkml:trace>
  <inkml:trace contextRef="#ctx0" brushRef="#br0" timeOffset="118612.31">13692 8890 0,'-13'0'16,"39"-13"-1,-26 0-15,14 13 0,-1 0 16,0-14-16,0 14 0,14 0 0,-14-13 15,13 13-15,-12 0 0,-1-13 16,0 13-16,0 0 0,1 0 0</inkml:trace>
  <inkml:trace contextRef="#ctx0" brushRef="#br0" timeOffset="118780.57">13745 8996 0,'13'0'47,"14"-13"-47,-14 13 0,0-14 0,14 14 16,-14-13-16</inkml:trace>
  <inkml:trace contextRef="#ctx0" brushRef="#br0" timeOffset="119852.11">14473 8414 0,'-27'13'16,"27"13"-1,0-12-15,-13-1 16,13 13-16,0-12 0,0 12 0,0-13 16,0 14-16,0-14 0,0 0 0,0 14 15,0-14-15,13 0 0,-13 0 0,13-13 16,-13 14-16,14-14 0,-1 13 0,0-13 15,0 0-15,14 0 16,-14-13 0,-13-1-16,0 1 15,0 0-15,-13 13 16,13-13-16,-13 13 16,-1-14-16,1 14 0,0-13 15,0 13-15,13-13 16,-14 13-1,28-13-15,-14-1 16</inkml:trace>
  <inkml:trace contextRef="#ctx0" brushRef="#br0" timeOffset="120384">14631 8480 0,'0'13'15,"0"0"1,14 1-16,-1-1 15,0-13 1,0 0 0,1 0-16,-1-13 15,0-1 1,-13 1-16,-13 0 16,13 0-16,-13-1 15,-1 14 1,1-13-16,13 0 15,-13 13 1,26-13 0,0 13-16,1 0 15,-14-13-15,13 13 0,0 0 16,0 0 0,1 0-16,-1 0 15,-13 13-15,13-13 0,-13 13 16,13-13-16,0 13 15,1 0-15,-1-13 16,0 0-16,0 14 0,1-14 16,-14-14-16,26 14 15,-13-13-15,0 13 0,-13-13 16,14 0-16,-14 0 16,0-1-16,-14 1 0,14 0 15,-13 0-15,0-1 16,0 14-16,0 0 0,-1 0 15,-12 0-15,13 0 0,13 14 16,-14-14-16,1 13 16,13 0-16,-13 0 0</inkml:trace>
  <inkml:trace contextRef="#ctx0" brushRef="#br0" timeOffset="120760.56">15094 8295 0,'-13'26'0,"0"-13"15,13 1-15,0-1 16,0 0-16,0 0 0,0 1 16,13-14-16,-13 13 15,13-13-15,1 0 0,-1 0 16,0 0-16,-13-13 0,13 13 16,1-14-16,-14 1 15,0 0-15,0 0 16,0-1-16,-14 1 0,1 0 15,0 0-15,0 13 0,-1 0 16,-12 13 0,13-13-16,-14 13 0,14 0 0,-13 1 15,-14 12-15</inkml:trace>
  <inkml:trace contextRef="#ctx0" brushRef="#br0" timeOffset="121383.14">14089 9565 0,'-13'-27'15,"26"27"-15,-13-13 16,13 13-16,1-13 0,-1 13 15,0-13-15,0 13 0,0-14 16,1 14 0,-14 14-16</inkml:trace>
  <inkml:trace contextRef="#ctx0" brushRef="#br0" timeOffset="121544.74">14076 9657 0,'26'0'47,"-12"-13"-32,-1 13-15,0-13 16,0 0-16,0 13 0,1-14 0,-1 1 16</inkml:trace>
  <inkml:trace contextRef="#ctx0" brushRef="#br0" timeOffset="122816.56">13295 9803 0,'14'13'0,"-1"-13"0,0 13 16,0-13-16,0 0 0,1 13 16,-1-13-16,0 0 0,0 0 15,1-13-15,-1 13 0,0 0 0,-13-13 16,13 13-16,1-13 15,-14 0 1,-14-1-16,14 1 0,-13 13 16,0-13-16,0 13 0,-1 0 15,1 0-15,-13 0 0,-1 0 16,14 0-16,-13 13 0,12-13 16,14 13-1</inkml:trace>
  <inkml:trace contextRef="#ctx0" brushRef="#br0" timeOffset="123427.64">14856 9088 0,'-26'14'31,"13"-14"-31,-1 13 16,14 0-16,-13-13 0,0 13 16,0 1-16,0-1 0,-1-13 15,1 13-15,13 0 16,13-13-16,-13 14 16,14-14-16,-1 13 0,0-13 15,0 0-15,0 13 0,1-13 16,-1 13-16,0 0 15,0 1-15,-26 12 16,13-13 0,-13 1-16,0-1 0,-1 0 15,1 0-15,0 0 16,0-13 0</inkml:trace>
  <inkml:trace contextRef="#ctx0" brushRef="#br0" timeOffset="124002.88">14909 9181 0,'0'13'16,"0"1"0,13-1-16,1-13 15,-1 13 1,0-13-16,0-13 15,1 13-15,-1-13 16,-13-1 0,-13 1-1,13 0-15,-14 13 0,1-13 16,0 13 0,13-14-16,-13 14 15,26 0 16,13-13-15,-12 13-16,-1-13 16,0 13-16,0 0 31,1 13-31,-1-13 16,-13 13-16,13-13 15,0 14-15,0-14 16,1 0-16,-1 13 0,0-26 15,0 13-15,1 0 16,-1 0-16,0-14 0,0 1 16,1 13-16,-14-13 0,13 13 0,-13-13 15,0-1 1,-13 1-16,-1 0 16,1 13-16,0-13 0,0 13 15,-1 0-15,1 0 0,0 0 16,0 0-1,-1 0-15,14 13 16</inkml:trace>
  <inkml:trace contextRef="#ctx0" brushRef="#br0" timeOffset="124264.27">15319 9075 0,'14'0'0,"-28"0"0,41 0 15,-14-13 1,0 0-16,-13 0 16,0-1-16,0-12 15,-13 26-15,13-13 16,0-1-16,-13 14 0,13-13 0,-13 13 15,-1-13-15,-12 26 16,13-13 0,-1 13-16,1-13 0,0 14 0,0 12 0,-14-13 15</inkml:trace>
  <inkml:trace contextRef="#ctx0" brushRef="#br0" timeOffset="124609.4">14354 9842 0,'53'-13'32,"-27"0"-32,14-13 0,13 12 15,0-12-15,13-1 0,-13 1 16,13 0-16,0-14 0,0 13 0,0-12 15,0 12-15,0-12 0,1 12 0,-1 1 16,-13-1-16,0 1 0,0-1 16,-14 1-16,1 13 0,-14-1 0,1 1 15,-1 0-15,-12 0 0,-1 13 0,13-14 16,-13 1-16,1 13 0,-14-13 16,13 13-16,0-13 0,0 13 15,-13-13-15,14 13 16,-14-14-16,-14 14 31</inkml:trace>
  <inkml:trace contextRef="#ctx0" brushRef="#br0" timeOffset="129345.67">14896 9816 0,'-13'40'15,"26"-40"-15,-13 26 16,0-13-16,0 1 0,0-1 0,13 13 16,-13-12-16,0-1 0,0 13 0,13-13 15,-13 1-15,0-1 0,14 0 16,-14 0-16,0 1 0,0-1 15,13-13-15</inkml:trace>
  <inkml:trace contextRef="#ctx0" brushRef="#br0" timeOffset="129543.98">15028 9776 0,'0'-13'0,"14"40"31,-14-14-31,13 0 16,-13 0-16,0 14 0,13-14 0,-13 0 16,0 0-16,13 1 0,-13 12 15,0-13-15,13 1 0,-13-1 16,14 0-16,-14 0 0,13-13 0</inkml:trace>
  <inkml:trace contextRef="#ctx0" brushRef="#br0" timeOffset="129980.61">15293 9710 0,'13'13'31,"-13"1"-31,0-1 0,13 0 0,-13 0 16,0 1-1,0-1-15,0 0 0,0 0 0,0 0 16,0 1-16,0-1 0,-13 0 16,13 0-1,-13 1-15,26-41 47,-13 14-47,13 0 0,-13-1 16,14 1-16,-14 0 0,0 0 15,0 0-15,0-1 0,0 1 16,0 0-16,0 0 0,-14-1 16,14 1-16,-13 13 15,13-13-15,-13 13 0,0 0 16,-1 0-1</inkml:trace>
  <inkml:trace contextRef="#ctx0" brushRef="#br0" timeOffset="130464.93">15359 9671 0,'13'13'0,"-13"0"31,14 0-31,-14 0 0,13-13 16,0 0-16,0 0 16,0 0-1,1-13-15,-14 0 16,13 0 0,-13 0-1,-13-1-15,13 1 16,-14 13-1,14-13-15,14 13 47,-1 0-47,0 0 16,0 13 0,1-13-16,-1 0 15,0 0 1,14 0-16,-14 0 15,0 0 1,-13-13-16,13 13 0,0-13 0,-13-1 16,0 1-1,0 0-15,0 0 16,0-1-16,-13 1 16,0 26 15,13 1-31,-13-1 0,13 0 0,-13 0 15,13 1-15</inkml:trace>
  <inkml:trace contextRef="#ctx0" brushRef="#br0" timeOffset="130759.73">15028 10319 0,'27'-27'15,"-14"14"-15,0 0 16,27-14-16,-14 14 0,1-13 0,-1 12 16,14-12-16,-14 0 0,14 12 15,-13-12-15,12 13 0,-12-14 0,-1 14 0,14-14 16,-14 14-16,-12 0 0,-1 13 0,13-13 15,-12 0 1,-1 13-16,-13 26 16,-13-26-1</inkml:trace>
  <inkml:trace contextRef="#ctx0" brushRef="#br0" timeOffset="131013.76">15015 10451 0,'53'-26'32,"-27"26"-32,1-14 0,-1 1 15,14-13-15,-13 12 0,12 1 16,-12 0-16,12 0 0,1-14 16,-13 14-16,-1 0 0,0 0 0,-12 13 15,12-14-15,-13 1 0,14 13 0,-27-13 16,13 13-16,0 0 0,1-13 15,-1 13-15,0-14 0,0 14 16,-13-13 0,13 13-1</inkml:trace>
</inkml:ink>
</file>

<file path=ppt/ink/ink12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1:42:17.873"/>
    </inkml:context>
    <inkml:brush xml:id="br0">
      <inkml:brushProperty name="width" value="0.05292" units="cm"/>
      <inkml:brushProperty name="height" value="0.05292" units="cm"/>
      <inkml:brushProperty name="color" value="#0070C0"/>
    </inkml:brush>
  </inkml:definitions>
  <inkml:trace contextRef="#ctx0" brushRef="#br0">22794 2275 0,'0'-13'32,"0"0"-32,0 0 15,0-1-15,-13 1 16,13 0-16,-14 0 15,14-14-15,-13 14 0,0 0 16,0-14-16,-1 1 16,1 13-16,-13-14 0,-1 14 0,1-13 15,-40-14-15,39 13 0,-12 14 16,-1-13-16,0 13 0,14-1 0,-14 1 16,14-13-16,-14 12 0,0 1 15,14 0-15,-40-14 16,26 14-16,0 0 0,-26-13 15,26 12-15,14 1 0,-14 0 16,14 13-16,-1-13 0,1 13 0,-14-14 16,1 14-16,12-13 0,-13 13 0,1 0 15,-1-13-15,0 13 0,1-13 16,-1 13-16,0 0 0,1 0 0,12-13 16,-13 13-16,-13 0 0,14-14 0,-41 14 15,41 0-15,-1-13 0,-13 13 16,27 0-16,-27-13 0,13 13 15,14 0-15,-27-13 0,13 13 0,0 0 16,-13 0-16,14-14 0,-14 14 0,13 0 16,-13-13-16,14 13 15,-14 0-15,-27 0 0,54-13 16,-14 13-16,0 0 0,-13 0 0,14 0 16,-14 0-16,0 0 0,13 13 15,-13-13-15,0 0 0,14 0 0,-14 13 16,13-13-16,-13 0 0,14 14 0,-14-14 15,13 13-15,0 0 0,1-13 16,-14 13-16,13 1 0,-39 12 16,26-13-16,13 0 0,-39 27 15,39-27-15,0 1 0,1 12 16,-1-13-16,13 0 0,-39 27 16,40-13-16,-1-14 0,1 27 15,-1-27-15,1 13 0,13-13 16,-1 1-16,1-1 0,0 13 15,-13 1-15,12-1 0,1-12 16,0 25-16,0-26 0,-1 14 0,1-14 16,0 14-16,13-14 0,-13 13 15,0 14-15,-1-14 0,14-12 16,-13 12-16,13-13 0,0 14 0,-13-1 16,13-13-16,-13 14 15,13-14-15,0 14 0,-14 12 16,1-12-16,13-14 0,-13 40 15,0-27-15,13-12 0,-14 12 16,1 1-16,13-1 0,-13-13 0,0 14 16,13-14-16,-13 13 0,-1 1 0,1-14 15,13 14-15,-13-1 0,13-13 16,-13 14-16,-1-1 0,14-13 0,-13 14 16,0-1-16,13 1 0,-27 12 15,27-12-15,-13-14 0,0 40 16,13-40-16,-13 14 0,13-14 15,-13 13-15,-1 1 0,14-14 0,-13 27 16,0-14-16,13 1 16,-13-14-16,13 13 0,-14 1 15,14-14-15,-26 27 0,26-14 16,-13-13-16,0 27 0,-1-13 16,14-14-16,-13 13 0,0-13 15,13 14-15,-27 13 0,27-27 16,-13 13-16,0-12 0,13 12 15,-13 0-15,-14 1 0,14-1 16,0 14-16,0-13 0,-27 25 16,13-25-16,14-1 0,-40 27 15,27-26-15,13-1 0,-40 40 16,26-52-16,1 12 0,-27 27 16,26-27-16,1 1 0,-27 26 15,26-27-15,1 1 0,0-1 16,-14 1-16,13-1 0,1 1 15,-40 12-15,39-12 0,-65 52 16,52-66 0,-13 40-16,27-26 15,-54 39-15,54-40 0,-1 1 16,1-1-16,0-13 0,-1 14 16,1-1-16,-1 1 0,1-14 15,-1 13-15,1 1 0,-27 13 16,26-14-16,1-13 0,-27 40 15,40-40-15,-53 27 16,52-13-16,-12-14 0,-40 27 16,39-14-16,1-13 0,-1 14 0,1-14 15,-14 0-15,14 14 0,-1-14 0,-12 0 16,-1 13-16,14-12 0,-14-1 16,0 13-16,0-12 0,1-1 15,-1 13-15,-13-12 0,13-1 0,1 0 0,-1 0 16,-13 14-16,14-14 15,-67 13-15,66-12 0,-13-1 16,-92 27-16,92-27 16,-40 0-16,40 0 15,0-13-15,-39 13 0,39-13 16,13 14-16,-13-14 0,13 0 0,1 0 16,-1 13-16,-26-13 15,39 0-15,-12 0 0,-1 0 16,14 0-16,-14 0 0,-26 0 15,39 0-15,1-13 0,-1 13 0,-12 0 16,12 0-16,1 0 0,-1 0 16,-12 0-16,12 0 0,-52 0 15,66 0-15,-14 0 0,1-14 16,-14 28-16,0-28 16,27 14-16,-13 0 0,-27 0 15,39 0 1,1 0-16,-13 0 0,12 14 0,-12-14 15,13 0-15,0 0 16,-1 0-16,1 0 16,0 0-16,0 0 15,-1 0-15,1 0 16,0 0 0,0 0-16,0 0 15,13-14 1,-14 14-1,1 0 1,13-13 31</inkml:trace>
  <inkml:trace contextRef="#ctx0" brushRef="#br0" timeOffset="1064.92">13547 5662 0,'-27'13'31,"14"1"-16,0-14-15,0 13 0,-1-13 16,1 13-16,-27 0 16,27-13-1,0 13-15,0-13 0,-1 14 0,1-1 16,-13 0 0,13-13-16,-1 27 15,1-27-15,13 13 16,-13 0-16,13 0 15,13 1 1,-13-1-16,13-13 0,1 13 16,-1 0-16,13 14 15,-13-27-15,1 13 0,25 13 16,-25-12-16,-1-1 16,0 0-16,0-13 0,27 26 15,-27-26-15,40 27 16,-40-14-1,1-13-15,-14 13 16,13-13-16,0 0 16,0 14-1,0-14 1,-13 13 0,14-13-1,-1 0 79,0 0 15,-13-13 48,13 13-142,1-14 1,-1 1-16,13 0 0,14-14 15,0 1-15</inkml:trace>
  <inkml:trace contextRef="#ctx0" brushRef="#br0" timeOffset="2607.98">19817 2236 0,'-13'-14'0,"0"1"31,0 0-31,-1 13 0,14-13 16,-13 0-16,0-1 0,0 14 0,-1-13 15,1 13-15,0-13 16,0 13-16,-27-13 0,27-1 15,-14 14-15,-12-13 0,12 0 16,1 13-16,-1 0 0,-12-13 16,12 13-16,-12 0 0,-54-13 15,40 13-15,13-14 0,-52 14 16,52-13-16,-13 13 0,0 0 16,13-13-16,-52 13 0,39 0 15,0-13-15,0 13 0,-53 0 16,53 0-16,0-14 0,1 14 15,-1 0-15,0 0 0,0 0 16,0 0-16,0 0 0,0 0 0,0 0 16,0 0-16,0 0 0,0 0 0,0 14 15,1-14-15,-1 0 0,13 0 16,-66 13-16,53-13 0,13 0 16,-65 13-16,52 0 0,0-13 15,13 14-15,-13-14 0,14 13 16,-14-13-16,13 13 0,0 0 0,1 0 15,-1-13-15,-53 27 16,54-14-16,-41 14 0,41-14 16,-1 0-16,-40 13 15,41-12-15,-1-1 0,-39 13 16,39-12-16,-13-1 0,-26 13 16,39-12-16,-39 12 15,26-13-15,13 0 0,0 1 0,-65 25 16,65-25-16,-53 12 15,54 1-15,-14-14 0,-40 26 16,40-25-16,13-1 0,-79 27 16,80-27-16,-1 0 15,-26 0-15,26 1 0,-13-1 0,-53 26 16,67-25-16,-14-1 16,-53 13-16,53 1 0,13-14 15,-65 14-15,65-14 16,0 0-16,-39 13 0,39-12 15,14-1-15,-27 0 0,40 0 16,-14-13-16,1 14 0,12-1 16,-12-13-16,13 13 0,-14 0 15,14-13-15,0 0 0,0 13 16,-1-13-16,1 14 16,0-14-16,0 0 15,-1 13 1</inkml:trace>
  <inkml:trace contextRef="#ctx0" brushRef="#br0" timeOffset="3175.78">14102 2844 0,'-53'40'31,"53"-27"-15,-26 14-16,13-14 0,13 0 0,-27 27 16,14-40-1,0 26-15,13-13 16,-13 1-16,13-1 15,0 0 1,0 0-16,13-13 16,-13 14-16,13-14 15,0 13-15,0-13 0,1 0 16,-1 0-16,0 0 0,14 13 16,-14-13-16,0 0 0,14 0 0,-14 0 15,0 0-15,0 0 0,0 13 16,1-26-16,-1 26 0,13-13 15,-12 0-15,-1 0 16,13 0-16,-12 0 31,-1 0-31,0 0 16,-13-13 31</inkml:trace>
  <inkml:trace contextRef="#ctx0" brushRef="#br0" timeOffset="3896.68">13189 3175 0,'0'13'0,"-26"-26"32,26 0-17,-13 0 1,13-1 0,0 1-16,0 0 15,0 0 1,13 13-16,0 13 31,0-13-31,-13 13 0,14-13 16,-1 0-16,-13 13 0,13-13 15,0 14 1,1-14-16,-1 0 16,0-14-1,-13 1-15,13 0 16,-13 0-16,0-1 0,0-12 15,0 13-15,0-1 0,0-12 16,0 13-16,0 0 0,0-1 16,0 1-1,0 0-15</inkml:trace>
  <inkml:trace contextRef="#ctx0" brushRef="#br0" timeOffset="4566.96">12832 6072 0,'-13'0'0,"13"13"15,0 1-15,0-1 16,0 0-16,0 14 0,0-14 0,0 13 16,13-13-16,-13 14 0,0-14 15,0 14-15,14-14 0,-14 0 0,13 14 16,-13-14-16,0 0 0,0 0 15,13 0-15</inkml:trace>
  <inkml:trace contextRef="#ctx0" brushRef="#br0" timeOffset="4879.88">12766 6152 0,'-13'0'0,"39"-27"31,-12 27-31,12 0 16,-13 0-16,27 0 16,-14 13-16,-12-13 0,25 27 15,-12-1-15,-1-13 0,-12 14 0,-1-1 16,-13-12-16,13 12 0,-13 1 15,0-14-15,0 13 0,-13 1 0,-14 39 16,14-40-16,0 1 0,0-1 16,-1-13-16,1 1 0,-13 25 15,12-39-15,-12 14 0,13-1 16,0-13-16,-1 0 0</inkml:trace>
</inkml:ink>
</file>

<file path=ppt/ink/ink12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17:39.601"/>
    </inkml:context>
    <inkml:brush xml:id="br0">
      <inkml:brushProperty name="width" value="0.05292" units="cm"/>
      <inkml:brushProperty name="height" value="0.05292" units="cm"/>
      <inkml:brushProperty name="color" value="#FF0000"/>
    </inkml:brush>
  </inkml:definitions>
  <inkml:trace contextRef="#ctx0" brushRef="#br0">648 2910 0,'-13'0'0,"0"0"16,52-13 0,1 13-1,0-13-15,13 13 0,26-13 0,-13 0 16,27 13-16,-14-14 0,14 14 15,-14-13-15,14 0 0,-14 13 0,1-13 16,-1-1-16,-13 14 0,0 0 0,-13-13 16,0 13-16,-13 0 0,-1 0 15,-12 0-15,-1-13 0,1 26 16,-14-13-16</inkml:trace>
  <inkml:trace contextRef="#ctx0" brushRef="#br0" timeOffset="233.48">992 2977 0,'0'0'0,"27"0"16,-1 0 0,1-14-16,25 14 0,1 0 0,27-13 15,-1 13-15,1-13 0,-1 13 16,-13-13-16,13 13 0,-12-14 0,-1 14 15,-13 0-15,-14 0 0,1 0 0,0 0 16,-14 0-16,1 0 0,-14 0 16,13 0-16,-12 0 0,-1 14 0,0-14 15,-13 13-15</inkml:trace>
  <inkml:trace contextRef="#ctx0" brushRef="#br0" timeOffset="1220.15">2540 3043 0,'53'0'31,"-27"0"-31,27 0 0,0 0 0,13-14 15,14 14-15,-14-13 0,13 13 0,1-13 16,-1 0-16,-13 13 0,14-13 16,-28 13-16,1-14 0,-13 14 0,13 0 15,-27-13-15,1 13 0,-1 0 16,1 0-16,-14 0 0,0 0 0,0 0 16,1-13-16,-1 13 0,0 0 0,0 0 31,-26-13 31</inkml:trace>
  <inkml:trace contextRef="#ctx0" brushRef="#br0" timeOffset="2390.36">6694 2910 0,'26'0'15,"1"0"-15,-14 0 0,14 0 0,25 0 16,1 14-16,0-14 0,27 0 16,-1 0-16,-13 0 0,14 13 0,-1-13 15,-26 0-15,13 0 0,-13 0 16,13 0-16,-13 0 0,-13 0 0,-1 0 16,1 0-16,-13-13 0,-1 13 0,-13 0 15,14 0-15,-14 13 0,0-13 16,-13-13-16,13 26 0,1-13 0,-1 0 15,0 0-15,0-13 16</inkml:trace>
  <inkml:trace contextRef="#ctx0" brushRef="#br0" timeOffset="4601.26">11060 2381 0,'-14'27'0,"28"-1"16,-14-13-16,0 14 0,0-1 15,0 14-15,13 0 0,-13-14 16,0 14-16,13 0 0,-13-14 0,0 0 15,0 1-15,0-14 0,0 14 0,0-14 16,13 13-16,-13-12 0,0-1 16,0 0-16,0 0 0,0 0 15,0 1-15</inkml:trace>
  <inkml:trace contextRef="#ctx0" brushRef="#br0" timeOffset="7209.92">11007 2381 0,'13'-13'31,"0"13"-31,0 0 0,14 0 16,-14 0-16,13 0 0,-12 0 15,25 0-15,-12 0 0,13 0 16,-1 0-16,14 0 0,0 0 0,0 0 16,0 0-16,0 0 0,0-13 0,13 13 15,-13 0-15,13 0 0,0 0 16,0-13-16,-13 13 0,27 0 15,-14 0-15,0-14 0,13 14 0,1 0 16,-1-13-16,0 13 0,1-13 0,12 13 16,-12 0-16,-1-13 0,14 13 0,-14 0 15,14-14-15,-14 14 0,14 0 16,-14-13-16,0 13 0,1 0 16,-1 0-16,0 0 0,1 0 0,-1 0 15,-13-13-15,1 13 0,-15 0 0,15 0 16,-14 0-16,-1 0 0,1 0 15,0 0-15,0 0 0,0 0 0,-13 0 16,-14 0-16,14 0 0,-14 0 0,14 0 16,-13 0-16,-14 0 0,13 0 15,1 0-15,-14 0 0,0 0 0,0 0 16,1 0-16,-1 0 0,0 0 0,-13-13 16,27 13-16,-14 0 15,0 0 1,-13-14-16,13 14 31,-13-13 0,13 13 16,1 13 16,-1-13-16,0 0 62,0 0-93,1 0-16,-1 0 0,0 0 0,13 0 15,-12 0-15,12-13 0,14 13 16,-14 0-16,27 0 0,-13 0 0,13 0 15,-13 0-15,-1 0 0,1 0 0,13 0 16,0 0-16,-14 0 0,14 0 16,0 13-16,-13-13 0,13 0 0,-13 0 15,12 0-15,-12 0 0,13 14 0,-13-14 16,-1 0-16,14 0 0,-13 0 16,0 0-16,-1 13 0,-12-13 0,26 0 15,0 0-15,-14 0 0,1 0 16,0 0-16,13 0 0,-14 13 0,-12-13 15,13 0-15,-1 0 0,1 0 16,-14 0-16,14 13 0,-13-13 0,-1 0 16,14 0-16,-14 0 0,14 14 0,0-14 15,12 0-15,-25 0 0,26 13 16,-14-13-16,14 0 0,-13 13 0,0-13 16,-14 0-16,1 0 0,12 13 0,-12-13 15,39 0-15,-13 14 16,-27-14-16,1 0 15,-1 0-15,1 0 0,-1 0 0,1 0 0,-14 0 16,13 0-16,1 0 16,-14 13-16,13-13 0,-12 0 0,-1 0 15,13 0-15,-12 0 0,-1 0 0,0 0 16,0 0-16,1 0 0,12 0 16,-13 0-16,0 0 0,1 0 0,-1 0 15,0 0-15,0 0 0,1 0 0,-1 0 16,0 0-16,0 0 0,1 0 0,-1 0 15,13 0-15,-13 0 0,1 0 16,12 0-16,-13 0 0,1 0 16,12 0-16,-13 0 0,14 0 0,-1-13 15,-13 13-15,14 0 0,-1 0 16,-12 0-16,12 0 0,-13 0 0,14 0 16,-14 0-16,0 0 0,0-14 0,1 14 15,-1 0-15,0 0 0,0 0 16,1 0-16,-1 0 0,0 0 0,-13-13 15,13 13-15,0 0 0,1 0 16,-1 0-16,0 0 16,0 0-1,1 0-15,-1 0 16,0 0 0,0 13-1,1 1 1,-1-1-1,0 0 1,-13 0-16,13 0 0,-13 1 16,0-1-16,0 0 0,0 0 0,0 1 15,0-1-15,0 0 0,0 0 16,0 1-16,0-1 0,0 0 0,0 0 16,0 0-16,0 14 0,0-14 0,13 0 15,-13 1-15,0-1 0,0 0 16,0 0-16,0 1 0,0-1 15,0 0-15,14 0 0,-14 0 16,0 1 0,0-1-16,0 0 15,0 0 1,13-13-16,-13 14 16,0-1 15,-13-13 0,13 13-15,-14-13-16,1 13 15,0-13 1,0 0-16,0 0 0,-1 0 0,-12 14 16,-1-14-16,1 0 0,-14 13 15,-13-13-15,14 0 0,-28 0 16,15 0-16,-28 0 0,-12 0 0,-1 0 15,0 0-15,1 0 0,-14-13 0,-26 13 16,-1 0-16,1-14 0,0 14 0,13-13 16,-14 13-16,14-13 0,14 13 15,-1-13-15,-27 13 0,14-14 0,-13 14 16,13-13-16,13 13 0,0 0 0,-26-13 16,0 13-16,26 0 0,0 0 15,-26 0-15,39-13 0,-13 13 0,0 0 16,14 0-16,-1 0 0,14 0 15,-14 0-15,14 0 0,0 0 16,-1 0-16,27 0 0,0 0 0,-13 0 16,13 0-16,14 0 0,-1 0 0,0 0 15,14 0-15,-1 0 0,1 0 16,-1 0-16,1 0 0,13 0 0,-14 0 16,1 0-16,13 0 0,-14 0 0,14 0 15,-14 13-15,1-13 0,13 0 16,-14 0-16,1 0 0,-1 0 0,14 0 15,-13 0-15,12 0 0,1 13 0,-13-13 16,13 0-16,-1 0 0,1 0 16,0 0-16,0 0 0,-1 0 0,-12 0 15,13 0-15,-1 0 0,1 0 16,-13 0-16,13 13 0,-1-13 0,-12 0 16,13 0-16,-14 0 0,14 14 15,-14-14-15,1 0 0,0 0 0,-1 13 16,1-13-16,-1 0 0,1 13 0,-14-13 15,0 0-15,1 13 0,-1-13 16,-13 0-16,13 14 0,1-14 0,-14 13 16,26-13-16,-12 0 0,12 13 15,1-13-15,-1 0 0,-12 0 16,12 13-16,1-13 0,-1 0 0,1 13 16,-1-13-16,-12 0 0,12 0 0,1 14 15,-1-14-15,1 0 0,-14 13 16,14-13-16,-1 0 0,1 0 0,-14 13 15,14-13-15,-1 0 0,-13 0 0,14 0 16,-14 0-16,14 0 0,-1 0 16,1 0-16,-1 0 0,1 0 0,13 0 15,-14 0-15,1 0 0,13 0 0,-1 0 16,-12 0-16,13 0 0,-1 0 16,1 0-16,0 0 0,0 0 15,0 0-15,-1 0 0,1 0 16,0 0-16,0 0 15,-1 0-15,1 0 0,0 0 16,0 0-16,-1 0 0,1 0 0,0 0 16,0 0-16</inkml:trace>
  <inkml:trace contextRef="#ctx0" brushRef="#br0" timeOffset="8269.43">16100 4101 0,'0'0'0,"-13"79"0,-1-26 0,14 13 16,-13 14-16,0 39 0,0-13 15,0 13-15,-1 13 0,1 0 0,0 1 16,13-1-16,-13 14 0,13-14 0,0 13 16,0-12-16,-14-1 0,14-13 15,0 13-15,0-13 0,0-13 0,0-13 16,0-1-16,0-12 0,0-1 0,0-13 16,0 0-16,0 1 0,0-28 0,0 14 15</inkml:trace>
  <inkml:trace contextRef="#ctx0" brushRef="#br0" timeOffset="8669.25">17013 4048 0,'39'423'31,"-39"-303"-31,-13 12 0,13 0 16,-13 14-16,0-1 0,13 1 16,0-1-16,0-13 0,13 1 0,-13-1 15,0 0-15,13-13 0,-13-39 0,0 12 16,0-12-16,0-14 0,0 13 0,-13-26 16,13 0-16,0-13 0,-13 0 15,13-14-15,0 0 0,-14-12 0,14 12 16,0-13-16,-13-13 0,13 14 15</inkml:trace>
  <inkml:trace contextRef="#ctx0" brushRef="#br0" timeOffset="9153.31">13666 5530 0,'39'-13'15,"-12"13"-15,-1 0 0,14 0 0,13-14 16,-13 14-16,26 0 0,-27 0 15,14 0-15,0 0 0,0 0 0,0 14 16,0-14-16,0 0 0,-13 0 0,-1 0 16,-12 0-16,12 0 0,-12 0 15,-1-14-15,14 14 0,-13 0 0,-1 0 16,-13-13-16,14 13 0,-14 0 0,0-13 16,0 13-16,1-13 0,-1 13 15,-13-14-15,13 14 0,-13-13 16</inkml:trace>
  <inkml:trace contextRef="#ctx0" brushRef="#br0" timeOffset="9408.24">14618 5239 0,'93'53'31,"-80"-40"-31,0 0 0,1 0 0,-1 14 16,-13-14-16,13 0 0,-13 14 15,13-14-15,-13 0 0,0 0 0,0 14 16,-13-14-16,13 0 0,0 1 0,-13-1 16,13 0-16,-13 0 0,-1 0 15</inkml:trace>
  <inkml:trace contextRef="#ctx0" brushRef="#br0" timeOffset="9997.79">15425 4233 0,'0'27'15,"0"-14"-15,-13 0 16,13 0-16,0 1 0,0-1 15,0 13-15,0-12 0,0-1 0,0 0 16,0 0-16,0 1 0,0 12 0,0-13 16,0 0-16,0 1 15,0-1-15,0 0 16,13-13-16</inkml:trace>
  <inkml:trace contextRef="#ctx0" brushRef="#br0" timeOffset="10374.65">15425 4247 0,'0'-27'0,"13"27"15,1 0 1,-1-13-16,0 13 0,0 0 15,1 0-15,-1 0 0,0-13 0,0 13 16,1 0-16,12 0 16,-26 13-16,13-13 0,0 13 15,1-13-15,-1 13 16,-13 1 0,13-1-16,-13 0 0,0 0 0,0 0 15,0 1-15,0-1 0,0 0 16,0 0-16,-13 14 0,13-14 15,-13 0-15,-1 1 0,1-1 0,0 0 16,-13 0-16,12 0 0,1 1 16,0-1-16,-14 0 0,14-13 15,0 13-15,0-13 0,13 14 0,-14-14 16</inkml:trace>
  <inkml:trace contextRef="#ctx0" brushRef="#br0" timeOffset="10830.05">17476 4313 0,'0'-14'0,"0"41"47,0-14-47,0 0 16,0 1-16,0-1 0,-14 0 16,14 0-16,0 1 0,0-1 0,0 0 15,0 0-15,0 0 0,0 1 16,0-1-16,0 13 15,14-12 1</inkml:trace>
  <inkml:trace contextRef="#ctx0" brushRef="#br0" timeOffset="11205.04">17529 4313 0,'0'0'0,"39"-14"16,-25 14-16,-1-13 16,0 13-16,0 0 0,-13 13 15,13-13-15,1 0 0,-1 0 16,0 14-16,0-14 0,1 13 15,-14 0-15,13-13 16,-13 13-16,0 1 0,0-1 16,0 0-16,0 0 15,0 1-15,0-1 16,0 0-16,0 0 0,-13-13 16,13 13-16,0 1 0,-14-1 15,1-13-15,13 13 16,-13-13-16,0 13 0,-1-13 15,-12 14-15,13-14 16,0 13-16,-1-13 0,-12 0 0,13 13 16,-14-13-16</inkml:trace>
  <inkml:trace contextRef="#ctx0" brushRef="#br0" timeOffset="11665.38">15438 4829 0,'-13'13'0,"13"0"16,-13-13-16,13 13 0,0 1 0,0-1 15,0 13-15,0-13 0,0 1 0,0 12 16,0-13-16,0 1 0,0 12 16,0-13-16,0 1 0,0-1 0,0 0 15,0 0-15,0 0 0,0 1 16</inkml:trace>
  <inkml:trace contextRef="#ctx0" brushRef="#br0" timeOffset="11965.64">15359 4749 0,'66'27'31,"-39"-27"-31,-14 13 0,0 0 16,0 0-16,1 1 0,-1 12 0,0-13 15,0 1-15,-13-1 0,0 0 16,14 0-16,-14 0 0,-14 1 0,14-1 16,0 0-16,-13 14 0,0-14 0,0 0 15,-1 0-15,1 14 0,-13-14 16,12 0-16,1 0 0,-13 1 0,13-1 15,-1-13-15,1 13 0,13 0 0,-13-13 16,0 0-16,13 14 0</inkml:trace>
  <inkml:trace contextRef="#ctx0" brushRef="#br0" timeOffset="12322.77">17291 5001 0,'13'26'32,"-13"-13"-32,0 14 0,0-14 15,0 0-15,0 0 0,0 1 16,13-1-16,-13 0 0,0 14 0,0-14 15,0 0-15,0 0 0,13 1 16,-13-1-16</inkml:trace>
  <inkml:trace contextRef="#ctx0" brushRef="#br0" timeOffset="12587">17357 4934 0,'13'-13'0,"-26"26"0,39-26 16,-13 0-16,1 26 16,-1-13-16,0 13 15,0-13-15,-13 14 0,13-1 0,1 0 16,-1 14-16,0-14 0,-13 0 16,13 14-16,-13-1 0,0-13 0,0 0 15,0 14-15,0-14 0,-13 14 16,13-14-16,-13 13 0,0-12 0,-1 12 15,1-13-15,-13 0 0,-1 1 0,1-1 16,-1 0-16,1 0 0,0-13 16,-14 14-16,13-14 0</inkml:trace>
  <inkml:trace contextRef="#ctx0" brushRef="#br0" timeOffset="13089.22">15518 5649 0,'-40'53'15,"40"-27"1,-13-13-16,13 14 0,-13-1 0,13 1 15,-14-1-15,14 1 0,-13-14 16,13 13-16,-13 1 0,13-14 0,0 0 16,0 1-16,0-1 0,0 0 0</inkml:trace>
  <inkml:trace contextRef="#ctx0" brushRef="#br0" timeOffset="13373.05">15399 5662 0,'0'-13'0,"0"26"0,13-26 15,0 13-15,0 0 16,1 0-16,-1 13 0,0 0 16,-13 1-16,13-1 0,1 0 0,-1 0 15,0 14-15,0-14 0,1 13 0,-14-12 16,0-1-16,13 13 15,-13-12-15,0 12 0,0-13 0,-13 14 16,13-14-16,-14 13 0,14-12 0,-13 12 16,0-13-16,0 0 0,13 1 15,-14-1-15,1 0 0,0 0 16</inkml:trace>
  <inkml:trace contextRef="#ctx0" brushRef="#br0" timeOffset="13833.25">17489 5609 0,'-13'27'0,"-14"65"15,27-79 1,-13 14-16,13-14 15,0 14-15,-13-14 0,13 13 0,0-12 16,0-1-16,0 0 0,0 0 0,0 0 16,13 1-16,-13-1 0</inkml:trace>
  <inkml:trace contextRef="#ctx0" brushRef="#br0" timeOffset="14145.23">17436 5662 0,'13'-13'0,"0"0"16,1 13 0,-1 0-16,0 0 0,14 0 0,-14 0 15,0 0-15,0 0 0,14 0 0,-14 13 16,0-13-16,-13 13 0,13 0 15,-13 1-15,14-1 0,-14 0 0,0 0 16,-14 14-16,14-14 0,-13 0 0,13 14 16,-13-14-16,0 13 0,0-12 15,-1-1-15,14 0 0,-13 0 0,0 0 16,0 1-16,-1-1 0,1 0 16,13 0-16,-13 1 0,0-14 15,-1 13-15</inkml:trace>
  <inkml:trace contextRef="#ctx0" brushRef="#br0" timeOffset="14496.15">15558 6668 0,'0'26'0,"-14"14"16,14-27-16,0 13 0,-13 1 16,13-1-16,0-13 0,0 14 0,-13-1 15,13-12-15,0 12 0,0-13 16,0 1-16,0 12 0,0-13 16</inkml:trace>
  <inkml:trace contextRef="#ctx0" brushRef="#br0" timeOffset="14762.13">15505 6628 0,'13'-13'0,"-26"26"0,26-40 0,0 27 16,0 0-16,1 14 0,-1-14 15,0 13-15,0 0 0,0 0 16,1 1-16,-1 12 0,0-13 0,0 14 15,1-1-15,-14-13 0,0 14 16,0-1-16,-14 14 0,1-14 0,0 14 16,0 0-16,-1-14 0,-12 1 0,13-1 15,-14 1-15,14-14 0,0 0 16,0 0-16,-1-13 0,14 14 0,-13-14 16</inkml:trace>
  <inkml:trace contextRef="#ctx0" brushRef="#br0" timeOffset="15176.96">17608 6178 0,'-13'40'0,"13"-27"0,-13 0 15,13 14-15,0-14 0,-14 13 16,14 1-16,0-1 0,-13 1 0,13-1 16,0-13-16,0 14 0,-13-1 0,13-12 15,0-1-15,0 0 0,0 13 16,0-12-16,0-1 0,13 0 15</inkml:trace>
  <inkml:trace contextRef="#ctx0" brushRef="#br0" timeOffset="15488.27">17542 6271 0,'13'-27'0,"14"14"31,-14 13-31,0 0 0,0 0 16,0 0-16,14 13 0,-14-13 15,0 13-15,1 1 0,12-1 16,-13 0-16,1 0 0,-1 1 0,0 12 16,-13-13-16,13 14 0,0-14 0,-13 13 15,0-12-15,0 12 0,0 1 0,-13-1 16,0 0-16,0 14 0,0-13 15,-1-1-15,-12 1 0,13-1 0,-1-13 16,1 0-16,-13 1 0,12-1 0,1 0 16,0 0-16,0-13 0,0 14 15,-1-14-15,1 0 0,0 0 16,0 0-16,-1 0 0</inkml:trace>
  <inkml:trace contextRef="#ctx0" brushRef="#br0" timeOffset="20512.9">17634 4114 0,'0'0'0,"80"-13"15,-67 13-15,0 0 16,1-13-16,12 13 0,-13 0 16,0 0-16,1 0 15,-1 0-15,0 0 0,0 13 16,1-13-16,-1 13 0,0 1 15,0-1-15,-13 0 16,14 13-16,-1-12 0,0 25 0,-13-12 16,13 12-16,0 1 0,1 0 0,-1 0 15,0 12-15,0 1 0,1 0 16,-1 0-16,0 0 0,0 0 16,14 0-16,-14 0 0,0 13 0,0-13 15,14 13-15,-14 0 0,0 0 16,1 1-16,-1-1 0,0 13 0,0-13 15,0 14-15,1-1 0,-1 0 0,-13-13 16,13 14-16,0-14 0,-13 13 0,14-13 16,-14 1-16,13-1 0,-13 0 15,13-13-15,0 13 0,-13-13 0,14 0 16,-1-13-16,0 12 0,-13-12 0,13 0 16,0 0-16,-13-1 0,14 1 15,-14 0-15,0-14 0,13 0 0,-13 1 16,0-1-16,13 1 0,-13-1 0,0 1 15,0-14-15,0 0 0,0 14 16,13-14-16,-13 0 0,0 0 16,0 1-16,0-1 0,0 0 15,0 0-15,-13-13 16,13 14-16,-13-1 16,0-13-16,-1 13 0,1-13 15,0 13-15,-13 0 0,12-13 0,-12 14 16,-14-1-16,0 0 0,1 0 15,-1 1-15,-13 12 0,-13-13 0,13 0 16,0 14-16,-13-14 0,13 0 0,13 1 16,-12-1-16,12 0 0,0-13 0,14 13 15,-1-13-15,1 14 0,13-14 16,-1 0-16,-12 0 0,13-14 16,-1 14-16,1-13 15</inkml:trace>
  <inkml:trace contextRef="#ctx0" brushRef="#br0" timeOffset="21409.06">18322 5741 0,'40'0'15,"-40"-13"-15,13 13 0,1 0 16,-1 0-16,13 0 0,-13 0 0,1-13 16,12 13-16,1 0 0,-14 0 15,13-13-15,1 13 0,-1 0 0,1 0 16,-14-13-16,13 13 0,1 0 0,-1 0 16,-13-14-16,14 14 0,-14 0 15,0 0-15,1 0 0,-1 0 0,0-13 16,0 13-16,1 0 15,-1 0-15,0 0 16,0 0 0</inkml:trace>
  <inkml:trace contextRef="#ctx0" brushRef="#br0" timeOffset="21825.03">18746 5490 0,'0'-13'0,"26"26"47,-13-13-47,1 13 15,-1-13-15,0 14 16,0-14-16,1 0 0,-1 13 15,0-13-15,0 13 0,0-13 0,1 0 16,-1 13-16,0-13 0,0 13 16,1-13-16,-1 0 15,-13 14-15,13-14 0,-13 13 16,0 0-16,0 0 0,-13 1 16,0 12-16,-1 1 0,-12 12 15,-1-12-15,1 12 0,0 1 0,-14 0 16,13-1-16,-12 1 0,-1 0 0,14-1 15,-14 1-15,0 13 0,14-13 16,-1-1-16,-12 1 0,12 0 0</inkml:trace>
  <inkml:trace contextRef="#ctx0" brushRef="#br0" timeOffset="24210.22">23204 4855 0,'0'-13'16,"13"39"-1,-13-12-15,0 25 16,0-12-16,0-14 16,0 13-16,0 1 0,-13-1 0,13 1 0,0-1 15,0 1-15,0-1 0,-13-13 16,13 1-16,0 12 0,0-13 15,0 1-15,0-1 0,13 0 16</inkml:trace>
  <inkml:trace contextRef="#ctx0" brushRef="#br0" timeOffset="24753.17">23270 4749 0,'53'-13'0,"-106"26"0,119-39 0,-39 26 16,12-13-16,1 13 0,0-14 15,-1 1-15,14 13 0,0-13 0,-13 13 16,13-13-16,-13 13 0,12-14 15,-25 14-15,13 0 0,-14 0 0,1 0 16,-1-13-16,0 13 0,-12 0 0,-1 0 16,0 0-16,0 0 0,1 0 0,-1 0 15,0 0-15,-13 13 16,13-13-16,1 14 0,-14-1 16,13-13-16,-13 13 0,0 0 15,13 1-15,-13 12 0,13-13 16,-13 0-16,13 14 0,-13-1 0,14-12 15,-14 12-15,13 1 0,-13-1 0,13 0 16,-13 1-16,13-14 0,-13 14 0,0-1 16,14 1-16,-14-1 0,0-13 15,0 0-15,13 14 0,-13-14 0,0 0 16,0 14-16,0-14 0,0 0 0,0 1 16,0-1-16,0 0 15,-13-13-15,13 26 0,-14-26 0,1 14 16,0-1-16,0 0 0,-1 0 15,1-13-15,-13 14 0,-1-1 0,-12 0 0,12 0 16,-13-13-16,1 14 0,-14-14 16,13 13-16,0-13 0,1 0 0,-41 0 15,41 0-15,-1 0 0,0 0 16,-13-13-16,14 13 0,-1-14 16,0 14-16</inkml:trace>
  <inkml:trace contextRef="#ctx0" brushRef="#br0" timeOffset="25445.72">22939 5027 0,'-26'0'31,"13"0"-15,-1 0-16,-12-13 15,13 13-15,-14 0 0,1 0 0,-1 0 16,-26 0-16,14 0 0,-14 0 15,0 0-15,0 0 0,0 0 0,0 0 16,0 13-16,14-13 0,-14 0 0,0 0 16,0 0-16,0 13 0,0-13 15,13 0-15,-13 0 0,14 14 0,-14-14 16,13 0-16,-13 0 0,27 0 0,-14 0 16,14 13-16,-14-13 0,13 0 15,1 0-15,-14 0 0,14 0 0,-1 0 16,1 0-16,-1 0 0,14 0 0,-13 0 15,13 0-15,-1 0 16,1 0-16,0 0 0,0 0 0,-14 0 16,14 0-1,0 0 1,-1 0 0,1 13-1,0-13 1</inkml:trace>
  <inkml:trace contextRef="#ctx0" brushRef="#br0" timeOffset="25997.29">21352 4934 0,'-13'0'32,"-14"0"-32,14 0 15,0 14 1,-1-14-16,1 0 0,0 13 15,0-13-15,0 13 0,-1 0 16,1-13-16,0 0 0,13 14 16,-13-14-16,-1 13 0,1-13 15,13 13-15,-13-13 0,13 13 0,-13 1 32,13-1-32,13 0 15,-13 0 1,13-13-16,-13 13 0,13-13 15,1 14-15,-1-14 0,0 13 0,0 0 16,1-13-16,-1 13 0,0-13 16,0 14-16,0-1 0,14-13 15,-14 13-15,0-13 0,1 13 0,-1-13 16,0 14-16,0-14 0,1 13 0,-1-13 16,0 13-16,0-13 15,0 0-15,-13 13 16,14-13-16,-1 13 15,0-13 17,-13 14-17,0-1 1</inkml:trace>
  <inkml:trace contextRef="#ctx0" brushRef="#br0" timeOffset="26678.19">23191 5622 0,'13'27'16,"-13"-14"-16,0 0 0,0 1 15,0 12-15,0-13 0,0 14 0,0-1 16,0 1-16,0-1 0,0 1 0,0 12 16,0-12-16,0-1 0,0-13 15,0 14-15,0-14 0,0 13 0,0-12 16,0-1-16,0 0 0,-13 0 0,13 1 16,0-1-16,0 0 15,13-39 16</inkml:trace>
  <inkml:trace contextRef="#ctx0" brushRef="#br0" timeOffset="27320.24">23019 5556 0,'39'-13'16,"-25"0"-16,-1 13 15,13 0-15,14-13 0,-13 13 16,25 0-16,-12-14 0,13 14 0,0 0 16,0 0-16,0-13 0,13 13 0,-13 0 15,13 0-15,-13 0 0,0 0 16,0 0-16,-14 0 0,1 0 0,0-13 15,-14 13-15,-13 0 0,14 0 0,-1 0 16,-12 0-16,-1 0 0,0 0 16,0 0-16,1 0 0,-1 0 15,0 0-15,0 0 16,0 0 0,-13 13-16,14-13 15,-14 13-15,0 1 16,0-1-16,13 0 0,-13 0 0,0 14 15,0-14-15,0 13 0,0 1 16,0-1-16,13 1 0,-13-1 0,0 1 16,0-1-16,13 1 0,-13-1 0,14 1 15,-14-1-15,13-13 0,-13 14 16,0-1-16,13-13 0,0 14 0,-13-14 16,14 0-16,-14 0 0,0 1 0,13-1 15,-13 0-15,0 0 16,0 1-16,13-14 0,-13 13 15,0 0-15,-13 0 16,0-13 0,-1 0-16,-12 0 15,13 14-15,-14-14 0,1 0 0,-1 0 16,-26 0-16,0 0 0,0 13 16,1-13-16,-1 0 0,-14 0 0,28 0 15,-14 0-15,13 0 0,14 0 0,-1 0 16,1 0-16,-1-13 0,14 13 0,0 0 15,-14 0-15,14 0 0,0-14 16,0 14-16</inkml:trace>
  <inkml:trace contextRef="#ctx0" brushRef="#br0" timeOffset="28327.98">22979 5887 0,'13'0'16,"1"-13"-1,-1 13 1,0 0-1,-66 13 32,40-13-47,-14 0 0,1 0 16,-14 0-16,1 0 0,-28 0 16,1 0-16,-13 0 0,-1 0 0,14 13 15,-13-13-15,13 0 0,-14 13 0,1-13 16,13 14-16,-13-14 15,-1 13-15,14-13 0,13 13 0,0-13 16,14 13-16,-1-13 0,13 0 0,1 0 16,-1 0-16,14 14 0,-13-14 15,13 0-15,-1 0 0,1 0 0,0 0 16,0 0-16,-1 0 0,1 0 16,0 0-16,13 13 0,-13-13 15,-1 0 1,1 0-16,0-13 47</inkml:trace>
  <inkml:trace contextRef="#ctx0" brushRef="#br0" timeOffset="28892.96">21511 5834 0,'-27'13'31,"14"1"-16,0-14-15,13 13 0,-14-13 0,1 0 16,0 13-16,0 0 16,0-13-16,13 13 0,-14-13 0,1 14 15,0-14-15,13 13 16,-13-13-16,-1 13 16,14 0 15,0 1 0,14-14-31,-14 13 16,13-13-16,-13 13 15,13-13-15,-13 13 0,13-13 16,1 0-16,-14 13 0,13-13 0,0 14 16,0-14-16,0 0 15,1 13-15,-1 0 0,0-13 16,0 13-16,1-13 0,-14 14 15,13-14-15,0 0 16,-13 13-16,13 0 16,1-13-1,-1 13-15,-13 1 16,13-14 0,0 13-16,0-13 15</inkml:trace>
  <inkml:trace contextRef="#ctx0" brushRef="#br0" timeOffset="29552.34">23310 6416 0,'0'40'32,"0"-27"-32,0 14 0,0-14 0,0 13 15,0 1-15,-13-1 0,13 1 16,0-1-16,0 1 0,0-1 16,0 0-16,0 1 0,0-14 0,0 0 15,0 14-15,0-14 0,0 0 0,0 0 16,0 1-16,0-1 15</inkml:trace>
  <inkml:trace contextRef="#ctx0" brushRef="#br0" timeOffset="30300.1">23244 6324 0,'-14'0'15,"28"0"-15,-28-14 0,41 14 16,-14 0-1,0 0-15,1 0 0,12 0 0,0 0 16,1-13-16,13 13 0,-14 0 16,27 0-16,-13 0 0,13 0 15,0 0-15,-14 0 0,1 0 0,0 0 16,-14 0-16,0 0 0,1 0 0,-1 0 16,-12 0-16,12 0 0,-13 0 15,1 0-15,-1 0 0,0 0 16,0 0-16,0 0 15,1 0-15,-1 0 16,0 0 0,-13 13-1,0 1 1,0-1-16,0 0 16,0 0-16,0 0 0,0 1 0,0-1 15,0 13-15,0 1 0,0-14 0,0 14 16,0-1-16,0 0 0,0 1 15,0-14-15,0 14 0,0-14 0,0 13 16,0-12-16,13 12 0,-13-13 0,0 0 16,0 14-16,0-14 0,0 14 15,14-27-15,-14 13 0,0 0 16,0 0-16,0 0 16,0 1-1,0-1 1,-14-13-16,1 0 0,0 0 15,0 0-15,-1 13 0,-12-13 16,0 0-16,-1 0 0,1 13 0,-14-13 16,13 0-16,1 0 0,-14 14 0,14-14 15,-1 0-15,-12 0 0,12 0 16,14 13-16,-13-13 0,12 0 16,-12 0-16,13 0 0,-1 0 0,1 0 0,0 0 15,0 0-15,13-13 0,-13 13 16,-1 0-16,1 0 0,0 0 15</inkml:trace>
  <inkml:trace contextRef="#ctx0" brushRef="#br0" timeOffset="31108.44">23230 6575 0,'-39'13'31,"26"-13"-31,-14 0 0,1 13 16,-14-13-16,-13 14 0,13-14 0,-13 13 15,14-13-15,-27 13 0,-1-13 16,1 13-16,-13-13 0,13 14 0,13-14 15,-13 0-15,13 0 0,0 13 0,-13-13 16,13 0-16,0 0 0,0 13 16,0-13-16,0 0 0,27 0 0,-14 0 15,14 0-15,12 0 0,-12 0 0,13 0 16,-1 0-16,1 0 16,0 0-16,0 0 0,-1 0 0,1 0 15,0 0-15,0 0 16,0 0-1,-1 13 1,1-13-16,0 0 16,0 0-1</inkml:trace>
  <inkml:trace contextRef="#ctx0" brushRef="#br0" timeOffset="31745.89">21696 6535 0,'-13'0'0,"-1"13"0,1-13 15,0 0-15,13 14 0,-13-14 16,-1 13-16,1-13 16,0 13-16,0-13 15,13 13-15,-13-13 0,-1 14 16,1-1-1,0 0 1,13 0-16,-13 1 16,13-1-1,0 0 1,0 0 0,13 0-1,0 1 1,-13-1-1,13-13 1,1 13 0,-14 0-1,13-13 1,-13 14-16,13-14 31,-13 13-31,13-13 16,-13 13-16,13-13 15,1 13 1,-1 0 0,0-13-16,0 14 15,1-14-15,-1 0 0,0 0 16,0 13-16,14-13 0,-1 0 0</inkml:trace>
  <inkml:trace contextRef="#ctx0" brushRef="#br0" timeOffset="32416.12">23204 7223 0,'-13'66'31,"13"-39"-31,0-1 0,0 1 0,0-1 0,0 14 16,0-1-16,0 1 0,0 0 16,0 0-16,0-1 0,0-12 0,0-1 15,-13 1-15,13-1 0,0 1 16,0-1-16,0-13 0,0 0 0,0 1 16,-14-1-16,14 0 0,0 0 0,0 1 15</inkml:trace>
  <inkml:trace contextRef="#ctx0" brushRef="#br0" timeOffset="33125.24">22926 7170 0,'0'0'0,"13"0"0,1 0 0,-1-13 16,13 13-16,-12 0 0,25 0 16,1-13-16,0 13 0,-1-13 0,14 13 15,0 0-15,0 0 0,0-14 16,0 14-16,0 0 0,0-13 15,0 13-15,0 0 0,-1 0 0,-12-13 16,-13 13-16,12 0 0,-26 0 0,14 0 16,-1 0-16,-12 0 0,-1 0 15,0 0-15,0-13 0,1 13 0,12 0 16,-13 0 0,0 0-1,1 0 1,-1 0-16,-13 13 15,13 0 1,-13 0 0,0 1-16,0-1 15,13 0-15,-13 0 0,0 14 0,14-1 16,-14 1-16,0-1 0,0 0 16,13 1-16,-13-1 0,0 1 0,13-1 15,-13 1-15,0-1 0,0 1 0,13-1 16,-13-13-16,0 14 0,0-14 15,14 14-15,-14-14 0,0 0 0,0 0 16,13 0-16,-13 1 0,0-1 16,13 0-16,-13 0 15,-13 1 1,0-1 0,-1-13-1,1 0-15,-13 13 0,12-13 16,-12 0-16,-1 13 0,-12-13 0,-14 14 15,13-1-15,-13-13 0,0 13 0,0 0 16,1 0-16,-1-13 0,0 14 0,13-1 16,-13 0-16,13-13 0,14 13 15,-1-13-15,1 0 0,13 0 0,-14 14 16,14-14-16,0 0 0,0 0 16</inkml:trace>
  <inkml:trace contextRef="#ctx0" brushRef="#br0" timeOffset="33901.37">23257 7488 0,'0'-14'16,"-53"14"0,27 0-16,12 0 15,-12 0-15,-14 0 0,0 0 16,1 0-16,-14 0 0,13 0 0,-13 0 15,0 0-15,0 0 0,0 0 16,1 0-16,-1 0 0,0 14 0,-13-14 16,13 0-16,0 0 0,13 0 0,-13 0 15,13 0-15,1 0 0,-1 0 16,14 13-16,-14-13 0,13 0 0,-12 0 16,26 0-16,-14 0 0,1 0 0,12 0 15,-12 0-15,13 0 0,0 0 16,-1 13-16,1-13 15,0 0-15,0 0 0,-1 0 16,1 0 0,0 0-1,0 0 1,-1 0-16,14 13 16</inkml:trace>
  <inkml:trace contextRef="#ctx0" brushRef="#br0" timeOffset="34423.28">21974 7369 0,'0'-14'15,"-27"28"32,14-14-47,0 0 0,0 13 0,-1 0 16,-12-13-16,13 13 0,-1-13 15,1 14-15,-13-1 0,12-13 0,1 13 16,0-13-16,0 13 0,0-13 0,-1 13 16,1-13-16,13 14 15,-13-14-15,0 13 16,13 0-16,13 0 15,-13 1 1,13-1-16,0 0 0,1 0 0,12 1 16,0-1-16,1 13 0,-1-13 0,1 1 15,-1-1-15,1 0 0,-14 0 16,13 1-16,1-1 0,-14-13 0,0 13 16,1 0-16,12-13 0,-13 14 0,0-1 15,1 0-15,-1 0 16,0 0-16,0 1 0,-13-1 15</inkml:trace>
  <inkml:trace contextRef="#ctx0" brushRef="#br0" timeOffset="37521.11">741 5649 0,'13'13'0,"0"-13"16,14 0-16,-1 13 0,27-13 16,0 14-16,13-14 0,14 0 0,12 13 15,1-13-15,13 0 0,-14 0 0,54 0 16,-14 0-16,14-13 0,12 13 16,-12-14-16,13 1 0,-14 0 0,1 13 15,-1-13-15,1-1 0,-1 14 0,-13-13 16,-39 13-16,13 0 0,-14-13 15,-12 13-15,12 0 0,-25 0 0,-1 0 16,-13 0-16,-14 0 0,-12 0 0,13 0 16,-27 0-16,13 0 15,-13 0-15,1 0 0,-1 0 0,-40 0 47</inkml:trace>
  <inkml:trace contextRef="#ctx0" brushRef="#br0" timeOffset="38408.21">5173 5569 0,'79'0'0,"-39"0"15,-1 0-15,14 0 0,13 0 0,1 0 16,25 0-16,1-13 0,-1 13 15,14 0-15,-13 0 0,26 0 16,-13-13-16,0 13 0,-1 0 0,-12-13 0,13 13 16,-14 0-16,1 0 0,0-13 15,-14 13-15,0 0 0,1-14 16,-27 14-16,0 0 0,-14 0 0,-12 0 16,-1 0-16,1 0 0,-14 0 0,0 0 15</inkml:trace>
  <inkml:trace contextRef="#ctx0" brushRef="#br0" timeOffset="38729.25">5371 5808 0,'40'0'15,"-14"0"-15,1 0 0,26 0 0,13-14 16,13 14-16,14-13 0,-1 13 0,27-13 16,-13 0-16,26-1 0,-39 14 15,39-13-15,-39 13 0,13-13 16,-14 13-16,14 0 0,-13 0 0,66-13 16,-80 13-16,-26 13 0,0-13 15,-14 0-15,-12 0 0,-1 0 0,1 0 16,-14 0-16,0 0 0,14 13 15,-14-13-15,0 0 16,0 0-16,1 0 16,-1 0-16,0 0 15,0 0-15</inkml:trace>
  <inkml:trace contextRef="#ctx0" brushRef="#br0" timeOffset="39245.37">4128 5014 0,'39'-13'0,"133"-1"15,-92 14 1,-1-13-16,0 13 0,1-13 0,-1 13 15,14-13-15,-1 13 0,1-14 0,-1 14 16,1 0-16,-14-13 0,1 13 16,-1-13-16,1 13 0,-1-13 0,-13 13 15,0 0-15,-26-13 0,13 13 0,-13 0 16,-14 0-16,-13 0 0</inkml:trace>
  <inkml:trace contextRef="#ctx0" brushRef="#br0" timeOffset="39514.01">4445 5133 0,'53'0'0,"-27"0"0,160-27 16,-120 27-16,13-13 15,-13 0-15,14 13 0,-1-13 16,0 13-16,1-13 0,-14-1 0,0 14 16,-13 0-16,0-13 0,13 13 0,-13-13 15,-13 13-15,13 0 0,-14 0 16,1-13-16,0 13 0,-14 0 16,1 0-16,-1 0 0,0 0 0,1 0 15</inkml:trace>
  <inkml:trace contextRef="#ctx0" brushRef="#br0" timeOffset="41086.28">6152 4921 0,'-14'-13'0,"14"0"0,0 0 16,-13-1-16,0 1 0,-14-13 16,14-1-16,-27-13 0,14-12 0,-14-1 15,1 0-15,-1 0 0,0-27 16,-13 1-16,14 0 0,-14-1 0,13 1 16,-13 13-16,13 0 0,1 13 15,-1 13-15,0 0 0,14 1 0,0 12 16,-1 1-16,1-1 0,-1 14 15,14 0-15,0 0 0,-1 13 0,1 0 16,0-14-16,0 14 0,13 14 16</inkml:trace>
  <inkml:trace contextRef="#ctx0" brushRef="#br0" timeOffset="41378.21">5331 3797 0,'-26'26'15,"26"-13"-15,-13 14 0,-1-1 16,1 1-16,0 13 0,0-1 0,0-12 16,-14 79-1,14-80-15,13 0 0,-13 1 0,13-1 16,0-12-16,0 12 0,-14-13 0,14 0 16,0 1-16</inkml:trace>
  <inkml:trace contextRef="#ctx0" brushRef="#br0" timeOffset="41620.21">5120 3836 0,'0'0'16,"53"0"-16,-40 14 0,13-14 0,1 13 15,-1-13-15,14 13 0,0-13 0,-1 13 16,-12-13-16,12 14 0,-12-1 0,13 0 16,-14-13-16,0 13 0,1-13 15,-1 14-15,1-14 0,-1 13 0,-12-13 16,12 13-16,-13-13 0</inkml:trace>
  <inkml:trace contextRef="#ctx0" brushRef="#br0" timeOffset="48299.25">4194 8017 0,'0'26'0,"0"-12"16,0 12-16,0-13 16,0 14-16,0-1 0,-14 54 15,1-41-15,13 1 0,0-14 0,-13 1 16,13-1-16,0 1 0,-13-14 16,13 13-16,0-12 0,0-1 0,-13 0 15,13 0-15,0 1 0,0-1 16</inkml:trace>
  <inkml:trace contextRef="#ctx0" brushRef="#br0" timeOffset="48628.43">4736 8123 0,'-13'-14'31,"0"28"-31,-1-14 0,14 13 16,-13 0-16,0 0 0,0 1 15,-1 12-15,-12 1 0,13-1 0,0 0 16,-14 1-16,14-1 0,0 1 0,13-14 16,-14 0-16,1 1 0,0-1 15,13 0-15,-13 0 0,13 0 0,-14-13 16,14 14-16,-13-14 0,13 13 16</inkml:trace>
  <inkml:trace contextRef="#ctx0" brushRef="#br0" timeOffset="48878.43">4445 8229 0,'0'-14'0,"13"41"31,0-27-31,-13 13 0,14 0 0,-14 0 16,13 1-16,0-1 0,-13 0 16,13 0-16,1 1 0,-14-1 15,13 0-15,0 0 0,-13 1 0,13-1 16,1 0-16,-1 0 0,0-13 16</inkml:trace>
  <inkml:trace contextRef="#ctx0" brushRef="#br0" timeOffset="49127.4">4934 8136 0,'0'40'31,"0"-27"-31,0 0 16,0 0-16,0 1 0,0-1 16,-13 0-16,13 0 0,0 0 0,0 1 15,0-1-15,0 0 0,0 0 16,0 1-16,0-1 0,0 0 16</inkml:trace>
  <inkml:trace contextRef="#ctx0" brushRef="#br0" timeOffset="49565.09">5252 8176 0,'-13'0'0,"-53"13"32,52-13-32,1 0 15,13 13-15,-13-13 0,13 13 16,0 1-1,13-1-15,0-13 0,-13 13 16,14 0-16,-1 0 0,0 1 0,0-1 16,1 0-16,-14 0 15,13 1-15,-13-1 0,0 0 16,-13 0-16,-1 1 0,1-1 16,0 0-16,-14 0 0,1 0 0,-1 1 15,1-1-15,0 0 0,-41 0 16,41 1-16,-1-14 0,1 0 15,-14 0-15,14 13 0,-1-26 0,-12 13 16</inkml:trace>
  <inkml:trace contextRef="#ctx0" brushRef="#br0" timeOffset="49873.47">3797 7977 0,'-40'53'0,"27"-26"15,0 12-15,-1 1 0,1 0 0,0 13 16,0-1-16,13 1 0,0 0 0,0-13 15,0 0-15,13 13 0,0-14 16,14 1-16,-1 13 0,1-27 16,12 14-16,1-14 0,0 1 0,13-14 15,-14 0-15,14 1 0,0-14 16,0 0-16,13 0 0,13-14 0,1 1 16</inkml:trace>
  <inkml:trace contextRef="#ctx0" brushRef="#br0" timeOffset="50261.16">5503 7990 0,'27'0'0,"-54"0"0,80 14 0,-40-14 15,1 13-15,-1 0 0,0 0 16,0 1-16,14 12 0,-14 14 15,0-14-15,1 14 0,-14-14 0,0 14 16,13-14-16,-13 1 0,-13-1 16,13 1-16,0-1 0,-14 1 0,14-1 15,-13-13-15,0 14 0,13-1 0,-13-12 16,-1-14-16,14 13 0,-13 0 16,13 0-16,-13-13 0</inkml:trace>
  <inkml:trace contextRef="#ctx0" brushRef="#br0" timeOffset="50522.13">6218 8004 0,'0'-14'16,"13"67"-1,-13-39-15,-13-1 16,13 0-16,0 13 0,0 1 16,0-1-16,-14 14 0,14-13 15,0-1-15,0 0 0,0 1 16,0-14-16,-13 0 0,13 14 16,0-14-16,0 0 0,0 1 0,-13-14 15,13 13-15</inkml:trace>
  <inkml:trace contextRef="#ctx0" brushRef="#br0" timeOffset="50717.04">5887 8215 0,'66'0'31,"-39"0"-31,-1 0 15,0 0-15,1 0 0,-1 0 16,1 0-16,-1 0 0,1 0 0,-1 0 16,14 0-16,-14 0 0,1 0 0,-1 0 15</inkml:trace>
  <inkml:trace contextRef="#ctx0" brushRef="#br0" timeOffset="51217.25">7025 7951 0,'39'-13'16,"-25"13"-16,-1 0 0,40 13 31,-53 0-31,0 0 0,0 0 15,0 1-15,-13-1 0,-1 0 0,-12 14 16,-1-1-16,1 0 0,-1-12 16,1 12-16,0 1 0,-1-14 0,14 0 15,-14 0-15,14 1 0,13-1 0,-13-13 16,0 13-16,-1-13 0,14 13 16,-13-13-16,26 13 31,1-13-31,-1 0 0,13 0 15,-12 0-15,12 0 0,1 0 16,-14 0-16,26 0 0,-12-13 0,13 13 16,-14-13-16,14 13 0,-1-13 0,1 0 15</inkml:trace>
  <inkml:trace contextRef="#ctx0" brushRef="#br0" timeOffset="51400.53">7646 7990 0,'-26'14'32,"26"-1"-32,-13-13 0,0 13 15,13 14-15,-14-14 0,1 0 0,0 13 16,0-12-16,-1 12 0,1-13 16,0 14-16,0-14 0,-1 14 0,14-14 15,-13 0-15,13 0 0,-13-13 0</inkml:trace>
  <inkml:trace contextRef="#ctx0" brushRef="#br0" timeOffset="51594.62">7408 8162 0,'0'-13'31,"27"13"-31,-27 13 0,13-13 16,0 0-16,0 14 0,1-14 0,-14 13 15,13-13-15,0 0 0,0 13 16,1-13-16,-14 13 0,13-13 0,0 14 16,0-14-16,1 0 0,-1 0 0</inkml:trace>
  <inkml:trace contextRef="#ctx0" brushRef="#br0" timeOffset="51962.43">8017 7977 0,'26'0'16,"-52"0"-16,66 0 0,-27 0 15,-13 13-15,13-13 0,-13 14 16,0-1-16,-13 0 0,0 0 15,-1 1-15,-12-1 0,-1 13 16,14-13-16,-13 1 0,13-1 16,-1 0-16,1-13 0,0 13 0,0-13 0,-1 14 15,1-1-15,0 0 16,13 0 0,13-13-1,0 0-15,1 14 16,-1-14-16,0-14 0,0 14 15,27 0-15,-27 0 0,0 0 16,1 0-16,-1-13 0,0 13 0,0 0 16,1 0-16</inkml:trace>
  <inkml:trace contextRef="#ctx0" brushRef="#br0" timeOffset="52223.57">8295 8004 0,'0'0'0,"26"0"15,14 39 1,-40-25 0,13-1-16,-13 0 0,0 0 15,-13 14-15,13-14 0,0 13 0,-13-12 16,13 12-16,-14-13 15,1 1-15,13 12 0,-13-13 0,13 0 16,-13-13-16,13 14 0,0-1 0,-14-13 16,14 13-1</inkml:trace>
  <inkml:trace contextRef="#ctx0" brushRef="#br0" timeOffset="52383.35">8268 8215 0,'0'0'0,"0"-13"0,13 13 16,-13-13-16,14 13 0,-1 0 15,0 0-15,-13-13 0,13 13 16,14 0-16,-14 0 0,0 0 16,14-14-16,-14 14 0,13 0 0,-12 0 15,-1-13-15,0 13 0,0 0 0,1 0 16</inkml:trace>
  <inkml:trace contextRef="#ctx0" brushRef="#br0" timeOffset="52783.28">6641 7699 0,'-66'67'0,"132"-134"0,-172 173 0,80-66 15,-1 13-15,14 0 16,-13 0-16,12 0 0,1 13 0,13 0 0,0-26 15,0 26-15,13-13 0,1 0 16,-1-1-16,13-12 0,1 13 16,12-13-16,1-14 0,0 14 0,0-14 15,12 1-15,15-14 0,-15 0 0,28 0 16,-1 1-16,14-14 0,-1 0 0,1-14 16,26 14-16,13-13 0,-13-13 15,1 13-15,-1-1 0</inkml:trace>
  <inkml:trace contextRef="#ctx0" brushRef="#br0" timeOffset="53128.1">8572 7845 0,'40'40'16,"-13"-27"-16,-14 13 0,40 120 15,-53-107-15,0 1 16,0 0-16,-13 0 0,-1-1 16,1 1-16,0 0 0,0-14 0,-1 1 15,1-1-15,0 0 0,0-12 0,-1-1 16,1 0-16,13 0 0,-13-13 16</inkml:trace>
  <inkml:trace contextRef="#ctx0" brushRef="#br0" timeOffset="53357.55">9419 7805 0,'0'27'16,"13"-1"-16,-13-13 15,0 1-15,0 12 0,0-13 0,-13 14 16,13-1-16,0 1 0,0-1 0,0 1 0,0-1 16,0 0-16,0 1 0,0-1 15,0-12-15,-13 12 0,13-13 16</inkml:trace>
  <inkml:trace contextRef="#ctx0" brushRef="#br0" timeOffset="53566.15">9141 8123 0,'67'0'0,"-41"0"15,14-14-15,-14 14 0,1 0 16,-1 0-16,0 0 0,1 0 0,-1 0 15,1 0-15,-14 0 0,14 0 0</inkml:trace>
  <inkml:trace contextRef="#ctx0" brushRef="#br0" timeOffset="54322.16">10067 7871 0,'14'0'16,"-1"0"-16,-13 14 0,0 12 31,-13-13-31,-1 1 16,1-1-16,13 0 0,0 0 15,13 0 1,-13 1-16,14-1 0,-1-13 16,-13 13-16,13 0 0,0-13 0,-13 14 15,14-14-15,-14 13 0,0 0 16,0 0-16,0 0 0,-14 1 16,14-1-16,-13-13 0,0 13 0,0 0 15,-1 1-15,-12-14 16,13 13-16,-1-13 0,1 13 0,0-13 15,26-26 1</inkml:trace>
  <inkml:trace contextRef="#ctx0" brushRef="#br0" timeOffset="54489.31">10451 7871 0,'13'14'16,"-13"25"-1,-13-25-15,13-1 0,-13 0 16,13 0-16,-13 0 0,-1 14 0,1-14 16,0 14-16,0-14 0,-1 13 15,1-13-15,13 1 0,-13-1 0,0 0 16</inkml:trace>
  <inkml:trace contextRef="#ctx0" brushRef="#br0" timeOffset="54676.36">10239 8057 0,'0'0'0,"14"0"0,-1 0 31,0 13-31,0-13 0,1 13 16,-1-13-16,0 0 0,0 13 0,0-13 15,1 0-15,-14 13 0,26-13 16,-13 0-16,1 0 0,-1 0 15,0 0-15,0 0 0</inkml:trace>
  <inkml:trace contextRef="#ctx0" brushRef="#br0" timeOffset="55221.02">10782 7871 0,'-13'0'0,"26"0"0,-26 14 32,13 12-32,0-13 15,0 1-15,0-1 0,0 0 16,0 0-16,0 14 16,0-14-16,0 0 0,-14 0 0,14 1 15,-13-1-15,13 0 0,-13-13 0,0 13 16,13 0-16,-14-13 0,1 0 15,40-13 17,-27 0-32,26 0 15,-13 13-15,1-13 0,-1-1 0,0 1 16,0 0-16,0 0 0,1-1 16,-14 1-16,13 0 0,-13 0 0,0 0 15,0-1-15,0 1 0,0 0 16,0 0-16,-13 13 0,13-14 0,-14 1 15,1 13-15,0-13 16,0 13-16,0 0 0,-1-13 0,1 13 16,0 0-16,-14 0 0,14 0 0,0-14 15,-14 14-15</inkml:trace>
  <inkml:trace contextRef="#ctx0" brushRef="#br0" timeOffset="55490.02">9723 7832 0,'-39'66'0,"12"-26"16,1 12-16,13-12 0,-40 238 31,53-252-31,13 14 16,0 0-16,14-14 0,-1 1 0,1-14 0,-14 0 15,26 0-15,14 1 16,-13-14-16,13 13 0</inkml:trace>
  <inkml:trace contextRef="#ctx0" brushRef="#br0" timeOffset="55822.08">10980 7713 0,'53'26'15,"-106"-52"-15,119 79 0,-39-27 0,-1 0 0,-13 14 16,1 0-16,12 0 0,-13-14 16,-13 14-16,14 13 0,-14-14 0,-14 1 15,14 0-15,-13-1 0,-13 14 16,12-13-16,1-14 0,-26 41 15,25-41-15,14-13 0,-13 0 0,0 1 16</inkml:trace>
  <inkml:trace contextRef="#ctx0" brushRef="#br0" timeOffset="56074.5">12184 7805 0,'-13'27'15,"26"26"1,-13-14-16,0-25 15,0 12-15,0 0 0,0-12 0,0 39 16,0-40-16,0 13 0</inkml:trace>
  <inkml:trace contextRef="#ctx0" brushRef="#br0" timeOffset="56277.65">11986 8096 0,'13'-13'0,"0"13"0,0 0 15,14-13-15,-1 13 0,-13 0 0,27 0 16,-13 0-16,-1-13 0,14 13 0,-14 0 16,14 0-16,0-14 0,-1 14 15,-12 0-15,26-13 0</inkml:trace>
  <inkml:trace contextRef="#ctx0" brushRef="#br0" timeOffset="57402.31">13123 7766 0,'-26'26'16,"13"-13"0,-1 0-16,1 1 0,0-1 0,-13 13 15,-1-12-15,1 12 0,-1-13 16,14 14-16,0-14 0,-14 0 0,14 0 16,0-13-16,13 14 0,-13-1 0,-1-13 15,14 13-15,-13 0 16,13 1-16,13-14 15,1 13-15,-1-13 0,0 0 16,13 13-16,-12-13 0,-1 0 16,13 0-16,-12 0 0,12 0 15,1-13-15,-1 13 0,-13 0 0,14 0 16,-1 0-16,-13-13 0,1 13 0,-1 0 16,13-14-16,-13 14 0,1-13 15,-1 0-15,0 0 0</inkml:trace>
  <inkml:trace contextRef="#ctx0" brushRef="#br0" timeOffset="57596.25">13150 7766 0,'-13'0'0,"-27"39"16,40-26-16,-13 14 15,13-14-15,-14 14 0,14-1 16,-13 1-16,13-14 0,-13 13 0,0 14 15,13-14-15,-13 1 0,13-14 0,0 13 16,-14 1-16,14-14 0,0 0 16,0 1-16,0-1 0,0 0 0,14 0 15</inkml:trace>
  <inkml:trace contextRef="#ctx0" brushRef="#br0" timeOffset="57790.23">13639 7845 0,'-13'26'0,"13"-12"0,-13-1 16,0 0-16,13 0 0,-14 14 0,-12-1 16,13 1-16,-14-1 0,14 1 0,0-1 15,-14 0-15,14-12 0,0 12 16,0-13-16,-1 1 0</inkml:trace>
  <inkml:trace contextRef="#ctx0" brushRef="#br0" timeOffset="57989.41">13361 8043 0,'27'0'31,"-14"14"-31,0-14 16,1 13-16,-1-13 16,0 13-16,0-13 0,1 0 15,-1 13-15,0-13 0,0 0 16,0 0-16</inkml:trace>
  <inkml:trace contextRef="#ctx0" brushRef="#br0" timeOffset="58338.24">13904 7871 0,'0'0'0,"-13"14"0,-1-14 0,14 13 16,0 13 0,0-12-16,14-1 15,-14 13-15,0-13 0,13 1 0,-13-1 16,0 0-16,0 0 0,0 1 16,0-1-16,-13 0 0,13 13 0,-14-12 15,-12-1-15,13 0 0,-1 0 16,-12 1-16,13-1 0,-14-13 0,1 13 15,-1 0-15,1-13 0,-1 14 0,-12-14 16,-14 13-16,13-13 0,-13 0 16,0 13-16,-13-13 0,0 13 0</inkml:trace>
  <inkml:trace contextRef="#ctx0" brushRef="#br0" timeOffset="59058.49">4128 9525 0,'0'13'0,"132"0"32,-53-13-32,1 0 0,25 0 15,41-13-15,13 0 0,-1-13 0,14-1 16,80 1-16,-1-1 0,0 1 0,1-1 15,26-12-15,-1 12 0,14 1 16,14-1-16,12 1 0,1-1 0,12 1 16,1-1-16,13 1 0,0-1 0,13 1 15,-13 0-15,13 12 0,-13-12 0,0-1 16,0 14-16,-13-13 0,0-1 16,-14 14-16,-12-13 0,-14 12 15,-14 1-15,-78 13 0,-1-13 0,-13 13 16,-26-13-16,0 13 0,-27-14 15,-39 14-15,-14 0 0,-26 0 0</inkml:trace>
  <inkml:trace contextRef="#ctx0" brushRef="#br0" timeOffset="59506.16">12211 7646 0,'-27'53'0,"14"-39"0,13-1 0,0 0 0,0 14 16,-13 12-16,13-12 0,0 26 16,0-14-16,13 1 0,-13 0 0,13-1 15,14 14-15,-14-13 0,13-14 0,1 14 16,-1-13-16,14-1 0,-14 0 16,14-12-16</inkml:trace>
  <inkml:trace contextRef="#ctx0" brushRef="#br0" timeOffset="60109.27">12660 7726 0,'-39'53'0,"25"-14"0,1-12 0,-13 26 16,-14 185-1,53-198-15,0-1 16,1 1-16,12 0 0,14-1 0,-14-12 16,14-1-16,0 1 0,-1-14 0,1 0 15,13-13-15,-13 0 0,-1 0 16</inkml:trace>
  <inkml:trace contextRef="#ctx0" brushRef="#br0" timeOffset="60335.07">14274 7633 0,'27'66'0,"-54"-132"0,67 172 0,-40-66 15,0-1-15,0 14 0,-13-13 0,13 26 16,-13-13-16,-14 0 0,1 13 0,12-13 15,-25 0-15,12 0 0,-12-13 0,-14 13 16,13-14-16,-13-12 0,0 12 16,0-12-16</inkml:trace>
  <inkml:trace contextRef="#ctx0" brushRef="#br0" timeOffset="60713.18">11562 8096 0,'0'133'31,"0"-107"-31,0 0 0,0 1 16,0-1-16,-13 1 0,13-1 16,0-12-16,-13 12 0,13-13 0</inkml:trace>
  <inkml:trace contextRef="#ctx0" brushRef="#br0" timeOffset="60871.21">11536 8255 0,'53'-13'0,"-14"13"0,-12 0 15,13 0-15,211 0 32</inkml:trace>
  <inkml:trace contextRef="#ctx0" brushRef="#br0" timeOffset="62398.9">7977 10200 0,'0'-14'15,"13"54"17,-13-27-32,-13 1 15,13 12-15,0 1 0,0-14 16,0 13-16,-13 1 0,13-1 0,0 1 16,0-1-16,0-13 0,0 1 0,0-1 15,13 0-15</inkml:trace>
  <inkml:trace contextRef="#ctx0" brushRef="#br0" timeOffset="62582.25">8281 10147 0,'14'-13'32,"-14"26"-32,0 0 15,0 0-15,0 0 0,13 1 0,-13-1 16,0 0-16,-13 14 0,13-1 15,0-13-15,0 14 0,0-1 0,0-13 16,-14 14-16,14-14 0,0 0 0,0 1 16</inkml:trace>
  <inkml:trace contextRef="#ctx0" brushRef="#br0" timeOffset="62765.3">8149 10438 0,'0'-13'0,"-13"13"15,39 0 17,-12 0-32,-1-14 0,0 14 0,14 0 15,-14 0-15,0 0 0,13-13 16,1 13-16,-14 0 0,14-13 0,-1 13 16,1-13-16,-1 13 0,0-14 0</inkml:trace>
  <inkml:trace contextRef="#ctx0" brushRef="#br0" timeOffset="63230.54">8930 10028 0,'26'-14'0,"14"41"31,-40-14-31,0 0 15,0 1-15,0 12 0,-13-13 16,-1 14-16,1-14 0,0 13 0,13-12 16,-13-1-16,-1 0 0,14 0 15,-13 1-15,13-1 0,-13 0 16,13 0-16,0 1 0,0-1 16,13-13-1,0 0-15,1 0 16,-1 0-16,0-13 0,0 13 15,1-14-15,-1 14 0,13-13 16,-12 0-16,-1 0 0,13-1 0,-13 1 16,1 0-16,12 0 0,-13-14 15,1 14-15,-1 0 0,0 0 0,-13-1 16,13 1-16,1 0 0,-14 0 16,13 13-16,0-14 15,0 28 1,-13-1-16,0 0 15,13 0-15,-13 1 0,14-1 0,-14 0 16,0 0-16,13 0 0,-13 14 0,0-14 16,0 0-16,0 1 0,0 12 15,0-13-15,0 1 0</inkml:trace>
  <inkml:trace contextRef="#ctx0" brushRef="#br0" timeOffset="63377.18">9194 10253 0,'27'-27'31,"-14"27"-31,13-13 0,1 0 16,13-1-16,-14 1 0,14 13 0,-1-13 16,1 0-16</inkml:trace>
  <inkml:trace contextRef="#ctx0" brushRef="#br0" timeOffset="63802.06">9776 9922 0,'14'0'0,"12"13"31,-26 0-31,0 1 16,13-14-16,-13 13 0,13 0 15,-13 0-15,14-13 16,-1 13-16,-13 1 0,13-14 0,0 13 16,1 0-16,-1-13 0,0 13 0,0 1 15,-13-1-15,14 0 16,-14 0-16,-14 1 0,14-1 16,-13 0-16,13 0 0,-13-13 0,0 13 15,13 1-15,-14-14 0,1 0 16</inkml:trace>
  <inkml:trace contextRef="#ctx0" brushRef="#br0" timeOffset="63970.07">10160 9882 0,'13'-13'0,"-26"26"0,26-39 16,0 26-16,1 13 15,-1 0-15,-13 0 16,13 1-16,-13-1 0,0 0 15,13 0-15,-13 1 0,0 12 0,0-13 16,0 0-16,0 14 0,0-14 0,0 0 16,0 1-16,0-1 0,0 0 15</inkml:trace>
  <inkml:trace contextRef="#ctx0" brushRef="#br0" timeOffset="64129.48">10107 10054 0,'0'-13'0,"13"0"0,40-1 31,-40 1-31,1 13 0,12-13 0,1 13 16,-14-13-16,0 13 0,14 0 16,-1-13-16,-13 13 0</inkml:trace>
  <inkml:trace contextRef="#ctx0" brushRef="#br0" timeOffset="64425.01">10914 9750 0,'-26'13'15,"12"0"1,14 1-16,-13-1 0,0 0 15,0 0-15,-1 0 0,1 1 0,13-1 0,-13 0 16,0 0-16,13 1 16,0-1-16,13 0 15,-13 0-15,13-13 16,0 14-16,1-14 0,12 0 16,-13-14-1,1 14-15,-1-13 16,0 13-16,-13-13 0,13 13 0,14-27 15,-14 14-15</inkml:trace>
  <inkml:trace contextRef="#ctx0" brushRef="#br0" timeOffset="64613.21">10954 9697 0,'-13'40'15,"-1"-27"-15,14 0 0,0 14 0,-13-1 16,13 0-16,0 1 0,0-1 15,-13 1-15,13-1 0,0 1 0,0-1 16,0 1-16,0-1 0,0 1 16,-13-1-16,13-13 0,0 14 0,0-14 15,-14 0-15,14 14 0,0-14 0,-13 0 16</inkml:trace>
  <inkml:trace contextRef="#ctx0" brushRef="#br0" timeOffset="65481.28">2381 10147 0,'27'-13'15,"-14"13"-15,0-14 0,14 14 16,-14 0-16,13-13 0,1 13 0,-1-13 16,14 13-16,-14 0 0,1 0 0,-14-13 15,0 13-15,14 0 0,-14 0 0</inkml:trace>
  <inkml:trace contextRef="#ctx0" brushRef="#br0" timeOffset="65650.45">2447 10266 0,'-13'0'0,"53"-13"15,-27 13 1,0 0-16,14-14 0,-1 14 0,14 0 16,-14 0-16,1-13 0,13 26 15,-14-13-15,0 0 0</inkml:trace>
  <inkml:trace contextRef="#ctx0" brushRef="#br0" timeOffset="77669.39">7673 10332 0,'53'13'31,"-27"-13"-31,27 0 0,0 0 16,13 0-16,14 0 0,-14-13 16,26 0-16,1 13 0,26-13 15,0-1-15,0 1 0,13 0 0,-12 0 16,12-14-16,0 14 0,0 0 0,-13 13 15,27-14-15,-27 1 0,13 0 0,-39 0 16,13 0-16,0 13 0,-14-14 16,1 14-16,-14-13 0,1 13 15,-1 0-15,-26 0 0,0-13 0,-14 13 0,1 0 16,-27 0-16,14 0 0,-14 0 16,0 0-16,1 0 0,-67 13 15,0-13 1,-13 0-16</inkml:trace>
  <inkml:trace contextRef="#ctx0" brushRef="#br0" timeOffset="78086.25">7488 10464 0,'79'-13'0,"-26"13"0,13-13 15,14 0-15,12 13 0,27-14 0,13-12 16,14 13-16,-14-1 0,14 1 0,13 0 16,-1 0-16,-12 0 0,13-1 15,-14 1-15,1 0 0,-14 0 0,13 13 16,-26-14-16,-13 14 0,-13 0 0,0-13 15,-1 13-15,1 0 0,-14 0 16,-26 0-16,13 0 0,-26 0 0,0 0 16,-1 0-16,-12 13 0,-14-13 0,13 0 15,-12 0-15,-1 0 0,0 0 16,0 0-16,1 0 0,-1 0 16,0 0 30,0 0-30,0-13 0</inkml:trace>
  <inkml:trace contextRef="#ctx0" brushRef="#br0" timeOffset="86485.62">12039 9895 0,'13'0'0,"-26"27"31,-1-14-31,14 0 0,0 1 0,-13-1 15,13 0-15,-13 13 0,13-12 16,-13-1-16,13 13 0,0-12 16,-14-1-16,14 0 0,0 14 0,0-14 15,-13 0-15,13 0 0</inkml:trace>
  <inkml:trace contextRef="#ctx0" brushRef="#br0" timeOffset="86820.24">12396 9829 0,'0'-13'0,"-27"13"16,14 13-1,0-13-15,13 13 0,0 1 16,0-1 0,0 0-16,0 0 0,0 1 0,13-1 15,-13 0-15,0 0 0,13 1 0,-13-1 16,0 0-16,0 0 0,0 0 16,0 1-16,-13-1 0,13 0 0,-13 0 15,13 1-15,-13-14 0,-1 13 0,1 0 16,0 0-16,0-13 15,-1 14-15</inkml:trace>
  <inkml:trace contextRef="#ctx0" brushRef="#br0" timeOffset="86989.27">12660 9816 0,'14'40'31,"-14"-27"-31,0 0 16,0 14-16,0-14 0,0 13 16,0-12-16,0 12 0,0-13 0,0 14 15,0-1-15,0-13 0,0 14 0,0-14 16,0 0-16</inkml:trace>
  <inkml:trace contextRef="#ctx0" brushRef="#br0" timeOffset="87166.18">12621 10120 0,'26'0'0,"-52"0"0,65-13 16,-25 13-16,-1 0 0,0 0 0,13-13 0,-12 13 15,12 0-15,-13-13 16,14 13-16,-14 0 0,0 0 0</inkml:trace>
  <inkml:trace contextRef="#ctx0" brushRef="#br0" timeOffset="87489.31">13203 9829 0,'13'0'0,"0"0"16,-13 13 0,0 1-16,0-1 15,-13 0-15,0 0 0,-1 1 16,-12-1-16,13 0 0,0 0 0,-1 1 16,1-1-16,0 0 0,13 0 0,-13-13 15,13 13-15,0 1 16,0-1-16,13-13 15,0 0-15,0 13 16,1-13-16,-1 0 16,0 0-16,0-13 0,0 13 15,1 0-15,-1 0 0,0 0 0,0-13 16,1 13-16,-1 0 0</inkml:trace>
  <inkml:trace contextRef="#ctx0" brushRef="#br0" timeOffset="87679.85">13494 9776 0,'26'27'16,"-26"-14"0,0 0-16,0 0 15,0 1-15,0 12 0,0-13 16,0 1-16,0-1 0,0 13 0,-13-12 15,13-1-15,-13 13 0</inkml:trace>
  <inkml:trace contextRef="#ctx0" brushRef="#br0" timeOffset="87838.26">13348 9988 0,'0'0'15,"40"-13"-15,-27 0 0,0 13 16,14-14-16,-14 14 0,0 0 16,14 0-16,-14 0 0</inkml:trace>
  <inkml:trace contextRef="#ctx0" brushRef="#br0" timeOffset="88173.2">14102 9776 0,'0'-13'15,"0"0"-15,-13 39 47,13 1-47,0-14 16,0 0-16,0 0 0,-13 14 0,13-14 16,0 14-16,0-14 0,-13 0 15,13 14-15,0-14 0,0 0 0,0 0 16,0 0-16,0 1 0,-14-1 15</inkml:trace>
  <inkml:trace contextRef="#ctx0" brushRef="#br0" timeOffset="88344.65">13904 9975 0,'26'-13'31,"-12"13"-31,12 0 0,-13-14 16,14 14-16,-1 0 0,1 0 0,-1-13 16,53 13-16,-39 0 15</inkml:trace>
  <inkml:trace contextRef="#ctx0" brushRef="#br0" timeOffset="88914.43">14698 9882 0,'13'13'0,"-13"1"16,0-1-16,13 0 15,-13 0-15,13 1 0,-13 12 16,0-13-16,14 0 0,-14 1 0,0-1 16,-14 13-16,14-12 0,0-1 0,-13 0 15,0 14-15,13-14 0,-13-13 16,-1 13-16,1 0 0,0-13 0,0 13 16,-1-13-16,1 0 0,13-13 15,-13 13-15,13-13 16,13 0-16,-13 0 0,0-1 0,13 1 15,1-13-15,-1 12 0,0 1 0,-13-13 16,13 12-16,-13 1 0,14 0 16,-14 0-16,13 0 0,-13-1 15,0 1-15,0 0 0,-13 0 16,13-1-16,-14 14 0,1 0 16,0-13-16,0 13 15,13 13-15,-27-13 0,14 0 16</inkml:trace>
  <inkml:trace contextRef="#ctx0" brushRef="#br0" timeOffset="89237.3">15174 9909 0,'0'13'0,"-13"27"16,13-27 0,-14 13-16,14-13 0,0 1 15,-13 12-15,0-13 0,13 1 0,-13 12 16,13-13-16</inkml:trace>
  <inkml:trace contextRef="#ctx0" brushRef="#br0" timeOffset="89650.43">14975 10120 0,'14'-13'0,"-14"0"0,66-14 16,-40 27-1,-13-13-15,14 13 0,-1-13 16,1 0-16,-1-1 0,14 1 0,-14 0 15,1 13-15,13-13 0,-14 0 0,-13-1 16,14 14-16,-14-13 0,0 13 16,0-13-16,1 13 0,-14-13 15,0 39 32,0-13-47,0 1 16,13-1-16,-13 0 0,13 0 15,-13 14-15,13-14 0,1 0 0,-14 14 16,0-14-16,13 0 0,-13 0 0,0 1 16,-13-1-16,13 0 0,-14 0 0,14 0 15,-13 1-15,0-1 0,0-13 16,-1 13-16,1-13 0,0 13 0,0-13 16,0 0-16,-1-13 15,1 13-15,13-13 0</inkml:trace>
  <inkml:trace contextRef="#ctx0" brushRef="#br0" timeOffset="89994.38">16404 8916 0,'40'0'16,"52"-13"-1,-65 13-15,-14 0 0,0 0 16,14 0-16,-14 0 0</inkml:trace>
  <inkml:trace contextRef="#ctx0" brushRef="#br0" timeOffset="90137.14">16417 9181 0,'27'13'0,"-14"-13"0,0 0 15,1 0-15,118-13 16,-79 13-16,0 0 16,0-13-16,13 0 0,0-1 0</inkml:trace>
  <inkml:trace contextRef="#ctx0" brushRef="#br0" timeOffset="96088.56">18561 9009 0,'0'0'0,"13"-13"16,26 13 0,-25 0-16,-1 0 0,0 0 15,0 0-15,-13 13 0,14 0 0,-1 1 16,-13-1-16,-13 0 0,13 0 15,-14 0-15,1 1 0,0 12 16,0-13-16,-1 1 0,1-1 0,0 0 16,0 0-16,0 1 0,-1-1 0,1 0 15,0 0-15,13 0 16,-13-13 0,26 14-1,0-14-15,0 0 16,-13 13-16,14-13 0,-1 0 15,0 0-15,0 0 0,0-13 16,14 13-16,-14 0 0,0 0 0,1 0 16,-1-14-16,0 14 0</inkml:trace>
  <inkml:trace contextRef="#ctx0" brushRef="#br0" timeOffset="96241.33">18865 9221 0,'0'-13'32,"13"13"-17,0-14 1</inkml:trace>
  <inkml:trace contextRef="#ctx0" brushRef="#br0" timeOffset="96588.37">19129 9088 0,'0'-13'0,"-13"13"16,0 13-16,13 1 16,-13-1-1,13 0-15,0 0 0,13 1 16,-13-1-16,13 0 0,-13 0 15,13-13-15,1 14 0,-1-14 16,0 0-16,0 0 0,1 13 0,-1-13 16,0-13-16,0 13 0,0 0 0,1-14 15,-14 1-15,13 13 16,-13-13-16,0 0 0,0-1 0,13 14 16,-26-13-16,13 0 0,0 0 15,0-1-15,-13 14 0,13-13 0,-14 13 16,14-13-16,-13 13 0,0-13 15,0 26-15,0-13 16,-1 0-16,1 13 0,13 0 16</inkml:trace>
  <inkml:trace contextRef="#ctx0" brushRef="#br0" timeOffset="96920.21">19500 9022 0,'-40'0'16,"27"0"-16,-14 14 31,14-1-31,13 0 0,13 0 16,1 0-1,-1-13-15,-13 14 16,13-1-16,0-13 0,-13 13 16,0 0-16,0 1 15,-13-1-15,0 0 16,0 0-16,-1-13 0,1 14 16,0-1-16,0-13 0,-14 13 0,14 0 15,0-13-15,0 13 0,-1-13 16,14 14-16,-13-14 0</inkml:trace>
  <inkml:trace contextRef="#ctx0" brushRef="#br0" timeOffset="97116.43">19632 9115 0,'-26'26'0,"12"-12"15,-12-1-15,-1 13 16,1 1-16,0-14 0,-1 13 0,1 1 16,-14-1-16,14 1 0,-1-1 0,1-13 15,-27 40 1</inkml:trace>
  <inkml:trace contextRef="#ctx0" brushRef="#br0" timeOffset="97305.56">19738 9141 0,'0'0'0,"13"0"0,-39 27 15,12-1 1,1-12-16,-13-1 0,-1 13 16,1 1-16,-1-1 0,1 1 15,-1-1-15,1 0 0,13 14 0,-14-13 0,14-1 16,-13-13-16,26 14 0,-14-14 15,1 0-15,13 0 0</inkml:trace>
  <inkml:trace contextRef="#ctx0" brushRef="#br0" timeOffset="100197.61">19672 9565 0,'0'13'0,"13"0"15,-13 0-15,13 1 0,14-1 16,-1 13-16,14 1 0,0-1 15,-1 14-15,54 13 0,-40-27 16,-14 1-16,14-1 0,40 14 16,-67-14-16,27-12 0,-26-1 15,12 0-15,-12 0 0,-1-13 16,1 13-16,-14-13 0,14 14 0,-14-14 16,0 0-16,0 0 0,-13 13 0,13-13 15,1 0-15,-1 0 16,0-13-16,0-1 15,-13 1 1</inkml:trace>
  <inkml:trace contextRef="#ctx0" brushRef="#br0" timeOffset="100538.4">20624 9684 0,'0'-13'0,"40"52"32,-27-26-32,0 1 0,1-1 0,-1 0 15,13 0-15,1 1 0,-1 12 16,-13-13-16,14 0 0,-14 1 0,0-1 15,14 0-15,-14 0 0,0 1 0,1-1 16,-14 0-16,13 0 0,0 14 16,-13-14-16,-13 0 15,13 0-15,-13 14 0,13-14 0,-27 14 16,1-1-16,-1 1 0,1-1 0,-1 0 16,-26 1-16,14-1 0,-1-12 15,0 12-15,-13 1 0,14-14 0,-27 26 16,26-25-16</inkml:trace>
  <inkml:trace contextRef="#ctx0" brushRef="#br0" timeOffset="106026.4">18561 9578 0,'-14'-13'0,"14"-1"16,0 1-1,14 40 16,-14-14-31,0 13 16,13 14-16,-13 0 0,0-1 0,0 1 16,13 0-16,-13 13 0,0-14 0,0 1 15,0 0-15,0-14 0,0 1 16,0-1-16,0 1 0,0-1 0,0 1 16,0-14-16,0 0 0,0 13 15,0-12-15,0-1 0,0 0 0</inkml:trace>
  <inkml:trace contextRef="#ctx0" brushRef="#br0" timeOffset="106777.4">18534 9551 0,'-66'80'31,"53"-54"-31,-14 1 0,14-1 0,-13 1 16,12-1-16,-12 1 0,26-1 16,-13-13-16,-1 0 0,14 14 0,-13-14 15,13 0-15,0 1 0</inkml:trace>
  <inkml:trace contextRef="#ctx0" brushRef="#br0" timeOffset="106979.17">18455 9631 0,'26'13'0,"67"27"31,-67-27-31,1 0 0,-1-13 0,14 13 0,-14 1 16,1-1-16,-1 0 0,1 0 15,-1 1-15,-13-1 0</inkml:trace>
  <inkml:trace contextRef="#ctx0" brushRef="#br0" timeOffset="114980.88">20743 4643 0,'-132'14'0,"106"-1"16,-14 13-16,-39 27 15,-1 27-15,54-41 0,-1 14 16,1-13-16,-1 13 0,14-13 15,0 12-15,0-12 0,13-13 16,13 12-16,0 1 0,0 0 0,14-14 0,-1 1 16,14-1-16,0 1 0,13-1 15,-14-13-15,14-13 0,-13 13 16,26-26-16,-13 13 0,13-13 0,0 0 16,-13-14-16,0 14 0,0-27 0,-13 14 15,-1-14-15,-12 1 0,-1 12 16,-13-13-16,-13 1 0,14-1 0,-28 0 15,1 1-15,0-1 0,0 0 0,-14 1 16,1-1-16,-1 13 0,-12 1 0,12 13 16,-12-14-16,-1 14 0,13 13 15,1 0-15,-1-13 0,1 13 0</inkml:trace>
  <inkml:trace contextRef="#ctx0" brushRef="#br0" timeOffset="116061.45">20889 7157 0,'0'-13'16,"0"0"0,-13 13-1,13-14-15,-14 14 0,1-13 16,0 13-16,0-13 0,-1 13 0,-12 0 16,13 0-16,-14 0 0,1 13 15,-14 0-15,1 1 0,-1-1 0,0 13 16,0 14-16,-12-14 0,12 14 15,13 13-15,-12-13 0,12-1 16,1 14-16,13-13 0,-1 0 0,1-1 16,13-12-16,0-1 0,13 14 0,14 26 15,-14-39-15,13-1 16,1 0-16,-1 1 0,1-14 0,13 14 16,-1-14-16,1 0 0,0-13 0,-1 13 15,-12-13-15,12 0 0,1-13 0,0 13 16,13-13-16,-27 0 0,14-1 15,0-12-15,-14 13 0,14-14 0,-14 1 16,1-1-16,-14 1 0,0-14 0,0 14 16,-13-14-16,0 0 0,0 1 15,-13-1-15,0 0 0,0 14 0,-27-14 16,13 0-16,1 14 0,0-1 0,-1 1 16,-13 13-16,14 0 15,-14-1-15,1 1 0,12 13 0,-13 0 16,14 0-16,0 0 0,-14 13 0,0-13 15,0 14-15,1-1 0,12 0 16</inkml:trace>
  <inkml:trace contextRef="#ctx0" brushRef="#br0" timeOffset="117867.31">19050 6403 0,'0'0'0,"-13"0"0,52 0 47,-25 0-32,12 0-15,1-13 0,12 13 0,1-14 16,13 14-16,-13-13 0,13 0 0,-1 0 16,1 13-16,-13-13 15,13-1-15,0 14 0,-13-13 0,-1 13 16,1 0-16,-14 0 0</inkml:trace>
  <inkml:trace contextRef="#ctx0" brushRef="#br0" timeOffset="118230.08">19619 6191 0,'172'0'31,"-132"13"-31,-1 1 0,1-1 16,-14 0-16,1 0 0,-1 14 0,1-1 16,-27 14-16,13 0 0,-13-1 15,-13 28-15,-14-1 0,1 13 0</inkml:trace>
  <inkml:trace contextRef="#ctx0" brushRef="#br0" timeOffset="128672.24">24381 4961 0,'0'-13'0,"14"13"0,-14-14 16,13 14-16,0 0 0,0 0 16,1 0-16,-1 14 15,0-1 1,-13 0 0,0 0-16,0 1 0,0 12 15,-13-13-15,13 14 0,-13-1 0,13 14 16,-14-14-16,1 14 0,0-13 0,0 12 15,13-12-15,-14 12 16,14-25-16,-13 12 0,13 1 0,0-1 16,0-13-16,0 14 0,0-14 0,0 13 15,0-12-15,0-1 0,13 13 16,-13-13-16,14-13 0,-1 14 0,-13-1 16,13 0-16,0-13 0,1 0 0,-1 0 15,0 13-15,0-26 0,0 13 16,1 0-16,-1 0 0,13-13 0,-12 0 15,-1 13-15,-13-14 0,13 1 0,0 0 16,0 0-16,-13 0 16,0-1-16,14 14 15,-41 14 17,14-1-32,0 0 15,13 0-15,-13 0 0,13 14 0,-14-1 16,1 1-16,13-1 0,-13 14 15,0 0-15,13-1 0,-14 1 0,14 0 16,-13-1-16,0 1 0,13 0 16,0 13-16,0-14 0,0 1 0,0 13 15,13-13-15,-13 13 0,13 0 16,1-1-16,-1 1 0,0 0 0,0 0 16,14 0-16,-14-13 0,13 0 0,-12-1 15,-1 1-15,13-14 0,-12 14 16,-1-14-16,0 14 0,0-13 0,1-1 15,-14 1-15,0-1 0,13 0 16,-13 14-16,0-13 16,0-14-16,-13 13 0,13-12 0,-14 12 0,1-13 15,0 14-15,0-14 0,-14 13 0,1-12 16,-1 12-16,1-13 0,13 0 16,-14 1-16,-13-1 0,14 0 0,13 0 15,-14-13-15,1 14 0,13-14 0,-1 13 16,1-13-16,0 0 15</inkml:trace>
  <inkml:trace contextRef="#ctx0" brushRef="#br0" timeOffset="131112.4">23416 7938 0,'0'13'16,"-14"0"0,1 0-16,13 0 0,-13 1 15,0-14-15,-1 13 0,1 13 0,0-12 16,0-1-16,-14 0 0,1 0 0,-1 14 15,1-14-15,0 0 16,-1 14-16,-13-14 0,1 0 0,12 14 16,-12-14-16,-14 0 0,13-13 0,-13 13 15,-13 0-15,0 1 16,0-1-16,-1-13 0,-12 0 0,13 13 0,-13-13 16,-1 0-16,-12 0 0,-1-13 0,0 13 15,1 0-15,-14 0 0,-26-13 16,13 13-16,13-14 0,-27 14 0,1-13 15,13 13-15,-13-13 0,-1 13 16,1-13-16,26 13 0,1-13 0,12 13 16,-13 0-16,0-14 0,0 14 0,1 0 15,-1 0-15,13 0 0,-13 0 16,0 0-16,-13 0 0,14 0 0,-14 0 16,13 14-16,-27-14 15,1 0-15,39 13 0,-12-13 0,-1 0 0,0 0 16,13 13-16,-12-13 0,12 0 0,-13 13 15,14-13-15,-1 0 0,14 0 16,-14 0-16,0 0 0,1 0 0,12 13 16,1-13-16,0 0 0,-1 0 0,1 0 15,26 0-15,-13 0 0,13 0 16,-13 14-16,13-14 0,0 0 16,13 0-16,14 0 0,-14 0 0,14 0 15,12 0-15,-12 0 0,13 0 0,-1 0 16,1 0-16,0 0 0,0 0 15,0 0-15,-1 0 0,1 0 16,0 0 0,13-14-1,13 1 1</inkml:trace>
  <inkml:trace contextRef="#ctx0" brushRef="#br0" timeOffset="131378.37">16642 7977 0,'-26'0'0,"-1"13"0,-65 54 31,65-41-31,1 0 0,-1 1 0,14 13 15,0-14-15,0-13 0,13 14 0,0-14 16,0 13-16,13-12 0,27 12 16,-1-13-16,14 1 0,13-1 0,27 0 15,0-13-15,12 0 0,41 0 16,-1-13-16,14 0 0,0-1 0</inkml:trace>
</inkml:ink>
</file>

<file path=ppt/ink/ink1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30:51.845"/>
    </inkml:context>
    <inkml:brush xml:id="br0">
      <inkml:brushProperty name="width" value="0.05292" units="cm"/>
      <inkml:brushProperty name="height" value="0.05292" units="cm"/>
      <inkml:brushProperty name="color" value="#FFFFFF"/>
    </inkml:brush>
  </inkml:definitions>
  <inkml:trace contextRef="#ctx0" brushRef="#br0">18098 3585 0</inkml:trace>
  <inkml:trace contextRef="#ctx0" brushRef="#br0" timeOffset="1206.08">20757 3056 0,'0'26'0,"13"-12"16,-13 12-16,0 14 0,0 13 0,13 0 0,-13 13 15,13 0-15,-13 13 0,13-13 0,-13 14 16,14-1-16,-14 1 0,13-14 16,-13 0-16,13 0 0,-13-13 15,0-13-15,13-1 0,-13 1 0,14 0 16,-14-14-16,0 1 0,0-14 0,0 0 15,0 0-15,0 0 0,0 1 16</inkml:trace>
  <inkml:trace contextRef="#ctx0" brushRef="#br0" timeOffset="1591.78">20439 3069 0,'66'-66'0,"-26"26"16,132-52-1,-132 79-15,12 13 0,1 0 16,14 13-16,-1 13 0,-13 1 0,0 12 16,13 27-16,-27 1 0,1 12 0,-14 14 15,-12-27-15,-14 26 0,0-12 16,0 26-16,-27 13 0,1-27 16,-1 14-16,-12-13 0,-1-1 0,0 1 15,-13-14-15,27-13 0,-14-13 0,1 13 16,12-13-16,-13-13 0,14 0 15,-1-14-15,14 1 0,-13-1 0,13-13 16,-1 1-16,1-41 16,13 14-16,-13 0 15</inkml:trace>
  <inkml:trace contextRef="#ctx0" brushRef="#br0" timeOffset="2102.73">21484 4048 0,'13'-40'15,"-26"80"-15,40-93 0,-14 27 0,0-1 0,0-12 16,1 12-16,-1 1 0,-13-14 15,13 14-15,-13-1 0,13 14 16,-13 0-16,0-1 0,0-12 0,0 13 16,0-1-16,-13 14 0,0 14 15,0-1 1,-1 13-16,1-12 0,13 12 16,-13 14-16,13-14 0,-13 1 0,13-1 15,0 1-15,0-14 0,0 13 16,0-12-16,0 12 0,13-13 0,-13 0 15,13 1-15,-13-1 0,13-13 0,1 0 16,-1 13-16,0-13 0,0-13 16,14 13-16,-14 0 0,13-13 0,-12-1 15,12 14-15,1-13 0,-14 0 0</inkml:trace>
  <inkml:trace contextRef="#ctx0" brushRef="#br0" timeOffset="2383.66">21934 3678 0,'-26'-14'0,"52"28"0,-66-28 0,27 14 16,0 0-1,13 14-15,-13-1 16,13 0-16,0 0 0,0 1 16,13-1-16,-13 13 0,13-12 15,-13 12-15,13-13 0,-13 14 0,14-14 16,-14 13-16,0-12 0,13-1 0,-13 0 15,0 0-15,13 1 0,-13-1 16,0 0-16,-13 0 0,13 0 16,-13 1-16,-1-14 0,14 13 15,-13-13-15,0 13 0,0-13 16,-1 0-16,1 0 16,0 0-16</inkml:trace>
  <inkml:trace contextRef="#ctx0" brushRef="#br0" timeOffset="2944.77">22146 3691 0,'0'-13'0,"-14"13"15,1 26 1,13-13-16,0 1 16,-13 25-16,13-25 15,0 12-15,0-13 0,0 0 0,0 14 16,0-14-16,0 0 0,0 1 16,0-1-16,0 0 0,13-13 15,-13 13-15,0 1 0,13-28 31,1 1-31,-14 0 16,13 13-16,-13-13 0,13-1 0,-13 1 16,13 0-16,1 0 0,-14-1 0,13 14 15,-13-13-15,13 13 0,0 0 16,14 0-16,-27 13 16,13-13-16,0 14 0,-13-1 0,13 13 15,-13-12-15,0-1 0,0 13 0,0-12 16,14-1-16,-14 0 0,0 0 15,0 0-15,0 1 16,0-1-16,26-40 31,-13 1-15,-13 13-16,14 0 0,-14-1 0,13 1 16,0 0-16,-13 0 0,0-1 0,13 1 15,-13 0-15,13 13 0,-13-13 16,0-1-16,14 14 15,-14-13-15,13 0 0</inkml:trace>
  <inkml:trace contextRef="#ctx0" brushRef="#br0" timeOffset="3112.64">22595 3717 0,'14'14'0,"-1"39"16,-13-40-1,0 13-15,0-13 0,0 1 0,0-1 16,-13 0-16,13 14 0,0-14 0,0 0 16,0 0-16,-14-13 0,14 14 15,0-1-15</inkml:trace>
  <inkml:trace contextRef="#ctx0" brushRef="#br0" timeOffset="3238.86">22609 3638 0,'0'-13'0,"0"26"0,-14-39 16</inkml:trace>
  <inkml:trace contextRef="#ctx0" brushRef="#br0" timeOffset="3721.73">22860 3281 0,'13'26'0,"-13"1"16,-13-1-16,13 14 0,0 13 0,0-14 15,0 28-15,0-1 0,0 13 16,0-13-16,-13 14 0,13-14 0,-13 0 15,-1 0-15,14 0 0,-13 0 0,0-13 16,13-13-16,-13 0 0,-1-1 16,14 1-16,-13-13 0,13-1 0,-13 0 15,13-12-15,-13-1 0,13 0 16,-14 0-16,14 1 0,-13-14 16,0-14-1,13 1-15,-13 0 0,13-14 0,0 1 16,0-14-16,13 1 0,-13-28 0,13 1 15,0 0-15,1 0 0,-1 0 16,0 0-16,0 0 0,14 13 0,-14 0 16,14 26-16,-14-12 0,13 12 0,-13 14 15,14 0-15,-14-1 0,0 14 0,1 0 16,-1 14-16,0-14 16,0 26-16,1-13 0,-14 14 0,0-1 0,0 1 15,0 26-15,-14-14 0,1 1 16,-13 0-16,12-1 0,-12 1 15,13-13-15,-14-1 0,14 1 0,-13-1 16,12-13-16,1 0 0,13-39 31</inkml:trace>
  <inkml:trace contextRef="#ctx0" brushRef="#br0" timeOffset="3963.88">23270 3241 0,'13'0'0,"-13"119"31,-13-66-31,13-13 16,-13 13-16,13 0 0,0 0 16,-13-14-16,13 14 0,0-13 0,0 13 15,-14-14-15,14-12 0,0-1 0,0 1 16,0-1-16,0-12 0,0-1 15,0 0-15,0 0 0,0 0 0</inkml:trace>
  <inkml:trace contextRef="#ctx0" brushRef="#br0" timeOffset="4293.92">22992 3876 0,'27'-26'16,"12"-1"-1,-12 27-15,-14-13 0,14 0 0,-14 0 16,13 13-16,-12-14 0,12 1 0,-13 0 16,0 13-16,1-13 0,12 13 15,-13-14-15,14 14 0,-27-13 16,13 13-16,0 0 0,0 0 15,1 0-15,-14 13 0,13-13 16,0 14-16,0-1 16,-13 0-16,14 0 0,-14 1 0,13-1 15,-13 0-15,13 0 0,-13 0 0,13 1 16,-13-1-16,0 0 0,0 0 16,14 1-16,-14-1 0,0 0 15,0 0 1</inkml:trace>
  <inkml:trace contextRef="#ctx0" brushRef="#br0" timeOffset="4439.78">23521 3612 0,'0'-14'0,"-13"14"31</inkml:trace>
  <inkml:trace contextRef="#ctx0" brushRef="#br0" timeOffset="5107.68">23680 3717 0,'13'0'0,"-26"0"0,40 14 32,-14-14-32,-13 13 15,0 0-15,13 0 0,-13 1 16,13-1-16,-13 0 16,0 0-16,14 0 0,-14 1 0,13-14 15,-13 13-15,0 0 0,0 0 0,13-13 16,-13 14-16,0-1 15,13-13-15,-13 13 16,13-26-16,14 13 16,-14 0-1,0-13 1,1 13 0,-1 0-1,-13-14 1,13 14-16,-13-13 0,13 13 15,1-13-15,-1 0 16,-13-1-16,13 1 16,0 0-16,0 0 0,1 0 15,-1-1-15,-13 1 0,13 13 0,-13-13 16,-26 26 15,12 0-31,14 1 0,-13-14 16,13 13-16,0 0 0,0 13 15,13-26-15,1 0 16,-1 14-16,13-14 0,1 0 0,13 0 16,-1 0-16,14 0 0,0 0 15,0 0-15,-13-14 0,-14 14 0,1 0 16</inkml:trace>
  <inkml:trace contextRef="#ctx0" brushRef="#br0" timeOffset="6150.72">21775 5305 0,'-39'-13'0,"78"26"0,-105-26 16,40 13-16,-1 0 0,-26 26 16,27-13-16,-14 1 0,-13 25 15,27-12-15,12-1 0,1 1 0,13-1 16,0 1-16,0 12 0,0 1 16,13 0-16,14 13 0,-14-1 15,0 1-15,14 0 0,-14 0 0,-13 13 16,13-13-16,-13 0 0,0 0 15,-13 0-15,0 13 0,0-13 0,-14 0 16,1 0-16,-14 0 0,14 0 0,-14-14 16,0 1-16,0 0 0,-12 0 15,12-14-15,-13 14 0,27-27 0,-27 0 16,13 14-16,0-14 0,14-13 0,-14 13 16,14-13-16,12-13 0,1 13 15,0-13-15,0-1 0,13-12 16</inkml:trace>
  <inkml:trace contextRef="#ctx0" brushRef="#br0" timeOffset="6447.37">21987 4815 0,'0'14'0,"0"-28"0,0 41 0,0-14 16,0 27-16,-13 13 0,13 13 15,-14 0-15,1 13 0,0 27 0,0 0 16,0 0-16,-1 13 0,1-13 16,0 13-16,-14-13 0,14 13 0,-13-13 15,12-1-15,1 1 0,-13-13 0,13-14 16,-1 1-16,1-14 0,0 0 0,0 0 16,-1-13-16,1-13 0,0-1 15,13-12-15,-13-14 0,13 13 0,0-12 16,-14-1-16,14-40 31</inkml:trace>
  <inkml:trace contextRef="#ctx0" brushRef="#br0" timeOffset="6709.16">21537 6310 0,'66'-53'16,"-132"106"-16,185-132 0,-79 66 0,0-14 16,-1 14-16,1 0 0,0-14 15,-1 14-15,1 0 0,-14 0 0,14-1 16,-27 1-16,14 13 0,-14 0 0,0-13 15,0 13-15,1 0 0,-1 0 0,0 0 16,0 0 0,-13 13-16</inkml:trace>
  <inkml:trace contextRef="#ctx0" brushRef="#br0" timeOffset="7443.92">22225 6046 0,'-53'66'15,"27"-53"-15,12 14 16,1-1-16,0-13 0,0 14 15,13-14-15,-14 0 0,14 14 0,0-14 16,-13-13-16,13 13 0,13 0 16,-13-26-16,27 0 15,-14 0-15,14-1 0,-1-12 16,1-1-16,-1 1 0,-13 13 16,0 0-16,1-1 0,-1 1 0,-13 0 15,13 13-15,0 13 16,-13 0-1,0 1-15,-13-1 0,13 0 0,0 0 16,13 0-16,-13 1 0,14-1 16,12-13-1,-13-13-15,1 13 16,-1-14-16,0 1 0,13-13 0,1-1 16,-14-12-16,14-1 0,-1-13 0,0 0 15,1 0-15,-1-13 0,1 0 16,-1 0-16,1 0 0,-1-1 0,-13 15 15,1 25-15,-1-13 0,0 27 0,-13-13 16,13 26-16,-13-13 0,0 65 16,-13-25-1,13 26-15,-13-14 0,0 14 0,-1 0 16,1 0-16,0 13 0,-13-13 16,26 0-16,-14-13 0,1 0 0,13-1 15,0-12-15,-13-1 0,13-13 0,0 1 16,13-1-16,-13 0 0,13-13 15,1 0 1,-1-13-16,13-14 0,1 1 0,-1-1 16,1 1-16,-14 13 0,13-14 15,-12 14-15,-1 13 0,-13-13 16,13 26-16,-13 0 16,0 1-16,0-1 0,0 13 0,-13-13 15,13 1-15,-13 12 0,13-13 16,0 1-16,0-1 0,0 0 15,0 0-15,0 1 0,13-14 16</inkml:trace>
  <inkml:trace contextRef="#ctx0" brushRef="#br0" timeOffset="7625.26">22939 5622 0,'0'-13'31,"0"0"-31</inkml:trace>
  <inkml:trace contextRef="#ctx0" brushRef="#br0" timeOffset="7826.76">22357 5834 0,'0'0'0,"27"-13"15,-14 13-15,13-13 0,1 13 0,-1-14 16,1 14-16,-1-13 0,1 0 15,-1 13-15,1-13 0,-14 13 16,13 0-16,1 0 0,-14-14 0,13 14 16</inkml:trace>
  <inkml:trace contextRef="#ctx0" brushRef="#br0" timeOffset="8130.71">23191 5794 0,'-53'0'16,"106"0"-16,-119 14 0,52-14 0,1 0 15,0 13-15,0 0 16,13 0-16,0 1 16,0-1-16,13 0 0,-13 13 15,13 1-15,0-14 0,1 14 0,-14-1 16,13-13-16,0 14 0,-13-14 0,0 13 15,0-12-15,0-1 0,0 0 16,-13 0-16,0 1 0,13-1 0,-14 0 16,1-13-16,0 13 0,0-13 0,-1 0 15,1 0 1,0-26-16,0 13 16,13-1-16,13-12 0,-13-1 0</inkml:trace>
  <inkml:trace contextRef="#ctx0" brushRef="#br0" timeOffset="8358.61">23588 5305 0,'0'79'32,"-14"-52"-32,14 12 0,-13 1 0,13 13 15,-13-13-15,0 13 0,13-14 16,-14 14-16,14-13 0,-13 0 0,13-1 15,-13 1-15,13-14 0,0 1 16,0-1-16,0-12 0,0 12 0,13-13 0,-26 0 16,26 1-16,-13-1 15</inkml:trace>
  <inkml:trace contextRef="#ctx0" brushRef="#br0" timeOffset="8674.94">23349 5913 0,'-13'-13'0,"40"0"31,-14 0-31,0 0 0,27-14 16,-14 14-16,14 0 0,13-27 16,-27 27-16,1 13 0,-1-14 15,-12 1-15,12 13 0,-13-13 0,14 13 16,-14-13-16,0 13 15,0 13-15,-13 0 16,0 0-16,0 1 0,0-1 16,0 13-16,0-12 0,0-1 15,0 13-15,-13-12 0,13-1 16,0 13-16,0-13 0,0 1 0,0-1 0,-13-13 16,13 13-16,0 0 0,13 1 15,0-14 1,1-14-1</inkml:trace>
  <inkml:trace contextRef="#ctx0" brushRef="#br0" timeOffset="8818.81">23905 5517 0</inkml:trace>
  <inkml:trace contextRef="#ctx0" brushRef="#br0" timeOffset="9168.81">23971 5675 0,'-13'40'16,"26"-80"-16,-39 80 0,26-27 0,-13 14 15,13-14-15,0 0 0,0 0 16,13-13 0,0 0-16,0 0 15,0-13-15,14 13 0,-14-13 16,14 0-16,-14 13 0,0-14 0,14 14 15,-14-13-15,0 13 0,0-13 0,0 13 16,1 0-16,-1 13 0,0-13 16,-13 13-16,13-13 0,-13 14 15,0-1-15,0 0 0,0 0 0,-13-13 16,13 27-16,-13-14 0,0 0 16,-1 1-16,1-1 0,0 0 15,0 0-15,0 0 0,-1 1 16</inkml:trace>
  <inkml:trace contextRef="#ctx0" brushRef="#br0" timeOffset="9312.9">24474 5741 0,'0'0'15,"-40"0"32</inkml:trace>
  <inkml:trace contextRef="#ctx0" brushRef="#br0" timeOffset="11283.41">4432 833 0,'0'27'0,"13"-1"15,-13-12-15,0 12 0,0-13 0,0 0 16,-13 14-16,13-1 0,0 1 16,0-1-16,0 1 0,0-1 15,0 1-15,-13-14 0,26 13 0,-13-12 16,0-1-16,0 0 0</inkml:trace>
  <inkml:trace contextRef="#ctx0" brushRef="#br0" timeOffset="11560.1">4419 794 0,'26'-27'16,"67"41"0,-80-1-16,13 0 15,1 13-15,-1 1 0,-13-1 16,-13 1-16,0 26 0,0-14 16,-13 1-16,0 0 0,-27 26 15,14-40-15,-14 41 0,14-41 16,12-13-16,1 0 0,0 1 15,0-14-15</inkml:trace>
  <inkml:trace contextRef="#ctx0" brushRef="#br0" timeOffset="11954.28">4882 1019 0,'0'-27'15,"0"54"-15,0-67 0,-14 27 0,14-1 16,-13 14-1,-13 14 17,12-1-32,14 0 15,-13 0-15,13 27 0,0-13 16,106 12 31,-93-39-47,40-13 15</inkml:trace>
  <inkml:trace contextRef="#ctx0" brushRef="#br0" timeOffset="12145.68">5080 926 0,'0'-13'16,"-13"13"-16,26 13 0,-26-13 31,13 26-16,13-26-15,-13 14 0,0-1 16,0 0-16,0 0 0,0 27 16,0-27-16,0 1 0,0 12 0,-13-13 15,13 0-15,-13 1 0,-1 12 16,1-13 0,0-13-16</inkml:trace>
  <inkml:trace contextRef="#ctx0" brushRef="#br0" timeOffset="12351.84">5345 609 0,'0'13'16,"13"0"-16,-13 0 0,0 14 15,0-14-15,0 13 0,13 1 16,-13-1-16,0 1 0,0-1 0,0 1 16,13 26-16,-13-27 0,0-13 15,0 0-15,0 1 0</inkml:trace>
  <inkml:trace contextRef="#ctx0" brushRef="#br0" timeOffset="13551.03">5212 992 0,'-13'13'0,"0"-13"15,13 14-15,0-1 0,-13 0 0,13 14 16,0-14-16,0 0 16,0 0-16,0 0 0,0 1 0,0-1 15,0 0-15,13 0 16,-13 1-16,13-14 0,0 0 15,1 0-15</inkml:trace>
  <inkml:trace contextRef="#ctx0" brushRef="#br0" timeOffset="14071.93">5345 1019 0,'13'-27'47,"-13"14"-47,0 0 15,0-1-15,13 1 16,-13 0-16,0 0 0,13-14 0,1 1 16,-14 13-16,13-14 0,0 14 0,-13 0 15,13 0-15,0-27 16,1 27-16,-1-1 15,-13 1-15,13 13 16</inkml:trace>
  <inkml:trace contextRef="#ctx0" brushRef="#br0" timeOffset="14237.61">5583 661 0,'0'0'0,"0"27"16,0-14-16,13 0 0,-13 1 15,0 12-15,0-13 0,0 1 16,0 12-16,0-13 0,0 0 16,0 1-16,-13-1 0,13 0 0,13 0 15,-13 1-15,0 12 0</inkml:trace>
  <inkml:trace contextRef="#ctx0" brushRef="#br0" timeOffset="14790.79">5675 569 0,'14'53'16,"-14"-27"-16,13-13 0,-13 14 15,0 13-15,13-1 0,-13 1 0,0 0 16,13-1-16,-13 1 0,0 39 15,0-39-15,0-13 0,0-1 16,0 0-16,0 1 0,0-14 0,0 14 16,0-14-16,0 0 0,-13-13 0,13 13 15,-13-39 1,13 13 0,0-1-16,0-12 0,0-1 15,0-12-15,0-1 0,0-13 0,0 13 16,13 14-16,-13-14 0,13 14 15,14-27-15,-14 40 16,0 0-16,0 13 0,1 13 16,-1 0-16,0 0 15,0 0-15,1 40 16,-14-13-16,0-27 16,0 14-16,-14 39 31</inkml:trace>
  <inkml:trace contextRef="#ctx0" brushRef="#br0" timeOffset="14963.75">6019 582 0,'13'-53'16,"-26"106"-16,40-93 15,-14 93 1,0-39-16,0 38 0,-13-12 15,0 13-15,14 0 16,-14 0-16,0-40 16,0 0-16,0 1 0,0 12 15</inkml:trace>
  <inkml:trace contextRef="#ctx0" brushRef="#br0" timeOffset="15266.04">6019 860 0,'0'-13'0,"40"-27"31,-27 40-31,0-13 16,1 0-16,12-1 15,-13 14-15,1 0 0,-1-13 0,0 13 16,13 0-16,-26 13 15,14-13-15,-1 14 16,0-14-16,-13 13 0,13-13 0,-13 13 16,0 0-16,14-13 15,-14 13-15,0 1 0,0-1 16,0 0-16,0 0 16</inkml:trace>
  <inkml:trace contextRef="#ctx0" brushRef="#br0" timeOffset="15415.69">6350 595 0,'-13'0'16,"0"-13"15,-1 26-31,14 1 0</inkml:trace>
  <inkml:trace contextRef="#ctx0" brushRef="#br0" timeOffset="15857.02">6482 675 0,'14'0'16,"-14"13"-1,13 0-15,-13 0 16,0 1-16,0-1 16,0 0-16,13-13 15,-13 13-15,13 1 16,0-14-1,1 0-15,-14-14 16,26 14-16,-26-13 0,13 13 16,1-13-16,-1 0 15,0 13 1,-13-14-16,13 14 0,27-13 47,-27 13-47,0-13 0,1 13 15,-1-13 1,0 13-16,-66 26 31,27-13-31</inkml:trace>
  <inkml:trace contextRef="#ctx0" brushRef="#br0" timeOffset="16279.44">5106 1574 0,'0'-13'0,"-39"40"15,12-14-15,1 13 16,-1 14-16,-12 0 0,-54 39 15,-13 14-15,0-14 16,14 14-16,39-54 16,0 1-16,13 0 0,-52 39 15,26-26-15,26-27 16,13 1-16,14-27 16,13 13-16,13-26 31</inkml:trace>
  <inkml:trace contextRef="#ctx0" brushRef="#br0" timeOffset="16771.79">5146 1654 0,'66'13'16,"-132"-26"-16,172 39 0,-53-26 0,66 13 16,-40 1-16,1-1 0,12-13 15,1 13-15,0 0 0,105 0 16,-105 1-16,-1-14 0,80 13 16,-106 0-16,0-13 15,40 0-15,-53 0 0,13 13 16,-26-13-16,-27 0 0,14 0 15,12 0-15,-25 0 16,-1 0-16,0 0 0,0 0 16,1-13 31,-14 0-32</inkml:trace>
  <inkml:trace contextRef="#ctx0" brushRef="#br0" timeOffset="18739.59">2633 2686 0,'79'-14'32,"-39"14"-32,26-13 15,0 0-15,0 0 0,0-1 0,106-12 16,-92-1-16,12 14 0,120-40 16,-106 27-16,13 13 15,53-27-15,0 0 16,-14 14-16,-78 13 15,65-14-15,-78 14 16,78-14-16,-105 14 16,-14 13-16,40 0 15,-39-13-15,-14 13 16,0 0-16,0 0 16,1 0-16,-1 0 15,-13 13-15,0 0 16,0 1-16,13 39 15,0-14-15,1 54 16,-14-53-16,13-1 0,13 41 16,-12-41-16,12 27 15,-13-26-15,0-13 0,27 52 16,-40-53-16,13-12 16,1 12-16,-14-13 0,26 14 15,-26-14-15,0 0 0,13 0 16,-13 1-16,0-1 0,0 0 15,0 0 1,-13 1-16,0-1 16,0 0-16,-1-13 0,-12 13 0,-1 1 15,-52 12-15,39 0 16,-79 1-16,66-1 0,-26-12 16,13 12-16,-93 27 0,53-13 15,-92 13 1,26 13-16,26-27 15,14 1-15,-80 26 16,159-53-16,-66 14 16,14 13-16,12-14 15,53-13-15,1 1 0,-1-1 16,0 0-16,14 0 16,-1-13-16,1 13 0,13 1 0,-14-14 15,14 0-15,0 13 0,-14-13 0,14 13 0,0-13 16,0 0-16,-1 13 15,1-13-15,0 0 16,0 0-16,-14 0 16,1-13-1,13 13-15,-107-132 47,94 92-31,0-26-16,-120-490 62,133 503-62,-14-26 0,-39-172 47,66 224-31,0 14-1,0 0-15,27 13 16,-1-13-16,1 13 16,-1 0-16,53-27 0,14 14 15,-53 0-15,39-1 16</inkml:trace>
  <inkml:trace contextRef="#ctx0" brushRef="#br0" timeOffset="19546.7">2672 3029 0,'0'27'15,"14"-14"1,-14 0-16,0 1 15,13-14-15,-13 13 0,0 0 16,13-13 0,-13 13-16,0-39 31,0 13-15,0-1-16,0 1 0,0 0 15,0-14-15,0 14 16,0 0-16,0 0 15,0 0-15,26 26 47,-26 0-47,14-13 0,-1 13 16,0-13 0,0 0-16,1 0 15,-14-13 1,13 0-16,-13 0 15,13-1-15,-13 1 16,0 0 0,13 13-16,14 0 31,-27 13-31,13-13 16,0 13-1,0 1-15,1-14 16,-1 0-16,-13 13 0,13-13 15</inkml:trace>
  <inkml:trace contextRef="#ctx0" brushRef="#br0" timeOffset="19821.86">3096 2950 0,'-14'-13'15,"28"26"-15,-28-39 0,1 12 16,0 14 15,0 14-31,13-1 16,0 0 0,13 0-1,-13 1-15,13-14 0,0 0 16,1 0-1,-1 0-15,0 0 0,0 0 0,27-14 16</inkml:trace>
  <inkml:trace contextRef="#ctx0" brushRef="#br0" timeOffset="20172.75">3321 2818 0,'-27'0'16,"14"0"-16,0 13 0,-1 0 16,1 1-1,13-1-15,0 0 16,0 0 0,13 0-16,14-26 31,-27 0-16,13 13-15,-13-13 16,13 13-16,-13-13 16,14 13-16,-1 0 31,0 0-15,0 0-16,-13 13 15,13-13-15,-13 13 16,0 0-16</inkml:trace>
  <inkml:trace contextRef="#ctx0" brushRef="#br0" timeOffset="20710.75">3466 2791 0,'0'0'16,"13"27"15,-13-14-15,0 0-1,13 1-15,-13-1 16,0 0-1,0 0 1,0 0-16,27-13 47,-14-13-47,-13 0 16,13 13-16,-13-13 15,14 0-15,-1-1 16,-13 1-1,13 0 1,0 13 15,1 0-15,-1 0 0,0 0 15,-13-13-31,13 13 47</inkml:trace>
  <inkml:trace contextRef="#ctx0" brushRef="#br0" timeOffset="21362.95">3889 2646 0,'-13'26'31,"13"-12"-15,0-1-16,0 0 16,0 0-1,13-13-15,1 0 16,12 0-1,-26-13-15,13 13 16,1-13-16,-14 0 16,0-1-1,0 1 1,-14 13 0,1 0-1,40 13 16,-14 1-15,-13-1-16,13-13 16,-13 13-16,13 0 0,0 0 15,-13 1-15,0-1 0,0 0 16,0 0 0,0 1-16,0-1 15,14-40 16,-14 14-31,13-13 16,-13 12-16,13-38 16,0 38-16,1-12 0,-14 13 15,13-1-15,0 1 0,0-13 16</inkml:trace>
  <inkml:trace contextRef="#ctx0" brushRef="#br0" timeOffset="22219.31">7064 1865 0,'-13'0'16,"13"14"-1,13 25-15,1 1 0,-1 0 16,27 52-16,12 27 16,1 27-16,-13-1 15,13-12-15,-27-80 16,14 52-16,0-38 15,-27-28-15,0-12 16,0-67 15</inkml:trace>
  <inkml:trace contextRef="#ctx0" brushRef="#br0" timeOffset="22851.67">6932 1786 0,'-13'-40'16,"79"-13"-1,-13 40-15,13-13 16,0 12-16,0-12 0,120-27 16,52-13-16,-119 39 15,0 1-15,119-40 16,-106 26-16,239-66 15,-1-13-15,424-66 47,-755 172-47,28 13 16,-41 0-16,53 13 16,133 225 30,-146-106-30,14 1 0,105 171 15,-93-185-15,-39-40-1,-39-65-15,12 39 16,-26-40-16,-13 13 15,-40 27-15,-13-13 16,13-27-16,-132 53 16,-80 14-1,-66-1 1,93-13-16,-13 0 16,13 0-16,0-13 15,52 0 1,41-13-16,79-27 15,-93 14-15,119-14 16,1-13-16,-28 0 16,28 0-16,26-13 15,-27-1-15,27 1 16</inkml:trace>
  <inkml:trace contextRef="#ctx0" brushRef="#br0" timeOffset="23443.84">7673 1786 0,'0'0'0,"13"26"31,-13-12-31,13-1 16,-13 0-1,0 0-15,14 1 16,-1-28 31,-13 1-47,13 0 15,0 13 17,1 13-32,-1-13 15,0 13-15,13 1 16,-12-14-16,-1 0 15,13 0-15,-12-14 16,-1 14 0,-13-13-16,13 0 0,-13 0 15,0-1-15,13 14 0,-13-26 16,0 13-16,0-1 16,-13-12-16,40 13 46,-27 26-46,13 0 16</inkml:trace>
  <inkml:trace contextRef="#ctx0" brushRef="#br0" timeOffset="23756.15">8149 1786 0,'0'-13'0,"0"-1"16,-13 14-16,13-13 16,0 0-1,-13 39 1,-1-12 0,14-1-16,0 0 15,14 0-15,-14 1 16,13-1-16,0 0 15,0-13-15,1 0 16,12 0 0,-13-13-16,1 13 0,12-13 15,14-1-15,-14 1 16,-13 0-16,14 0 16</inkml:trace>
  <inkml:trace contextRef="#ctx0" brushRef="#br0" timeOffset="24118.47">8440 1574 0,'-13'0'16,"26"0"-16,-39 14 0,13-14 16,-1 13-16,14 0 15,-13 0-15,13 0 16,0 1-16,0-1 15,0 0 1,13-13-16,-13 13 0,14-13 16,-1 0-16,0 0 15,-13-13-15,13 13 16,0-13-16,1 13 16,-14-13-16,13 13 0,0-14 15,0 14 1,1 0-1,-1 0 1,-13 14 0,13-14-16,0 0 15,0 0-15,1 0 16</inkml:trace>
  <inkml:trace contextRef="#ctx0" brushRef="#br0" timeOffset="24612.1">8705 1508 0,'13'27'31,"-13"-14"-31,13 0 0,-13 0 16,0 14-1,-13-1 1,13 1-16,-13-27 16,13 26 15,13-52-16,-13 12 1,40-38 0,-40 38-16,13-12 15,0 13 1,0-1 0,-13 1-1,14 26 1,-1-13-16,0 0 15,0 0 1,1 0 0,-1 0-1,0 0-15,13 0 16</inkml:trace>
  <inkml:trace contextRef="#ctx0" brushRef="#br0" timeOffset="25171.48">9009 1442 0,'-13'26'15,"13"-12"1,-13-14-16,-1 13 16,14 0-16,-13 0 0,0 1 15,0-14 1,13 13-16</inkml:trace>
  <inkml:trace contextRef="#ctx0" brushRef="#br0" timeOffset="25721.7">9036 1402 0,'13'14'31,"0"-1"-16,-13 13-15,13-26 0,0 53 47,14-66 0,-14-14-31,-13 14-16,13 0 0,1-13 15,52 12 17</inkml:trace>
  <inkml:trace contextRef="#ctx0" brushRef="#br0" timeOffset="25916.69">9340 1455 0,'0'-13'15,"13"0"-15,-13 0 16,0-1 0,0 41 31,13-14-32,0-13-15,1 0 16,12 0-1</inkml:trace>
  <inkml:trace contextRef="#ctx0" brushRef="#br0" timeOffset="26458.72">9750 1217 0,'-13'0'16,"-1"13"-16,1 1 15,13-1 1,-13-13-16,13 13 16,13 0-16,0-13 15,1 0 1,-1-13 0,0 13-16,-13-13 0,13 13 15,-13-13-15,0-1 16,0 1-16,-13 0 15,-13 26 17,12 0-17,28 1 1,-1-14 0,0 0-16,0 13 15,1-13-15,12 0 16,-13 13-16,0 0 0,1 0 15,-1 1-15,-13-1 0,13 13 16,-13-12-16,0-1 0,0 13 16,-13-12-16,0 25 0,13-26 15,-14 1-15,14-1 0,-13 0 0,13 0 16,27-39 15,-14 13-31,0-27 0,27-13 16,13-40-16,0 1 15,-27 52-15,14-39 16,13 13-16,-27 26 16</inkml:trace>
  <inkml:trace contextRef="#ctx0" brushRef="#br0" timeOffset="28599.58">6787 675 0,'26'0'15,"-13"-14"1,0 1-16,14 0 0,-14-13 0,0 12 15,1 1-15,-1 0 16,0-14-16,-13 14 0,13 0 16,-13 0-16,-13 13 0,-13 13 15,-1 13 1,1 1-16,12-1 0,1 14 16,13-14-16,-13-12 0,26 12 15,-13-13-15,0 1 0,13-1 16,1 0-16,-1 0 0,13 1 0,1-14 15,-1 13-15,1-13 0,12 0 0,-12 0 16,-1 0-16,14 0 0,0 0 16,-1-13-16,-12 13 0,-1-14 0,1 14 15,-1 0-15,-13-13 0</inkml:trace>
  <inkml:trace contextRef="#ctx0" brushRef="#br0" timeOffset="30659.6">2752 3492 0,'-14'27'15,"28"-54"-15,-28 67 0,1-27 0,13 1 0,0-1 16,0 0-16,0 0 0,0 1 16,0 12-16,13-13 0,-13 0 15,0 1-15,14-1 0,-14 0 0,13 0 0,0 1 16,0-14-16,1 13 16,-1-13-16,0 0 15,0 0-15,1 0 0,-1 0 0,13-27 16,-13 27-16,1-13 0,-1 0 15,0 0-15,-13-1 16,13-12-16,-13 13 0,14 13 0,-14-13 16,0-1-1,0 1-15,0 40 32,-14-14-17,28 0-15,-14 0 16,0 0-16,13-13 15,0 14-15,0-14 0,-13 13 16,13-13-16,1 0 16,-1 0-16,0 0 0,0-13 15,1 13-15,-14-14 16,13 14-16,-13-13 0,13 13 16,-13-13-16,0 0 0,0 0 15,13 13-15,-13-14 16,0 1-1,14 13-15,-1 0 32,0 0-17,0 0 1,-13 13-16,13-13 0,-13 14 31,14-14-31,-1 0 31,0 0-15,0 0 0,1-14-16,-1 1 15,-13 0-15,13 0 0,0-1 16,-13 1-16,14 0 0,-1 0 16,-13-1-16,13 1 0,-13-26 15,0 25-15,0-12 0,0 13 0,0-1 16,-13-12-16,13 13 0,0-14 15,-13 14-15,13 0 16,0 0-16,0 39 31,0-13-31,0 1 0,0 12 16,0-13-16,13 14 0,-13-1 16,0 1-16,13-14 0,-13 13 15,0-13-15,13 14 0,-13-14 16,0 0-16,13-13 0</inkml:trace>
  <inkml:trace contextRef="#ctx0" brushRef="#br0" timeOffset="30839.74">3294 3492 0,'0'-13'0,"-13"0"31,26 13-31,-13-13 0,13 13 15,-13-13-15,14 13 0,-1-14 16,0 14-16,0-13 0,0 13 16,1-13-16,-1 13 0</inkml:trace>
  <inkml:trace contextRef="#ctx0" brushRef="#br0" timeOffset="31242.69">3545 3347 0,'0'13'15,"0"0"1,14 1-16,-14-1 0,0 0 16,0 0-16,13 1 0,-13-1 0,0 13 15,13-26-15,-13 13 0,0 1 16,0-1-16,13-13 16,-13 13-16,0-39 31,0 12-16,0 1-15,0 0 0,0 0 16,0 0-16,0-1 0,0 1 0,0-13 16,0 12-16,14 1 0,-14 0 15,0 0-15,13 13 0,-13-13 0,13 13 16</inkml:trace>
  <inkml:trace contextRef="#ctx0" brushRef="#br0" timeOffset="31916.02">3770 3334 0,'-13'26'31,"0"-13"-15,13 1-1,13-1-15,-13 0 0,0 0 16,13-13 0,1 0-16,-1 0 15,0 0 1,-13-13-16,13 13 16,0 13-1,1-13-15,-1 0 16,0 0-16,0-13 15,1 13 1,-1-13-16,0-14 0,0 27 16,-13-13-16,14 0 0,-14-13 0,0 12 15,13 1-15,-13-13 16,0-14-16,0 27 0,0-14 16,0 1-16,13-1 0,-26 1 15,26 66 16,-13-27-31,0 13 16,0-13-16,0 40 16,13-13-16,-13-13 15,13-14-15,1 13 0,-1 1 16,0-27-16,0 13 16,1-13-16,-1-13 15</inkml:trace>
  <inkml:trace contextRef="#ctx0" brushRef="#br0" timeOffset="32116.78">4207 2963 0,'-13'-13'16,"13"79"15,0-39-15,13-1-16,-13 1 0,13-14 15,-13 13-15,13 1 0,-13-1 0,14 1 16,-1-14-16,-13 13 0,13-12 0,0 12 16,-13 1-16,13-14 15,1 0 1</inkml:trace>
  <inkml:trace contextRef="#ctx0" brushRef="#br0" timeOffset="32298.58">4194 3321 0,'-14'-14'0,"14"1"0,0 0 15,14 0 1,-1-1-16,-13 1 16,13 0-16,0 0 0,1 13 0,-1-14 15,0 1-15,0 0 0,0 13 16,14-13-16,-1 0 15</inkml:trace>
  <inkml:trace contextRef="#ctx0" brushRef="#br0" timeOffset="33081.21">4498 3201 0,'-13'-26'32,"13"13"-17,-14 13-15,1 13 31,13 0-31,0 0 16,0 1-16,0-1 16,13 0-1,-13 0-15,14-13 16,-1-13 0,0 13-16,0-13 15,1 13 1,-1 0-1,0 0-15,0 0 16,14 0 0,-14-13-16,0 13 15,0 0-15,1-14 16,-1 14-16,0-13 0,0 13 16,-13-13-16,14 13 0,-14-13 15,13 13-15,-13-13 16,13 13-16,0-14 15,0 28 17,-13-1-1,14-13-15,-1-13-16,-13-1 15,0 1-15,13 13 0,-13-26 0,13 12 16,-13 1-16,0-13 15,0 12-15,0-12 0,0 0 0,0-1 16,0 1-16,0 12 0,0-12 0,0 13 16,0 0-16,0-1 0,0 1 15,0 40 1,0-14 0,0 0-16,14 0 0,-14 27 15,0-27-15,26 27 16,14-1-1,-27-39 1,13 0-16,-12-13 16</inkml:trace>
  <inkml:trace contextRef="#ctx0" brushRef="#br0" timeOffset="34147.18">8427 2236 0,'26'39'0,"-12"-25"0,-1-1 16,0 0-16,0 0 16,1 1-16,-1 12 0,0 0 0,13-12 0,-12 12 15,-1-13-15,13 1 0,-12-1 16,-1 0-16,0-13 0,-13 13 16,13-13-16,1 0 0,-1 14 0,13-28 15,-13 1 1,-13 0-16,14-14 15,-14 14-15,0 0 0,0-14 0,0 1 16,0-14-16,0 1 0,0-1 0,-14 0 16,14 1-16,0-1 0,0 13 15,-13 1-15,13 0 0,0 12 16,0 1-16,13 40 31,-13-14-31,14-13 0</inkml:trace>
  <inkml:trace contextRef="#ctx0" brushRef="#br0" timeOffset="34712.92">8956 2130 0,'0'0'0,"-13"13"0,0-13 16,13 13-16,-14 1 0,14-1 15,-13 0-15,13 0 0,0 0 16,-13 1-16,13-1 0,0 13 16,0-12-16,0-1 0,0 0 15,0 0-15,0 1 16,13-28 0,0 14-1,-13-13-15,14 0 0,-1 0 16,-13-1-16,13 1 0,0 0 15,1 13-15,-14-13 0,13 13 16,0 0-16,0 0 16,1 13-16,-1 0 0,0-13 15,0 13-15,-13 1 0,13-1 16,-13 0-16,14 0 16,-14 1-16,0-1 0,13 0 31,-13-39-16,0 12-15,0 1 16,13 0-16,-13 0 0,13-14 16,-13 14-16,14-14 0,-14 14 0,13-13 15,0 13-15,0-1 0,-13 1 0,14 13 16,-1-13-16,0 13 16,0 0-16,0 0 0,1 0 15,-14 13-15,13 0 0,-13 1 16,13-1-16,-13 0 0,0 0 15,0 0-15,0 1 0,0-1 16,0 0-16,0 0 0,0 1 16</inkml:trace>
  <inkml:trace contextRef="#ctx0" brushRef="#br0" timeOffset="34844.08">9247 1918 0</inkml:trace>
  <inkml:trace contextRef="#ctx0" brushRef="#br0" timeOffset="35656.15">9591 2064 0,'-26'0'31,"26"13"-31,-14-13 0,14 13 16,-13-13-16,13 13 15,-13 1-15,13-1 0,-13 0 16,13 0-16,0 1 0,-13-14 0,13 13 15,0 0-15,0 0 16,13 0-16,0-13 16,0 0-1,0 0 1,1 0-16,-1 0 0,0 0 16,0 0-1,1 0-15,-1 0 16,0 0-16,0-13 15,1 13-15,-14-13 0,13 0 16,-13 0-16,13-1 0,0 1 16,-13 0-16,0-14 0,13 1 0,-13 0 15,0-14-15,0 13 0,0 1 0,0-1 16,0 1-16,0 0 0,0 12 16,14 1-16,-14 0 0,0 0 0,0 39 31,-14-13-31,14 14 0,0-14 15,0 13-15,0-12 16,0 12-16,0-13 0,0 14 0,0-14 16,0 0-16,0 1 0,0-1 0,0 0 15,14-13-15,-14 13 16,13-26 0,0 13-16,0 0 0,1-13 15,-1 13-15,0 0 16,0 0-16,0 0 0,1 0 0,-1 13 15,0-13-15,0 0 0,-13 13 16,14-13-16,-14 13 0,0 1 16,0-1-16,-14-13 0,14 13 15,-13 0-15,13 1 0,-13-1 0,0 0 16,-1 0-16,1 0 16,0-13-16,0-13 31</inkml:trace>
  <inkml:trace contextRef="#ctx0" brushRef="#br0" timeOffset="35820.58">10014 1945 0,'0'0'0,"0"13"0,14 0 16,-14 0-16,0 1 15,0-1-15,0 0 0,0 0 16,0 1-16,0-1 0,0 0 15,0 0-15,0 0 0,0 1 16</inkml:trace>
  <inkml:trace contextRef="#ctx0" brushRef="#br0" timeOffset="35951.48">9962 1746 0,'0'-13'0,"0"26"0,-14-26 0</inkml:trace>
  <inkml:trace contextRef="#ctx0" brushRef="#br0" timeOffset="36295.25">10081 1521 0,'13'0'15,"0"14"-15,-13-1 0,0 0 16,0 0-16,13 14 0,-13-1 16,14 1-16,-14 12 0,0 1 0,13 0 0,-13-1 15,0 1-15,0-13 0,0-1 0,0 0 16,0 1 0,13-14-1,-13 27-15,0-14 0,13 1 0,0-27 16,14 0-1,-27-13-15,13 13 16,-13-14-16,13 14 0,-13-13 16,14 13-16,-1 0 15,0 0 1,-13 13-16,0 1 16,0-1-1,0 0-15,0 0 31</inkml:trace>
  <inkml:trace contextRef="#ctx0" brushRef="#br0" timeOffset="36442.25">10345 1640 0,'0'0'16,"-26"14"15</inkml:trace>
  <inkml:trace contextRef="#ctx0" brushRef="#br0" timeOffset="36947.98">10411 1588 0,'0'26'31,"14"-13"-31,-14 14 0,0-14 16,0 13-16,13 1 0,-13-1 0,0 14 16,13-14-16,-13 1 0,0-1 0,0 1 0,0-1 15,0-13-15,0 14 0,0-14 16,0 0-16,0 1 0,0-1 16,0 0-16,13 0 0,1-26 62,-1 13-46,0 0-1,0 0 1,-13-13-16,13 13 0,1 0 16,-14-13-16,13 13 0,0-14 0,0 14 15,1-13-15,-1 13 0,-13-13 0,13 13 16,0 0-16,0 0 15,1 13-15,-14 0 16,0 1-16,0-1 16,0 0-16,-14 14 0,14-14 15,-13 0-15,13 0 0,-13 0 16,13 1-16,26-41 31,1 14-31,-1-27 0,41-52 16,-28 39-16,1 0 0,0-13 15,13 0-15,105-173 16,-105 160-16,-13 26 0</inkml:trace>
  <inkml:trace contextRef="#ctx0" brushRef="#br0" timeOffset="37870.47">4723 3572 0,'106'-13'0,"-67"-1"0,27 1 15,14 0-15,-1 0 0,1-14 0,12 14 16,14-13-16,-13-1 0,12 1 16,-12-1-16,-14 14 0,107-27 15,-107 27-15,14-13 0,-14 12 0,27-12 16,-27 13-16,1-1 0,-14 1 0</inkml:trace>
  <inkml:trace contextRef="#ctx0" brushRef="#br0" timeOffset="38455.37">9181 2910 0,'-119'40'15,"53"-27"-15,-596 199 32,517-172-32,-1 13 0,-12 0 0,-54 13 15,66-13-15,-12-14 0,-1 14 0,13 0 16,1 0-16,-14 0 0,27 0 0,-14-13 15,14-1-15,13 1 0,13 0 16,0-14-16,27 1 0,26-14 0,0 0 16,13 0-16</inkml:trace>
  <inkml:trace contextRef="#ctx0" brushRef="#br0" timeOffset="38622.86">7157 3532 0,'278'-79'0,"-119"39"0,-1 0 15,80 1-15,-13-14 0,13 13 0,239-66 16,-226 67-16,0-1 0,-12 0 16</inkml:trace>
</inkml:ink>
</file>

<file path=ppt/ink/ink13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20:03.703"/>
    </inkml:context>
    <inkml:brush xml:id="br0">
      <inkml:brushProperty name="width" value="0.05292" units="cm"/>
      <inkml:brushProperty name="height" value="0.05292" units="cm"/>
      <inkml:brushProperty name="color" value="#FF0000"/>
    </inkml:brush>
  </inkml:definitions>
  <inkml:trace contextRef="#ctx0" brushRef="#br0">344 1429 0,'0'0'0,"119"-27"15,-53 27-15,0-13 0,27-13 0,0 12 16,39 1-16,0-13 0,14 12 0,-1 1 16,1 0-16,26 0 0,-14 0 0,1-1 15,13 1-15,-13 13 0,13-13 16,-13 13-16,-1-13 0,1 13 16,-13 0-16,-14 0 0,-26 0 0,0 0 0,-1 0 15,81-14-15,-41 14 16,-79 0-16,-26 0 15,0 0-15,-14 0 0,1 0 0,-14 0 16,0-13-16,0 13 16,-66 0-16,0 0 0,1 13 15,-28-13-15</inkml:trace>
  <inkml:trace contextRef="#ctx0" brushRef="#br0" timeOffset="338.91">331 1746 0,'0'0'15,"-53"27"-15,26-27 0,14 0 0,93-14 32,-14 1-32,13 0 0,27-13 0,26-1 15,14 1-15,12-1 0,1 1 0,26-1 16,1-12-16,-1 25 15,0-12-15,66-1 0,-52 14 0,-14-13 16,0 13-16,0-1 0,1 14 0,-14-13 0,0 0 16,-27 13-16,1-13 15,-14 13-15,-39 0 0,-1 0 0,-12-14 16,-1 14-16,-26 0 0,0 0 0,-27 0 16,14 0-16,-27 0 0,14 0 15,-14 0-15,0 0 0,-53 0 31,27 0-31,-27 14 0,1-14 16</inkml:trace>
  <inkml:trace contextRef="#ctx0" brushRef="#br0" timeOffset="4065.04">18825 1535 0,'-13'26'32,"13"-13"-32,0 14 15,0-14-15,0 13 0,0 1 0,0 13 16,0-14-16,0 0 0,0 1 0,0-1 16,0 1-16,0-1 0,0-12 15,0-1-15,-13 13 0,13-13 0,0 1 16,0-1-16,0 0 0,0 0 0,0 1 15,-14-14-15,14 13 16,-13-40 0,26 14-1,-13-13-15,0-14 0,0 0 0,14 1 16,-14-14-16,13 13 0,-13 0 16,13 1-16,0-1 0,1 0 15,-14 14-15,13-1 0,0 1 0,-13 13 16,0-1-16,13 1 0,-13 0 0,13 0 15,1 26 1,-1-13-16,0 13 0,0 14 16,-13-14-16,14 27 0,-1-14 0,0 14 15,-13-14-15,13 14 0,-13-14 16,14 1-16,-14-1 0,13 1 0,-13-1 16,0 1-16,0-14 0,0 13 0,13-12 15,-13-1-15,0 0 0,0 0 0,0 0 16</inkml:trace>
  <inkml:trace contextRef="#ctx0" brushRef="#br0" timeOffset="4260.89">18785 1892 0,'0'-40'15,"14"40"1,-1-13-16,0 13 0,14-13 0,-1-1 15,0 14-15,1-13 0,-1 13 16,14-13-16,0 0 0,-14-1 0,1 14 16,-1-13-16,1 13 0,-1 0 15,-13 0-15,14-13 0,-14 13 16,13 0-16</inkml:trace>
  <inkml:trace contextRef="#ctx0" brushRef="#br0" timeOffset="4716.33">19394 1799 0,'-13'-26'15,"13"12"1,0 1-16,-13 0 15,13 0-15,0 0 0,0-1 0,0 1 16,0 0-16,13 0 0,-13-1 0,0 1 16,0 0-16,0 0 0,0 0 15,0 39 17,0-13-32,13 0 15,-13 1 1,13-14-16,-13 13 0,13-13 0,14-13 15,-14 13-15,0 0 16,1-14-16,-1 14 0,0 0 0,0 0 16,0 0-16,1 0 0,-1 0 15,0 0-15,0 0 0,1 14 16,-1-14-16,0 13 0,0 0 16,1 0-16,-14 1 15,13-1-15,-13 0 0,13 0 0,-13 0 16,0 14-16,0-14 0,0 14 0,-13-1 15,13 1-15,-13-1 0,-14 0 16,14 1-16</inkml:trace>
  <inkml:trace contextRef="#ctx0" brushRef="#br0" timeOffset="5091.28">18812 2408 0,'-13'0'16,"-1"0"-1,1 13 1,13 0-1,13 0 1,1-13-16,-14 14 16,13-14-16,0 0 0,0 13 0,1-13 15,-1 0-15,0 13 0,0 0 16,0 1-16,1-14 0,-1 13 0,-13 0 16,13 0-16,0 0 0,-13 1 0,14-1 15,-1 0-15,0 0 0,-13 1 16,13-14-16,1 0 0,-1 13 15,0-13-15,0 0 16,0 0-16,14-13 0</inkml:trace>
  <inkml:trace contextRef="#ctx0" brushRef="#br0" timeOffset="5492.89">19473 2487 0,'0'-13'15,"0"0"1,-13-1 0,13 1-1,0 0-15,0 0 0,0-1 16,0 1-1,27 26 17,-14 1-32,0-14 15,0 0 1,0 13-16,1-13 0,-1 0 16,0 0-16,0 0 0,1 0 15,-1 0-15,13 0 16,-12 0-16,-14 13 15,13-13-15,0 13 0,-13 1 16,0-1 0,0 0-1</inkml:trace>
  <inkml:trace contextRef="#ctx0" brushRef="#br0" timeOffset="5987.87">18957 3109 0,'0'0'16,"-13"26"-1,0-12-15,13 12 0,0-13 16,0 14-16,-13-14 0,13 13 0,0 1 15,-14-1-15,14 1 0,0-14 0,0 13 16,0-12-16,0-1 0,0 0 16,0 0-16,0 1 0,14-14 15</inkml:trace>
  <inkml:trace contextRef="#ctx0" brushRef="#br0" timeOffset="6185.08">19076 3241 0,'14'-40'0,"-28"80"0,28-106 0,-14 53 16,13 0-16,-13-1 15,0 1-15,13 26 32,-13 1-32,0-1 15,0 0-15,0 0 0,0 0 0,0 1 16,0 12-16,0-13 0,0 1 0,0 12 16,0-13-16,0 1 0,0 12 15,0-13-15,0 0 0,-13 1 0,13-1 16</inkml:trace>
  <inkml:trace contextRef="#ctx0" brushRef="#br0" timeOffset="6358.82">18957 3387 0,'0'-14'0,"0"28"0,0-41 0,0 14 16,14 13-1,-1 0-15,0-13 0,0 0 0,14 13 16,-14-14-16,13 1 0,1 13 0,-1-13 15,1 13-15,-1-13 0,1 13 0,-14 0 16,13-14-16,1 14 0,-14 0 16,0 0-16</inkml:trace>
  <inkml:trace contextRef="#ctx0" brushRef="#br0" timeOffset="6728.85">19447 3307 0,'-13'0'0,"13"-13"0,-14-13 31,14 12-31,0 1 0,14 0 16,-14 0-16,0-1 16,13 41 30,0-27-30,0 0-16,1-13 16,-1 13-16,0 0 0,0 0 15,0-14-15,1 14 0,-1 0 0,0 0 16,0 0-16,-13 14 0,14-14 16,-1 0-16,0 13 0,-13 0 15,13-13-15,-13 13 0,0 1 0,0-1 16,0 0-16,0 0 15,0 1-15,0-1 0,0 0 0,0 0 16,0 0-16,0 1 16</inkml:trace>
  <inkml:trace contextRef="#ctx0" brushRef="#br0" timeOffset="7878.87">19182 3956 0,'-13'-27'16,"13"14"-16,-13 13 0,13-13 0,-13 39 31,13-13-15,0 14-16,0-1 0,0 14 15,0 0-15,13-1 0,-13 1 0,0 0 16,0-1-16,13 1 0,-13-14 0,0 1 15,0-1-15,13 1 0,-13-1 16,0-12-16,0 12 0,0-13 0,0 0 16,0 1-16,0-1 0,0 0 0,-13-13 15,13 13-15</inkml:trace>
  <inkml:trace contextRef="#ctx0" brushRef="#br0" timeOffset="8043.98">18997 4419 0,'53'-40'31,"-40"27"-31,0 13 0,1-14 16,-1 14-16,13 0 0,-12-13 16,12 13-16,-13-13 0,14 13 0,-14-13 15,13 13-15</inkml:trace>
  <inkml:trace contextRef="#ctx0" brushRef="#br0" timeOffset="8648.83">19381 4141 0,'53'-13'31,"-40"-1"-31,13 1 15,1 0-15,-1 0 0,1-14 16,-14 14-16,13-14 0,-12 14 0,-1 0 16,0 0-16,0 0 0,1-1 0,-14 1 15,13 13-15,-13-13 0,-13 0 16,-1 26 0,1 0-16,0 14 15,13-14-15,-13 26 0,-14-12 16,27 13-16,-13-1 0,0-12 0,13 12 15,-14-12-15,14-1 0,0 1 16,0-14-16,0 13 0,0-12 16,0 12-16,0-13 0,0 1 0,14-1 15,-14 0-15,13 0 0,0-13 16,0 0 0</inkml:trace>
  <inkml:trace contextRef="#ctx0" brushRef="#br0" timeOffset="9550.83">20254 3982 0,'0'0'0,"0"13"16,0 0 0,0 1-16,0-1 0,0 0 0,0 0 15,-13 1-15,13 12 0,0-13 0,0 1 16,0-1-16,13 0 0,-13 0 15,0 0-15,0 1 16,13-41 15,0 14-31,1 0 16,-14 0-16,0-1 0,13 14 16,-13-13-16,13 13 0,0 0 15,0 0 1,1 0-16,-14 13 0,13-13 15,0 14-15,0-14 16,-13 13-16,14-13 0,-1 13 16,0-13-1,0 0-15,1 0 16,-14 13 0,13-13-16,0 0 15,0 0-15,0-13 16,1 13-16,-1 0 15,0-13-15,0 13 0,1 0 0,-1-13 16,0 13-16,0 0 0,-13-14 0,14 14 16,-1 0-1,0-13-15,0 13 16,0-13 0,-13 26 46,14 0-46,-1-13-1,0-13 1,0 13-16,1 0 0,-1-13 16,0 13-16,0-13 15,14 13 1,-14 0-1,-13 13 1,13-13-16,-13 13 0,13-13 16,1 13-1,-1-13-15,0 0 16,0 0-16,1 0 0,-1 0 16,13 0-16,-13 0 15</inkml:trace>
  <inkml:trace contextRef="#ctx0" brushRef="#br0" timeOffset="14852.05">3903 2805 0,'26'13'0,"-13"-13"0,14 0 0,-1 13 0,27-13 15,-13 13-15,13-13 0,26 0 16,-13 14-16,14-14 0,-1 13 0,0-13 0,14 0 16,0 0-16,-14 13 15,14-13-15,-1 0 0,1 0 0,-14 0 16,1 0-16,-28 0 0,15 0 0,-14 13 16,-14-26-16,1 26 0,0-13 0,-14 0 15,0 0-15,1 0 0,-14 0 16,0 0-16,1 0 0,-1 0 0,0 0 15,0 0-15,1 0 0,-1 0 16,0 0 0,0 0-16,0 0 15,1 0 1,-28 0 93,1-13-93,26 13 46,1 0-62,12 0 0,-13-13 16,14 13-16,13 0 0,-1 0 16,14 0-16,0-13 0,13 13 0,0 0 15,-13 0-15,13-14 0,-13 14 0,13 0 0,-13 0 16,14 0-16,-15 0 0,1 0 16,14 0-16,-15 0 0,28 0 0,-14 0 15,0 0-15,-13 0 0,13 14 0,-13-14 16,66 0-1,-66 13-15,0-13 0,-13 0 0,13 0 16,-14 13-16,-12-13 0,12 0 0,-12 0 16,-1 0-16,14 0 0,-14 0 15,-12 13-15,12-13 0,1 0 0,-1 0 16,-13 0-16,1 0 0,12 0 0,-13 0 16,0 0-16,1 0 0,-1 0 15,0 0-15,0 0 0,1 0 16,-1 0-16,0 0 15,0 0 1,1 0-16,-14-13 94,-14 13-79,14-13-15,-13 13 0,0-13 16,-14-1-16,14 14 0</inkml:trace>
  <inkml:trace contextRef="#ctx0" brushRef="#br0" timeOffset="15699.98">4273 2064 0,'-13'0'16,"52"0"0,-12 0-1,-1 0-15,14 0 0,13 0 0,13 0 16,-13 0-16,26 0 0,1 0 16,12 0-16,1 0 0,0 0 0,12 0 15,1 0-15,0-13 0,40 13 0,-14 0 16,13 0-16,1-14 0,-1 14 15,1 0-15,-14 0 0,14 0 16,-1 0-16,-12 0 0,12 0 0,-13 0 16,-26 0-16,-13 0 0,13 0 15,-14 14-15,-12-14 0,12 0 0,-12 13 16,-14-13-16,-13 0 0,0 0 0,-14 0 16,1 0-16,-13 0 0,-14 0 15,13 13-15,-13-13 0,1 0 16</inkml:trace>
  <inkml:trace contextRef="#ctx0" brushRef="#br0" timeOffset="16223.5">6376 1958 0,'0'0'16,"0"-27"15,0 14-31,0 0 0,14 0 16,-14-14-16,0 14 0,13-13 15,0-1-15,-13 14 0,13-14 0,-13 1 16,14 13-16,-1-14 0,-13 14 0,13 0 15,-13 0-15,13-1 16,1 1-16,-1 13 16,0 0-16,0 13 0,0 1 15,1 12-15,-14-13 16,13 14-16,0-14 0,0 13 0,-13 1 16,14-14-16,-1 14 0,0-14 0,-13 13 15,13-12-15,-13-1 0,14 0 16,-14 0-16,0 0 0,13 1 0,-13-1 15,0 0-15,-13 0 16</inkml:trace>
  <inkml:trace contextRef="#ctx0" brushRef="#br0" timeOffset="16396.2">6363 1918 0,'27'-26'31,"-14"26"-31,0-13 16,14 13-16,-14 0 0,13-14 0,1 14 15,-14-13-15,13 13 0,14-13 0,-27 13 16,14-13-16,-1 13 0,1-14 0</inkml:trace>
  <inkml:trace contextRef="#ctx0" brushRef="#br0" timeOffset="16841.09">6932 1852 0,'0'-40'16,"0"27"-16,0 0 0,0 0 16,0-1-16,0 1 0,0 0 0,0 0 15,0 0-15,0-1 16,0 54 15,0-27-31,13 0 16,-13 1-16,0-1 0,14 0 15,-1-13-15,0 13 0,0-13 16,0 0-16,14 0 0,-14 0 16,0 0-16,1 0 0,-1 0 15,0 0-15,0 0 0,1 14 0,-1-14 16,0 13-16,0 0 0,0-13 0,1 13 16,-14 1-16,13-1 0,0 0 15,-13 0-15,13 0 0,-13 1 16,14-1-16,-14 0 0,0 0 15</inkml:trace>
  <inkml:trace contextRef="#ctx0" brushRef="#br0" timeOffset="17192.37">5913 1627 0,'0'0'0,"14"53"0,-14-13 16,0-14-16,0 14 0,0 0 15,0-1-15,0 1 0,0 0 0,0-1 16,0-12-16,13-1 0,-13 1 0,0-1 16,0-13-16,13 14 0,-13-14 15,0 0-15,13 1 0,1 25 16</inkml:trace>
  <inkml:trace contextRef="#ctx0" brushRef="#br0" timeOffset="17724.06">6046 1402 0,'344'-79'0,"-265"52"0,265-25 15,-265 38 1,14 14-16,-14-13 0,1 13 0,-1-13 0,-26 13 16,0 0-16,0 0 0,-13 0 15,-14 0-15,0 0 16,1 0-16,-1 0 0,1 13 0,-14-13 0,14 13 15,-1 1-15,-13-1 0,14 0 0,-1 13 16,-13 1-16,1-1 0,12 1 16,-13-1-16,1 1 0,-1 12 0,13-12 15,-13 13-15,1-14 0,-1 14 0,13-1 16,-12-12-16,-1 13 0,13-14 16,-12 14-16,-1-14 0,0 1 15,13-1-15,-12 1 0,-14-1 0,13-13 16,0 0-16,0 14 0,-13-14 0,14 0 15,-14 1-15,13-1 0,-13 0 16,0 0-16,-13-13 0,13 14 16,-14-1-16,-12 0 0,-14 0 0,1 0 15,-28 1-15,1-1 0,-13 13 16,-14-12-16,-26-1 0,0 13 0,-13-13 16,0 14-16,12-14 0,-12 14 0,13-14 15,-13 13-15,13-12 0,0-1 16,13 13-16,13-13 0,-132 27 15,159-27-15,13 1 16,14-1-16,12-13 0,1 13 0</inkml:trace>
  <inkml:trace contextRef="#ctx0" brushRef="#br0" timeOffset="19615.84">9406 2897 0,'119'27'15,"-66"-27"-15,13 0 16,13 0-16,1 13 0,-1-13 0,27 0 15,0 0-15,26 0 0,14-13 0,-14 13 16,27 0-16,-14 0 0,14-14 16,-14 14-16,160 0 0,-160 0 15,1 0-15,-14 0 0,-26-13 0,0 13 16,-14 0-16,14 0 0,-13 0 16,-14 0-16,1 0 0,-14 0 15,-13-13-15,-14 13 0,1 0 0,-14 0 16,1 0-16,-14 0 0,0 0 0,1 0 15,-1 0-15,-13-13 0,13 13 16,-39-13 0,-1 13-16,14 0 15</inkml:trace>
  <inkml:trace contextRef="#ctx0" brushRef="#br0" timeOffset="20355.95">13904 2884 0,'106'-13'0,"-212"26"0,265-26 0,-93 13 16,13-13-16,14 13 0,-1 0 0,1-14 16,0 14-16,-1 0 0,1-13 15,13 13-15,-14 0 0,1 0 0,-1-13 16,-12 13-16,12 0 0,-12-13 16,-1 13-16,-13 0 0,14 0 0,-27-14 15,-1 14-15,1 0 0,-13 0 0,0 0 16,-14 0-16,1 0 0,-1 0 15,-13 0-15,1 0 0,-54-13 32</inkml:trace>
  <inkml:trace contextRef="#ctx0" brushRef="#br0" timeOffset="20656.93">14023 3043 0,'542'-40'31,"-449"27"-31,0 13 16,-1 0-16,-13 0 0,14 0 0,-14 0 15,1 0-15,-1 0 0,1 0 16,-27 0-16,13 0 0,-13 0 0,0 13 16,-14-13-16,1 0 0,-14 0 0,1 0 15,-1 0-15,-13 0 0,1 0 16,-1 0-16,0 0 0,0 0 0,1 0 16</inkml:trace>
  <inkml:trace contextRef="#ctx0" brushRef="#br0" timeOffset="25151.02">4987 3863 0,'-26'-13'15,"13"-1"-15,-1 14 0,54-13 32,0 0-32,0 13 0,26-13 15,0 13-15,13 0 0,1 0 0,12 0 16,14 0-16,-13 0 0,12 0 15,15 0-15,-1 0 0,-14 13 16,1-13-16,0 0 0,-13 0 0,-14 0 16,0 13-16,1-13 0,-27 0 15,0 0-15,0 13 0,-14-13 0,-26 0 16,14 0-16,-14 14 0</inkml:trace>
  <inkml:trace contextRef="#ctx0" brushRef="#br0" timeOffset="25359.36">4961 3956 0,'0'0'0,"79"13"0,-26-13 0,13 0 15,14 13-15,-1-13 0,14 13 0,-14-13 16,14 0-16,-1 13 0,1-13 0,0 0 15,-14 0-15,0 14 0,-13-28 0,-13 14 16,0 0-16,-13 0 0,-14 0 16,1 0-16,-14 0 0</inkml:trace>
  <inkml:trace contextRef="#ctx0" brushRef="#br0" timeOffset="25929.83">4802 5689 0,'0'13'31,"0"0"-31,0 0 15,0 0-15,13 14 0,-26-14 0,13 14 16,0-1-16,0 1 0,0-1 0,-13-13 16,13 14-16,-13-1 0,13-13 15,0 14-15,-14-14 0,14 0 16,0 14-16,-13-27 0,13 13 0,0 0 16,-13 0-16,13 1 0,13-1 15</inkml:trace>
  <inkml:trace contextRef="#ctx0" brushRef="#br0" timeOffset="26532.25">5080 6019 0,'0'13'31,"0"1"-31,0-1 15,0 0-15,0 0 0,-13 14 16,13-14-16,-13 0 0,13 1 0,-14 12 16,1-13-16,0 0 0,13 1 0,-13-1 15,13 0-15,-14-13 0,14 13 16,-13 1-16</inkml:trace>
  <inkml:trace contextRef="#ctx0" brushRef="#br0" timeOffset="27060.5">5477 5900 0,'26'-13'16,"1"13"0,-27 13-16,13-13 0,0 13 15,-13 1 1,0-1-16,0 0 0,0 0 0,-13 1 16,0-1-16,13 0 0,-13 0 15,-1 0-15,1 1 0,0-14 0,13 13 16,-13 0-16,-1 0 0,14 1 15,0-1 1,14-13 0,-1 0-16,0 0 0,0 0 0,1 0 15,-1 0-15,0 0 0,0 0 0,0 0 16,1 0-16,12 0 16,-13-13-16,1 13 0,12 0 0,-13-14 15,1 14-15,-1-13 0,0 13 0,0-13 16,0 13-16,-13-13 0,14 13 15,-1 0-15,0-14 16,0 28 0,-13-1-1,14 13-15,-28-12 16,14-1-16,0 0 0,0 0 16,0 1-16,0-1 15,-13 0-15,13 0 0,13 0 16</inkml:trace>
  <inkml:trace contextRef="#ctx0" brushRef="#br0" timeOffset="27458.03">6231 5887 0,'13'-13'0,"0"13"16,-26 26 15,13-13-16,0 1 1,0-1-16,13 0 16,-13 0-16,14 1 15,-14-1-15,0 0 16,0 0-16,-14 0 0,14 1 16,-13-1-16,13 0 15,-13-13-15,0 13 0,13 1 16,-14-14-16,14 13 0</inkml:trace>
  <inkml:trace contextRef="#ctx0" brushRef="#br0" timeOffset="27944.4">6628 6059 0,'-13'26'16,"13"-12"-16,-14-1 15,1 0-15,13 0 16,-13 1-16,0-1 0,-1 0 16,14 0-16,-13 0 0,0 1 0,0-1 15</inkml:trace>
  <inkml:trace contextRef="#ctx0" brushRef="#br0" timeOffset="28420.87">7038 5874 0,'0'0'15,"13"-13"-15,0 13 0,-13 26 47,-13-26-47,0 13 0,0 0 0,-1 1 16,14-1-16,-13 0 0,0 0 0,0 1 15,0-1-15,13 0 16,0 0-16,0 0 0,0 1 16,0-1-16,13 0 15,0-13-15,0 13 0,0-13 16,1 0-16,12 0 0,-13 0 15,1 0-15,12 0 0,1-13 0,-14 13 16,0 0-16,13-13 0,-12 13 0,-1-13 16,0-1-16,0 1 0,-13 0 15,14-13-15,-14 12 16,0 1-16,0 0 0,-14 0 0,14-1 16,0 1-16,-13 13 0,13-13 15,0 0-15,-13 13 0,0 0 16,-1 0-16,14 13 0,-13 0 15,0 0-15,0 1 0,13 12 16,-13 1-16,13-1 0,-14 14 16,14-14-16,-13 1 0,13-1 0,0 14 0,0-27 15,0 13-15,13 1 0,-13-1 0,0-12 16,0 12-16,0-13 16,14 14-16,-14-14 0,0 0 0,0 0 15,0 1-15,0-1 0</inkml:trace>
  <inkml:trace contextRef="#ctx0" brushRef="#br0" timeOffset="28976.77">6496 7805 0,'0'0'0,"0"-13"0,0 0 16,13 52 15,-13-25-31,0-1 0,0 13 16,0-12-16,0 12 0,0 1 0,0-1 15,-13 0-15,13 1 0,0-1 0,0-12 16,0 12-16,-14-13 0,14 14 15,0-14-15,0 0 0,0 0 0,0 1 16,0-1-16</inkml:trace>
  <inkml:trace contextRef="#ctx0" brushRef="#br0" timeOffset="29208.79">6919 7805 0,'13'53'31,"-13"-40"-31,0 14 0,0-14 0,0 14 16,0-14-16,0 13 0,0-13 0,-13 14 15,13-14-15,0 14 0,13-14 16,-13 0-16,0 0 0,0 0 0,0 1 15,0-1-15,0 0 0</inkml:trace>
  <inkml:trace contextRef="#ctx0" brushRef="#br0" timeOffset="29389.76">6813 8030 0,'26'13'0,"-12"-13"16,-1 0-16,0 0 0,14 0 15,-1 0-15,1 0 0,-1 0 16,14 0-16,-1 0 0</inkml:trace>
  <inkml:trace contextRef="#ctx0" brushRef="#br0" timeOffset="29972.3">7541 7898 0,'0'-13'0,"13"13"16,13 26-1,-12-26-15,-14 13 0,0 1 16,13-1-16,-13 0 0,-13 0 0,13 0 16,0 1-16,-14-1 0,1 13 0,0-12 15,13-1-15,-13 0 0,-1 0 16,14 0-16,-13 1 0,13-1 15,-13-13-15,13 13 16,0 0-16,13-13 0,-13 14 16,13-14-1,1 0-15,-1 0 0,13 13 16,-12-13-16,-1 0 0,13 0 0,-13-13 16,14 13-16,-1 0 0,1-14 15,13 1-15,-1 0 0,1 13 0,-14-13 16,1-14-16,13 14 0,-27 0 0,13 0 15,-13-1-15,1 1 0,-1 0 16,0 0-16,0-1 0,1 1 16,-14 0-16,13 13 0,-13 26 31,-13-26-15,13 14-16,0-1 0,0 0 15,0 0-15,0 1 0,0-1 0,0 13 16,0-13-16,0 1 0,0-1 15,13 0-15,-13 0 0,0 1 16,0-1-16</inkml:trace>
  <inkml:trace contextRef="#ctx0" brushRef="#br0" timeOffset="30138.95">7885 8109 0,'13'-13'0,"0"13"0,0 0 16,1 0-16,157-13 31,-144 13-31</inkml:trace>
  <inkml:trace contextRef="#ctx0" brushRef="#br0" timeOffset="31456.85">8387 8004 0,'-13'0'62,"26"-14"1,14 14-48,-14 0 1,0 0-16,0 0 0,1 0 16,-1 0-16,-13 14 0,13-14 0,0 0 15,-13 13-15,14-13 16,-14 13-16,0 0 15,13-13-15,-13 14 16,13-1 0,-13 0-16,0 0 0,13 0 15,-26 1 1,13-1-16,0 0 16,-13-13-16,13 13 0,-13-13 15,13 14-15,-14-14 0,1 0 16,0 13-16,0-13 0</inkml:trace>
  <inkml:trace contextRef="#ctx0" brushRef="#br0" timeOffset="31665.14">8930 7964 0,'13'13'16,"-13"0"-16,0 1 16,0-1-16,0 0 0,0 0 15,0 1-15,0-1 0,0 0 16,0 0-16,0 0 16,0 1-16,0-1 0</inkml:trace>
  <inkml:trace contextRef="#ctx0" brushRef="#br0" timeOffset="31851.19">8811 8070 0,'39'-13'31,"-25"13"-31,-1 0 0,0 0 15,13 0-15,-12 0 0,-1 0 16,0 0-16,14 0 0,-14 0 0,13-14 16</inkml:trace>
  <inkml:trace contextRef="#ctx0" brushRef="#br0" timeOffset="32253.95">9631 7951 0,'13'-13'16,"-26"39"31,0-26-32,13 13-15,-14 0 0,1-13 0,13 14 16,-13-14-16,0 13 0,-1 0 0,1-13 16,13 13-16,-13 1 0,0-14 0,13 13 15,-13-13-15,13 13 0,-14-13 16,14 13-16,-13 0 16,26 1-16,-13-1 15,14-13-15,-1 13 16,0-13-16,0 0 0,0 0 15,14 13-15,-14-13 0,0 0 16,1-13-16,25 13 16,-25-13-16,-1 13 0,0 0 15,0-27-15</inkml:trace>
  <inkml:trace contextRef="#ctx0" brushRef="#br0" timeOffset="32420.03">9710 7938 0,'-79'132'32,"79"-106"-32,-13 1 0,13-1 15,-14 1-15,14-1 0,0 1 0,0-1 16,0-13-16,0 14 0,0-14 0,0 13 16,0-12-16,0-1 15,0 0-15</inkml:trace>
  <inkml:trace contextRef="#ctx0" brushRef="#br0" timeOffset="32848.91">6641 8599 0,'0'0'15,"132"13"-15,-39-13 0,105 0 16,-65 13-16,-1-13 0,13 0 0,14 14 16,-13-14-16,-1 0 0,14 0 0,0 0 15,0 0-15,-1 0 0,1 0 16,0 0-16,-14 0 0,1 13 0,-14-13 16,-26 0-16,0 0 0,0 0 0,-14 0 15,-12 13-15,-1-13 0,-26 0 16,0 0-16,-14 0 0,-12 13 0,-14-13 15,-39 14 1,-1-14-16</inkml:trace>
  <inkml:trace contextRef="#ctx0" brushRef="#br0" timeOffset="33385.8">8229 9115 0,'0'0'16,"-14"13"-1,1 0 1,0 1-16,0-14 0,-14 13 0,14 0 15,-14 0-15,1 14 0,0-14 16,12 0-16,-12-13 0,-14 27 16,27-14-16,-13 0 0,12 0 15,1-13-15,13 14 0,-13-1 0,0 0 16,26 0 0,-13 0-16,13-13 15,-13 14-15,13-14 0,1 0 0,12 13 0,-13-13 16,14 0-16,-1 0 0,1 0 0,-14 0 15,13 0-15,14-13 0,-14 13 16,1-14-16,-1 1 0,1 0 0,-1 13 16,-13-13-16,1 0 0,12 13 0,-13-14 15,-13 1-15,14 0 0,-1 0 16</inkml:trace>
  <inkml:trace contextRef="#ctx0" brushRef="#br0" timeOffset="33587">8215 9088 0,'-26'27'0,"13"-1"16,-1-12-16,-65 237 15,66-211 1,0 13-16,13-14 0,-14 1 16,1 0-16,0-1 0,13 1 15,-13-14-15,13 14 0,-14-13 0,14-14 0,0 13 16,0-13-16,0 1 0,0-1 15,14 0-15</inkml:trace>
  <inkml:trace contextRef="#ctx0" brushRef="#br0" timeOffset="34027.87">10292 8612 0,'40'-13'0,"53"0"16,-80 13-16,27 0 15,-14 0-15,0 0 0,1-14 0,-1 14 16,-12 0-16,-1 0 0,13 0 16,-26 14-16</inkml:trace>
  <inkml:trace contextRef="#ctx0" brushRef="#br0" timeOffset="34208.01">10345 8771 0,'0'0'0,"27"13"0,-14-13 16,0 0-16,0 0 0,1 0 0,12-13 16,1 13-16,-1 0 15,14 0-15,-14-13 0,1 13 0,12 0 0,-12 0 16,-14-14-16,13 14 0,-26-13 0,14 13 15,-1 0-15,-13-13 16</inkml:trace>
  <inkml:trace contextRef="#ctx0" brushRef="#br0" timeOffset="35896.04">7514 7752 0,'53'0'0,"-26"0"0,12 0 0,1 14 15,13-14-15,0 0 0,0 0 16,0 13-16,0-13 0,-14 0 0,14 13 16,-13-13-16,-14 0 0,1 0 0,-1 0 15,1 0-15,-14 0 0,0 0 16,0 0-16</inkml:trace>
  <inkml:trace contextRef="#ctx0" brushRef="#br0" timeOffset="36204.32">6350 7594 0,'26'0'0,"1"0"15,-1 0-15</inkml:trace>
  <inkml:trace contextRef="#ctx0" brushRef="#br0" timeOffset="36611.94">9499 7779 0,'26'0'16,"-13"0"-16,0 0 0,14 0 0,-14 13 16,27-13-16,-14 0 0</inkml:trace>
  <inkml:trace contextRef="#ctx0" brushRef="#br0" timeOffset="37219.68">12171 8229 0,'0'0'0,"0"26"15,0-13-15,-13 0 16,13 14-16,-14-14 0,-39 238 187</inkml:trace>
  <inkml:trace contextRef="#ctx0" brushRef="#br0" timeOffset="37399.87">12356 8295 0,'-40'211'15,"54"-197"-15,-1-1 0,0 0 0,-13-264 0,13 502 16,14-238-16,-14-13 0,13 0 0,-12 0 16,12 0-16,-13 0 0,1-13 15,12 0-15,-13 13 0,0-27 0,-13 14 16,14 0-16,-14-14 0,0 14 0,0-13 15,0 13-15,-14-14 0,14 1 16,-13 12-16,13 1 0,-13 0 0,13 0 16,-13-1-16,0 14 0,13-13 0,-14 26 15,1-13 1,0 14-16,13-1 0</inkml:trace>
  <inkml:trace contextRef="#ctx0" brushRef="#br0" timeOffset="37855.18">11919 8930 0,'40'-14'0,"-80"28"0,107-28 0,-41 14 16,-13 0-16,14 0 16,12-13-16,-12 13 0,13 0 0,-1 0 15,1 0-15,0 0 0,-1 0 0,14 0 16,-26 0-16,12 0 0,-12 0 15,13 0-15,-27 0 0,13 0 0,-13 0 16,1 0-16,-1 0 0,0 13 16</inkml:trace>
  <inkml:trace contextRef="#ctx0" brushRef="#br0" timeOffset="38354.94">12250 9128 0,'0'13'0,"-39"14"16,12-14-1,1 0-15,12-13 0,-12 27 0,-1-14 16,-12 13-16,26-12 0,-14-1 0,14 0 15,0 0-15,-1 1 0,1-1 16,13 0-16,-13-13 0,13 13 16,-13 0-16,13 1 15,13-1-15,0 0 0,0-13 16,1 0-16,12 13 0,-13-13 16,1 0-16,12 0 0,-13 0 0,14-13 15,-14 13-15,13-13 0,1 13 0,-1-13 16,-12-1-16,-1 1 0,13 0 15,-13 0-15,1 0 0,-1-1 0,0 1 16,0 0-16,-13 0 0,14-1 0,-1 1 16,-13 0-1,-13 53 17,-1-27-32,14 0 0,-13 14 0,0 12 15,0-12-15,-1 12 0,1 1 16,0-13-16,0-1 0,0 0 0,13-12 15,-14 12-15,14-13 0,0 1 0,0-1 16,14 0-16,-14 0 0,13-13 16</inkml:trace>
  <inkml:trace contextRef="#ctx0" brushRef="#br0" timeOffset="38623.08">13123 8824 0,'66'13'16,"-39"-13"-16,-14 0 16,14 13-16,-1-13 0,-13 0 15,14 0-15,-14 0 0</inkml:trace>
  <inkml:trace contextRef="#ctx0" brushRef="#br0" timeOffset="38817.24">13137 8983 0,'-14'13'31,"41"-13"-15,-14 0-16,0 0 0,0 0 16,1 0-16,-1 0 0,13 0 15,1 0-15,-1 0 0,-12 0 0,12-13 16,14 13-16,-14 0 0,1-14 0</inkml:trace>
  <inkml:trace contextRef="#ctx0" brushRef="#br0" timeOffset="39187.15">13996 8612 0,'14'-13'16,"25"26"-1,-25-13-15,-1 13 0,0-13 16,-13 14-16,13-1 0,-13 0 0,0 0 16,14 1-16,-28-1 0,14 0 0,-13 13 15,13-12-15,-13 12 16,0-13-16,-1 14 0,1-14 0,0 0 0,0 1 15,13-1-15,-14 0 16,1-13-16,13 13 16,0 0-16,0 1 15,13-14 1,1 0-16,-1 0 0,-13 13 16,13-13-16,0 0 0,1 0 0,-1-13 15,0 13-15,14 0 0,-14 0 0,0-14 16,13 14-16,-12-13 0</inkml:trace>
  <inkml:trace contextRef="#ctx0" brushRef="#br0" timeOffset="39419.24">14499 8705 0,'-13'0'32</inkml:trace>
  <inkml:trace contextRef="#ctx0" brushRef="#br0" timeOffset="39738.83">14817 8559 0,'-27'0'0,"-39"13"31,66 1-31,-13-14 16,13 13-16,13 0 0,-13 0 15,0 1-15,13-1 0,1 0 0,-14 0 16,13 1-16,-13-1 0,0 0 16,13 0-16,-13 0 0,0 1 15,-13-1-15,0 0 0,-1 0 16,1-13-16,0 14 0,-14-1 15,14 0-15,-13 0 0,-1 1 0,1 12 16,-1-13-16,1 0 0,-1 14 0,1-14 16,-1 0-16,14 14 0</inkml:trace>
  <inkml:trace contextRef="#ctx0" brushRef="#br0" timeOffset="40013.24">13891 9208 0,'0'0'0,"39"-14"0,-12 14 0,-1 0 0,-13 0 15,14 0-15,-1-13 0,1 13 16,13 0-16,-14 0 0,0-13 0,14 13 16,-13 0-16,-1 0 0,1-13 0,-14 13 15,13 0-15,-13 0 0,1 0 16</inkml:trace>
  <inkml:trace contextRef="#ctx0" brushRef="#br0" timeOffset="40263.98">13732 9313 0,'26'0'0,"67"0"31,-53 0-31,-14 0 0,14 0 0,-14 0 0,1 0 16,12 0-16,-12 0 0,-1 0 15,-12 0-15,12 0 0,-13 0 0,0 0 16,1-13-16,-1 13 0,0 0 0,0 0 16,1-13-1</inkml:trace>
  <inkml:trace contextRef="#ctx0" brushRef="#br0" timeOffset="43987.01">6244 11258 0,'0'-13'16,"-13"39"-1,13-13 1,0 14-16,-13-14 16,13 14-16,-14-1 0,14 1 0,-13 39 15,0-40-15,0 1 0,0-1 16,13 1-16,-14-1 0,14-13 15,-13 0-15,0 14 0,13-14 0,0 0 16,-13 1-16</inkml:trace>
  <inkml:trace contextRef="#ctx0" brushRef="#br0" timeOffset="44487.53">6641 11337 0,'-13'14'31,"0"-14"-31,13 13 0,-14 0 16,1 0-16,13 1 0,-13-1 0,0 0 15,13 0-15,-14 0 0,1 1 16,0 12-16,0-13 0,13 1 0,-13-1 15,-1 0-15,1 0 0,0 1 0,13-1 16,-13-13-16,13 13 0,-14 0 16,1-13-16</inkml:trace>
  <inkml:trace contextRef="#ctx0" brushRef="#br0" timeOffset="44719.44">6350 11456 0,'0'0'0,"13"0"16,0 14-1,1-1-15,-1-13 0,0 13 16,0-13-16,1 13 0,-1 1 16,0-1-16,0-13 0,1 13 0,-1 0 15,0 1-15,0-14 0,-13 13 16,13-13-16,1 13 0,-1-13 15,-13 13-15,13-13 0,0 0 16</inkml:trace>
  <inkml:trace contextRef="#ctx0" brushRef="#br0" timeOffset="45003.16">6945 11271 0,'0'53'31,"-13"-40"-31,13 1 15,0-1-15,0 13 0,0-12 16,-13 12-16,13-13 0,0 14 0,-13-14 16,13 0-16,0 14 0,0-14 0,-14 0 15,14 0-15,0 1 0</inkml:trace>
  <inkml:trace contextRef="#ctx0" brushRef="#br0" timeOffset="45289">7263 11377 0,'-27'27'31,"14"-1"-31,-13 0 16,-1-12-16,14 25 0,-13-12 0,-1-1 15,1 1-15,-14 12 0,27-12 16,-40 39-16,0-13 0,26-27 16,14 1-16,-13-1 0,12-12 15,1-1-15,0 0 0,13 0 16,-13 0-16,0-13 0,13 14 0,-14-1 16</inkml:trace>
  <inkml:trace contextRef="#ctx0" brushRef="#br0" timeOffset="45786.97">7263 11880 0,'-53'26'32,"40"-13"-32,-1-13 0,1 14 0,0-14 15,0 13-15,0 0 0,-1 0 16,1-13-16,0 0 0,13 14 16,-13-14-16,-1 13 0,14 0 15,0 0 1,14-13-16,-14 14 15,13-14-15,0 13 0,0-13 0,1 0 16,-1 0-16,13 13 0,1-13 16,-14 0-16,13 0 0,-12 0 0,-1 0 15,13 0-15,-13 0 0,1 0 16,-1 0-16,0 0 0,0-13 0,1 13 16,-1 0-16,0-13 15</inkml:trace>
  <inkml:trace contextRef="#ctx0" brushRef="#br0" timeOffset="46010.23">7422 11906 0,'-27'27'32,"27"-14"-17,0 0-15,-13 0 0,13 14 0,0-14 16,0 0-16,0 14 0,-13-14 0,13 13 15,0-12-15,0 12 0,0-13 0,-14 14 16,14-14-16,0 0 0,0 1 16,14-14-16,-14 13 0,0 0 0,13 0 15</inkml:trace>
  <inkml:trace contextRef="#ctx0" brushRef="#br0" timeOffset="46380.01">8057 11351 0,'0'39'31,"0"-25"-31,0-1 0,0 0 15,0 13-15,0-12 0,0-1 0,0 13 16,0-12-16,0 12 0,0-13 0,0 1 16,0 12-16,0-13 0,13 0 0,-13 1 15,0-1 1</inkml:trace>
  <inkml:trace contextRef="#ctx0" brushRef="#br0" timeOffset="46584.62">7871 11523 0,'0'-14'16,"80"14"0,-67-13-1,13 13-15,1 0 0,-1 0 16,1 0-16,-1 0 0,1 0 0,12-13 15,-12 13-15,-14 0 0,14 0 16</inkml:trace>
  <inkml:trace contextRef="#ctx0" brushRef="#br0" timeOffset="47076.31">8784 11218 0,'0'0'0,"13"0"0,1 0 16,-1 0-16,0 14 15,0-14 1,-13 13-16,14-13 0,-14 13 0,-14 0 16,14 0-16,-13 1 0,13 12 15,-13-13-15,0 1 0,-1-1 16,1 0-16,0 0 0,0 1 0,13-1 15,-14-13-15,1 13 0,0 0 16,13 0-16,-13-13 16,26 14-1,0-14-15,0 0 16,1 0-16,-1 0 0,0 0 16,0 0-16,14 0 0,-14 0 0,14 0 15,-1 0-15,-13 0 0,14-14 0,-1 14 16,-13 0-16,14-13 0,-1 13 15,1-13-15</inkml:trace>
  <inkml:trace contextRef="#ctx0" brushRef="#br0" timeOffset="47274.78">9459 11152 0,'-13'13'31,"-1"1"-31,14-1 0,-13 0 16,13 0-16,-13 1 0,0 12 0,-1-13 16,1 14-16,0-1 0,0 1 0,0-1 15,-1-13-15,1 1 16,0 12-16,13-13 0,-13 0 0,-1-13 16,14 14-16</inkml:trace>
  <inkml:trace contextRef="#ctx0" brushRef="#br0" timeOffset="47479.82">9155 11324 0,'39'0'31,"-25"13"-31,-1-13 0,13 0 0,-13 0 16,14 14-16,-1-14 0,1 13 15,-1-13-15,1 0 0,-1 13 0,1-13 16,-1 13-16,1-13 0,-14 0 0,0 0 16</inkml:trace>
  <inkml:trace contextRef="#ctx0" brushRef="#br0" timeOffset="47767.09">9842 11046 0,'14'40'31,"-14"-27"-31,13 14 0,-13-14 0,0 0 16,0 14-16,0-14 0,0 13 0,0 1 16,0-14-16,0 13 15,0-12-15,0-1 0,0 13 0,0-12 16,0-1-16,13 0 0</inkml:trace>
  <inkml:trace contextRef="#ctx0" brushRef="#br0" timeOffset="48013.09">10253 11232 0,'-40'13'0,"40"0"16,-27 0-16,14 14 0,-13-14 0,-1 27 15,-12-14-15,-1 14 0,13-14 16,-12 14-16,-1 0 0,14-14 0,-14 14 15,0-1-15,14-12 0,-1-1 0,1 1 16,-1-1-16,14-12 0,-13 12 16,26-13-16,-13 0 0,-1 1 0,14-1 15,-13-13-15,13 13 16</inkml:trace>
  <inkml:trace contextRef="#ctx0" brushRef="#br0" timeOffset="48464.99">10081 11734 0,'0'0'0,"-27"14"31,14-14-15,0 13-16,-1-13 0,1 13 0,0-13 15,0 13-15,0 0 0,-14-13 0,14 14 16,13-1-16,-13-13 0,-1 13 15,1-13-15,13 13 0,-13-13 16,13 14-16,0-1 16,13-13-1,-13 13-15,13-13 0,1 0 0,-1 0 16,13 13-16,1-13 0,-14 0 16,0 0-16,14 0 0,-14 0 0,13 0 15,-12 0-15,-1-13 0,0 13 16,14 0-16,-14 0 0,0 0 15,0-13-15,0 13 16</inkml:trace>
  <inkml:trace contextRef="#ctx0" brushRef="#br0" timeOffset="48691.87">10160 11761 0,'-13'0'0,"13"13"16,-27 66 0,14-52-1,13-14-15,-13 13 0,13 1 0,-13-14 16,13 14-16,-14-14 0,14 13 16,0-12-16,-13 12 0,13-13 0,0 0 15,0 1-15,0-1 0,0 0 16</inkml:trace>
  <inkml:trace contextRef="#ctx0" brushRef="#br0" timeOffset="50215.92">10941 11152 0,'-40'27'0,"27"-14"0,-1 13 15,1-12-15,0 12 0,0-13 16,-1 14-16,1-1 0,0-13 0,0 14 15,-14-1-15,14 1 0,0-14 0,0 0 16</inkml:trace>
  <inkml:trace contextRef="#ctx0" brushRef="#br0" timeOffset="50432.06">10663 11258 0,'13'26'31,"0"-12"-31,0-1 0,1 0 0,-1 0 16,13-13-16,-12 14 0,12-1 16,-13 0-16,14 0 0,-1-13 15,-13 14-15,14-14 0,-1 13 0,1-13 16,-1 0-16</inkml:trace>
  <inkml:trace contextRef="#ctx0" brushRef="#br0" timeOffset="50942.03">11655 11007 0,'0'-14'0,"13"14"16,-13 27 0,0-14-1,0 0-15,0 1 0,0-1 16,0 13-16,0-13 0,0 14 0,0-1 16,0-12-16,0 12 0,0-13 0,0 14 15,0-14-15,0 0 0,0 14 16,0-14-16,0 0 0</inkml:trace>
  <inkml:trace contextRef="#ctx0" brushRef="#br0" timeOffset="51191.94">11456 11417 0,'27'0'16,"-27"-13"-16,13 13 16,0 0-16,1 0 0,12 0 15,1 0-15,-1-14 0,0 14 0,1 0 16,-1-13-16,1 13 0,-1 0 16,1 0-16,-1-13 0,1 13 0,-1 0 15,-13 0-15,14 0 0,-1 0 16,-13 0-16</inkml:trace>
  <inkml:trace contextRef="#ctx0" brushRef="#br0" timeOffset="52706.97">10795 11020 0,'0'-13'16,"-13"39"-1,13-13 1,0 1-16,0 12 0,0 0 0,0 1 16,0 13-16,-13-1 0,13 1 0,0 0 15,0-1-15,0 1 0,0-13 16,0-1-16,0 0 0,0 1 0,0-1 16,0 1-16,0-14 0,0 14 0,0-14 15,0 0-15,0 0 0,0 0 16,0 1-16,0-1 15</inkml:trace>
  <inkml:trace contextRef="#ctx0" brushRef="#br0" timeOffset="52959.81">10478 11430 0,'-14'-13'16,"28"0"0,-1 13-16,0-14 0,13 14 0,1 0 15,-1-13-15,1 13 0,-1 0 0,14-13 16,0 13-16,-14-13 0,14 13 16,-14 0-16,1-14 0,12 14 0,-12 0 15,-14 0-15,14-13 0,-1 13 16,0 0-16,-12 0 0,-1 0 15,13 0-15,-12 0 0,-1 0 0,13 0 16</inkml:trace>
  <inkml:trace contextRef="#ctx0" brushRef="#br0" timeOffset="54229.2">11179 11245 0,'26'-13'63,"-13"13"-48,1 0 1,-14 13-16,0 0 31,0 0-31,0 0 31,13 1-15,-13-1-16,13-13 0,-13 13 16,13 0-16,0 1 15,-13-1-15,0 0 16,0 0-16,-13 1 16,13-1-16,-13-13 0,13 13 15,-13 0-15,0-13 0,-1 13 0,1-13 16,0 14-16,0-14 15,-1 0-15</inkml:trace>
  <inkml:trace contextRef="#ctx0" brushRef="#br0" timeOffset="54452.28">11536 11205 0,'-13'27'15,"13"-14"1,-14 0-16,1 0 15,13 0-15</inkml:trace>
  <inkml:trace contextRef="#ctx0" brushRef="#br0" timeOffset="54619.98">11430 11271 0,'26'13'47,"-12"-13"-47,-1 14 0,0-14 16,0 13-16,1-13 0,-1 13 0,13-13 15,-12 13-15</inkml:trace>
  <inkml:trace contextRef="#ctx0" brushRef="#br0" timeOffset="55075">11721 11721 0,'-26'27'16,"12"-14"-1,1 0-15,0 0 0,13 0 16,-13 1-16,-1-1 0,14 0 0,-13-13 15,13 13-15,-13 1 0,13-1 16,-13 0-16,13 0 16,13 0-16,0 1 15,0-14-15,1 13 16,12-13-16,-13 0 0,1 0 16,-1 0-16,0 0 0,0-13 0,1 13 15,-1 0-15,0-14 0,0 14 0,0-13 16,1 13-16,-1-13 0,-13 0 15,13 0-15</inkml:trace>
  <inkml:trace contextRef="#ctx0" brushRef="#br0" timeOffset="55247.21">11867 11761 0,'0'-27'0,"0"67"0,0-93 0,0 93 0,0-93 15,-14 53-15,14-13 16,-13 26 0,0 0-16,13 0 15,0 1-15,0-1 0,-13 0 0,13 0 16,0 0-16,0 1 0,0 12 0,-14-13 15,14 1-15,0 12 0,0-13 16,0 0-16,0 1 0,14-1 0,-14 0 16,0 0-16,13 1 0,0-1 15</inkml:trace>
  <inkml:trace contextRef="#ctx0" brushRef="#br0" timeOffset="55591.16">12634 11152 0,'0'13'0,"0"1"0,-13-1 16,13 0-16,0 14 0,0-14 0,0 0 15,0 13-15,0-12 0,0 12 16,0-13-16,0 1 0,0 12 0,0-13 15,0 1-15,0-1 0,0 0 16,0 0-16</inkml:trace>
  <inkml:trace contextRef="#ctx0" brushRef="#br0" timeOffset="55787.31">12396 11298 0,'0'0'0,"26"0"16,-13 0-1,14 0-15,-14-14 0,14 14 16,39 0-16,-40-13 16,1 13-16,12 0 0,-12 0 0,-1-13 15</inkml:trace>
  <inkml:trace contextRef="#ctx0" brushRef="#br0" timeOffset="56204.5">13467 11033 0,'-26'13'0,"-14"14"31,27-14-31,0-13 0,13 13 0,-14 0 15,1-13-15,13 14 0,-13-14 16,13 13-16,-13-13 16,26 13-1,-13 0-15,13-13 0,0 0 16,1 0-16,-1 0 0,0 0 0,0 14 16,1-14-16,12 0 0,-13-14 15,14 14-15,-14 0 0,0 0 0,0 0 16,14 0-16,-14 0 0,0-13 0,1 13 15,-1 0-15</inkml:trace>
  <inkml:trace contextRef="#ctx0" brushRef="#br0" timeOffset="56428.95">13560 10888 0,'-40'53'31,"40"-40"-31,0 0 0,0 13 16,-13-12-16,13 12 0,0 1 0,0-1 15,-13 0-15,13 1 0,0-1 16,0-12-16,-13 12 0,13-13 16,0 14-16,0-14 0,0 0 0,0 0 0,0 1 15,13-1 1</inkml:trace>
  <inkml:trace contextRef="#ctx0" brushRef="#br0" timeOffset="56656.91">14354 10954 0,'-14'13'0,"1"0"0,0 0 16,0 1-16,0 12 0,-1-13 15,1 1-15,0-1 0,-14 13 0,14-13 16,0 14-16,0-14 16,-1 0-16,1 1 0,13-1 0</inkml:trace>
  <inkml:trace contextRef="#ctx0" brushRef="#br0" timeOffset="56843.33">14155 11007 0,'13'0'0,"14"39"31,-14-39-31,0 14 0,1-1 0,-1-13 15,0 13-15,0 0 0,1-13 16,-1 13-16,0-13 0</inkml:trace>
  <inkml:trace contextRef="#ctx0" brushRef="#br0" timeOffset="57116.94">14698 10663 0,'-14'66'31,"14"-40"-31,0-12 0,0 12 0,-13 0 0,13 14 16,0-13-16,-13-1 0,0 14 15,13-14-15,-14 1 0,14-1 16,-13-13-16,13 14 0,-13-1 0,13-13 16,0 1-16,0-1 0</inkml:trace>
  <inkml:trace contextRef="#ctx0" brushRef="#br0" timeOffset="57367.27">14856 10927 0,'-79'93'32,"53"-67"-32,-1 14 0,1 0 0,-14-1 15,13-12-15,-12 13 0,12-1 16,1-12-16,-1-1 0,1 14 0,-1-14 15,1 1-15,0-1 0,12 1 0,1-14 16,0 0-16,0 0 0,13 1 0,-14-14 16,14 13-16</inkml:trace>
  <inkml:trace contextRef="#ctx0" brushRef="#br0" timeOffset="57823.94">14737 11470 0,'-26'13'0,"-40"27"31,52-40-31,1 13 0,0 0 0,0-13 15,0 13-15,-1 1 0,1-1 16,0-13-16,13 13 0,-13-13 16,13 13-1,0 0-15,13-13 16,-13 14-16,13-14 0,0 0 16,1 0-16,-1 0 0,0 0 0,0 0 15,0 0-15,1 0 0,-1-14 0,0 14 16,14 0-16,-14-13 0,0 0 15,14 0-15</inkml:trace>
  <inkml:trace contextRef="#ctx0" brushRef="#br0" timeOffset="58016.89">14896 11390 0,'0'0'0,"-26"14"0,26-1 15,-14 0-15,1 0 0,13 14 16,-13-14-16,0 13 0,13 14 0,-14-13 15,1 12-15,13-12 0,-13-1 16,13 1-16,0-1 0,0 1 0,-13-14 16,13 13-16,0-13 0,0 14 0,0-14 15,0 0-15,0 1 0,0-1 16,0 0-16</inkml:trace>
  <inkml:trace contextRef="#ctx0" brushRef="#br0" timeOffset="58907.15">6800 13004 0,'145'14'16,"-65"-14"-16,-1 0 16,14-14-16,-1 14 0,14 0 15,26-13-15,1 13 0,12-13 16,1 13-16,12-13 0,1-1 0,13 1 16,0 0-16,27 0 0,-14-1 15,13 1-15,14 0 0,39 0 0,14 0 16,-67-1-16,14 1 0,53 0 0,-67 13 15,14-13-15,52-1 0,-65 14 16,-1-13-16,-13 0 0,14 13 0,-14-13 16,-13 13-16,-13 0 0,-1-14 0,-12 14 15,-14 0-15,-26 0 0,-27 0 16,1-13-16,-14 26 0,-26-13 0,-1 0 16,-12 0-16,-14 0 0</inkml:trace>
  <inkml:trace contextRef="#ctx0" brushRef="#br0" timeOffset="59519.48">11946 13216 0,'-27'13'15,"14"-13"1,0 13-16,0-13 0,0 0 0,-1 14 0,1-1 15,-13-13-15,12 13 0,-12-13 16,13 13-16,0-13 0,-14 14 0,14-1 16,0-13-16,13 13 0,-14-13 15,14 13-15,-13-13 0,13 13 16,13 1-16,1-1 16,12-13-16,-13 13 0,14-13 0,-1 0 15,1 13-15,12-13 0,-12 0 0,12 0 16,1 0-16,13 0 0,-13-13 15,-1 13-15,1-13 0,0 0 0,0-1 16,-1 1-16,-12 13 0,-14-13 0,13 0 16,-12 0-16,-1-1 15,-13 1-15,13 13 16,-39 13 15,12 1-31,14-1 0,-13 13 0,13 1 16,-13-1-16,0 14 0,-1-14 0,14 14 15,-13-14-15,13 1 0,0-1 16,0 1-16,0-14 0,0 13 0,0 1 16,13-1-16,-13-12 0,0-1 0,14 13 15,-14-12-15,0-1 16,0 0-16</inkml:trace>
  <inkml:trace contextRef="#ctx0" brushRef="#br0" timeOffset="60419.93">6773 11126 0,'-92'158'0,"26"173"31,66-265-31,0 1 0,13-1 16,-13 13-16,13-13 0,0 0 0,1-13 16,-1 13-16,0-26 0,13 0 15,-12-1-15,-1 1 0,0-13 0,14-1 16,-14-13-16,0 0 0,0 1 0,0-14 16,1 0-16,-1 0 0,0 0 15,0-14-15</inkml:trace>
  <inkml:trace contextRef="#ctx0" brushRef="#br0" timeOffset="60738.77">7170 11086 0,'66'40'16,"-132"-80"-16,172 119 0,-53-39 0,-13 13 0,-1-13 16,1 26-16,0-13 0,-1 26 15,1 1-15,-13-14 0,12 0 0,-12 13 16,-14-13-16,13 0 0,-12 14 0,-14-14 15,13 0-15,-13 0 0,0-13 16,0 0-16,0-13 0,-13-1 0,13 1 16,0-27-16,0 14 0,13-14 0</inkml:trace>
  <inkml:trace contextRef="#ctx0" brushRef="#br0" timeOffset="61302.95">9790 10927 0,'-172'450'31,"145"-357"-31,14-14 16,13 0-16,-13 1 0,13-1 15,0 1-15,0-14 0,13 0 16,0 0-16,0-13 0,14 0 0,-1 0 16,1-27-16,-1 1 0,14-1 15,-14-13-15,1 1 0,-1-14 16,1-14-16</inkml:trace>
  <inkml:trace contextRef="#ctx0" brushRef="#br0" timeOffset="61620.05">10186 10755 0,'40'66'0,"-80"-132"0,107 185 0,-41-66 0,-13 13 15,1 1-15,12 12 0,-13 27 16,0-27-16,-13 1 0,14 12 15,-14 1-15,0-14 0,-14 1 0,14-1 16,-13 0-16,13-13 0,-13 1 0,0-1 16,0-27-16,13 1 0,0 0 15,0-27-15</inkml:trace>
  <inkml:trace contextRef="#ctx0" brushRef="#br0" timeOffset="62271.17">11615 10874 0,'-13'14'16,"13"-1"-16,-13 27 0,0-14 15,-1 27-15,-12 13 0,13 0 0,-1 0 16,1 0-16,0 14 0,0-1 15,-1 14-15,14-14 0,0-13 0,0 14 16,0-14-16,0 0 0,14 0 0,-1-13 16,0-13-16,0-1 0,1-12 15,-1 13-15,13-27 0,-12 0 16,12 0-16,-13-13 0,0 0 0,14 0 16</inkml:trace>
  <inkml:trace contextRef="#ctx0" brushRef="#br0" timeOffset="62595.28">11986 10782 0,'132'211'15,"-92"-158"-15,-14 0 16,14 13-16,-14 1 0,1-15 16,-14 15-16,0-1 0,0 0 0,1 0 15,-14 0-15,0-26 0,0 26 0,-14-13 16,1-13-16,13-1 15,-13 1-15,13 0 0,-13-14 0,13-13 16,0 1-16,0-1 0</inkml:trace>
  <inkml:trace contextRef="#ctx0" brushRef="#br0" timeOffset="63200.03">14579 10478 0,'0'0'0,"-53"79"16,26-39-16,1 12 0,12 1 0,-12 14 16,0 12-16,-1 14 0,1-1 0,-1 1 15,1-1-15,-1-12 0,14-1 16,0 0-16,13 1 0,-13-14 0,13 0 16,13 0-16,0-13 0,-13-13 0,13 0 15,1-1-15,12-12 0,-13-1 16,0-13-16,1-13 0,-1 14 0,0-14 15,0 0-15</inkml:trace>
  <inkml:trace contextRef="#ctx0" brushRef="#br0" timeOffset="63478.93">15028 10557 0,'0'0'0,"53"92"0,-26-39 0,-1 14 0,1-1 15,-1 13-15,-13 14 0,1-1 16,-1-12-16,-13-1 0,-13 40 0,-1-26 15,-12 13-15,-1-14 0,-12 1 16,-1-40-16,0 39 0,-13-12 0,0-14 16,1 0-16</inkml:trace>
  <inkml:trace contextRef="#ctx0" brushRef="#br0" timeOffset="65293.2">6879 10954 0,'0'-27'0,"53"-92"31,-26 93-31,12-14 0,1 0 0,0 1 16,13 12-16,-1-12 0,15-1 0,-15 13 15,15 1-15,-1-14 0,0 14 0,13-1 16,1 1-16,-1 13 0,0-14 15,1 1-15,-1 13 0,1-1 16,12 1-16,1 0 0,-1 0 0,1-1 16,0 14-16,-1 0 0,1 0 15,-1 0-15,1 14 0,0-14 0,-1 13 16,1 0-16,-14 14 0,1-14 0,-1 13 16,-13 1-16,0-1 0,0 1 15,53 26-15,-79-14 0,13-12 16,-27-1-16,1 1 0,-1-1 0,1-13 15,-14 14-15,0-14 0,1 0 0,-14 0 16,13 1-16,-13-1 0,13 0 16,-13 0-16,0 1 0,13-14 31,0-14-15,-13 1-16,14 13 15,-1-13-15</inkml:trace>
  <inkml:trace contextRef="#ctx0" brushRef="#br0" timeOffset="65836.77">10014 10689 0,'0'-13'0,"53"-40"31,-39 40-31,-1 0 0,13-14 0,1 14 16,-1-14-16,14 1 0,0 0 0,-1-1 15,14 1-15,0-1 0,-13 14 0,13-14 16,0 14-16,0 0 0,-14 0 16,1 0-16,13 13 0,0 0 0,-14-14 15,14 14-15,0 14 0,0-14 0,-13 13 16,13-13-16,0 13 0,-14 0 15,1 0-15,0 1 0,-1-1 0,1-13 16,-13 26-16,-1-26 0,1 14 0,-14-1 16,0-13-16,13 13 0,-12 0 15,-1 1-15,0-14 16,0 0-16,-13 13 0,14-13 16,-1 13-16,0-13 31,0-13-31,1 13 15</inkml:trace>
  <inkml:trace contextRef="#ctx0" brushRef="#br0" timeOffset="66426.95">11470 10491 0,'26'-27'16,"-13"14"-16,1 13 0,-1-13 0,0 0 15,14-1-15,-1 1 0,0-13 0,14 12 16,-13-12-16,12 13 0,67-40 16,-40 13-16,0 14 0,1-1 15,-1-12-15,26 12 0,14-13 0,0 14 16,0-14-16,0 14 0,-1-1 15,15 1-15,-1-1 0,-14 14 0,-12 0 16,0 0-16,-1 13 0,1 0 0,-1 0 16,1 13-16,0 0 0,-1 0 0,-12 1 15,-1 12-15,0-13 16,-12 14-16,12-1 0,-13 1 0,-13-1 16,13 1-16,-13-1 0,13 1 0,-26-1 15,0 0-15,-1-12 0,1-1 16,-27 0-16,14 0 0,-14 1 0,0-1 15,0-13-15,1 13 0,-1-13 0,0 0 16,-13 13-16,13-13 0,0 0 16,1 14-1,-1-28-15,0 1 16,0 0 0,1 13-16,-14-13 0,13 13 0,-13-14 15,13 14-15,0-13 0</inkml:trace>
  <inkml:trace contextRef="#ctx0" brushRef="#br0" timeOffset="68047.03">18772 9194 0,'0'40'16,"0"-27"-16,-13 0 16,13 1-16,0 12 0,0 1 15,-13-1-15,13 0 0,-14 1 0,14 13 16,-13-14-16,13 1 0,-13-1 0,13-13 16,0 14-16,-13-14 0,13 0 15,0 0-15</inkml:trace>
  <inkml:trace contextRef="#ctx0" brushRef="#br0" timeOffset="68307.5">19182 9419 0,'-92'80'31,"52"-54"-31,0 14 0,1-14 15,-1 14-15,0 0 0,1-14 0,-1 14 16,0-1-16,14-12 0,-14-1 0,14 1 16,-1-14-16,1 13 0,-1 1 15,14-14-15,0 0 0,0 1 16,-1-1-16,1 0 0,13 0 0,-13-13 16,0 13-16,13 1 15</inkml:trace>
  <inkml:trace contextRef="#ctx0" brushRef="#br0" timeOffset="68823.39">19024 9856 0,'-67'26'16,"54"-13"-16,0 1 0,0-1 15,-14 0-15,14 0 0,0 1 0,0-1 16,-1 0-16,1 0 0,0 0 0,0 1 16,-1-1-16,14 0 15,-13-13-15,13 13 0,0 1 16,13-14-16,-13 13 0,14-13 15,-1 0-15,0 0 0,0 0 16,1 0-16,-1 0 0,13 0 16,-13-13-16,14 13 0,-14-14 0,14 14 15,-14-13-15,0 13 0,27-26 16,-27 12-16,27-25 16,-27 12-16,0 1 15,-13 13-15,0-1 0,13 1 0,-13 0 16,0 0-16,-13-1 31,0 41-15,13-14-16,-13-13 15,13 13-15,0 14 0,-14-14 0,14 0 16,0 14-16,0-1 0,-13 1 0,13-14 16,0 13-16,0 1 0,0-14 15,13 14-15,-13-14 0,0 0 0,0 13 16,14-12-16,-1-1 0,0-13 0,0 13 15</inkml:trace>
  <inkml:trace contextRef="#ctx0" brushRef="#br0" timeOffset="69183.98">20069 9141 0,'-14'27'16,"14"-14"-16,0 14 15,0-14-15,0 13 0,0 1 0,0-1 16,0 14-16,0-14 0,0 1 0,0-1 16,0 1-16,0-1 0,0-13 15,0 14-15,0-1 0,0-13 0,0 1 16,0-1-16</inkml:trace>
  <inkml:trace contextRef="#ctx0" brushRef="#br0" timeOffset="69363.89">19936 9432 0,'27'0'0,"-14"0"15,0 0-15,0 0 0,1 0 0,12 0 16,-13 0-16,14 0 0,-14 0 16,14-13-16,-1 13 0,14 0 0</inkml:trace>
  <inkml:trace contextRef="#ctx0" brushRef="#br0" timeOffset="69556.03">20664 9102 0,'-13'26'16,"0"-13"-1,13 1-15,0-1 0,-14 13 0,14-12 16,-13 12-16,13 0 0,-13-12 0,13 12 16,-13 1-16,13-1 0,-14-13 15,14 14-15,0-14 0,0 0 0,14 0 16</inkml:trace>
  <inkml:trace contextRef="#ctx0" brushRef="#br0" timeOffset="69808.14">21114 9300 0,'0'0'0,"-27"13"31,14 1-31,0-1 0,-14 13 15,1 1-15,-14-1 0,14 1 0,-1 12 16,-12 1-16,12-14 0,1 1 16,-14 13-16,14-14 0,-1 1 0,1-1 15,12 0-15,-12-12 0,13-1 16,13 0-16,-13 0 0,-1 1 0,14-1 16,-13 0-16,13 0 15,0 0-15,0 1 16</inkml:trace>
  <inkml:trace contextRef="#ctx0" brushRef="#br0" timeOffset="70122.83">21021 9657 0,'-53'40'31,"40"-27"-31,0-13 0,-14 13 16,14 1-16,0-1 0,-14 0 16,14 0-16,0 1 0,0-1 0,-1 0 15,1 0-15,13 0 0,-13-13 16,13 14-16,0-1 16,0 0-16,13 0 15,0-13-15,1 0 16,-1 0-16,0 0 15,14 0-15,-14 0 0,0-13 16,0 13-16,1 0 0,-1-13 0,13 0 16,-13 13-16,1-14 0,-1 1 0,0 0 15</inkml:trace>
  <inkml:trace contextRef="#ctx0" brushRef="#br0" timeOffset="70284.08">21074 9684 0,'-13'26'15,"26"-52"-15,-39 65 0,12-25 16,14-1-16,-13 0 0,13 14 0,-13-14 16,13 13-16,-13 1 0,-1-14 0,14 13 15,-13 1-15,13-14 0,0 0 16,-13 14-16,13-14 0,0 0 16,0 0-16,13 1 0,-13-1 0</inkml:trace>
  <inkml:trace contextRef="#ctx0" brushRef="#br0" timeOffset="70589.34">22027 9022 0,'-27'27'0,"27"-14"0,0 80 16,0-67-16,0 14 15,0-1-15,0-12 0,0 13 0,13-14 16,-13 0-16,0 1 0,0-1 0,0 1 15,0-14-15,0 14 0,0-14 16</inkml:trace>
  <inkml:trace contextRef="#ctx0" brushRef="#br0" timeOffset="70755.2">21762 9446 0,'26'-14'0,"-12"14"16,-1 0-16,13 0 0,1 0 16,13 0-16,-14-13 0,14 13 0,13 0 15,-27-13-15,0 13 0</inkml:trace>
  <inkml:trace contextRef="#ctx0" brushRef="#br0" timeOffset="70989.8">22820 8864 0,'-13'26'0,"13"-13"15,0 14-15,-13-1 0,13 14 16,-13-14-16,13 14 0,-14 0 0,1-1 15,0 1-15,13 0 0,-13-1 0,-1 1 16,1-13-16,0 25 16,13-25-16,0-14 0,0 0 0</inkml:trace>
  <inkml:trace contextRef="#ctx0" brushRef="#br0" timeOffset="71205.92">23032 9287 0,'0'0'0,"13"0"16,-26 13 0,0 0-16,0 1 0,-14 12 15,1 0-15,-1 1 0,1 13 0,-14-1 16,0-12-16,14 12 0,-14 1 0,0-13 16,14 12-16,-14-12 0,14-1 15,-1 1-15,14-1 0,-13-13 0,12 1 16,1-1-16,13 0 0,-13 0 0,13 0 15</inkml:trace>
  <inkml:trace contextRef="#ctx0" brushRef="#br0" timeOffset="71527.09">22926 9644 0,'-26'13'31,"12"1"-15,1-1-16,0 0 0,0 0 0,-14 0 15,14 1-15,0-1 0,0 13 0,-14-12 16,14-1-16,13 0 0,-13-13 16,-1 13-16,14 0 0,-13-13 0,13 14 15,0-1-15,0 0 16,13 0-16,1 1 15,-1-14 1,0 0-16,0 0 0,1 0 0,-1 0 16,0 0-16,0 0 0,1-14 0,-1 14 15,0-13-15,0 13 0,14-13 16,-14 0-16,0-1 0,0 14 0,-13-13 16,14 0-16</inkml:trace>
  <inkml:trace contextRef="#ctx0" brushRef="#br0" timeOffset="71707.89">23019 9684 0,'-13'0'16,"-1"13"0,1-13-16,13 13 0,-13 0 0,13 1 15,-13-1-15,13 0 0,-14 0 0,14 14 16,-13-14-16,0 13 0,13-12 16,0 12-16,-13-13 0,13 14 15,-14-14-15,14 14 0,0-14 0,-13 13 16,13-13-16,-13 14 0,13-14 15,0 0-15,13-13 16</inkml:trace>
  <inkml:trace contextRef="#ctx0" brushRef="#br0" timeOffset="71982.78">23733 9102 0,'-13'0'0,"0"13"0,13 0 0,-53 93 31,40-80-31,-1 14 0,14 0 16,-13-1-16,13 1 0,-13-13 0,13-1 15,-13 1-15,13-14 0,0 13 0,-14-13 16,14 14-16,-13-14 16,13 0-16</inkml:trace>
  <inkml:trace contextRef="#ctx0" brushRef="#br0" timeOffset="72179.97">23429 9353 0,'26'13'15,"-12"-13"-15,-1 0 16,0 0-16,13 0 0,1 0 0,-1 0 16,1 0-16,-1 0 0,1 0 0,-1 0 15,14-13-15,-14 13 0,1 0 16</inkml:trace>
  <inkml:trace contextRef="#ctx0" brushRef="#br0" timeOffset="72388.86">24395 8903 0,'-80'119'31,"67"-79"-31,0-14 16,0 1-16,-1 13 0,-12-14 0,13 1 16,-1 12-16,14-12 0,-13-14 15,0 13-15,0 1 0,13-14 0,0 0 16,0 0-16</inkml:trace>
  <inkml:trace contextRef="#ctx0" brushRef="#br0" timeOffset="72644.06">24619 9287 0,'-39'40'16,"12"-27"-16,1 13 0,-14-13 16,1 27-16,12-13 0,-13 12 0,1-12 15,-1 12-15,0-12 0,1 13 0,-1-14 16,0 14-16,1-14 0,12 1 15,1-1-15,-14 1 0,27-14 0,-14 13 16,1-13-16,13 1 0,-1-1 16,14 0-16,-13-13 0,0 13 15</inkml:trace>
  <inkml:trace contextRef="#ctx0" brushRef="#br0" timeOffset="72940.97">24289 9697 0,'-40'0'15,"27"13"-15,0-13 0,-1 13 16,1 1-16,0-14 15,0 13-15,13 0 0,-14-13 0,14 13 16,-13-13-16,13 14 0,0-1 16,0 0-1,13-13 1,1 13-16,-1-13 0,0 0 0,0-13 16,1 13-16,-1 0 0,0 0 0,0-13 15,14 13-15,-14-13 16,0-1-16,0 14 0,14-13 0</inkml:trace>
  <inkml:trace contextRef="#ctx0" brushRef="#br0" timeOffset="73128.53">24487 9631 0,'-53'26'32,"40"1"-32,0-14 0,0 0 0,-1 14 15,-12-1-15,13 1 0,-14-1 0,14-13 16,0 14-16,0-14 0,13 0 15,-14 14-15,1-14 0,0 0 16,13 0-16,-13 1 0,-1-1 0,14 0 16,-13 0-16,13 0 0,-13 1 0,0-14 15,13 13-15,-14-13 0</inkml:trace>
  <inkml:trace contextRef="#ctx0" brushRef="#br0" timeOffset="73724.81">17820 9988 0,'39'-13'0,"-78"26"0,92-39 16,-40 26-16,0 0 0,0 0 0,1-14 15,-1 14-15,0 0 0,0 0 16</inkml:trace>
  <inkml:trace contextRef="#ctx0" brushRef="#br0" timeOffset="73885.95">17859 10120 0,'27'0'16,"-14"0"-16,0-13 16,1 13-16,-1 0 0,0 0 0,0 0 15,14 0-15,-14-13 0,0 13 16</inkml:trace>
  <inkml:trace contextRef="#ctx0" brushRef="#br0" timeOffset="74264.95">18150 11377 0,'40'0'16,"-27"0"-16,1 0 0,12 0 0,-13-13 16,0 13-16,14 0 15,-14 0-15,0 0 0,14 0 0,-14 0 16,0 0-16,1 0 0</inkml:trace>
  <inkml:trace contextRef="#ctx0" brushRef="#br0" timeOffset="74453.12">18137 11602 0,'66'-13'16,"-39"13"-1,-14-13-15,13 13 0,-12-14 16,12 14-16,93-39 15</inkml:trace>
  <inkml:trace contextRef="#ctx0" brushRef="#br0" timeOffset="75034.92">19672 11073 0,'0'0'15,"-27"13"-15,14 0 0,0-13 0,0 13 0,-1-13 16,1 14-16,-13-1 0,12-13 16,1 13-16,0-13 0,13 13 0,-13 1 15,0-14-15,13 13 0,0 0 16,-14-13-16,14 13 0,14 1 15,-14-1-15,13-13 0,-13 13 16,13 0-16,0-13 0,14 13 0,-14-13 16,13 14-16,-12-14 0,12 0 0,-13 0 15,14 13-15,-14-13 0,0 0 16,0 0-16,14-13 0,-14 13 0,0 0 16,-13-14-16,14 14 0</inkml:trace>
  <inkml:trace contextRef="#ctx0" brushRef="#br0" timeOffset="75217.75">19672 11060 0,'0'0'0,"-27"26"0,27-13 0,-13 0 0,13 14 16,-13-14-16,13 14 0,-13-14 0,-1 13 15,14 14-15,-13-14 0,0 14 16,0-13-16,13-14 0,-14 13 0,1 1 15,13-14-15,0 0 0,0 14 0,0-14 16</inkml:trace>
  <inkml:trace contextRef="#ctx0" brushRef="#br0" timeOffset="75452.52">20135 11152 0,'-53'80'32,"26"-54"-32,-12 0 0,-1 1 15,0 13-15,-13-1 0,1-12 16,-1 12-16,13 1 0,0-13 0,-13 12 16,14-12-16,12-1 0,1 1 0,-1-1 15,1 1-15,13-14 16,-1 0-16,1 0 0,13 1 0,-13-14 15,13 13-15</inkml:trace>
  <inkml:trace contextRef="#ctx0" brushRef="#br0" timeOffset="75860.02">19791 11774 0,'-66'40'31,"52"-40"-31,-12 26 16,13-13-16,0-13 0,-1 14 0,1-1 15,0 0-15,13 0 16,0 0-16,0 1 16,13-14-1,0 13-15,1-13 0,-1 0 0,0 13 16,13-13-16,1 0 0,-14 0 0,14 0 15,-1 0-15,1-13 0,-1 13 16,0-13-16,-12 13 0,12-14 0,-13 14 16,1-13-16,-1 0 0</inkml:trace>
  <inkml:trace contextRef="#ctx0" brushRef="#br0" timeOffset="76027.03">19963 11748 0,'-27'39'0,"54"-78"0,-54 91 0,14-38 0,0 12 16,13-13-16,-13 14 16,13-1-16,-14 1 0,14-1 0,-13 1 0,13-1 15,0 1-15,-13-1 0,13 0 16,0-12-16,0 12 0,0 1 0,0-14 16,0 13-16</inkml:trace>
  <inkml:trace contextRef="#ctx0" brushRef="#br0" timeOffset="76336.98">18944 13137 0,'13'-14'15,"1"14"-15,-1 0 0,0 0 16,0 0-16,1-13 0,12 13 15,0 0-15,-12 0 0,-1 0 16</inkml:trace>
  <inkml:trace contextRef="#ctx0" brushRef="#br0" timeOffset="76523.87">18825 13401 0,'27'0'16,"78"-26"-1,-65 12-15,0 1 16,-14 0-16,14 13 0,-14-13 0,14 0 16</inkml:trace>
  <inkml:trace contextRef="#ctx0" brushRef="#br0" timeOffset="76784.7">19711 12978 0,'-13'40'0,"13"-27"0,-13 26 16,0-25-16,13 12 15,0-13-15,-13 14 0,13-14 0,-14 0 16,14 14-16,0-14 0,-13 0 0,13 0 16,0 1-16,0-1 0</inkml:trace>
  <inkml:trace contextRef="#ctx0" brushRef="#br0" timeOffset="77035.03">20267 13150 0,'0'0'0,"-53"39"16,27-25-16,-1 12 0,-12 1 0,-1 12 16,-13-12-16,13 12 0,-13 1 0,14 0 15,-1-14-15,0 14 0,14-14 0,-1 1 16,14-1-16,-13-12 0,12-1 16,14 0-16,-13 0 0</inkml:trace>
  <inkml:trace contextRef="#ctx0" brushRef="#br0" timeOffset="77220.17">20545 13176 0,'-27'27'16,"54"-54"-16,-80 80 0,27-26 0,-1-1 0,-13 1 15,1 12-15,-14 1 0,13 0 16,-13-1-16,0 1 0,0 0 0,0-1 15,14 1-15,-14-14 0,0 14 0,13 0 16,-13-14-16</inkml:trace>
  <inkml:trace contextRef="#ctx0" brushRef="#br0" timeOffset="81956.72">5080 4088 0,'-13'40'16,"13"-27"-16,0 13 0,0-13 16,0 14-16,0-1 0,0 14 0,0-14 15,0 14-15,0 0 0,0-14 16,0 1-16,0-1 0,0 14 0,0-27 0,0 14 16,0-1-16,0 1 15,0-14-15,0 0 0,-13 0 0,13 0 16,0 1-16,0-1 0</inkml:trace>
  <inkml:trace contextRef="#ctx0" brushRef="#br0" timeOffset="82157.1">5093 4180 0,'-53'67'31,"40"-41"-31,-13 0 16,12 1-16,1-1 0,-13 1 0,12-1 15,1 1-15,0-1 0,0-13 0,0 14 16,-1-14-16,14 0 0,-13 1 16</inkml:trace>
  <inkml:trace contextRef="#ctx0" brushRef="#br0" timeOffset="82313.19">4961 4247 0,'13'0'0,"0"13"0,1-13 16,-1 13-16,0-13 0,0 13 0,14 0 16,-14 1-16,13-14 0,1 13 15,-1 0-15,-12 0 0,12-13 0,1 14 16,-1-1-16,-13-13 0</inkml:trace>
  <inkml:trace contextRef="#ctx0" brushRef="#br0" timeOffset="82619">5636 4035 0,'0'40'0,"0"-27"0,0 79 31,0-65-31,13 26 0,-13-14 0,0 1 16,0 0-16,0 0 0,-13-1 0,13-12 15,0-1-15,0 1 0,0-1 16,0 1-16,0-1 0,0-13 16,0 0-16,0 1 0,0-1 0</inkml:trace>
  <inkml:trace contextRef="#ctx0" brushRef="#br0" timeOffset="82820.03">5662 4180 0,'-13'27'0,"0"-14"15,-1 14-15,1-14 16,-13 13-16,12 1 0,-12-1 0,13 1 0,-14-1 16,1-13-16,13 14 0,-1-14 15,1 0-15,0-13 0,0 13 16,0-13-16</inkml:trace>
  <inkml:trace contextRef="#ctx0" brushRef="#br0" timeOffset="82978.87">5437 4167 0,'13'0'0,"-26"0"0,40 0 16,-14 13-16,0-13 0,0 14 15,1-14-15,-1 13 16,0 0-16,0 0 0,14-13 0,-14 14 15,13-1-15,-26 0 0,27 0 0,-14-13 16,14 13-16,-14-13 0,13 14 0</inkml:trace>
  <inkml:trace contextRef="#ctx0" brushRef="#br0" timeOffset="83241.1">6376 4022 0,'-26'26'16,"26"40"0,0-39-16,0-1 0,13 14 15,-13 0-15,0-1 0,13 1 0,-13 0 16,14-1-16,-14 1 0,0-14 15,13 1-15,-13-1 0,0 1 0,0-1 16,0-12-16,0-1 0,13 0 0,-13 0 16,-13 0-16</inkml:trace>
  <inkml:trace contextRef="#ctx0" brushRef="#br0" timeOffset="83449">6390 4101 0,'-14'40'0,"-38"52"32,38-78-32,1 12 0,0 14 0,-27 26 15,27-40-15,0-12 16,13-1-16,-14 0 0,14 0 0,-13 0 15</inkml:trace>
  <inkml:trace contextRef="#ctx0" brushRef="#br0" timeOffset="83625.12">6204 4075 0,'14'0'0,"-1"0"0,0 13 0,0 0 15,1-13-15,12 13 0,1 1 16,-14-1-16,13 0 0,14 0 0,-14 0 16,1-13-16,-1 14 0,1-1 0,12-13 15,-12 13-15,-1-13 0</inkml:trace>
  <inkml:trace contextRef="#ctx0" brushRef="#br0" timeOffset="83947.93">7329 3863 0,'0'26'16,"13"1"-16,-13-1 15,13 1-15,-13 12 0,14 1 0,-1 0 16,-13 0-16,13-1 0,0 1 16,-13 0-16,14-1 0,-14 1 0,0 0 15,0-14-15,13 1 0,-13-1 16,0-13-16,0 14 0,0-14 0,0 0 15</inkml:trace>
  <inkml:trace contextRef="#ctx0" brushRef="#br0" timeOffset="84173.26">7488 3956 0,'-27'26'16,"14"0"-16,0-12 0,0 12 0,-14 14 16,1-14-16,12 1 0,-12-1 15,-1 14-15,1-14 0,0 1 0,-1-1 16,14 1-16,-14-14 0,27 0 0,-13 0 16,0-13-16,13 14 0,-13-14 15</inkml:trace>
  <inkml:trace contextRef="#ctx0" brushRef="#br0" timeOffset="84332.35">7316 3929 0,'26'-13'15,"-13"13"-15,67 66 16,-54-53 0,1 14-16,-1-1 0,-13 1 0,14-14 15,-1 13-15,1 1 0,-1-14 16,-13 0-16,1 0 0,12 1 0,-13-1 15,1-13-15,-1 13 0,0-13 16</inkml:trace>
  <inkml:trace contextRef="#ctx0" brushRef="#br0" timeOffset="88415.03">7064 344 0,'53'0'0,"-26"0"15,92-13 1,-66 0-16,-14 13 0,1 0 16,-13-14-16,-1 14 0,14 0 0,-14 0 0,1-13 15,-14 13-15,13 0 0,-12 0 0,-1 0 16,0 0-16,0 13 15,-13 1-15,0-1 16,-13 0-16,13 13 0,0-12 16,-13-1-16,13 0 0,-13 14 15,13-1-15,0 0 0,0 1 16,0-1-16,0 14 0,0 0 0,13-1 16,-13 14-16,26-13 0,-26 13 15,27-13-15,-14-1 0,0-12 0,14 12 16,-14-12-16,0-1 0,0 1 0,1-1 15,-1-12-15,0-1 0,-13 0 16,0 0-16,0 0 0,-13 1 0,0-1 16,-1 0-16,-12 14 0,-27-1 0,0-13 15,-13 14-15,-14-1 16,-25 1-16,-1-1 0,0 1 0,0-1 16,0 1-16,27-1 0,-27 0 0,14-12 15</inkml:trace>
  <inkml:trace contextRef="#ctx0" brushRef="#br0" timeOffset="90979.84">21153 2659 0,'14'0'0,"-28"0"0,41 0 0,-14 0 16,14 0-16,-14 0 0,13 0 0,1 0 15,12 0-15,-12-13 0,-1 13 16,14 0-16,0-13 0,-14 13 0,14-14 16,-14 14-16</inkml:trace>
  <inkml:trace contextRef="#ctx0" brushRef="#br0" timeOffset="91249.89">21616 2447 0,'14'27'15,"-14"-14"-15,13-13 16,0 13-16,-13 1 0,13-1 16,1 0-16,-1 0 0,0 0 0,-13 1 15,13-1-15,1-13 0,-14 13 0,0 0 16,0 1-16,13-1 0,-13 0 15,0 0-15,-13-13 0,13 14 0,0-1 16,0 0-16,-14 0 0,14 0 16,0 1-1</inkml:trace>
  <inkml:trace contextRef="#ctx0" brushRef="#br0" timeOffset="93119.92">4723 6654 0,'13'-13'15,"-13"40"1,0-14-16,0 0 0,13 27 16,-13-14-16,0 1 0,0-1 15,0 0-15,0 1 0,0-1 16,0-12-16,0 12 0,0 1 0,0-1 15,0-13-15,0 14 0,-13-14 16,13 0-16,0 0 0,0 1 16,0-1-16</inkml:trace>
  <inkml:trace contextRef="#ctx0" brushRef="#br0" timeOffset="93305.93">4749 6668 0,'-26'39'16,"13"-26"0,-1 14-16,1-1 0,-13 40 15,12-39-15,1 13 0,-26 39 16,25-53 0,14-12-16,-13-1 15,13 0-15,-13-13 0</inkml:trace>
  <inkml:trace contextRef="#ctx0" brushRef="#br0" timeOffset="93456.17">4657 6787 0,'13'0'16,"0"0"-16,40 26 16,-40-26-1,0 0-15,1 0 0,-1 13 16,0-13-16,0 0 0,14 0 0,-14 0 15,0 0-15,14 0 0</inkml:trace>
  <inkml:trace contextRef="#ctx0" brushRef="#br0" timeOffset="94082.92">5556 6548 0,'0'14'31,"0"12"-31,13-13 0,-13 14 0,0-14 16,0 14-16,0 12 0,0-12 0,14-1 15,-14 1-15,0-1 0,0 0 0,0 1 16,0-1-16,0-12 0,0 12 15,0-13-15,0 1 0,0-1 0</inkml:trace>
  <inkml:trace contextRef="#ctx0" brushRef="#br0" timeOffset="94349.32">5503 6535 0,'-13'27'16,"0"-14"-16,13 0 0,0 0 15,0 14-15,-13-14 0,13 14 0,0-1 16,-14-13-16,14 14 0,0-1 15,-13-13-15,13 14 0,0-14 0,0 0 16,0 14-16,0-14 0,-13 0 0</inkml:trace>
  <inkml:trace contextRef="#ctx0" brushRef="#br0" timeOffset="94572.1">5437 6548 0,'13'0'0,"-26"0"0,40 14 15,-14-14-15,0 13 0,0-13 16,1 13-16,12 0 0,-13 1 0,0-14 16,14 13-16,-14 0 0,0-13 0,14 13 15,-14-13-15,0 14 0,1-1 16,-1-13-16,0 0 0,0 0 15,0 13-15</inkml:trace>
  <inkml:trace contextRef="#ctx0" brushRef="#br0" timeOffset="95755.06">6257 6443 0,'14'0'0,"-14"-14"16,13 41-1,0-14-15,-13 0 0,0 1 16,13 12-16,-13 0 0,14-12 15,-14 12-15,0 1 0,0-1 0,0 1 16,13-14-16,-13 13 0,0 1 16,0-14-16,0 0 0,0 0 0,0 14 15,0-14-15,0 0 0</inkml:trace>
  <inkml:trace contextRef="#ctx0" brushRef="#br0" timeOffset="95984.95">6284 6456 0,'-27'26'0,"54"-52"0,-54 66 0,14-27 0,13 0 15,-13 0-15,0 0 0,13 14 16,-14-14-16,14 14 0,-13-1 15,0-13-15,13 14 0,-13-1 0,0-13 16,13 14-16,0-14 0,0 0 0,-14 1 16,14-1-16</inkml:trace>
  <inkml:trace contextRef="#ctx0" brushRef="#br0" timeOffset="96204.05">6204 6390 0,'14'0'0,"12"13"0,-13 0 16,14 0-16,-14 1 0,0 12 16,14-13-16,-14 1 0,0-1 15,14 0-15,-14 0 0,0 0 0,0 1 16,1-1-16,-1 0 0,0 0 0,0-13 15,1 14-15,-1-14 0</inkml:trace>
  <inkml:trace contextRef="#ctx0" brushRef="#br0" timeOffset="97083.87">7210 6615 0,'0'26'16,"13"1"-1,-13-1-15,13-13 0,-13 14 16,14-14-16,-14 13 0,0 1 16,13-1-16,-13-13 0,0 14 0,0-1 0,0-12 15,13 12-15,-13-13 0,0 14 16,0-14-16,0 0 0,0 0 15,0 1-15,0-1 0</inkml:trace>
  <inkml:trace contextRef="#ctx0" brushRef="#br0" timeOffset="97387.54">7236 6535 0,'0'0'0,"-13"13"15,13 1-15,-13-1 0,13 0 16,-13 14-16,13-14 0,-14 13 0,1 1 15,13-14-15,-13 13 0,13 1 16,-13-1-16,13-12 0,-13 12 0,13-13 16,-14 14-16,14-14 0,-13 0 0,13 0 15,0 1 1</inkml:trace>
  <inkml:trace contextRef="#ctx0" brushRef="#br0" timeOffset="97708.08">7144 6575 0,'26'0'16,"-52"0"-16,65 0 0,-25 0 0,12 0 0,-13 13 15,14-13-15,-14 13 0,13-13 16,-12 0-16,12 14 0,1-14 16,-14 13-16,0-13 0,14 13 0,-14-13 15,0 0-15,0 13 0,0-13 16,1 0-16,-1 0 0,0 0 0,-13 14 16,13-14-16,1 0 0,-1 0 15,0 13 16</inkml:trace>
  <inkml:trace contextRef="#ctx0" brushRef="#br0" timeOffset="99792.86">4538 5715 0,'-14'-13'15,"14"0"-15,0-1 16,0 1 0,0 0-16,0 0 0,14-1 15,-14 1-15,13-13 0,-13 12 16,13 1-16,-13 0 0,13 0 15,1 0-15,-1-1 0,0-12 0,0 13 16,0-1-16,1 1 0,-1 0 0,0 0 16,0 0-16,14 13 0,-14-14 15,0 1-15,0 0 0,1 13 0,12-13 16,1-1-16,-14 14 0,13 0 16,-12-13-16,12 13 0,-13-13 15,14 13-15,-14 0 0,13 0 0,-12 0 16,-1 0-16,13 0 0,-12 0 0,-1 13 15,13-13-15,-13 0 0,1 13 0,-1-13 16,0 14-16,0-1 0,1-13 16,12 13-16,-13-13 0,1 13 0,-14 1 15,13-14-15,0 13 0,0 0 16,0-13-16,1 13 0,-1 0 0,0 1 16,0-14-16,1 13 0,-1 0 0,0-13 15,0 13-15,1 1 0,-1-14 16,0 13-16,0-13 0,0 13 0,1-13 15,-1 0-15,0 13 0,0-13 0,1 0 16,-1 0-16,0 0 0,0 0 16,14 0-16,-14 0 0,0 0 15,0-13-15,1 13 0,-1 0 0,0 0 16,0-13-16,1 13 0,-1 0 16,0 0-16,-13-13 0,13 13 0,0-14 15,1 14-15,-14-13 16,13 0-16,-13 0 15,13-1-15,-13 1 0,0 0 16,0 0-16,0 0 0,0-1 16,0 1-16,0 0 0,0 0 0,0-14 15,0 14 1,0 0 0,0-1 15,13 28-16,1-14-15,-1 13 16,0-13-16,0 13 16,14-13-16,-14 13 0,0-13 15,0 0-15,14 14 0,-14-14 0,0 13 16,14-13-16,-14 0 0,13 0 16,-12 13-16,12-13 0,14 0 15,-14 0-15,-12-13 0,12 13 0,14 0 16,-14-13-16,1 13 15,-14 0-15,27-14 0,-14 1 16,0 13-16,1-13 0,-1 0 0,14-1 16,-13 1-16,-1 13 0,0-13 15,14 0-15,13 0 16,13-14-16,-39 27 16,52-13-16,-39 13 15,13 0-15,-27 0 16,14 13-16,-14-13 0,40 27 0,-39-14 15,26 13-15,-27-26 16,-13 13-16,27 14 0,-27-14 16,14 14-16,-14-14 15,13 27-15,1-14 16,-1-13-16,27 27 16,0-14-16,13-12 15,-26-1-15</inkml:trace>
  <inkml:trace contextRef="#ctx0" brushRef="#br0" timeOffset="100436.99">8215 5927 0,'0'0'15,"27"-14"1,-14 14-16,13 0 0,1 0 15,-1 0-15,14-13 0,13 13 0,-13-13 16,-1 13-16,14 0 0,-13 0 16,0-13-16,-14 13 0,14-13 0,-14 13 15,1 0-15,-14-14 0,13 14 0,1 0 16,-14 0-16,0 0 0,1-13 16,-1 13-16,0 0 0,-13-13 15</inkml:trace>
  <inkml:trace contextRef="#ctx0" brushRef="#br0" timeOffset="100856.36">8599 5662 0,'26'0'63,"-12"0"-32,12 0-31,-13 0 0,1 0 16,12 0-16,-13 0 0,0 0 15,1 0-15,12 0 0,-13 0 16,1 0-16,-1 0 0,13 0 0,-12 0 16,-1 0-16,0 0 0,0 0 0,0 13 15,1-13-15,-1 0 16,0 14-16,0-14 0,-13 13 0,0 0 16,14 0-16,-14 0 0,-14 1 0,14 12 15,0-13-15,-13 27 0,0-13 16,-14-1-16,14 14 0,-13-14 0,-1 1 15,14 12-15,-13-12 0,-1-1 0,14 1 16,0-1-16,-1-13 0,14 1 16,-13-1-16</inkml:trace>
  <inkml:trace contextRef="#ctx0" brushRef="#br0" timeOffset="101872.2">9803 5689 0,'13'26'16,"0"0"0,0-12-16,-13 12 0,14-13 0,-1 14 15,13-1-15,-12 1 0,-14-1 0,13-13 16,0 1-16,0-1 0,1 0 15,-1 0-15,0 1 0,-13-1 0,13-13 16,0 13-16,1-13 0,-1 0 16,0-13-16,0 13 15,-13-13-15,14-1 0,-14 1 16,13 0-16,-13-14 0,13 1 0,-13 0 16,13-1-16,-13-13 0,0 14 15,0-1-15,0-12 0,0 12 16,0 1-16,0-1 0,0 14 0,0-13 0,0 12 15,0 1-15,0 0 0,14 13 16,-14 13 0,0 0-16,13 1 15,-13-1-15</inkml:trace>
  <inkml:trace contextRef="#ctx0" brushRef="#br0" timeOffset="103391.92">10398 5622 0,'-13'0'0,"-40"40"16,53-27 0,-13 1-16,0-1 0,-1 0 15,14 0-15,-13 0 0,13 1 16,0-1-16,-13 0 0,13 0 0,0 1 15,0-1-15,0 0 16,13 0-16,14-13 16,-14-13-1,-13 0-15,13 13 16,-13-13-16,13-1 0,-13 1 0,0 0 16,13 0-16,-13-1 15,0 1-15,14 40 31,-14-14-15,0 0-16,13-13 0,-13 13 16,13 1-16,0-1 15,1-13-15,-1 0 16,0 0-16,-13-13 16,13 13-16,1-14 15,-1 1-15,-13 0 0,0 0 0,13-1 16,-13 1-16,13-13 0,-13 13 0,0-14 15,0 14-15,0-27 0,0 14 16,0-1-16,0 1 0,0-1 0,-13 1 16,13-1-16,0 14 0,0-13 0,0 13 15,0-1-15,0 1 0,0 0 16,-13 39 0,13-12-1,0 12-15,0-13 16,0 14-16,0-1 0,0 1 0,13-1 15,-13 0-15,0 1 0,13-14 0,-13 14 16,13-14-16,-13 0 0,14 0 16,-1 1-16,-13-1 0,13-13 0,0 13 15,1-13-15,-14 13 0,26-26 16,-13 13-16,-13-13 16,13 13-16,1-13 0,-14-1 15,13 14-15,-13-13 0,13 0 16,-13 0-16,0-1 0,13 1 0,-13 0 15,14 0 1,-14-1-16,-14 54 47,14-27-47,0 1 0,0-1 16,0 0-16,14 0 0,-14 1 15,13-1 1,0-13-16,0 0 15,1 0-15,-1-13 16,0 13-16,0-14 0,0 1 16,-13 0-16,14 0 15,-14-1 1,0 1-16,13 0 0,-13 0 16,-13 26 30,13 0-30,0 0-16,0 1 16,0-1-16,13-13 0,-13 13 15,13-13 1,-13 13-16,13-13 16,1 0-16,-1 0 15,0 0 1,0 0-1,-13-13-15,14 13 16,-14-13-16,13 13 16,-13-13-1,0-1 1,0 1 0,-13 26 62,13 1-78,0-1 15,0 0 1,0 0 0,13 1-1,0-14 16,0-14-31,0 1 16,1 0-16,-1 0 16,0-1-1,0 1 1,1 13-16,-14-13 0,13 13 16,0 13-1,0-13-15,0 13 16,-13 1-16,14-14 15,-14 13-15,0 0 0,0 0 0,0 1 16,-14-1-16,14 0 16,0 0-16,-13-13 0,13 13 0,-13 1 15,0-1-15,13 0 0</inkml:trace>
  <inkml:trace contextRef="#ctx0" brushRef="#br0" timeOffset="104548.85">11880 5371 0,'-13'-13'0,"-14"26"32,14 0-32,0 1 15,-1-1-15,1 13 0,0-13 0,0 14 16,13-14-16,-13 0 0,-1 1 16,14-1-16,0 13 0,0-13 0,-13-13 15,26 14-15,-13-1 0,0 0 16,14 0-1,-1-13-15,0-13 16,-13 0-16,13 13 0,-13-13 16,13-1-16,-13 1 0,14 0 15,-14-13-15,0 12 0,13 1 0,-13 0 16,0-14-16,13 27 0,-13-13 0,0 0 16,0 0-16,13 0 15,-13 26 16,0 0-31,0 0 0,0 0 16,14-13-16,-14 14 0,0-1 16,13 0-16,-13 0 0,13 1 15,0-1-15,0-13 16,1 13-16,-1-26 16,0 13-16,0 0 0,1 0 15,-14-13-15,13-1 0,0 14 0,-13-13 16,13 0-16,-13 0 0,14-14 15,-14 14-15,13 0 0,-13 0 0,0-14 16,0 14-16,13 0 0,-13-1 0,0 1 16,0 0-16,0 0 15,0-1-15,0 1 0,-13 40 47,13-14-31,13 0-16,-13 0 0,0 1 15,13-1-15,-13 0 0,13-13 16,1 13-16,-1 1 0,0-14 16,0 0-16,1 0 0,-1 0 15,0 0-15,0-14 0,1 1 16,-14 0-16,13 13 16,-13-13-16,0-1 0,13 14 15,-13-13-15,0 40 31,0-14-15,0 0-16,13-13 0,-13 13 0,0 1 16,0-1-16,0 0 15,13 0-15,-13 0 0,14-13 16,-14 14-16,13-14 0,0 0 16,0 13-16,1-13 0,-1 0 0,0 0 15,0-13-15</inkml:trace>
  <inkml:trace contextRef="#ctx0" brushRef="#br0" timeOffset="105000.87">13123 4815 0,'0'27'16,"0"-14"-1,-13 14-15,13-14 0,0 13 16,0 1-16,0 12 0,0 1 16,0-13-16,0-1 0,0 14 0,0-14 15,0-13-15,13 14 0,-13-14 0,14 0 16,-14 1-16,13-1 0,0 0 15,0-13-15,0 13 0,1-26 16,-1 13-16,0-13 0,0 13 0,14-13 16,-14-1-16,0-12 0,1-1 15,-1 14-15,-13 0 0,13 13 16,-13-13-16,13-1 0,-13 41 31,13-27-31,-13 13 16,14 0-16,-14 1 15,13-14-15,-13 13 0,13-13 0,0 13 16,1-13-16,-1 0 0,0 0 16,0 0-16,1 0 0,-1 0 0,0 0 15,-13-13-15</inkml:trace>
  <inkml:trace contextRef="#ctx0" brushRef="#br0" timeOffset="105278.23">12859 5133 0,'66'-13'32,"-40"13"-32,1 0 0,-1-14 0,14 14 15,0-13-15,-1 0 0,1 13 16,-14 0-16,1-13 0,-1 13 0,1 0 16,-1-13-16</inkml:trace>
  <inkml:trace contextRef="#ctx0" brushRef="#br0" timeOffset="105810.71">13560 5226 0,'13'-27'32,"-13"14"-32,13 0 15,-13-1 1,14 1-16,-14 0 0,0 0 16,0-1-16,0 1 15,-14 13 1,1 0-1,13 13-15,-13-13 0,13 14 0,-13-1 16,13 0-16,-14-13 0,14 13 16,0 1-16,0-1 0,0 0 15,14-13-15,-14 13 0,13 1 16,0-14-16,0 0 16,1 0-16,-1 13 0,0-13 0,0-13 15,14 13-15,-14 0 0,13 0 0,1 0 16,-14-14-16</inkml:trace>
  <inkml:trace contextRef="#ctx0" brushRef="#br0" timeOffset="106360.29">13917 5146 0,'-26'-26'16,"-1"26"0,14 0-16,0 13 15,-1-13 1,1 13-16,0-13 15,0 13-15,13 1 16,13-1 15,0-13-31,0 0 16,1 0 0,-1 0-16,0 0 0,0-13 0,1 13 15,-1 0-15,-13-14 16,13 14-16,0-13 0,14-13 0,-14 12 15,-13 1-15,13 0 0,0 0 16,1-14-16,-14 1 0,13-1 16,0-12-16,-13 12 0,13-12 0,-13 12 15,14 14-15,-14-14 0,0 1 0,0 13 16,13-1-16,-13 1 0,0 0 16,-13 39-1,-1 14 1,14-27-16,-13 14 0,13-14 15,0 14-15,0-14 0,0 13 16,0-13-16,0 14 0,0-14 0,13 0 16,-13 1-16,14-14 0,-14 13 0,13-13 15,0 0-15,0 0 16,1 0-16,-1 13 0,0-13 16,0 0-16,0 0 0,1 0 15,-1 0-15,0 13 16,0-13-1,1 0-15,-1 0 16</inkml:trace>
  <inkml:trace contextRef="#ctx0" brushRef="#br0" timeOffset="106512.58">13798 4987 0,'40'-13'32,"-14"13"-32,-13 0 0,14 0 15,-1 0-15,1-13 0,-1 13 16,14 0-16</inkml:trace>
  <inkml:trace contextRef="#ctx0" brushRef="#br0" timeOffset="106867.62">14433 4882 0,'-26'0'0,"12"13"0,1-13 15,13 13-15,-13-13 0,0 26 16,-27 27 15,40-39-31,13-14 16,0 0-16,1 0 15,-1-14-15,0 14 0,0-13 0,1 0 16,-1 0-16,0-14 0,0 1 16,14-1-16,-14-12 0,0 12 15,0-13-15,-13 14 0,14 13 0,-14 0 16,13-1-16,-13 1 0,0 0 0,-13 39 31,-1-12-31,14 12 16,-13-13-16,13 14 0,0-1 0,-13-13 15,13 14-15,0-1 0,0-12 0,13 12 16,-13 0-16,13 1 0,-13-14 16,14 14-16,-1-14 0,0 13 15,0-12-15</inkml:trace>
  <inkml:trace contextRef="#ctx0" brushRef="#br0" timeOffset="109113.06">14195 5861 0,'66'-80'31,"-53"67"-16,1-14-15,-14 14 0,13-13 0,-13 13 16,0-1-16,13 1 0,-13 0 16,0 0-16,0-1 0,-13 14 31,0 14-31,-1-1 0,1 0 16,13 0-16,-13 1 0,0 12 0,13-13 15,-14 0-15,14 1 0,0-1 16,0 0-16,14 0 0,-14 1 0,13-1 15,0-13-15,0 0 0,1 0 16,-1 0-16,13 0 0,1-13 16,-1-1-16,1 14 0,-1-13 0,0 0 15,-12 0-15,12-1 0,-13 1 0,1 0 16,-1 0-16,0 0 0,-13-1 16,13 14-16,-13-13 0,0 0 15,14 13-15,-14-13 0,0-1 16,-14 14-16,14-13 15,-13 13-15,-13 0 32,12 13-32,14 1 15,-13-14 1,13 13-16,13 0 16,1-13-1,-1 0 1,0 0-1,0 0-15,1 0 0,-14 13 16,13-13 0,-13 14-16,13-14 15,-13 13-15,0 0 0,0 0 16,0 0-16,13-13 0,-13 14 0,0-1 16,13 0-16,-13 0 15,14-13-15,-14 14 16,13-14-16,0 0 15,0 0-15,1-14 0,-1 1 16,0 0-16,-13 0 16,13-1-16,-13 1 0,14 0 0,-14-13 15,13 12-15,-13-12 0,13 13 16,0-14-16,-13 1 0,0 12 16,0 1-16,13 13 0,-13-13 15,0 0-15,-13 39 31,13-13-31,0 1 16,0-1-16,0 0 0,0 0 0,0 1 16,0-1-16,0 0 0,0 0 15,13 1-15,1-1 16,-1-13-16,0 13 0,14-26 16,-14 13-16,0-13 15,0-1-15,0 14 0,1-13 16,-1 0-16,0 0 0,0-1 15,1 14-15,-14-13 0,13 0 16,0 26 15,-13 0-15,0 1-16,13-14 16,-13 13-16,14-13 15,12 0-15,-13 0 16,0 0-16,1 0 0,-1-13 15,0 13-15,0 0 0,1-14 0,-1 14 16,0-13-16,0 0 16,1 13-16,-14-13 0,0-1 15,0 1 1,-14 13 0,-12 0-16,13 13 15,-1 1-15,14-1 16,-13-13-16,13 13 15,0 0-15,0 1 16,13-1 0,14-26-16,-14 13 15,14-14 1,-14 14-16,0-13 0,0 0 0,0 13 16,14-40-16,-14 27 0,14-13 15,-14-1-15,0-13 0,0 14 16,1-14-16,-1 1 0,0 12 0,0-13 15,0 1-15,-13 12 0,14 1 0,-14 13 16,0-1-16,13 1 0,-13 0 16,0 0-16,0-1 0,-13 54 31,13-27-31,-14 14 0,1 13 16,13-14-16,-13 14 0,0-1 15,13-12-15,0-1 0,0 1 0,0-1 16,0-13-16,0 1 0,0 12 0,0-13 15,13 1-15,-13-1 0,13 0 16,0-13-16,-13 13 0,14-13 16,-1 0-16,0 0 0,0-13 15,1 13-15,-1-13 0,0 0 0,0-1 16,1-12-16,-1-1 0,0 1 16,0 0-16,0-1 0,1 14 0,-1-14 15,-13 14-15,13 0 0,-13 0 16,0-1-16,13 1 0,-13 0 15,0 0-15,-26 26 47,26 0-47,-13 0 16,13 1-16,-14-14 0,14 13 0,0 0 16,0 0-16,-13-13 0,13 14 15,0-1-15,0 0 0,0 0 16,13 1-16,-13-1 0,0 0 0,0 0 15,14-13-15,-14 13 0,13-13 16,-13 14-16,13-14 16,0 0-16,1 0 0,-1 0 15,-13-14-15,13 14 0,0 0 16,0-13-16,1 0 0,-1 13 16,0 0-16,-13-13 0,13 13 15,-13-13-15,14 13 0,-1-14 16,0 1-1,0 13-15,1 0 16,-1 0 0,0 0-16,0 0 0,14 0 15,-14 0 1,0 13-16,0-13 16,1 14-16,-14-1 15,0 0-15,0 0 16,0 0-16,0 1 0,0-1 0,0 0 15,-14 14-15,14-14 0,-13 13 16,13-13-16,-13 14 0,0-14 0,-1 0 16,14 1-16,-13-1 0,0 0 0,13 0 15,-13-13 1,26-26 0,0 13-16,0-14 0,1 1 15,12-1-15,-13 1 0,14-14 16,-1 14-16,-12-1 0,12 1 15,-13 13-15,0-14 0,1 14 0,-14 0 16,13-1-16,0 1 0,0 0 0,1 0 16,-1-1-16</inkml:trace>
  <inkml:trace contextRef="#ctx0" brushRef="#br0" timeOffset="109497.52">14526 6046 0,'66'-14'0,"-27"1"16,1 0-16,13 0 0,79-27 15,-52 27-15,-1-14 0,0 14 16,1-13-16,-14 13 0,13-1 0,1-12 15,-14 13-15,0 13 0,-13-14 0,-13 1 16,-14 13-16,1 0 0,-1 0 0,-13 0 16</inkml:trace>
  <inkml:trace contextRef="#ctx0" brushRef="#br0" timeOffset="109661.89">14631 6032 0,'-39'0'0,"78"0"0,-39-13 32,27 0-32,13 0 0,-1 0 15,27-1-15,-13-12 0,0 13 16,0-14-16,-13 14 0,0 0 0,-1 0 16,-12-14-16,-1 14 0,-13 0 15</inkml:trace>
  <inkml:trace contextRef="#ctx0" brushRef="#br0" timeOffset="110106.03">11681 5794 0,'14'0'0,"-28"0"0,41-13 0,13 0 0,-1 0 16,27-14-16,0 1 0,14 13 16,12-14-16,14-13 0,13 14 0,0-1 15,-13 1-15,13 0 0,-13-1 0,13 1 16,-13 12-16,0-12 0,-14 13 15,-12-14-15,-14 14 0,0 0 16,-13 13-16,-26 0 0,-1-13 0,0 13 16,-12 0-16</inkml:trace>
  <inkml:trace contextRef="#ctx0" brushRef="#br0" timeOffset="110373.9">11972 5861 0,'53'-27'15,"265"-66"1,-252 80 0,13 0-16,1 0 0,-1 0 15,-13-14-15,14 14 0,-14 0 0,0-1 16,0 14-16,-13-13 0,0 13 0,-27-13 15,14 13-15,-27 0 0,14 0 16,-14 0-16,0 0 0,0 0 0,1 0 16</inkml:trace>
  <inkml:trace contextRef="#ctx0" brushRef="#br0" timeOffset="113424.81">6271 5900 0,'0'-13'47,"13"0"-47,-13 0 0,0-1 15,13 1-15,-13 0 0,0 0 16,0-1-16,0-12 0,0 13 15,13-14-15,-13 14 0,0-13 0,0 12 16,0-12-16,0 13 0,0-14 0,0 14 16,0-14-16,0 14 0,0 0 15,0 0-15,0 0 0,0-1 0,0 1 16,-13 0 0</inkml:trace>
  <inkml:trace contextRef="#ctx0" brushRef="#br0" timeOffset="113655.65">6324 5398 0,'-14'26'0,"-25"40"32,25-53-32,14 14 0,-13-14 15,0 13-15,13-12 0,-13 12 0,-1-13 16,14 1-16,-13-1 0,13 0 16,0 0-16</inkml:trace>
  <inkml:trace contextRef="#ctx0" brushRef="#br0" timeOffset="113797.47">6310 5556 0,'14'13'0,"12"1"15</inkml:trace>
  <inkml:trace contextRef="#ctx0" brushRef="#br0" timeOffset="114659.89">5398 6337 0,'-27'26'16,"1"1"-16,12-1 0,-12 14 0,-1 13 15,14-14-15,-13 28 0,-1-14 0,14 13 16,-13 0-16,-1 0 0,14 0 15,-14 0-15,14 14 0,-13-14 16,13 0-16,-14-13 0,14 0 0,0-14 16,-1 1-16,14 0 0,-13-1 15,0-12-15,13-14 0,0 0 0,0 14 16,-13-27-16,13 13 0,0 0 0,0 1 16</inkml:trace>
  <inkml:trace contextRef="#ctx0" brushRef="#br0" timeOffset="114999.98">4908 7183 0,'0'0'0,"-13"53"0,0-13 0,13-14 16,-14 14-16,14 13 0,-13-13 0,13 13 16,-13 0-16,0-14 0,13 1 0,0 0 15,0-1-15,0-25 0,13 12 16,-13-13-16,13 14 0,0-27 0,1 13 16,-1-13-16,13 0 0,1 0 15,-1-13-15,14 0 0,0-1 0,-1-12 16,14 13-16,-13-14 0,0 1 15,-14 12-15,14-12 0,-14 13 0,14 0 16,-14-14-16,1 14 0,-1 0 16,-13-1-16,14 1 0,-14 13 0,0-13 15,1 0-15,-1 13 0</inkml:trace>
</inkml:ink>
</file>

<file path=ppt/ink/ink13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1:37:12.136"/>
    </inkml:context>
    <inkml:brush xml:id="br0">
      <inkml:brushProperty name="width" value="0.05292" units="cm"/>
      <inkml:brushProperty name="height" value="0.05292" units="cm"/>
      <inkml:brushProperty name="color" value="#0070C0"/>
    </inkml:brush>
  </inkml:definitions>
  <inkml:trace contextRef="#ctx0" brushRef="#br0">21974 1548 0,'0'-13'0,"0"39"31,0-13-15,0 1-16,0-1 0,-14 0 0,14 0 15,0 0-15,0 14 0,0-14 16,0 14-16,-13-14 0,13 0 16,0 13-16,-13-12 0,13-1 0,0 0 15,0 0-15,-13 1 16,13-1-16,13-13 0</inkml:trace>
  <inkml:trace contextRef="#ctx0" brushRef="#br0" timeOffset="203.12">22185 1640 0,'-26'14'16,"13"-1"0,13 0-16,-27 14 0,14-14 0,0 13 15,-1-13-15,-12 14 0,0-1 0,12-12 16,1 12-16,0-13 0,-14 1 15,14-1-15,13 0 0,-13 0 0,0 0 16,0 1-16,13-1 0,-14-13 0,14 13 16</inkml:trace>
  <inkml:trace contextRef="#ctx0" brushRef="#br0" timeOffset="525.07">22225 1852 0,'-13'13'16,"0"1"-16,-1-14 16,14 13-16,-13 0 0,0 0 15,0-13-15,13 13 0,-14 1 0,1-14 16,13 13-16,-13-13 0,13 13 0,-13 0 15,-1 1 17,28-14-32,-1 0 15,0 0-15,0 0 16,1 0-16,-1 0 0,0 0 0,14 0 16,-14-14-16,13 14 0,-13-13 0,1 13 15,-1 0-15,0-13 0</inkml:trace>
  <inkml:trace contextRef="#ctx0" brushRef="#br0" timeOffset="702.42">22331 1786 0,'-13'13'0,"-1"40"31,1-40-31,13 1 0,0-1 0,-13 13 16,13-13-16,0 14 0,-13-14 15,13 0-15,0 1 0,0-1 0,0 0 16,0 0-16,0 1 0,0-1 0,0 0 16</inkml:trace>
  <inkml:trace contextRef="#ctx0" brushRef="#br0" timeOffset="1126.72">22741 1429 0,'-13'66'31,"13"-53"-31,0 14 0,-14-1 0,14 1 0,0-1 16,0 0-16,-13 1 0,13-1 15,0 1-15,-13-1 0,13-13 0,0 14 16,0-14-16,0 0 0,0 1 0,0-1 16</inkml:trace>
  <inkml:trace contextRef="#ctx0" brushRef="#br0" timeOffset="1363.06">22953 1720 0,'-53'53'31,"39"-40"-31,-12 0 0,13 14 0,-14-1 16,14-13-16,-13 1 0,12 12 0,1-13 15,13 0-15,-13 1 16,0-1-16,-1 0 0,1 0 16,0 1-16,13-1 0,-13-13 15,0 13-15,13 0 16</inkml:trace>
  <inkml:trace contextRef="#ctx0" brushRef="#br0" timeOffset="1682.92">22966 1905 0,'-27'13'16,"14"0"-16,0-13 0,13 14 15,-13-1-15,-1-13 0,1 13 0,0 0 16,0 1-16,0-1 16,-1 0-16,14 0 15,-13-13 1,26 14 0,1-14-16,-1 0 15,0 0-15,0 0 0,0 0 16,1 0-16,12 0 0,-13 0 0,1-14 15,-1 14-15,0 0 0,0-13 16</inkml:trace>
  <inkml:trace contextRef="#ctx0" brushRef="#br0" timeOffset="1874.81">22992 1879 0,'-39'39'16,"39"-26"-16,0 1 15,-14-1-15,14 0 0,0 14 0,0-14 16,0 0-16,0 14 0,0-14 16,0 0-16,0 0 0,0 14 0,0-14 15,0 0-15,0 0 0,0 1 16,0-1-16,0 0 16</inkml:trace>
  <inkml:trace contextRef="#ctx0" brushRef="#br0" timeOffset="2199.64">23283 1482 0,'0'13'31,"-13"0"-31,13 0 0,0 14 0,-13-1 16,13 1-16,-13-1 0,13 14 0,-14 0 15,14-14-15,-13 0 0,13 1 16,0-14-16,0 0 0,0 1 16,0-1-16</inkml:trace>
  <inkml:trace contextRef="#ctx0" brushRef="#br0" timeOffset="2424.04">23561 1667 0,'-40'40'16,"27"-27"-16,0 0 0,0 0 0,-14 14 15,-79 105 1,80-106-16,13 1 16,0-14-16,-1 14 0,1-14 0,0 0 15,0 0-15,-1 1 0,1-1 16,13 0-16,-13 0 15</inkml:trace>
  <inkml:trace contextRef="#ctx0" brushRef="#br0" timeOffset="2714.16">23508 2011 0,'-26'13'16,"13"-13"-16,-1 13 15,1-13-15,13 14 0,-13-14 16,13 13-16,-13-13 16,13 13-16,-14-13 15,28 13 1,-1-13-16,-13 13 0,13-13 15,0 0-15,1 0 0,-1 0 0,0 0 16,0 0-16,0 0 0,1 0 0,12 0 16,-13 0-16,1 0 0,-1-13 15</inkml:trace>
  <inkml:trace contextRef="#ctx0" brushRef="#br0" timeOffset="2915.94">23561 2064 0,'-13'26'0,"13"-13"15,0 1-15,0-1 0,0 0 16,0 0-16,-13 1 0,13-1 0,0 0 16,0 0-16,0 0 0,0 1 15,13-1 1,0 0-16</inkml:trace>
  <inkml:trace contextRef="#ctx0" brushRef="#br0" timeOffset="3198.88">24130 1416 0,'-13'39'0,"13"-12"0,0-14 15,-13 13-15,13-12 0,0 25 0,0-12 16,-14 12-16,14 1 0,0 0 15,-13-1-15,13 1 0,0-13 0,-13 12 16,13-25-16,0 25 0,-13-12 16</inkml:trace>
  <inkml:trace contextRef="#ctx0" brushRef="#br0" timeOffset="3784.17">24355 1865 0,'-27'14'31,"14"-1"-31,0 0 0,0 0 0,0 14 16,-14-1-16,1 1 0,12-1 16,-12-13-16,-1 14 0,14-1 0,-13 1 15,13-14-15,-1 13 0,1-12 0,0-1 16,0 0-16,-1 0 0,14 0 16,-13-13-1,13 14-15</inkml:trace>
  <inkml:trace contextRef="#ctx0" brushRef="#br0" timeOffset="4334.89">24262 2130 0,'-39'13'16,"25"-13"-1,14 13-15,-13-13 0,0 14 16,0-1-16,-1-13 16,14 13-16,14 0 31,-1-13-15,0 0-16,0 0 15,14 0-15,-14 0 0,0 0 0,14 0 16,-1 0-16,-13 0 0,1 0 15,12 0-15,-13-13 0,1 13 0,-1 0 16,0 0-16,0 0 0,-13-13 0,14 13 16</inkml:trace>
  <inkml:trace contextRef="#ctx0" brushRef="#br0" timeOffset="4515.08">24408 2077 0,'-13'13'16,"-1"-13"-16,14 13 0,0 1 0,0-1 16,0 0-16,-13 0 0,13 27 15,0-27-15,0 14 0,-13-14 16,13 13-16,0-12 0,0 12 0,0 1 16,0-14-16,0 13 0,0-13 0,0 1 15</inkml:trace>
  <inkml:trace contextRef="#ctx0" brushRef="#br0" timeOffset="6829.21">21749 1323 0,'0'-13'15,"-13"13"-15,26-14 0,-13 1 16,0 0-16,13 13 0,-13-13 16,13 0-16,0 13 0,1-14 15,12 1-15,-13 0 0,1 13 16,12-13-16,1-1 0,-14 14 0,13-13 15,-13 13-15,14 0 0,-14-13 0,0 13 16,14 0-16,-14 0 0,0 0 16,14 0-16,-14 0 0,13 13 15,-12-13-15,12 0 0,-13 0 0,14 13 0,-14-13 16,0 0-16,14 0 0,-14 0 16,13 14-16,-12-14 0,-1 0 15,0 0-15,14 0 0,-14 0 0,0 0 16,13 0-16,-12 0 0,-1 0 0,13-14 15,-12 14-15,-1 0 0,0 0 16,13-13-16,-12 13 0,-1-13 0,0 13 16,0 0-16,-13-13 0,14 13 0,-1-14 15,0 1 1,-13 0-16,13 0 0,-13 0 16,0-1-16,0 1 0,0 0 15,0 0-15,0-1 16,0 1-16,0 0 15,-13 13-15,13-13 16,13 26 31,1 0-31,-1-13-16,0 13 0,0 1 15,0-14-15,1 0 0,-1 13 16,0-13-16,0 0 0,1 13 15,12-13-15,-13 0 0,1 0 0,12 0 16,0 0-16,1 0 0,-14 0 16,14 0-16,12 0 0,-12 0 0,26-13 15,-14 13-15,-12-13 16,-1 13-16,14-14 0,0 14 0,-1-13 0,1 0 16,-14 13-16,1-13 0,13 13 15,13-14-15,-14 14 16,-12 0-16,12 0 0,1 0 0,0 0 15,-14 0-15,14 0 0,-14 0 0,14 0 16,-14-13-16,14 13 0,-13 0 0,-1 0 16,14 0-16,-14 0 15,1 13-15,-1-13 0,14 0 0,-27 0 0,14 0 16,-1 0-16,0 0 16,-12 0-16,-1 14 0,0-14 0,0 0 15,1 0-15,-1 13 16,0-13-16,0 0 0,1 0 31</inkml:trace>
  <inkml:trace contextRef="#ctx0" brushRef="#br0" timeOffset="12155.1">21458 1812 0,'26'0'47,"-13"0"-47,1 0 16,-1 0-16,0 0 0,0 0 15,1 0-15,-1-13 16,0 13-16</inkml:trace>
  <inkml:trace contextRef="#ctx0" brushRef="#br0" timeOffset="12402.51">21392 1998 0,'26'0'32,"-13"0"-32,0 0 0,1 0 0,-1 0 15,0 0-15,0 0 0,1 0 0,-1-14 16,0 14-16,0 0 0,1 0 16,-1 0-16,0 0 0,0 0 15,0 0-15,1 0 0,-1-13 16</inkml:trace>
  <inkml:trace contextRef="#ctx0" brushRef="#br0" timeOffset="13663.28">20717 1693 0,'-13'27'0,"-27"12"32,27-25-32,0-1 0,-1 0 15,14 0-15,-13 1 0,0-1 16,13 0-16,-13-13 0,13 13 15,-14 1-15,28-14 32,12 13-32,-26-26 15,13 13-15,27 0 0,-27 0 16,0 0-16,1-14 16,12 14-16,-13 0 0,1-13 0,12 13 15,-13-13-15,0 13 0,1 0 0,-1-13 16</inkml:trace>
  <inkml:trace contextRef="#ctx0" brushRef="#br0" timeOffset="13891.34">20757 1707 0,'-14'39'31,"14"-26"-31,-13 14 0,13-14 0,0 0 16,0 14-16,-13-14 0,13 14 15,0-14-15,0 13 0,0-13 0,0 1 16,0-1-16,0 0 0,0 14 16,0-14-16,0 0 0,0 0 15,0 1-15</inkml:trace>
  <inkml:trace contextRef="#ctx0" brushRef="#br0" timeOffset="14156.18">20505 2183 0,'0'0'15,"27"-13"1,-14 13 0,0 0-16,14-14 0,-14 14 0,13-13 15,-12 13-15,12 0 0,-13-13 0,14 13 16,-1-13-16,-13 13 16,14 0-16,-14-14 0,0 14 0,0 0 15,1 0-15,-1 0 0,0 0 16</inkml:trace>
  <inkml:trace contextRef="#ctx0" brushRef="#br0" timeOffset="14543.13">20611 2302 0,'-26'13'0,"12"0"0,-12 14 31,13-27-31,-1 13 0,1-13 0,13 13 15,-13 0 1,26 1 0,0-14-1,1 0-15,-1 0 16,0 0-16,0-14 0,14 14 0,-14 0 16,14-13-16,-1 13 0,0-13 0,1 13 15,-1 0-15,-12-13 0,-1 13 16,0-13-16,0 13 0,0-14 0</inkml:trace>
  <inkml:trace contextRef="#ctx0" brushRef="#br0" timeOffset="14732.39">20638 2289 0,'-14'26'0,"28"-52"0,-28 65 0,1-25 16,13-1-16,0 0 0,-13 0 15,13 14-15,0-14 0,0 13 0,0-12 16,0 12-16,0-13 0,0 14 0,0-14 16,0 0-16,13 0 0,0 1 15,1-14-15,-1 0 0,0 0 16</inkml:trace>
  <inkml:trace contextRef="#ctx0" brushRef="#br0" timeOffset="15498.83">22503 1574 0,'-13'14'16,"-1"-1"0,14 0-16,0 0 0,0 0 0,0 1 15,0-1-15,-13 0 0,13 14 16,0-14-16,0 13 0,0-13 0,-13 1 16,13-1-16</inkml:trace>
  <inkml:trace contextRef="#ctx0" brushRef="#br0" timeOffset="15696.54">22344 1746 0,'27'-13'31,"-14"13"-31,0 0 0,0 0 15,0-13-15,1 13 0,-1 0 0,0 0 16,14 0-16,-14 0 0</inkml:trace>
  <inkml:trace contextRef="#ctx0" brushRef="#br0" timeOffset="15978.1">23072 1574 0,'13'27'15,"-13"-14"1,0 0-16,0 0 0,0 1 0,0-1 16,0 0-16,0 0 0,0 1 0,0-1 15,-13 0-15</inkml:trace>
  <inkml:trace contextRef="#ctx0" brushRef="#br0" timeOffset="16171.01">22966 1720 0,'13'-13'16,"14"-1"-1,-14 14-15,13-13 0,-13 13 16,1 0-16,12 0 0,1-13 0,-14 13 15,13 0-15</inkml:trace>
  <inkml:trace contextRef="#ctx0" brushRef="#br0" timeOffset="16429.04">23945 1548 0,'-13'53'16,"13"-40"-1,0 0-15,-14 0 16,14 1-16,0-1 0,0 0 0,0 0 15,-13 1-15</inkml:trace>
  <inkml:trace contextRef="#ctx0" brushRef="#br0" timeOffset="16639.8">23773 1654 0,'39'0'0,"-78"0"0,92-14 0,-40 14 15,0 0-15,0 0 16,1 0-16,12-13 0,-13 13 0,1 0 16,-1 0-16,13 0 0,-13 0 0,1 0 15</inkml:trace>
  <inkml:trace contextRef="#ctx0" brushRef="#br0" timeOffset="17360.48">20518 2381 0,'-26'27'0,"13"-14"0,-14 0 0,14 0 16,-66 80-1,65-80 1,1-13-16</inkml:trace>
  <inkml:trace contextRef="#ctx0" brushRef="#br0" timeOffset="17578.39">20876 1799 0,'-27'13'0,"-52"54"16,52-41-16,1 0 15,-1-12-15,1 12 0,0 1 16,12-14-16,1 0 0,-13 0 0,12 1 16,1-1-16</inkml:trace>
  <inkml:trace contextRef="#ctx0" brushRef="#br0" timeOffset="17878.8">20664 1323 0,'-13'53'16,"13"-27"-1,0 1-15,-13 12 0,13 41 0,0-40 16,0-14-16,0 14 0,0-14 16,0 1-16,0-14 0</inkml:trace>
  <inkml:trace contextRef="#ctx0" brushRef="#br0" timeOffset="18639.18">20704 1111 0,'-40'-39'0,"80"78"0,-93-92 0,26 53 16,1-13-16,-1 0 0,1 13 0,-1 0 16,1 0-16,-27 13 0,13 0 0,-13 14 15,14 12-15,-14-12 0,13 26 16,0-13-16,1 12 0,12 1 0,1 0 16,-1-13-16,14 13 0,0-13 0,13 13 15,0-14-15,0 1 0,0 0 0,13-1 16,0 1-16,14-14 0,-1 1 15,1-1-15,-1 1 0,14-14 16,-14 0-16,14 0 0,0-13 0,-14 0 16,14 0-16,0-13 0,-1 0 0,14-13 15,-13 12-15,13-25 0,-13 25 16,-1-25-16,-12 12 0,-1 1 0,27-40 16,-40 26-16,14 0 15,-14 1-15,-13-1 0,13-13 0,-13 13 16,-13 1-16,13-14 0,-13 13 0,13 0 15,-27 1-15,14-1 0,0 13 0,-14 1 16,1 0-16,-1 12 0,1-12 16,0 13-16,-1-1 0,1 14 0,-14 0 15,13-13-15,1 13 0,-14 0 16,14 13-16,-1-13 0,1 14 0,-14-1 16,14-13-16,-1 13 0,14 0 15,-13 1-15</inkml:trace>
  <inkml:trace contextRef="#ctx0" brushRef="#br0" timeOffset="61307.21">14975 8242 0,'-26'-13'16,"-1"-1"0,14 14-16,13-13 0,-13 13 15,0-13-15,0 13 16,-1-13-16,1 13 16,0-14-16,0 14 0,-1-13 0,1 13 15,0-13-15,-13 13 0,12-13 16,1 13-16,-13-14 0,12 14 0,1 0 15,-13-13-15,12 13 0,-12 0 0,13 0 16,-14 0-16,14 0 0,-13 0 16,-1 13-16,1-13 0,-1 14 0,-12-1 15,12 0-15,-13 0 0,1 1 0,-1-1 16,14 13-16,-14-12 0,0 12 16,1-13-16,-1 0 0,0 14 15,14-14-15,-14 14 0,14-14 0,-14 13 16,13-12-16,1-1 0,-1 13 0,1-13 15,13 1-15,0 12 0,-14-13 16,14 1-16,0-1 0,-1 13 0,14-13 16,-13 14-16,0-14 0,0 14 0,13-1 15,-14-13-15,1 14 0,13-1 16,-13 1-16,13-14 0,-13 13 0,13 1 16,0-1-16,-13 1 0,13-1 0,0 1 15,0-1-15,0 1 0,0-14 16,0 13-16,0 1 0,0-1 15,13 1-15,-13-1 0,0-13 0,13 14 16,0-1-16,0 1 0,-13-1 0,14 1 16,12 12-16,-13-12 0,1-1 15,12 1-15,-13-14 0,14 13 0,-1 1 16,1-14-16,12 0 0,-12 1 0,-1-1 16,1 13-16,12-13 0,-12-13 15,-1 14-15,1-1 0,-1-13 0,1 0 16,-1 13-16,1-13 0,-1 0 0,1 0 15,12 0-15,-12 0 0,-1 0 0,14-13 16,0 13-16,-14 0 16,14-13-16,-14-1 0,14 1 0,-14 13 15,14-13-15,-14 0 0,1 0 0,-1-1 16,1 1-16,-14 0 0,27 0 16,-14-14-16,-13 14 0,14 0 0,-14-1 15,0 1-15,14 0 0,-1 0 0,-13-14 16,1 14-16,-1 0 0,13-14 0,-12 14 15,-1-13-15,13 13 0,-12-14 16,-1 1-16,0-1 0,0 1 0,0-1 16,1 14-16,-1-13 0,0 12 0,0-12 15,-13 13-15,14-14 0,-14 14 16,0 0-16,0-14 0,0 14 16,13 0-16,-13 0 0,-13-1 0,13-12 15,0 13-15,0-14 0,-14 14 0,14-14 16,-13 1-16,0 0 0,0-1 15,-1 1-15,1-14 0,0 13 0,-13 1 16,12 0-16,1-1 0,-13 1 0,12-1 16,-12 14-16,-1-13 0,1 12 15,0 1-15,-14-13 0,-26-1 16,39 27-16,-12-13 0,12 13 16,1-13-16,-1 13 0,1 0 0,13 0 15,-14-14-15,1 14 0,12 0 0,1 0 16,0 0-16</inkml:trace>
  <inkml:trace contextRef="#ctx0" brushRef="#br0" timeOffset="62283.06">15729 8824 0,'-13'-119'0,"13"92"16,0-12-16,0-14 0,0 13 15,0-13-15,-13 13 0,13 1 16,0-14-16,0 13 0,-13-39 0,13 52 15,-13 1-15,13 13 0,0-1 16,-14 1-16,14 0 0,0 0 0,0-1 16,-13 1-16,26 40 15,-13-14 1,14 13-16,-1 14 0,0 0 16,0-1-16,0-12 0,14 13 0,-14-1 15,0-12-15,14-1 0,-14 14 0,0-14 16,1-12-16,-1 12 0,0-13 15,0 0-15,0 1 0,1-1 16,-14 0-16,13 0 16,-26 1-1,-1-1 1,1-13-16,0 0 0,0 0 0,-14 0 16,1 13-16,13-13 0,-14 0 0,1 0 15,-1 0-15,1 13 0,-1-13 0,1 0 16,-1 0-16,1 0 0,13 0 15,-14 0-15,14 0 0,0 0 0,-14 0 16,14 0-16,0 0 0,0 0 16,13-13-1,0-13 1,13 12-16,-13 1 0,26-13 0,1-1 16,-1 1-16,1-1 0,-1 1 0,14-14 15,0 1-15,-1 12 0,1-13 16,-14 14-16,1-1 0,39-12 15,-40 12-15,1 1 0,-1 13 0,-12-1 16,-1 1-16,0 13 0,-13-13 16,13 13-16,1-13 0,-1-1 15,-26 41 1,13-14-16,-14 0 16,1 14-16,0-1 15,-14 14-15,14-14 0,-13 14 0,-1 0 16,1 13-16,-1-14 0,14-12 0,-13 26 15,-1-14-15,1-12 0,12-1 0,-12 14 16,13-13-16,0-1 16,-1-13-16,1 0 0,0 1 0,13-1 15,-13 0-15,13 0 0,-14 1 0,14-1 16,27-13 31,-14-13-47</inkml:trace>
  <inkml:trace contextRef="#ctx0" brushRef="#br0" timeOffset="62728.66">16510 8348 0,'0'0'0,"26"-14"32,-12 14-32,-1-13 15,0 13-15,14-13 0,-14 13 16,0 0-16,27-27 0,-14 27 15,-13 0-15,14-13 0,-14 13 16,0 0-16,-13-13 0,14 13 16,-1 13-16,-13 0 15</inkml:trace>
  <inkml:trace contextRef="#ctx0" brushRef="#br0" timeOffset="62923.85">16576 8520 0,'27'-14'15,"-14"14"1,0-13-16,0 13 0,1-13 0,12 13 16,-13-13-16,14 13 0,-14-14 15,13 14-15,1-13 0,-1 0 0,-12 13 16,12-13-16,-13 13 0,14 0 0,-14-13 15,0 13-15</inkml:trace>
  <inkml:trace contextRef="#ctx0" brushRef="#br0" timeOffset="63688.23">17224 8017 0,'0'-13'0,"-13"26"47,13 0-47,0 0 16,0 1-16,0-1 0,0 0 16,0 0-16,13 0 15,-13 1-15,14-14 16,-1 13-16,0-13 15,0 0-15,1 0 0,-1-13 16,0 13-16,0-14 16,0 14-16,1-13 0,-1 13 31,0 0-31,0 0 16,1 13-1,-1-13-15,0 0 16,0-13-1,0 13-15,-13-13 16,14 13-16,-14-13 0,13 0 16,-13-1-16,0 1 0,0 0 0,0 0 0,0-1 15,0-12-15,0 13 0,0 0 16,0-1-16,0 1 0,0 0 0,0 0 16,0-1-16,0 1 15,0 0-15,0 53 31,13-27-31,-13 0 16,0 0-16</inkml:trace>
  <inkml:trace contextRef="#ctx0" brushRef="#br0" timeOffset="64141.65">17727 8004 0,'13'-14'0,"-26"28"0,40-41 16,-27 14-16,0 0 16,0 0-16,0-1 15,0 1 1,-14 13 0,1 13-16,0-13 15,13 14-15,-13-1 0,-1 0 16,14 0-16,0 0 15,0 1-15,0-1 16,14-13 0,-1 0-16,0 0 0,14-13 15,-1-1-15,14 1 16,-14-13-16,-13-1 16,14 14-16,-14 0 15,0 0-15,1 13 16,-14-14-16,13 28 15,-13-1-15,0 0 16,13 0 0,-13 1-16,0-1 0,0 0 0,0 0 15,13-13-15,-13 13 0,0 1 0,13-1 16,-13 0 0,14-13-1</inkml:trace>
  <inkml:trace contextRef="#ctx0" brushRef="#br0" timeOffset="64265.2">18005 7792 0,'0'0'15</inkml:trace>
  <inkml:trace contextRef="#ctx0" brushRef="#br0" timeOffset="65523.67">18269 7818 0,'-13'0'16,"26"0"-16,-39 0 0,13 0 0,0 14 15,-1-14-15,1 13 16,0-13-16,13 13 0,-13-13 16,13 13-16,0 1 15,13-1 1,-13 0-16,13 0 15,0 1-15,-13-1 0,14-13 16,-14 13-16,0 0 0,0 0 16,0 1-16,-14-1 0,14 0 15,-13-13-15,13 13 0,-13 1 0,0-1 16,-1 0-16,1-13 16,0 13-16,0-13 15,13 13-15,-13-13 16,39-13 15,-26 0-31,13 13 16,0-13-16,1 13 0,-1-13 0,0-1 0,0 1 15,1 0-15,-1 0 0,0-1 16,0 1-16,0-26 0,1 25 16,-1-12-16,0-1 0,-13 1 15,13 13-15,-13-14 0,14 1 0,-14-1 16,0 1-16,13 13 0,-13-14 15,0 14-15,0 0 0,0-1 0,0 1 16,0 0-16,0 0 0,0 0 0,0-1 16,13 41 15,-13-14-31,0 0 16,0 0-16,0 1 0,0-1 15,0 0-15,0 0 0,0 14 0,0-14 16,0 0-16,13-13 0,-13 14 15,0-1-15,0 0 0,14-13 16,-14 13-16,13-13 16,0 0 15,0 13-31,0-13 16,-13 14-16,14-14 15,-14 13-15,13-13 0,0 13 16,0-13-16,-13 13 15,14-13-15,-1 0 0,0 0 16,14 0 0,-14-13-16,0 13 0,0-13 15,-13 0-15,13 13 16,-13-14-16,14 1 0,-14 0 16,13-13-16,0-1 0,-13 14 15,13 0-15,-13-1 0,0 1 0,0 0 16,14 0-16,-14-1 0,0 1 15,0 0-15,13 0 16,-13 0-16,-13-1 0,13 1 16,0-13-1,0 12 1,-14 1-16,1 26 31,13 1-31,0-1 0,-13 0 16,13 0-16,0 14 0,-13-14 15,13 13-15,0-12 0,0 12 0,0-13 16,0 1-16,0 12 0,0-13 0,0 14 16,0-14-16,13-13 15,-13 13-15,13-13 0,-13 13 0,13-13 16,14 0-16,-14 0 16,0-13-16,0 13 0,1-13 15,-1 13-15,0-13 0,0 13 0,-13-13 16,14 13-16,-1 0 0,-13-14 0,13 14 15,0 0-15,1 0 0,-1 14 16,0-14 0,-13 13-16,13-13 0,0 13 15,-13 0-15,14-13 16,-14 13-16,0 1 16,-14-1-1,1-13-15,0 13 0</inkml:trace>
  <inkml:trace contextRef="#ctx0" brushRef="#br0" timeOffset="65737.17">18534 7713 0,'0'-14'15,"13"1"-15,1 13 16,-1-13-16,0 13 0,0 0 15,14-13-15,-14 13 0,0-14 0,14 14 16,-14-13-16,26 0 0,-12 13 16,-14 0-16,14-13 0,-14 13 15,13 0-15,-12-13 0,12 13 16,0 0-16,-12-14 0</inkml:trace>
  <inkml:trace contextRef="#ctx0" brushRef="#br0" timeOffset="65957">19235 7527 0,'13'0'0,"14"-13"31,-14 13-31,0 0 15,1 0-15,-1 0 16</inkml:trace>
  <inkml:trace contextRef="#ctx0" brushRef="#br0" timeOffset="66142.25">19235 7633 0,'27'-13'32,"-14"13"-17,0 0-15,0 0 0,1-13 16,-1 13-16,13 0 16,-12 0-16,-1 0 0,13 0 15,-13 0-15</inkml:trace>
  <inkml:trace contextRef="#ctx0" brushRef="#br0" timeOffset="68222.66">19936 7607 0,'27'-13'32,"-14"-1"-32,0 1 15,0 13-15,-13-13 0,14 0 0,-14-1 16,13-12-16,-13 13 0,13-1 16,-13-12-16,0 13 0,13 0 0,-13-14 15,0 14-15,0 0 16,0-1-16,-13 14 0,13-13 15,-13 13-15,0 0 0,-1 13 16,1-13-16,0 14 0,13-1 16,-13 0-16,13 0 0,-13 1 15,13-1-15,0 0 0,0 0 0,0 0 16,0 1-16,0-1 0,0 0 16,13 0-16,0 1 0,0-1 15,0-13-15,1 13 0,-1-13 16,13 0-16,1 0 0,-14 0 15,0-13-15,14 13 0,-14 0 0,13-13 16,-12 13-16,-1-14 0,0 1 16,0 13-16,1-13 0,-14 0 0,13 13 15,0-14-15,-13 1 0,13 13 16,-13-13-16,14 0 16,-41 26 30,14 0-46,13 0 16,-13-13-16,13 14 0,-14-1 16,14 0-16,0 0 0,-13-13 0,13 14 15,0-1-15,0 0 0,-13 0 16,13 1-16,0-1 16,0 0-16,0 0 0,0 0 31,0 1-16,13-14-15,0-14 16,1 14 0,-1 0-16,-13-13 15,13 0-15,0 13 16,-13-13-16,14 0 0,-14-1 16,13 1-16,-13 0 15,13 0-15,-13-1 16,13 1-16,-13 0 31,0 39 0,0-12-15,-13-1-16,13 0 16,0 0-16,0 1 0,0-1 0,-13 0 15,13 13-15,0-12 0,0-1 16,0 0-16,0 0 0,0 1 15,13-1-15,-13 0 16,0 0-16,13-13 16,0 14-1,1-14-15,-1-14 16,0 14-16,0-13 0,1 0 16,-1 13-16,-13-13 15,13-1-15,-13 1 0,13 0 16,-13-14-16,14 14 0,-14 0 0,13 0 15,-13-14-15,13 14 0,-13-13 16,13 12-16,-13 1 0,0 0 16,0 0-16,13 13 0,-13-14 15,0 1-15,-13 53 47,13-27-47,0 0 0,0 1 16,13-1-16,-13 0 0,14 0 15,-14 1 1,13-1-16,0-13 0,-13 13 16,13-13-16,1 0 15,-1-13-15,0 13 0,0 0 16,-13-13-16,14 13 0,-1-14 0,-13 1 16,13 0-16,0 0 0,0-1 15,-13 1-15,14 0 0,-14 0 16,13-1-16,-13 1 15,0 0-15,0 53 47,0-27-47,0 0 0,0 0 16,13 1-16,-13-1 16,13 0-1,1-13-15,-1 0 0,-13 13 16,13-13-16,13-13 0,-12 13 15,-1 0-15,-13-13 0,13 13 16,0 0-16,-13-13 0,14 13 16,-1-14-16,-13 1 15,-13 0 1,-1 26 0,1-13-1,0 0-15,0 0 16,13 13-1,-14-13-15,14 14 16,14-1 15,-1-13 1,0 0-17,0 0 1,1 0-1,-14 13-15,13-13 16,0 0 15,0 0-31,1-13 16,-1 13-16,-13-13 16,13-1-16,0 1 0,0-13 15,-13 12-15,14 1 0,-14-13 16,0-1-16,13 14 0,0-40 15,-13 27-15,0 12 16,13-12-16,-13 13 0,0 0 0,0-1 16,0 1-16,-13 40 31,0-14-31,13 0 16,0 13-16,-13-12 0,13 12 0,0-13 15,0 14-15,0-14 0,0 0 0,13 14 16,-13-14-16,13 0 0,-13 0 15,27 27-15,-14-27 16,0 1-16,0-1 0,1-13 0,38 13 16,-25 0-16,-1-13 15,14 0-15,-14 0 0</inkml:trace>
  <inkml:trace contextRef="#ctx0" brushRef="#br0" timeOffset="68568.39">22040 7091 0,'0'0'0,"-13"26"32,13-12-32,-14-1 15,14 0-15,-13 13 0,13-12 0,-13-1 16,13 0-16,-13 0 0,13 14 15,0-14-15,-14 0 0,14 0 0,0 1 16,14-1-16</inkml:trace>
  <inkml:trace contextRef="#ctx0" brushRef="#br0" timeOffset="68803.2">22265 7236 0,'0'-13'0,"-14"40"31,1-14-31,0 0 16,0 0-16,0 14 0,-14-1 0,14-13 15,-14 14-15,1-1 0,-1 1 0,1-1 16,0 1-16,-1-14 0,1 13 16,-14 14-16,27-27 15,-14 1-15,14-1 0,13 0 0,-13 0 16,0 0-16,13 1 15</inkml:trace>
  <inkml:trace contextRef="#ctx0" brushRef="#br0" timeOffset="69281.42">22291 7541 0,'0'0'15,"-26"26"17,12-26-32,1 13 0,0-13 15,-13 27 1,12-14 0,14 0-1,0 0 1,14-13-16,-1 0 15,0 0-15,0 0 16,0 0-16,1 0 0,12-13 0,-13 13 16,1-13-16,-1 13 0,13-26 15,-12 26-15,-14-14 0,13 1 16,0 0-16,-13 0 16,13 13-16,-13-14 15,-26 28 1,13-1-1,13 0-15,-14 0 16,14 14-16,-13-14 0,13 13 16,-13-12-16,13-1 0,0 13 15,0 1-15,-13-14 0,13 0 16,0 1-16,0 12 0,-14-13 16,14 0-16,0 1 15,-13-1-15</inkml:trace>
  <inkml:trace contextRef="#ctx0" brushRef="#br0" timeOffset="69593.34">21815 6972 0,'-40'53'0,"-52"119"31,65-119-31,14 13 0,-40 66 0,40-79 16,-14 13-16,14 0 0,13-13 15,0 0-15,0-13 0,13-1 0,-13 1 16,27 0-16,-14-14 0,13 14 0,1-27 15,13 14-15,-14-14 0,14 0 16,-1 0-16,-12-13 0,-1-13 16,27 13-16,-13-13 0,0 0 0,-1-1 15,1 1-15</inkml:trace>
  <inkml:trace contextRef="#ctx0" brushRef="#br0" timeOffset="69901.42">22516 6932 0,'26'13'0,"-12"1"0,-1 12 16,0 0-16,14 1 0,-14 13 0,13-1 15,-12 1-15,12 13 0,0 0 0,-12-14 16,-1 14-16,0-13 0,0 0 16,1-1-16,-14 1 0,0-13 0,-14 12 15,14 1-15,-13 0 0,0-1 0,-27 14 16,14-13-16,-1-14 0,1-12 16,-1 12-16,1-13 15,-1 1-15,1-1 0,-14 13 0</inkml:trace>
  <inkml:trace contextRef="#ctx0" brushRef="#br0" timeOffset="70403.67">22093 8176 0,'-27'13'31,"27"0"-31,-13 0 0,-13 14 16,12-14-16,-12 13 0,-27 41 15,27-41-15,-1 1 0,1-1 0,-27 27 16,39-27-16,-12-12 16,13 12-16,0-26 0,-1 13 0,1 14 15,0-27-15</inkml:trace>
  <inkml:trace contextRef="#ctx0" brushRef="#br0" timeOffset="70641.7">21722 8361 0,'-26'13'0,"-27"40"31,53-40-31,0 0 15,-13 1-15,13-1 0,0 13 16,13-12-16,-13-1 16,13 0-16,0 0 0,14-13 15,-1 0-15,1 13 0,-1-13 0,67-13 16,-40 0-16,-14 13 16,14-13-16,0 0 0,0-1 0,27 1 15</inkml:trace>
</inkml:ink>
</file>

<file path=ppt/ink/ink13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22:11.344"/>
    </inkml:context>
    <inkml:brush xml:id="br0">
      <inkml:brushProperty name="width" value="0.05292" units="cm"/>
      <inkml:brushProperty name="height" value="0.05292" units="cm"/>
      <inkml:brushProperty name="color" value="#FF0000"/>
    </inkml:brush>
    <inkml:brush xml:id="br1">
      <inkml:brushProperty name="width" value="0.05292" units="cm"/>
      <inkml:brushProperty name="height" value="0.05292" units="cm"/>
      <inkml:brushProperty name="color" value="#00B0F0"/>
    </inkml:brush>
    <inkml:brush xml:id="br2">
      <inkml:brushProperty name="width" value="0.05292" units="cm"/>
      <inkml:brushProperty name="height" value="0.05292" units="cm"/>
      <inkml:brushProperty name="color" value="#FFFF00"/>
    </inkml:brush>
  </inkml:definitions>
  <inkml:trace contextRef="#ctx0" brushRef="#br0">22966 6906 0</inkml:trace>
  <inkml:trace contextRef="#ctx0" brushRef="#br0" timeOffset="10742.21">8229 3691 0,'-14'132'32,"14"-66"-32,0 1 0,-13-1 0,13 13 15,-13 0-15,0 1 0,13-1 0,-14 1 16,1-14-16,0 13 0,0-13 15,13 0-15,-14-13 0,1 0 0,13-13 16,-13 0-16,13-1 0,-13-12 0,13-1 16,0-13-16,-13 1 0,13-1 0,0 0 15</inkml:trace>
  <inkml:trace contextRef="#ctx0" brushRef="#br0" timeOffset="12285.07">8162 3678 0,'27'-14'0,"92"1"16,-93 0-1,27 13-15,0 0 0,0-13 16,0 13-16,13-13 0,14 13 0,-14 0 15,13-14-15,0 14 0,1 0 0,12 0 16,-12 0-16,12 0 0,1-13 16,-14 13-16,27 0 0,-13 0 0,-1 0 15,14 0-15,0-13 0,26 13 0,1-13 16,-1 13-16,-13 0 16,13-14-16,14 14 0,-14-13 0,0 13 15,14-13-15,-1 13 0,-12 0 0,12 0 16,1-13-16,-1 13 0,1 0 15,-14 0-15,27 13 0,-27-13 0,14 0 16,-1 0-16,1 13 0,-1-13 0,1 13 16,-14-13-16,14 0 0,-1 14 0,1-14 15,-1 0-15,-13 13 0,14-13 16,0 0-16,-14 0 0,0 0 0,0 13 16,-13-13-16,14 0 0,-27 0 0,-1 0 15,1 0-15,0 0 16,0-13-16,0 13 0,0 0 0,-14 0 15,1 0-15,-1 0 0,1 0 0,-14 0 16,1 0-16,-1 0 0,-13-13 16,0 13-16,-13 0 0,-13 0 0,13 0 15,-13-14-15,-14 14 0,1 0 16,-1 0-16,-13 0 0,14 0 0,-14 0 0,0-13 16,0 13-16,1 0 15,-1 0-15,0 0 0,0 0 16,1 13-1,-14 1 1,0-1-16,0 0 0,0 0 16,-14 14-16,14-1 0,0 1 0,0-1 15,0 14-15,0 13 0,0-14 0,14 14 16,-14-13-16,0 13 0,0 0 16,13-13-16,-13 13 0,0-1 0,13-12 15,-13 0-15,13 13 0,-13-14 0,13 1 16,-13 0-16,14-1 0,-14 1 15,13 0-15,-13-14 0,13 1 0,-13-1 16,0-13-16,13 14 0,-13-1 0,0-12 16,0 12-16,0-13 0,0 0 15,0 1-15,0-1 0,-13 0 16,13 0-16,-13 1 0,0-1 0,-1 0 16,1 0-16,-13 1 0,-1-1 0,-12 0 15,-14-13-15,13 13 0,-13-13 16,0 13-16,0-13 0,-13 0 0,0 14 15,-13-14-15,-1 0 0,1 0 0,-1 0 16,1-14-16,-14 14 0,14 0 0,-14 0 16,1-13-16,-1 13 0,-13 0 15,1-13-15,-14 13 0,13-13 0,-27 13 16,28 0-16,-28 0 0,27-13 0,1 13 16,-28 0-16,1 0 0,26 0 15,-26-14-15,0 14 0,-1 0 16,27 0-16,-26 0 0,-106-13 15,106 13-15,0 0 0,26-13 0,0 13 16,-26 0-16,26 0 0,-27 0 16,28 0-16,12 0 0,-13 0 0,0-13 15,0 13-15,1 0 0,-1 0 0,0 0 16,13 0-16,-12 0 0,12-14 16,0 14-16,1 0 0,-14 0 15,13 0-15,1 0 0,-1 0 0,0 0 16,14 0-16,0 0 0,-14-13 0,14 13 15,-1 0-15,1 0 0,0 0 0,-1 0 16,27 0-16,-13 0 0,0 0 16,13 0-16,-13 0 0,13 0 0,-13 0 15,0 0-15,13 0 0,0 0 0,0 0 16,0 0-16,0 0 0,0 0 16,-13 13-16,26-13 0,1 0 15,12 0-15,-12 0 0,12 0 0,1 0 16,-14 0-16,14 0 0,-1 0 0,1 0 15,-1 0-15,1 0 16,-1 0-16,1 0 0,-1 0 0,14 14 0,-13-14 16,-1 0-16,1 0 0,12 0 15,-12 0-15,13 0 0,-14 13 16,14-13-16,-13 0 0,12 0 0,1 0 16,-13 13-16,13-13 0,-1 0 0,1 0 15,0 0-15,0 13 0,-14-13 0,14 0 16,0 0-16,-1 0 0,1 14 15,0-14-15,0 0 0,0 0 0,-1 0 16,1 13-16,0-13 0,0 0 0,-14 0 16,27 13-16,-13-13 15,0 0-15,-1 0 0,1 0 16,0 0-16,0 0 16,0 0-16,-1-13 15</inkml:trace>
  <inkml:trace contextRef="#ctx0" brushRef="#br0" timeOffset="13140.98">10689 3572 0,'0'-13'0,"0"52"15,0 1-15,0 13 16,-13 0-16,13 13 0,-13 13 15,13 1-15,-14-1 0,1 1 0,-13 12 16,13-13-16,-14-12 0,14 12 0,0-13 16,-14-13-16,27 13 0,-13-26 15,0 0-15,13-1 0,-13-12 16,13-1-16,0 1 0,0-14 0,0 0 16,13 0-16</inkml:trace>
  <inkml:trace contextRef="#ctx0" brushRef="#br0" timeOffset="13796.04">13428 3545 0,'26'67'16,"-26"-28"-16,0 451 31,-13-384-31,0-1 0,-14 1 0,1-13 0,-1-1 16,1-12-16,13-14 16,-1 0-16,-12-13 0,13 13 0,-1-26 15,14 39-15,-13-66 0,13 14 16,0-14-16</inkml:trace>
  <inkml:trace contextRef="#ctx0" brushRef="#br0" timeOffset="14264.05">15200 3492 0,'-13'53'15,"26"-106"-15,-39 159 0,13-53 0,-1 13 16,1 14-16,-13 26 0,-1-14 0,1 14 16,-1 0-16,1-14 0,-14 14 15,14-13-15,12-27 0,-12 13 0,13-12 16,-14-1-16,14 0 0,-13-13 0,12 0 16,1-14-16</inkml:trace>
  <inkml:trace contextRef="#ctx0" brushRef="#br0" timeOffset="15755.15">8189 4313 0,'13'0'16,"0"-14"0,1 14-1,-1 0-15,0 0 0,13-13 16,1 13-16,-1 0 0,14-13 0,13 13 0,13-13 15,0 13-15,0-13 16,14 13-16,-14-14 0,27 14 0,-14-13 16,14 13-16,-1-13 0,1 13 0,-1 0 15,1-13-15,13 13 0,-14 0 16,14 0-16,0-14 0,0 14 0,0 0 16,26 0-16,-26 0 0,0 0 0,0 0 15,-1-13-15,1 13 0,13 0 16,-13 0-16,0 0 0,-14-13 0,14 13 15,0 0-15,-13 0 0,-1-13 0,1 13 16,0 0-16,-1 0 0,-12 0 16,-1 0-16,0-13 0,1 13 15,-27 0-15,26 0 0,-26 0 0,0-14 0,26 14 16,-26 0-16,13-13 16,-13 13-16,0 0 0,0-13 0,0 13 15,0 0-15,0 0 0,0-13 0,0 13 16,-14 0-16,14 0 0,0 0 15,-13-14-15,13 14 0,0 0 0,-14 0 16,1 0-16,0 0 0,-1 0 0,14-13 16,-13 13-16,0 0 0,13 0 15,-14 0-15,14 0 0,0 0 0,-13 0 16,13 0-16,-14 0 0,1 0 0,13-13 16,-13 13-16,13 0 0,-14 0 0,14 0 15,-13 0-15,13 0 0,-13 0 16,-1 0-16,14 0 0,-13 0 15,-1 0-15,-12 0 0,26 13 0,-13-13 16,-1 0-16,1 0 0,0 0 16,-1 0-16,-12 0 0,12 0 0,-12 13 15,13-13-15,-14 0 0,14 0 0,-14 0 16,14 0-16,0 0 0,-1 14 16,-12-14-16,12 0 0,-12 0 0,13 0 15,-14 13-15,0-13 0,1 0 16,-1 0-16,14 13 0,-13-13 0,-1 0 15,0 0-15,-12 0 0,12 13 16,14-13-16,-27 0 0,14 0 0,-1 14 16,0-14-16,1 0 0,-1 0 0,1 0 15,-1 13-15,1-13 0,26 0 16,-27 0-16,1 13 0,-14-13 16,13 0-16,1 0 0,-1 0 0,1 0 15,-14 0-15,13 0 0,1 13 16,-14-13-16,13 0 0,-12 0 0,-1 0 15,13 0-15,-12 0 0,-1 0 0,13 0 16,-13 0-16,14 0 0,-14 0 16,0 0-16,14 0 0,-14 0 15,14 0-15,-14 0 0,13 0 0,-13 0 0,14 0 16,-1 0-16,-12 0 16,-1 0-16,13 0 0,-12 0 0,-1 0 15,0 13-15,13-13 0,-12 0 0,-1 0 16,0 0-16,0 0 15,1 0-15,12 0 16,-13 0-16,1 0 16,-41-13 15</inkml:trace>
  <inkml:trace contextRef="#ctx0" brushRef="#br0" timeOffset="17177.16">9459 3823 0,'-13'27'15,"13"-14"-15,0 0 0,0 0 0,-14 14 16,1-14-16,0 27 0,0-14 0,-1 1 16,1-1-16,0 1 0,0-14 15,13 0-15,-27 14 0,27-14 16,-13 0-16,13 0 0,0 0 15</inkml:trace>
  <inkml:trace contextRef="#ctx0" brushRef="#br0" timeOffset="18015.34">12184 3757 0,'13'0'15,"1"0"-15,-1 0 16,0 0-16,0 13 0,0-13 16,-13 14-16,0-1 15,-13 0-15,0 0 0,13 0 16,-26 1-16,12-1 0,1 0 0,-13 0 16,12 1-16,1-1 0,0 0 0,0-13 15,-1 13-15,1-13 0,0 14 16,0-1-16,26 0 31,0-13-15,0 0-16,1 0 0,-1 0 15,0 0-15,0-13 0,14 13 0,-14 0 16,14 0-16,-14 0 0,0-13 0,13 13 16,-12 0-16</inkml:trace>
  <inkml:trace contextRef="#ctx0" brushRef="#br0" timeOffset="19031.18">14314 3744 0,'13'-13'31,"14"26"-15,-14 0 0,-13 0-16,0 1 15,-13-1-15,13 0 0,-14 0 16,14 0 0,-13 1-16,13-1 15,13 0 1,-13 0-1,14-13-15,-14 14 16,0-1-16,-14 0 16,1 0-1,0-13-15,13 14 16,-13-14-16,0 0 0,-1 13 16</inkml:trace>
  <inkml:trace contextRef="#ctx0" brushRef="#br0" timeOffset="19688.72">15901 3823 0,'14'0'16,"-28"0"-16,14 13 31,-13-13-15,0 14-16,0-14 16,0 13-16,-1-13 0,14 13 0,-13-13 0,0 13 15,0-13-15,13 14 0,-14-14 0,1 13 16,13 0-1,0 0 1,13-13-16,1 0 16,-14 14-16,13-14 0,0 0 15,0 0-15,1 0 0,-1 0 16,0 0-16,0 0 0,0 0 0,1 0 16,-1 0-16,0 0 0,0 0 0,1 0 15,-1-14-15,0 14 16,-13-13-16,13 13 0,-13-13 0,14 13 15,-14-13-15,0-1 0</inkml:trace>
  <inkml:trace contextRef="#ctx0" brushRef="#br0" timeOffset="19864.22">16021 3757 0,'-40'27'15,"13"25"1,14 15-1,0-54-15,13 13 0,-13-12 16,13-1-16,0 13 0,-14-13 0,14 1 16,0-1-16,-13 0 0,13 0 15,0 1-15,-13-1 0,13 0 16</inkml:trace>
  <inkml:trace contextRef="#ctx0" brushRef="#br0" timeOffset="20669.18">7011 3836 0,'0'0'15,"14"0"-15,-1 0 16,-13 14-16,13-1 15,-13 0-15,13 0 0,-13 1 0,0-1 16,14 13-16,-14-12 0,0-1 16,0 0-16,13 0 0,-13 0 15,0 1-15,13-1 0,-13 0 0,0 0 16,13-13-16,-13 14 0,0-1 0,14-13 16,-1 13-16,0-13 15,0-13-15,0 0 16,-13-1-16,14 1 15,-14 0-15,13 0 0,0-1 16,-13-12-16,13 13 0,-13-14 0,14 1 16,-1-1-16,-13 1 0,13 13 0,0-14 15,-13 14-15,13 0 0,-13 0 0,0-1 16,14 14-16,-14-13 0,13 0 16,-13 39-1,0-12 1,-13-14-16</inkml:trace>
  <inkml:trace contextRef="#ctx0" brushRef="#br0" timeOffset="21688.14">7157 4630 0,'0'-13'15,"-13"39"17,13-12-17,0-1-15,0 0 16,-13 0-16,13 1 0,0-1 16,0 0-16,13 0 0,-13 0 0,0 1 15,13-1 1,0 0-16,0-13 15,1 0-15,-1-13 16,0 13-16,0 0 0,-13-13 16,14 13-16,-1 0 0,-13-14 15,13 14-15,0 0 16,0 0-16,1 0 0,-1 0 16,-13 14-16,13-14 0,0 13 15,1-13-15,-1 0 16,13 0-16,-12 0 15,-1-13-15,0-1 16,0 14-16,-13-13 0,0 0 16,13 13-16,-13-13 0,0 0 0,0-1 15,14 1-15,-14 0 0,0 0 16,0-1-16,0 1 0,0 0 16,0 0-16,0 0 15</inkml:trace>
  <inkml:trace contextRef="#ctx0" brushRef="#br0" timeOffset="27880.01">13904 4498 0,'-13'-13'0,"-1"26"16,1 0 0,13 0-16,-13 1 0,13-1 15,-13-13-15,13 13 0,0 0 0,0 1 16,-14-1-16,14 0 0,0 13 16,14-12-16,-14-1 0,0 0 15,13 0-15,0 1 16,0-14-16,1 13 15,-1-13-15,0 0 0,0 0 16,1-13-16,-1 13 0,0 0 0,0-14 16,0 14-16,1-13 0,-1 0 15,-13 0-15,13 13 0,-13-14 16,0 1-16,0 0 0,0 0 0,0 0 16,0-1-1,-13 1-15,13 0 0,-13 0 0,13-1 16,-14 14-16,14-13 0,-13 13 15,0-13-15,0 13 16,13-13-16,-13 13 0,-1 0 0,1 0 16,0 0-16,0 0 15,13 13 1</inkml:trace>
  <inkml:trace contextRef="#ctx0" brushRef="#br0" timeOffset="28040.29">14155 4577 0</inkml:trace>
  <inkml:trace contextRef="#ctx0" brushRef="#br0" timeOffset="28548.01">14367 4432 0,'40'0'31,"-27"0"-31,0 0 0,0 0 16,0 0-16,1 0 15,-1 13-15,0 0 31,-13 0-31,0 1 0,0-1 16,0 0-16,-13 0 0,13 1 16,0-1-16,0 0 15,-13 0-15,13 1 0,0-1 0,-14 0 16,14 0-16,0 0 0,0 1 16,0-1-16,0 0 15,0 0 1</inkml:trace>
  <inkml:trace contextRef="#ctx0" brushRef="#br0" timeOffset="28783.18">14340 4604 0,'0'-13'0,"27"13"31,-14 0-31,0 0 0,1 0 0,-1 0 16,0 0-16,0 0 0,14 0 0,-14 0 15,0 0-15,0-14 0,1 14 0,-1 0 16,0 0-16,0 0 0,1 0 16,-1 0-16,0 0 0,0 0 15,0 0-15</inkml:trace>
  <inkml:trace contextRef="#ctx0" brushRef="#br0" timeOffset="32374.83">9115 4511 0,'0'-13'16,"-13"0"-1,-1 26 17,14 0-17,0 0-15,-13 1 0,13-1 16,0 0-16,0 0 0,0 1 16,-13-1-16,13 0 0,13 0 15,-13 0-15,0 1 0,0-1 16,13-13-16,-13 13 0,14-13 0,-1 13 15,0-13-15,0 14 0,1-14 16,-1 0-16,13 0 16,-26-14-16,14 14 0,-1 0 15,-13-13-15,13 13 0,-13-13 0,13 13 16,-13-13-16,0-1 0,0 1 16,0 0-16,0 0 0,-13 0 15,13-1-15,0 1 0,-13 13 16,0-13-16,13 0 0,-14-1 0,1 1 15,0 13-15,13-13 16,-13 13-16,-14-13 16,27 26-16,-13-13 0,0 0 15,13 13-15,-14-13 16</inkml:trace>
  <inkml:trace contextRef="#ctx0" brushRef="#br0" timeOffset="32543.1">9446 4551 0</inkml:trace>
  <inkml:trace contextRef="#ctx0" brushRef="#br0" timeOffset="32778.07">9591 4458 0,'0'40'16,"0"-27"-16,-13 0 0,13 1 16,0-1-16,0 0 0,0 0 15,0 1-15,-13-1 0,13 0 0,0 0 16,0 14 0,0-14-1</inkml:trace>
  <inkml:trace contextRef="#ctx0" brushRef="#br0" timeOffset="33690.58">12078 4432 0,'-13'0'15,"13"-13"-15,-26 26 16,26 0-16,-14-13 15,14 13-15,-13 0 0,13 1 16,-13-1-16,13 0 0,0 27 16,0-27-16,0 0 0,0 1 15,0-1-15,0 0 16,13-13-16,-13 13 0,13 0 0,1-13 16,-1 14-16,0-14 0,0 0 15,0 0-15,14-14 16,-14 14-16,0-13 15,1 0-15,-14 0 16,13 13-16,-13-13 0,0-1 16,0 1-16,-13 0 0,13 0 15,0-1-15,-14 1 0,14 0 16,-13 0-16,0-1 16,0 1-16,-1 13 15,14-13-15,-13 13 0,0 0 16,0 0-16,0 13 15</inkml:trace>
  <inkml:trace contextRef="#ctx0" brushRef="#br0" timeOffset="33878.71">12277 4538 0</inkml:trace>
  <inkml:trace contextRef="#ctx0" brushRef="#br0" timeOffset="34167.78">12462 4432 0,'0'66'16,"-13"-53"-16,13 0 15,0 14-15,0-14 0,0 0 16,-14 1-16,14-1 0,0 0 0,0 0 16,-13 0-16,13 1 0,0-1 15,0 0-15</inkml:trace>
  <inkml:trace contextRef="#ctx0" brushRef="#br0" timeOffset="35116.28">15822 4564 0,'-26'13'47,"26"1"-47,-14-1 0,14 0 0,-13-13 15,13 13-15,-13 0 0,13 1 16,0-1-16,0 0 0,0 0 15,0 1-15,13-14 16,0 13-16,1-13 16,-1 0-16,13 0 15,-12 0 1,-14-13-16,13 13 0,0-14 16,-13 1-16,0 0 15,13 13-15,-13-13 0,-13-1 16,13 1-16,0 0 0,0 0 15,-13 0-15,13-1 16,-13 14 0,-1 0-1</inkml:trace>
  <inkml:trace contextRef="#ctx0" brushRef="#br0" timeOffset="35262.91">16007 4630 0,'0'-13'31</inkml:trace>
  <inkml:trace contextRef="#ctx0" brushRef="#br0" timeOffset="35478.92">16259 4511 0,'-14'40'31,"1"-27"-31,13 0 15,0 1-15,-13-1 0,13 0 0,0 0 16,-13 0-16,13 1 0,0-1 16,0 0-16,0 0 0,0 1 0</inkml:trace>
  <inkml:trace contextRef="#ctx0" brushRef="#br0" timeOffset="36146.85">17171 4524 0,'40'-13'32,"-27"13"-32,1 0 15,-1 0-15,0 0 0,0 0 16,1 0-16,-1 13 16</inkml:trace>
  <inkml:trace contextRef="#ctx0" brushRef="#br0" timeOffset="36326.94">17158 4657 0,'27'0'31,"-14"0"-31,0 0 0,0 0 16,1 0-16,12 0 0,-13 0 15,1 0-15,-1 0 0,13 0 0,-13 0 16,1 0-16</inkml:trace>
  <inkml:trace contextRef="#ctx0" brushRef="#br0" timeOffset="36639.28">17899 4564 0,'13'13'0,"-26"1"16,13-1-16,0 0 0,-13 0 16,13 0-16,0 1 15,-13-1-15,13 0 0,0 0 16,0 1-16,0-1 16,0 0-16</inkml:trace>
  <inkml:trace contextRef="#ctx0" brushRef="#br0" timeOffset="36928.01">17754 4485 0,'-27'13'0,"54"-26"0,-67 39 0,27-13 15,13 1-15,-14-1 0,14 0 0,-13 0 16,13 1-16,-13-1 0,13 0 16,0 13-16,-13 1 0,13-14 15,13 0-15,-13 1 0,0-1 16,13-13-16,-13 13 0,13 0 0</inkml:trace>
  <inkml:trace contextRef="#ctx0" brushRef="#br0" timeOffset="37214.83">18203 4471 0,'14'14'0,"-1"-1"0,-13 0 0,13 0 16,-13 1-16,13 52 16,-13-53-1,0 13-15,-13-12 0,13-1 0,0 13 16,-13-12-16,13-1 0,-13 0 15,-1 0-15,14 0 0,-26 14 16,26-14-16,-13-13 0,13 13 0,-14-13 16,14 14-16</inkml:trace>
  <inkml:trace contextRef="#ctx0" brushRef="#br0" timeOffset="42642.07">5159 6654 0,'0'-13'16,"-13"40"0,13-14-1,0 13-15,0-13 0,0 1 16,0 12-16,0 1 0,0-1 15,0-13-15,0 14 0,-13 12 0,0-12 16,13-1-16,0-12 0,-14 12 0,14-13 16,0 14-16,-13-14 0,13 0 15,0 0-15,-13-13 0,13 14 0,0-1 16</inkml:trace>
  <inkml:trace contextRef="#ctx0" brushRef="#br0" timeOffset="42919.65">5689 6747 0,'-27'26'16,"14"-12"-16,13-1 0,-13 0 15,-1 13-15,1-12 0,0 12 0,-14 14 16,14-14-16,-13 1 0,13-14 16,-1 13-16,14-12 15,-13-1-15,0 0 0,0 0 0,13 1 0,-14-1 16</inkml:trace>
  <inkml:trace contextRef="#ctx0" brushRef="#br0" timeOffset="43147.09">5464 6853 0,'26'13'31,"-13"0"-31,1 0 0,-14 1 16,13-1-16,0 0 0,0 14 16,0-14-16,1 0 15,-1-13-15,-13 13 0,13 0 0,-13 1 16,13-1-16,-13 0 0,14 0 0,-14 1 16,13-14-16,-13 13 15</inkml:trace>
  <inkml:trace contextRef="#ctx0" brushRef="#br0" timeOffset="43699.68">5993 6892 0,'0'0'0,"-13"0"16,-1 0 0,1 14-1,13-1-15,0 0 0,0 0 16,-13 14-16,13-14 0,0 0 16,13 0-16,-13 1 0,13-1 0,-13 0 0,14 0 15,-1 1-15,0-1 0,0-13 16,0 13-16,14-13 0,-14 0 0,0 13 15,1-13-15,-1 0 0,0-13 16,0 13-16,1-13 16,-14 0-16,0-1 0,0 1 15,0 0-15,0 0 0,-14-1 0,14 1 16,-13 0-16,13 0 16,-13-14-16,0 27 0,13-13 0,-14 0 15,1 0-15,0 13 0,0 0 16,-1 0-16,1 13 15</inkml:trace>
  <inkml:trace contextRef="#ctx0" brushRef="#br0" timeOffset="43855.04">6390 6932 0,'0'0'0,"-14"13"62</inkml:trace>
  <inkml:trace contextRef="#ctx0" brushRef="#br0" timeOffset="44104.07">6601 6866 0,'-13'26'31,"13"-12"-31,0 12 16,0-13-16,0 1 0,0 12 0,0-13 15,0 0-15,0 1 0,0-1 16,0 0-16,0 0 0,0 1 16,-13-1-16</inkml:trace>
  <inkml:trace contextRef="#ctx0" brushRef="#br0" timeOffset="45087.1">5027 6562 0,'-13'0'16,"-14"0"-16,14 13 0,-119 159 31,119-132-31,-1-1 0,1 1 16,0 0-16,0-1 0,13 1 15,-14-14-15,14 1 0,14 13 0,-1-1 16,-13-12-16,13 12 0,14-12 15,-1-1-15,1 1 0,-1-1 0,0-13 16,14 1-16,0-1 0,13 0 0,0 0 16</inkml:trace>
  <inkml:trace contextRef="#ctx0" brushRef="#br0" timeOffset="45834.84">6945 6615 0,'40'0'0,"-80"0"0,106 13 16,-39-13-16,-1 26 0,1-12 15,13 12-15,-1 14 0,-12-14 0,-14 14 16,13-14-16,-26 1 0,14-14 16,-14 13-16,0-12 0,0 12 15,0 1-15,-14-14 0,1 13 0,13 1 16,-13-14-16,0 0 0,-14 14 15,14-14-15,0 0 0,0-13 0,-1 13 16,1-13-16,13 14 0,-13-14 16</inkml:trace>
  <inkml:trace contextRef="#ctx0" brushRef="#br0" timeOffset="46059.17">7607 6654 0,'13'40'15,"-13"-27"-15,0 14 16,0-14-16,0 13 0,0-12 16,0 12-16,0 0 0,0 1 0,0-1 15,-13-12-15,13 12 0,0 1 0,0-14 16,0 0-16,0 13 15,-13-12-15</inkml:trace>
  <inkml:trace contextRef="#ctx0" brushRef="#br0" timeOffset="46249.3">7382 6892 0,'53'0'31,"-27"0"-31,-13 14 16,14-14-16,-1 13 0,1-13 0,13 0 15,-1 13-15,1-13 0,0 13 16,-1-13-16</inkml:trace>
  <inkml:trace contextRef="#ctx0" brushRef="#br0" timeOffset="46692.09">8480 6747 0,'26'0'0,"-12"13"16,25 27 0,-39-27-16,0 13 15,0-12-15,-13-1 0,0 13 16,0-12-16,-1 12 0,1-13 15,0 1-15,0-1 0,-1 0 0,1 0 0,0 0 16,13 1-16,-13-14 16,0 13-16,13 0 15,13-13 1,0 13 0,0-13-16,0 0 0,1 0 15,-1 0-15,13 0 0,1 0 0,-1 0 16,-13 0-16,14 0 0,-1 0 0,1 0 15,-1-13-15,1 13 0</inkml:trace>
  <inkml:trace contextRef="#ctx0" brushRef="#br0" timeOffset="46880.02">9102 6826 0,'-27'13'15,"27"1"-15,-13-14 0,0 13 16,0 0-16,13 0 0,-14 1 16,1-1-16,0 13 0,0-12 0,-1-1 15,1 0-15,-13 13 0,12-12 0,14-1 16,-13 0-16,13 0 0</inkml:trace>
  <inkml:trace contextRef="#ctx0" brushRef="#br0" timeOffset="47087.21">8824 6945 0,'13'0'32,"0"0"-32,1 14 15,-1-1-15,0-13 0,-13 13 16,13-13-16,0 26 0,1-26 15,-1 14-15,0-14 0,-13 13 16,13-13-16,1 13 0,-1-13 16,0 0-16</inkml:trace>
  <inkml:trace contextRef="#ctx0" brushRef="#br0" timeOffset="47519.11">9472 6906 0,'-13'13'16,"26"-26"-16,-39 26 0,26 0 15,-14-13-15,14 13 0,-13 1 16,13-1-16,0 0 0,0 0 16,0 0-16,13 1 15,-13-1-15,14-13 16,-1 13-16,0-13 0,14 0 16,-14 0-1,0 0-15,-13-13 16,13 13-16,-13-13 0,13-1 15,-13 1-15,0 0 16,0 0-16,-13 0 16,13-1-16,-13 1 15,0 0 1</inkml:trace>
  <inkml:trace contextRef="#ctx0" brushRef="#br0" timeOffset="47678.25">9710 6945 0,'13'0'0</inkml:trace>
  <inkml:trace contextRef="#ctx0" brushRef="#br0" timeOffset="47882.21">9922 6892 0,'-13'14'15,"13"-1"1,0 0-16,0 0 0,0 1 0,0-1 16,0 0-16,0 0 0,0 0 15,0 1-15,0-1 0,-14 0 0,14 0 16,0 1-16,0-1 0</inkml:trace>
  <inkml:trace contextRef="#ctx0" brushRef="#br0" timeOffset="48391.82">8348 6588 0,'-27'27'15,"14"-14"-15,0 0 0,-14 40 16,-39 119-1,66-132-15,0-14 16,0 1-16,13 12 0,-13-12 16,14 12-16,12-12 0,-13-1 0,14 1 15,12-1-15,1 14 0,13-14 0,-13-12 16,26 12-16,-27-13 0,54 0 16,-40-13-16</inkml:trace>
  <inkml:trace contextRef="#ctx0" brushRef="#br0" timeOffset="48915.05">10001 6601 0,'133'93'15,"-120"-67"-15,0 1 16,13 13-16,-26-1 0,14-12 16,-1-1-16,-13 14 0,0-14 0,0 1 15,0-1-15,-13 1 0,-1 12 0,1-12 16,0-1-16,13 1 0,-26-1 16,12-13-16,14 1 0,-13-1 15,13 0-15,-13-13 0</inkml:trace>
  <inkml:trace contextRef="#ctx0" brushRef="#br0" timeOffset="49163.11">10716 6707 0,'13'13'0,"-13"1"16,0-1-16,0 0 0,0 0 0,0 1 16,0-1-16,0 26 0,0-12 15,0 13-15,0-1 16,0-25-16,0-1 0,-13 13 16,13-13-16,0 1 0,0-1 0,0 0 15,0 0 1</inkml:trace>
  <inkml:trace contextRef="#ctx0" brushRef="#br0" timeOffset="49345.25">10544 6945 0,'13'-13'15,"0"13"-15,93-13 31,-93 13-31,14 0 16,-14 0-16,13-13 0,-12 13 0,-1 0 16,13 0-16</inkml:trace>
  <inkml:trace contextRef="#ctx0" brushRef="#br0" timeOffset="50496.12">11655 6760 0,'26'-13'16,"-12"13"-16,-1 13 16,0-13-16,0 13 15,-13 1-15,-13-1 31,13 0-31,-13-13 0,13 13 16,-13-13-16,13 13 0,0 1 31,13-1-31,0 0 16,0 0-16,1-13 0,-14 14 16,13-1-16,0 0 15,-13 0-15,0 1 16,-13-1-16,0 0 15,-1-13-15,-12 13 0,13-13 16,-1 13-16,1-13 0,0 0 16,0 0-16,-1 14 0,1-14 0,0 0 15,0-14-15</inkml:trace>
  <inkml:trace contextRef="#ctx0" brushRef="#br0" timeOffset="50693.06">12091 6787 0,'14'26'15,"-28"-13"1,14 0-16,-13 1 0,13-1 0,-13 0 16,0 14-16,0-14 0,-1 0 15,1 14-15,0-14 0,0 0 0,-1 0 16,14 0-16,-13 1 0,0-1 0,13 0 15,-13-13-15</inkml:trace>
  <inkml:trace contextRef="#ctx0" brushRef="#br0" timeOffset="50909.01">11880 6892 0,'0'-13'0,"26"26"31,-13 1-15,1-14-16,-1 13 0,0 0 16,0 0-16,1 1 0,-1-1 0,0-13 15,0 13-15,1 0 0,-1 0 0,0-13 16,0 14-16,0-1 16,1-13-16,-1 0 0,0 0 0,0 0 15,1 0-15,-1 0 0</inkml:trace>
  <inkml:trace contextRef="#ctx0" brushRef="#br0" timeOffset="51259.1">12396 6800 0,'0'0'16,"-14"0"-16,14-13 0,-13 26 15,0-13-15,0 13 0,13 0 16,-13-13-16,13 13 0,-14 1 0,14 12 15,-13-13-15,13 1 0,0-1 0,0 0 16,0 0-16,0 1 16,13-1-16,1 0 0,-1-13 0,0 13 15,0 0-15,0-13 0,1 0 16,12 0-16,-13 0 0,1 0 16,-1 0-16,0-13 0,0 13 0,1-13 15,-1 0-15,0 0 0,-13-1 0,13 1 16,-13 0-16,0 0 0,0-1 0,0 1 15,0 0-15,-13 0 16,13-1-16,-13 14 0,13-13 16,-13 13-16,-1 0 0,-12 0 15,13 13 1,-1 1 0</inkml:trace>
  <inkml:trace contextRef="#ctx0" brushRef="#br0" timeOffset="51411.18">12779 6919 0,'14'-13'15</inkml:trace>
  <inkml:trace contextRef="#ctx0" brushRef="#br0" timeOffset="51780.08">12965 6747 0,'26'-13'16,"-13"13"-16,27 13 16,-27-13-1,-13 13-15,13 0 0,1 1 16,-14-1-16,0 0 0,0 0 15,0 0-15,0 1 0,0-1 16,0 0-16,0 0 0,0 1 16,0-1-16,-14 0 0,14 0 0,0 1 15,0-1-15,-13 0 0,13 0 16,-13 0 0,0 1-1</inkml:trace>
  <inkml:trace contextRef="#ctx0" brushRef="#br0" timeOffset="51944.81">12951 6959 0,'14'-27'15,"-1"27"-15,0-13 16,0 13-16,1 0 0,-1-13 16,0 13-16,0 0 0,14 0 0,-14-14 15,0 14-15,14 0 0,-14-13 0,0 13 16,0 0-16,0-13 0,1 13 0,-1 0 15</inkml:trace>
  <inkml:trace contextRef="#ctx0" brushRef="#br0" timeOffset="52335.57">11443 6628 0,'-39'53'0,"25"-27"16,-12 14-16,13-14 0,-1 14 0,-12 132 31,26-132-31,13-1 0,14-12 16,-14-1-16,13 1 0,14-1 15,0 1-15,13-1 0,-27-13 0,27 1 16,0-14-16,0 0 0,0 13 16</inkml:trace>
  <inkml:trace contextRef="#ctx0" brushRef="#br0" timeOffset="52750.23">13428 6588 0,'26'40'15,"40"92"1,-66-105-16,0-1 0,0 0 15,0 14-15,0 0 0,-13 0 16,0-14-16,0 14 0,-1-14 0,1 14 16,-13-14-16,12 1 0,1-14 0,0 13 15,0-12-15,-1-1 0,14 0 16,-13-13-16</inkml:trace>
  <inkml:trace contextRef="#ctx0" brushRef="#br0" timeOffset="53086.56">14301 6826 0,'13'66'31,"-13"-52"-31,0 12 0,0-13 15,-13 14-15,13-14 0,0 13 0,0-12 16,0-1-16,-13 13 0,13-12 0,0-1 16</inkml:trace>
  <inkml:trace contextRef="#ctx0" brushRef="#br0" timeOffset="53276.67">14195 6998 0,'0'0'0,"13"-13"15,0 13-15,1 0 0,-1 0 16,13 0-16,-12 0 16,-1 0-16,13 0 0,1 0 0,-1-13 0,1 13 15</inkml:trace>
  <inkml:trace contextRef="#ctx0" brushRef="#br0" timeOffset="53595.34">15068 6826 0,'-53'13'16,"27"1"-1,12-14-15,1 13 0,0 0 16,-14 0-16,14-13 0,0 14 0,-13-1 16,12 0-16,1 0 15,0 1-15,0-1 16,13 0-16,0 0 16,13 0-16,0-13 15,0 14-15,1-14 0,-1 13 0,0-13 16,0 0-16,0 0 0,14 0 15,-14 0-15,0 0 0,14 13 0,-14-13 16,0-13-16,14 13 0,-14 0 0,0 0 16,0 0-16</inkml:trace>
  <inkml:trace contextRef="#ctx0" brushRef="#br0" timeOffset="53811.94">15094 6787 0,'-26'13'16,"26"0"-16,-13 0 15,13 0-15,0 1 0,-13 12 16,13-13-16,-14 14 0,14-14 0,-13 14 16,13-1-16,0 0 0,-13-12 15,13 12-15,-13-13 0,13 1 0,0-1 16,0 0-16,0 0 0,0 1 15,0-1-15</inkml:trace>
  <inkml:trace contextRef="#ctx0" brushRef="#br0" timeOffset="54016.05">15584 6813 0,'-40'53'16,"27"-40"-16,-13 27 15,12-27-15,1 0 0,-13 14 16,12-1-16,1-13 0,0 1 16,0-1-16,0 0 0</inkml:trace>
  <inkml:trace contextRef="#ctx0" brushRef="#br0" timeOffset="54224.27">15319 6932 0,'27'13'31,"-14"-13"-31,-13 14 0,13-1 0,1-13 15,-14 13-15,13-13 0,-13 13 16,13-13-16,0 13 0,-13 1 0,13-14 16,1 13-16,-1-13 0</inkml:trace>
  <inkml:trace contextRef="#ctx0" brushRef="#br0" timeOffset="54583.91">15796 6853 0,'-53'26'31,"39"-13"-15,14 1-16,-13-14 0,13 13 15,-13 0-15,13 0 0,0 1 0,0-1 16,13 0-16,-13 0 0,13 0 15,1 1-15,-1-14 16,0 13-16,0-13 0,1 13 0,-1-13 16,0 0-16,0 0 0,1 0 0,-1 0 15,0 0-15,-13-13 0,13 13 16,0-13-16,1-1 0,-1 1 16,-13 0-16,0 0 15,13 13-15,-13-27 16,-13 14-16,13 0 15,-13 13 1</inkml:trace>
  <inkml:trace contextRef="#ctx0" brushRef="#br0" timeOffset="54741.11">16113 6932 0,'0'0'15,"13"0"1</inkml:trace>
  <inkml:trace contextRef="#ctx0" brushRef="#br0" timeOffset="54962.93">16457 6826 0,'0'0'0,"-26"27"0,12-14 0,1 0 15,13 0-15,-13 1 0,0-1 16,-1 13-16,14-12 0,-13-1 0,0 13 15,0-13-15,0 1 0,13 12 0,-14-13 16,14 1-16,-13-1 0,0-13 16,13 13-16</inkml:trace>
  <inkml:trace contextRef="#ctx0" brushRef="#br0" timeOffset="55507.51">14737 6773 0,'-26'40'0,"26"-14"0,-13 1 16,13-1-16,0 1 0,-14-1 16,28 1-16,-14-1 0,0 14 0,13-14 15,13 1-15,-12-1 0,12 1 16,14-1-16,-14-13 0,14 1 0,-1-1 16</inkml:trace>
  <inkml:trace contextRef="#ctx0" brushRef="#br0" timeOffset="55871.25">16814 6601 0,'-13'67'0,"13"-28"0,-93 173 16,67-159-1,0-14-15,-1 1 0,1 0 16,-27 26-16,26-26 0,1-14 16,-1 1-16,1-1 0,-1 0 0,-26 1 15,14-1-15,-14 1 0,0-14 0,-13 0 16</inkml:trace>
  <inkml:trace contextRef="#ctx0" brushRef="#br0" timeOffset="56518.32">3784 7091 0,'13'0'16,"-26"0"-16,39 0 0,-13 0 0,0 13 15,1-13-15,-1 0 0,13 0 0,-12-13 16,12 13-16,-13 0 0,14 0 16,-1 0-16,1-13 0,-1 13 0</inkml:trace>
  <inkml:trace contextRef="#ctx0" brushRef="#br0" timeOffset="56666.66">4035 7131 0,'53'0'15,"-40"-14"1,14 14-16</inkml:trace>
  <inkml:trace contextRef="#ctx0" brushRef="#br0" timeOffset="57138.92">4524 9022 0,'67'14'31,"-54"-14"-15,0 0-16,0 0 0,0 0 16,1 0-16,-1 0 0</inkml:trace>
  <inkml:trace contextRef="#ctx0" brushRef="#br0" timeOffset="57320.47">4485 9208 0,'106'-14'31,"-80"14"-31,0-13 15,1 13-15,-1 0 0,14 0 16</inkml:trace>
  <inkml:trace contextRef="#ctx0" brushRef="#br0" timeOffset="57838.52">6429 8916 0,'53'0'16,"0"27"0,-40-14-16,1-13 0,-1 13 15,-13 1-15,0-1 0,0 0 16,0 0-16,-13 1 0,13-1 0,-14 0 15,1 0-15,0 14 0,-13-14 0,12 0 16,1 0-16,-13-13 0,12 14 16,1-1-16,-13-13 0,26 13 0,-14-13 15,1 13-15,0-13 0,0 0 16,13 14-16,26-14 31,1 0-31,-14 0 0,0 0 16,0 0-16,14 0 15,-14 0-15,14 0 0,-14 0 0,13-14 16,-13 14-16,1 0 0,12 0 0,-13 0 16</inkml:trace>
  <inkml:trace contextRef="#ctx0" brushRef="#br0" timeOffset="58004.15">6773 9128 0,'0'-13'31</inkml:trace>
  <inkml:trace contextRef="#ctx0" brushRef="#br0" timeOffset="58610.13">7131 8903 0,'-14'0'16,"28"0"-16,-54 0 0,27 0 15,-1 0 1,14 13-16,0 1 16,14-1-16,-14 0 15,0 0-15,13-13 0,-13 27 0,0-14 16,13 0-16,-13 1 0,0-1 0,0 0 16,0 0-16,0 0 0,0 1 15,-13 12-15,13-13 0,-13 1 16,13-1-16,-14-13 0,14 13 0,-13-13 15,26-26 17,1 12-32,-1 14 15,0-26-15,14 13 0,-14-1 0,13-12 16,-13 13-16,1 0 0,12-1 16,-13-12-16,-13 13 0,14 13 0,-1-14 15,-13 1-15,0 0 0,-13-14 16,-1 14-1,1 13-15,0 0 0,0 0 0,-1-13 16,1 13-16,0 0 0,0 0 0,0 0 16,-1 13-16,1-13 15</inkml:trace>
  <inkml:trace contextRef="#ctx0" brushRef="#br0" timeOffset="58741.97">7474 9009 0</inkml:trace>
  <inkml:trace contextRef="#ctx0" brushRef="#br0" timeOffset="65903.82">4842 4736 0,'119'-13'0,"-79"13"16,198 13-1,-199-13-15,-12-13 16,13 13-16,-14 0 0,1 0 0,12 0 16,-26-13-16,14 13 0,-1 0 0,-12-14 15</inkml:trace>
  <inkml:trace contextRef="#ctx0" brushRef="#br0" timeOffset="66159.07">5384 4458 0,'106'27'16,"-79"-27"-1,-1 13-15,0 0 0,1 0 16,-1 14-16,14-14 0,-13 14 0,-1-14 0,0 13 16,-12-13-16,-1 14 0,0-14 15,-13 0-15,0 1 0,0 12 0,0-13 16,-13 14-16,-14-1 0,14 1 0,-13-1 16,-1-13-16,14 14 15,-13-14-15,12 0 0,1-13 0</inkml:trace>
  <inkml:trace contextRef="#ctx0" brushRef="#br0" timeOffset="67818.27">9036 5106 0,'-14'0'16,"1"40"0,13-27-1,-13 1-15,13-1 0,0 0 0,-13 14 0,13-14 16,0 13-16,0-13 0,0 1 16,0-1-16,13 0 0,-13 0 15,0 1-15,13-1 0,-13 0 0,13 0 16,1 1-16,-1-14 15,0 0-15,0 0 16,0 0-16,-13-14 0,14 14 0,-14-13 16,13 0-16,0 0 15,-13-1-15,0 1 0,0 0 0,0 0 16,0-1-16,0 1 0,0 0 0,0 0 16,-13 13-16,13-13 0,0-1 15,-13 14-15,13-13 0,-14 13 0,14-13 16,-13 13-16,0 13 15,0-13-15</inkml:trace>
  <inkml:trace contextRef="#ctx0" brushRef="#br0" timeOffset="67979.11">9472 5226 0</inkml:trace>
  <inkml:trace contextRef="#ctx0" brushRef="#br0" timeOffset="68332.31">9723 5133 0,'14'13'31,"-14"0"-31,-14 1 0,1-1 15,13 0-15,-13 0 0,0 1 0,0-1 16,-1 0-16,1 0 16,0 0-16,13 1 15,-13-1-15,13 0 16,13-13 15,0 0-31,0 0 16,1 0-16,-1 0 15,0 0-15,0 0 16,0 0-16</inkml:trace>
  <inkml:trace contextRef="#ctx0" brushRef="#br0" timeOffset="68711.39">10041 5146 0,'-13'0'16,"-14"0"-16,-26 27 31,40-14-31,0-13 0,13 13 16,0 0-16,0 1 15,0-1-15,0 0 16,0 0 0,0 0-16,0 1 15,-13-1-15,-1 0 16,1-13-16,0 13 0,0 1 15,-1-14-15,1 13 0,0-13 0,13 13 16,-13-13-16,0 0 0</inkml:trace>
  <inkml:trace contextRef="#ctx0" brushRef="#br0" timeOffset="69275.03">11708 5106 0,'0'0'15,"-40"40"1,27-27-16,0 1 16,13-1-16,-14 13 15,14-12-15,0-1 0,0 0 0,0 0 16,0 0-16,14 1 0,-1-1 16,0-13-16,0 13 15,1-13-15,-1 0 0,0-13 16,0 13-16,1-13 15,-1-1-15,-13 1 16,0 0-16,0 0 0,0 0 0,-13 13 16,13-14-16,0 1 0,-14 0 0,1 0 15,0-1-15,0 1 16,-1 13-16,1 0 0,0 0 16</inkml:trace>
  <inkml:trace contextRef="#ctx0" brushRef="#br0" timeOffset="69422.67">11880 5212 0,'13'0'0,"-13"-13"15</inkml:trace>
  <inkml:trace contextRef="#ctx0" brushRef="#br0" timeOffset="69786.07">12277 5093 0,'13'0'0,"0"27"31,-13-14-31,-13-13 0,13 13 16,-13 0-16,13 1 0,-14-1 16,1 0-16,0 0 0,0-13 15,13 14-15,-13-14 0,13 13 0,-14 0 16,1 0-1,26 0 17,1-13-17,-1 0 1,0 0-16,0 0 16,0-13-16,1 13 15</inkml:trace>
  <inkml:trace contextRef="#ctx0" brushRef="#br0" timeOffset="70131.12">12700 5106 0,'-26'0'0,"-27"27"31,39-27-31,1 13 0,13 0 16,-13-13-16,13 14 16,0-1-16,13 0 15,-13 0 1,0 1-16,0-1 15,-13 0-15,0 0 16,13 0-16,-14-13 16,1 14-16,0-14 0,0 13 0,0-13 15,-1 13-15,1-13 0,-27 27 32</inkml:trace>
  <inkml:trace contextRef="#ctx0" brushRef="#br0" timeOffset="71320.23">14076 5345 0,'13'0'0,"-26"0"0,26 13 0,0-13 16,1 0-16,-14 13 0,13 0 15,-13 1 1,0-1-16,0 0 15,-13-13-15,-1 13 0,14 0 0,-13-13 16,13 14-16,-13-14 0,0 13 16,-1-13-16,-12 13 15,13 0-15,-1-13 0,1 0 16,0 14-16,0-14 16,0 13-1,-1-13-15,41-13 78,-14 13-78,0-14 16,0 1-16,1 0 16,-1 13-16,-13-13 15,13-1-15,0 1 0,1 0 16,-14 0-16,13 13 15,-13-13-15,0-1 32,0 1-17,-13 0 17,13 0 46,-14-1-16,1 14-31,0 0 1,0 14-17,-1-1 1,1-13-16,0 13 16,0 0-1,0 1-15,13-1 0,-14-13 16,1 13-16,13 0 0,-13 0 15,13 1-15,-13-1 16,13 0-16,0 0 0,0 1 16,0-1-16,13 0 15,0-13 1,14 13-16,-14-13 16,13-13-1,-13 13-15,1 0 16,-1 0-1,0-13-15,14 13 16</inkml:trace>
  <inkml:trace contextRef="#ctx0" brushRef="#br0" timeOffset="71484.52">14288 5464 0,'-14'-14'32</inkml:trace>
  <inkml:trace contextRef="#ctx0" brushRef="#br0" timeOffset="71839.14">14565 5371 0,'14'0'0,"-28"0"0,41 13 0,-27 1 16,0-1-1,0 0-15,-13-13 0,13 13 16,-14 0-16,1-13 0,13 14 0,-13-14 16,13 13-16,-13-13 0,13 13 15,-14 0-15,1 1 16,40-14 46,-14-14-62,0 14 0,0 0 16,-13-13-16,14 13 16</inkml:trace>
  <inkml:trace contextRef="#ctx0" brushRef="#br0" timeOffset="72130.89">14803 5371 0,'-26'0'0,"26"13"16,-13-13 0,13 14-16,0-1 15,0 13 1,13-13-16,-13 1 15,0-1-15,-13 0 16,0 0-16,-1 1 16,-12-14-16,13 13 0,-1 0 15,1-13-15,0 13 0,0-13 0,-14 13 16,14-13 0</inkml:trace>
  <inkml:trace contextRef="#ctx0" brushRef="#br0" timeOffset="72747.98">15862 5318 0,'-40'27'16,"40"-14"-1,-13-13-15,13 13 0,0 0 0,-13 1 16,13-1-16,0 0 0,0 0 16,0 0-16,13 1 0,-13-1 15,13-13-15,0 13 0,1-13 0,-14 13 16,13-13-16,0 0 0,0 14 0,0-14 16,1 0-16,-1-14 0,0 14 15,-13-13-15,13 13 0,-13-13 16,14 13-16,-14-13 0,0-1 0,0 1 15,0 0 1,0 0-16,-14 13 0,14-13 0,-13-1 16,0 14-16,0 0 15</inkml:trace>
  <inkml:trace contextRef="#ctx0" brushRef="#br0" timeOffset="72908.16">16166 5437 0,'0'-13'0,"13"13"31</inkml:trace>
  <inkml:trace contextRef="#ctx0" brushRef="#br0" timeOffset="73406.64">16338 5345 0,'13'0'0,"14"13"32,-27 0-32,-14 0 15,14 1-15,-13-1 16,13 0-16,-13-13 0,13 13 0,-13 0 16,0-13-16,13 14 0,-14-14 0,1 13 15,0 0 1,13 0 15,13-13 0,0 0-31,1 0 16,-1 0-16,0 0 0,0 0 16,0-13-16,1 13 15,-1 0-15,0-13 0,0 13 0</inkml:trace>
  <inkml:trace contextRef="#ctx0" brushRef="#br0" timeOffset="73702.95">16616 5318 0,'-27'0'0,"54"0"0,-67 0 0,27 0 15,0 13-15,-1-13 16,14 14-1,0-1-15,0 0 0,0 0 16,14-13-16,-14 14 0,0-1 16,0 0-16,13 0 0,-13 0 15,0 1-15,0-1 16,-13-13 0,13 13-16,-14-13 0,14 13 0,-13-13 15,0 14-15,0-14 0,0 0 0,-1 0 16,1 13-16,-13-13 0,12 0 15,-12 0-15,13 13 0,-14-13 0,1 0 16,-14 0-16,14 0 0</inkml:trace>
  <inkml:trace contextRef="#ctx0" brushRef="#br0" timeOffset="74947.17">9472 5569 0,'0'-13'15,"0"40"17,0-14-32,-13 0 15,13 0-15,0 1 0,-13-1 0,-1 0 16,14 0-16,-13 1 15,13-1-15,-13-13 0,13 13 16,0 0-16</inkml:trace>
  <inkml:trace contextRef="#ctx0" brushRef="#br0" timeOffset="75170.95">9644 5675 0,'-40'40'16,"40"-27"-1,-13-13-15,-13 13 0,12 1 0,1-1 16,0 0-16,-13 0 0,12-13 16,-12 14-16,13-1 0,-1 0 0,1-13 15,0 13-15,0 1 0,-1-14 0,1 13 16</inkml:trace>
  <inkml:trace contextRef="#ctx0" brushRef="#br0" timeOffset="75625.5">9684 5781 0,'-27'27'31,"14"-14"-31,0-13 0,13 13 16,-13-13-16,-1 13 0,1 1 15,0-14-15,13 13 0,-13-13 16,13 13-16,-14-13 0,14 13 16,0 0-1,14-13 1,12 0-16,-26-13 15,13 13-15,1-13 0,12 13 0,-13-13 0,1 0 16,-1 13-16,0-14 16,0 14-16,-13-13 0,13 13 0,1-13 15,-1 13-15,-13-13 16,13 26 15,-26 0-31,13 0 0,0 1 16,0-1-16,0 0 15,0 0-15,0 0 16,0 1-16,0-1 0,0 0 16,13-13-16,-13 13 0,13-13 15</inkml:trace>
  <inkml:trace contextRef="#ctx0" brushRef="#br0" timeOffset="76106.19">12343 5649 0,'-27'40'31,"27"-27"-31,0 0 0,0 0 0,0 0 0,-13 1 16,13-1-16,0 0 15,0 0-15</inkml:trace>
  <inkml:trace contextRef="#ctx0" brushRef="#br0" timeOffset="76316.66">12515 5781 0,'-53'13'15,"40"1"1,-1-1-16,1-13 0,-13 13 0,12 0 16,-12 1-16,13-1 0,-14 0 15,14 0-15,0 0 0,0 1 0,-1-14 16,1 13-16,0 0 0,0 0 15</inkml:trace>
  <inkml:trace contextRef="#ctx0" brushRef="#br0" timeOffset="76698.32">12541 5927 0,'-39'13'16,"39"0"0,-14-13-16,1 13 0,0-13 0,0 14 15,-1-14 1,14 13-16,-13-13 0,13 13 16,13-13-1,1 0 1,-1 0-16,0 0 15,0-13-15,1 13 0,-1 0 16,0-13-16,0 13 16,0 0-16,1 0 31,-14 13-15,-14 0-1,14 0-15,0 0 0,0 1 16,0-1-1,0 0-15,0 0 16</inkml:trace>
  <inkml:trace contextRef="#ctx0" brushRef="#br0" timeOffset="77139.81">14552 5768 0,'-26'53'16,"26"-40"-16,-14 0 15,14 1-15,-13-1 0,13 0 16,0 0-16,0 0 0,0 1 16</inkml:trace>
  <inkml:trace contextRef="#ctx0" brushRef="#br0" timeOffset="77331">14711 5913 0,'-27'0'31,"1"0"-31,13 14 16,-1-1-16,1 0 0,-13-13 0,-1 13 15,14 1-15,0-1 0,-14 0 16,14 0-16,-13 0 0,12 1 0,1-1 15,13 0-15,-13-13 0,13 13 16,0 1-16</inkml:trace>
  <inkml:trace contextRef="#ctx0" brushRef="#br0" timeOffset="77710.97">14751 6059 0,'13'0'15,"-40"13"17,14-13-32,0 13 15,0-13-15,-1 14 0,1-14 16,0 13-16,0-13 16,13 13-16,-14-13 0,1 13 15,40-13 16,-14 0-31,0 0 16,0-13-16,1 13 0,-1 0 0,0-13 16,0 13-16,1 0 0,-1 0 15,0 0-15,0-13 16,-13 26-16,13-13 16,-13 13-16,0 0 15,0 1 1,-13-1-16,13 0 15,0 0-15,0 0 0,13-13 16,-13 14-16,14-14 16</inkml:trace>
  <inkml:trace contextRef="#ctx0" brushRef="#br0" timeOffset="78123.07">16232 5794 0,'-13'27'15,"13"-14"1,-13-13-16,13 13 0,0 1 16,-14-14-16,14 13 0,-13 0 0,13 27 31</inkml:trace>
  <inkml:trace contextRef="#ctx0" brushRef="#br0" timeOffset="78320.98">16312 5913 0,'13'-13'16,"-26"26"-16,-1-13 16,14 14-1,-13-14-15,0 13 0,0 0 0,-1 0 16,1-13-16,0 14 0,0-1 16,-1 0-16,-12 0 0,13 0 0,0-13 15,-1 14-15,1-1 0,13 0 16,-13-13-16,13 13 0,-13-13 0,13 14 15</inkml:trace>
  <inkml:trace contextRef="#ctx0" brushRef="#br0" timeOffset="78676.17">16312 6072 0,'13'0'0,"-26"13"46,-1 1-30,1-14 0,13 13-16,-13-13 0,0 13 15,13 0 1,13-13 15,0-13-31,0 13 16,1 0-16,-1 0 0,0 0 15,-13 13 1,13-13 0,-26 14-16,13-1 0,0 0 15,0 0-15,0 0 16,-13 1-16,13-1 16,-13 0-16,-1 0 15,1 1 1,0-14-16</inkml:trace>
  <inkml:trace contextRef="#ctx0" brushRef="#br0" timeOffset="80821.1">8401 5106 0,'0'-13'15,"0"0"-15,0 0 16,-14 13-16,14-13 15,-13 13-15,0 0 16,0 0-16,-1 13 16,14 0-16,0 0 0,0 0 15,-13 1-15,13 12 0,0-13 16,0 14-16,0-1 0,0-12 0,-13 12 16,13 0-16,0 1 0,-13-1 15,13 1-15,-14-14 0,14 14 16,-13-14-16,0 0 0,13 0 0,0 0 15,-13-13-15,13 14 16,13-1 15,-13 0-31,0 14 16,0-14-16,0 13 0,0 1 16,0-1-16,0 14 0,0 0 0,-13-1 15,13-12-15,0-1 0,-13 1 16,13-1-16,0 1 0,-14-14 0,14 13 15,0-13-15,-13 1 16</inkml:trace>
  <inkml:trace contextRef="#ctx0" brushRef="#br0" timeOffset="84666.06">4247 10980 0,'66'0'0,"13"13"31</inkml:trace>
  <inkml:trace contextRef="#ctx0" brushRef="#br0" timeOffset="84852.09">4220 11218 0,'27'0'15,"-14"0"-15,0 0 0,0 0 16,14-13-16,-1 13 0,-13 0 16,27-13-16,-13 13 0,12 0 0,14-13 15</inkml:trace>
  <inkml:trace contextRef="#ctx0" brushRef="#br0" timeOffset="85316.22">5675 11007 0,'14'-14'0,"-28"28"0,41-28 0,-14 14 16,0 0-16,0 0 0,1 0 0,-1 14 0,0-14 16,0 0-16,1 13 0,-1-13 15,-13 13-15,13 0 0,-13 1 16,-13-1-16,0 13 0,13-13 15,-14 1-15,1-1 0,0 0 0,0 0 16,13 1-16,-14-1 0,1-13 0,13 13 16,-13-13-16,0 13 0,13 1 15,-13-14-15,13 13 16,13 0 0,0-13-1,0 0-15,0 0 0,1 0 16,-1 0-16,0 0 0,0 0 0,14-13 15,-14 13-15,0 0 0</inkml:trace>
  <inkml:trace contextRef="#ctx0" brushRef="#br0" timeOffset="85458.33">6152 11099 0,'-14'-13'0</inkml:trace>
  <inkml:trace contextRef="#ctx0" brushRef="#br0" timeOffset="86255.21">6429 10927 0,'14'0'0,"-14"14"31,0-1-31,-14 0 16,14 0-16,0 0 16,0 1-1,0-1-15,14-13 16,-1 13-16,0-13 0,14 13 16,-14 1-16,0-14 15,0 13-15,0 0 0,1-13 0,-14 13 16,13 0-16,-13 1 0,0-1 15,0 0-15,-13 0 16,-1 1-16,1-1 0,0 0 0,0 0 16,0 1-16,-14-1 0,14 0 0,0-13 15,-14 13-15,14-13 0,0 0 16,-14 0-16,14 13 0,0-13 16</inkml:trace>
  <inkml:trace contextRef="#ctx0" brushRef="#br0" timeOffset="87584.06">1680 11549 0,'27'0'47,"-14"0"-47,0-13 0,0 0 0,14-1 15,-14 14-15,13-13 0,1-13 16,-14 12-16,14 1 0,-14 0 0,0 0 16,-13 0-16,13-1 0,0 1 0,-13 0 15,0 0-15,0-1 0,0 1 16,0 0-16,-13 13 15,-13 0 1,26 13-16,-13-13 16,-1 13-16,14 1 0,-13-1 15,13 0-15,-13 0 0,13 1 16,0-1-16,0 0 0,0 0 16,0 0-16,13 1 0,-13-1 15,13-13-15,1 13 0,-1-13 16,0 0-16,0 0 0,0 13 0,1-26 15,-1 13-15,13 0 0,1 0 16,-1-13-16,1 13 0,-14-13 16</inkml:trace>
  <inkml:trace contextRef="#ctx0" brushRef="#br0" timeOffset="88256.06">2302 11364 0,'-13'-13'0,"-40"26"31,39-13-31,-12 13 0,13-13 16,0 13-16,-1-13 0,1 14 16,0-1-16,0 0 0,-1 0 15,14 0-15,0 1 32,14-14-32,12-14 15,-13 14-15,1 0 16,-1 0-16,-13-13 15,13 13-15,0 0 0,0 0 16,1 13 0,-14 1-1,0-1-15,13-13 0,-13 13 16,0 0-16,0 1 0,0-1 16,0 0-16,13 0 15,-13 1 1,13-14-16,1-14 15,-1 14 1,-13-13-16,13 0 16,-13 0-16,0-1 0,0 1 0,13 13 15,-13-13-15,0 0 0,14 13 16,-14-14-16,0 1 16,13 0-16,0 26 31,-13 0-31,13 1 15,-13-1-15,0 0 0,13 0 0,-13 1 16,14-1-16,-1 0 16,0-13-16,-13 13 15,13-13-15,1 0 0,-1-13 16,0 13-16,-13-13 16,13 13-16,-13-13 15,14 13-15,-14-14 0,13 1 0,-13 0 16,13 0-16,-13-1 15,13 14 1,-13-13-16,13 13 16,1 13-1,-1-13 1</inkml:trace>
  <inkml:trace contextRef="#ctx0" brushRef="#br0" timeOffset="88731">2884 11364 0,'0'0'0,"-13"0"0,0 0 0,-1 0 16,14 13-16,-13-13 15,0 13-15,0-13 0,-1 14 16,14-1-16,-13-13 0,13 13 16,0 0 15,0 0-31,13-13 16,1 0-16,-1 0 15,0-13-15,0 13 0,1 0 16,-1 0-16,0-13 0,0 13 15,0-13-15,1 0 0,-1 13 16,0-14-16,0-12 0,1 13 16,-1-14-16,0 1 0,0-1 0,0 1 0,1-1 15,-1 1-15,-13 13 0,13-14 16,-13 14-16,0 0 0,13 13 16,-13-14-16,0 41 15,0-14 1,0 0-16,0 14 0,0-1 15,0 1-15,0-1 0,0-13 0,0 14 16,0-1-16,14 1 0,-14-1 0,13-12 16,-13 12-16,13 0 0,-13-12 15,13-1-15</inkml:trace>
  <inkml:trace contextRef="#ctx0" brushRef="#br0" timeOffset="89311.83">2368 12025 0,'-13'27'15,"26"-14"1,-13 0-16,0 0 15,13 1-15,0-14 16,1 0-16,-1 0 16,0 0-16,0-14 15,1 14-15,-14-13 0,13 13 0,0 0 16,0 0-16,-13-13 0,14 13 16,-1 0-16,0 0 15,0 13-15,0-13 16,1 0-16,-1 0 15,0 0-15,0 0 16,-13-13-16,14 13 0,-14-13 0,13 13 16,-13-13-16,13 13 0,-13-14 15,0 1-15,13 13 0,-13-13 0,0 0 16,14-1-16,-14 1 16,13 13-1,0 13 1,0-13-16,0 14 15</inkml:trace>
  <inkml:trace contextRef="#ctx0" brushRef="#br0" timeOffset="89860.92">2818 12012 0,'0'-26'32,"0"12"-17,-13 28 32,13-1-31,13 0-16,0-13 15,-13 13 1,13-13-16,1-13 16,-1 13-16,0 0 0,0-13 15,0 13-15,-13-13 0,14 13 16,-1-14-1,-13 1-15,13 0 32,0 26 61,1-26-61,-1 13-17,0 0 17,-13 13-32,0 0 0,0 1 15,0-1 1,13-13-16,-13 13 0,0 0 15,0 1 1</inkml:trace>
  <inkml:trace contextRef="#ctx0" brushRef="#br0" timeOffset="90356.17">3109 11933 0,'0'13'16,"0"0"-16,0 27 31,0-27-15,13-26 31,0 13-47,1 13 15,-14 0 1,13-13-16,-13 14 16,0-1-16,13 0 0,-13 0 0,13 0 15,-13 1-15,13 12 0,-13-13 0,14 1 16,-14-1-16,0 0 0,13-13 0,-13 13 15,0 1-15,13-14 0,-13 13 16</inkml:trace>
  <inkml:trace contextRef="#ctx0" brushRef="#br0" timeOffset="92365.06">1654 9406 0,'-14'26'16,"14"1"-1,0-14 1,14 0-16,-14 1 0,0-1 16,0 0-16,0 0 0,13-13 0,-13 13 15,13 1-15,0-14 0,-13 13 16,14-13 0,12 0-16,-13-13 15,-13-1-15,13 14 0,-13-13 0,14 0 16,-14 0-16,13 0 15,-13-1-15,0 1 0,13 0 16,-13 0-16,0-1 0,0 1 0,13 0 16,-13 0-1,14 26 17,-14 0-32,0 0 0,0 1 15,13-1-15,-13 0 16,13 0-16,-13 1 15,13-1-15,1 0 16,-1-26 15,0 0-31,-13-1 16,13 14-16,-13-13 0,13 0 16,-13 0-1,14 13-15,-1-14 16,0 28-1,0-14 1,-13 13-16,14-13 16,-14 13-16,13 0 15,0-26 17,0 13-17,1-13 1,-1 13-1,0 0 1,0 0-16,0 0 16,1 0-1,-1 0-15,0 0 16</inkml:trace>
  <inkml:trace contextRef="#ctx0" brushRef="#br0" timeOffset="92794.7">2236 9446 0,'13'-40'31,"-13"27"-31,0-1 0,0 1 16,0 0 0,0 0-1,0 0-15,-13 26 31,-1-13-31,14 13 16,0 0-16,0 0 0,0 1 16,0-1-16,0 0 0,0 0 15,0 1-15,14-14 16,-1 13-16,0-13 0,14 0 16,-14-13-16,0 13 15,14 0-15,-14-14 0,0 14 16</inkml:trace>
  <inkml:trace contextRef="#ctx0" brushRef="#br0" timeOffset="93835.15">2540 9300 0,'-13'0'0,"26"0"0,-39-13 16,12 26-1,1-13-15,0 0 16,13 13-16,-13-13 0,-1 14 15,14-1 1,-13-13-16,13 13 16,13 0-1,1-13 1,-14 13 0,13-13-16,-13 14 0,13-1 15,-13 0 1,13-13-16,-13 13 15,14 1-15,-1-1 16,0-13 0,0-13-1,0-1 1,-13 1 0,14 13-16,-14-13 0,13 0 0,-13-1 15,13 1-15,-13 0 0,13 0 16,-13 0-1,14 13-15,-1 13 32,-13 0-17,13-13 1,-13 13-16,13 0 0,1-13 16,-1 0-16,0 0 15,0 0 1,0-13-16,1 13 0,-1-13 15,0 0 1,0 13-16,-13-13 16,14 13-16,12 0 31,-26 13-15,13-13-1,1 0-15,-1 0 0,0 0 16,0 0-16,0-13 15,1 13-15,-1-14 0,-13 1 16,13 13-16,-13-13 16,13 0-1,-39 26 48,39 0-32,0-13-15,1 0-1,-1 0 1,0 0-16,0 0 16,0-13-16,1 0 15,-1 13-15,-13-14 0,13 14 16,0-13-16,-13 0 0,14 0 0,-1 0 15,-13-1-15,13 1 0,0-13 0,-13 12 16,14-12-16,-14 13 0,13-1 0,-13-12 16,13 26-16,-13-13 0,0 0 15,13-1-15,-13 41 32,0-14-32,0 0 15,-13 0-15,13 1 0,0 12 16,0-13-16,0 1 0,0-1 0,13 0 15,-13 14-15,0-14 0,0 0 16,13-13-16,-13 13 0,14 0 0,-1-13 16</inkml:trace>
  <inkml:trace contextRef="#ctx0" brushRef="#br0" timeOffset="94637.07">2315 9816 0,'-13'0'0,"26"26"47,-13-12-47,13-1 15,1 0 1,-1-13 0,0 0-16,0 0 15,0 0-15,1-13 16,-1 13-1,0 0 1,0 0-16,1 0 16,-1 13-1,0-13-15,0 0 16,1 0-16,-14-13 16,13 13-16,0-13 15,-13-1-15,0 1 16,13 0-16,-13 0 0,0 0 15,0-1 1,0 1-16,13 13 16,1 13-1,-1-13 1,-13 14-16,13-14 16</inkml:trace>
  <inkml:trace contextRef="#ctx0" brushRef="#br0" timeOffset="95000.11">2686 9856 0,'13'0'0,"-13"-14"16,13-25-1,-13 26 1,13-1-16,-13 1 16,-26 26 30,26 1-46,0-1 0,0 0 16,13-13-16,-13 13 16,13-13-16,14 13 15,-27-26-15,13 13 0,0 0 16,0 0-16,1-13 0,-1 13 16,0-13-16,0 13 0,-13-13 15,14 13-15,-1-14 0,0 14 0,0 0 31,0 0-31,-13 14 16,0-1 0,0 0-16,0 0 15,0 0-15,0 1 0</inkml:trace>
  <inkml:trace contextRef="#ctx0" brushRef="#br0" timeOffset="95100.24">2963 9684 0</inkml:trace>
  <inkml:trace contextRef="#ctx0" brushRef="#br0" timeOffset="95730.89">3149 9671 0,'-14'0'15,"1"0"1,0 13-16,0-13 15,13 13 1,0 0-16,0 0 16,0 1-1,0-1-15,0 0 0,0 0 16,0 1-16,0-1 0,0 0 16,0 0-16,0 0 15,0 1-15,-14-1 16,14 0-16,-13-13 15,13-13 17,0 0-17,13-1-15,-13 1 0,14 0 16,-14 0-16,13 0 0,-13-1 16,13 1-16,-13 0 0,13 0 0,1-1 15,-14 1-15,13 0 0,-13 0 0,13 0 16,-13-1-16,0 1 0,13 0 15,-13 0-15,13-1 0,-13 1 16,0 40 15,0-14-15,0 0-16,0 0 16,0 1-16,14-1 15,-14 0-15,0 0 16,13-13-16,0 13 15,0-13 1,1 0-16,-1 0 0,0-13 16,0 13-16,1 0 0,-1 0 0,13 0 15,-13-13-15</inkml:trace>
  <inkml:trace contextRef="#ctx0" brushRef="#br1" timeOffset="104492.38">7064 11060 0,'27'-14'62,"-14"14"-62,0 0 16,1 0-16,-1-13 15,0 13-15,0-13 0,0 13 0,1-13 16,-1-1-16,13 1 0,-12 0 16,-1 13-16,0-13 0,0-14 0,0 14 15,1 0-15,-1 0 0,0-1 16,0 1-16,1-13 0,-1 12 0,-13 1 15,13 0-15,-13 0 0,13-14 16,-13 14-16,14 0 0,-14 0 0,0-14 16,13 14-16,-13 0 0,13-14 0,-13 14 15,0 0-15,13 0 0,-13-14 16,0 14-16,13 0 0,-13-14 0,0 14 16,14-13-16,-14 12 0,0 1 15,13-13-15,-13 12 0,0 1 0,13-27 16,-13 27-16,0-13 15,0 13-15,13-14 0,-13 14 0,0 0 16,0-14-16,0 14 0,0-14 0,0 14 16,0-13-16,0-1 0,0 14 15,0-13-15,0-1 0,0 14 0,0-14 16,0 14-16,0-13 0,0 13 0,0-14 16,0 14-16,0 0 0,0-14 0,0 14 15,0 0-15,0-1 0,0 1 16,0 0-16,0 0 0,0 0 15,0-1-15,0 1 0,0 0 0,0 0 16,0-1-16,0 1 0,0 0 16,0 0-16,0 0 0,0-1 15,0 1-15,0 0 16,-13 0-16,13-1 0,0 1 16,0 0-16,0 0 15,-13-1-15,13 1 16,0 0-16,-13 0 15,13 0-15,0-1 16,-14 14-16,14-13 16,-13 0-16,13 0 15,0-1 1,-13 1 15,13 0-15,-13 0-1,13-1 48,-13 28 406,-1-1-454,1 0-15,13 0 16,-13 1-16,0-1 16,-1 0-16,14 0 0,-13 1 15,0-1-15,13 0 0,-13 0 0,-1 0 16,1 1-16,13-1 0,-13 0 0,0 0 15,0 1-15,-1-1 0,14 0 16,-13 0-16,0 1 16,13-1-16,-13-13 0,13 13 15,-14-13-15,14 13 16,14 0 31,-1-26-32,0 0-15,0 0 16,1 13-16,-1-13 16,0-1-16,0 1 0,0 0 15,1 0-15,-1-1 0,0 1 0,-13 0 16,13 0-16,1-1 0,-1-12 0,-13 13 16,13 0-16,0 13 0,-13-14 0,14 1 15,-14 0-15,13 13 0,-13-13 16,0-1-16,13 14 0,-13-13 0,13 0 15,0 0 1,-13-1 0,14 1-1,-1 0 32,0 26-16,0-13-15,-13 13-16,14-13 0,-14 14 16,13-1-16,-13 0 0,13 0 0,0-13 15,1 14-15,-14-1 0,13 0 16,0 0-16,0 1 0,-13-1 0,13 0 16,1-13-16,-14 13 0,13 0 15,0 1-15,0-1 16,1-13-16,-14 13 15,13-13-15,-13 13 16,13-13 15</inkml:trace>
  <inkml:trace contextRef="#ctx0" brushRef="#br1" timeOffset="105856.36">8255 9842 0,'0'-26'0,"0"52"31,0-12-31,0-1 16,0 13-16,0 1 0,0-14 0,0 14 15,0-1-15,-13 0 0,13 1 0,0-14 16,0 14-16,0-14 15,0 13-15,0-12 0,0-1 0,0 0 16,0 0-16,0 0 16,0 1-16</inkml:trace>
  <inkml:trace contextRef="#ctx0" brushRef="#br1" timeOffset="106074.15">8096 10041 0,'53'-13'31,"-40"13"-31,1 0 16,-1 0-16,0 0 0,0 0 0,1 0 15,-1 0-15,0 0 0,0 13 16,0-13-16,1-13 0,12 13 15,-13 0-15,1 0 0,-1 0 0,0 0 0,0 0 16</inkml:trace>
  <inkml:trace contextRef="#ctx0" brushRef="#br1" timeOffset="106494.15">8665 9909 0,'-13'0'31,"0"13"-31,13 0 16,-14 0-16,14 1 0,0-1 16,-13 13-16,13-13 0,0 1 15,0-1-15,13 0 0,-13 0 0,14 1 16,-14-1-16,13 0 0,0-13 15,0 13-15,-13 1 0,14-14 16,-1 0-16,0 0 0,0 0 0,0 0 16,1 0-16,-1 0 0,-13-14 0,13 14 15,0-13-15,1 13 0,-14-13 16,13 13-16,-13-13 0,0-1 0,0 1 16,13 0-16,-13 0 0,0-14 0,0 14 15,0 0-15,0 0 0,-13-1 16,13 1-16,0 0 0,-13 13 15,13-13-15,-14 13 0,1-14 16,0 14-16,0 0 16,-1 14-16,1-14 15,13 13-15</inkml:trace>
  <inkml:trace contextRef="#ctx0" brushRef="#br1" timeOffset="106751.33">9168 9935 0</inkml:trace>
  <inkml:trace contextRef="#ctx0" brushRef="#br1" timeOffset="107478.89">9379 9829 0,'14'0'0,"-1"0"15,0 0 1,0 0-16,-13-13 16,-26 26 15,13 0-15,-1-13-16,1 14 0,0-14 15,0 0-15,0 13 16,26 0 15,-13 0-31,13-13 16,0 0-16,0 14 0,1-14 15,-1 13-15,0-13 0,-13 13 0,13-13 16,-13 13-16,14-13 16,-14 14-16,-14-1 15,14 0-15,-13-13 0,0 13 0,0-13 16,-1 13-16,1 1 0,0-14 15,-13 13-15,12 0 0,1-13 16,0 13-16,0 1 16</inkml:trace>
  <inkml:trace contextRef="#ctx0" brushRef="#br1" timeOffset="107828.97">10173 9922 0,'13'26'31,"-13"-12"-31,14-14 16,-14 13-16,0 0 0,0 0 0,0 53 31,0-52-16,0-1-15,0 0 16</inkml:trace>
  <inkml:trace contextRef="#ctx0" brushRef="#br1" timeOffset="107989.29">10186 9750 0</inkml:trace>
  <inkml:trace contextRef="#ctx0" brushRef="#br1" timeOffset="108362.03">10425 9909 0,'-14'13'0,"28"-26"0,-28 39 0,14-13 15,0 1-15,0-1 0,-13 0 16,13 0-16,0 0 0,-13 1 15,13-1-15,0 0 0,0 0 16,13-13 15,0-13-31,1 13 16,-1-13-16,0 13 0,0 0 16,-13-13-16,14 13 0,-1 0 15,13 0-15,-13 0 16,-13 13-16,14-13 0,-1 13 15,-13 0 1,13 1-16,-13-1 16,13-13-16,1 13 0,-1-13 15,0 13-15</inkml:trace>
  <inkml:trace contextRef="#ctx0" brushRef="#br1" timeOffset="109278.35">10874 9869 0,'0'0'0,"-26"0"32,26 13-32,-13 0 0,-1 1 15,14-1-15,-13 0 16,13 14-16,-13-14 0,13 0 0,0 0 15,0 0-15,0 1 0,0-1 0,0 0 16,0 0-16,0 1 0,0-1 16,13-13-16,-13 13 0,13 0 15,1-13-15,-1 0 0,0 0 16,0 0-16,1-13 0,-1 13 16,0-13-16,0 0 0,1-1 0,-14 1 15,13 0-15,0 0 0,0-1 0,-13 1 16,13 0-16,-13 0 0,0 0 15,14-1-15,-14 1 0,0 0 16,13 0-16,-13-1 0,0 1 16,0 40 31,0-14-47,0 0 0,0 0 15,0 1-15,13-1 16,-13 0-16,13 0 0,1 0 15,-14 1-15,13-14 0,0 0 16,0 13-16,0-13 0,1 0 16,-1 0-16,0 0 0,0 0 0,1-13 15,-1 13-15,0 0 0,0-14 16,1 14-16,-1-13 16,0 13-1,-13-13-15,0 39 47,-13-12-47,13-1 0,0 0 16,0 0-16,13-13 15,-13 14-15,13-14 0,0 13 16,1-13-16,-1 0 16,0 0-16,0 0 0,1 0 0,-1 0 15</inkml:trace>
  <inkml:trace contextRef="#ctx0" brushRef="#br1" timeOffset="109891.08">11562 9975 0,'-13'-13'31,"0"-1"-31,0 14 16,-1 14 0,1-14-1,0 13 1,0 0-16,13 0 16,-14 0-1,14 1 1,0-1-1,14-13 1,-1 0 0,0 0-16,0-13 15,1 13-15,-14-14 0,13 14 16,0-13-16,0 13 16,-13-13-16,14 0 0,-1 0 15,-13 39 48,0-13-63,13-13 15,0 0 1,-13 13-16,13-13 0,1 0 16,-1 0-16,0 0 0,0 14 15,1-14-15,-1 0 16,0 13-16,0-13 0,-13 13 15,0 0-15,0 1 16,-13-14-16,13 13 16,-13-13-16,13 13 0,-13-13 0,-1 13 15,14 1-15,-13-14 0,0 13 0,0-13 16,-1 13-16,1 0 0,0-13 16,-13 13-16,12-13 0</inkml:trace>
  <inkml:trace contextRef="#ctx0" brushRef="#br1" timeOffset="110163.26">10385 10358 0,'53'-13'0,"66"13"31,-66 0-31,0-13 0,13 13 0,0 0 0,13 0 16,-12 0-16,12 0 0,-13 0 0,0-13 16,-13 13-16,13 0 15,-13 0-15,-13 0 0,0 0 0,-14 0 16,0 0-16,-12 0 0,-1 0 0,-40 13 31,14-13-31,-26 0 16</inkml:trace>
  <inkml:trace contextRef="#ctx0" brushRef="#br1" timeOffset="110395.05">10213 10504 0,'-27'13'16,"54"-26"-16,-67 26 0,80-13 16,-14 0-16,14 0 15,0 0-15,13 0 0,13 0 16,-13-13-16,13 13 0,0 0 15,-13 0-15,13-13 0,-13 13 0,13 0 16,-13 0-16,0-13 0,-13 13 16,-1 0-16,-12 0 0,-1 0 15,-13 0-15,40 0 16,-39-14-16,-1 14 0,0 0 16</inkml:trace>
  <inkml:trace contextRef="#ctx0" brushRef="#br1" timeOffset="111163.57">11668 10173 0,'27'0'46,"-14"0"-46,0-13 0,14 13 16,-14-13-16,13 13 0,14-27 16,-14 14-16,1 0 15,-1 0-15,-13-1 0,1 1 0,-1 0 16,0 0-16,0-1 0,-13 1 16,-13 0-1,0 13-15,0 13 16,-1 0-16,1 1 15,0-1-15,13 0 16,0 0-16,0 1 0,0-1 0,0 0 16,13 0-16,-13 1 0,13-14 15,-13 13-15,14-13 16,-1 0-16,0 0 0,0 13 0,1-13 16,12-13-16,-13 13 0,1 0 15,-1-13-15,0 13 0,0-14 16</inkml:trace>
  <inkml:trace contextRef="#ctx0" brushRef="#br1" timeOffset="116410.23">14420 4233 0,'-27'-13'0,"54"26"16,-54-39-16,14 26 0,0 0 0,0-13 0,-1 13 16,1 0-16,0-14 0,-13 14 15,12 0-15,-12 0 0,-1 0 0,1 0 16,-14 14-16,-13-14 0,14 13 0,-1 0 16,0 0-16,1 1 0,12-1 15,-13 13-15,14 1 0,-1-1 0,1 1 16,0-1-16,-1 14 0,14-14 0,0 14 15,-1-14-15,1 14 0,13-13 16,0-1-16,0 0 0,0 1 0,0-1 16,13 1-16,1 12 0,12-12 0,-13 13 15,27-14-15,0 1 0,-1 12 16,14-12-16,-13-14 0,0 13 0,13-12 16,-14-1-16,1 0 0,13 0 15,-13-13-15,13 14 0,-1-14 16,1 0-16,0 0 0,-13-14 0,13 14 15,0-13-15,-14 0 0,14 13 0,-13-13 16,0-1-16,-1-12 0,1 13 0,0-1 16,-14-12-16,14 13 0,-14-14 15,14 1-15,-13-1 0,-1 1 0,-13-1 16,14-12-16,-14 12 0,0 1 0,0-14 16,-13 27-16,0-13 0,0-1 15,0 1-15,-13-14 0,0 13 0,-14-12 16,1 12-16,0 1 0,-14-14 0,0 14 15,0-1-15,1 1 0,-1-1 16,-13 14-16,0-13 0,14 12 16,-14 1-16,13 0 0,-13 0 0,13 0 15,-13 13-15,14 0 0,-1-14 0,14 28 16,-14-14-16,0 0 0,1 13 16,12 0-16,1 0 0,-1 0 0,1 1 15,13-1-15,-14 0 0,14 0 0</inkml:trace>
  <inkml:trace contextRef="#ctx0" brushRef="#br1" timeOffset="121304.17">6297 10954 0,'-13'0'0,"0"0"31,39-27 79,-13 27-95,1 0-15,-1-13 16,0 13 0,0 0-1,0 0 1,1 0 0,-1 0-1,-13 13-15,13-13 31,-13 14-15,0-1 62,-13 0-62,0 0 15,-1 0-15,1 1-1,0-14 1,13 13 0</inkml:trace>
  <inkml:trace contextRef="#ctx0" brushRef="#br1" timeOffset="126347.32">8162 9842 0,'-39'120'16,"78"-240"-16,-105 292 0,40-105 0,-1-1 0,1 0 15,-1 0-15,1-13 0,0 13 16,12-13-16,1 0 0,-13 0 0,26-13 16,-14-1-16,1-12 0</inkml:trace>
  <inkml:trace contextRef="#ctx0" brushRef="#br1" timeOffset="127108.1">7951 9565 0,'53'-14'0,"-106"28"0,132-28 16,-39 1-16,13 0 0,13 0 15,0 13-15,27-13 0,-1-1 16,1 1-16,39 0 0,0 0 0,159-1 16,-132 1-16,0 0 0,13 0 15,-13 13-15,13-14 0,0 14 0,0-13 16,13 13-16,-13-13 0,0 13 0,13 0 16,-26 0-16,13-13 15,0 13-15,-14 0 0,1 0 0,-13-13 16,12 13-16,-25 0 0,12 0 0,-52 0 15,13 0-15,-14 0 0,-12 0 16,-1 0-16,0 13 0,-26-13 0,-13 0 16,0 0-16,-14 0 0,-13 0 0,14 13 15,-14-13-15,0 0 0,1 0 0,-14 13 16,13-13-16,-13 13 0,0 1 16,0-1-16,0 13 15,0 239 1,0-199-1,0 13-15,0-12 0,13-1 0,0 0 16,-13-13-16,13 13 0,1 0 0,-14-13 16,13-13-16,-13-1 0,13 14 15,-13-26-15,0 13 0,0-14 0,0 0 16,0 1-16,0-1 0,-13 1 0,13-1 16,-13-13-16,-1 14 0,1-14 15,-13 14-15,-1-14 0,1 13 0,-14-12 16,-13 12-16,-13-13 0,0 0 0,-13 1 15,-1-1-15,-26 0 0,-13-13 16,-26 13-16,-1 1 0,-12-14 16,-14 13-16,0-13 0,-14 13 0,1-13 15,0 13-15,-13-13 0,12 0 0,-12 14 16,13-14-16,-1 13 0,-12-13 16,0 13-16,12-13 0,1 13 0,0-13 15,0 13-15,13 1 0,0-14 0,0 13 16,13-13-16,0 13 0,27-13 15,26 0-15,14 0 0,-1 13 16,14-13-16,12 0 0,15 0 0,-1 0 0,26 0 16,1 0-16,-1 0 0,14 0 15</inkml:trace>
  <inkml:trace contextRef="#ctx0" brushRef="#br1" timeOffset="128600.1">18441 7302 0,'0'0'0,"-26"-13"16,13 13-16,0 0 15,-1 0-15,1 0 0,-13 0 0,-1-13 16,1 13-16,-1 0 0,-12 0 0,-14 0 16,13 0-16,-13 0 15,0 0-15,13 0 0,-12 0 0,12 0 16,0 0-16,14 0 0,-14 0 0,14 0 16,-14 0-16,13 0 0,14 0 0,-13 0 15,-1 0-15,14 0 0,0 0 16,0 0-16,-1 0 0,1 0 0,0 0 15,0 0-15,-1 0 0,1 0 16</inkml:trace>
  <inkml:trace contextRef="#ctx0" brushRef="#br1" timeOffset="128918.89">17754 6972 0,'-106'26'32,"92"-13"-32,-12 1 0,0-1 15,-14 0-15,13 14 0,14-14 0,-13 0 16,12 0-16,1 1 0,0-1 0,0 0 15,13 0-15,0 0 0,0 1 16,0 12-16,0-13 0,13 1 0,-13 12 16,13-13-16,14 14 0,-1-1 15,1-13-15,12 14 0,-12-14 0,-1 14 16,14-14-16,-14 0 0,14 13 0,-13-12 16,-14-14-16,13 13 0,1 0 15,-14 0-15,0-13 0,14 14 0,-14-14 16,0 13-16</inkml:trace>
  <inkml:trace contextRef="#ctx0" brushRef="#br1" timeOffset="134157.57">6575 13507 0,'-27'0'0,"-12"0"31,78 0-15,1 13-16,0-13 16,13 0-16,26 13 0,-13-13 15,27 0-15,-1 0 0,1 0 0,13 0 16,-14 0-16,28 0 0,12 0 0,0-13 15,0 13-15,-26 0 0,27 0 16,-1-13-16,-26 13 0,0 0 0,-14-13 16,1 13-16,-14 0 0,0 0 0,1 0 15,-27 0-15,0 0 0,-27 0 16,1 0-16,-1 0 0,-13 0 16,-39 13-1,-14-13-15</inkml:trace>
  <inkml:trace contextRef="#ctx0" brushRef="#br1" timeOffset="134410.26">6046 13824 0,'13'0'15,"-26"0"-15,52 14 0,-12-14 0,39 0 0,0 0 16,14-14-16,12 14 0,14 0 15,26 0-15,1 0 0,12-13 16,1 13-16,-1 0 0,1-13 0,-1 13 16,1 0-16,-14 0 0,0 0 15,14 0-15,-14 0 0,-26 0 0,0 0 16,-14 0-16,14 0 0,-13 0 0,-1 0 16,1 0-16,0 0 0,-14-13 15,0 13-15,-12-13 0,-1-1 0</inkml:trace>
  <inkml:trace contextRef="#ctx0" brushRef="#br1" timeOffset="134802.07">9723 12118 0,'0'0'16,"106"0"-16,225 0 15,-238 0-15,12 0 0,1 0 0,-13 0 16,13 0-16,-14 0 0,14 0 0,-13 0 16,-14 0-16,14 0 0,-27 13 15,0-13-15,-13 0 0,0 0 0,0 0 16,-27 0-16,1 0 0,-1 0 0</inkml:trace>
  <inkml:trace contextRef="#ctx0" brushRef="#br1" timeOffset="135066.84">10147 12197 0,'119'-13'0,"-238"26"0,317-26 16,-105 0-16,-1 13 0,14 0 0,-13-13 15,39 13-15,0-14 0,-39 14 16,39-13-16,-26 13 0,-13-13 0,13 13 16,-1 0-16,-12-13 0,0 13 0,-14-14 15,0 14-15,1 0 0,-27-13 16,-14 13-16,1 0 0,-13 0 0,-1 0 15,-13 0-15,0 0 0,1-13 0</inkml:trace>
  <inkml:trace contextRef="#ctx0" brushRef="#br0" timeOffset="-52949.02">12832 4934 0,'14'0'15</inkml:trace>
  <inkml:trace contextRef="#ctx0" brushRef="#br2" timeOffset="-46057.45">18825 4048 0,'13'0'0,"-13"-13"47,14 13-47,-14-27 16,0 14-16,0 0 0,0 0 15,0 0-15,0-1 0,0 1 0,-14-13 16,14-1-16,-13 14 0,0-14 16,-14 1-16,14 0 0,-13-1 0,12 14 15,-12 0-15,0-1 0,-14 1 16,13 13-16,-12 0 0,-1 0 0,0 0 16,-13 0-16,1 13 0,-1 1 15,0 12-15,0 1 0,0-1 0,0 14 16,13-1-16,-13 1 0,14 0 0,12 13 15,-12-14-15,12 14 0,14-13 16,-14 13-16,27-13 0,-13 12 0,26-12 16,-13 0-16,14 13 0,-1 0 0,13-14 15,1 14-15,12-13 0,-12 0 0,26-1 16,-13-12-16,12-1 0,1 1 16,13-1-16,-13 1 0,14-14 0,-1 0 15,-27 0-15,28-13 0,-15 0 16,1 0-16,13 0 0,1 0 0,-1-13 15,0 0-15,0 0 0,0-1 16,-13-12-16,0-1 0,13 1 0,-26 0 16,13-14-16,0 13 0,-14-12 0,14-1 15,-13 0-15,-14 1 0,14-1 16,-13-13-16,-14 27 0,13-67 16,-26 53-16,-13-13 0,0 1 0,0-15 15,-27 14-15,0 1 0,1-1 16,-28-14-16,1 15 0,-13-1 15,0 13-15,12 0 0,1 14 0,0-1 16,-13 1-16,-1-1 0,1 27 0,-14-13 16,14 13-16,-14 0 0,1 13 15,-1 1-15,-13 12 0,-13 1 0,27 12 16,-14-12-16,26 26 0,14-27 0,-13 27 16,26-13-16,0 13 0,13-14 15,1 14-15,-1 0 0,27-13 0,-14 13 16,27-14-16,-13-12 0,26 13 0,-13-14 15,14 14-15</inkml:trace>
</inkml:ink>
</file>

<file path=ppt/ink/ink13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1:37:45.331"/>
    </inkml:context>
    <inkml:brush xml:id="br0">
      <inkml:brushProperty name="width" value="0.05292" units="cm"/>
      <inkml:brushProperty name="height" value="0.05292" units="cm"/>
      <inkml:brushProperty name="color" value="#0070C0"/>
    </inkml:brush>
  </inkml:definitions>
  <inkml:trace contextRef="#ctx0" brushRef="#br0">14790 3056 0,'-13'13'31,"0"0"-31,13 1 0,-13 12 16,-1-13-16,1 1 0,0 12 0,-14 0 15,14-12-15,0 12 0,0-13 16,-1 14-16,1-14 0,0 14 16,0-14-16,13 0 0,-13 0 0,-1 0 15,1 1-15,13-1 0,-13 0 16,0-13-1</inkml:trace>
  <inkml:trace contextRef="#ctx0" brushRef="#br0" timeOffset="463.22">14539 3281 0,'-13'13'31,"-1"0"-31,14 1 16,-13-1-16,13 0 0,-13 0 16,13 0-16,-13 1 0,13-1 0,-14 0 15,14 0-15,-13-13 16,13 14-16,0-1 0,0 0 16,0 0-1,13-13-15,1 0 16,-1 13-16,0-13 0,0 0 15,1 0-15,-1 0 0,0-13 0,0 13 16,1 0-16,12 0 0,-13 0 16,0 0-16,1 0 0,-1 0 15,0 0-15,0 0 16,1 0-16,-1 0 31,-13 13-31,0 1 16</inkml:trace>
  <inkml:trace contextRef="#ctx0" brushRef="#br0" timeOffset="2429.1">9790 4670 0,'-27'0'32,"27"13"-17,-13-13 1</inkml:trace>
  <inkml:trace contextRef="#ctx0" brushRef="#br0" timeOffset="3843.92">12660 4657 0,'-26'13'15,"13"-13"-15,13 13 0,-14-13 16,14 13-16,-13 1 0</inkml:trace>
  <inkml:trace contextRef="#ctx0" brushRef="#br0" timeOffset="8843.85">14433 1389 0,'0'27'31,"0"-1"-31,13-13 16,-13 14-16,0 12 0,0 1 16,0 0-16,0-1 0,0 14 0,0-13 15,0 0-15,0-14 0,0 14 16,0-14-16,0 1 0,0-1 0,0-13 16,0 14-16,0-14 0,0 0 0,0 1 15,0-1-15,0 0 16,0 0-16</inkml:trace>
  <inkml:trace contextRef="#ctx0" brushRef="#br0" timeOffset="9228.41">14327 1945 0,'-13'-14'16,"26"41"0,-13-14-16,0 0 0,0 1 15,13-1-15,-13 0 0,14 14 0,-14-14 16,0 0-16,13 0 15,-13 0-15,13 1 0,-13-1 0,13 0 16,1 0-16,-1-13 16,0 0-1,0-13-15,0 13 0,1-13 0,-1 13 16,0-13-16,0 13 0,1-14 0,-1 1 16,0 0-16,0 0 0,1 0 15,-1 13-15,0-14 0,0 1 0,-13 0 16,13 13-16,1-13 0,-1 13 15,-13-14-15</inkml:trace>
  <inkml:trace contextRef="#ctx0" brushRef="#br0" timeOffset="10577.28">14142 754 0,'0'27'31,"-13"-14"-15,13 0-16,0 0 0,-13 14 0,13-14 15,0 13-15,-14 1 0,14-14 16,-13 13-16,13-12 0,-13 12 16,13-13-16,0 1 0,-13-14 0,13 13 15,0 0-15</inkml:trace>
  <inkml:trace contextRef="#ctx0" brushRef="#br0" timeOffset="10952.39">14380 847 0,'-13'26'31,"0"-13"-31,-1 14 0,-12-14 0,13 13 16,-14-12-16,1 12 0,13 14 16,-14-14-16,1 1 0,-1-1 15,14 1-15,-13-1 0,12-13 0,1 14 16,0-14-16,0 0 0,13 1 16,-14-1-16,1 0 0,13 0 15,-13-13-15,13 13 0,-13-13 0,13 14 16,13-1 15,0-26-15,0 13-16,1-14 15,-1 14-15,0 0 0,0-13 16,1 13-16,12-13 0,-13 13 16,0-13-16,1 13 0,-1-13 0,13 13 15,-12-14-15,-1 14 0</inkml:trace>
  <inkml:trace contextRef="#ctx0" brushRef="#br0" timeOffset="11572.54">14301 1085 0,'-13'13'15,"-1"0"-15,14 0 16,0 1-16,0-1 16,-13-13-16,13 13 0,0 0 0,0 1 15,-13-1-15,13 0 0,0 0 16,0 1-16,0-1 0,0 0 15,0 0-15,0 0 16,-13-13-16,13 14 0,0-1 16,0 0-1,0 0-15,0 1 16,-14-1 0,14 0 30,0 0 111</inkml:trace>
  <inkml:trace contextRef="#ctx0" brushRef="#br0" timeOffset="12153.46">14248 1111 0,'-13'0'31,"-1"13"-15,1 1-1,0-1-15,0 0 0,13 0 16,-14 1-16,14-1 0,-13 0 0,0 0 16,13 1-16,-13-14 15,13 13-15,-13 0 16,13 0-16,13-13 16,0 0-1,13-13 1,-12 13-16,-1 0 0,-13-13 15,26 13-15,-12-13 0,-1 13 16,0-14-16,0 14 0,1-13 0,-1 13 16,0-13-16,0 13 15,-13-13-15</inkml:trace>
  <inkml:trace contextRef="#ctx0" brushRef="#br0" timeOffset="12366.32">14248 1164 0,'0'0'0,"-13"40"0,13-27 0,0 0 16,0 1-16,0 12 0,-14-13 0,14 0 15,0 14-15,0-14 0,0 14 0,0-14 16,0 13-16,0-12 0,0-1 15,0 0-15,0 0 0,0 0 0,14-13 16</inkml:trace>
  <inkml:trace contextRef="#ctx0" brushRef="#br0" timeOffset="12660.42">14764 833 0,'53'-13'31,"-40"13"-31,0 0 0,0 0 16</inkml:trace>
  <inkml:trace contextRef="#ctx0" brushRef="#br0" timeOffset="12852.39">14751 952 0,'-14'0'15,"28"0"-15,-28 14 16,41-28 15,-14 14-31,0 0 16,0 0-16,1-13 0,12 13 15,-13-13-15,1 0 0</inkml:trace>
  <inkml:trace contextRef="#ctx0" brushRef="#br0" timeOffset="13629.34">15280 728 0,'0'-14'16,"0"1"0,0 0 46,-27 26 32,27 0-79,-13 1-15,13-1 16,-13-13-16,13 13 0,-13 0 0,13 1 16,-14-1-16,14 0 15,0 0-15,-13 0 0,13 1 0,0-1 16,13 0-16,-13 0 16,14 1-16,-1-14 0,-13 13 15,13-13-15,0 0 0,0 13 16,1-13-16,-1-13 0,0 13 15,0 0-15,1-13 0,-1 13 16,0 0-16,0-14 0,1 1 0,-1 0 16,-13 0-16,13-1 0,-13 1 15,0 0-15,0 0 16,-13 0-16,13-1 0,0 1 0,-13 0 16,-1 13-16,14-13 0,-13 13 0,0-14 15,0 14-15,-1-13 16,1 13-16,0 13 15,0-13-15,-1 0 0,14 14 0,-13-14 16,13 13-16</inkml:trace>
  <inkml:trace contextRef="#ctx0" brushRef="#br0" timeOffset="13786.01">15491 767 0,'0'-13'16</inkml:trace>
  <inkml:trace contextRef="#ctx0" brushRef="#br0" timeOffset="14151.33">15743 648 0,'0'0'0,"13"27"15,-13-14 1,0 0-16,-13 0 0,13 1 15,-14 12-15,14-13 0,-13 1 16,13-1-16,-13 0 0,13 0 0,0 0 16,0 1-16,-13-14 0,13 13 0,0 0 15,-13 0 1,26 1 0,0-14-1,0 0-15,0 0 16,1-14-1,-1 14-15,0 0 16,0-13-16,1 13 16,-1-13-16,0 13 15</inkml:trace>
  <inkml:trace contextRef="#ctx0" brushRef="#br0" timeOffset="14528.3">16140 609 0,'-53'26'31,"53"-13"-31,-14-13 0,1 13 0,0 1 16,13-1-16,-13-13 0,13 13 16,-13-13-16,13 13 0,0 1 15,13-1-15,0 0 16,0 0 0,0 1-16,1-1 15,-1 0 1,-26 0 15,13 0-31,-14-13 0,14 14 0,-13-14 16,13 13-16,-13-13 0,0 13 15,0-13-15</inkml:trace>
  <inkml:trace contextRef="#ctx0" brushRef="#br0" timeOffset="15892.57">16457 781 0,'27'-14'46,"-14"1"-46,0 13 0,0 0 16,0 0-16,1 0 0,12-13 16,-13 13-16,14 0 0,-14 0 15,14-13-15,-14 13 0,13 0 0,-13-14 16,14 14-16,-14 0 0,14-13 0,-1 13 16,-13 0-16,14-13 0,-1 13 15,1 0-15,-14-13 0,13 13 0,-12 0 16,12-14-16,-13 14 0,14 0 0,-14 0 15,13-13-15,-12 13 0,-1 0 16,0-13-16,0 13 0,1 0 0,-1 0 16,0 0-16,0-13 15,0 13-15,1 0 16,-1 0 0,-40-13 62</inkml:trace>
  <inkml:trace contextRef="#ctx0" brushRef="#br0" timeOffset="16309.16">17013 503 0,'-14'0'0,"54"0"47,-27 0-31,1 13-16,-1-13 0,0 0 0,0 0 15,14 0-15,-14 13 0,0-13 16,0 0-16,1 0 0,-1 0 0,0 0 16,0 13-16,1-13 0,-1 0 0,0 0 15,0 0-15,-13 14 16,14-14-16,-1 13 0,-13 0 15,13-13-15,-13 13 0,0 1 16,0-1-16,-13 0 16,13 0-16,-13 0 0,13 1 15,-14-1-15,1 13 0,0-12 0,0-1 16,-1 0-16,1 14 0,13-14 16,-13 0-16,0 0 0</inkml:trace>
  <inkml:trace contextRef="#ctx0" brushRef="#br0" timeOffset="16975.73">17939 489 0,'0'-13'0,"-27"26"16,27 1-1,-13-1-15,13 0 0,-13 0 0,13 1 16,-13-1-16,13 0 0,0 0 0,0 14 15,0-14-15,0 0 0,0 0 16,0 1-16,13-1 0,-13 0 0,0 0 16,13 1-16,0-14 0,-13 13 0,14-13 15,-1 0-15,0 0 0,0 0 16,0 0-16,1 0 0,-1-13 16,0 13-16,0 0 0,1-14 0,-1 1 15,0 13-15,-13-13 0,13 0 16,-13-1-16,14 1 15,-14 0-15,-14 0 0,14 0 16,0-1-16,0 1 0,-13 13 0,13-13 16,-13 0-16,13-1 0,-13 14 15,13-13-15,-14 13 0,1-13 0,0 0 16,0 13-16,-1 0 16,1-14-1,0 28-15,0-14 16,13 13-16</inkml:trace>
  <inkml:trace contextRef="#ctx0" brushRef="#br0" timeOffset="17141.3">18269 569 0</inkml:trace>
  <inkml:trace contextRef="#ctx0" brushRef="#br0" timeOffset="17613.4">18547 344 0,'-13'0'0,"53"13"32,-27-13-17,0 0-15,0 0 0,1-13 0,-1 13 16,0 0-16,0 13 16,1-13-16,-1 0 0,0 0 15,0 0-15,0 13 0,1-13 16,-14 14-16,13-1 15,-13 0-15,0 0 0,13 1 16,-13-1-16,0 13 0,0-13 0,0 1 16,0-1-16,0 0 0,0 0 15,0 1-15,0-1 0,0 0 0,0 0 16,0 1-16,0-1 0,0 0 16,-13 0-1,26-13-15,-13 13 16</inkml:trace>
  <inkml:trace contextRef="#ctx0" brushRef="#br0" timeOffset="17810.36">18600 569 0,'53'-13'0,"-40"13"0,1 0 0,-1-14 15,13 14-15,-13 0 0,14 0 0,-1-13 16,14 13-16,53-13 16</inkml:trace>
  <inkml:trace contextRef="#ctx0" brushRef="#br0" timeOffset="45368.78">14526 3307 0,'-27'14'110,"27"-1"-110,0 0 15,-13-13-15,13 13 0,0 0 16,-13 1-16,13-1 16,-14 0-16,14 0 15,0 1-15,0-1 16,-13-13-1,13 13-15,0 0 16,0 0 15,-13 1 94,39-14-93,-12 0-17,-1 0-15,0-14 16,0 14-16,1 0 0,-1 0 0,0 0 15,0 0 1,1 0-16</inkml:trace>
  <inkml:trace contextRef="#ctx0" brushRef="#br0" timeOffset="49304.18">6469 9432 0,'13'27'15,"1"-14"1,-1-13-16,0 0 0,0 0 15,0 13-15,14-13 0,-1 0 0,1 0 16,13 0-16,-14 0 0,14 0 0,-1 0 16,14 0-16,0-13 0,-13 13 15,13-13-15,13 0 0,-26-1 16,26 1-16,-27 0 0,14 0 0,-13-1 16,0 1-16,-1 0 0,1-13 15,0 12-15,-14 1 0,1-13 0,12 12 16,-12-12-16,-14 13 0,14 0 0,-14-14 15,0 14-15,0 0 0,0-14 16,1 14-16,-1 0 0,0-14 0,-13 14 16,13 0-16,-13-14 0,14 14 0,-14 0 15,0-14-15,0 14 0,0 0 16,0 0-16,0-14 0,0 14 16,0 0-16,0-14 0,-14 14 0,14 0 0,-13-14 15,0 14-15,0-13 16,-1 12-16,14 1 0,-26 0 0,13-13 15,-14 12-15,14 1 0,-13-13 0,-14 12 16,13 1-16,1 0 0,-14-14 16,14 14-16,-14 13 0,0-13 0,1 0 15,12 13-15,1-13 0,-14 13 0,1-14 16,12 14-16,-13 0 0,14 0 16,-1 0-16,1 0 0,-40 0 15,39 0-15,1 14 0,-14-14 0,1 13 16,-1 0-16,0 0 0,1 0 15,12 1-15,-13 12 0,1 1 16,-1-14-16,-13 27 0,13-14 0,1 0 16,12 1-16,1 13 0,-1-14 15,-12 27-15,12-13 0,1-1 0,12-12 16,-12 13-16,13-1 0,0 1 0,-1 0 16,-25 39-16,39-53 0,-14 14 15,1 0-15,0-1 0,13-12 16,-13-1-16,13 1 0,0-1 0,0-12 15,0-1-15,0 13 0,0-13 16,0 1-16,0-1 0,0 0 0,13 0 16,-13 1-16,13-14 15,0 13-15,14-13 0,-14 0 16,0 0-16,14 0 0,12 0 16,-12 0-16</inkml:trace>
  <inkml:trace contextRef="#ctx0" brushRef="#br0" timeOffset="50345.71">13004 8559 0,'-13'-13'31,"26"0"-31,1 13 15,12 0 1,-13 0-16,0 0 16,1 13-16,-1-13 0,-13 13 15,13 0-15,-13 1 16,0-1-16,-13 13 0,13-12 0,-13 12 16,-1-13-16,1 14 0,0-1 0,0-13 15,0 14-15,-1-14 16,1 0-16,0 1 0,0-1 0,-1-13 15,14 13-15,-13 0 0,0-13 16,13 14-16,-13-14 0,39 0 47,1 0-47,-14-14 0,0 14 16,0 0-16,1-13 15,-1 13-15,0 0 0,0-13 0,0 13 16,1 0-16,-1-13 0,0 13 0</inkml:trace>
  <inkml:trace contextRef="#ctx0" brushRef="#br0" timeOffset="50507.83">13361 8744 0,'-13'-13'16,"0"13"-16,13-13 15</inkml:trace>
  <inkml:trace contextRef="#ctx0" brushRef="#br0" timeOffset="50820.21">13639 8625 0,'-26'14'32,"26"-1"-32,-13 0 15,-1 0-15,-12 1 0,13-1 0,-14 0 16,1 0-16,13 0 0,-1 1 0,1-1 16,-13 13-16,12-26 15,1 14-15,13-1 0,-13-13 16,13 13-16,13 0 15,0-13 1,1 0-16,-1 0 16,0 0-16,0 0 0,14 0 0,-14 0 15,13 0-15,-12 0 0,-1-13 0,13 13 16,-12 0-16,25-13 16,-26 0-16,1 13 0,-1-14 15,0 14-15</inkml:trace>
  <inkml:trace contextRef="#ctx0" brushRef="#br0" timeOffset="51016.56">13679 8652 0,'-13'13'0,"26"-26"0,-40 39 16,27-12-16,0-1 15,-13 0-15,13 0 0,0 14 0,-13-14 16,13 13-16,0 1 0,0-14 0,-13 14 15,13-1-15,0-13 0,13 14 16,-13-14-16,0 0 0,13 0 0,-13 1 16,13-1-16,14 0 0</inkml:trace>
  <inkml:trace contextRef="#ctx0" brushRef="#br0" timeOffset="51713.18">14102 8784 0,'-13'0'16,"53"0"15,-27-13-15,13 13-16,-12 0 15,-1 0-15,13-13 0,1 13 0,-14 0 16,14-14-16,-14 14 0,13 0 0,-13-13 16,14 13-16,-14-13 0,14 13 15,-1-13-15,-13 13 0,0-13 16</inkml:trace>
  <inkml:trace contextRef="#ctx0" brushRef="#br0" timeOffset="51966.18">14221 8599 0,'40'0'16,"-27"0"-16,1 0 15,12 13-15,0-13 0,1 0 0,13 13 16,-14-13-16,0 14 0,14-1 0,-13-13 16,-14 13-16,13 0 0,1 1 15,-14-1-15,0 0 0,0-13 16,-13 26-16,14-12 0,-14-1 0,0 0 16,0 0-16,0 1 0,0-1 15,-14 0-15,14 0 0,0 1 16,0-1-16,0 0 0,14-13 0</inkml:trace>
  <inkml:trace contextRef="#ctx0" brushRef="#br0" timeOffset="52422.25">15227 8559 0,'13'-13'0,"-26"26"16,39-39-16,1 26 0,-14 0 0,13 0 15,-12 0-15,-1 0 0,0 0 16,27 13-16,-27 0 15,0 0-15,0 1 0,-13-1 16,0 0-16,0 14 0,0-14 0,-13 13 16,13-12-16,-13 12 15,0-13-15,0 0 0,-1 1 0,14-1 16,-13 0-16,0 0 0,0 1 16,13-1-16,-14-13 0,14 13 15,14-13 1,-1 0-1,0 0-15,0 0 0,1 0 16,12-13-16,0 13 0,-12 0 16,12-13-16,-13 13 0,14-14 15,-14 14-15,0-13 0,14 13 0,-14-13 16,0 13-16,0 0 0</inkml:trace>
  <inkml:trace contextRef="#ctx0" brushRef="#br0" timeOffset="52576.62">15782 8639 0,'0'-14'16,"-13"14"-16</inkml:trace>
  <inkml:trace contextRef="#ctx0" brushRef="#br0" timeOffset="53060.87">15994 8453 0,'-26'0'16,"12"14"0,28-1-1,-14 0-15,0 0 0,13-13 0,-13 14 16,13-1-16,0 0 0,-13 0 16,14 14-16,-14-14 0,13 13 15,-13-12-15,0-1 0,-13 27 16,13-27-16,-14 0 0,14 0 15,-13 0-15,13 1 0,-13-14 0,13 13 16,-13-13-16,13 13 16,-14-39-1,28 12 1,-1 1-16,-13 0 0,13 0 0,0 0 16,-13-14-16,14 14 0,-14-14 15,13 14-15,-13-13 0,13 12 16,-13-12-16,0 13 0,0-14 0,-13 14 15,13-13-15,-13 12 0,13 1 0,-14 0 16,1 0-16,13 0 0,-13 13 0,0-14 16,-1 14-16,1 0 15,0 0-15,0 0 0,-1 14 0,-25 12 16,12-13-16,-39 27 0,40-14 16</inkml:trace>
  <inkml:trace contextRef="#ctx0" brushRef="#br0" timeOffset="53584.73">15306 9155 0,'53'0'0,"-106"0"0,133 0 16,-54-14-16,0 14 0,14 0 0,13-13 16,13 0-16,0 0 0,0-1 15,1 1-15,12 0 0,-13 0 0,14 0 16,78-27-16,-78 13 0,-14 14 15,13-13-15,-13-1 0,0 1 0,-13 13 16,0-14-16,0 1 16,-13-1-16,0 1 0,-1-1 0,-12 1 15,26-27-15,-40 13 0,13-26 16,-12 40-16,-14-14 0,0 0 16,0 1-16,-40-41 15,13 27-15,-12 14 0,-1-1 0,0 0 16,-13 14-16,1-14 0,-15 14 0,1 12 15,0-12-15,0 13 0,-13 13 16,12-14-16,-91 14 0,92 14 16,-14-1-16,14 0 0,0 0 0,0 1 15,13 12-15,-79 40 0,79-39 16,-14-1-16,1 14 16,13-1-16,0-12 0,-52 52 15,52-52-15,-40 39 0,67-53 16</inkml:trace>
  <inkml:trace contextRef="#ctx0" brushRef="#br0" timeOffset="54225.73">14063 9221 0,'-27'13'0,"27"0"0,-13 14 15,13-14 1,0 0-16,13 0 0,-13 14 0,13-14 16,1 0-16,25 40 0,-12-26 15,-1-14-15,14 13 0,-14-12 16,14-1-16,53 13 0,-54-26 16,14 0-16,0 0 0,-13 0 15,13 0-15,0-13 0,0 13 16,13-13-16,-13 0 0,66-27 15,-66 27-15,-14-1 0,14-12 0,-13-1 16,0 14-16,-14-13 0,14-1 0,-14 14 16,1-13-16,26-14 15,-40 27-15,0 0 0,0-1 0,1 1 16,-1 0-16,-13 0 16,13 13-16,-13-14 15,0 1 1</inkml:trace>
  <inkml:trace contextRef="#ctx0" brushRef="#br0" timeOffset="54501.46">15187 9115 0,'79'-13'31,"-65"13"-15,-1 0-16,0 0 0,14 13 0,-14-13 15,13 0-15,-12 13 0,12-13 0,-13 13 16,0-13-16,1 14 0,-1-1 16,0-13-16,-13 13 0,13 0 0,-13 1 15,0 12-15,-13-13 0,13 14 0,-13-1 16,-27 40-16,27-39 0,-13-1 15,-1 1-15,1 12 16,-1-25-16,1 12 0,-1 0 0,1 1 0</inkml:trace>
</inkml:ink>
</file>

<file path=ppt/ink/ink13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24:40.942"/>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4379 5556 0,'13'13'0,"0"-13"16,1 0-16,-1 0 15,0 0 1,13 14-16,107-14 172,-120 0-172,0 0 15</inkml:trace>
  <inkml:trace contextRef="#ctx0" brushRef="#br0" timeOffset="438">4591 5437 0,'26'13'47,"-13"-13"-31,0 14-16,1-14 15,-1 0-15,0 13 16,0-13-16,1 0 0,-1 0 0,0 13 16,0-13-16,0 0 15,-13 13-15,14-13 0,-1 14 16,-13-1-1,0 0-15,0 0 16,0 0-16,-13-13 0,13 14 16,-14-1-16,1 0 0,13 0 15,-13 1-15,-13-1 0,12 0 0,1 0 16,0 1-16,0-1 0,-1-13 0,1 13 16,0-13-16,13 13 0,-13-13 15,13 13-15</inkml:trace>
  <inkml:trace contextRef="#ctx0" brushRef="#br0" timeOffset="1380.5">5477 5398 0,'13'0'16,"0"0"-16,1-14 16,-1 14-1,-13-13-15,-27 13 31,1 0-15,13 13-16,-1-13 0,1 0 0,-13 14 16,13-14-16,-1 13 0,1-13 15,0 0-15,0 13 0,-1-13 0,1 13 16,0-13-16,13 13 0,-13-13 16,26 14-1,0-1-15,0-13 16,-13 13-16,14-13 0,-1 0 0,0 0 15,0 13-15,1-13 0,-1 14 16,0-14-16,0 0 16,0 13-16,-13 0 15,0 0 1,-13 0-16,0-13 16,0 14-16,0-14 0,-1 13 0,1-13 15,-13 13-15,12-13 0,-12 13 0,13-13 16,-1 0-16,1 14 0,0-14 15,0 0-15,0 0 0,-1 13 0,1-13 16</inkml:trace>
  <inkml:trace contextRef="#ctx0" brushRef="#br0" timeOffset="1780.77">5609 5450 0,'-26'14'16,"26"-1"-1,-14-13-15,14 13 0,-13 0 16,13 1-16,0-1 0,0 0 15,0 0-15,0 0 0,13-13 16,-13 14-16,14-1 16,-1-13-16,0 0 0,0 0 15,1 0-15,-1 0 0,0 0 16,0 0-16,1-13 0,-1 13 16,0-14-16,0 14 0,-13-13 15,0 0-15,0 0 0,0 0 16,0-1-16,0 1 0,-13 13 15,13-13-15,-13 0 16,13-1-16,-13 14 0,-1 0 16,1 0-16,0 0 15,13 14-15,-13-14 16,13 13-16</inkml:trace>
  <inkml:trace contextRef="#ctx0" brushRef="#br0" timeOffset="1996.65">6112 5398 0,'-13'26'32,"13"-13"-17,-14 0-15,14 1 0,-13-1 0,0 0 16,0 0-16,13 1 0,-14 12 0,1-13 15,0 0-15,0 1 0,0-1 16,13 0-16,-14 0 0,14 1 0,-13-14 16,13 13-16,0 0 0</inkml:trace>
  <inkml:trace contextRef="#ctx0" brushRef="#br0" timeOffset="2153.09">5834 5517 0,'-13'-14'16</inkml:trace>
  <inkml:trace contextRef="#ctx0" brushRef="#br0" timeOffset="2300.88">6165 5596 0,'13'0'31</inkml:trace>
  <inkml:trace contextRef="#ctx0" brushRef="#br0" timeOffset="2904.57">4339 6165 0,'27'13'16,"-14"-13"-16,0 0 15,14 0-15,-14 0 0,0 13 0,0-13 16,14 0-16,-14 0 0,0-13 16,14 13-16,-14 0 0,0 0 0,14 0 15,-14 0-15,0 0 0,0-13 0,0 13 16,1 0-16</inkml:trace>
  <inkml:trace contextRef="#ctx0" brushRef="#br0" timeOffset="3199.79">4604 6006 0,'0'0'16,"26"0"-1,-13 0 1,1 0-16,-1 13 0,0-13 0,0 13 15,1-13-15,12 14 0,-13-1 16,0 0-16,-13 0 0,14 1 0,-1-1 16,-13 0-16,13 0 0,-13 1 15,-13-1-15,13 0 0,0 0 16,-13 0-16,13 1 0,-14-1 0,1 0 16,0 0-16,13 1 0,-13-14 0,13 13 15,-13-13-15</inkml:trace>
  <inkml:trace contextRef="#ctx0" brushRef="#br0" timeOffset="3753.68">5622 6032 0,'14'-13'16,"-41"13"15,14 0-15,0 0-16,-1 13 0,1-13 15,0 0-15,0 14 16,13-1-1,0 0 1,13-13-16,0 13 0,0-13 16,-13 14-16,14-14 15,-1 13-15,0-13 16,-13 13-16,13-13 0,-13 13 16,0 1-16,-13-1 15,0-13-15,13 13 0,-13-13 16,-1 13-16,1-13 0,0 0 0,0 13 15,0-13-15,-1 0 0,1 14 16</inkml:trace>
  <inkml:trace contextRef="#ctx0" brushRef="#br0" timeOffset="4084.44">5808 6006 0,'-27'40'31,"14"-27"-31,13 0 0,0 0 16,-13 1-16,13-1 0,13 0 16,0 0-16,0 1 15,1-14-15,-1 0 16,0 0-16,0 0 0,1 0 15,-1 0-15,-13-14 0,13 14 16,-13-13-16,13 13 16,-13-13-16,-13 0 0,13-1 15,-13 1-15,0 0 0,-1 0 16,1-1 0,0 14-1,0 0-15,-1 0 16,14 14-16</inkml:trace>
  <inkml:trace contextRef="#ctx0" brushRef="#br0" timeOffset="4281.96">6191 5966 0,'13'0'0,"1"14"31,-28-1-31,14 0 16,0 0-16,-13 0 16,13 1-16,-13-1 0,0 0 15,13 0-15,-13 1 0,13-1 0,-14-13 16,14 13-16,-13 0 0</inkml:trace>
  <inkml:trace contextRef="#ctx0" brushRef="#br0" timeOffset="4437.64">6059 6059 0,'-13'0'31</inkml:trace>
  <inkml:trace contextRef="#ctx0" brushRef="#br0" timeOffset="4550">6231 6125 0,'0'0'0</inkml:trace>
  <inkml:trace contextRef="#ctx0" brushRef="#br0" timeOffset="5164.16">4524 6813 0,'27'0'0,"-14"0"15,0 0-15,14 13 0,-14-13 0,0 0 16,0 0-16,14 0 0,79 0 31,-80 0-31,-13 0 0,1 0 16,-1 0-16,0 0 0,-13-13 0,13 13 16</inkml:trace>
  <inkml:trace contextRef="#ctx0" brushRef="#br0" timeOffset="5451.91">4749 6668 0,'13'0'15,"1"0"-15,-1 0 16,0 13-16,0-13 0,14 13 15,-14-13-15,0 13 0,1-13 0,-1 13 16,0 1-16,0-14 0,0 13 0,1 0 16,-1-13-16,0 13 0,-13 1 15,0-1-15,13-13 0,-13 13 0,0 0 16,-13 0-16,13 1 16,-13-1-16,13 0 0,-13-13 0,-1 13 15,14 1-15,-13-1 0,13 0 16</inkml:trace>
  <inkml:trace contextRef="#ctx0" brushRef="#br0" timeOffset="6232.92">5874 6694 0,'0'0'15,"13"-13"16,-39 26-15,12-13-16,1 0 16,0 13-16,0-13 0,-1 13 15,1-13-15,0 14 0,0-14 0,-1 13 16,1 0 0,26 0-1,1-13 1,-14 14-16,13-14 0,0 13 15,0-13-15,1 0 0,-1 13 0,0-13 16,0 0-16,1 13 0,-1-13 16,-13 13-1,13-13-15,-26 27 16,0-27-16,-1 13 16,1-13-16,0 0 0,0 13 15,-1-13-15,1 14 0,0-14 16,0 0-16,-1 0 31</inkml:trace>
  <inkml:trace contextRef="#ctx0" brushRef="#br0" timeOffset="6579.83">6085 6734 0,'-26'13'16,"26"0"0,-13 0-16,13 1 15,0-1-15,0 0 16,0 0-16,0 0 16,13 1-16,0-14 15,-13 13-15,13-13 0,1 0 0,-1 0 16,13 0-1,-12 0-15,-14-13 0,13 13 0,0-14 16,-13 1 0,0 0-16,0 0 15,0 0-15,-13 13 0,13-14 16,-13 14-16,13-13 0,-14 13 16,1-13-16,0 13 15</inkml:trace>
  <inkml:trace contextRef="#ctx0" brushRef="#br0" timeOffset="6791.09">6456 6641 0,'0'0'0,"13"0"16,-13 13-16,0 1 15,0-1 1,0 0-16,0 0 0,0 0 0,-13 1 16,13-1-16,-13 0 0,13 14 15,-14-14-15,1 0 0,13 0 0,-13 0 16,0 1-16,-1-1 0,14 0 16,-13-13-16</inkml:trace>
  <inkml:trace contextRef="#ctx0" brushRef="#br0" timeOffset="6948.89">6284 6760 0,'0'-13'15,"13"13"1,0 0-16</inkml:trace>
  <inkml:trace contextRef="#ctx0" brushRef="#br0" timeOffset="7109.63">6654 6826 0</inkml:trace>
  <inkml:trace contextRef="#ctx0" brushRef="#br0" timeOffset="11294.07">5477 5398 0,'0'0'16,"-27"26"-16,14-13 0,-13 14 0,13 12 16,-14 14-16,1 0 0,12 0 15,1 0-15,0 13 0,13 0 0,-13-13 16,13 13-16,0 0 0,0 1 16,13-14-16,0-14 0,0 14 15,1-13-15,-1 0 0,13-1 0,-12-12 0,-1-1 16,13-13-16,-13 1 0,1-14 15,-1 0-15,0 0 0,0 0 0,1-14 16,-1-12-16,0-1 0,0-12 0,0-14 16,1-13-16,-14 0 0,13-1 15,-13-12-15,0-14 0,-13 14 0,13 0 16,-14-1-16,14 1 0,-13 26 0,13 0 16,-13 13-16,13 1 0,-13 12 15,13 14-15,-13 13 0,13-13 16,-14 39-16,1 14 0,0 13 15,0 13-15,-1 0 0,14 14 0,-13 39 16,13-14-16,0 1 0,13 13 16,-13-13-16,14 0 0,12 0 15,-13-14-15,1-12 0,-1-1 0,13-13 16,-13 0-16,1-13 0,12 0 0,-13 0 16,1-26-16,12 12 0,-26-25 0,13-1 15,1 0-15,-1-13 0,0-26 16,0-1-16,-13-13 15,13 1-15,-13-27 0,0-14 0,0-12 16,0-14-16,-13-13 0,0-14 16,13 14-16,-13 0 0,0 0 15,-1 13-15,1 27 0,13 0 0,-13 13 16,0 13-16,13 13 0,-14 13 0,14 1 16,-13 13-16,0 26 15,13 13-15,0 14 16,0 26-16,0 14 0,0-1 15,13 40-15,-13-13 0,13 0 0,14 0 0,-14-1 16,14 1-16,-1-13 0,0-27 16,1 0-16,-1-13 0,1 0 15,-1-13-15,-12-1 0,12-12 0,-13-14 16,0 0-16,1 1 0,-1-14 16,0-14-16,0-12 15,-13-14-15,14 0 0,-14-26 0,0 0 16,0-13-16,-14-14 0,14-26 15,-13 0-15,0 13 0,13-13 0,-13 13 16,-1 27-16,1 13 0,0 0 0,0 13 16,0 26-16,-1 1 0,14 13 15,-13-1-15,-13 67 16,12-13-16,1 26 0,13 14 0,-13-1 16,13 13-16,0 28 0,0-15 15,13 1-15,-13-13 0,13-14 16,1 1-16,-1-14 0,0 0 0,0 0 15,1-13-15,-1-13 0,13-14 0,-13 1 16,-13-1-16,14-13 0,-1-13 16,0 0-16,0-13 0,1 0 15,-1-27-15,0-13 0,27-79 16,-27 26-16,0-13 0,0 13 16,1-26-16,-1 13 0,0 0 0,0 13 15,-13 27-15,14 12 0,-14 28 16,13 12-16,-13 1 0,0 13 0,0 52 15,-13 1 1,-1 26-16,14 0 0,-13 14 0,0 12 16,0 14-16,13 0 0,-14-27 0,1 1 15,13-1-15,0-13 0,-13 0 16,13-13-16,0-13 0,0 0 0,13-1 16,-13-12-16,0-14 0</inkml:trace>
  <inkml:trace contextRef="#ctx0" brushRef="#br0" timeOffset="13544.7">7488 5424 0,'13'-26'16,"0"26"-16,0 0 15,1 0-15,-1 13 16,0-13-1,-13 13-15,0 0 0,-13-13 16,13 13-16,-13-13 0,13 14 0,-14-1 16,1 0-1,0 0-15,26 1 16,-13-1-16,13 0 16,1 0-1,-14 0-15,13-13 0,-13 14 0,13-14 16,-13 13-16,13-13 0,-13 13 15,-13 0-15,0 1 16,0-14-16,-1 0 16,14 13-16,-13-13 0,0 0 0,0 0 15,-1 0-15,1 0 0,13 13 0,-13-13 16,0-13 0</inkml:trace>
  <inkml:trace contextRef="#ctx0" brushRef="#br0" timeOffset="13871.84">7766 5437 0,'13'0'15,"-13"13"1,0 1-1,0-1 1,0 0 0,13 0-16,-13 1 0,0-1 15,13-13-15,-13 13 0,0 0 16,13-13-16,-13 13 0,0 1 16,-13-1-16,13 0 15,-13 0-15,0 1 0,0-14 16,13 13-16,-14-13 0,1 13 15,0-13-15,13 13 0,-13-13 16</inkml:trace>
  <inkml:trace contextRef="#ctx0" brushRef="#br0" timeOffset="14019.61">7964 5596 0</inkml:trace>
  <inkml:trace contextRef="#ctx0" brushRef="#br0" timeOffset="14493.97">8162 5411 0,'27'0'31,"-27"13"-31,0 0 16,13-13-1,-13 13-15,0 1 16,0-1-16,13 0 16,-13 0-1,0 1-15,0-1 16,0 0-16,0 0 0,-13-13 16,13 13-16,-13 1 0,0-1 15,-1-13-15,14 13 0,-13-13 16,0 13-16,0-13 0,13 14 0,-14-14 15,1 13-15,0-13 16</inkml:trace>
  <inkml:trace contextRef="#ctx0" brushRef="#br0" timeOffset="15069.53">8321 5384 0,'27'0'31,"-27"14"-31,0-1 0,0 0 32,0 0-32,0 0 15,13 1 1,-13-1-16,0 0 15,0 0 1,0 1-16,-13-1 16,13 0-16,-14 0 0,14 0 15,-13-13-15,13 14 0,-13-14 16,13 13-16,-13-13 0,-1 0 16,14 13-1,-13-13-15</inkml:trace>
  <inkml:trace contextRef="#ctx0" brushRef="#br0" timeOffset="15252.62">8797 5411 0,'14'13'16,"-14"0"-16,-14 14 15,1-14-15,13 0 0,-13 14 0,-14-14 16,14 0-16,-13 13 0,13-12 16,-1-1-16,1 0 0,0 0 0,0 1 15</inkml:trace>
  <inkml:trace contextRef="#ctx0" brushRef="#br0" timeOffset="15405.07">8533 5450 0,'0'0'0,"13"0"31,13 14-31,1-14 0</inkml:trace>
  <inkml:trace contextRef="#ctx0" brushRef="#br0" timeOffset="15518.59">8824 5596 0</inkml:trace>
  <inkml:trace contextRef="#ctx0" brushRef="#br0" timeOffset="16333.16">7580 5993 0,'0'-13'0,"14"13"16,-1 0-16,0 0 16,0 0-16,0 13 15,1-13-15,-14 13 16,0 0 0,0 0-16,0 1 15,0-1 1,13 0-1,0 0 1,-13 1-16,13-14 16,-13 13-16,0 0 15,0 0-15,0 1 0,0-1 16,-13-13-16,13 13 0,-13-13 16,13 13-16,-13-13 0,-1 13 15,1-13-15,0 14 16</inkml:trace>
  <inkml:trace contextRef="#ctx0" brushRef="#br0" timeOffset="16641.09">7845 6006 0,'13'0'31,"-13"13"-15,0 0-1,13-13-15,-13 14 0,0-1 16,14 0 0,-14 0-16,0 1 15,13-14-15,-13 13 16,-13 0-16,13 0 0,-14 1 15,1-1 1,0 0-16,0 0 0,-1-13 16,1 13-16</inkml:trace>
  <inkml:trace contextRef="#ctx0" brushRef="#br0" timeOffset="16774.07">7924 6165 0,'0'0'0,"14"0"16,-1-13-1</inkml:trace>
  <inkml:trace contextRef="#ctx0" brushRef="#br0" timeOffset="17200.87">8268 6019 0,'13'-13'0,"14"26"31,-27 0-31,0 1 16,0-1-1,0 0-15,0 0 16,13-13-16,-13 14 15,13-1-15,1 0 16,-14 0-16,13 1 16,-13-1-1,-13 0 1,13 0-16,-14-13 16,1 13-1</inkml:trace>
  <inkml:trace contextRef="#ctx0" brushRef="#br0" timeOffset="17489.82">8480 5993 0,'40'0'15,"-27"0"1,-13 13-16,13 0 15,-13 0 1,13 1-16,-13-1 16,13-13-16,-13 13 15,0 0-15,0 1 16,0-1-16,0 0 16,0 0-16,-13 1 15,0-1-15,0-13 16,13 13-16,-13-13 0,-1 0 0,14 13 15,-13-13-15</inkml:trace>
  <inkml:trace contextRef="#ctx0" brushRef="#br0" timeOffset="17671.96">8877 6059 0,'13'0'16,"-13"13"0,-13 0-16,0 1 15,13-1-15,-14 0 0,1-13 16,0 13-16,-14 1 0,14-1 16,0 0-16,0 0 0,-1-13 0</inkml:trace>
  <inkml:trace contextRef="#ctx0" brushRef="#br0" timeOffset="17807.75">8758 6085 0,'26'-26'16,"-13"26"-16,1 13 16,-1 0-1</inkml:trace>
  <inkml:trace contextRef="#ctx0" brushRef="#br0" timeOffset="17876.03">8916 6178 0,'0'0'0</inkml:trace>
  <inkml:trace contextRef="#ctx0" brushRef="#br0" timeOffset="18518.64">7501 6628 0,'40'-13'31,"-27"13"-31,13 0 16,-26 13-16,14-13 15,-14 13-15,-14 0 16,14 1-16,0-1 16,-13-13-16,13 13 15,0 0-15,13-13 16,-13 13-16,14 1 16,-1-14-16,-13 13 0,13 0 15,-13 0-15,13-13 0,-13 14 16,0-1-16,0 0 15,-13-13-15,13 13 0,-13 0 16,0 1-16,-1-14 0,14 13 0,-13-13 16,0 0-1,0 0-15</inkml:trace>
  <inkml:trace contextRef="#ctx0" brushRef="#br0" timeOffset="18957.59">7766 6601 0,'26'14'31,"-13"-14"-31,-13 13 16,0 0 0,0 0-16,13-13 15,-13 14-15,0-1 0,14-13 16,-14 13-16,0 0 0,13-13 15,-13 13-15,0 1 0,13-1 16,-13 0-16,0 0 16,-13 1-16,13-1 15,-13 0-15,-1 0 16,1 0-16,0-13 16,0 0-16,0 0 31,-1 0-16</inkml:trace>
  <inkml:trace contextRef="#ctx0" brushRef="#br0" timeOffset="19445.03">8109 6694 0,'-13'0'47,"40"-13"-16</inkml:trace>
  <inkml:trace contextRef="#ctx0" brushRef="#br0" timeOffset="19797.84">8374 6509 0,'0'0'15,"13"0"-15,1 13 0,-14 0 16,0 0 0,-14 1-16,14-1 0,-13-13 0,0 13 15,13 0-15,-13 1 0,-1-1 16,14 0-16,0 0 16,0 1-1,14-1 1,-1 0-1,-13 0 1,0 0 0,-13-13-16,13 14 0,-14-14 15,14 13-15,-13 0 16</inkml:trace>
  <inkml:trace contextRef="#ctx0" brushRef="#br0" timeOffset="20244.7">8533 6548 0,'13'-13'15,"27"26"1,-27-13-1,-13 14 1,0-1-16,0 0 16,0 0-1,0 1-15,0-1 16,0 0 0,0 0-16,-13 1 15,13-1-15,-14-13 0,14 13 16,-13-13-16,13 13 0,-13-13 0,0 13 15,0-13-15,13 14 16</inkml:trace>
  <inkml:trace contextRef="#ctx0" brushRef="#br0" timeOffset="20448.18">9062 6535 0,'13'13'16,"-26"14"-1,0-14-15,13 0 16,-13 1-16,-1-1 0,1 0 0,0 14 16,-14-14-16,14 0 0,0 0 0,-14 14 15,14-14-15,0 0 0,0 0 0,0 1 16,-1-14-16</inkml:trace>
  <inkml:trace contextRef="#ctx0" brushRef="#br0" timeOffset="20582.14">8943 6615 0,'13'0'0,"0"0"15</inkml:trace>
  <inkml:trace contextRef="#ctx0" brushRef="#br0" timeOffset="21341">9591 5226 0,'13'0'16,"93"39"15,-93-26-31,1 14 0,12-14 0,-13 14 0,1 12 16,-1-12-16,0 12 0,0 1 16,-13 0-16,13 13 0,-13 0 0,14 13 15,-14-13-15,13 13 0,0 0 0,-13-13 16,13 13-16,1-13 0,-1 13 15,0-13-15,-13 0 0,0 0 16,0-13-16,13 12 0,-13-12 0,-13 0 16,13 0-16,0-1 0,-13 1 15,13 0-15,-13-14 0,-1 1 0,1 12 16,-13-12-16,12-14 0,-38 40 16,38-53-16,-12 13 15,-1 0-15,14-13 0,-13 0 0,13 0 16,-14 0-16,14 0 0,-14 0 0,14-13 15,0 0-15,0 0 0</inkml:trace>
  <inkml:trace contextRef="#ctx0" brushRef="#br0" timeOffset="22622">10332 6072 0,'13'-13'0,"27"-14"16,-27 14-1,0 0-15,-13 0 0,14 0 0,-1-1 16,-13 1-16,13-13 0,-13 12 0,0 1 15,0 0 1,0 0-16,-13 13 16,0 0-16,-1 13 15,14 0-15,-13 0 0,0 14 16,13-14-16,0 0 0,0 1 16,0-1-16,0 0 0,0 13 0,13-12 15,0-1-15,1 0 0,-1 0 16,0-13-16,14 14 0,-14-14 15,0 0-15,13 0 0,-12 0 0,12 0 16,-13 0-16,14-14 0,-1 14 0,-13-13 16,14 13-16,-14-13 15,0 13-15,1-13 0,-1 13 0,0-14 16,0 1-16,1 0 0,-14 0 16,0 0 15,-14 13-31,-12 0 15,26 13-15,-13-13 0,13 13 16,-14-13-16,14 13 0,-13-13 16,13 13-16,-13 1 0,13-1 15,13-13 1,-13 13-16,13-13 16,1 0-16,12 0 15,-13-13-15,1 13 16,-1 0-16,0 0 15,0 0 1,-13 13-16,13 0 16,-13 1-1,0-1-15,0 0 16,14-13-16,-14 13 0,0 1 16,13-14-16,0 13 15,14-13 1,-14 0-1,-13-13-15,13 13 0,-13-14 16,13 14-16,1-13 0,-14 0 16,13 0-16,0-1 0,-13 1 0,13 0 15,0 0-15,1-1 16,-1 14 0,-13 14-1,0-1-15,0 0 16,0 0-16,0 1 0,0-1 15,13-13-15,-13 13 0,0 0 16,13 1-16,-13-1 0,14-13 16,-14 13-16,13-13 15,13 0 1,-13 0-16,-13-13 16,14 13-16,-14-13 0,13 13 0,-13-14 15,13 1-15,0 0 0,-13 0 16,14 13-16,-14-14 0,0 1 0,0 0 15,13 0 1,-13-1-16,0 41 63,13-27-63,-13 13 15,13 0 1,1-13-1,12 14-15,-13-14 16,14 0 0</inkml:trace>
  <inkml:trace contextRef="#ctx0" brushRef="#br0" timeOffset="23194.6">11483 6006 0,'-13'0'31,"-1"0"-15,1 0-16,13 13 0,-13-13 0,0 13 16,0-13-1,13 14-15,-14-14 0,14 13 16,0 0 15,14-13-31,-1 0 16,0 0-16,0 0 15,0 0-15,1 0 0,-1 0 16,-13-13-16,13 13 0,0 0 16,-13-13-16,14 13 0,-1-14 0,0 1 15,0 13-15,1-13 0,-1-13 0,0 12 16,0 1-16,0 0 16,1-14-16,-1 14 0,-13-13 0,13 13 15,0-1-15,-13 1 0,0 0 0,14 13 16,-14-13-16,-14 39 31,14-13-31,-13 1 0,13-1 0,0 13 16,0-13-16,0 1 0,0-1 0,0 0 15,0 14-15,0-14 0,13 0 16,-13 0-16,14 0 0,-1 1 0,0-1 16,0 0-16,1-13 0,12 13 0,-13-13 15,14 0-15,12 0 0,-12 14 16</inkml:trace>
  <inkml:trace contextRef="#ctx0" brushRef="#br0" timeOffset="24013.82">12091 5966 0,'0'-13'0,"-13"40"32,0-14-32,13 0 15,0 0-15,0 0 16,13-13-16,-13 14 0,13-1 16,1-13-16,-14 13 15,13-13-15,0 0 0,0 0 16,1 0-16,-14-13 0,13 13 15,0 0-15,-13-13 0,13 13 16,1 0-16,-1-14 16,0 28-1,-13-1 1,13 0 0,0-13-16,1 13 15,-1-13-15,0 0 16,0 0-16,1-13 15,-1 13-15,0-13 16,-13 0 0,13-1-16,-13 1 0,0 0 15,0 0-15,0 0 0,13 13 16,-13-14-16,0 1 0,0 0 16,0 0-16,0-1 15,0 1 1,14 40 46</inkml:trace>
  <inkml:trace contextRef="#ctx0" brushRef="#br0" timeOffset="24563.83">12475 6019 0,'27'0'31,"-1"0"-15,-13-13-16,0 0 15,1 13-15,-14-13 0,13 13 0,-13-14 16,13 1-16,-13 0 16,-13 13 15,0 13-31,-1 0 15,14 1-15,-13-1 16,13 0-16,0 0 16,13 0-16,1-13 15,-1 14 1,0-14-16,0 0 0,1-14 0,-1 14 16,13 0-16,-12 0 0,-1-13 0,0 13 15,0-13-15,0 13 0,1-13 16,-1 13-16,0-13 0,0 13 15,1 0 1,-14 13 0,0 0-16,0 0 15,13-13-15,-26 13 0,13 1 16,0-1-16,0 0 31</inkml:trace>
  <inkml:trace contextRef="#ctx0" brushRef="#br0" timeOffset="24688.81">12859 5834 0,'0'0'0</inkml:trace>
  <inkml:trace contextRef="#ctx0" brushRef="#br0" timeOffset="25676.87">13084 5913 0,'0'-13'0,"-27"13"16,14 0-1,0 0 1,13 13-16,0 14 16,13-14-1,-13 0 1,0 1-16,0-1 0,0 0 15,-13 0-15,13 0 16,-13 1-16,-1-1 16,1 0-16,13 0 15,-13-13-15,13 14 16,-13-14-16,39 0 47,-13-14-47,1 14 0,-1-13 15,0 0-15,0 13 16,0-13-16,1-1 0,-1 1 16,0 0-16,0 0 0,1 0 0,-14-1 15,13-12-15,-13 13 0,13-1 16,0 1-16,-13-13 0,13 13 0,-13-1 16,14-12-16,-14 13 0,0-1 0,13 1 15,-13 0-15,0 0 16,13 13-16,-13-14 0,-13 41 47,13-14-47,0 0 0,-13-13 15,13 14-15,0-1 0,-14 0 0,14 0 16,0 1-16,0-1 0,0 0 16,0 0-16,0 0 15,14-13-15,-14 14 16,53-14-1,-40 0-15,0-14 16,0 14-16,1 0 0,-1-13 16,0 0-16,0 0 0,0 0 0,1-1 15,-1 1-15,0 0 0,-13-14 0,13 14 16,1-13-16,-1 12 0,-13 1 16,13 0-16,0 0 0,-13 0 15,-13 39 16,13-13-31,0 0 16,-13 1-16,13-1 0,0 0 16,0 0-16,-13 1 15,13 12 1,0-13-16,13-13 16,-13 14-16,0-1 15,13-13-15,0 13 16,1-13-16,-1 0 0,0 0 15,0 0-15,0 0 16,1-13 0,-1 13-16,0-13 15,-13-1 17,-13 1-17</inkml:trace>
  <inkml:trace contextRef="#ctx0" brushRef="#br0" timeOffset="25837.03">13348 5781 0,'-13'0'0,"39"-13"32,-12 13-32,-1 0 15,13 0-15,-12-13 0,-1 13 16,0 0-16,0 0 0,1-14 0,-1 14 15,0 0-15,0 0 0</inkml:trace>
  <inkml:trace contextRef="#ctx0" brushRef="#br0" timeOffset="26065.6">13652 5741 0,'0'27'0,"0"-54"0,14 67 16,-14-27-16,0 1 15,0-1-15,0 0 0,0 0 16,0 1-16,0 12 16,0-13-16,-14-13 15,14 13-15,-13-13 0,0 14 16,-13-1-16,12-13 0,-12 13 16,-1-13-16,1 0 0,-27 13 0,0-13 15,-26 14-15,-1-14 0,-12 0 16</inkml:trace>
  <inkml:trace contextRef="#ctx0" brushRef="#br0" timeOffset="30497.84">5808 5940 0,'13'-27'0,"27"-92"16,-40 80-1,13-1-15,-13 0 0,0 14 0,0-1 16,-13-12-16,-1 12 16,14 14-16,-13-13 0,0 12 0,0 14 15,-14 0-15,14 0 0,-27 14 0,1 12 16,-14 14-16,13-1 0,0 1 0,14 0 16,-1 13-16,1 0 0,-14 52 15,40-65-15,0 0 0,0-1 16,13 1-16,-13 0 0,27-14 0,-14 1 15,14-14-15,-14 0 0,0 0 16,13-13-16,1 0 0,-1 0 0,14-13 16,0 0-16,13-13 0,-14-1 0,1 1 15,0-14-15,-1 0 0,-12 1 16,-1-14-16,-12 0 0,-1 13 0,-13 0 16,0 1-16,0-1 0,-13 14 0,-1-1 15,1 14-15,0 0 0,-14 13 16,1 0-16,-14 13 0,-13 13 15,0 14-15,1 0 0,-1 26 0,-14 0 16,15 0-16,25 0 0,-13 0 16,14 1-16,0-1 0,12 0 0,1-13 15,13 0-15,0-14 0,0 1 0,13 0 16,14-14-16,-14 1 0,13-1 0,-12-26 16,12 13-16,-13-13 15,14-13-15,12 0 0,14-14 0,-13 1 16,13-14-16,-13 1 0,-1-14 0,1 0 0,0 0 15,-1-13-15,-12 0 0,-1-14 16,-12 14-16,12 13 0,-13-13 16,-13 26-16,13 14 0,-26-1 0,0 14 15,0 26-15,-14 1 0,-12 25 16,-1 1-16,-13 26 0,13 13 16,-13 1-16,14 12 0,-1-12 0,0 12 15,1 1-15,25-14 0,1-12 0,0-1 16,13-13-16,-13 0 0,26-14 15,-13-12-15,13-1 0,0-13 0,1 1 16,-1-14-16,0 0 0,0 0 16,14-14-16,-1-12 0,14-1 0,0-25 15,-1 12-15,-12-13 0,13 0 16,-14 0-16,0 0 0,-12 27 0,12-1 16,-26 1-16,13 13 0,-39 52 15,-1 14 1,1 0-16,-14 0 0,14 13 0,-14 14 15,14-14-15,-14-13 0,14 13 0,-1 0 16,14-13-16,0 0 0,-1-14 16,1 1-16,13 0 0</inkml:trace>
  <inkml:trace contextRef="#ctx0" brushRef="#br0" timeOffset="32052.03">7990 4617 0,'0'0'0,"0"26"31,0-12-31,0 12 0,0-13 16,0 14-16,0-1 0,0 1 0,0-1 15,0 14-15,0-14 0,0 1 0,0-1 16,0 1-16,0-1 0,0 1 16,0-1-16,0 1 0,0-14 0,0 0 15,0 0-15,0 0 0,0 1 0,0-1 16,0 0-16,-13 0 16</inkml:trace>
  <inkml:trace contextRef="#ctx0" brushRef="#br0" timeOffset="32653.86">7779 4921 0,'0'-13'16,"0"39"-1,0-12 1,0-1-16,0 0 0,0 14 0,0-14 16,13 13-16,-13 1 0,0-14 15,13 13-15,0 1 0,1-14 0,-14 14 16,13-14-16,0 0 0,0 0 0,1 1 16,-1-1-16,0 0 0,14 0 15,-14-13-15,0 0 0,0 0 0,0 0 16,1 0-16,-1 0 0,0 0 0,0-13 15,1 0-15,-1 13 16,0-13-16,0-1 0,0 1 0,1 13 16,-1-13-16,0 0 0,0-1 15,-13 1-15,14 0 0,-1 13 0,-13-13 16,13 13-16,-13-14 0,13 1 16,1 0-1,-1 13 1,-13-13-1,13 0 17</inkml:trace>
  <inkml:trace contextRef="#ctx0" brushRef="#br0" timeOffset="39953.47">3003 6720 0,'13'186'15,"0"-160"-15,-13 1 16,0-1-16,0 0 0,0-12 0</inkml:trace>
  <inkml:trace contextRef="#ctx0" brushRef="#br0" timeOffset="41264.64">2990 6681 0,'0'-53'31,"0"40"-31,0-1 0,0 1 0,0 0 16,0 0-16,0-1 0,0 1 0,0 0 15,0 0 1,0 0-16,0-1 0,0 1 15,13 0-15,-13 0 0,13-1 16,0 1 0,1 13-16,-14-13 0,13 13 15,0 0-15,0 0 0,14-13 0,-14 13 16,14 0-16,-14 0 0,26-14 16,-12 14-16,-1 0 0,1 0 0,13 0 15,-14-13-15,14 13 0,-14 0 0,1 0 16,-1 0-16,0 0 0,1 0 15,-1 0-15,1 13 0,-1-13 16,1 0-16,-1 0 0,-13 0 0,14 0 16,-14 0-16,14 0 0,-14 0 15,0 0-15,14 0 0,-14 0 0,0 0 16,0 0-16,0 0 0,1 0 0,-1 0 16,0 0-16,0 0 15,1 0-15,-1 0 0,0 0 16,0-13-16,1 13 15,-1 0-15,0 0 16,0 0-16,0 0 16,1 0 15,-1-13-31,0 13 16,-13 13-1,0 0 1,0 1-16,13-14 0,-13 13 15,0 13-15,0-12 0,0 12 0,0 1 16,0-14-16,0 13 0,14 1 16,-14-14-16,0 13 0,0 1 15,0-14-15,0 14 0,0-14 0,0 13 0,0-13 16,0 1-16,13-1 0,-13 0 16,0 0-16,0 1 0,0-1 15,0 0-15,0 0 0,0 0 16,0 1-16,13-1 15,-13 0 1,0 0-16,0 1 31,0-1-15,-13-13-16,13 13 0,-13-13 16,-1 0-16,1 0 0,0 13 15,-14-13-15,1 0 0,0 14 16,-1-14-16,-13 13 0,1 0 0,-14-13 0,13 13 15,-13-13-15,0 13 0,0-13 16,14 14-16,-14-1 0,0-13 16,0 13-16,13-13 0,1 0 0,12 13 15,1-13-15,-1 0 0,1 0 0</inkml:trace>
  <inkml:trace contextRef="#ctx0" brushRef="#br0" timeOffset="42289.74">3082 5226 0,'27'79'31,"-14"-53"-31,-13 1 0,0 13 0,13-1 16,-13 1-16,0-14 0,0 14 0,14-14 16,-14 1-16,0-1 15,0-12-15,0 12 0,0 1 0,13-14 16,-13 0-16,0 0 0,0 0 0,0 1 16</inkml:trace>
  <inkml:trace contextRef="#ctx0" brushRef="#br0" timeOffset="43468.75">3016 5186 0,'13'-13'0,"1"13"0,-1-14 15,0 14-15,14 0 16,-14-13-16,13 13 0,14 0 0,-14-13 16,27 13-16,-13-13 0,0 13 0,13 0 15,-14-14-15,14 14 0,0-13 16,-13 0-16,13 13 0,0 0 0,0-13 15,0 13-15,-14-13 0,14 13 0,-13-14 16,0 14-16,-1 0 0,-12 0 16,12-13-16,-12 13 0,-1 0 0,-12 0 15,12-13-15,0 13 0,-12 0 0,-1 0 16,0 0-16,0 0 0,1 0 16,-1 0-16,0 0 0,0-13 15,0 13-15,1 0 16,-1 0-1,0 13 1,-13 0 0,13 0-16,-13 14 15,0-14-15,14 0 0,-14 14 0,0-14 16,0 13-16,0-12 0,0 12 0,0 1 16,0-14-16,0 40 15,13-40-15,-13 13 0,0-12 0,0 12 16,0-13-16,0 1 0,0 12 0,-13-13 15,13 0-15,0 1 16,0-1-16,0 0 0,0 14 16,0-14-1,0 0 1,-14 0-16,14 0 16,-13 1-1,13-1 1,-13-13-1,13 13-15,-13-13 0,-1 13 16,1-13-16,0 14 16,0-14-16,0 0 15,-1 13-15,1-13 0,0 0 0,-14 13 16,1-13-16,0 13 0,-1-13 0,1 0 16,-1 14-16,-13-14 0,1 0 15,-1 13-15,14-13 0,-1 0 0,-13 0 16,14 0-16,0 13 0,-14-13 0,13 0 15,1 0-15,-1 0 0,-12 0 16,12 13-16,1-13 0,-1 0 0,1 0 16,-1 0-16,1 0 0,13 0 0,-14 0 15,1 13-15,-1-13 0,14 0 16,-13 0-16,13 0 0,-14 0 0,14 0 16,0 0-16,-1 0 0,1 0 0,0 0 15,0 0-15,-1 0 16,1 0-16,0 0 0,0 0 0,0 0 15,-1 0 1,1 0-16,0 0 16,0 0-1,-1 0 17,1 0-17,0 0 63,26-13 0</inkml:trace>
  <inkml:trace contextRef="#ctx0" brushRef="#br0" timeOffset="44471.63">3029 6072 0,'0'66'16,"0"-39"-16,-13 158 31,13-159-31,0 1 0,0-1 0,0-12 16,0 12-16,0 1 0,0-14 15,0 0-15,0 0 0,0 0 0,13-13 16</inkml:trace>
  <inkml:trace contextRef="#ctx0" brushRef="#br0" timeOffset="45684.92">2990 6112 0,'13'-80'31,"-13"67"-31,0 0 0,0 0 16,0 0-16,0-1 16,0 1-16,0 0 15,0 0-15,0-1 0,13 14 16,-13-13 0,0 0-16,0 0 15,13 13 1,1 0-16,-14-13 15,13 13-15,0 0 0,0 0 0,1-14 16,12 14-16,1-13 0,-1 13 0,14-13 16,-1 13-16,1-13 0,13 13 15,-13-14-15,13 14 0,-14-13 0,1 13 16,0-13-16,13 13 0,-27 0 16,14-13-16,-14 13 0,1 0 0,-1 0 15,1-14-15,-1 14 0,0 0 0,-12 0 16,12 0-16,-13 0 0,1 0 15,-1 0-15,0 0 0,0-13 16,1 13-16,-1 0 16,0 0-16,0 0 15,0 0-15,1 0 16,-1 0 0,0 0 30,0 0-30,-13 13-16,14-13 16,-14 14-16,13-1 15,-13 0-15,13 0 0,-13 1 0,13-1 16,1 13-16,-14-12 0,13 12 16,-13 0-16,13-12 0,0 12 0,-13 1 15,13-1-15,-13-13 0,0 14 16,14-14-16,-14 13 0,0-12 0,13-1 15,-13 0-15,0 0 0,0 1 0,0-1 16,0 0-16,0 0 0,13 0 16,-13 1-16,0-1 15,-13 0 1,0 0 15,-1-13-15,1 0-1,0 0 1,0 0-16,0 0 0,-1 0 0,1 0 16,-13 0-16,-1 0 0,1 0 15,-1 14-15,-12-14 0,-14 0 0,13 13 16,-13-13-16,0 13 0,-13-13 0,13 13 16,0-13-16,0 14 0,0-1 15,0-13-15,14 13 0</inkml:trace>
  <inkml:trace contextRef="#ctx0" brushRef="#br0" timeOffset="54341.59">1111 8215 0,'0'27'16,"-13"-14"0,13 0-16,0 0 0,0 1 15,-13-1-15,13 13 0,-13 1 0,13-14 16,0 14-16,-14-14 0,14 13 0,-13-13 16,13 1-16,0 12 0,-13-13 15,13 1-15,0-1 0,-13-13 0,13 13 16,0 0-16,-14-13 0</inkml:trace>
  <inkml:trace contextRef="#ctx0" brushRef="#br0" timeOffset="54702.58">1085 8255 0,'0'0'0,"0"-13"0,0 39 32,13-13-17,-13 1-15,0 12 0,13-13 0,-13 1 16,13-1-16,-13 0 0,14 0 16,-14 1-16,13-1 0,0 0 15,-13 0-15,13-13 0,-13 13 0,14-13 16,-1 0-1,0-13-15,0 13 0,-13-13 16,14 0-16,-14 0 0,0-1 0,0-12 16,13 13-16,-13-14 0,0 14 15,0 0-15,0-14 0,0 14 0,0 0 16,0 0-16,13 13 0,-13-14 0,0 1 16,0 40 15</inkml:trace>
  <inkml:trace contextRef="#ctx0" brushRef="#br0" timeOffset="54877.55">1561 8321 0,'-13'13'0,"13"1"0,-13-1 16,13 0-16,0 0 15,-14 1-15,14-1 0,-13 0 0,13 0 16,-13 14-16,0-14 0,13 0 0,0 0 16,-14 1-16</inkml:trace>
  <inkml:trace contextRef="#ctx0" brushRef="#br0" timeOffset="55022.49">1468 8229 0,'0'0'0,"-13"-14"0</inkml:trace>
  <inkml:trace contextRef="#ctx0" brushRef="#br0" timeOffset="55218.66">1720 8202 0,'-13'27'0,"26"-54"0,-26 67 0,13-27 16,-14 0-16,14 14 0,-13-14 0,13 13 15,-13 1-15,13-14 0,-13 14 0,-1-1 16,14-13-16,-13 0 0,13 14 15,0-14-15,0 0 0</inkml:trace>
  <inkml:trace contextRef="#ctx0" brushRef="#br0" timeOffset="55501.91">1865 8334 0,'-13'-13'0,"-53"40"31,53-14-31,-1-13 16,1 13-16,0 0 0,0 1 15,0-14-15,13 13 0,-14-13 0,14 13 16,-13 0-16,13 0 0,0 1 16,13-1-1,-13 0-15,14-13 0,-1 13 16,0-13-16,0 0 15,0 0-15,1 0 16,-1 0-16,0 0 0,0 0 16,1-13-16,-1 13 0,0 0 0</inkml:trace>
  <inkml:trace contextRef="#ctx0" brushRef="#br0" timeOffset="55784.84">1984 8414 0,'-39'39'31,"39"-25"-31,13-1 16,-13 0-1,13-13-15,0 0 16,1 13-16,12-26 16,-13 13-1,-13-13-15,14 13 0,-14-13 16,0-1-16,0 1 15,0 0-15,0 0 0,0 0 16,-14-1-16,14 1 16,-13 13-16,0 0 0,0 0 15,-1 0-15,1 13 16,0-13-16</inkml:trace>
  <inkml:trace contextRef="#ctx0" brushRef="#br0" timeOffset="56205.64">2289 8387 0,'-14'27'16,"1"-14"0,13 0-16,-13-13 15,13 13-15,0 1 0,-13-14 16,13 13-16,13-13 62,0 0-46,0 0 0,1 0-16,-1 0 15,0 0 1,0-13-16,1 13 31,-14-14-31</inkml:trace>
  <inkml:trace contextRef="#ctx0" brushRef="#br0" timeOffset="57267.63">979 10967 0,'-13'0'0,"-1"0"0,1 13 16,0-13-16,0 13 0,-14 1 16,14 12-16,0-13 0,0 1 15,-1 12-15,1-13 0,0 0 0,0 14 16,13-14-16,-13 0 0,13 1 16,0-1-16,0 0 0,0 0 0,0 1 15,0-1-15,13-13 0,-13 13 0,13 0 16,0-13-16,0 0 15,1 0-15,12 13 0,-13-26 0,14 13 16,-14 0-16,13-13 0,1 13 0,13-13 0,-14 0 16,14-1-16,-14-12 15,1 13-15,-14-1 0,0 1 0,14 13 16,-27-13-16,13 0 0,0 13 0,-13-14 16,13 1-16,-13 0 15,-13 13 1,-13 0-16,26 13 15,-14-13-15,1 0 0,0 13 16,0 1-16,-1-14 0,1 13 16,13 0-1,13-13 17,1 0-32,12 0 15,-13 0-15,1 0 16,-1 0-1,0 0-15,0 0 16,1 0 0,-1 13-16,0-13 15</inkml:trace>
  <inkml:trace contextRef="#ctx0" brushRef="#br0" timeOffset="58326.02">1521 11020 0,'0'26'15,"0"-12"1,-13-14-16,13 13 16,0 0-16,0 0 0,0 0 15,0 1 1,-13-1-16,26-13 31,0 0-15,1 0-1,-1 0-15,0 0 16,0 0 0,-13 13-16,14-13 0,-1 13 15,0 1-15,0-14 16,0 13-16,14-13 16,-14-13-1,0 13-15,1 0 0,-1-14 0,0 14 16,0-13-16,0 13 15,-13-13-15,14 13 0,-1-13 16,-13-1 0,13 41 15,-13-14-15,13 0-1,1-13-15,-14 14 16,13-14-16,0 0 15,0 0-15,1 0 16,-1 0-16,-13-14 16,0 1-16,0 0 15,-13 0-15,13-1 16,-14 14-16,14-13 16,-13 13-16,0-13 0,0 13 15</inkml:trace>
  <inkml:trace contextRef="#ctx0" brushRef="#br0" timeOffset="58620.2">2011 11046 0,'13'14'0,"-13"12"16,0-13-16,0 0 15,0 1 1,0-1-16,13 0 16,1-13-1,-1-13 1,0 13-16,0 0 0,0 0 16,1 0-16,-1 0 15,0 0-15,0 0 16,14 0-16,-27 13 15,13-13-15,0 0 16,-13 13 0,13-13-16</inkml:trace>
  <inkml:trace contextRef="#ctx0" brushRef="#br0" timeOffset="62924.77">3201 8321 0,'-13'0'0,"26"0"15,1 13 1,-1-13-16,0 0 0,0 0 16,1 0-16,-1 0 15,0 14-15,0-14 0,14 0 0,-14 0 16,0 0-16,0 0 16,1 0-16</inkml:trace>
  <inkml:trace contextRef="#ctx0" brushRef="#br0" timeOffset="63104.94">3175 8480 0,'13'13'32,"0"-13"-17,1 0-15,12 0 16,-13-13-16,1 13 0,-1 0 15,0 0-15,0 0 0,14 0 16,-14 0-16,0 0 0</inkml:trace>
  <inkml:trace contextRef="#ctx0" brushRef="#br0" timeOffset="65434.62">4564 8176 0,'13'0'32,"1"0"-17,-1-14 16,-26 1 16,-1 13-31,1 0-16,0 0 16,0 0-1,-1 0-15,1 0 16,0 0-1,13 13-15,0 1 16,0-1 0,13 0-16,-13 0 0,13-13 15,-13 14-15,14-1 0,-14 0 0,13 0 16,-13 0-16,13 1 16,-13-1-16,0 0 0,0 0 15,-13 1-15,13-1 0,-13-13 0,13 13 16,-14-13-16,14 13 15,-13-13-15,0 14 0,0-14 16,-1 0-16,1 0 31,13-14-31,13 1 16,-13 0-16,14 0 0,-14-1 16,13 1-16,0 13 0,-13-13 15,13 0-15,1-1 0,-14 1 0,13 0 16,-13 0-16,0 0 0,0-1 15,13 14-15,-13-13 0,-13 0 16,13 0-16,0-1 0,-13 1 16,-1 13-16,1 0 15,0 0 1,13 13 0,0 1-1,13-1-15</inkml:trace>
  <inkml:trace contextRef="#ctx0" brushRef="#br0" timeOffset="65797.67">4868 8096 0,'-13'27'31,"0"-27"-31,13 13 0,-13 13 16,-1-12-16,1 25 0,0-12 0,-14-1 15,14 14-15,-13-14 0,13 1 16,-14-1-16,14 1 0,0-1 16,-14-13-16,14 14 0,0-14 0,0 14 15,-14-14 1,27 0-16,0 0 16</inkml:trace>
  <inkml:trace contextRef="#ctx0" brushRef="#br0" timeOffset="66028.48">4974 8281 0,'0'27'31,"-13"-14"-31,13 0 16,0 1-16,-13-1 0,13 0 0,-14 0 16,14 1-16,-13-1 0,13 0 15,-13 0-15,13 0 0,0 1 16</inkml:trace>
  <inkml:trace contextRef="#ctx0" brushRef="#br0" timeOffset="66337.17">5080 8374 0,'-13'27'32,"13"-14"-32,0 0 15,13 0-15,0-13 16,-13 13-16,13-13 15,1 0-15,-1 0 0,0 0 0,0-13 16,14 13-16,-27-13 0,13 13 16,0-13-16,1 13 0,-14-13 15,13-1-15,-13 1 0,0 0 0,0 0 16,0-1-16,0 1 0,0 0 16,-13 13-16,13-13 15,-14 13-15,1 0 0,0 0 16,0-14-16,-14 28 0,14-14 0,-27 13 15,14-13-15</inkml:trace>
  <inkml:trace contextRef="#ctx0" brushRef="#br0" timeOffset="67072.75">5821 8189 0,'26'0'16,"-12"0"-1,-1 0-15,0 0 0,0 0 16,0 0-16,1 0 0,-1 0 0,13 0 16,-12 0-16,-1 0 0,13 0 15,-13-13-15,1 13 0,-1 0 0,0 0 16</inkml:trace>
  <inkml:trace contextRef="#ctx0" brushRef="#br0" timeOffset="67412.67">6112 8149 0,'-27'0'15,"54"13"-15,-27-26 0,-40 13 0,27 13 16,0-13-16,13 14 0,-14-14 16,14 13-16,-13 0 0,13 0 15,0 1-15,-13-1 0,0 0 16,13 0-16,-13 0 0,13 14 0,-14-14 15,1 0-15,13 1 0,-13-1 0,0 0 16,-1 0-16,1-13 0,13 14 16,-13-14-16,0 13 0,0-13 0,13 13 15,-14-13-15,1 0 16,0 0-16,13 13 16,26-26 30,-12 13-46,-1 0 0,0 0 0,0 0 16,0 0-16,1 0 16,-1 0-16,0 0 0,0-13 0,1 13 15,12 0-15,-13 0 0,0 0 0,1-13 16,-1 13-16,0 0 0,14-14 16,-14 14-16</inkml:trace>
  <inkml:trace contextRef="#ctx0" brushRef="#br0" timeOffset="67869.78">6337 8255 0,'0'0'0,"0"-13"16,-27 26 15,14 0-31,0 0 16,0 1-16,13-1 0,-14-13 15,14 13-15,-13 14 16,13-14-16,0 0 0,0 0 15,0 1-15,13-14 0,-13 13 0,14-13 16,-14 13-16,13-13 0,0 0 16,0 0-16,1 0 15,-1 0-15,13-13 0,-13 0 0,1 13 16,-1-14-16,-13 1 0,13-13 16,0 12-16,-13-12 0,0 13 0,14-14 15,-14 14-15,0 0 0,0-14 16,0 14-16,0 0 0,0 0 15,-14-1 1,-12 28 0,26-1-16,-13-13 15,13 13-15,0 0 0,0 1 16,0-1-16,0 0 0,0 13 0,13-12 0,-13-1 16,13 0-16,0 14 0,-13-14 0,14 0 15,-14 0-15,13 1 16,0-1-16,0 0 0,1 0 15,-14 0-15,13 1 0,0-1 0,0-13 16,0 13-16,1-13 16,-1 13-16,0-13 0</inkml:trace>
  <inkml:trace contextRef="#ctx0" brushRef="#br0" timeOffset="68446.17">7117 8427 0,'14'13'0,"-28"-26"16,41 26-16,-27 0 0,0 1 0,13-1 0,-13 0 15,0 0-15,0 1 16,0-1-16,0 0 0,-13 0 0,0 14 16,-1-14-16,1 0 0,0 0 15,13 1-15,-13-14 0,13 13 16,-14-13-16</inkml:trace>
  <inkml:trace contextRef="#ctx0" brushRef="#br0" timeOffset="69657.77">8096 8268 0,'0'-13'0,"-26"39"31,13-12-31,-1-1 15,1-13-15,0 13 0,0 0 0,-1 1 16,-12-1-16,13-13 0,0 13 0,-1 0 16,1 1-16,0-14 0,13 13 15,-13-13-15,13 13 0,-14-13 0,14 13 16,-13 0-16,26 1 16,1-14-1,-1 0-15,0 0 0,0 13 16,14-13-16,-14 0 0,13 0 0,-12 0 15,12 0-15,-13 0 0,14 0 16,-14 0-16,13-13 0,-12 13 0,-1 0 16,0 0-16,0 0 0,1 0 0,-1-14 15,0 14 1,-13-13-16</inkml:trace>
  <inkml:trace contextRef="#ctx0" brushRef="#br0" timeOffset="69907.89">8070 8255 0,'0'26'16,"-13"-12"-1,13-1-15,0 0 0,0 0 16,0 1-16,-14 12 0,14-13 0,0 1 15,-13 12-15,13-13 0,0 0 16,0 1-16,0-1 0,0 0 16,0 0-16,0 1 0,0-1 0,0 0 15,13-13-15,-13 13 16,14-13-16,-1 0 16</inkml:trace>
  <inkml:trace contextRef="#ctx0" brushRef="#br0" timeOffset="70596.98">8744 8176 0,'0'0'0,"-13"26"31,13-13-15,-13 1-16,13-1 0,0 13 0,0-13 15,-13 1-15,13-1 0,0 13 16,0-12-16,-13-1 0,13 0 16,0 0-16,0 1 0,0-1 0,0 0 15,0 0-15,-14 0 16,14 1-16</inkml:trace>
  <inkml:trace contextRef="#ctx0" brushRef="#br0" timeOffset="71145.72">8718 8215 0,'13'-13'0,"0"0"15,1 13-15,-1 0 0,0 0 16,0 0-16,-13 13 15,14-13-15,-1 13 0,-13 1 16,0-1 0,-13 0-16,13 0 15,13-13-15,-13 13 0,0 1 16,0-1 0,13 0-16,-13 0 15,0 1-15,0-1 0,0 13 16,-13-12-1,13-1-15,-13-13 0,13 13 16,-14-13-16,14 13 0,-13-13 0,0 0 16,0 0-16</inkml:trace>
  <inkml:trace contextRef="#ctx0" brushRef="#br0" timeOffset="71419.88">9049 8189 0,'0'0'0,"0"13"15,-13 14 1,13-14-16,-14 0 0,14 0 0,-13 0 16,13 1-16,-13-1 0,13 0 0,-13 0 15,13 1-15,0-1 0,0 0 16,0 0-16,0 1 0,0-1 15,0 0-15,13-13 0,0 13 16,0-13-16,1 0 16,-1 0-16,0 0 15,0 0-15,0 0 0,1 0 0,12 0 16,1 0-16,-14-13 0,13 13 0,-12 0 16,12 0-16</inkml:trace>
  <inkml:trace contextRef="#ctx0" brushRef="#br0" timeOffset="71781.86">9988 8401 0,'13'13'0,"-13"40"31,0-40-31,-13 0 0,13 0 16,0 1-16,0-1 0,-13 0 16,0 0-16,13 0 0,-14 1 15,1-1-15,0-13 0,13 13 0,-13-13 16,13 13-16,-14-13 0</inkml:trace>
  <inkml:trace contextRef="#ctx0" brushRef="#br0" timeOffset="74810.08">10927 8215 0,'14'-13'16,"-1"13"-16,0 0 16,0 0-16,0 0 15,1 0-15,-1 0 0,0 0 16,0 0-16,1 0 0,-1 13 16,0-13-16,-13 14 15,0-1-15,0 0 16,0 0-16,0 0 0,0 14 0,0-14 15,0 0-15,-13 14 0,13-14 16,0 0-16,0 14 0,-13-14 16,13 0-16,0 0 0,0 1 0,0-1 15,0 0-15,0 0 0,0 1 0,0-1 16,13-13-16,-13 13 16,13-13-1</inkml:trace>
  <inkml:trace contextRef="#ctx0" brushRef="#br0" timeOffset="74988.95">10927 8440 0,'0'0'0,"-13"0"0,40 0 31,-14 0-31,13 0 16,-13 0-16,1 0 0,12 0 0,1 0 15,-14-13-15,13 13 0,1 0 16,12 0-16,-12 0 0,-1-13 0,14 13 16</inkml:trace>
  <inkml:trace contextRef="#ctx0" brushRef="#br0" timeOffset="75552.66">11787 8189 0,'13'0'31,"1"13"-15,-1-13-16,-13 13 15,-13 14 1,-1-14-16,14 0 16,-26 0-16,13 1 0,0-1 0,-1 0 15,-12 0-15,13 1 0,-1-1 16,1 0-16,0-13 0,0 13 0,-1-13 16,14 14-16,-13-14 0,13 13 0,-13 0 15,26 0 1,0-13-16,1 13 15,-1-13-15,0 0 0,0 0 0,1 0 16,12 0-16,1 0 0,-14 0 16,13 0-16,1 0 0,-14 0 0,13 0 15,1 0-15,-14 0 0,0 0 0,14-13 16,-14 13-16,0 0 0,0 0 16,-13-13-16,14 0 15</inkml:trace>
  <inkml:trace contextRef="#ctx0" brushRef="#br0" timeOffset="75734.58">11628 8321 0,'0'0'16,"40"0"15,-13 0-31,-14 0 0,13 0 16,1 0-16,-1 0 0,1 0 0,-1 0 15,14 0-15,-14 0 0,14 0 16,-14-13-16,1 13 0,-1 0 0</inkml:trace>
  <inkml:trace contextRef="#ctx0" brushRef="#br0" timeOffset="76251.64">12303 8189 0,'0'26'47,"0"-12"-47,0-1 16,-13 0-16,13 0 0,0 0 15,0 1-15,0-1 0,-13 13 0,13-12 16,0-1-16,0 0 0,0 0 16,-14 1-16,14-1 15,0 0-15,-13-26 31,13 0-15,0-1-16,0 1 0,0 0 0,0-14 16,13 14-16,-13-13 0,14-1 0,-1 14 15,-13-13-15,13 12 0,0 1 16,1 0-16,-1 0 0,0 13 0,-13-14 16,13 14-16,0-13 0,1 13 15,-1 0 1,-26 27-1,-1-27-15,1 13 0,0-13 16,0 13-16,0 0 0,-1-13 0,1 14 16,0-1-16,0-13 0,13 13 15,-14 0-15,1-13 0,13 13 0,-13 1 16,13-1-16,0 0 16,13-13-16,-13 13 0,13-13 15,1 14-15,12-1 16,-13-13-16,1 0 0,-1 0 0,13 13 15,1-13-15,-14 0 0,13 0 16,1 0-16,-14 0 0,14 0 0,-1 0 16,0 0-16,-12-13 0,12 13 0</inkml:trace>
  <inkml:trace contextRef="#ctx0" brushRef="#br0" timeOffset="76405.62">12965 8414 0,'13'0'16</inkml:trace>
  <inkml:trace contextRef="#ctx0" brushRef="#br0" timeOffset="77239.85">2897 11060 0,'27'0'15,"-14"0"1,0-14-16,0 14 15,1 0-15,-1 0 0,0 0 0,13 0 16,-12 0-16,-1 14 0</inkml:trace>
  <inkml:trace contextRef="#ctx0" brushRef="#br0" timeOffset="77416.81">2858 11232 0,'39'13'16,"-26"-13"-1,14 0-15,-14-13 0,0 13 0,1 0 16,12 0-16,-13 0 0,14 0 16,-14 0-16</inkml:trace>
  <inkml:trace contextRef="#ctx0" brushRef="#br0" timeOffset="79549.89">4511 11007 0,'13'-27'15,"-26"1"1,13 13-16,-13 13 0,0-14 16,-14 14-1,14 0-15,0 14 0,0-14 16,-1 13-16,-12 0 0,13-13 0,-1 13 15,-12 0-15,13 14 0,-1-27 16,1 13-16,13 0 0,-13 1 0,13-1 16,13 0-1,14-13 1,-14-13-16,13 13 0,-12-13 16,12 13-16,-13-14 0,1 14 0,12-13 15,-13 13-15,-13-13 0,13 13 16,1 0-16,-1 0 0,-13 13 15,13 0-15,-26 1 16,13-1-16,0 0 0,0 13 0,-13-12 16,-1 25-16,1 14 15,13-39-15,-13 12 16,13-13-16,0 0 16,13-13-16</inkml:trace>
  <inkml:trace contextRef="#ctx0" brushRef="#br0" timeOffset="79772.34">4829 10901 0,'-14'13'32,"14"0"-32,-13 14 15,0-14-15,0 13 0,-1 14 0,-12-13 16,13-1-16,-14 14 0,14-14 15,-13 14-15,12-14 0,-12 14 16,13-14-16,-14 1 0,14-1 0,0 1 16,0-14-16,13 0 0,-14 1 0,14-1 15,-13 0-15,13 0 0</inkml:trace>
  <inkml:trace contextRef="#ctx0" brushRef="#br0" timeOffset="79981.78">4882 11179 0,'-14'26'31,"14"-13"-31,-13 1 0,13-1 16,0 0-16,-13 0 0,13 0 15,-13 1-15,13-1 0,-14 0 16,14 0-16</inkml:trace>
  <inkml:trace contextRef="#ctx0" brushRef="#br0" timeOffset="80257.89">4948 11284 0,'13'14'31,"-13"-1"-31,0 0 16,0 0-16,13-13 16,-13 14-16,13-14 15,1 0-15,-1-14 0,0 14 16,0-13-16,1 13 0,-14-13 16,13 13-16,-13-13 0,0-1 15,0 1-15,13 13 0,-13-13 0,0 0 16,-13 0-16,13-1 0,0 1 15,-13 0-15,13 0 32</inkml:trace>
  <inkml:trace contextRef="#ctx0" brushRef="#br0" timeOffset="81324.14">5966 11007 0,'27'0'15,"-14"0"-15,80-14 31,-67 1-31,-13 13 0,14 0 0,-14 0 16,0-13-16,14 13 0,-14 0 0,0-13 16,0 13-16,1-13 15,-1 13-15,-13-14 16,-13 14 15,-1 14-15,1-14-16,13 13 0,-13 0 0,13 0 15,-13 0-15,13 1 0,-14-1 16,14 0-16,0 0 0,-13 14 0,13-14 16,0 0-16,0 0 0,0 1 0,0-1 15,-13 0-15,13 0 0,0 1 16,-13-1-16,13 0 0,-13-13 16,-1 13-16,-12-13 15,13 0 1,-1 0-1,1 0-15,53-13 63,-27 13-63,0 0 0,14-13 0,-14 13 16,13-13-16,1 13 0,13-14 0,-14 1 15,14 0-15,-14 0 0,1-1 16,-14 1-16,13 13 0,-12-13 0,12-13 15,-13 12-15,1 14 0,-1-13 0,0 0 16,0 0-16,0-1 16,-13 1-16,-26 40 47,13-27-47,13 13 0,-13 0 0,13 0 15,-14 1-15,14-1 16,14 0-16,-14 0 15,13 0-15,0-13 16,0 0-16,0 0 16,1 0-16,-1-13 15,0 13-15,-13-13 0,13 0 16,-13 0-16,14-1 0,-14 1 0,0 0 16,0-14-16,0 14 0,0 0 0,0 0 15,0 0-15,0-1 0,-14 1 16,14 0-16,-13 39 31,0-26-31,13 14 16,0-1-16,0 0 0,0 13 0,0-12 15,0-1-15,0 13 0,13-12 0,-13 12 16,13-13-16,1 14 0,-1-14 0,0 0 16,0 14-16,1-14 0,12 0 15,-13 0-15,0 1 0,1-14 0,-1 13 16,0-13-16,0 0 0</inkml:trace>
  <inkml:trace contextRef="#ctx0" brushRef="#br0" timeOffset="81541.53">7183 11073 0,'14'39'15,"-14"-25"1,-14-1-16,14 13 0,-13-12 16,0 12-16,0 1 0,-14-1 15,14 0-15,-13 1 0,-1-1 0,14-12 0,-14 12 16,14 1-16,-13-14 0,13 0 16,-1 0-16</inkml:trace>
  <inkml:trace contextRef="#ctx0" brushRef="#br0" timeOffset="83078.97">8255 11086 0,'0'0'0,"13"0"0,-39 13 47,13 0-47,-1-13 15,14 14-15,-13-14 0,13 13 0,-13-13 16,0 13-16,13 0 0,-14-13 0,14 14 15,0-1-15,-13 0 16,26 0-16,-13 1 16,14-14-16,-1 13 0,0-13 15,0 13-15,1-13 0,-1 0 16,0 13-16,13-13 0,-12 0 0,12 0 16,-13 0-16,1 0 0,12 0 0,-13 0 15,1 0-15,-1 0 0,0-13 16,0 13-16,0 0 0,1 0 0</inkml:trace>
  <inkml:trace contextRef="#ctx0" brushRef="#br0" timeOffset="83280.7">8334 11060 0,'-13'26'16,"0"27"-1,13-27-15,-13-12 0,13 12 16,0-13-16,0 14 0,-14-1 16,14 1-16,0-1 0,0-13 0,0 14 15,0-1-15,0-12 0,14-1 16,-14 0-16,13 0 0,0 0 0</inkml:trace>
  <inkml:trace contextRef="#ctx0" brushRef="#br0" timeOffset="83617.87">9009 10993 0,'0'27'0,"0"13"31,-13-27-31,13 13 0,0-13 0,-13 1 16,13 12-16,0-13 0,0 1 0,-14 12 15,14-13-15,0 1 0,-13-1 16,13 0-16,0 0 0,0 0 0,0 1 15,0-1-15</inkml:trace>
  <inkml:trace contextRef="#ctx0" brushRef="#br0" timeOffset="84594.64">8890 11126 0,'13'-27'79,"0"27"-79,1-13 0,-1 13 15,0 0-15,0-13 0,1 13 16,12 0-16,-13-13 0,1 13 0,-1 0 15,0 0-15,0 13 0,0-13 0,1 0 16,-14 13-16,0 0 16,-14 0-1,14 1-15,-13-14 16,13 13-16,-13-13 0,13 13 16,-13-13-16,13 13 31,13 1-31,0-14 15,-13 13-15,13-13 0,1 13 16,-14 0-16,0 14 16,0-14-1,-14 0-15,1 0 0,-13 1 16,13-1-16,-1 0 16,-12-13-16,13 13 0,-1-13 15,-12 14-15,13-14 0,-1 0 0,14 13 16,-13-26-16,0 13 0,0 0 15</inkml:trace>
  <inkml:trace contextRef="#ctx0" brushRef="#br0" timeOffset="84896.97">9340 11073 0,'-27'13'16,"27"0"-16,-13 0 0,0 1 16,0 12-16,-1-13 0,14 1 0,-13-1 15,13 13-15,-13-12 0,13-1 0,0 0 16,0 0-16,13 0 0,0-13 15,1 14-15,-1-1 0,0-13 0,14 0 16,-14 0-16,13 0 0,1 0 0,-1 0 16,1-13-16,-1 13 0,-13-14 15,27 1-15,-27 0 0,14 0 16,-14-14-16</inkml:trace>
  <inkml:trace contextRef="#ctx0" brushRef="#br0" timeOffset="86632.84">8189 7924 0,'-13'-13'31,"-1"13"-15,1 13-16,0-13 0,0 14 0,-1-1 15,1 0-15,0 0 16,0 0-16,0 1 0,-1-1 0,1 13 16,-13-12-16,12 12 0,1 0 0,0 1 15,0-1-15,0 1 0,-1-1 16,1 1-16,13-1 0,-13 1 0,13-14 16,-13 13-16,13 1 0,0-1 0,0-12 15,0 12-15,0-13 0,0 0 16,0 14-16,0-14 0,0 0 0,13 1 15,-13-1-15,0 0 0,13 0 0,0-13 16,-13 13-16,14 1 0,-1-14 16,0 13-16,0-13 0,0 13 15,1-13-15,-1 0 0,0 0 0,0 13 16,1-26-16,-1 13 16,0 0-16,0 0 0,0 0 0,1-13 15,-1 13-15,0-13 0,0 13 16,1-14-16,-1 1 0,0 0 15,0 0 1,-13 0-16,14-1 0,-14 1 16,0 0-16,13 0 0,-13-1 15,0 1-15,0 0 0,0 0 16,0 0-16,-13-1 0,13 1 16,0 0-16,-14 13 15,14-13-15,-13 13 0,13-14 16,-13 14-16,0 0 0,-1 0 0,14-13 15,-13 13-15,0 0 0,0 0 0,-1 0 16,1 0-16,0 0 0,0 0 16,0 0-16,-1 13 0,1-13 15,0 0-15,-14 0 16,14 0 0,0 14-16,39-28 46,-12 14-30,-1 0-16,0 0 0,0 0 16,1 0-16,-1 0 0,0 0 15,0 0-15,0 0 0,1 14 16,-1-14-16,0 0 0,14 13 16,-14 0-16,0-13 0,0 13 15,1 1 1,-14-1-16,13-13 0,-13 13 15,0 0-15,0 0 0,0 1 16,-13-1 0,13 0-16,-14 0 0,14 1 15,-13-14-15,13 13 0,-13-13 0,0 13 16,-1-13-16,1 13 16,0-13-16,0 0 0,-1 0 15,1 13-15,0-13 0,0 0 0,0 0 16,-14 0-16,14-13 0,0 13 15,-1 0-15,-12-13 0,13 13 0,0-13 16,-1 13-16,1-13 0,0-1 0,0-12 16,-1 13-16,1-1 0,13-12 15,-13 13-15,0-40 0,13 26 16,0 14-16,13-13 0,-13-1 16,13 1-16,-13-1 0,27 1 15,-14-1-15,0 1 0,27-14 16,-27 27-16,0-13 0,27-1 15,-27 14-15,0 0 0,1 13 16,-1-14-16,0 1 0,0 13 0,-13-13 16,13 13-16,1-13 0,-1 0 15</inkml:trace>
  <inkml:trace contextRef="#ctx0" brushRef="#br0" timeOffset="89043.67">10570 11417 0,'27'26'0,"-27"-13"16,0 1-16,0-1 0,-14 0 0,14 0 16,-13 14-16,0-1 0,0 1 0,-1-1 15,-12-13-15,13 14 0,0-14 16,-1 0-16,1 1 0,0-1 0,0 0 16,-1-13-16,14 13 0</inkml:trace>
  <inkml:trace contextRef="#ctx0" brushRef="#br0" timeOffset="89973.85">11509 10993 0,'-13'-13'32,"0"26"-32,0 1 0,-1-1 0,1 0 15,0 14-15,0-1 0,0 0 16,-1 14-16,1-13 0,0-1 0,0 14 16,13-27-16,0 13 0,-14-12 0,28 12 15,-14-13-15,0 1 0,0-1 16,13 0-16,0 0 0,0 1 15,-13-1-15,14-13 0,-1 0 0,-13 13 16,13-13-16,0 0 0,0-13 16,1 0-1,-14-1-15,-14 1 16,14 0-16,-13 0 0,0 13 16,13-14-16,-13 14 0,0-13 15,-1 13-15,1 0 0,0-13 0,-14 13 16,27 13-1</inkml:trace>
  <inkml:trace contextRef="#ctx0" brushRef="#br0" timeOffset="90505.73">12052 11086 0,'39'26'15,"-25"-26"-15,-1 0 16,0 0-16,0 14 0,1-14 0,-1 0 16,0 0-16,0 13 15,1-13-15,-14 13 16,0 0-16,-14 1 15,1-1-15,0 0 16,-14 0-16,14 1 0,0-1 16,0 0-16,-1 0 0,1 0 0,0-13 15,13 14-15,-13-1 0,0 0 16,13 0-16,0 1 0,0-1 16,13-13-16,-13 13 0,13-13 15,0 13-15,0-13 0,1 0 16,-1 14-16,0-14 0,14 0 0,-14 0 15,0 0-15,14 0 0,-14 0 0,0 0 16,0 0-16,0 0 0,1 0 16,-1-14-16,0 14 0,0-13 15</inkml:trace>
  <inkml:trace contextRef="#ctx0" brushRef="#br0" timeOffset="90707.06">11959 11258 0,'-13'0'0,"39"13"31,-12-13-31,-1 0 0,13 0 0,1 0 16,-14 13-16,27-13 0,-14 0 16,1 0-16,-1 0 0,1 0 0,-1 0 15,0-13-15,1 13 0,-1 0 16,1 0-16,-1-13 0,1 13 0</inkml:trace>
  <inkml:trace contextRef="#ctx0" brushRef="#br0" timeOffset="90927.88">12647 11139 0,'-26'26'31,"12"-12"-15,14-1-16,-13 0 0,13 0 15,0 1-15,-13-1 16,13 0-16,0 0 0,0 0 0,-13 1 16,13-1-16,0 0 0,0 0 0,0 1 15,0-1-15,0 0 16,0 0 0</inkml:trace>
  <inkml:trace contextRef="#ctx0" brushRef="#br0" timeOffset="91273.81">12634 11126 0,'40'-27'0,"-80"54"0,93-54 0,-40 27 15,0 0-15,0 0 0,-13 13 0,14-13 16,-14 14 0,0-1-16,-14 0 0,1 0 0,0 1 15,0-1-15,0 0 0,-14 0 0,14 1 16,0-1-16,-1 0 0,1-13 16,0 13-16,0 0 0,26 1 15,-13-1-15,13-13 16,0 13-16,1-13 15,-1 0-15,13 0 0,-12 13 16,12-13-16,-13 0 0,14 0 0,-14 14 16,13-14-16,-12 0 0,-1 0 15,0 13-15,0-13 0,1 0 0,-14 13 16,13-13-16</inkml:trace>
  <inkml:trace contextRef="#ctx0" brushRef="#br0" timeOffset="96888.97">3664 9763 0,'14'13'31,"-1"1"-31,0-14 16,0 0-16,1 0 0,-1 0 15,-13 13-15,13-13 16,0 0-16,1 0 0,-1 0 0,0 0 0,0 0 16,-13 13-1</inkml:trace>
  <inkml:trace contextRef="#ctx0" brushRef="#br0" timeOffset="97027.74">3532 9975 0,'27'0'32,"-14"0"-32,0 0 0,14 0 15,-14 0-15,0 0 0,13-13 16,1 13-16,-14 0 0</inkml:trace>
  <inkml:trace contextRef="#ctx0" brushRef="#br0" timeOffset="98377.73">4934 9472 0,'-26'13'16,"13"1"-1,13-1-15,-27 79 32,14-78-32,13-1 0,0 0 15,0 14-15,13-14 0,-13 0 0,0 0 16,14-13-16,-14 13 0,13 1 0,0-1 15,0-13-15,0 0 16,1 0-16,-1 0 0,0 0 16,0-13-16,1 13 0,-14-14 0,13 14 15,-13-13-15,13 0 0,-13 0 16,0 0-16,0-1 0,0-12 0,0 13 16,0-1-16,0 1 0,0 0 0,0 0 15,-13-1-15,13 1 16,-13 0-16,-1 13 0,1 0 15,0 0-15,0 13 16,-1 0-16,14 1 16,-13-14-16</inkml:trace>
  <inkml:trace contextRef="#ctx0" brushRef="#br0" timeOffset="98525.43">5159 9604 0</inkml:trace>
  <inkml:trace contextRef="#ctx0" brushRef="#br0" timeOffset="98985.73">5450 9525 0,'-13'0'0,"0"0"16,-13 0-16,12 0 0,1 13 16,0-13-16,0 0 0,-1 0 15,1 0-15,0 13 16,26 1-1,0-14-15,-13 13 16,14 0-16,-1-13 0,-13 13 0,13-13 16,0 14-16,1-1 15,-1 0-15,-13 0 16,0 1-16,-13-1 16,13 0-16,-14-13 0,-12 13 15,13 0-15,-1 1 0,-12-14 16,13 13-16,-14 0 0,14-13 15,0 0-15,0 13 0,-1-13 0,1 0 16</inkml:trace>
  <inkml:trace contextRef="#ctx0" brushRef="#br0" timeOffset="99225.24">5861 9565 0,'-14'13'31,"14"0"-31,-13 0 0,13 1 16,-13-1-16,0 0 0,13 0 15,-14 14-15,14-14 0,-13 0 0,0 14 16,13-14-16,-13 0 0,13 0 0,-14 14 15,14-14-15,-13 0 16</inkml:trace>
  <inkml:trace contextRef="#ctx0" brushRef="#br0" timeOffset="99424.9">5649 9671 0,'26'0'16,"-12"13"0,-1-13-16,-13 13 0,13-13 0,0 13 15,0-13-15,1 0 0,-1 13 16,0-13-16,-13 14 0,13-14 0,1 0 16,-1 13-16,0-13 0,14 0 15</inkml:trace>
  <inkml:trace contextRef="#ctx0" brushRef="#br0" timeOffset="100138.77">6297 9591 0,'-13'-13'0,"26"26"0,-39-26 15,12 13-15,1 0 0,0-13 16,0 13-16,-1 0 16,1 0-16,0 0 15,0 0-15,0 0 16,-1 0-16,1 13 15,13 0 1,13 0 0,-13 1-16,14-14 0,-14 13 15,0 0-15,0 0 16,13 1-16,-26-14 16,13 13-16,-14 0 0,1 0 15,0-13-15,0 13 0,-1-13 16,1 0-16,0 14 15,0-14-15,13-14 16,13 1 0,13 0-1,-12 0-15,-1 13 0,13-13 0,-12-1 16,-1 1-16,0 0 0,13 0 0,-26-1 16,14 1-16,-1 0 15,-13 0-15,13-1 0,-13 1 0,0 0 16,-13 0-16,13 0 0,-13-1 15,-1 14-15,1-13 16,0 13-16,0 0 0,0 0 0,-1 0 16,-39 0-16,40 0 0,-13 0 15,-1 0-15</inkml:trace>
  <inkml:trace contextRef="#ctx0" brushRef="#br0" timeOffset="100614.49">4670 9499 0,'-27'26'0,"-25"80"31,52-80-31,-14 1 0,14-1 0,14 14 16,-14 0-16,13-14 0,13 14 15,1-1-15,-1-12 0,14-1 16,13 1-16,0-1 0,0-13 0,-1 1 15,28-1-15,-1-13 0,-13 0 0,14 0 16,-1-13-16</inkml:trace>
  <inkml:trace contextRef="#ctx0" brushRef="#br0" timeOffset="100953.82">6469 9247 0,'27'40'0,"-54"-80"0,67 106 0,-40-52 16,13 25-16,0-12 15,0 12-15,1 1 0,-14-13 0,0 12 16,13-12-16,-26 39 0,-14 0 16,14-26-16,0-14 15,-14 14-15,1-14 0,-1 1 0,1-1 16,-14 1-16,14-14 0,-14 13 0</inkml:trace>
  <inkml:trace contextRef="#ctx0" brushRef="#br0" timeOffset="125776.73">7422 9512 0,'-14'39'0,"14"54"32,0-80-32,0 1 0,0 12 0,0-13 15,0 0-15,0 14 0,0-14 16,14 0-16</inkml:trace>
  <inkml:trace contextRef="#ctx0" brushRef="#br0" timeOffset="126003.81">7276 9671 0,'13'-14'0,"80"14"31,-80 0-31,14 0 0,-1 0 15,-13 0-15,14-13 0,-1 13 0,-13 0 16,14 0-16,-14 0 0,14 0 0,-14 0 16,0 0-16,0 0 0,14-13 15</inkml:trace>
  <inkml:trace contextRef="#ctx0" brushRef="#br0" timeOffset="126933.85">8242 9446 0,'-27'53'31,"14"-40"-31,13 0 15,0 0-15,-13 14 0,13-14 0,0 0 0,0 0 16,0 1-16,13-1 16,-13 13-16,0-12 0,13-1 0,-13 0 15,14-13-15,-1 13 0,0-13 0,-13 13 16,13-13-16,0 0 0,1 0 16,-1 0-16,0 0 0,-13-13 15,13 13-15,-13-13 0,0 0 0,14 0 16,-14-1-16,0 1 0,0 0 15,-14 0-15,14-1 0,0 1 0,-13 0 16,13 0-16,0-1 0,-13 1 0,13 0 16,-13 0-16,-1 0 0,1-1 15,0 1-15,0 13 16,0 13 15</inkml:trace>
  <inkml:trace contextRef="#ctx0" brushRef="#br0" timeOffset="127108.73">8572 9512 0</inkml:trace>
  <inkml:trace contextRef="#ctx0" brushRef="#br0" timeOffset="127553.69">8744 9446 0,'0'0'0,"14"-14"0,-1 28 16,0-14 0,-13 13-16,-13 0 15,13 0-15,-13 1 0,13-1 16,0 0-16,-14-13 16,14 13-16,0 0 0,0 1 15,0-1-15,14-13 0,-14 13 16,0 0-16,0 1 0,0-1 15,13-13-15,-13 13 0,-13 0 16,13 1-16,-14-1 0,1-13 16,13 13-16,-13 0 0,-13 0 0,12-13 15,1 14-15,0-14 0,0 13 16,-1-13-16,14 13 0,-13-13 0</inkml:trace>
  <inkml:trace contextRef="#ctx0" brushRef="#br0" timeOffset="127745.52">9049 9472 0,'13'13'16,"-13"1"-16,-13-1 15,13 0-15,0 0 0,0 0 16,-13 14-16,13-14 0,-14 0 15,14 14-15,-13-14 0,0 14 0,0-14 16,13 13-16,-14-13 0,1 1 16,0-1-16</inkml:trace>
  <inkml:trace contextRef="#ctx0" brushRef="#br0" timeOffset="127961.13">8877 9604 0,'0'-13'16,"26"26"15,-13-13-31,1 14 0,-1-1 16,0-13-16,-13 13 16,13-13-16,1 13 0,-1-13 0,-13 14 15,13-14-15,0 13 0,1 0 16,-1-13-16,0 13 15</inkml:trace>
  <inkml:trace contextRef="#ctx0" brushRef="#br0" timeOffset="128332.82">9525 9419 0,'0'0'0,"-13"0"16,0-13-16,13 26 15,-14 0-15,1 1 0,0-1 16,0 0-16,13 0 0,-27 27 16,14-14-16,0 1 0,-1-1 0,14-12 15,0 12-15,-13-13 0,13 14 0,13-14 16,-13 0-16,0 0 0,14 1 15,-14-1-15,13-13 0,0 13 16,0-13-16,1 0 0,-1 0 16,0 0-16,0-13 15,-13 0-15,0-1 16,0 1-16,-13 0 16,0 13-16,0-13 0,-1 13 15,1 0-15,0 0 0,-14 0 16,1 0-16,0 0 0,-14 0 15,0 13-15</inkml:trace>
  <inkml:trace contextRef="#ctx0" brushRef="#br0" timeOffset="128876.93">8083 9300 0,'-40'27'0,"80"-54"0,-93 67 0,27-14 16,12 1-16,-12-1 0,13 14 16,-14-14-16,14 14 0,0 0 0,0-1 15,-1 1-15,14 13 0,-13-13 0,13-1 16,13 1-16,-13 0 0,14-14 15,12 14-15,1-14 0,-1 1 16,0-14-16,1 0 0,13 0 0,-1 1 16,1-14-16,13 0 0,0 0 0</inkml:trace>
  <inkml:trace contextRef="#ctx0" brushRef="#br0" timeOffset="129244.58">9710 9036 0,'0'0'0,"40"13"0,-27 0 0,0 0 16,1 0-16,12 14 0,-13-1 0,14 1 15,-14 13-15,-13-14 0,13 14 0,0-14 16,-13 14-16,0-14 0,-13 14 16,13 0-16,-13-1 0,0-12 0,-1 12 15,1 1-15,0-13 0,-13-1 16,-1 1-16,14-1 0,-14 0 0,1 1 15,0-1-15,-14 1 0,0 12 16,0-25-16,1 12 0,-1 1 0,-13-14 16,13 0-16,-12 0 0</inkml:trace>
  <inkml:trace contextRef="#ctx0" brushRef="#br0" timeOffset="131852.87">10385 9327 0,'0'0'0,"-13"13"15,13 0-15,0 0 16,-14 14-16,14-14 0,0 13 16,0 1-16,0-14 0,-13 14 0,13-1 15,0 0-15,0-12 0,0 12 0,0-13 16,0 14-16,0-14 0,0 0 0,0 1 15,0-1-15,0 0 0,0 0 16</inkml:trace>
  <inkml:trace contextRef="#ctx0" brushRef="#br0" timeOffset="132065.69">10160 9565 0,'26'0'32,"-12"0"-17,12 0-15,-13 0 0,1 0 16,12 0-16,1 0 0,-1 0 0,-13 0 16,14 0-16,-1-14 0,1 14 0,12 0 15,-12 0-15,12 0 0,1 0 0</inkml:trace>
  <inkml:trace contextRef="#ctx0" brushRef="#br0" timeOffset="133167.87">11576 9327 0,'0'-14'16,"-27"41"0,27-14-1,-13 0-15,13 0 0,-13 14 0,13-14 16,0 14-16,0-1 0,-14-13 15,14 14-15,0-14 0,14 0 0,-14 14 16,0-14-16,13 0 0,0 0 0,0 1 16,1-1-16,-1-13 15,0 0-15,0 0 0,0 0 16,1 0-16,-1-13 0,0 13 0,0-14 16,-13 1-16,14 0 15,-14 0-15,0-1 0,0-12 0,0 13 16,0 0-16,-14-1 0,14 1 15,0 0-15,-13 0 0,13-1 0,-13 1 16,13 0-16,-13 0 0,-1-1 16,1 1-16,0 13 15,0 0 1,13 13 0</inkml:trace>
  <inkml:trace contextRef="#ctx0" brushRef="#br0" timeOffset="133330.2">11946 9419 0,'-13'-13'15,"-1"26"1</inkml:trace>
  <inkml:trace contextRef="#ctx0" brushRef="#br0" timeOffset="133673.16">12078 9353 0,'0'0'0,"13"0"0,1 0 0,-1 0 15,0 13-15,-13 14 16,-13-27 0,13 13-16,-13 13 0,-1-12 15,1-1-15,0 0 0,0 14 0,0-14 16,-1 0-16,1 0 0,13 0 16,-13-13-16,13 14 0,0-1 15,-13 0-15,26-13 16,-13 13-16,13-13 15,0 0-15,1 0 0,-1 0 16,0 0-16,0 0 16,0 0-16,1 0 0,-1 0 0,0 0 15,0 0-15,1 0 0,-1 0 32</inkml:trace>
  <inkml:trace contextRef="#ctx0" brushRef="#br0" timeOffset="134041.94">12740 9366 0,'-14'0'15,"1"13"-15,13 1 0,-13-1 0,0 0 16,13 0-16,-27 27 0,14-13 16,0-14-16,0 13 0,-1-13 15,1 1-15,0 12 0,13-13 0,-13 1 16,-1-1-16,14 0 16</inkml:trace>
  <inkml:trace contextRef="#ctx0" brushRef="#br0" timeOffset="134239.1">12488 9472 0,'-13'13'32,"13"1"-32,13 12 15,1-26-15,-1 13 0,0 0 16,-13 1-16,13-14 0,0 13 0,1 0 15,-1-13-15,0 0 0,0 13 0,1-13 16,12 14-16,-13-14 16</inkml:trace>
  <inkml:trace contextRef="#ctx0" brushRef="#br0" timeOffset="134737.84">13044 9327 0,'13'0'15,"0"0"-15,40-14 16,-39 14-1,-1 0-15,0 14 0,0-14 16,0 13-16,1-13 0,-1 0 16,-13 13-16,0 0 0,13-13 0,-13 13 15,0 1-15,0-1 0,0 0 16,0 14-16,0-14 0,0 0 16,-13 0-16,13 1 0,0-1 0,0 0 15,-13 0-15,13 0 0,0 1 0,0-1 16,0 0-16,0 0 0,-14 1 15,28-1-15</inkml:trace>
  <inkml:trace contextRef="#ctx0" brushRef="#br0" timeOffset="134911.91">13123 9525 0,'-13'-13'15,"40"13"16,-14 0-31,0 0 0,0 0 0,14 0 16,-1 0-16,1 0 0,-14 0 16,13 0-16,1 0 0,-14 0 15,13 0-15,-12 0 0,-1 0 0,0 0 0,0 0 16</inkml:trace>
  <inkml:trace contextRef="#ctx0" brushRef="#br0" timeOffset="135405.74">11364 9194 0,'0'0'0,"-40"27"0,14-14 16,12 13-16,-12 1 0,0-1 0,-1 14 15,1 0-15,-1 13 0,14-14 0,0 1 16,-1 0-16,14-1 0,0 1 15,14 13-15,-1-13 0,0-1 0,27 1 16,0 0-16,-1-1 0,14 1 0,13-13 16,0-1-16,14-13 0,-1 14 15,1-14-15,12-13 0,-12 0 16,12 0-16,-12 0 0,-1-13 0</inkml:trace>
  <inkml:trace contextRef="#ctx0" brushRef="#br0" timeOffset="135929.57">13388 9155 0,'79'26'15,"-65"-13"-15,12 14 16,0-1-16,1 1 0,-1-1 0,-12 14 15,-1-1-15,0-12 0,0 13 0,-13-1 16,0 1-16,0-14 0,-13 14 16,13 0-16,-26-14 0,-1 14 0,1 0 15,-14-14-15,-13 27 16,13-27-16,14-26 0,-1 27 0,1-14 16,0 0-16,12 1 0,-12-14 15,13 0-15</inkml:trace>
  <inkml:trace contextRef="#ctx0" brushRef="#br0" timeOffset="136413.06">14010 9446 0,'13'0'15,"0"0"-15,0 0 16,1 0-16,-1 0 0,0 0 0,0 0 16,1 0-16,-1 0 15,0 0-15,-13 13 0,13-13 16</inkml:trace>
  <inkml:trace contextRef="#ctx0" brushRef="#br0" timeOffset="136585.68">13970 9591 0,'0'0'16,"13"0"-16,0 13 0,1-13 0,-1 0 15,0 0-15,0 0 16,14 0-16,-14 0 0,0 0 0,1 0 16,12 0-16,-13 0 0,0 0 15,1 0-15,-1 0 0,0 0 16,0 0-16,1-13 0,-1 13 15</inkml:trace>
  <inkml:trace contextRef="#ctx0" brushRef="#br0" timeOffset="141116.09">3797 12634 0,'26'0'31,"-13"13"-31,1-13 16,-1 0-16,0 0 15,0 13-15,1-13 0,-1 0 16,0 14-16,-13-1 16</inkml:trace>
  <inkml:trace contextRef="#ctx0" brushRef="#br0" timeOffset="141267.74">3770 12832 0,'27'0'47,"-14"0"-31,0 0-16,0-13 0,14 13 15,-14 0-15,14 0 0,-1-13 0,1 13 16</inkml:trace>
  <inkml:trace contextRef="#ctx0" brushRef="#br0" timeOffset="142684.97">4762 12488 0,'0'-13'0,"-13"0"31,0 39-15,0-12-16,13 12 0,-13-13 15,13 14-15,-14-14 0,14 13 16,0 1-16,0-1 0,-13-12 0,13 12 15,0-13-15,0 0 0,0 14 0,13-14 16,-13 0-16,14 1 0,-14-1 16,13 0-16,0-13 0,-13 13 0,13-13 15,0 0-15,1 0 0,-1 0 16,0 0-16,0-13 0,1 13 0,-1-13 16,0 13-16,0-13 0,1-1 0,-1 1 15,0 0-15,-13 0 0,13-1 16,-13 1-16,0 0 15,0 0-15,0 0 0,0-1 0,0 1 0,-13 0 16,13-14-16,0 14 0,-13 0 0,13 0 16,-13-1-16,13 1 0,-14 13 15,14-13-15,-13 0 0,0 0 16,0 13 0</inkml:trace>
  <inkml:trace contextRef="#ctx0" brushRef="#br0" timeOffset="142868.87">5146 12568 0,'-26'0'47</inkml:trace>
  <inkml:trace contextRef="#ctx0" brushRef="#br0" timeOffset="143248.43">5398 12528 0,'-40'13'32,"27"0"-32,-1-13 0,1 14 0,0-14 15,0 0-15,13 13 0,-14-13 16,1 13-16,13 0 15,13 1 1,1-1-16,-1 0 16,0-13-16,0 13 15,-13 1-15,14-14 16,-14 13-16,0 0 16,-14-13-16,14 13 0,-13 0 0,0 1 15,0-14-15,-14 13 0,14 0 16,0 0-16,-14-13 0,14 14 0,0-1 15,0-13-15,-1 0 0,1 13 16,0-13-16,0 0 16</inkml:trace>
  <inkml:trace contextRef="#ctx0" brushRef="#br0" timeOffset="143460.81">5702 12475 0,'-13'27'31,"13"-14"-31,-14 0 0,14 13 16,0-12-16,-13 12 0,13-13 15,-13 14-15,13-1 0,-13-12 0,13 12 16,-14 0-16,14-12 0,0-1 0,-13 0 15,13 0-15</inkml:trace>
  <inkml:trace contextRef="#ctx0" brushRef="#br0" timeOffset="143661.78">5517 12674 0,'0'0'0,"13"13"31,0-13-31,-13 13 16,13-13-16,0 13 0,1-13 16,-1 13-16,0-13 0,-13 14 0,13-14 15,1 0-15,12 13 0,-13-13 0,1 13 16,-1-13-16,13 0 0,-13 0 16</inkml:trace>
  <inkml:trace contextRef="#ctx0" brushRef="#br0" timeOffset="144547.91">6191 12449 0,'-26'0'0,"-14"0"16,27 13-16,0-13 15,-1 13-15,1-13 0,0 13 0,0 1 16,-1-14-16,1 13 0,0 0 0,0-13 16,13 13-16,-13 0 0,26-13 15,13 0 1,-13 0-16,14-13 16,-14 13-16,0-13 0,1 13 15,12-13-15,-13 13 0,1 0 0,-1-13 16,0 13-16,0 13 0,0-13 15,-13 13-15,14 0 16,-14 0-16,0 1 0,0-1 0,0 0 16,0 14-16,0-14 0,0 0 0,0 14 15,-14-14-15,14 0 0,0 13 16,-13-12-16,13-1 0,-13 13 16,13-12-16,-13-1 0,0 0 0,-1 0 15</inkml:trace>
  <inkml:trace contextRef="#ctx0" brushRef="#br0" timeOffset="145101.14">4524 12382 0,'-39'27'0,"78"-54"0,-92 67 0,40-27 0,13 14 16,-13-14-16,0 27 0,0-14 0,13 14 15,-14 0-15,14-1 0,-13 1 16,26 0-16,-13-1 0,14 1 16,-1-13-16,0-1 0,13 14 0,14-14 15,0 1-15,13-1 0,0 1 16,-14-14-16,14 0 0,0-13 0,0 13 15,13-13-15,-13 0 0,27 0 0,-14-13 16,-13 0-16</inkml:trace>
  <inkml:trace contextRef="#ctx0" brushRef="#br0" timeOffset="145517.37">6191 12158 0,'53'0'0,"53"53"16,-80-27-16,1 0 16,-1 1-16,14-1 0,-13 14 0,-14-14 15,0 14-15,0 0 0,0-14 0,1 14 16,-14 0-16,0-14 0,-14 14 15,1 0-15,0-1 0,0 1 0,0-14 16,-14 14-16,14-13 0,-14-1 0,14-13 16,0 14-16,0-27 0,13 13 0,-14-13 15</inkml:trace>
  <inkml:trace contextRef="#ctx0" brushRef="#br0" timeOffset="145868.63">7144 12343 0,'0'53'16,"0"-27"-16,-13 1 15,13-14-15,0 13 0,0 1 16,0-1-16,-14 1 0,14-1 0,0 1 0,0-1 15,-13 1-15,13-14 0,0 13 16,0-13-16,-13 1 0,13-1 16,0 0-16</inkml:trace>
  <inkml:trace contextRef="#ctx0" brushRef="#br0" timeOffset="146091.15">6879 12647 0,'13'0'16,"40"0"-1,-26 0-15,-14 0 0,13 0 16,1 0-16,13 0 0,-14 0 16,1 0-16,12 0 0,-12 0 0,-1 0 15,1 0-15,-1 0 0,0-13 16,1 13-16,-1 0 0,1 0 0,-14 0 15,14 0-15</inkml:trace>
  <inkml:trace contextRef="#ctx0" brushRef="#br0" timeOffset="146876.57">8189 12462 0,'0'0'16,"-13"0"-16,-14 0 16,27 13-16,-13-13 0,13 13 15,-13 1-15,13-1 0,-14 0 16,14 13-16,-13-12 0,13-1 0,0 13 16,0-12-16,0-1 0,0 13 0,0-12 15,0-1-15,13 0 0,-13 0 16,14 0-16,-1 1 0,0-1 0,0-13 15,1 13-15,-1-13 0,0 0 0,0 0 16,1 0-16,-1 0 16,0-13-16,0 13 0,0-13 0,1-1 15,-14 1-15,0 0 0,0 0 16,0 0-16,0-1 0,0 1 0,-14 0 16,14-14-16,-13 14 0,0 0 15,13 0-15,-13-1 0,0 1 0,13 0 16,-14 0-16,1 0 0,0 13 15</inkml:trace>
  <inkml:trace contextRef="#ctx0" brushRef="#br0" timeOffset="147177.91">8572 12554 0,'-13'0'0,"26"0"0,-39 0 15,13 14 1</inkml:trace>
  <inkml:trace contextRef="#ctx0" brushRef="#br0" timeOffset="148137.87">8784 12475 0,'0'0'0,"13"0"0,1 0 0,-14 13 0,13-13 16,-13 14-16,0-1 0,13-13 15,-13 13-15,-13 13 16,13-12-16,-13-1 0,-1 0 15,1 0-15,13 1 0,-13-14 16,13 13-16,13 0 16,0 0-1,1 1 1,-1-14-16,-13 13 16,0 0-16,0 0 0,0 0 15,-13 1-15,-14 12 16,1 14-16,-1-40 15,1 26-15,-14-12 16,27-1-16,0-13 0,-14 13 0,27 0 16</inkml:trace>
  <inkml:trace contextRef="#ctx0" brushRef="#br0" timeOffset="148480.74">9379 12594 0,'0'0'0,"-13"27"16,0-27-16,13 13 16,-13 0-16,0 0 0,-1 1 0,14-1 15,-13 13-15,0-13 0,0 1 0,-1 12 16,1-13-16,0 1 0,0-1 0,13 0 15,-13 0-15,-1 1 0,14-1 16,-13-13-16</inkml:trace>
  <inkml:trace contextRef="#ctx0" brushRef="#br0" timeOffset="148676.21">9141 12700 0,'0'-13'0,"27"26"31,-14 0-15,0 0-16,1-13 0,-1 14 0,0-1 15,0 0-15,0 0 0,1-13 0,-1 14 16,0-1-16,0-13 0,1 13 16,-1 0-16,0-13 0,0 0 0,0 0 15</inkml:trace>
  <inkml:trace contextRef="#ctx0" brushRef="#br0" timeOffset="149028.34">9829 12607 0,'-26'14'31,"26"-1"-31,-13 0 16,-1-13-16,1 13 0,0 1 0,0-1 0,-1 0 16,1-13-16,0 13 0,0 0 0,0 1 15,-1-1 1,1 0-16,0 0 16,13 1-16,0-1 15,13-13-15,0 13 16,1-13-16,-1 13 15,0-13-15,0 0 0,0 14 0,1-14 16,-1 0-16,0 0 0,0 0 0,1 0 16,-1 0-16,13-14 15,-13 14-15,-13-13 16,14 13-16</inkml:trace>
  <inkml:trace contextRef="#ctx0" brushRef="#br0" timeOffset="149224.91">9816 12647 0,'0'0'0,"-13"13"16,13 1-16,-13-14 15,13 13-15,0 0 0,-14 13 0,14-12 16,0-1-16,0 13 0,0-12 0,0 12 16,0-13-16,0 14 0,-13-14 15,13 0-15,0 14 0,0-14 0,-13 0 16,13 0-16,0 1 0,0-1 0,-13 0 15,-1 0-15,14 1 16</inkml:trace>
  <inkml:trace contextRef="#ctx0" brushRef="#br0" timeOffset="149776.54">7858 12343 0,'-40'53'0,"27"-14"0,0-12 16,0 13-16,-27 251 31,40-238-31,0-14 0,13 14 0,14 0 15,-1-13-15,14-1 0,0-12 0,-1 13 16,14-14-16,0-13 0,13 0 16,0 1-16,1-1 0,12-13 15,0 0-15,1 0 0,-1-13 0,0-1 16</inkml:trace>
  <inkml:trace contextRef="#ctx0" brushRef="#br0" timeOffset="150212.67">9882 12330 0,'93'52'15,"-67"-38"-15,1 12 0,-1 14 0,14-14 16,-14 27-16,1-13 0,-1 0 16,1 13-16,-14-14 0,0 1 0,0 0 15,1-1-15,-14 1 0,0-14 0,0 1 16,0-1-16,-14 14 0,1-13 16,13 12-16,-13-26 0,0 14 0,-1-14 15,1 0-15,0 1 0,0-14 0,0 13 16,-1-26-1</inkml:trace>
  <inkml:trace contextRef="#ctx0" brushRef="#br0" timeOffset="150451.68">10808 12515 0,'0'66'31,"-13"-53"-31,13 14 0,0-14 0,0 13 0,0-12 16,0 12-16,0 0 0,-13-12 16,13 12-16,0 1 0,0-14 0,0 13 15,0-12-15,0-1 0,0 0 16,0 0-16,0 0 0</inkml:trace>
  <inkml:trace contextRef="#ctx0" brushRef="#br0" timeOffset="150677.01">10557 12766 0,'26'13'15,"-12"-13"1,-1 0-16,13 0 0,1 14 0,-14-14 16,13 0-16,1 0 0,-1 0 15,-12 0-15,12 0 0,0 0 0,-12 0 16,12 0-16,-13 0 0,14 0 0,-1 0 16,-12 0-16,12 0 0,-13 0 15</inkml:trace>
  <inkml:trace contextRef="#ctx0" brushRef="#br0" timeOffset="151957.7">11668 12594 0,'0'0'0,"-40"40"15,27-27-15,0 0 0,0 14 16,13-14-16,-13 13 0,13-12 16,0 12-16,0-13 0,0 1 15,0-1-15,0 13 0,0-12 0,13-1 16,-13 0-16,13 0 0,0 0 0,0-13 16,1 0-16,-1 14 0,0-14 15,0 0-15,1 0 0,-1 0 16,0-14-16,0 1 0,1 0 15,-1 0-15,-13 0 16,0-14-16,0 14 0,0 0 0,0-1 16,0 1-16,0 0 0,-13-14 15,13 14-15,-14 0 0,14 0 16,-13 13-16,0-13 0,13-1 0,-13 14 16,-1 0-16,1-13 0,0 13 0,-14 0 15,27 13 1,-13-13-16,0 14 0</inkml:trace>
  <inkml:trace contextRef="#ctx0" brushRef="#br0" timeOffset="152105.62">11893 12753 0,'-13'-13'15,"13"-1"1</inkml:trace>
  <inkml:trace contextRef="#ctx0" brushRef="#br0" timeOffset="152509.79">12184 12581 0,'0'0'0,"13"0"0,1 0 16,-1 13-1,-13 0-15,0 1 0,0-1 16,0 0-16,-13 0 0,-1 1 0,1-1 15,0 13-15,0-13 0,-1 14 16,-12-14-16,13 14 0,-1-14 0,1 0 16,0 0-16,0 1 15,0-1-15,13 0 16,13-13 15,0 13-31,0-13 0,0 0 16,1-13-16,-1 13 0,0 0 15,0 0-15,1 0 0,12 0 0,-13-13 16,14 13-16,-14 0 0,13-13 0,-12 13 16,12-14-16,1 1 0,-14 13 0,13-13 15</inkml:trace>
  <inkml:trace contextRef="#ctx0" brushRef="#br0" timeOffset="152704.64">12779 12607 0,'0'0'0,"-13"27"32,0-14-32,0 0 15,-1 1-15,14-1 0,-13 0 0,0 13 16,0-12-16,13-1 0,-13 13 16,-1-12-16,1 12 0,0-13 0,0 1 15,13-1-15,-14 0 0,14 0 0,-13 0 16</inkml:trace>
  <inkml:trace contextRef="#ctx0" brushRef="#br0" timeOffset="152896.41">12515 12753 0,'0'-13'0,"13"39"31,0-13-16,27 1 1,-27-1-16,0 0 0,14-13 0,-14 13 16,0-13-16,14 14 0,-14-14 0,13 0 15,-12 13-15,12-13 16,-13 0-16</inkml:trace>
  <inkml:trace contextRef="#ctx0" brushRef="#br0" timeOffset="153320.72">13335 12488 0,'-26'14'0,"-54"65"31,67-53-31,-14 1 0,14-1 16,13-12-16,-13 12 0,0-13 0,13 14 15,0-14-15,0 0 0,0 0 0,0 1 16,13-1-16,-13 0 0,13-13 15,0 0 1,1 0 0,-1 0-16,-13-13 0,0 0 15,0-1-15,-13 14 0,13-13 16,-14 13-16,14-13 0,-13 13 16,0-13-16,0 13 0,-14 0 0,14 0 15,-13 0-15,-1 0 0,1 0 0</inkml:trace>
  <inkml:trace contextRef="#ctx0" brushRef="#br0" timeOffset="153736.67">11112 12343 0,'-92'172'15,"92"-119"1,0-14-16,0 14 0,0 0 0,13 0 16,14 13-16,-14-26 0,26 13 15,1-13-15,0-1 0,13 1 0,0 0 16,13-14-16,0 1 0,172 25 15,-158-38-15,12-14 16,1 13-16,-1-13 0</inkml:trace>
  <inkml:trace contextRef="#ctx0" brushRef="#br0" timeOffset="154113.16">13560 12237 0,'0'0'15,"53"53"-15,-40-27 0,13 14 0,14 0 0,-27 13 16,14 0-16,-14-14 0,0 14 0,1-13 16,-14 0-16,0 12 0,0-12 0,-14 0 15,1 0-15,0-1 16,0-12-16,-1 12 0,1-12 0,0-14 15,0 14-15,-1-14 0,1-13 0,13 13 16</inkml:trace>
  <inkml:trace contextRef="#ctx0" brushRef="#br0" timeOffset="154421.76">14261 12634 0,'13'0'31,"1"13"-15</inkml:trace>
  <inkml:trace contextRef="#ctx0" brushRef="#br0" timeOffset="154581.07">14182 12885 0,'-14'0'15,"28"13"1,-1-13-16,13 0 16,-12-13-16,-1 13 15,0-13-15,0 13 0,14-13 16,-14 13-16,0-13 0</inkml:trace>
  <inkml:trace contextRef="#ctx0" brushRef="#br0" timeOffset="156294.13">14817 9234 0,'39'0'47,"-12"0"-47,-14 0 0,0 0 16,14 0-16,-1 0 0,-13 0 0,14 0 15,-1 0-15,-12-13 0,-1 13 0,0 0 16,0 0-16,0 0 16,1 13-16,-14 0 15,0 0-15,0 1 16,0-1-16,-14 13 0,14 1 15,-13-14-15,13 13 0,-13 1 0,13-1 16,-13-12-16,13 12 0,-13 1 0,13-14 16,-14 0-16,14 13 0,0-12 15,0-1-15,0 0 0,-13-13 0,13 13 16,0 1-16,0-1 16</inkml:trace>
  <inkml:trace contextRef="#ctx0" brushRef="#br0" timeOffset="156491.97">14843 9551 0,'40'0'16,"-27"0"-16,0 0 15,0 0-15,1 0 0,-1 0 0,13 0 16,-12 0-16,12 0 0,-13 0 15,14 0-15,-14 0 0,13 0 0,1-13 16,-14 13-16,14 0 0,-14 0 0,13-13 16</inkml:trace>
  <inkml:trace contextRef="#ctx0" brushRef="#br0" timeOffset="156660.22">15412 9459 0,'-26'0'15</inkml:trace>
  <inkml:trace contextRef="#ctx0" brushRef="#br0" timeOffset="157216.87">15650 9260 0,'0'0'16,"13"0"-16,1 0 0,-1 14 16,-13-1-16,0 0 15,-13 0-15,13 1 0,-14-1 0,1 0 16,0 13-16,0-12 0,-1-1 0,1 13 16,0-12-16,0-1 0,0 0 0,13 0 15,-14 1-15,1-14 0,13 13 16,0 0-16,-13 0 0,13 0 15,0 1-15,13-14 16,-13 13-16,13 0 0,1-13 16,-1 13-16,0-13 0,0 0 15,0 0-15,14 14 0,-14-14 0,0 0 16,1 0-16,-1 0 0,0 0 0,0 0 16,0 13-16,1-13 0,-1 0 15,0-13-15</inkml:trace>
  <inkml:trace contextRef="#ctx0" brushRef="#br0" timeOffset="159104.23">15147 12541 0,'-13'40'0,"26"-80"0,-39 93 16,13-26-16,13-14 0,-14 13 0,14 1 16,-13-1-16,13-13 0,0 14 0,0-1 15,0-12-15,13-1 0,-13 13 16,14-12-16,-14-1 0,13 0 0,0 0 15,0-13-15,-13 13 0,14-13 0,-1 0 16,0 0-16,0 0 16,1-13-16,-14 0 0,13 0 15,-26 0-15,13-1 16,0 1-16,-14 13 0,14-13 16,-13 0-16,0-1 0,0 14 15,13-13-15,-14 13 0,1-13 16,0 13-16,0 0 15,-1 0 1</inkml:trace>
  <inkml:trace contextRef="#ctx0" brushRef="#br0" timeOffset="159253.15">15359 12674 0,'0'-14'31</inkml:trace>
  <inkml:trace contextRef="#ctx0" brushRef="#br0" timeOffset="159587.91">15637 12528 0,'-13'0'0,"-53"40"16,52-27 0,1-13-16,13 13 0,0 0 15,-13-13-15,26 14 16,0-14-1,1 0-15,-1 0 0,0 0 16,0-14-16,0 28 0,1-14 16,-1 0-16,0 13 0,-13 0 0,13 0 15,-13 1-15,14-1 0,-14 0 0,0 13 16,13-12-16,-13 12 0,0-13 16,0 1-16,0-1 0,0 0 0,0 0 15,0 1-15,0-1 0,0 0 0,0 0 16,13 0-1</inkml:trace>
  <inkml:trace contextRef="#ctx0" brushRef="#br0" timeOffset="160123.68">16047 12885 0,'-53'53'16,"40"-40"-16,0 1 0,-14 12 15,1 1-15,-1-1 0,1 0 16,-1 1-16,14-1 0,-13 1 0,-1-1 15,1 1-15,12-14 0,1 0 16,0 14-16,0-27 0,0 13 0,-1 0 16</inkml:trace>
  <inkml:trace contextRef="#ctx0" brushRef="#br0" timeOffset="160281.26">16007 13018 0,'-106'132'31,"67"-93"-31,12-12 0,-12 13 16,12-1-16,-13-12 0,1 12 15,12-12-15,1-1 0,-1 1 0,1-1 16,13-12-16</inkml:trace>
  <inkml:trace contextRef="#ctx0" brushRef="#br0" timeOffset="160824.03">16153 9869 0,'-132'119'32,"92"-106"-32,13 14 0,-12-1 0,12 1 15,1-14-15,-1 0 0,14 0 0,0 1 16</inkml:trace>
  <inkml:trace contextRef="#ctx0" brushRef="#br0" timeOffset="160980.65">16312 9935 0,'-14'13'0,"-78"93"31,52-66-31,0-14 0,1 1 16,-1 12-16,-13-12 0,13 13 0,14-27 15,-14 27-15,1-14 0,12 0 16,1 14-16</inkml:trace>
  <inkml:trace contextRef="#ctx0" brushRef="#br1" timeOffset="168083.98">2553 9234 0,'13'79'0,"1"-39"0,12 119 16,-26-93-16,13-13 15,-13 13-15,0 0 0,14-13 0,-14 13 16,0-13-16,0 0 0,0-13 16,13 52-16,-13-52 15,0-14-15,0 1 0,0-1 0,0-12 0,13-1 16,-13 0-16,0 0 0,0 1 15</inkml:trace>
  <inkml:trace contextRef="#ctx0" brushRef="#br1" timeOffset="170949.73">2487 9234 0,'27'-13'0,"-54"26"0,80-26 15,-40 13-15,14 0 0,-14 0 0,13 0 0,1 0 16,13 0-16,-14 0 0,14 0 15,13 0-15,0 0 0,-1 0 0,1 0 16,13 0-16,1 0 0,12 0 0,0 0 16,1 0-16,-1-13 0,14 13 15,-14 0-15,27 0 0,-13 0 0,-1 0 16,14 0-16,0 0 0,0 0 16,-1 0-16,1 0 0,0 0 0,26 0 15,-13 0-15,14 0 0,-1 13 16,-26-13-16,0 0 0,0 0 0,-1 0 15,28 0-15,-27 0 0,-1 0 0,1 13 16,0-13-16,0 0 0,0 0 16,0 0-16,-1 13 0,-12-13 0,13 0 15,-14 0-15,14 0 0,0 13 16,-13-13-16,13 0 0,-14 0 16,1 0-16,-1 0 0,1 0 0,0 0 0,-14 0 15,14 0-15,-14 0 0,14 0 0,-14 14 16,0-14-16,1 0 0,-1 0 15,-13 0-15,14 13 0,-1-13 16,-13 0-16,-13 0 0,26 0 0,-13 0 16,1 0-16,-1 0 0,13 0 0,-13 0 15,14 0-15,-1 0 0,-26 0 16,13 0-16,-13 0 0,13 0 0,-13 0 16,13 0-16,0 0 0,14 0 0,-14 0 15,0 0-15,-13 0 0,13 0 16,-13 0-16,13 0 0,0 0 0,-13 0 15,13 0-15,-13 0 0,13-13 0,-13 13 16,14 0-16,-15 0 0,1 0 16,13 0-16,-13 0 0,0-14 15,13 14-15,-13 0 0,0 0 0,0 0 16,13-13-16,-13 13 0,0 0 0,13 0 16,-13-13-16,0 13 0,13 0 15,-13 0-15,0-13 0,0 13 0,0 0 16,0 0-16,0-13 0,0 13 0,0 0 15,0 0-15,-1-14 0,-12 14 16,13 0-16,-13 0 0,-1 0 0,1 0 16,0 0-16,-14 0 0,14 0 0,0 0 15,-14 0-15,14 0 0,-1 0 0,-12 0 16,-1 0-16,1 0 16,13 0-16,-27 0 0,13 0 0,1 0 15,-14 0-15,0 0 0,0 0 0,1 0 16,-1 0-16,0 0 0,14 0 15,-14 0 1,0 0 0,-13-13 15,13 13 0,0 0 0,1 0-15,-1 0 0,13 0-1,-12-13-15,-1 13 16,0 0-16,14 0 0,-14 0 0,13 0 16,1-13-16,-1 13 0,14 0 15,0-14-15,12 14 0,1-13 0,-13 13 16,13 0-16,0-13 0,0 13 0,13 0 15,0-13-15,0 13 0,14-14 16,-14 14-16,13 0 0,0-13 16,1 13-16,-1 0 0,1-13 0,-1 13 15,0 0-15,1 0 0,-1-13 0,0 13 16,1 0-16,-1 0 0,-13 0 16,14 0-16,-1 0 0,-13 0 0,14 13 15,-1-13-15,-26 0 0,0 0 0,13 0 16,-13 13-16,0-13 0,0 0 15,0 0-15,-14 0 0,14 0 16,-26 13-16,12-13 0,-12 0 0,-1 0 0,1 0 16,-14 0-16,13 0 0,1 0 0,-14 0 15,0 0-15,1 0 0,-1 0 16,0 0-16,0 0 0,1 14 16,-1-14-16,0 0 15,0 0-15,0 0 16,-13 13-16,14-13 0,-1 13 15,-13 0-15,13-13 0,0 14 0,-13-1 16,14 13-16,-14-12 0,13 12 0,-13 14 16,13-1-16,0 1 0,-13 0 15,14-1-15,-1 1 0,-13 0 0,13-1 16,0 14-16,0-13 0,1 13 0,-1 0 16,0-13-16,14-1 0,-14 1 15,0-14-15,0 14 0,14 0 0,-14-14 16,0 14-16,0-14 0,1 1 15,12-1-15,-26 1 0,13-1 0,1-13 16,-1 1-16,-13-1 0,13 13 16,0-12-16,-13-1 0,13 0 15,-13 0-15,0 1 0,14-14 16,-14 13-16,-14 0 16,1-13-1,0 0-15,0 13 0,0-13 16,-14 0-16,14 0 0,-14 0 15,1 0-15,-1 0 0,-12-13 0,-1 13 16,0 0-16,-12 0 0,-1 0 16,0-13-16,0 13 0,0 0 0,-13 0 15,0-13-15,13 13 16,-27 0-16,14-14 0,-13 14 0,13-13 0,-1 13 16,-12-13-16,13 13 0,-13-13 0,12 13 15,-12-14-15,0 14 0,-1 0 16,14-13-16,-13 13 0,-1-13 0,1 13 15,0-13-15,-1 13 0,1-14 0,0 14 16,-1-13-16,1 13 0,-397-39 31,237 25-15,173 14-16,-542-39 31,542 25-15,-1 14-16,-12 0 0,13 0 0,0 0 15,13-13-15,-27 13 0,14 0 0,-13 0 16,26 0-16,-13 0 0,0-13 16,0 13-16,-14 0 0,27 0 0,-13 0 15,13-13-15,-26 13 0,26 0 0,-13 0 16,0 0-16,13-14 0,-13 14 16,13 0-16,-13 0 0,13-13 0,0 13 15,-13 0-15,13 0 0,0 0 16,0 0-16,0 0 0,0-13 15,0 13-15,0 0 0,13 0 0,-12 0 16,-1 0-16,13 0 0,-53 0 16,54 0-16,-1 0 0,13 0 0,-12 0 15,12 0-15,-12 0 0,12 0 16,-13 0-16,14-13 0,0 13 0,-1 0 16,1 0-16,-1 0 0,1 0 0,-1 0 15,14 0-15,-13 0 0,-1 0 16,1 0-16,-1 0 0,14 0 0,-13 13 15,-1-13-15,14 0 0,-14 0 0,1 0 16,13 0-16,-14 0 0,14 0 16,-13 0-16,12 0 0,-12 0 15,13 0-15,-14 13 0,14-13 0,-13 0 16,12 0-16,1 0 0,-13 0 0,12 0 16,-12 13-16,13-13 0,-14 0 15,1 0-15,13 0 0,-27 14 0,13-14 16,1 0-16,-1 0 0,-12 13 0,12-13 15,-12 0-15,-1 0 0,-13 0 16,13 13-16,14-13 0,-27 0 0,13 0 16,-13 13-16,14-13 0,-14 0 15,13 0-15,-13 0 0,0 14 0,0-14 16,0 0-16,0 0 0,1 0 16,-1 13-16,0-13 0,0 0 0,-13 0 15,13 0-15,0 13 0,-13-13 0,0 0 16,-14 0-16,14 13 0,0-13 15,0 0-15,-14 14 0,27-14 0,1 0 16,-15 13-16,14-13 0,1 0 0,-15 13 16,14-13-16,1 0 0,-15 13 15,1-13-15,-13 13 0,26-13 0,0 0 16,-13 14-16,0-14 0,13 13 0,-13-13 16,13 13-16,0-13 0,0 13 0,-13-13 15,13 0-15,13 14 16,-13-14-16,0 13 0,0-13 0,1 0 15,12 13-15,-13-13 0,0 13 0,0-13 16,0 0-16,0 14 0,0-14 16,0 13-16,1-13 0,-1 0 0,0 13 15,13-13-15,-13 0 0,0 0 0,0 13 16,0-13-16,0 0 0,0 0 16,1 13-16,-1-13 0,0 0 0,0 0 15,13 14-15,-13-14 0,0 0 0,0 0 16,14 13-16,-14-13 0,0 0 0,0 0 15,0 0-15,0 0 16,-53 13-16,67-13 0,-14 0 16,-53 0-16,66 0 0,-13 0 15,0 0-15,0 0 0,14 0 16,-14 0-16,13 0 0,0 0 0,-12 0 16,-1 0-16,26 0 0,-13 0 0,1 0 15,-1-13-15,0 13 0,1 0 16,-1 0-16,14 0 0,-14 0 0,13 0 15,-12 0-15,-1 0 0,14 0 0,-14 0 16,13 0-16,1 0 0,-14 0 0,14 0 16,-1 0-16,1 0 0,-1 0 15,1 0-15,0 0 0,-1 0 16,-13 0-16,14 0 0,-14 0 0,14 13 16,-14-13-16,14 0 0,-1 0 15,14 0-15,-14 0 0,14 0 0,-13 0 16,-1-13-16</inkml:trace>
  <inkml:trace contextRef="#ctx0" brushRef="#br1" timeOffset="171599.71">3387 12316 0,'-14'40'0,"14"92"16,0-79-16,0 13 0,0 1 16,14-1-16,-14 13 0,-14-13 15,14 14-15,0-1 0,-13-13 0,13 13 16,0-12-16,-13 12 0,13-13 16,-13 0-16,0-13 0,13-13 0,0 13 0,0-27 15,-14 1-15,14-1 0,0-13 16,0 1-16,-13-41 31</inkml:trace>
  <inkml:trace contextRef="#ctx0" brushRef="#br1" timeOffset="174236.98">3096 12250 0,'0'0'0,"13"0"0,66-39 32,-52 39-32,-1 0 0,14-14 0,13 14 15,-14-13-15,14 13 0,0-13 16,27 13-16,-14-13 0,13 13 0,1-14 15,-1 14-15,14 0 0,-14-13 0,14 13 16,12 0-16,-12-13 0,13 13 16,13-13-16,13 13 0,0-14 0,1 1 15,-14 13-15,-13-13 0,26 13 16,0-13-16,0 0 0,14 13 16,-14 0-16,1-14 0,-1 14 0,0-13 15,0 13-15,1 0 0,-14-13 0,13 13 16,0-13-16,1 13 0,-27 0 15,-14-14-15,40 14 0,-26-13 0,0 13 16,0 0-16,-13-13 0,12 13 0,1-13 16,-13 13-16,13-14 0,-14 14 15,1 0-15,-1-13 0,1 13 0,0-13 16,-14 13-16,0-13 0,14 13 0,-14-13 16,1 13-16,-1-14 0,1 14 15,-14 0-15,0-13 0,-13 13 0,0 0 16,0 0-16,13-13 0,-13 13 15,0 0-15,-1 0 0,1 0 0,0 0 16,13-13-16,-26 13 0,13 0 16,0 0-16,0-14 0,0 14 0,13 0 15,-13 0-15,0 0 0,0-13 0,0 13 16,0 0-16,13 0 0,-13 0 16,-1 0-16,1 0 0,0 0 0,0 0 15,0 0-15,13 0 0,-13 0 0,0 0 16,13 0-16,-13 0 0,0 0 15,13 0-15,-13 0 0,27 0 16,78-13-16,-78 13 0,-1 0 16,0 0-16,1 0 0,-1 0 0,1 0 15,12 0-15,-12 0 0,12 0 16,1 0-16,-1 13 0,1-13 0,-14 0 16,14 0-16,0 13 0,-1-13 0,14 0 15,-13 14-15,-1-14 0,1 13 16,13-13-16,-14 0 0,14 13 0,92 0 15,1-13 1,-106 14-16,12-14 0,-12 13 16,13-13-16,-14 0 0,1 13 0,0 0 15,-1-13-15,1 13 0,-1-13 0,-12 14 16,-1-14-16,1 13 0,-1-13 0,0 13 16,1-13-16,-14 13 0,13 1 15,-13-14-15,0 13 0,1-13 0,-14 0 16,-1 13-16,1-13 0,0 0 0,0 13 15,0-13-15,-13 0 0,13 0 16,-27 14-16,1-14 0,12 0 0,-12 0 16,-1 13-16,-13-13 0,14 0 0,-14 0 15,0 0-15,1 0 0,12 13 16,-13-13-16,1 13 0,-1-13 16,0 13-16,0 1 15,-13-1-15,0 0 0,0 14 16,13-14-16,-13 0 15,0 14-15,0-1 0,0 0 0,0 1 16,0 13-16,-13-1 0,13 14 0,0-13 16,-13 13-16,13 13 0,-13-13 15,0 13-15,13-13 0,-14 13 0,1-13 16,13 0-16,0-13 0,-13 13 0,0-14 16,13 14-16,0-13 0,-14 13 0,14-14 15,0 1-15,0 13 0,0-27 16,0 14-16,0-13 0,0-1 0,0 1 15,0-1-15,0 0 0,14-12 0,-14-1 16,0 13-16,0-12 16,0-1-16,13 0 0,-13 0 15,0 0-15,0 1 0,0-1 16,-13-13 0,13 13-16,-14-13 15,1 0-15,0 0 0,0 0 0,-1 0 16,-12-13-16,13 13 0,-14 0 0,1 0 15,-14 0-15,14-13 0,-27 13 16,13 0-16,-13-14 0,14 14 0,-14-13 16,13 13-16,-13-13 0,0 13 15,0-13-15,13 0 0,-12 13 0,-1-14 16,0 14-16,0-13 0,0 13 16,-13-13-16,13 0 0,0 13 0,0-14 15,0 14-15,0-13 0,-13 13 0,13-13 16,0 13-16,-13 0 0,13-13 15,-26 13-15,26 0 0,0 0 0,-13-13 16,13 13-16,0 0 0,-26 0 0,26-14 16,-27 14-16,27 0 0,-26 0 0,26-13 15,0 13-15,-13 0 0,13 0 16,0 0-16,0-13 0,-13 13 0,13 0 16,0 0-16,-13 0 0,13-13 0,0 13 15,-13 0-15,13 0 0,0-14 16,0 14-16,0 0 0,1 0 15,-1 0-15,0-13 0,0 13 0,0 0 16,0 0-16,0-13 0,0 13 0,0 0 16,0 0-16,14-13 0,-14 13 15,0 0-15,13-14 0,-13 14 0,13 0 16,-12-13-16,-1 13 0,13 0 0,-13-13 16,13 13-16,1 0 0,-1 0 15,0-13-15,14 13 0,-27 0 0,13 0 16,14 0-16,-14-13 0,0 13 0,1 0 15,12 0-15,-12 0 0,12 0 0,-13 0 16,1 0-16,12 0 0,-12 0 16,-1 0-16,13 13 0,-12-13 15,12 0-15,-12 0 0,12 0 0,-13 0 16,1 0-16,12 0 0,-12 13 0,12-13 16,-13 0-16,14 0 0,-14 0 15,1 13-15,-1-13 0,14 0 0,-14 0 16,13 0-16,-12 0 0,-1 0 0,0 0 15,1 13-15,-1-13 0,0 0 16,-13 0-16,27 0 0,-14 0 16,-13 14-16,14-14 0,-1 0 0,-13 0 15,13 0-15,-13 0 0,0 0 0,1 0 16,-1 0-16,0 0 0,13 13 16,-13-13-16,0 0 0,0 0 0,0 0 15,0 0-15,1 0 0,-15 0 0,14 0 16,-13 13-16,0-13 0,0 0 15,0 0-15,13 13 0,-26-13 0,12 0 16,-12 14-16,0-14 0,13 13 0,-14-13 16,14 13-16,-13-13 0,12 13 0,1 1 15,0-14-15,0 13 0,-13-13 16,13 13-16,-1 0 0,1-13 0,0 13 16,13-13-16,0 14 0,0-14 0,-13 0 15,13 13-15,0-13 0,-13 13 16,0 0-16,13-13 0,0 14 15,-13-14-15,13 0 0,0 13 0,0-13 16,0 0-16,1 13 0,-1-13 0,13 0 16,-13 13-16,0-13 0,13 0 15,1 0-15,-14 0 0,13 0 0,0 13 16,-12-13-16,12 0 0,-13 0 16,13 0-16,-13 0 0,14 0 0,-14 0 15,13 0-15,-13 14 0,13-14 0,-13 0 16,1 0-16,12 0 0,-13 13 15,26-13-15,-25 0 0,12 0 0,0 0 16,1 0-16,12 0 0,-13 0 16,14 0-16,-14 0 0,-13 0 0,14 13 15,-1-13-15,-13 0 0,13 0 0,-13 0 16,1 0-16,12 0 0,-13 0 16,13 13-16,1-13 0,-14 0 0,13 0 15,0 0-15,-13 0 0,14 14 0,-1-14 16,-13 0-16,13 0 0,-13 0 15,14 0-15,-14 0 0,13 0 0,14 0 16,-14 0-16,-13 0 0,13 0 0,14 0 16,-14 0-16,1 0 0,-14 0 0,13-14 15,-13 14-15,13 0 0,1 0 16,-1 0-16,0-13 0,14 13 16,-14 0-16,14 0 0,-14 0 0,14-13 15,-1 13-15,-13 0 0,14 0 16,-1-13-16,1 13 0,0 0 0,-1-14 15,-13 1-15,14 13 0,13 0 16,-14-13-16,1 13 0,-1 0 0,14-13 16,0 13-16,-14 0 0,14-13 15,-13 13-15,12 0 0,1 0 0,0-14 16,0 14-16,0 0 0,-1 0 0,1 0 16,0 0-16,0 0 0,13-13 15,-14 13-15,1 0 0,0 0 0,0 0 16,0 0-16,-1 0 15,1 0-15,0 0 0,0 13 0,-1-13 16,1 0-16,0 0 0,0 0 16,-1 0-16,1 0 0,0 0 15,0 0-15,0 0 0,-1 0 16,1 0-16,0 14 16,0-14-1,-1 0-15,1 0 31,40 0-15</inkml:trace>
  <inkml:trace contextRef="#ctx0" brushRef="#br1" timeOffset="177885.78">17079 9962 0,'0'-27'47,"-13"14"-31,13 0-16,0-14 16,-14 1-16,14 12 0,0-25 0,-13-1 15,13 0-15,-13-12 0,13 12 0,-13-13 16,13 0-16,0 13 0,-14-13 0,14 14 15,0 12-15,0 1 0,-13-1 16,13 14-16,0-13 0,0 12 0,0 1 16,0 0-16,13 13 15,1 26 1,-14-12-16,13 12 0,0 14 0,0-1 16,14 1-16,-14 0 0,0-14 0,1 14 15,-1 0-15,0-14 0,0 1 16,0-1-16,1-13 0,-1 1 15,-13 12-15,13-13 0,0 0 16,-26 1-16,13-1 16,-13-13-16,-14 0 0,14 0 15,-13 0-15,-1 0 0,-12 0 0,12 0 16,-26 0-16,0 0 0,0 0 0,14-13 16,-14 13-16,13 0 0,14-14 15,-1 14-15,1 0 0,13-13 0,-1 13 16,1-13-16,13 0 0,13-14 15,1 14-15,12-13 0,14-14 16,13 0-16,0 14 0,-1-14 16,28-13-16,12 13 0,-25 1 0,-1-1 15,0 14-15,13-1 0,-13 1 0,-13-1 16,-13 14-16,0 13 0,-1-13 16,-25 13-16,-1 13 0,0 0 0,-13 1 15,0 12-15,-13 0 0,-14 41 0,-12-15 16,12 1-16,-13 14 0,-12-1 15,-1 0-15,0 0 0,13-13 0,0 0 16,-26 13-16,27-13 0,-1 0 0,13-14 16,1 14-16,-1-13 0,1-13 15,13-1-15</inkml:trace>
  <inkml:trace contextRef="#ctx0" brushRef="#br1" timeOffset="190989.84">18534 1005 0,'13'0'31,"1"0"-31,-1 0 16,0 0-16,13-13 15,-12 13 1,-1 0-16,-53 0 31,27 13-31,-13 1 16,-1-14-16,14 13 0,-14 0 16,14 0-16,0-13 0,0 14 0,-1-14 15,1 13-15,0-13 0,13 13 0,13 0 31,0 0-31,1-13 0,-1 0 16,13 14-16,-12-14 0,-1 0 16,0 13-16,0-13 0,1 13 0,-1-13 15,0 0-15,0 13 0,0-13 16,-13 14-16,0-1 16,-13 0-16,0-13 0,0 13 0,0 1 15,-1-1-15,-12 0 0,13 0 16,-14 0-16,1 1 0,12-14 0,-12 13 15,13-13-15,0 13 0,-1-13 0</inkml:trace>
  <inkml:trace contextRef="#ctx0" brushRef="#br1" timeOffset="191306.67">18746 1045 0,'-27'27'31,"27"-14"-31,0 0 16,0 0-16,-13 0 0,13 1 15,13-1-15,-13 0 0,0 0 0,13 1 16,1-1-16,-1-13 0,0 0 16,0 0-16,1 0 0,-1 0 15,0 0-15,0 0 0,1-13 0,-1-1 16,13 14-16,-13-13 0,-13 0 0,14 0 15,-14-1-15,0 1 0,0 0 16,0 0-16,0-14 0,-14 14 0,14 0 16,-13 0-16,0 13 0,0-14 15,13 1-15,-13 13 0,-1 0 0,1-13 16,0 13-16,-14 13 0,14-13 16,0 0-16,13 13 0,-13-13 0,-1 14 15</inkml:trace>
  <inkml:trace contextRef="#ctx0" brushRef="#br1" timeOffset="191501.46">19169 913 0,'0'0'0,"13"0"0,1 13 32,-14 0-17,-14 0-15,1 1 16,0 12-16,13-13 0,-13 14 15,-14-1-15,14 1 0,13-14 16,-13 13-16,-1-12 0,1 12 0,0-13 16,0 1-16,13-1 0</inkml:trace>
  <inkml:trace contextRef="#ctx0" brushRef="#br1" timeOffset="191640.51">18971 966 0,'0'-14'16,"13"14"-1</inkml:trace>
  <inkml:trace contextRef="#ctx0" brushRef="#br1" timeOffset="191765.61">19275 1045 0,'0'13'16,"13"-13"0,0-13-1</inkml:trace>
  <inkml:trace contextRef="#ctx0" brushRef="#br1" timeOffset="192017.71">19936 1045 0,'0'0'0,"40"-13"16,-27 13-16,14 0 16,-14 0-16,0-13 0,0 13 0,1 13 15,-1-13-15,0 0 0,-13 13 0</inkml:trace>
  <inkml:trace contextRef="#ctx0" brushRef="#br1" timeOffset="192180.67">19923 1244 0,'27'-14'47,"-14"14"-31,0-13-16,0 13 0,0-13 0,1 13 16,12-13-16,-13 13 0,1-14 15,-1 14-15</inkml:trace>
  <inkml:trace contextRef="#ctx0" brushRef="#br1" timeOffset="192689.76">20849 939 0,'-26'-13'31,"-1"26"-31,14-13 16,0 0-16,0 13 0,-1-13 0,1 0 15,0 0-15,0 0 0,-1 0 0,14 14 16,-13-14-16,13 13 0,-13 0 16,26 0-1,-13 1 1,13-14-16,-13 13 16,14-13-16,-1 13 15,-13 0 16,0 1-31,0-1 0,0 0 16,0 0-16,-13 0 16,-1 1-1,1-1-15,0-13 0,0 13 16,0-13-16,-1 13 0,1-13 0,-13 0 16</inkml:trace>
  <inkml:trace contextRef="#ctx0" brushRef="#br1" timeOffset="193019.57">20981 952 0,'-26'40'16,"13"-27"-16,13 1 15,0-1-15,0 0 16,0 0-16,13-13 0,-13 14 16,13-14-16,0 13 0,1-13 15,-1 0-15,0 0 0,0 0 0,1 0 16,-1 0-16,0 0 0,0-13 0,1-1 16,-1 14-16,-13-13 15,0 0-15,13 0 0,-26-1 16,13 1-16,0 0 0,-13 0 0,-1-1 15,1 14-15,0 0 16,0 0-16,-1 0 0,1 0 0,0 0 16,0 0-16,-1 14 0,-12-1 0,13 0 15,-14 0-15,14 1 0</inkml:trace>
  <inkml:trace contextRef="#ctx0" brushRef="#br1" timeOffset="193308.83">20439 1482 0,'106'-27'31,"-66"14"-31,-1 0 0,14 0 15,-13 13-15,13-14 0,0 1 0,-14 0 16,14 13-16,0-13 0,-13-1 16,13 14-16,-27 0 0,1-13 0,-1 13 15,-13 0-15,14 0 0,-14 0 16,0 0-16,-26 13 16,0 1-1,0-14-15</inkml:trace>
  <inkml:trace contextRef="#ctx0" brushRef="#br1" timeOffset="193537.02">20796 1680 0,'-13'27'0,"0"25"31,0-25-31,13-14 0,0 0 16,-14 14-16,14-14 0,-13 14 0,13-14 16,0 0-16,-13 0 0,13 14 0,-13-14 15,13 0-15,0 0 16,0 1-16,13-14 16</inkml:trace>
  <inkml:trace contextRef="#ctx0" brushRef="#br1" timeOffset="193844.71">20955 1720 0,'0'0'0,"-26"13"16,12-13-16,14 13 0,0 0 16,-13-13-16,13 14 0,0-1 0,0 0 15,0 0-15,0 1 16,0-1-16,13-13 15,1 0-15,-1 0 16,0-13-16,0-1 16,-13 1-16,13 13 15,-13-13-15,0 0 0,14-1 16,-14 1-16,0 0 16,0 0-16,0 0 15,13 13 1,0 13-1,0 0-15</inkml:trace>
  <inkml:trace contextRef="#ctx0" brushRef="#br1" timeOffset="194028.41">21087 1786 0,'14'13'0,"-28"-26"0,41 26 0,-27 0 15,13-13-15,13 0 16,-12 0 0,-1 0-16,0 0 0,0 0 15,1-13-15,-1 0 16,0 0-16,-13-1 15,13 14-15,-13-13 0,0 0 16,0 0-16,-13 0 0,13-1 16,-13 1-16,0 0 0,-1 0 0,1 13 15,0-14-15,0 1 0,-14 0 16,14 0-16,-13 0 0</inkml:trace>
  <inkml:trace contextRef="#ctx0" brushRef="#br1" timeOffset="194869.69">21709 1204 0,'66'-27'16,"-53"14"-1,27 13-15,-13-13 0,-14 13 0,13 0 16,1 0-16,-14 0 0,13 0 0,-12 0 16,-1 0-16</inkml:trace>
  <inkml:trace contextRef="#ctx0" brushRef="#br1" timeOffset="195036.86">21736 1389 0,'105'-13'31,"-78"0"-31,-14 13 16,14 0-16,-1-14 0,0 14 16</inkml:trace>
  <inkml:trace contextRef="#ctx0" brushRef="#br1" timeOffset="195697.81">22926 952 0,'0'0'0,"-13"14"16,0-1-16,-1 0 16,14 0-16,0 1 0,-13-1 15,13 0-15,0 0 0,0 1 16,0 12-16,0-13 0,0 0 0,13 1 16,-13-1-16,14-13 0,-14 13 0,13 0 15,0-13-15,14 14 16,-14-14-16,0 13 0,0-13 15,1-13-15,-1 13 0,0-14 16,0 1-16,-13 0 0,0 0 16,0-1-16,0 1 0,0 0 0,0 0 15,0 0-15,0-1 0,0 1 16,-13 0-16,13 0 0,-13 13 0,13-14 16,0 1-16,-13 13 0,-1-13 0,1 13 15,0 0 1</inkml:trace>
  <inkml:trace contextRef="#ctx0" brushRef="#br1" timeOffset="195844.08">23217 1045 0</inkml:trace>
  <inkml:trace contextRef="#ctx0" brushRef="#br1" timeOffset="196163.74">23429 926 0,'-27'13'16,"14"0"0,26 1-1,1-1-15,-14 0 16,13 0-16,0 1 15,-13-1-15,13 0 0,-13 0 16,0 1-16,0-1 0,0 0 16,-13-13-16,0 13 0,0 0 15,-1 1-15,1-1 0,-13 0 0,12 0 16,1 1-16,0-14 0,0 13 0,0 0 16</inkml:trace>
  <inkml:trace contextRef="#ctx0" brushRef="#br1" timeOffset="196344.71">23720 1138 0,'-53'39'16,"27"-25"-16,-14-1 0,13 13 15,-26 1-15,14-1 0,-14 1 16,13-1-16,0-13 0,1 14 0,26-14 15,-1 0-15,1-13 0,13 14 0</inkml:trace>
  <inkml:trace contextRef="#ctx0" brushRef="#br1" timeOffset="196485.68">23641 1363 0,'-146'119'15,"-158"145"1,224-184-16,1-14 0,-14 0 0</inkml:trace>
  <inkml:trace contextRef="#ctx0" brushRef="#br1" timeOffset="198431.87">18997 2619 0,'27'0'16,"-14"14"0,0-1-16,-13 0 15,13 0-15,-13 1 16,0-1-16,13 0 16,-13 0-16,14-13 15,-1 13-15,-13 1 0,13-1 16,0 0-16,-13 0 15,0 1-15,-13-1 16,13 0-16,-13 0 0,13 1 16,-13-14-16,-1 13 0,1 0 0,0 0 15,0-13-15,13 13 0,-13-13 0,-1 0 16,1 0-16,13-13 16,0 0-1</inkml:trace>
  <inkml:trace contextRef="#ctx0" brushRef="#br1" timeOffset="198688">19182 2659 0,'14'0'16,"-28"0"-16,41 0 15,-27 13-15,13 1 16,0-1-16,-13 0 0,13-13 16,-13 13-16,14-13 0,-14 13 0,13-13 15,13 0 1,1 0-16,-14 0 15,-13-13-15,13 13 0,-13-13 16,0 0-16,0 0 16,0-1-16,0 1 0,-13 0 15,13 0-15,-13-1 16,0 14 0,-1 0-16,1 0 15,0 0-15,13 14 0</inkml:trace>
  <inkml:trace contextRef="#ctx0" brushRef="#br1" timeOffset="198924.56">19751 2566 0,'-26'27'32,"26"-14"-32,-14 0 0,1 14 15,0-14-15,-13 14 0,12-14 16,-12 13-16,13-13 0,-1 1 0,1 12 16,0-26-16,0 13 0,13 1 15</inkml:trace>
  <inkml:trace contextRef="#ctx0" brushRef="#br1" timeOffset="199069.93">19513 2646 0,'0'0'0,"0"-13"16</inkml:trace>
  <inkml:trace contextRef="#ctx0" brushRef="#br1" timeOffset="199183.87">19645 2725 0,'14'13'32,"-1"-26"-17</inkml:trace>
  <inkml:trace contextRef="#ctx0" brushRef="#br1" timeOffset="199407.9">20386 2553 0,'13'0'16,"1"-13"-16,-1 13 0,0 0 15,0 0-15,1 0 0,-1 0 16,0 0-16,0 13 0</inkml:trace>
  <inkml:trace contextRef="#ctx0" brushRef="#br1" timeOffset="199556.77">20346 2765 0,'-13'0'16,"53"0"-1,-27 0 1,0-13-16,14 13 0,-1-14 16,1 14-16,-1-13 0,1 0 0,12 0 15,-12 13-15</inkml:trace>
  <inkml:trace contextRef="#ctx0" brushRef="#br1" timeOffset="200380.91">21153 2566 0,'-13'0'32,"13"14"-32,-13-14 15,26-14 63,0 1-62,1 13-16,-1 0 0,0 0 16,0 0-16,1 0 15,-1 0-15,0 13 16,-13 1-1,0-1 1,-13-13 0,13 13-16,0 0 15,13 1-15,-13-1 16,13 0-16,-13 0 16,0 1-16,13-14 15,-13 13-15,0 0 0,-13 0 16,0 0-1,0 1-15,0-14 0,-1 0 16,14 13-16,-13-13 0,0 0 16</inkml:trace>
  <inkml:trace contextRef="#ctx0" brushRef="#br1" timeOffset="200657.81">21405 2606 0,'13'13'16,"-13"1"0,0-1-16,13 0 15,0-13-15,-13 13 16,14-13-16,-1 0 0,0 0 0,0 0 16,1-13-16,-1 13 15,0-13 1,-13 0-16,0-1 15,0 1-15,-13 0 0,0 0 16,-1-1-16,1 14 16,0 0-16,0 0 0,-14 0 15,14 0-15,13 14 0,-13-14 16,0 0-16,-1 13 0</inkml:trace>
  <inkml:trace contextRef="#ctx0" brushRef="#br1" timeOffset="200872.69">21802 2553 0,'0'13'15,"0"-26"-15,0 53 16,-14-27-16,14 0 0,-26 27 16,13-13-16,-14-1 0,1 27 0,-14-13 15,14-1-15,-14 1 0,0 0 16,1-1-16,12 1 0,1-14 0,-1 1 15,1-1-15,-1 1 0,14-14 0,0 0 16,0 1-16,13-1 0,-14-13 0,14 13 16,-13-13-16</inkml:trace>
  <inkml:trace contextRef="#ctx0" brushRef="#br1" timeOffset="201080.57">21630 2990 0,'13'13'16,"-26"0"-1,13 0-15,0 1 16,0-1-16,-14 0 0,14 0 0,0 1 16,-13-1-16,13 0 0,-13 0 0,13 1 15,0-1-15,0 0 16,0 0-1</inkml:trace>
  <inkml:trace contextRef="#ctx0" brushRef="#br1" timeOffset="201560.83">21828 3016 0,'-13'13'31,"13"1"-16,0-1-15,13 0 16,0-13 0,1 0-16,-1 0 0,0 0 15,0 0-15,1-13 16,-1 0-16,-13-1 16,0 1-16,13 13 15,-13-13 1,0 0-16,0 0 31,13 13 0,0 13-15,1-13 0,-14 13-16,13-13 15,0 0-15,0 0 31,1 0-31,-1-13 16,-13 0 0,13-1-16,-13 1 15,0 0 1,0 0-16,0-1 16,13 1-16,-13 0 15,0 0-15,0 0 0</inkml:trace>
  <inkml:trace contextRef="#ctx0" brushRef="#br1" timeOffset="201745.67">22503 2527 0,'26'-13'0,"-52"26"0,79-26 0,-40 13 16,0 0-16,0-14 0,1 14 16</inkml:trace>
  <inkml:trace contextRef="#ctx0" brushRef="#br1" timeOffset="201897.5">22450 2686 0,'40'-14'16,"-27"1"-16,0 13 15,13 0-15,-12 0 0,12-13 0,-13 13 16</inkml:trace>
  <inkml:trace contextRef="#ctx0" brushRef="#br1" timeOffset="202772.2">23416 2394 0,'-14'0'15,"1"0"-15,13 14 0,-13-1 16,0 0-16,13 0 0,0 1 15,-14-1-15,14 0 0,0 0 0,0 1 16,14-1-16,-14 0 16,13 0-16,0 0 0,0-13 15,1 0-15,-1 14 0,0-14 16,0 0-16,1-14 16,-1 14-16,-13-13 0,13 13 0,-13-13 15,0 0-15,0 0 0,0-1 0,0 1 16,0 0-16,0 0 15,0-1-15,-13 1 0,0 0 16,-1 0 0,1 13-16,0 0 15</inkml:trace>
  <inkml:trace contextRef="#ctx0" brushRef="#br1" timeOffset="202864.97">23535 2421 0,'13'0'16</inkml:trace>
  <inkml:trace contextRef="#ctx0" brushRef="#br1" timeOffset="203612.89">23812 2302 0,'-13'13'31,"26"0"-16,-13 1 1,14-14-16,-14 13 0,13-13 16,0 13-16,0 0 0,1 0 15,-14 1-15,13-14 16,-13 13-16,0 0 0,0 0 16,0 1-16,-13-1 0,13 0 15,-14-13-15,1 13 0,0 1 16,0-1-16,-1-13 0,-12 13 15,13 0-15,0 0 0,-14 1 0,14-14 16,0 13-16,-1 0 0</inkml:trace>
  <inkml:trace contextRef="#ctx0" brushRef="#br1" timeOffset="204592.56">19791 2752 0,'13'0'31</inkml:trace>
  <inkml:trace contextRef="#ctx0" brushRef="#br1" timeOffset="205328.89">19738 2937 0,'40'-27'0,"-27"27"0,53-52 16,-53 38 0,14-12-16,-14 13 0,13-14 0,-12 1 15,-1-1-15,0 1 0,0-14 0,0 14 16,1-1-16,-14 1 0,0-1 15,0 1-15,-14-1 0,1 1 0,0-1 16,0 1-16,-14-1 0,1 14 0,-1 13 16,1-13-16,0 13 15,-14 0-15,0 13 0,14 0 0,-14 1 16,0-1-16,14 0 0,-14 14 0,14-1 16,-1 1-16,1 12 0,-1-12 15,14-1-15,-13 14 0,12-14 0,14 1 16,-13-1-16,13-13 0,0 14 0</inkml:trace>
  <inkml:trace contextRef="#ctx0" brushRef="#br1" timeOffset="208151.99">22093 2884 0,'-14'-13'15,"1"26"32,0 0-47,13 0 0,-13-13 16,0 14-16,13-1 0,-14 0 15,14 0-15,0 1 0,-13-1 0,13 0 16,0 0-16,0 0 16,0 1-1,13-14-15,14-14 16,-27 1-1,13 13-15,-13-13 0,13 13 16,-13-13-16,0 0 0,0-1 16,0 1-16,0 0 15,-13 13-15,-13 0 16,12 13-16</inkml:trace>
  <inkml:trace contextRef="#ctx0" brushRef="#br1" timeOffset="208415.81">21815 3003 0,'-13'-13'0,"-1"13"15,1 0-15,13 13 0,-13 0 16,0-13-16,0 13 0,13 1 16,-14-1-16,1 0 0</inkml:trace>
  <inkml:trace contextRef="#ctx0" brushRef="#br1" timeOffset="210380.81">23667 2222 0,'26'-13'63,"-12"13"-48,-1 0-15,0 0 0,0 0 16,1 0-16,-1 0 0,-13 13 15,13-13-15,0 0 0,0 0 16,1 14-16,-1-1 16,-26 0-1,13 0 1,-14 1-16,1-1 16,0 0-1,0 0 32,26-13-31,0 14-1,0-14-15,-13 13 16,14-13 0,-1 0-16,-13 13 15,0 0 1,-13 0-1,-1-13-15,14 14 16,-13-14-16,0 13 0,0-13 16</inkml:trace>
  <inkml:trace contextRef="#ctx0" brushRef="#br1" timeOffset="210606.84">24183 2368 0,'0'13'0,"-13"14"15,-1-14-15,1 0 0,0 0 0,0 14 16,-14-14-16,14 14 0,-13-1 15,-1 0-15,1-12 0,12 12 0,-12-13 16,13 1-16</inkml:trace>
  <inkml:trace contextRef="#ctx0" brushRef="#br1" timeOffset="210768.63">24342 2487 0,'-14'27'0,"1"-14"0,-13 0 16,13 13-16,-27 1 0,13-1 16,-12 14-16,-1 0 0,0-1 0,-13 1 15,14 0-15,-14 0 0,13-1 16</inkml:trace>
  <inkml:trace contextRef="#ctx0" brushRef="#br1" timeOffset="-211863.75">2421 7263 0,'-40'0'0,"80"0"0,-93 0 0,40 0 16,0-13-16,-1 13 16,54 0 15,-14 0-31,14 0 0,26 0 15,0-14-15,14 14 0,-1-13 16,1 0-16,12 0 0,27-1 0,0-12 16,0 13-16,14-14 0,-14 14 0,0 0 15,13 0-15,-39-1 0,-1 1 0,-12 0 16,12 13-16,-12-13 0,-14 13 16,13-14-16,-39 14 0,13 0 0,-14 0 15,-12 0-15,-1 0 0,-12 0 0,12 0 16,-13 0-16,1 0 15,-1 0-15,-26 27 16,-14-14 0,14 0-16,-14 1 0,-12-1 15,-1 13-15</inkml:trace>
  <inkml:trace contextRef="#ctx0" brushRef="#br1" timeOffset="-211269.13">2328 8096 0,'-13'0'0,"53"-13"15,-14 0 1,14 13-16,26-13 0,13-1 0,1 1 16,26 0-16,13 0 0,13-1 0,0 1 15,1 0-15,-1 0 0,0-14 16,0 14-16,-12 0 0,-28 0 15,1-1-15,-1 1 0,-12 0 16,-1 0-16,0-1 0,-12 14 0,-14-13 0,-1 13 16,-12 0-16,0-13 0,-14 13 15,1 0-15,-14 0 0,13 0 0,-12 0 16,-1 0-16,0 0 0,0 0 16,-52 0 15,25 0-31,-12 0 15,13 0-15,0 0 0,-14 0 16,14 13-16</inkml:trace>
  <inkml:trace contextRef="#ctx0" brushRef="#br1" timeOffset="-210498.84">2778 7646 0,'13'14'31,"1"-14"-31,-14 13 0,0 0 16,13 0-16,-13 1 0,0-1 0,0 0 15,13 0-15,-13 1 0,13 12 16,-13 14-16,0-27 15,0 0-15,14-13 0,-14 13 0,0 1 16,0-1-16,13-13 16</inkml:trace>
  <inkml:trace contextRef="#ctx0" brushRef="#br1" timeOffset="-210150.26">2990 7686 0,'0'-13'15,"0"0"1,0 39 15,13-13-31,-13 1 0,13-1 16,-13 0-16,13-13 0,1 13 16,-1-13-16,-13 14 0,13-14 15,0 0-15,1 0 0,-1 0 16,0-14-16,-13 1 15,13 13-15,-13-13 16,0-14 0,-13 14-16,13 0 0,-13 0 15,13-1-15,-13 14 0,13-13 16,-14 13-16,14-13 0,-13 13 16,0-13-16,0 13 15</inkml:trace>
  <inkml:trace contextRef="#ctx0" brushRef="#br1" timeOffset="-209847.06">3162 7594 0,'13'13'0,"-26"-26"0,26 39 16,-13-13-1,13-13-15,-13 13 0,13 1 16,-13-1-16,14 0 0,-1-13 15,0 13-15,0-13 16,1 0-16,-1-13 0,0 13 16,0 0-16,1-13 0,-1 13 0,0 0 15,0-13-15,0-1 16,-13 1-16,14 13 0,-14-13 0,0 0 16,0 0-16,-14 13 0,14-14 15,-13 1-15,0 0 16,0 0-16,0 13 15,-1 0-15,1 0 0,0 0 16,0 0-16,-1 13 16,14 0-1</inkml:trace>
  <inkml:trace contextRef="#ctx0" brushRef="#br1" timeOffset="-209635.25">3757 7329 0,'0'0'0,"0"13"31,0 0-31,0 1 16,0-1-16,-13 13 0,13-12 0,0-1 15,0 13-15,-13-13 0,13 14 16,-14-14-16,14 0 0,0 14 0,-13-14 15,13 0-15,0 14 0,-13-14 0,13 0 16,0 0-16,-13-13 0</inkml:trace>
  <inkml:trace contextRef="#ctx0" brushRef="#br1" timeOffset="-209503.6">3572 7594 0,'0'-14'16</inkml:trace>
  <inkml:trace contextRef="#ctx0" brushRef="#br1" timeOffset="-208254.81">3545 6297 0</inkml:trace>
  <inkml:trace contextRef="#ctx0" brushRef="#br1" timeOffset="-207852.6">3572 6959 0,'13'0'16</inkml:trace>
</inkml:ink>
</file>

<file path=ppt/ink/ink13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29:07.404"/>
    </inkml:context>
    <inkml:brush xml:id="br0">
      <inkml:brushProperty name="width" value="0.05292" units="cm"/>
      <inkml:brushProperty name="height" value="0.05292" units="cm"/>
      <inkml:brushProperty name="color" value="#0070C0"/>
    </inkml:brush>
  </inkml:definitions>
  <inkml:trace contextRef="#ctx0" brushRef="#br0">20717 2990 0,'-13'0'0,"-1"0"0,-25 39 16,12-25-16,14 12 15,-13 1-15,-1-1 0,14 1 0,-14-1 16,14 14-16,-13-14 0,13 14 15,-1-14-15,1 14 0,0-14 16,13 1-16,-13-1 0,13 14 16,0-27-16,13 0 0,-13 14 0,13-14 15,0 0-15,1-13 0,-1 14 16,13-1-16,-13-13 0,1 0 0,12 0 16,-13 0-16,14 0 0,-14 0 0,14-13 15,-14 13-15,0-14 0,13 1 0,-12 0 16,-1 0-16,0-1 0,0 1 15,-13 0-15,0 0 0,14 0 0,-14-1 16,0 1-16,0 0 0,-14 13 0,14-13 16,0-1-16,-13 14 0,13-13 0,-13 0 15,0 13-15,-1-13 16,1 13-16,0 0 0,-13 0 16,12 0-16,1 13 15,0-13-15</inkml:trace>
  <inkml:trace contextRef="#ctx0" brushRef="#br0" timeOffset="250.51">21061 3056 0,'0'40'31,"-13"-14"-15,13 1-16,-14-1 0,1 0 16,0 1-16,0 13 0,-1-14 0,1 1 15,13-1-15,-13 0 0,13 1 0,-13-14 16,0 0-16,13 14 0,0-14 16,-14 0-16,14 0 0,0 1 15,-13-14-15</inkml:trace>
  <inkml:trace contextRef="#ctx0" brushRef="#br0" timeOffset="874.64">21034 2394 0,'-291'-13'0,"212"26"0,-186 67 15,173-27-15,12 0 16,1 0-16,0 0 0,-1 13 0,14 0 15,0 13-15,13-13 0,13 14 0,1-14 16,-1 0-16,27 0 0,-14 0 16,14 0-16,13 1 0,13-1 0,1 0 15,12 0-15,14 13 0,13 1 0,0-14 16,13 0-16,0-13 0,0 0 16,0-13-16,0-1 0,0-12 15,1-1-15,-1 1 0,0-14 0,0 0 16,-13 0-16,0-13 0,0 0 0,-14-13 15,28 0-15,-1 0 0,-13-14 16,13-12-16,0 12 0,0-13 0,0-26 16,14 13-16,-1-13 0,-13 0 0,0 0 15,0-14-15,1 14 0,-1 0 16,-13 0-16,0 13 0,-14 0 0,1 0 16,-14 0-16,1 0 0,-1-13 0,-12 13 15,-14 14-15,0-14 0,-14 0 0,-12-13 16,-1 13-16,-12 0 0,-1 0 15,0 0-15,1 0 0,-14 0 0,0 14 16,-13-1-16,-14-13 0,14 13 0,0 14 16,0-1-16,0 1 15,0 13-15,-14-14 0,14 14 0,-13 13 16,-1-13-16,1 13 0,0 0 0,-1 13 16,1-13-16,-1 26 0,14-12 0,0 12 15,0 1-15,13-1 0,-13 0 16,26 14-16,0 0 0,1 0 0,12-14 15,14 14-15</inkml:trace>
  <inkml:trace contextRef="#ctx0" brushRef="#br0" timeOffset="1657.87">20770 3360 0,'-13'-26'15,"-1"26"-15,1 0 0,0 0 16,0 0-16,-1 0 0,-12 0 15,13 0-15,-14 13 0,-12 0 0,-1 0 16,13 1-16,-12-1 0,12 13 0,-12-12 16,12 12-16</inkml:trace>
  <inkml:trace contextRef="#ctx0" brushRef="#br0" timeOffset="3148.53">20942 4326 0,'0'159'32,"13"-106"-32,-13 0 15,13 13-15,-13-13 0,0 13 16,0 0-16,0-13 0,0 0 0,0 0 16,0-14-16,0 1 0,0 13 15,0-27-15,0 14 0,0-13 0,0-1 16,0-13-16,0 14 0,0-14 15,-13 0-15,13 0 0</inkml:trace>
  <inkml:trace contextRef="#ctx0" brushRef="#br0" timeOffset="3423.44">21048 4233 0,'0'0'0,"-27"14"16,14-1-16,-14 0 0,1 13 0,0 14 15,-14 0-15,13 13 0,1-14 0,-14 14 16,14-13-16,-40 66 0,39-53 15,1-14-15,13 14 16,-14-26-16,14 13 0,0-14 0,-1 0 0,14 1 16,-13-14-16,13 0 0,0 1 15</inkml:trace>
  <inkml:trace contextRef="#ctx0" brushRef="#br0" timeOffset="3663.53">20876 4220 0,'39'27'0,"160"171"31,-146-145-31,-14-13 0,1-1 16,0 1-16,-1 0 0,1-1 15,-13 1-15,12-14 0,-12 1 0,-14-1 16,13 1-16,-12-14 0,-1 0 15,0 14-15,-13-14 0,13 0 0,-13 0 16,0 1-16,0-1 16,14-13-16</inkml:trace>
  <inkml:trace contextRef="#ctx0" brushRef="#br0" timeOffset="4800.33">23508 13401 0,'13'146'16,"-13"-107"-1,-13 1-15,13 13 0,0-13 16,-13-1-16,13 1 0,0 0 15,-13-1-15,13 1 0,0 0 0,0-14 16,0 1-16,0-14 0,0 13 0,0 1 0,0-14 16,-13 0-16,13 1 0,0-1 15</inkml:trace>
  <inkml:trace contextRef="#ctx0" brushRef="#br0" timeOffset="5212.91">23376 13388 0,'13'-13'0,"0"13"16,1-14-16,12 1 0,1 13 16,12-13-16,1 0 0,13 0 15,0-14-15,13 14 0,0 0 0,0-14 16,0 14-16,0-14 0,14 14 15,-14 0-15,13 0 0,-12 0 0,12-1 16,-13 1-16,-13 0 0,0 13 0,-13 0 16,-1-13-16,1 13 0,-14 0 15,1 0-15,-14 0 0,14 0 16,-14 0-16,0 0 0,0 0 0,0 13 0,1-13 16,-1 13-16,0-13 15,-13 13-15,13 1 0,1-1 16,-14 0-16,13 0 0,13 40 15,-26-40-15,14 14 0,-1-1 0,0 1 16,13 12-16,-12-12 0,12-1 16,-13 14-16,14-13 0,-1 12 0,1 1 15,-1 0-15,1-14 0,-1 0 0,1 14 16,-1-13-16,14 12 0,-14-12 16,1-1-16,-1 1 0,1-1 0</inkml:trace>
  <inkml:trace contextRef="#ctx0" brushRef="#br0" timeOffset="5378.31">25374 13864 0,'-67'291'0,"28"-278"15,-14 1-15,13-1 0,-26 0 0,13 0 16,-13 1-16,0-1 0,0 0 0,-14 0 15</inkml:trace>
</inkml:ink>
</file>

<file path=ppt/ink/ink13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1:36:50.447"/>
    </inkml:context>
    <inkml:brush xml:id="br0">
      <inkml:brushProperty name="width" value="0.05292" units="cm"/>
      <inkml:brushProperty name="height" value="0.05292" units="cm"/>
      <inkml:brushProperty name="color" value="#0070C0"/>
    </inkml:brush>
  </inkml:definitions>
  <inkml:trace contextRef="#ctx0" brushRef="#br0">19447 6720 0,'0'27'31,"-13"-27"-15,13 13-16,0 0 0,0 1 16,0-1-16,0 0 0,0 0 15,-14 0-15,14 14 16,0-14-1,0-39 17,0 12-17,0 1-15,0-13 0,0 13 0,0-1 16,0 1-16,14 0 0,-14 0 16,0-1-16,0 1 0,0 0 15,26 26 16,-26 0-31,13 1 16,-13-1-16,0 0 16,14 0-16,-14 1 15,13-14-15,-13 13 16,13-40 0,0 27-16,-13-13 0,0 0 15,13 0-15,-13-1 0,14-12 16,-14 13-16,0 0 0,13-1 0,-13-12 15,13 26-15,0-13 0,-13-1 0,14 14 16,-14-13-16,13 13 0,-13 13 16,13 1-16,0-1 15,-13 13-15,0-12 0,14-1 0,-14 13 16,0-13-16,0 14 0,13-14 0,-13 14 16,0-14-16,0 13 0,13-13 15,-13 1-15,0-1 0,0 0 0,0 0 16,13 1-16,0-1 15,1-13-15</inkml:trace>
  <inkml:trace contextRef="#ctx0" brushRef="#br0" timeOffset="619.79">19857 6959 0,'26'-14'16,"-26"1"-16,14 13 15,-14-13-15,13 0 0,-13-1 16,13 1-16,-13 0 0,0 0 16,0-1-16,0 1 0,0 0 15,0 0-15,0-14 16,-13 14-1,0 13 1,-1 13 0,1 1-16,13-1 15,-13 0-15,13 0 0,0 0 16,0 1-16,13-1 0,-13 0 16,0 0-16,13 1 0,-13-1 15,14-13-15,-1 13 0,0 0 16,0-13-16,1 0 0,-1 0 15,0 0-15,0 0 0,0 0 0</inkml:trace>
  <inkml:trace contextRef="#ctx0" brushRef="#br0" timeOffset="1468.98">20254 6734 0,'-93'145'157,"133"-198"-157,-27 40 0,-13 0 15,13 0 1,-13-1-1,-13 41 32,13-14-31,0 0-16,0 0 16,13 1-1,-13-1-15,0 0 31,14 0-15,-1-26 0,0 13-1,-13-13 1,13 13-16,-13-13 0,14 13 0,-1-14 16,-13 1-16,13 13 15,0-13-15,0 13 16,1 0-1,-1 0-15,0 0 16,0 0 0,-13 13-1,14 0 1,-1 1 15,0-28 16,0 1-16,1 13-31,-1 0 16,0 0 0,0 0-16,0 13 15,1-13 1</inkml:trace>
  <inkml:trace contextRef="#ctx0" brushRef="#br0" timeOffset="1792.49">20862 6760 0,'27'-13'16,"-14"13"-16,0 0 16,1-13-16,-1 13 0,0 0 0,0 0 15,0 0-15,1 0 0</inkml:trace>
  <inkml:trace contextRef="#ctx0" brushRef="#br0" timeOffset="1991.7">20929 6866 0,'39'-13'32,"-26"-1"-17,1 14-15,-1 0 0,0 0 16,0 0-16,1-13 15,-1 13-15,0 0 0</inkml:trace>
  <inkml:trace contextRef="#ctx0" brushRef="#br0" timeOffset="2672.61">21616 6575 0,'-13'26'15,"13"-12"-15,0-1 0,0 0 0,0 0 16,-13 1-16,13-1 0,0 13 15,0-13-15,0 14 0,0-14 0,0 0 16,0 1-16,0-1 0,0 0 0,0 0 16,0 0-1,13-13-15,-13-26 32,0 13-32,0 0 15,0-14-15,0 1 0,13-14 0,-13 0 0,0 1 16,14-1-16,-14 0 0,0 14 0,13-27 15,-13 40-15,13-14 16,-13 14-16,13 0 0,-13-1 16,0 1-16,14 13 0,-1 0 15,0 0-15,-13 13 16,13-13-16,1 14 0,-1-1 16,0 13-16,-13-12 0,13 12 0,0-13 15,1 14-15,-14-1 0,0-13 0,13 1 16,-13 12-16,13-13 0,-13 1 15,0 12-15,0-13 0,13 1 0,-13-1 16,0 0-16,0 0 0,0 0 16,0 1-16,0-1 15,0 0-15</inkml:trace>
  <inkml:trace contextRef="#ctx0" brushRef="#br0" timeOffset="2916.57">21497 6734 0,'-13'0'0,"66"-27"31,-40 27-31,1 0 0,12 0 15,-13-13-15,14 13 0,-1 0 0,1-13 16,-1 13-16,-13 0 0,14-13 0,-1 13 16,1 0-16,-14 0 0,13 0 0,-12-14 15,-1 14-15,0 0 0</inkml:trace>
  <inkml:trace contextRef="#ctx0" brushRef="#br0" timeOffset="3249.56">22027 6601 0,'0'14'31,"13"-1"-31,-13 0 16,0 0-16,13 1 15,-13-1-15,13-13 16,-13 13-16,13-13 16,1-13-1,-14 0 1,13-1-16,-13 1 0,0 0 16,13 13-16,-13-13 0,0-1 0,0 1 15,13 0-15,-13 0 16,14-1-16,-14 1 0,13 13 0,0-13 15</inkml:trace>
  <inkml:trace contextRef="#ctx0" brushRef="#br0" timeOffset="3633.38">22410 6456 0,'-66'13'32,"66"0"-32,-13-13 0,13 14 0,-13-14 15,13 13-15,0 0 0,0 0 16,13 0-16,-13 1 0,0-1 16,0 0-16,13 0 0,-13 1 0,0-1 15,13 13-15,-13-12 0,0-1 0,-13 0 16,13 0-16,0 0 15,-13 1-15,0-1 0,-1 0 16,1 0-16,0-13 16,0-13-1,13 0-15,13 0 16,-13-14-16,13 14 0,0-27 0,1 14 16,12-1-16,-13 1 0,14-1 0,-1 14 15,-13 0-15,1 0 0,12 0 16,-13-1-16,1 14 0,-1-13 0,0 13 15,0 13-15</inkml:trace>
  <inkml:trace contextRef="#ctx0" brushRef="#br0" timeOffset="3887.9">20518 7342 0,'252'-119'31,"-160"79"-31,14 1 0,0 12 16,0-12-16,0-1 0,0 13 0,-1-12 15,1 12-15,-26 1 0,-1 13 0,0-14 16,-12 14-16,-1 0 0,-27-1 0,14 1 15,-26 13-15,12-13 0,-12 13 16,-14 0-16,0 0 0,1 0 0</inkml:trace>
  <inkml:trace contextRef="#ctx0" brushRef="#br0" timeOffset="4163.79">20743 7302 0,'106'-39'0,"185"-54"31,-185 67-31,0-1 0,0 1 0,0-1 16,52-26-16,-78 40 0,-1-13 15,53-1-15,-66 1 16,1 13-16,-28 13 0,1-14 15,0 1-15,-1 13 0,-25-13 0,12 13 16,-13-13-16,1 13 0,-1 0 0,0 0 16,0 0-1</inkml:trace>
  <inkml:trace contextRef="#ctx0" brushRef="#br0" timeOffset="140397.19">7501 2858 0,'0'-14'0,"0"28"0,0-41 0,-13 27 15,-1 13 17,14 14-32,0-1 15,0 14-15,0 0 0,0 12 16,14-12-16,-14 26 0,13 0 0,-13 1 16,13-1-16,-13-13 0,0 13 0,13-27 15,-13 14-15,14-13 16,-14 0-16,0-1 0,13-12 0,-13-1 15,0 1-15,0-14 0,13 14 0,-13-14 16,0 0-16</inkml:trace>
  <inkml:trace contextRef="#ctx0" brushRef="#br0" timeOffset="142454.66">7422 2659 0,'0'0'0,"13"0"0,-13-13 0,13 13 0,0 0 16,0-13-16,14 13 0,-14 0 0,14-14 15,12 14-15,1-13 16,13 13-16,0-13 0,-13 13 0,26-13 16,0-1-16,0 1 0,0 13 0,13-13 15,1 0-15,-1 0 0,14-1 16,-1 1-16,-12 0 0,12 0 0,1 13 15,0-14-15,-1 1 0,14 0 0,-13 0 16,-1 13-16,1-14 0,-1 1 16,1 13-16,0-13 0,-1 13 0,1-13 15,-14 0-15,14 13 0,-14-14 0,14 14 16,-14-13-16,1 0 0,12 13 16,1-13-16,-14-1 0,14 1 15,-1 13-15,-12-13 0,12 0 0,1-1 16,0 1-16,-1 13 0,1-13 0,13 0 15,-14 0-15,1-1 0,13 14 16,-14-13-16,1 0 0,-1 0 0,14 13 16,-13-14-16,0 14 0,-1-13 0,1 0 15,-1 13-15,1-13 0,0 13 16,-14-13-16,14 13 0,-14-14 0,14 14 16,-14-13-16,0 13 0,1-13 0,-1 13 15,0-13-15,-12 13 0,12-14 16,0 14-16,-13 0 0,14-13 0,-14 13 15,-13 0-15,13-13 0,-13 13 16,13 0-16,-13 0 0,13 0 0,-13-13 16,13 13-16,-13 0 0,0 0 15,0 0-15,13 0 0,-26 0 0,13 0 16,-14 0-16,1-14 0,-13 14 0,-1 0 16,0 0-16,1 0 0,-14 0 15,0 0-15,1 0 0,-1 0 0,0 0 16,0 0-16,0 0 0,1 0 15,-1 0-15,0 14 16,0-14 0,1 13-16,-14 0 15,13 0-15,-13 1 0,13-1 16,-13 13-16,13 1 0,1-1 16,-14 14-16,13 0 0,-13-1 0,13 1 15,-13 0-15,13 13 0,-13-14 0,0 14 16,0 0-16,0 0 0,0-13 15,0 13-15,0 0 0,0-14 0,13 14 16,-13-13-16,0 0 0,0-1 0,14 1 16,-14 0-16,0-1 0,13-12 15,-13-1-15,0 1 0,13-1 0,-13 1 16,13-14-16,-13 13 0,0-13 0,0 14 16,14-14-16,-14 0 0,0 14 15,0-14-15,0 0 0,13-13 16,-13 14-16,0-1 0,0 0 15,0 0-15,0 0 16,-13 1 0,-1-1-1,1-13-15,0 0 16,0 0-16,-1 0 16,1 0-16,-13 13 0,-1-13 0,1 0 15,-14 13-15,0 1 0,-12-14 0,-1 13 16,0 0-16,0 0 0,-13 0 0,0-13 15,26 14-15,-26-1 16,-67 0-16,67 0 0,0 1 16,0-1-16,0 0 0,0-13 0,0 13 15,13 1-15,-14-14 0,-12 13 16,13-13-16,0 13 0,-14-13 0,14 13 16,-13 0-16,13-13 0,-14 14 0,14-14 15,-13 13-15,13 0 0,-14-13 16,14 13-16,-13-13 0,13 14 0,0-14 15,-1 0-15,14 13 0,-26-13 16,13 13-16,0-13 0,13 13 0,-13-13 16,13 14-16,-13-14 0,13 13 15,-13-13-15,13 13 0,0-13 0,-13 13 16,13-13-16,0 13 0,0 1 0,0-14 16,-13 13-16,13-13 0,0 13 15,0-13-15,0 13 0,0-13 0,0 14 16,0-1-16,0-13 0,14 13 0,-14-13 15,0 13-15,0-13 0,0 14 16,0-14-16,0 13 0,14-13 0,-14 13 16,0 0-16,13-13 0,-13 13 0,0-13 15,14 14-15,-14-1 0,13-13 16,0 0-16,-13 13 0,14-13 16,-14 13-16,13 1 0,-13-14 0,13 13 15,-12-13-15,12 13 0,0-13 0,-13 0 16,14 13-16,12-13 0,-13 0 15,14 14-15,-14-14 0,1 0 0,-1 0 16,-13 13-16,13-13 0,14 0 0,-1 0 16,-12 0-16,-1 0 0,14 13 15,-14-13-15,13 0 0,-12 0 0,12 0 16,-26 0-16,14 0 0,12 0 0,1 0 16,-14 0-16,14 13 0,-14-13 15,13 0-15,-12 0 0,12 0 0,-12 0 16,12 0-16,-13 0 0,14 0 0,0 13 15,-14-13-15,27 0 0,-14 0 16,1 0-16,-1 0 0,1 0 16,13 0-16,-14 0 0,14 0 0,-14 0 15,14 0-15,0 0 0,0 0 0,0 0 16,-1 0-16,1 0 0,0 0 16,0 0-16,-1 14 0,1-14 15,0 0-15,0-14 0,-1 14 16,1 0-16,0 0 31,0 0-31,0 0 16,-1 0 15,1 0-15,0 0-1,0 0 1,-1 0-16,1-13 0,0 13 15,0 0-15,-1 0 0,-12 0 16,13 0-16,0-13 0,-1 13 0,1 0 16,0 0-16,0-13 0,-14 13 15,14-13-15,-13 13 0,12-14 0,1 14 16,0-13-16,-14 0 0,14 13 16,0-13-16,0 13 0,-1-14 15,1 1-15,0 0 0,-13 13 0,12-13 16,1-1-16,0 1 0,0 0 0,-1 0 15,1 0-15,0-1 0,0-12 16,13 13-16,-14 13 0,1-14 16,0-12-16,13 13 0,-13-1 0,13 1 0,-13 0 15,13 0-15,-14 0 0,14-1 16,-13 1-16,13 0 0,0 0 16,0-1-16,0 1 0</inkml:trace>
  <inkml:trace contextRef="#ctx0" brushRef="#br0" timeOffset="143925.1">13851 3029 0,'-13'0'0,"13"-13"16,0 0-1,0 0-15,0 0 16,13-1-16,0 14 0,-13-13 0,13 13 16,1-13-16,-1 13 15,0 0-15,0 0 0,1 0 16,-1 0-16,-13 13 0,13-13 16,-13 13-16,0 1 0,0-1 15,0 0-15,0 0 0,0 0 0,0 14 16,-13-14-16,13 0 0,0 14 0,-13-14 15,13 0-15,-14 14 0,14-14 16,0 0-16,-13 0 0,13 14 16,0-14-16,0 0 0,-13 1 0,13-1 0,13 0 15,-13 0-15,0 1 16</inkml:trace>
  <inkml:trace contextRef="#ctx0" brushRef="#br0" timeOffset="144099.19">13957 3440 0,'-13'0'32</inkml:trace>
  <inkml:trace contextRef="#ctx0" brushRef="#br0" timeOffset="154291.31">7911 4749 0,'-13'-13'0,"53"13"47,-27 0-47,0 0 16,13 0-16,-12 0 15,-1 0-15,0 0 16,0 0-16,1 0 15,-54 0 17,27 0-17,-1 0-15,1 0 16,0 13-16,0-13 0,0 0 16,-1 0-16,1 0 31,40-13 0,-14 13-31,0 0 0,0 0 16,0 0-1,-52 0 48,26 0-48,-1 0 1,1-13 15,13 26 63,0 0 62,13-13-156</inkml:trace>
  <inkml:trace contextRef="#ctx0" brushRef="#br0" timeOffset="156802.62">6522 4207 0,'13'26'47,"-13"1"-47,13-14 0,-13 0 0,14 14 16,-14-1-16,13 14 0,-13-14 15,13 14-15,-13 0 0,13-14 0,-13 1 16,0-1-16,14 1 0,-14-1 0,0 0 15,13 1-15,-13-1 0,0-12 16,0 12-16,0-13 0,0 0 0,0 1 16,0-1-16,13 0 0,-13 0 15</inkml:trace>
  <inkml:trace contextRef="#ctx0" brushRef="#br0" timeOffset="158680.97">6522 4180 0,'13'-13'16,"0"13"-16,1 0 15,-1 0 1,0 0-16,0 0 0,1-13 0,-1 13 0,0 0 16,0 0-16,1 0 0,12 0 15,-13 0-15,14 0 0,-14 0 16,13 0-16,1 0 0,-1 0 0,-13-13 16,27 13-16,-27 0 0,14 0 15,-1-13-15,1 13 0,-1 0 0,1 0 16,-1 0-16,1 0 0,-1 0 0,1 0 15,-1 0-15,0 0 0,-12 0 16,12-14-16,1 14 0,-1 0 0,-13 0 16,14 0-16,-1 0 0,-13 0 0,14 0 15,-1 0-15,-12 0 16,12 0-16,-13 0 0,14-13 0,-1 13 16,1 0-16,-14 0 0,0 0 15,0 0-15,14 0 0,-14-13 16,0 13-16,0 0 0,1 0 15,-1-13-15,0 13 0,0 0 16,1 0-16,-1-14 16,0 14-1,0 0-15,1 0 32,-1 0-32,0-13 15,0 26 32,0 1-16,-13-1-15,0 0 0,0 0-16,14-13 0,-14 14 15,0-1-15,0 0 0,0 0 16,13 0-16,-13 1 15,0-1-15,13 0 0,-13 0 0,0 1 16,13-1-16,-13 0 0,0 0 16,0 0-16,0 1 0,0-1 15,14-13-15,-14 13 0,0 0 16,0 1-16,0-1 0,0 0 16,0 0-16,13-13 0,-13 14 15,0-1-15,0 0 0,0 0 16,0 0-16,0 1 15,0-1-15,0 0 16,0 0-16,0 1 16,13-1-16,-13 0 0,-13 0 15,13 1 1,0-1-16,0 0 16,0 0-1,0 0 1,0 1-1,0-1 1,0 0 15,-13-13 1,-14 0-17,14 0 1,0 0-1,-1 0-15,-12 0 16,13 0-16,0 0 0,-1 13 16,1-13-16,0 0 0,0 0 15,-14 0-15,14 0 0,-14 14 0,14-14 16,-13 0-16,-1 13 0,14-13 16,-13 0-16,12 0 0,-12 0 0,13 13 15,-14-13-15,14 0 0,-13 0 0,12 0 16,-12 13-16,13-13 0,-1 0 0,-12 0 15,13 0-15,-14 0 0,14 13 16,-13-13-16,12 0 0,-12 0 16,-1 14-16,14-14 0,-13 0 0,13 0 15,-14 13-15,14-13 0,-14 0 0,14 0 16,0 13-16,0-13 0,-1 0 16,1 0-16,0 0 0,0 0 0,0 13 15,-1-13-15,1 0 0,0 0 0,0 0 16,-1 14-16,1-14 15,0 0-15,0 0 16,-1 0-16,1 13 16,0-13-1,0 0-15,0 0 16,-1 0 0,1 0-1,0 0 1,0 0-1,-1 0 32,1 0-31,0 0 0,0 0 15,0 0 0,-1 0-15,1 0 62,0 0-31</inkml:trace>
  <inkml:trace contextRef="#ctx0" brushRef="#br0" timeOffset="159661.1">8030 4908 0,'0'13'47,"0"0"-47,0 1 16,0-1-16,0 0 0,0 0 15,0 14-15,0-14 0,0 0 16,13 1-16,-13-1 0,0 0 0,0 0 15,0 0-15,0 1 0,0-1 0,14-13 16,-14 13-16,0 0 0,0 1 16</inkml:trace>
  <inkml:trace contextRef="#ctx0" brushRef="#br0" timeOffset="159985.96">7990 4948 0,'-26'13'15,"13"0"1,0 0 0,13 1-16,-14-14 15,14 13-15,0 0 16,-13 0-16,0 1 16,13-1-1,-13-13 1</inkml:trace>
  <inkml:trace contextRef="#ctx0" brushRef="#br0" timeOffset="160381.1">8004 4895 0,'13'13'16,"0"-13"0,0 0-16,-13 13 0,14-13 0,-1 13 15,0-13-15,0 14 16,0-14-16,1 0 15,-1 13-15,0-13 16,0 13-16,1 0 31,-1-13-15,-13 14 46,13-1-46</inkml:trace>
  <inkml:trace contextRef="#ctx0" brushRef="#br0" timeOffset="165658.87">16470 4736 0,'0'-13'16,"-13"13"0,0 13-16,0 0 15,13 0 1,-14-13-16,14 14 0,-13-14 0,13 13 16,0 0-16,-13-13 0,13 13 0,-13 1 15,13-1-15,-14-13 0,14 13 16,-13 0-16,13 1 0,-13-14 15,0 13-15,13 0 16,-13 0 0,13 0-1,-14-13 17,14 14 108,14-28 79,-14 1-188,13 13-15</inkml:trace>
  <inkml:trace contextRef="#ctx0" brushRef="#br0" timeOffset="168460.98">16999 4736 0,'-13'26'109,"0"-12"-93,0-1-16,13 0 15,-13-13-15,13 13 0,0 1 16,-14-1-16,1 0 0,0 0 16,13 1-16,-13-14 0,13 13 15,-14 0-15,14 0 16,-13-13 0,13 13-16,-13 1 15,13-1 32,0-26 266,13-1-298</inkml:trace>
  <inkml:trace contextRef="#ctx0" brushRef="#br0" timeOffset="170782.17">17952 4749 0,'-13'27'78,"13"-14"-63,-13 0-15,13 0 16,-14-13-16,14 14 0,0-1 16,-13 0-16,13 0 0,-13-13 0,13 14 15,-13-1-15,13 0 0,-14 0 16,14 0-16,-13-13 15,13 14-15,0-1 16,-13-13-16,13 13 31,0 0 1</inkml:trace>
  <inkml:trace contextRef="#ctx0" brushRef="#br0" timeOffset="173824.27">952 6112 0,'40'0'0,"13"-13"16,-26 13 0,-14 0-16,13 0 0,1 0 0,-14 0 15,13 0-15,1 0 0,-14 0 0,0-14 16,14 14-16,-14 0 0,0 0 16,0 0-16,1 0 0,-1 0 0</inkml:trace>
  <inkml:trace contextRef="#ctx0" brushRef="#br0" timeOffset="174041.19">979 6257 0,'53'0'16,"-40"0"-16,14 0 15,-14-13-15,13 13 0,-13 0 16,14-13-16,-14 13 0,14 0 0,-14-13 16,13 13-16,-12 0 0,-1 0 0,0 0 15,0-14-15</inkml:trace>
  <inkml:trace contextRef="#ctx0" brushRef="#br0" timeOffset="174929.21">701 5768 0,'-13'13'15,"13"0"-15,0 1 16,0-1-16,0 0 15,0 0-15,0 1 0,0-1 0,0 0 16,13 0-16,-13 0 0,0 1 16,0-1-1,0 0-15,13-13 16,-13 13 0,-13-39 15,13 13-31,0-1 0,-13 1 15,13-13-15,-13 13 0,13-14 16,0 14-16,-14-14 0,14 14 0,0-13 16,-13 12-16,13 1 0,0 0 0,0 0 15,0 0-15,0-1 16,13 14-16,-13-13 0,14 13 16,-1 13-16,0 1 15,0-1-15,1 0 16,-14 0-16,13 0 0,0 14 0,0-14 15,1 0-15,-1 1 0,-13-1 0,13 0 16,-13 14-16,13-14 0,0 0 16,-13 0-16,14-13 0,-14 13 0,0 1 15,13-14-15,-13 13 0,13 0 16</inkml:trace>
  <inkml:trace contextRef="#ctx0" brushRef="#br0" timeOffset="175145.16">648 5966 0,'13'-26'16,"1"26"-16,-14-13 0,13 13 15,0-14-15,0 14 0,1-13 0,-1 0 16,0 13-16,14-13 0,-14 0 16</inkml:trace>
  <inkml:trace contextRef="#ctx0" brushRef="#br0" timeOffset="175952.23">1045 5543 0,'0'26'31,"13"-12"-31,-13-1 16,0 0-16,0 0 0,14 1 0,-14-1 15,0 13-15,13-12 0,-13-1 16,0 0-16,26 53 31,-26-53-31,13-13 0,-13 14 16,-13-14 15,-13 0-15,13 0-16,-1 0 15,-12 0 1,13 0-16,-1 0 0,1 0 15,13 13-15,-13-13 0,13 13 16,-13-13-16,13 13 0,0 1 16,-14-1-16,14 0 15,14 0 1,-1 0 0,0-13-1,-13-13-15,13 13 0,-13-13 16,14 0-16,-14 0 15,13 13-15,-13-14 0,0 1 16,13 13-16,-13-13 0,13 13 0,-13-13 16,14 13-1,-1-14-15,0 14 16,0 0-16,0 0 16,-13 14-16,14-14 0,-1 13 15,0 0 1,0-13 15,-13-13 0,0 0-31,14 13 0,-14-14 16,0 1-16,0 0 16,0 0-16,0-1 0,13 14 15,-13-13-15,13 0 0,0 0 16,1 13-1,-1 0 1,0 0-16,-13 13 0,13-13 16,0 13-16,-13 0 15,14 1-15,-1-1 16,-13 0-16,13 0 16</inkml:trace>
  <inkml:trace contextRef="#ctx0" brushRef="#br0" timeOffset="176106.1">1270 5569 0,'-13'0'0</inkml:trace>
  <inkml:trace contextRef="#ctx0" brushRef="#br0" timeOffset="176939.54">1535 5583 0,'-14'0'15,"1"13"-15,0-13 0,13 13 16,-13-13-16,13 13 0,-14 1 0,14-1 15,-13 0-15,13 0 16,0 1-16,0-1 0,0 0 16,0 0-16,0 0 15,0 1-15,0-1 16,0 0-16,13-13 0,1 0 16,-1 0-1,0-13 1,-13 0-16,13-1 15,-13 1 1,0 0-16,0 0 0,0 0 16,0-1-16,0 1 15,0 0 1,0 0 0,14 39 30,-14-13-30,13 1 0,0-14-1,0 0 1,1 0 0,-14-14-1,13 14-15,0 0 16,0 0-1,0 0 1,1 0-16,-1 0 31,0 0-15,-13-13 15,13 13-15,1-13 15,-1 13-15,0 0-1,-13-13-15,26 13 16,-26 13-16,14-13 16</inkml:trace>
  <inkml:trace contextRef="#ctx0" brushRef="#br0" timeOffset="178812.97">10623 6218 0,'0'-14'31,"13"14"-31,0 0 0,14 0 15,-14-13-15,0 13 0,14 0 0,-1 0 16,1-13-16,-1 13 0,1 0 16,-1 0-16,1 0 0,-1 0 0,14 0 15,-14 0-15,1 0 0,-1 0 16,-13 0-16,14 0 0,-1 0 16,1 0-16,-14 0 0,0 0 0,0 0 15,1 13-15,-1-13 0,0 0 0,0 0 16,1 13-16,-1-13 0,-13 14 15,13-14-15,-13 13 0,13 0 0,-13 0 16,13 1-16,-13-1 0,0 13 16,14-12-16,-14-1 0,0 0 15,0 13-15,0-12 0,0 12 0,0 1 16,13-1-16,-13 1 0,0-1 0,0 0 16,0 1-16,13 13 15,-13-1-15,0 1 0,0 0 0,13-1 16,-13 1-16,0-14 0,14 14 0,-14 0 15,0-14-15,13 14 0,-13-14 16,0 14-16,0 0 0,13-14 0,-13 14 16,0 0-16,0-1 0,0-12 0,0 12 15,0 1-15,0-13 0,0 12 16,0-12-16,0 12 0,-13 1 0,13 0 16,0 0-16,0-14 0,0 0 0,0 14 15,0 0-15,0 0 0,0-1 0,0-12 16,0-1-16,0 14 0,13 0 15,-13-1-15,0 1 0,0 0 16,0-1-16,0 1 0,13-14 0,-13 1 16,0 13-16,0-14 15,14 14-15,-14-14 0,0 1 0,0-1 0,0 1 16,13-1-16,-13 0 0,0 1 0,0-14 16,13 14-16,-13-1 0,0-13 15,0 14-15,0-14 0,13 13 16,-13-12-16,0-1 0,0 0 0,0 0 15,0 1-15,0-1 0,0 0 16,0 0-16,13 0 16,-13 1-1,-13-14 1,13 13 0,-13 0-1,0-13-15,0 0 0,13 13 0,-27-13 16,14 14-16,-14-14 0,-12 13 15,-67 13-15,40 1 0,0-14 16,-14 13-16,-12 1 0,-27 13 0,13-14 16,0 1-16,-13 12 0,-13 1 15,12-14-15,1 1 0,0 13 16,0-14-16,0 14 0,0-14 0,13 14 16,0-14-16</inkml:trace>
  <inkml:trace contextRef="#ctx0" brushRef="#br0" timeOffset="180756.19">1971 6879 0,'13'0'16,"1"0"-16,12 0 0,1-13 0,-1 13 16,14 0-16,-1-13 0,14 13 15,-13 0-15,13-14 0,0 14 16,-14 0-16,14 0 0,-13-13 0,0 13 16,-1 0-16,-12 0 0,13 0 15,-14 0-15,1 0 0,-1 0 0,-13 0 16,14 0-16,-14 0 0,0 0 0,14 0 15,-14 0-15,0 0 16,0 0-16</inkml:trace>
  <inkml:trace contextRef="#ctx0" brushRef="#br0" timeOffset="181057.17">2328 6998 0,'40'13'31,"-14"-13"-31,-12 0 0,12 0 0,14 0 16,-14-13-16,1 13 0,26 0 16,-14 0-16,1-13 0,0 13 0,-14 0 15,14-13-15,-14 13 0,1-13 0,-1 13 16,-12 0-16,12 0 15,-13-14-15,14 14 0,-14 0 0,0 0 16,0 0-16,1-13 0,-1 13 16,0 0-1,0 0 1</inkml:trace>
  <inkml:trace contextRef="#ctx0" brushRef="#br0" timeOffset="182941.55">9221 6972 0,'39'0'32,"-25"-13"-17,12 13-15,1 0 0,-1 0 0,14 0 16,-1-14-16,14 14 0,-13 0 0,26 0 15,-13-13-15,0 13 0,0 0 16,13 0-16,-13 0 0,0 0 0,0 0 16,-14 0-16,-12 0 0,13 0 0,-14 0 15,1 0-15,-1 0 0,-13 0 16,14 0-16,-14 0 0,0 0 0,0 0 16</inkml:trace>
  <inkml:trace contextRef="#ctx0" brushRef="#br0" timeOffset="183384.55">9776 7038 0,'40'0'0,"-14"0"15,1 0-15,-14 0 0,14 0 0,-1 0 16,14-13-16,-14 13 0,14 0 16,0-14-16,-1 14 0,1 0 0,0-13 15,-14 13-15,1 0 0,-1-13 16,1 13-16,-14 0 0,13 0 0,-13 0 16,1 0-16,-1-13 0,0 13 15,0 0-15,1 0 0,-1 0 16,0-13-1,0 13 1,1 0 0,-1 0 31</inkml:trace>
  <inkml:trace contextRef="#ctx0" brushRef="#br0" timeOffset="184533.46">2302 7607 0,'40'-13'15,"-27"13"1,0 0-16,13 0 0,27 0 16,-13 0-16,0 0 0,-1 0 15,1-14-15,-13 14 0,12 0 0,-12 0 16,12 0-16,-12 0 0,-1 0 15,14 0-15,-27 0 0,14 0 16,-1 0-16,-13 0 0,1 0 0,-1 0 16,0 0-16,0 0 0,1 0 15</inkml:trace>
  <inkml:trace contextRef="#ctx0" brushRef="#br0" timeOffset="184925.76">2500 7752 0,'40'14'15,"-27"-28"-15,93 14 31,-79 0-31,-1-13 0,14 13 0,-14 0 0,27 0 16,-26-13-16,-14 13 0,13 0 16,1 0-16,-14 0 0,0 0 15,0 0-15,1-13 0,-1 13 0,0 0 16,0 0-16,0 0 16,1 0-16,-1 0 15,0 0 1,0 0-1,1 0 17,-1 0-17,0 0-15,0 0 16</inkml:trace>
  <inkml:trace contextRef="#ctx0" brushRef="#br0" timeOffset="185732.92">4829 7607 0,'26'0'31,"-13"0"-31,14 0 0,-14 0 16,13 0-16,14 0 0,-13 0 0,12 0 16,14 0-16,-13 0 0,13-13 0,-13 13 15,-1 0-15,-12 0 0,12 0 16,-12 0-16,-1-14 0,1 14 0,-1 0 16,1 0-16,-1 0 0,-13 0 0,1-13 15,12 13-15,-13 0 0,0 0 16,14 0-16,-14 0 0,0 0 0,1 0 15</inkml:trace>
  <inkml:trace contextRef="#ctx0" brushRef="#br0" timeOffset="186573.21">6694 7514 0,'26'0'62,"-12"0"-62,-1 13 16,13-13-16,1 0 0,-1 0 0,1 0 15,26 0-15,0 14 0,-1-14 0,-12 0 16,13 0-16,13 0 0,-26 0 16,13-14-16,0 14 0,0 0 0,0-13 15,-14 13-15,1 0 0,-14 0 0,1-13 16,13 13-16,-27 0 0,13 0 16,1 0-16,-14 0 0,0 0 0,14 0 15,-14 0-15,-13-13 0,13 13 16,0 0-16,1 0 0,-1 0 15,-40 13 48,14-13-47,0 0-16</inkml:trace>
  <inkml:trace contextRef="#ctx0" brushRef="#br0" timeOffset="187117.29">7210 7607 0,'79'0'31,"-66"0"-31,14 0 0,-14 0 16,14 0-16,-1 0 0,1 0 15,-1 0-15,-13 0 0,14-13 0,-1 13 16,1 0-16,-1 0 0,-13 0 15,14 0-15,-14 0 0,13 0 0,-12 0 16,-1 0-16,0 0 0,0 0 0,1 0 16,-1 0-16,0-14 0,0 14 15,1 0-15,-1 0 0,0 0 16,0 0 0,0 0-1,1 0 1,-41-13 124,14 26-140</inkml:trace>
  <inkml:trace contextRef="#ctx0" brushRef="#br0" timeOffset="188701.09">2394 8109 0,'265'-52'31,"-225"52"-31,-1 0 0,-12 0 0,13 0 0,-14-14 16,14 14-16,-14 0 16,1 0-16,-1 0 0,-13 0 0,14 0 15,-14 0-15,0 0 0,14 0 0,-14 0 16,0 14-16,0-14 16,1 0-16</inkml:trace>
  <inkml:trace contextRef="#ctx0" brushRef="#br0" timeOffset="189062.34">2633 8162 0,'66'0'15,"-53"0"1,13 0-16,1 0 0,-1 0 0,14 0 16,-13 0-16,12 0 0,1 0 15,-14 0-15,40 0 0,-26 0 16,-13 0-16,-1 0 0,1 0 0,-1 0 16,0 0-16,-12 0 15,-1 0-15,0 0 0,14 0 0,-14 0 16,0 0-16,0 0 0,1 0 15,-1 0 1,0 0-16,0 0 16,0 0 15</inkml:trace>
  <inkml:trace contextRef="#ctx0" brushRef="#br0" timeOffset="190593.4">6509 8149 0,'-13'0'0,"39"13"46,-13-13-30,0 0-16,14 0 0,-14 0 16,0 0-16,14 0 0,-1 0 0,-12 0 15,12 0-15,-13 0 0,14 0 16,-14 0-16,13 0 0,-12 0 0,-1 0 16,0 0-16,13 0 0,-12 0 0,-1 0 15,0 0-15</inkml:trace>
  <inkml:trace contextRef="#ctx0" brushRef="#br0" timeOffset="191014.08">6522 8268 0,'53'0'16,"-27"0"-1,-12 0-15,12 0 0,1-13 0,-1 13 16,0 0-16,1-13 0,-1 13 0,1 0 16,-1-13-16,1 13 15,-14 0-15,13-14 0,-12 14 0,-1 0 16,0 0-16,0 0 0,1 0 0,-1 0 15,0-13-15,0 13 16,0 0-16,1 0 16,-1 0-1,0 0 1</inkml:trace>
  <inkml:trace contextRef="#ctx0" brushRef="#br0" timeOffset="193378.12">2368 8811 0,'-13'0'0,"39"0"31,-13-14-31,14 14 15,-14 0-15,14-13 0,-1 13 16,1-13-16,12 13 0,14-13 16,-13 13-16,0-14 0,-1 14 0,1-13 0,-14 13 15,1 0-15,-1 0 0,1-13 16,-1 13-16,1 0 0,-14 0 0,13 0 16,-12 0-16,-1 0 0,0 0 15,0 0-15,0 0 0,1 0 16,-1 0-16,-26 13 31</inkml:trace>
  <inkml:trace contextRef="#ctx0" brushRef="#br0" timeOffset="193800.51">2355 9088 0,'39'0'31,"-12"-13"-31,-1 13 0,1 0 0,13-13 16,-1 13-16,1-13 0,13 0 15,-13 13-15,12-14 0,-12 1 0,40 0 16,-41 0-16,-12 13 0,-1 0 15,1-14-15,-1 14 0,-13 0 16,14 0-16,-14-13 0,0 13 0,0 0 16,1 0-16,-1 0 0,0 0 15,-13-13-15,13 13 16,1 0-16,-1 0 16,0 0-1,0 0 16,0 0 1,1 0-17,-1 0 1</inkml:trace>
  <inkml:trace contextRef="#ctx0" brushRef="#br0" timeOffset="194666.37">4524 8877 0,'40'0'31,"-27"0"-15,27 0-16,0 0 0,-1 0 0,14-13 15,13 13-15,1 0 0,12-14 16,-13 14-16,13-13 0,1 13 0,-14-13 16,0 13-16,-13-13 0,0 13 0,0 0 15,0-14-15,-14 14 0,14 0 16,-26-13-16,-1 13 0,1 0 0,-14 0 15,13 0-15,-12 0 0,-1 0 0,0 0 16,14 0 0</inkml:trace>
  <inkml:trace contextRef="#ctx0" brushRef="#br0" timeOffset="195950.76">4445 9168 0,'0'0'0,"40"-13"47,-27 13-47,13 0 0,1-14 0,-1 14 16,14 0-16,0-13 0,-1 0 16,14 13-16,-13-13 0,0-1 0,-1 1 15,14 13-15,-13-13 0,13 0 16,-13 13-16,-1-13 0,1-1 15,0 14-15,-1-13 0,-12 13 0,-1 0 16,-13-13-16,14 13 0,-14 0 16,0-13-16,1 13 0,-1 0 0,0 0 15,0 0-15,1 0 0,-14-14 0,13 14 16,0 0-16,0 0 16,0 0-16,1-13 31,-1 13-16,-53 13 110,27-13-93,0 0-17,0 0 1,-1 0 31,14-13 78,-13 13-16,0 0-78,39 0 173,-12 0-173,-14 13 0</inkml:trace>
  <inkml:trace contextRef="#ctx0" brushRef="#br0" timeOffset="204285.5">12435 8520 0,'27'-14'15,"-27"1"-15,13 13 16,0 0-16,1 0 0,-1 0 15,0 0 1,0 13-16,-13 1 16,0-1-1,-13 0-15,13 0 16,-13 0-16,0 1 16,13-1-16,-14-13 15,28 13 16,-1-13-31,0 0 16,0 0-16,0 13 0,1-13 16,-1 14-16,0-14 15,-13 13-15,13-13 0,-13 13 16,0 0 0,0 1-16,-13-1 0,0 0 15,0-13-15,-1 13 0,1 0 16,0-13-16,0 14 0,0-14 15,-1 0-15,1 0 0,13 13 16,-26-13-16</inkml:trace>
  <inkml:trace contextRef="#ctx0" brushRef="#br0" timeOffset="204781.56">12832 8572 0,'14'0'15,"-1"0"-15,0 0 16,0 0-16,0 0 0,-13 14 0,14-14 16,-1 13-16,-13 0 15,0 14 1,-13-14-16,13 0 0,-14 0 15,14 1-15,-13-14 0,0 13 0,13 0 16,-13-13-16,13 13 16,-13-13-16,-1 13 0,14 1 15,-13-14-15,13 13 16,0 0 15,13-13-31,1 0 0,-1 0 16,0 0-16,0 0 15,0-13 1,1 13-16,-1 0 16,0 0-16,0 0 0,1-13 15</inkml:trace>
  <inkml:trace contextRef="#ctx0" brushRef="#br0" timeOffset="205247.22">13560 8652 0,'-13'0'0,"52"-13"31,-25 13-15,-1 0-16,0 0 0,0 0 0,0 0 16,1 0-16,-1 0 0,13-14 15,-12 14-15,-1 0 0,0 0 0,0 0 16,1 0-16,-1 0 0,0 0 16,13 0-16,-12 0 15,-14-13-15,13 13 16,0 0-1</inkml:trace>
  <inkml:trace contextRef="#ctx0" brushRef="#br0" timeOffset="205533.21">13745 8506 0,'40'0'32,"-27"0"-32,0 0 0,0 14 15,1-14-15,-1 13 0,0-13 16,0 0-16,14 13 0,-14 0 0,0-13 16,1 13-16,-1-13 0,0 14 15,0-1-15,0-13 0,-13 13 0,14 0 16,-14 1-16,0-1 0,0 0 15,0 14-15,-14-14 0,14 0 16,-13-13-16,0 26 16,0-12-16,13-1 0,0 0 15</inkml:trace>
  <inkml:trace contextRef="#ctx0" brushRef="#br0" timeOffset="206089.04">14751 8467 0,'26'-14'16,"-13"14"-16,0 0 0,1 0 16,-1 0-16,0 0 0,0-13 15,1 13-15,-1 0 0,0 0 16,0 0-16,0 0 0,1 0 0,-1 13 16,0-13-16,0 14 15,-13-1-15,0 0 16,0 0-16,0 1 0,0-1 15,0 0-15,0 0 0,0 0 16,0 1-16,0-1 0,0 0 16,0 0-16,0 1 0,0-1 15,-13 0-15,13 0 0,0 1 16,0-1-16,0 0 16</inkml:trace>
  <inkml:trace contextRef="#ctx0" brushRef="#br0" timeOffset="206354.33">14764 8639 0,'26'-14'31,"-13"14"-31,1 0 16,-1 0-16,0-13 0,14 13 16,-14 0-16,13 0 0,1 0 0,-14 0 0,13 0 15,-12-13-15,-1 13 0,0 0 16,0 0-16,1 0 0,-1 0 16,0 0-16,0 0 0,0 0 15,1 0-15</inkml:trace>
  <inkml:trace contextRef="#ctx0" brushRef="#br0" timeOffset="209754.75">12872 7805 0,'-40'0'62,"27"0"-62,0 0 0,0 13 16,-1-13-16,1 0 15,0 14-15,0-14 0,13 13 16,0 0 0,0 0-16,0 1 15,13-14-15,0 13 0,0 0 16,1 0-16,-1-13 0,0 14 16,0-1-16,1 0 0,-1 0 15,-13 0-15,13-13 16,-13 14-16,0-1 0,-13 0 15,13 0-15,-13-13 16,13 14-16,-14-14 0,1 13 16,0-13-16,0 0 15,-1-13 1,14-1 0,14 1-1,-14 0-15,13 0 0,-13-1 16,13 1-16,0 13 0,-13-13 0,14 0 15,-14 0-15,13 13 0,-13-14 16,0 1-16,13 0 0,-13 0 16,0-1-16,0 1 0,-13 0 15,13 0-15,-13 13 16,13-14-16,-14 14 0,1-13 16,0 13-16,0 0 0,-1-13 15,1 13 1,0 13-16,0-13 15</inkml:trace>
  <inkml:trace contextRef="#ctx0" brushRef="#br0" timeOffset="210382.44">13295 7990 0,'0'-13'16,"14"13"-1,-1 0-15,0 0 16,0 0-16,0-13 0,1 13 16,-1 0-16,0 0 0,0 0 0,1 0 15,-1 0-15,0 0 0,0 0 16,1 0-16,-14-13 0,13 13 16,0 0-16,0 0 15,0 0-15,1-13 31,-1 13-15</inkml:trace>
  <inkml:trace contextRef="#ctx0" brushRef="#br0" timeOffset="210865.55">13441 7752 0,'-13'0'0,"13"14"47,13-1-47,0-13 15,-13 13-15,13-13 0,1 13 16,-1-13-16,-13 13 0,13-13 16,0 0-16,0 14 0,1-14 0,-14 13 15,13-13-15,0 13 0,0-13 16,1 13-16,-1-13 0,0 0 15,-13 14-15,13-14 16,0 13-16,1 0 16,-14 0-16,0 1 15,0-1-15,-14 0 16,1 0-16,0 0 0,0 1 16,0-1-16,-1 13 0,1-12 15,0-1-15,0 0 0,-14 0 16,14 0-16,0-13 0,0 14 0,-1-1 15,14 0-15</inkml:trace>
  <inkml:trace contextRef="#ctx0" brushRef="#br0" timeOffset="213002.37">14711 7739 0,'13'0'47,"0"0"-47,1 0 0,-1 0 16,0 0-1,0 0-15,0 0 0,1 0 16,-1 13-16,-13-26 16,-13 13 31,-14 0-47,14 0 15,0 0-15,0 0 16,-1 13-16,1-13 0,0 0 15,0 14-15,-1-14 0,1 0 16,13 13-16,-13-13 16,0 0-16,-1 13 0,1 0 15,0-13 17,13 13-32,-13 1 15,13-1 16,0 0 16,13-13-47,0 0 32,0 0-32,1 0 15,-1 0-15,0 0 0,0 13 16,1-13-16,-1 14 15,0-14-15,0 13 0,1-13 0,-14 13 16,13-13-16,0 13 0,-13 1 16,13-1-16,-26 0 15,13 0-15,-13 0 16,0 1-16,-1-14 0,1 13 16,0-13-16,0 13 0,-1-13 0,-12 0 15,13 0-15,-14 13 0,14-13 16,0 0-16,-14 14 15</inkml:trace>
  <inkml:trace contextRef="#ctx0" brushRef="#br0" timeOffset="-210351.58">12435 7197 0,'14'-14'16,"-1"28"15,-13-1-15,0 0-16,0 0 0,0 1 16,0-1-16,-13 0 0,13 0 15,0 0-15,0 1 0,-14-14 0,14 13 16,0 0-16,0 0 0,-13 1 0,13-1 15,0 0-15,0 0 16</inkml:trace>
  <inkml:trace contextRef="#ctx0" brushRef="#br0" timeOffset="-209979.55">12779 7197 0,'-26'13'16,"13"0"0,-1-13-16,1 13 0,0 1 15,0-1-15,0-13 0,-1 13 16,14 0-16,-13-13 0,0 13 0,13 1 15,-13-14-15,13 13 0,-14-13 16,14 13-16,0 0 16,14-13-1,-1 0-15,0 0 16,0-13-16,14 13 0,-14 0 0,13 0 16,-12 0-16,12-13 0,-13 13 0,1 0 15,12-13-15,-13 13 0,1 0 16,-1 0-16,0-14 0,0 14 15,0 0-15,1-13 16</inkml:trace>
  <inkml:trace contextRef="#ctx0" brushRef="#br0" timeOffset="-209727.52">12819 7183 0,'0'0'0,"-13"0"16,13 14-16,0-1 0,-13-13 16,13 13-16,0 0 0,0 1 15,0-1-15,0 0 0,0 0 16,-14 0-16,14 1 0,0-1 16,0 0-16,0 0 0,0 1 15,0-1-15,0 0 0,0 0 0,0 1 16,-13-1-16,13 0 0,0 0 15,0 0 1</inkml:trace>
  <inkml:trace contextRef="#ctx0" brushRef="#br0" timeOffset="-209382.31">13335 7250 0,'0'-14'0,"13"14"16,0 0-16,1 0 15,-1 0-15,0 0 16,0 0-16,1 0 16,-1 0-16,0-13 15,0 13 1,1 0-1</inkml:trace>
  <inkml:trace contextRef="#ctx0" brushRef="#br0" timeOffset="-209075.81">13388 7078 0,'40'13'31,"-27"-13"-31,0 13 0,0-13 16,14 0-16,-27 13 0,26-13 16,-13 0-16,1 14 0,-1-14 15,0 13-15,0-13 0,1 0 16,-14 13-16,13-13 0,-13 13 0,13-13 15,-13 13-15,-13 14 16,13-14-16,-13-13 0,-1 13 16,1 1-16,0 12 0,0-13 0,-14 0 15,1 1-15,13 12 0,-14-13 0,14-13 16</inkml:trace>
  <inkml:trace contextRef="#ctx0" brushRef="#br0" timeOffset="-206870.6">14512 7078 0,'0'-14'0,"0"1"0,14 13 15,-1 0-15,0-13 16,0 26-1,1-13-15,-1 0 0,0 0 16,-13 13-16,13 1 16,-13-1-16,0 0 15,-13 0-15,13 1 0,-13-1 16,13 0-16,-13 0 0,-1 0 0,14 1 16,-13-1-16,0-13 0,13 13 0,-13 0 15,-1-13-15,14 14 16,-13-1-16,26 0 31,1-13-15,-1-13-16,0 13 15,0 0-15,1 0 0,-1 0 16,0 0-16,-13-13 0,13 13 16,0 0-16,1 0 0,-1 0 15,0-14-15</inkml:trace>
  <inkml:trace contextRef="#ctx0" brushRef="#br0" timeOffset="-205538.51">12647 6522 0,'27'-13'31,"-14"0"-15,0 13-16,0 13 0,0-13 15,1 13-15,-1 0 16,-13 0-1,13-13-15,-13 14 0,-13-1 16,13 0-16,-13 0 0,13 1 0,-14-14 16,14 13-16,-13 0 0,0-13 15,13 13-15,-13 1 0,0-14 0,-1 13 16,14 0-16,-13-13 16,0 0-1,13 13 1,13-13-1,0 0-15,1 0 16,-1 13-16,0-13 16,0 0-1,0 0-15,1 0 16,-1 0 0,-13-13-16,13 13 0,0 0 0,1 0 15</inkml:trace>
  <inkml:trace contextRef="#ctx0" brushRef="#br0" timeOffset="-205081.34">13216 6522 0,'40'0'32,"-27"0"-32,0 0 0,0 0 15,1-13 1,12 13-16,-13 0 0,0 0 15,1 0-15,-1 0 0,0-13 0,0 13 16,1 0-16,-1-14 16,0 14-16,0 0 15,-13-13-15</inkml:trace>
  <inkml:trace contextRef="#ctx0" brushRef="#br0" timeOffset="-204726.25">13361 6376 0,'27'14'31,"-14"-14"-31,0 13 16,1-13-16,-1 0 0,0 13 16,0-13-16,1 0 0,-1 0 15,-13 13-15,13-13 0,0 0 16,0 14-16,1-14 0,-14 13 16,13 0-16,-13 0 15,0 1-15,-13-14 16,13 13-16,-14 0 0,1 0 0,0 0 15,0 1-15,-14 12 0,14-13 0,-13 14 16,12-14-16,1 0 0,-13 1 16,12-1-16</inkml:trace>
  <inkml:trace contextRef="#ctx0" brushRef="#br0" timeOffset="-202763.25">14380 6337 0,'0'26'31,"0"-13"-15,0 1-16,0-1 0,0 13 0,13-12 16,-13-1-16,0 0 0,0 0 0,0 1 15,14-1-15,-14 0 0,0 0 0,13 0 16,-13 1-16,13-14 0,-13 13 15</inkml:trace>
  <inkml:trace contextRef="#ctx0" brushRef="#br0" timeOffset="-196710.1">8334 10226 0,'27'0'32,"-14"0"-32,14 0 0,-14 0 0,13 0 15,1 13-15,-1-13 16,1 0-16,-1 0 0,0 0 0,1 0 15,-1 0-15,1 0 0,-1 0 0,-12 0 0,12 0 16,-13 0-16,0 0 16,1 0-16,-1 0 0,0 0 0,0 0 15</inkml:trace>
  <inkml:trace contextRef="#ctx0" brushRef="#br0" timeOffset="-196459.59">8387 10358 0,'410'-39'109</inkml:trace>
  <inkml:trace contextRef="#ctx0" brushRef="#br0" timeOffset="-195837.39">8268 9816 0,'0'-13'15,"-13"39"17,13-13-32,0 1 15,0-1-15,0 0 0,-13 0 0,13 1 16,0-1-16,0 0 0,0 0 15,0 1-15,0-1 0,0 0 0,0 0 16,0 0-16,0 1 16,0-1-16,0-53 31,0 27-31,0 0 16,0 0-16,-13-14 0,13 14 15,0-14-15,0 14 0,0-13 0,0 12 16,0-12-16,0 0 15,0 12-15,0 1 0,13 0 16,-13 0-16,0-1 0,13 14 0,0-13 16,0 13-16,1 0 15,-1 0-15,0 0 0,0 13 16,1-13-16,-1 14 0,0-1 0,0 0 16,1-13-16,-14 13 0,13 1 0,0-1 15,-13 0-15,13 0 0,-13 0 16,13 1-16,-13-1 0,0 0 0,14 0 15,-14 1-15,13-1 0,-13 13 16,0-12 0,13-14-16,-13 13 0</inkml:trace>
  <inkml:trace contextRef="#ctx0" brushRef="#br0" timeOffset="-195602.5">8215 9962 0,'0'0'0,"14"-14"0,-1 1 16,0 13-16,0-13 0,0 13 0,1 0 15,12-13-15,-13 13 0,1-14 16,52 1-1,-40 13-15,14-13 0,0 0 16,-1-1 0</inkml:trace>
  <inkml:trace contextRef="#ctx0" brushRef="#br0" timeOffset="-194822.88">8771 9591 0,'-13'-13'0,"-1"26"32,14 0-32,0 1 0,0 12 15,0 14-15,-13-1 16,13 1-16,0-27 16,0 14-16,0-14 0,13 0 15,-13 0-15,0 1 0,0-1 0,0 0 0,0 0 16,0 1-1,0-1-15,-26-40 47,13 27-47,0-13 16,-1 13-16,1 0 16,0 0-16,0 0 0,-1 0 15,1 0-15,0 0 0,0 13 16,-1-13-16,14 14 0,-13-14 15,0 13-15,13 0 0,-13 0 16,13 1 0,13-1-16,0-26 15,0 13-15,1 0 16,-1-14-16,0 14 16,0-13-16,1 0 0,-1 13 0,0-13 15,0-1-15,1 1 0,-1 13 16,13-13-16,-26 0 15,13 13-15,14 0 16,-14 13-16,0-13 16,-13 26-16,14-26 15,-14 14-15,0-1 0,0 0 16,13 0-16,-13 1 0,0-1 16,0 0-16,0 0 31,13-39-16,0 13 1,-13-1-16,14 1 16,-14 0-16,13 0 0,-13-1 15,13 1-15,0 0 0,0 13 16,-13-13 0,14 13-16,-1 13 15,-13 0-15,13 0 16,-13 1-16,0-1 15,0 0-15,13 0 0,-13 1 16,0-1-16,0 0 31</inkml:trace>
  <inkml:trace contextRef="#ctx0" brushRef="#br0" timeOffset="-194686.97">8969 9737 0</inkml:trace>
  <inkml:trace contextRef="#ctx0" brushRef="#br0" timeOffset="-193982.34">9141 9829 0,'-13'0'0,"26"0"0,-26-13 0,0 13 15,0 13 1,-1-13-16,14 13 16,-13 1-16,0-1 0,13 0 15,0 0-15,-13-13 0,13 14 16,0-1-16,0 0 16,0 0-16,0 1 15,13-14-15,0 0 16,0 0-1,1-14-15,-1 14 16,-13-13-16,13 13 0,-13-13 16,0 0-16,13 13 0,-13-14 15,0 1-15,14 0 16,-14 0-16,13 13 31,0 0 16,-13 13-47,13-13 16,1 13 15,-1-13-15,0 0-16,0 0 31,0 13-16,1-13-15,-1 0 32,0 0-17,0 0-15,1 0 16,-14-13 0,13 13-16,0-13 15,0 13 1,0-13-1,14 13 1,-27 13 0</inkml:trace>
  <inkml:trace contextRef="#ctx0" brushRef="#br0" timeOffset="-188319.41">12263 9128 0,'40'-13'31,"-27"13"-31,14-13 0,-1 13 16,14-14-16,13 14 0,-13-13 0,12 0 16,1 13-16,0-13 0,0 0 15,-13 13-15,13-14 0,-13 14 0,-1-13 16,1 13-16,-14 0 0,1-13 15,-14 13-15,0 0 0,14 0 0,-14 0 16,0 0-16,0 0 0,1 0 16,-14 13-1,0 0 1</inkml:trace>
  <inkml:trace contextRef="#ctx0" brushRef="#br0" timeOffset="-187927.22">12224 9710 0,'39'-13'15,"-25"13"-15,12 0 16,1 0-16,-1 0 0,27-13 0,-13 13 16,13 0-16,13-13 0,-13 13 15,26-14-15,-26 1 0,13 13 0,-13-13 16,13 13-16,-13-13 0,0 13 0,0-14 16,-13 14-16,12-13 0,-12 13 15,0-13-15,-14 13 0,1 0 0,-14-13 16,13 13-16,-12 0 0,-1 0 0,0 0 15,0 0-15,1 0 0,-1-14 16,0 14 0</inkml:trace>
  <inkml:trace contextRef="#ctx0" brushRef="#br0" timeOffset="-178872.29">12621 9340 0,'0'-13'0,"26"13"31,-26-14-31,13 14 16,-39 14 62,13-14-78,-1 0 16,1 0-16,13 13 15,-13-13-15,0 0 0,13 13 0,-14-13 16,1 13-16,0-13 0,0 13 15,0 1-15,13-1 16,-14 0-16,14 0 16,-13-13-16,13 14 0,0-1 15,13-13 1,-13 13-16,14-13 0,-1 0 16,0 13-16,0-13 15,0 0 1,1 0-16,-14 14 15,0-1 1,0 0 0,0 0-16,-14-13 0,14 13 0,-13 1 15,0-1-15,0-13 0,13 13 16,-13-13-16,13 13 0,-14-13 16,1 0-16,0 14 0,0-14 15</inkml:trace>
  <inkml:trace contextRef="#ctx0" brushRef="#br0" timeOffset="-178475.36">12872 9313 0,'-26'14'31,"12"-1"-31,14 0 16,0 0-16,-13 0 0,13 14 0,0-14 15,0 0-15,0 1 0,0-1 0,0 0 16,13 0-16,-13 1 0,0-1 15,14 0-15,-14 0 0,13-13 0,0 13 16,0-13-16,0 0 16,1 0-16,-1 0 15,0-13-15,-13 0 16,0 0 0,-13 0-16,0-1 0,-1 1 15,1 13-15,0-13 16,0 13-16,0 0 15,-14 0-15,14 0 16,0 0-16,-1 0 0,14 13 16,-13-13-16</inkml:trace>
  <inkml:trace contextRef="#ctx0" brushRef="#br0" timeOffset="-175496.54">13811 9432 0,'53'0'0,"185"-13"31,-172 0-31,1 13 0,12-13 16,0 13-16,1-14 0,12 1 15,1 13-15,0-13 0,-1 0 0,1 13 0,-1-13 16,14 13-16,-13-14 0,-1 14 15,-12-13-15,12 13 0,-12 0 16,-1-13-16,-13 13 0,0 0 0,-13 0 16,0-13-16,0 13 0,-13 0 0,0 0 15,-14 0-15,0 0 0,1 0 16,-1 0-16,-12-14 0,-1 14 0,0 0 16,0 0-16,0 0 0,1 0 15,-54 0 16,14 0-31,-1 0 0,1 0 0,-27 0 16</inkml:trace>
  <inkml:trace contextRef="#ctx0" brushRef="#br0" timeOffset="-174744.55">13745 9287 0,'13'-13'0,"1"-1"15,-41 41 17,14-27-17,0 13-15,-1 0 0,1 1 0,-13-1 16,12-13-16,-12 13 0,13 0 0,-14 0 15,14 1-15,0-1 16,0 0-16,-1 0 0,1 1 0,0-1 16,0 0-16,0 0 0,13 1 15,-14-14-15,14 13 0,0 13 16,14-26-16,-14 13 16,13-13-16,-13 14 0,13-14 15,0 13-15,0-13 16,1 0-16,-1 13 0,0-13 0,0 0 15,1 0-15,-1 13 0,0-13 0,0 0 16,0 0-16,1 0 0,-1 0 16,0 0-16,-13 14 0,13-14 15,1 0 1,-1 0-16,0 0 16,0 0 15,1 0-16,-1 0 1</inkml:trace>
  <inkml:trace contextRef="#ctx0" brushRef="#br0" timeOffset="-168423.41">15465 8493 0,'0'-13'0,"-13"13"32,13 26 140,0-12-157,0-1-15,0 0 0,0 0 16,0 0-16,0 1 0,0-1 0,0 0 15,0 0-15,0 1 16,13-1-16,-13 0 0,0 0 0,13-13 16,-13 14-16,13-1 0,1 0 15,-1-13-15,0 13 16,0-13-16,1 0 0,-14 13 0,13-13 16,0 0-16,0 0 0</inkml:trace>
  <inkml:trace contextRef="#ctx0" brushRef="#br0" timeOffset="-167232.16">15716 8533 0,'-13'26'47,"13"-13"-32,-13 1-15,13-1 16,-13 0 0,13 0-16,13 1 31,0-14-15,0 0-1,0 0-15,1 0 16,-1 0-16,-13-14 15,13 14-15,0 0 16,1-13-16,-1 13 16</inkml:trace>
  <inkml:trace contextRef="#ctx0" brushRef="#br0" timeOffset="-166978.36">15782 8374 0,'14'0'0,"25"13"31,-25-13-31,12 14 0,-13-1 0,14 0 16,-14 0-16,0 0 0,0 1 0,14-1 16,-14 0-16,-13 0 0,13 1 15,1-1-15,-14 13 0,0-13 0,0 1 16,0-1-16,0 13 0,-14-12 0,1-1 15,0 0-15,0 14 0,-14-14 16,14 13-16,-14-13 0,14 1 16,-13-14-16</inkml:trace>
  <inkml:trace contextRef="#ctx0" brushRef="#br0" timeOffset="-165992.37">15372 7660 0,'-13'0'16,"0"13"-16,13 0 0,-13 0 16,-1 1-16,14-1 0,-13 13 0,13 1 15,-13-14-15,13 13 0,-13-12 0,13 12 16,0-13-16,0 1 0,0-1 16,0 0-16,13 0 0,-13 1 0,13-1 15,-13 0-15,13-13 0,1 13 0,-1-13 16,0 0-16,0 13 15,1-13-15,-1 0 0,0-13 0,0 13 16,0 0-16</inkml:trace>
  <inkml:trace contextRef="#ctx0" brushRef="#br0" timeOffset="-164910.35">15703 7699 0,'-13'14'15,"0"-1"-15,13 0 16,-14-13-16,14 13 0,-13-13 16,13 14-16,-13-1 15,13 0-15,0 0 31,13 0-31,0-13 32,1 0-32,-1 0 15,0 0-15,0 0 0,0 0 16,1 0-16,-1-13 16,0 13-16,0 0 0,-13-13 15,14 13-15</inkml:trace>
  <inkml:trace contextRef="#ctx0" brushRef="#br0" timeOffset="-164599.52">15729 7527 0,'-13'0'0,"26"0"0,1 0 16,12 0 0,-13 14-16,1-14 0,12 13 15,1-13-15,-14 13 0,26 0 0,-12 1 16,-1-1-16,1 13 0,-1-13 0,-12 14 16,12-1-16,-13 1 15,-13-14-15,13 14 0,-13-1 0,0-13 16,0 14-16,-13 12 0,0-12 0,0 13 15,-14-14-15,1 14 0,-1-14 16,1 14-16,-1-14 0,1 1 0,0-1 16,-1 1-16,-13-14 0</inkml:trace>
  <inkml:trace contextRef="#ctx0" brushRef="#br0" timeOffset="-162827.28">15094 6959 0,'-13'0'0,"-13"26"15,26-13-15,-13-13 16,13 13-16,-14 14 0,14-14 16,-13 0-16,13 1 0,0-1 0,0 13 15,0-12-15,0-1 0,0 0 0,0 0 16,0 0-16,0 1 0,0-1 15,13 0-15,1 0 0,-1 1 16,0-14-16,-13 13 16,13-13-16,0 0 0,14 0 15,-14 0-15</inkml:trace>
  <inkml:trace contextRef="#ctx0" brushRef="#br0" timeOffset="-162394.99">15438 6972 0,'-13'13'31,"13"0"-31,-13 0 16,13 1-16,-13-1 0,13 0 0,-13 0 15,13 1-15,0-1 0,-14 0 16,14 0-16,0 1 15,0-1 1,0 0-16,14 0 31,-1-13-31,0 0 0,0-13 16,0 13-16,1 0 16,-1 0-16,0 0 0,-13-13 15,13 13-15,1 0 0,-14-13 0,13 13 16,-13-14-16,13 14 0</inkml:trace>
  <inkml:trace contextRef="#ctx0" brushRef="#br0" timeOffset="-162119.22">15465 6813 0,'40'0'16,"-27"0"-16,13 13 0,-12 0 15,12 1-15,0-1 0,1 0 0,-1 0 16,-12 14-16,12-14 0,-13 14 16,0-14-16,1 0 0,-1 13 15,-13-12-15,0 12 0,0 1 0,-13-1 16,-1 1-16,-12 12 0,13-12 0,-27 12 15,14-12-15,-1-1 0,1 1 16,-1-1-16</inkml:trace>
  <inkml:trace contextRef="#ctx0" brushRef="#br0" timeOffset="-158837.58">14896 6324 0,'-13'39'15,"26"-78"-15,-39 105 0,26-53 0,0 0 0,0 0 16,0 1-16,0 12 0,13-13 15,-13 1-15,0-1 0,13 0 0,-13 0 16,13 0-16,0-13 0,1 14 0,-1-14 16,0 13-16,0-13 15,1 0-15</inkml:trace>
  <inkml:trace contextRef="#ctx0" brushRef="#br0" timeOffset="-157507.65">15266 6350 0,'0'-13'15,"27"39"17,-27-13-32,0 1 15,13-1-15,-13 0 16,0 0-16,13-13 0,-13 14 15,0-1-15</inkml:trace>
  <inkml:trace contextRef="#ctx0" brushRef="#br0" timeOffset="-157027.39">15280 6019 0,'39'0'0,"80"53"32,-92-40-32,13 14 0,-14-1 0,1 1 15,-1-1-15,-13 1 0,0 12 16,14-12-16,-14-1 0,-13 14 0,13-14 16,-13 1-16,-13 13 0,13-1 0,-13 1 15,0 0-15,-14-1 0,14 1 16</inkml:trace>
  <inkml:trace contextRef="#ctx0" brushRef="#br0" timeOffset="-149479.62">12012 6257 0,'0'-13'16,"0"40"15,0-14-31,0 13 0,13 27 0,-13 13 15,0 1-15,14 12 0,-14 0 16,0 1-16,13 12 0,-13 14 0,13-13 16,-13-14-16,13 14 0,-13-1 0,0-12 15,0 12-15,-13-12 0,13 12 16,0-26-16,0 14 0,-13-1 0,13-13 16,0 0-16,0-13 0,0-13 0,0 13 15,0-13-15,0-1 0,0-12 16,0-1-16,0 1 0,0-14 0,0 13 15,0-12-15,0-1 0,0 0 16,0 0 0</inkml:trace>
  <inkml:trace contextRef="#ctx0" brushRef="#br0" timeOffset="-145170.1">12091 6297 0,'14'0'16,"-1"0"-1,0 0-15,0 0 0,1 0 16,-1 0-16,0 0 0,14-13 0,-14 13 15,13 0-15,1 0 0,-1-13 16,14 13-16,13 0 0,-14-14 0,1 14 16,0-13-16,13 13 0,-14-13 0,14 13 15,-13-13-15,13 13 0,-13-14 16,13 14-16,-14-13 0,14 13 16,-13 0-16,13-13 0,0 13 0,-14-13 15,1 13-15,13 0 0,-13-13 16,-1 13-16,1 0 0,0-14 0,-14 14 15,14 0-15,-14-13 0,1 13 0,12 0 16,-12-13-16,-1 13 0,1 0 16,-1-13-16,14 13 0,-14 0 0,1-14 15,-1 14-15,1 0 0,-1-13 0,1 13 16,-14 0-16,13 0 0,1 0 16,-14-13-16,14 13 0,-14 0 0,0 0 15,13 0-15,-12-13 0,-1 13 16,0 0-16,0 0 0,1 0 15,-1 0-15,0 0 0,0 0 0,1 0 16,-1-14-16,0 14 0,0 0 0,0 0 16,1 0-16,-1 0 15,0 0-15,14 0 16,-14 0-16,0-13 16,0 13-16,1 0 15,-1 0-15,0 0 16,0 0-16,0 13 0,1-13 15,-1 0 1,0 0-16,-13 14 16,13-14-16,1 0 15,-14 13-15,13 0 16,0 0-16,-13 1 16,13-1-16,-13 0 15,13-13-15,-13 13 0,14 1 16,-14-1-16,0 0 15,13-13-15,-13 13 0,13 0 0,0 1 16,-13-1-16,0 0 0,14 0 16,-14 1-16,13-14 0,-13 13 0,13 0 15,-13 0-15,0 1 0,13-1 16,1 0-16,-14 0 16,0 0-16,13 1 0,-13-1 0,0 0 15,13 0-15,-13 1 0,13-1 0,-13 0 16,13 0-16,-13 1 15,14-1-15,-14 0 0,13 0 16,-13 0-16,13 1 0,0-1 16,-13 0-16,14 0 0,-14 1 15,13-1-15,-13 0 16,0 0-16,13-13 0,-13 14 16,0-1-16,0 0 15,13 0-15,-13 0 16,0 1-16,0-1 0,14-13 15,-14 13-15,0 0 0,0 1 16,13-1-16,-13 0 16,0 0-16,13 0 15,-13 1-15,0-1 0,0 0 16,0 0 0,0 1-16,13-14 0,-13 13 0,0 0 15,0 0-15,0 1 16,13 12-1,-13-13-15,0 0 16,14 1-16,-14-1 16,0 0-16,0 0 15,13 1-15,-13-1 16,0 0-16,0 0 0,0 1 16,0-1-16,13-13 0,-13 13 0,0 0 15,0 0-15,0 1 16,13-1-16,-13 0 0,0 0 15,0 1-15,0-1 16,14 0-16,-14 0 16,0 0-16,0 1 0,13-1 15,-13 0-15,0 0 0,0 1 0,0-1 16,13-13-16,-13 13 16,0 0-16,0 1 0,0-1 0,13 0 15,-13 0-15,0 0 0,13 1 16,-13-1-16,0 0 0,0 0 0,0 1 15,14-1-15,-14 0 0,0 0 16,0 1-16,0-1 0,0 0 16,13 0-16,-13 0 0,0 1 0,0-1 15,0 0-15,0 0 0,0 1 16,0-1-16,0 0 0,0 0 16,13 1-16,-13-1 0,0 0 15,0 0-15,0 0 16,0 1-16,0-1 15,0 0-15,13 0 16,-13 1-16,0-1 16,0 0-1,0 0-15,0 1 0,14-14 0,-14 13 16,0 0-16,0 0 16,13 0-16,-13 1 0,0-1 15,13 0-15,-13 0 0,0 1 16,0-1-16,13 0 0,-13 0 15,0 0 1,0 1-16,0-1 0,14 0 16,-14 0-16,0 1 0,0-1 15,13-13-15,-13 13 0,0 0 0,0 1 16,13-14-16,-13 13 0,0 0 16,13 0-16,-13 0 0,0 1 15,13-1-15,-13 0 16,0 0-16,14 1 15,-14-1-15,0 0 16,0 0-16,13 1 0,-13-1 16,0 0-16,13-13 0,-13 13 0,0 0 15,13-13-15,-13 14 0,0-1 0,14 0 16,-14 0-16,0 1 16,13-1-16,-13 0 15,13 0-15,-13 0 16,0 1-16,0-1 0,13 0 15,-13 0-15,0 1 16,14-1-16,-14 0 16,0 0-1,0 1 1,0-1 0,0 0 15,0 0 63,0 0-79,0 1 16,0-1 1,-14-13-17,14 13 1,0 0 15,-13 1 16,13-1-31,0 0 31,-13-13-32,13 13-15,-13 1 31,-1-14 1,14 13-17,-13-13 17,0 13-17,0-13 16,-1 0-15,1 0 15,0 0-15,13 13 0,-13-13-1,0 0-15,-1 0 16,1 0 15,0 13-31,0-13 31,-1 0-15,1 0 0,0 0-1,0 0 1,-1 0-1,1 0-15,0 0 16,0 0-16,0 0 16,-1-13-1,-12 13-15,13 0 16,-1 0-16,1 0 0,0 0 16,0 0-16,0 0 0,-1 0 15,1 0-15,0 0 0,0 0 16,-1 0-16,1 0 0,0 0 0,0 0 15,-1 0-15,1 0 0,0 0 16,-13 0-16,12 0 0,1 0 16,0 0-16,-27 0 0,27 0 15,0 0-15,-1 0 0,1 0 16,0 0-16,0 0 0,0 0 0,-1 0 16,1 0-16,0 0 0,0 0 0,-14 0 15,14 0 1,0 0-16,0 0 15,-1 0-15,1 0 16,0 0-16,0 0 16,-1 0-16,1 0 15,0 0-15,0 0 0,-1 0 0,14 13 16,-13-13-16,0 0 0,0 0 16,-14 0-16,14 0 0,0 0 0,0 0 15,-14 0-15,14 0 0,0 0 16,-27 0-16,27 0 0,-14 0 15,1 0-15,13 0 0,-14 0 16,14 0-16,0 0 0,-1 0 16,-12 0-16,13 14 0,0-14 15,-1 0-15,1 0 0,0 0 0,0 0 16,-1 0-16,1 0 0,0 0 16,0 0-16,-14 0 0,14 13 15,-13-13-15,12 0 0,1 0 0,-13 0 16,12 0-16,-12 0 0,13 13 15,-14-13-15,14 0 0,-13 0 16,-1 13-16,14-13 0,-14 0 0,-12 14 16,12-14-16,1 0 15,13 0-15,-14 0 0,14 0 0,-14 0 16,14 0-16,0 0 0,-13 0 0,12 0 16,-12 0-16,13 13 0,-14-13 0,14 0 15,0 0-15,-14 0 0,14 0 16,-13 0-16,12 13 0,1-13 15,-13 0-15,-1 0 0,14 0 0,0 13 16,0-13-16,-14 0 16,14 0-16,0 0 0,-1 0 0,1 0 15,0 0-15,-14 0 0,14 0 16,0 0-16,0 0 0,0 0 16,-1 0-16,-12 14 0,13-14 15,-14 0-15,1 0 16,12 0-16,1 0 0,0 0 15,0 0-15,0 0 0,-14 0 16,14 0-16,0 0 0,-14 0 0,14 0 16,0 0-16,-1 0 0,-12 0 15,13 0-15,0 0 0,-1 0 16,-12 0-16,-1 0 0,1 0 16,13 0-16,0 0 15,-1 0-15,1 13 0,0-13 16,0 0-16,-1 0 0,1 0 15,0 0-15,0 0 16,-1 0-16,1 0 16,0 0-1,0 0 1,0-13 15,13-1-31,0 1 16,-14 0-16,14 0 0,0-1 15,0-12-15,-13 13 16,13-40-16,-13 0 16,0-79-1,13 92-15,-14-40 16,14 1-16,0 0 16,0-1-16,-13 14 15,13-13-15,0 39 16,-13-26-16,13 13 15,-13 13-15,13 27 0,0-13 16,0 13-16,-14-14 16,14 1-16,0-1 15,-13 14 1,26-14-16,1 14 16,-14 0-16,13 0 15</inkml:trace>
  <inkml:trace contextRef="#ctx0" brushRef="#br0" timeOffset="-143809.36">13269 6257 0,'0'27'16,"0"-14"-16,0 0 0,0 14 15,0-14-15,0 13 0,-13 1 0,13 13 16,0-1-16,13 14 16,-13-13-16,0 0 0,0-1 0,0 14 15,13-13-15,-13 13 0,13 0 0,-13 0 16,14-14-16,-14 14 0,13-13 16,-13 13-16,13-13 0,-13 26 0,13-27 15,-13 1-15,0 53 0,13-54 16,-13-12-16,0 12 0,0 1 15,0-13-15,0-1 0,0 1 0,0-1 16,0 0-16,14 1 0,-14-1 0,0 1 16,0-1-16,0 1 0,0-1 15,0 1-15,0-14 0,0 13 0,13-12 16,-13 12-16,0-13 0,0 1 16,0 12-16,0-13 0,0 0 15,13 1-15,-13-1 0,0 0 0,0 0 16,0 1-16,13-1 0,-13 0 0,0 0 15,0 0-15,0 1 16,14-1-16,-14 0 0,0 0 16,0 1-16,13-14 0,-13 13 15,0 0-15,0 0 0,0 1 16,13-14-16,-13 13 0,0 0 0,0 0 16,0 0-16,13 1 0,-13-1 15,0 0-15,0 0 16,14 1-16,-14-1 0,0 0 15,0 0-15,13 1 0,-13-1 0,0 0 16,0 0-16,13 0 0,-13 1 0,0 12 16,13-13-16,-13 1 15,0-1-15,0 0 0,13 0 16,-13 0-16,0 1 0,0-1 16,14 0-16,-14 0 15,0 1-15,0-1 0,0 0 16,0 0-16,0 1 0,0-1 0,0 0 0,0 0 15,0 0-15,0 1 0,0-1 16</inkml:trace>
  <inkml:trace contextRef="#ctx0" brushRef="#br0" timeOffset="-142165.15">12065 6271 0,'-13'0'31,"13"-14"-16,0 1 1,0 0 0,0 0-16,0-1 0,0 1 15,0 0-15,0 0 0,-13 0 16,13-1-16,0-12 0,-14-1 0,14 1 16,0 13-16,-13-14 0,13 1 15,-13-1-15,13 1 0,-13 13 0,-1-14 0,14 1 16,-13-1-16,13 14 15,-13-13-15,13 12 0,0-12 0,-13 13 16,13-14-16,0 14 0,0 0 0,0 0 16,0-1-16,0 1 0,0 0 15,13 13-15,-13-13 0,0-1 0,13 14 16,0-13-16,1 0 0,-1 13 16,0 0-16,0-13 0,1 13 15,12 0-15,-13-14 0,14 14 0,-14 0 16,13 0-16,1-13 0,-1 13 15,1-13-15,52 0 0,-52 13 16,12 0-16,1-13 0,-14 13 0,14 0 16,-13-14-16,12 14 0,14-13 15,-13 13-15,-14-13 0,14 13 16,-14 0-16,1 0 0,13-13 0,-1 13 16,-12-14-16,12 14 0,-12 0 0,-1-13 15,14 13-15,-13 0 0,-1 0 16,0-13-16,14 13 0,-13 0 0,-1-13 15,0 13-15,14 0 0,-13-13 16,-1 13-16,1 0 0,-1 0 0,0-14 16,1 14-16,-14 0 0,14-13 15,-1 13-15,-13 0 0,14-13 0,-1 13 0,1 0 16,-14-13-16,13 13 0,-12 0 16,12 0-16,-13-14 0,14 14 15,-14 0-15,0 0 0,0 0 0,14 0 16,-14 0-16,0-13 0,1 13 15,-1 0-15,0 0 0,0 0 0,0 0 16,1 0-16,-1 0 0,0 0 16,0 0-16,1 0 15,-1 0-15,0 0 16,0-13-16,1 13 16,-1 0-16,0 0 15,-13 13 1,13-13-16,0 0 15,1 0 17,-1 13-32,0-13 15,-13 14-15,13-14 16,-13 13-16,14-13 16,-1 13-16,0 0 15,-13 1-15,13-14 16,-13 13-16,14-13 0,-14 13 0,13 0 15,-13 0-15,13 1 16,-13-1-16,13 0 0,0 0 16,-13 1-16,14-1 15,-14 0-15,13-13 0,0 26 16,-13-12-16,13-1 0,-13 13 0,0-12 16,14-1-16,-14 0 0,0 0 15,13 1-15,-13 12 0,0-13 0,0 0 16,13 14-16,-13-14 0,0 14 0,0-14 15,13 13-15,-13-12 0,0-1 16,14 13-16,-14-13 0,0 14 0,13-14 16,-13 0-16,0 1 0,0-1 0,13 0 15,-13 0-15,0 0 0,13 1 16,-13-1 0,0 0-16</inkml:trace>
  <inkml:trace contextRef="#ctx0" brushRef="#br0" timeOffset="-141512.95">13070 5398 0,'0'26'47,"0"-13"-47,0 0 0,0 14 16,14-1-16,-14 14 0,0 13 0,0-13 15,13 26-15,0-13 0,-13 0 16,13 0-16,-13 13 0,14-27 0,-14 14 16,0 0-16,13-13 0,-13 0 15,13-1-15,-13-12 0,0-1 0,13-13 16,-13 14-16,0-1 0,0-12 0,0-1 15</inkml:trace>
  <inkml:trace contextRef="#ctx0" brushRef="#br0" timeOffset="-86359.23">3638 11126 0,'-13'-14'0,"13"1"31,13 0-16,0 13-15,0 0 0,1 0 16,-1 0-16,0 0 0,0 13 0,1-13 16,-1 13-16,0-13 0,0 14 0,-13-1 15,14 0-15,-14 0 0,0 1 16,0-1-16,0 0 0,-14 0 0,14 14 16,-13-14-16,0 13 0,0-12 0,-1-1 15,1 13-15,-13-12 0,12-1 0,1 0 16,0-13-16,0 13 0,0-13 15,-1 14-15,1-14 0,0 0 16,39 0 15,1-14-15,-14 14-16,0 0 0,0 0 16,1 0-16,-1 0 0,13 0 15,-12 0-15,-1 0 0,0 0 0,0 0 16,1 0-16,-1 0 0,0 0 15,0 0-15,0 0 0,1 0 0,-1 0 16,0-13-16,14 13 0</inkml:trace>
  <inkml:trace contextRef="#ctx0" brushRef="#br0" timeOffset="-86142.28">4299 11152 0,'-66'53'31,"40"-40"-31,13 1 16,-1-1-16,1 0 16,0 0-16,0 0 0,0 1 0,-1 12 15,1-26-15,13 13 0,-13 1 0,13-1 16,-13 0-16</inkml:trace>
  <inkml:trace contextRef="#ctx0" brushRef="#br0" timeOffset="-85824.23">3982 11192 0,'13'0'0,"0"-13"0,67 39 31,-67-13-31,0-13 16,14 14-16,-1-1 15,-13 0-15,1 0 0,-1 0 0,0-13 16,0 14-16,-13-1 0,14-13 16,-1 13-16,0-13 0,-13 13 15,13-13-15,0 0 0,1 14 16</inkml:trace>
  <inkml:trace contextRef="#ctx0" brushRef="#br0" timeOffset="-85022.34">4591 11152 0,'-14'27'16,"14"-14"-16,0 0 15,0 0-15,-13 1 0,13 12 16,0-13-16,0 0 0,0 14 0,0-14 16,0 0-16,0 1 0,0-1 0,0 0 15,0 0-15,0 1 16</inkml:trace>
  <inkml:trace contextRef="#ctx0" brushRef="#br0" timeOffset="-84522.03">3294 10848 0,'0'0'0,"-40"40"0,27-14 0,-13 1 16,-1 12-16,14 1 0,-13 13 15,12-14-15,14 1 0,-13 13 16,13-13-16,0-1 0,13 14 0,-13-13 16,14 0-16,12-1 0,-13 1 0,27 13 15,-14-26-15,14 12 0,0-12 16,13 12-16,-14-25 0,1 12 0,13-13 16,-13 1-16,13-14 0,-1 13 0,1-13 15,14 0-15,-1-13 0,0-1 16,0 1-16</inkml:trace>
  <inkml:trace contextRef="#ctx0" brushRef="#br0" timeOffset="-84109.65">4577 10941 0,'53'26'0,"-106"-52"16,119 78-16,-39-38 0,-1 12 0,14 1 15,-14 12-15,1 1 0,-1-14 0,1 14 16,-1 26-16,-12-26 16,-14 0-16,0 39 0,0-39 15,-14-1-15,1-12 0,-13 13 0,12-14 16,1 0-16,-13 1 0,12-1 15,1-12-15,0-1 0,0 0 16,0-13-16</inkml:trace>
  <inkml:trace contextRef="#ctx0" brushRef="#br0" timeOffset="-83706.34">5464 11112 0,'0'40'31,"0"-27"-31,0 14 16,13-14-16,-13 14 0,0-1 0,0 0 15,0 1-15,0-1 0,0 1 0,0-1 16,0-12-16,0 12 0,0-13 16,0 0-16,0 1 0,0-1 15,0 0-15,0 0 0</inkml:trace>
  <inkml:trace contextRef="#ctx0" brushRef="#br0" timeOffset="-83489.09">5292 11324 0,'92'13'32,"-65"-13"-32,-1 14 15,-13-14-15,14 0 0,-1 0 0,1 0 16,-1 13-16,-13-13 0,14 0 0,-1 0 15,1 0-15,-14 0 0,14 0 16,-1 0-16,-13 0 0</inkml:trace>
  <inkml:trace contextRef="#ctx0" brushRef="#br0" timeOffset="-82658.16">6244 11033 0,'0'27'31,"0"-1"-31,-13-13 0,13 14 0,-13-1 16,-1 14-16,1-14 0,0 1 0,-13 39 16,26-40-16,-14-12 15,14 12-15,-13-13 0,13 1 16,-13-1-16,13 13 0,0-13 16,-13 1-16,13-1 15</inkml:trace>
  <inkml:trace contextRef="#ctx0" brushRef="#br0" timeOffset="-82291.33">6628 11179 0,'-27'13'16,"14"0"-16,0 0 15,0-13-15,-14 14 0,14-1 0,-13 0 16,12 0-16,-12 0 0,13 1 16,-1-1-16,-12-13 0,26 13 0,-13 0 15,-1-13-15,1 14 0,26-1 31,-13 0-31,14-13 0,-1 0 0,0 13 16,14-13-16,-14 0 0,0 0 16,14 0-16,-14 0 0,13 0 15,-13 0-15,14 0 0,-14 0 0,0-13 16,14 13-16,-14 0 0,0 0 16,1-13-16,-1 13 0,0 0 15,-13-13-15</inkml:trace>
  <inkml:trace contextRef="#ctx0" brushRef="#br0" timeOffset="-82062.69">6601 11179 0,'0'0'15,"-26"26"-15,13 1 0,13-14 16,-14 13-16,14-13 0,-13 14 15,13-14-15,-13 14 0,13-1 0,-13-13 16,13 14-16,-13-1 0,13-13 16,0 14-16,0-14 0,-14 0 0,14 1 15,0-1-15,14-13 0,-14 13 16,13-13-16</inkml:trace>
  <inkml:trace contextRef="#ctx0" brushRef="#br0" timeOffset="-81796.76">7038 11179 0,'-13'13'31,"13"0"-31,-14 0 15,14 1-15,-13-1 16,0 13-16,0-13 0,0 14 16,-1-1-16,1-12 0,0 12 15,0-13-15,13 1 0,-14-1 16,1 0-16,0-13 16</inkml:trace>
  <inkml:trace contextRef="#ctx0" brushRef="#br0" timeOffset="-81574.64">6787 11271 0,'26'13'47,"-13"1"-47,0-14 15,1 13-15,12 0 0,-13 0 16,1 1-16,-1-14 0,0 13 15,0 0-15,1 0 0,12-13 0,-13 14 16,0-1-16,1-13 0,12 13 16,-13-13-16,14 0 0,-14 13 0,14-13 15,-14 0-15,13 0 0,1-13 16</inkml:trace>
  <inkml:trace contextRef="#ctx0" brushRef="#br0" timeOffset="-81189.22">7342 11192 0,'27'0'0,"-14"-13"0,0 13 15,0 0-15,1 0 0,-14 13 16,26 0-1,-13 0-15,-13 1 16,0-1-16,-13 0 0,-13 13 0,12 1 16,1-14-16,0 0 15,0 1-15,13-1 0,-14 0 0,1-13 16,13 13-16,0 1 0,0-1 16,13-13-1,1 13-15,-1-13 16,0 0-16,0 0 0,1 0 0,-1 0 15,0 0-15,0 0 0,0 0 16,1 0-16,-1 0 0,0 0 16,0 0-16,1-13 0</inkml:trace>
  <inkml:trace contextRef="#ctx0" brushRef="#br0" timeOffset="-80681.16">5913 10914 0,'-39'53'0,"26"-27"0,-1 1 15,1 13-15,0-1 0,13 14 0,-13-13 16,-1 13-16,14 0 0,0-14 15,14 14-15,-14-13 0,13 0 0,13-1 16,1 1-16,12 0 0,1-14 0,39 14 16,-26-14-16,53-12 15,-53-28-15,0 14 16,0-13-16,13 13 0,0-13 0,0 0 16</inkml:trace>
  <inkml:trace contextRef="#ctx0" brushRef="#br0" timeOffset="-80326.16">7594 10888 0,'39'26'16,"-78"-52"-16,105 65 0,-40-12 0,14-14 16,-14 13-16,14 14 0,0-13 0,-1 12 15,1 27-15,-13-26 0,-14-13 16,-13-1-16,0 0 0,0 14 15,-13 0-15,-1-14 0,1 14 16,-13 0-16,12-14 0,-12 1 0,-1-1 16,14 1-16,0-1 0,-13-13 0,12 0 15,1-13-15,0 14 0,0-14 16</inkml:trace>
  <inkml:trace contextRef="#ctx0" brushRef="#br0" timeOffset="-80007.28">8480 11020 0,'13'79'15,"-13"-52"1,0-14-16,0 13 0,0 1 16,0-14-16,0 14 0,0-1 15,0 0-15,0-12 0,0 12 0,0-13 0,-13 1 16,13-1-16,0 0 0,0 0 15</inkml:trace>
  <inkml:trace contextRef="#ctx0" brushRef="#br0" timeOffset="-79777.98">8255 11271 0,'26'-13'0,"1"13"16,-1 0 0,-12 0-16,12 0 0,1 0 0,12 0 15,-12 0-15,-1-13 0,14 13 0,-27 0 16,13 0-16,1 0 0,-1 0 16,-12 0-16,12 0 0,1 0 15,-14 0-15,0 0 0,0 0 0</inkml:trace>
  <inkml:trace contextRef="#ctx0" brushRef="#br0" timeOffset="-77623.24">9618 11139 0,'-27'13'31,"14"-13"-31,0 13 16,-1-13-16,1 0 16,13 14-16,-13-14 15,0 13 1,26 0-16,-13 0 16,13-13-16,0 14 0,1-1 15,-14 0-15,13 0 0,0 0 0,0 1 16,1-1-16,-14 0 0,13 0 0,0 1 15,-13-1-15,0 0 0,0 0 16,0 1-16,-13-1 0,13 0 16,-13 0-16,-1-13 0,1 0 15,0 13-15,0-13 0,-1 0 16,-12 0-16,26-13 16,-13 0-16,13-13 15,13 26 1,-13-14-16,0 1 0,13 0 0,0 0 15,1-1-15,-1 1 0,-13 0 16,13 0-16,0-1 0,1 1 0,-14 0 16,13 0-16,-13 0 0,0-1 0,0 1 15,0 0-15,0 0 0,0-1 0,0 1 16,-13 13-16,13-13 0,-14 0 16,1 13-16,13-14 0,-13 14 15,0-13-15,-1 13 0,1 0 0,0 0 16,0 13-16,0 1 15</inkml:trace>
  <inkml:trace contextRef="#ctx0" brushRef="#br0" timeOffset="-77422.13">10120 11258 0,'-53'79'16,"40"-65"-1,0 12-15,0 1 0,-14-1 0,1 0 16,-1-12-16,14 12 0,-13-13 16,12 14-16,1-14 0,-13 0 0</inkml:trace>
  <inkml:trace contextRef="#ctx0" brushRef="#br0" timeOffset="-77227.08">9790 11351 0,'13'0'16,"0"0"-16,0 13 15,-13 0-15,13-13 0,1 13 16,-1 1-16,13 12 0,-12-13 0,-1 0 0,0 1 15,0 12-15,14-13 0,-14 1 16,13 12-16,-12-13 0,-1-13 0,0 14 16,0-14-16</inkml:trace>
  <inkml:trace contextRef="#ctx0" brushRef="#br0" timeOffset="-76769.34">10451 11298 0,'13'0'15,"-26"0"-15,40-14 0,-54 41 47,14-27-47,0 13 0,-1-13 0,1 13 16,0-13-16,0 14 16,13-1-1,13 0 16,0-13-31,-13 13 0,13-13 0,-13 14 16,14-14-16,-14 13 0,0 0 0,0 0 16,-14 0-16,14 1 0,-13-1 15,0 0-15,0 0 16,-1 1-16,-12-1 0,13 0 0,-14-13 16,1 13-16,-1 1 0,14-14 0,-13 13 15,-1-13-15,14 0 0,-13 0 16,-1 0-16,1 0 0</inkml:trace>
  <inkml:trace contextRef="#ctx0" brushRef="#br0" timeOffset="-76422.13">9234 11046 0,'-40'40'0,"80"-80"0,-93 120 16,40-54-16,0 14 0,-1 0 0,1 12 0,0-12 15,13 13-15,0-13 0,-13-1 16,26 14-16,-13-13 0,13 0 16,14-1-16,-1 1 0,14-13 0,-1-1 15,1 1-15,0-14 0,13 0 0,-14 0 16,14-13-16,13 0 0,1 0 16,12-13-16,-13 0 0,13 0 0</inkml:trace>
  <inkml:trace contextRef="#ctx0" brushRef="#br0" timeOffset="-76075.11">10716 11126 0,'39'26'0,"-78"-52"0,92 52 0,-40 1 16,13-1-16,-13 1 0,1-1 0,-1 0 15,0 1-15,-13-1 16,0 1-16,0-1 0,0 14 0,-13 0 15,0-14-15,-1 1 0,-12 12 0,13-12 16,-14-1-16,1 1 0,-1-14 16,14 0-16,0 0 0,0 1 0,-1-14 15,1 0-15</inkml:trace>
  <inkml:trace contextRef="#ctx0" brushRef="#br0" timeOffset="-75807.38">11390 11020 0,'-13'53'31,"13"-27"-31,-13 1 0,13-1 0,0 1 16,-13-14-16,13 13 0,0 1 0,-14-1 16,14 1-16,0-1 0,0-13 0,0 14 15,0-14-15,0 0 16,0 1-16,0-1 0,0 0 0,14 0 16</inkml:trace>
  <inkml:trace contextRef="#ctx0" brushRef="#br0" timeOffset="-75582.14">11179 11245 0,'53'0'0,"-106"0"0,132 0 0,-66 0 15,14 0-15,-14 0 0,0 0 16,14 0-16,-1 0 0,-13 0 0,14 0 16,-1 0-16,-13 0 0,1 0 0,12 0 15,-13 0-15</inkml:trace>
  <inkml:trace contextRef="#ctx0" brushRef="#br0" timeOffset="-74613.08">12396 11073 0,'0'-13'0,"13"13"16,0-14-16,0 14 16,1 14-16,-1-14 15,0 0-15,-13 13 0,13 0 16,-26 0-1,13 0-15,-13 1 0,0-1 16,13 0-16,-14-13 16,14 13-16,-13-13 0,40 14 62,39 25-15,-40-25-16,-158 105 47,79-106-62,-66-26-16</inkml:trace>
  <inkml:trace contextRef="#ctx0" brushRef="#br0" timeOffset="-74325.66">12700 11033 0,'40'0'0,"-1"13"16,-25 1-16,-107-41 0,186 67 0,-93-27 15,0 0-15,-14 14 16,1-14-16,0 0 0,-27 40 16,27-40-16,0 1 0,0-1 15,-1 0-15,1-13 0,13 13 0,-13-13 16,13 13-16,-13-13 0,39 14 31,-13-14-15,1 0-16,-1 0 0,0 0 15,13 0-15,-12 0 0,-1 0 0,13 0 16,-12 0-16,12 0 0,-13-14 16,14 14-16,-1 0 0,14 0 15,-27 0-15,0 0 0,14 0 16</inkml:trace>
  <inkml:trace contextRef="#ctx0" brushRef="#br0" timeOffset="-74108.43">13361 11112 0,'-39'40'32,"26"-27"-32,13 1 0,-14 12 15,1-13-15,0 1 0,0 12 16,-14 0-16,14-12 0,0 12 0,-1-13 15,1 1-15,13-1 0,-13 0 0,0 0 16</inkml:trace>
  <inkml:trace contextRef="#ctx0" brushRef="#br0" timeOffset="-73900.14">13004 11205 0,'0'-13'0,"14"26"16,-1-13-16,0 13 16,0 1-16,0-14 0,14 13 15,-14 0-15,14 0 0,-1 0 0,-13-13 16,40 27-16,0-14 16,-40 0-16,14-13 0,12 14 15,-12-14-15,-1 0 0,1 0 0,13 13 16</inkml:trace>
  <inkml:trace contextRef="#ctx0" brushRef="#br0" timeOffset="-73497.39">13745 11020 0,'27'-13'16,"-14"13"-1,0 0-15,0 0 0,0 0 16,1 0-16,-1 0 0,0 13 15,0-13-15,1 0 0,-1 13 16,0-13-16,0 13 0,1 1 0,-14-1 16,13 0-16,-13 0 0,13 0 0,-13 14 15,0-14-15,0 0 0,0 14 16,0-14-16,0 27 0,0-27 16,0 0-16,0 0 0,0 1 0,0-1 15,0 0-15,-13 0 0,13 1 16,0-1-16,0 0 15</inkml:trace>
  <inkml:trace contextRef="#ctx0" brushRef="#br0" timeOffset="-73305.08">13772 11245 0,'132'13'47,"-40"-13"-47,-52 0 16,0 0-16,-14 0 0,1 0 15,26 0-15,-27 0 16,1 13-16</inkml:trace>
  <inkml:trace contextRef="#ctx0" brushRef="#br0" timeOffset="-72879.25">12237 10808 0,'-26'13'0,"12"1"0,-92 211 31,106-173-31,-13-12 0,13 13 16,0-13-16,0 13 0,0-14 0,13 1 16,1 0-16,12-1 0,-13 1 15,14-13-15,-1-1 0,14-13 0,0 14 16,-1-14-16,14-13 0,0 0 0,0 0 15,13-13-15,0 0 0</inkml:trace>
  <inkml:trace contextRef="#ctx0" brushRef="#br0" timeOffset="-72542.96">14354 10769 0,'39'39'16,"-78"-78"-16,92 91 0,-27-25 0,0-1 15,-12 14-15,-1 0 0,13-14 16,-12 14-16,-1 0 0,0-1 0,0 1 16,1 0-16,-14-1 0,0 1 0,0-14 15,-14 14-15,1 0 0,0-14 16,-14 14-16,1-14 0,-14 14 0,1-13 16,-1-1-16,0-13 0,1 14 0,-1-14 15</inkml:trace>
  <inkml:trace contextRef="#ctx0" brushRef="#br0" timeOffset="-70806.91">3889 12052 0,'53'0'0,"-26"0"15,-14-13-15,13 13 0,1 0 0,13 0 16,-1-14-16,1 14 0,13 0 0,0-13 16,0 13-16,0-13 0,13 13 15,-13 0-15,13 0 0,0-13 16,-13 13-16,26 0 0,-13 0 0,14 0 16,-1 0-16,-13-14 0,14 14 0,-14 0 15,0 0-15,-13 0 0,13 0 16,-13 0-16,26-13 0,-13 13 0,14 0 15,-1 0-15,-13 0 0,14 0 16,-14-13-16,13 13 0,-13 0 0,1-13 16,12 13-16,-13 0 0,0-14 0,-13 14 15,13 0-15,-13 0 0,0 0 16,13-13-16,-13 13 0,13 0 0,0 0 16,-13 0-16,14 0 0,-15 0 15,15 0-15,-14 0 0,13 0 0,-13 0 16,-1 0-16,1 0 0,-13 0 0,13 0 15,40 0-15,-40 0 16,-1 0-16,-12 0 0,13 0 16,-13 0-16,13 0 0,0 0 0,-14 0 15,1 0-15,0 0 0,-1 0 0,1-13 16,0 13-16,13 0 0,-27 0 16,14 0-16,13 0 0,26 0 15,-26-13-15,-13 13 0,13 0 16,-14 0-16,-12 0 0,26 0 0,-14 0 15,1 0-15,0 0 0,13-13 0,-14 13 16,14 0-16,-13 0 0,13 0 0,-13 0 16,12-14-16,1 14 0,-13 0 15,13 0-15,0 0 0,-13 0 0,-1 0 16,1 0-16,0 0 0,13-13 16,-14 13-16,14 0 0,0 0 15,0 0-15,0 0 0,0 0 0,-14 0 16,14 0-16,0 0 0,0 0 0,0 0 15,0 0-15,0 0 0,13 0 16,-13 0-16,0 0 0,0 0 0,13 0 16,-13 0-16,0 0 0,0 0 0,0 0 15,0 0-15,13 0 0,-13 0 16,-14 0-16,14 0 0,0 0 16,0 0-16,0 0 0,0-13 0,0 13 15,0 0-15,0 0 0,-14 0 0,14 0 16,0 0-16,0 0 0,-13 0 15,13 0-15,-14 0 0,1 0 0,0 0 16,13 0-16,0 0 0,-14 0 16,1 0-16,13 0 0,0 0 0,-13 0 15,-14 0-15,27 0 0,-13 0 0,-1 0 16,14 0-16,-13 0 0,0 0 16,12 0-16,1 0 0,-13 0 0,13 0 15,0 0-15,-13 0 0,13-13 0,-14 13 16,14 0-16,-13 0 0,13 0 15,-14 0-15,14 0 0,0 0 16,0 0-16,0 0 0,-13 0 0,13 0 0,0 0 16,0 0-16,-14 0 15,14 0-15,0 0 0,-13 0 0,13 0 16,0 0-16,-14 0 0,14-14 0,0 14 16,0 0-16,-13 0 0,13 0 15,-14 0-15,1 0 0,0 0 0,-1 0 16,-12 0-16,13 0 0,-14 0 0,14-13 15,-14 13-15,14 0 0,-14 0 16,1 0-16,-1 0 0,1 0 16,-14 0-16,13 0 0,-12 0 0,-1 0 0,0 0 15,0 0-15,0-13 16</inkml:trace>
  <inkml:trace contextRef="#ctx0" brushRef="#br0" timeOffset="-69986.88">2011 12039 0,'40'0'0,"-27"0"0,13 0 0,-13 0 15,1 0-15,12 0 16,-13 0-16,1 0 0,12 0 0,0 0 0,-12-14 15,12 14-15,1 0 0,-14 0 0,0 0 16,14 0-16</inkml:trace>
  <inkml:trace contextRef="#ctx0" brushRef="#br0" timeOffset="-69806.19">2222 12211 0,'27'-14'0,"-54"28"0,80-28 0,-39 14 0,-1 0 16,0-13-16,0 13 0,14 0 0,-14 0 16</inkml:trace>
  <inkml:trace contextRef="#ctx0" brushRef="#br0" timeOffset="-66477.36">5371 12303 0,'0'-13'0,"13"13"16,1-13-16,-1 13 15,13 13 1,-13-13-16,1 13 0,-1 0 16,0 1-16,-13-1 15,0 0-15,0 0 0,0 0 16,0 1-16,-13 12 0,0-13 0,13 1 15,-14 12-15,1-13 0,0-13 0,0 14 16,0-1-16,-1 0 0,1 0 16,0-13-16,0 0 15,13 13-15,13-13 32,13 0-17,-12 0-15,-1 0 0,0 0 0,0-13 16,0 13-16,1 0 0,-1 0 15,0 0-15,0-13 0,1 13 16,-1 0-16,0-13 0,0 13 0,0-13 16</inkml:trace>
  <inkml:trace contextRef="#ctx0" brushRef="#br0" timeOffset="-66283.11">5808 12250 0,'0'-13'0,"0"39"47,0-12-47,0-1 15,0 13-15,0-12 0,0-1 0,0 13 16,-14-13-16,14 14 0,0-14 16,0 0-16,0 1 0,0-1 0,0 0 15,0 0-15</inkml:trace>
  <inkml:trace contextRef="#ctx0" brushRef="#br0" timeOffset="-66071.33">5636 12356 0,'0'0'0,"26"0"31,-13-13-31,1 13 16,12 0-16,-13 0 0,0 0 16,14-13-16,-1 13 0,-12 0 15,12-14-15,1 14 0,-1 0 0,-13 0 16,14 0-16</inkml:trace>
  <inkml:trace contextRef="#ctx0" brushRef="#br0" timeOffset="-65742.3">6257 12211 0,'-13'26'32,"13"-13"-17,-13 0-15,13 14 0,-13-1 0,13-12 16,-14 12-16,1 0 0,13-12 15,-13-1-15,13 13 0,0-12 0,-13-14 16,13 13-16</inkml:trace>
  <inkml:trace contextRef="#ctx0" brushRef="#br0" timeOffset="-65442.4">6509 12316 0,'-66'27'32,"52"-14"-32,1-13 15,0 13-15,0-13 0,-1 13 0,1-13 16,0 14-16,0-14 0,13 13 16,-13-13-16,13 13 0,-14-13 15,28 13 1,-1 1-16,0-14 0,0 0 15,0 13-15,14-13 0,-14 0 16,0 0-16,14 0 0,-14 0 16,0 0-16,14 13 0,-14-13 0,0 0 15,0-13-15,1 13 16,-1 0-16</inkml:trace>
  <inkml:trace contextRef="#ctx0" brushRef="#br0" timeOffset="-65269.27">6548 12369 0,'-13'13'16,"-13"40"-1,26-39-15,0-1 16,-13 0-16,13 0 0,0 1 16,0 12-16,0-13 0,0 0 0,0 1 15,0-1-15,0 13 0,0-12 0,0-1 16</inkml:trace>
  <inkml:trace contextRef="#ctx0" brushRef="#br0" timeOffset="-65046.58">6853 12290 0,'0'40'47,"0"-27"-47,0 0 0,0 0 0,0 0 15,0 1-15,0 12 0,-14-13 16,14 1-16,0-1 0,0 0 0,0 0 16,0 1-16,0-1 0,0 0 0</inkml:trace>
  <inkml:trace contextRef="#ctx0" brushRef="#br0" timeOffset="-64855">6668 12422 0,'0'-13'0,"52"-14"31,-38 27-16,-1 0-15,13-13 0,-12 13 0,12 0 16,0-13-16,-12 13 0,25 0 16</inkml:trace>
  <inkml:trace contextRef="#ctx0" brushRef="#br0" timeOffset="-64211.03">7461 12263 0,'0'0'0,"-13"0"16,0 0-16,0 0 16,-14-13-16,14 13 15,0 0-15,13 13 16,0 1-1,0-1-15,13-13 16,-13 13-16,13 0 0,-13 1 16,13-1-16,-13 0 0,14 13 15,-14-12-15,0-1 0,0 0 0,0 0 16,-14 1-16,1-1 0,13 0 16,-13-13-16,13 13 0,-13-13 15,-1 0-15,1 0 16,0 0-16,13-13 15,0 0 1,13 13-16,-13-13 0,13-1 16,1 14-16,-1-13 0,-13 0 0,13 0 15,0-1-15,1 1 0,-14 0 16,13 13-16,-13-13 0,0 0 0,13-14 16,-13 14-16,-13 0 15,13-1-15,-13 1 0,-1 0 16,1 13-16,0-13 15,-14 13-15,14 13 16,0-13 0,13 13-16,0 0 0,0 1 15</inkml:trace>
  <inkml:trace contextRef="#ctx0" brushRef="#br0" timeOffset="-64003.3">7792 12237 0,'0'13'16,"0"14"-16,0-14 16,0 0-16,0 0 0,0 1 15,0-1-15,0 13 0,0-13 16,-13 1-16,13 12 0,0-13 0,0 1 15,0-1-15,-13 0 0</inkml:trace>
  <inkml:trace contextRef="#ctx0" brushRef="#br0" timeOffset="-63795.32">7620 12422 0,'0'0'0,"13"-13"31,0 13-31,1 0 0,12 0 16,-13 0-16,14 0 0,-1 0 0,1 0 15,-1 0-15,1-13 0,12 13 0,1 0 16,0 0-16,-1-14 0,1 14 16,-13-13-16,-1 13 0,27 0 0,-27-13 15</inkml:trace>
  <inkml:trace contextRef="#ctx0" brushRef="#br0" timeOffset="-63279.56">8308 12250 0,'13'0'15,"0"0"1,1 0-16,-14 13 0,13-13 15,-13 14-15,13-1 0,-13 0 16,-13-13-16,13 13 16,0 1-16,-13-1 15,26 0 17,0-13-32,0 0 15,1 0-15,-1 13 16,0-13-16,0 13 15,0 1-15,-13-1 16,0 0-16,-13 0 16,13 1-16,-13-14 15,13 13-15,-13-13 0,0 13 16,-1-13-16,14 13 0,-13-13 0,0 14 16,0-14-16,13 13 0,-14-13 15</inkml:trace>
  <inkml:trace contextRef="#ctx0" brushRef="#br0" timeOffset="-62939.87">8692 12263 0,'26'0'15,"-13"0"-15,-13 40 32,0-13-32,-13-14 15,0 0-15,-14 13 0,14 1 0,-13-1 16,12-12-16,1-1 0,0 0 16,13 0-16,-13 1 15,26-14 1,0 0-16,0 0 15,1 0-15,-1 0 0,13 0 16,-12 0-16,-1-14 0,13 14 16,1-13-16,-1 13 0,-13 0 15,1 0-15,12-13 0,-13 13 16,14 0-16,-1 0 0</inkml:trace>
  <inkml:trace contextRef="#ctx0" brushRef="#br0" timeOffset="-62077.08">5040 12237 0,'-26'13'0,"13"-13"0,-1 27 0,1-1 16,-13 1-16,12-1 0,-12 14 15,13-1-15,0 1 0,-1 53 16,14-54-16,0 14 0,0-13 15,0 0-15,14-1 0,12-12 0,0 13 16,14-14-16,13 0 0,0 1 16,13-14-16,0 0 0,0-13 15,1 14-15,-1-28 0,13 14 0,14-13 16</inkml:trace>
  <inkml:trace contextRef="#ctx0" brushRef="#br0" timeOffset="-61603.86">8903 12105 0,'13'39'0,"1"-25"0,-1 78 32,-13-65-32,0-1 0,-13 14 0,13-1 15,-14 1-15,1 0 0,0 0 16,0-1-16,0 1 0,-14-14 0,14 14 15,0-13-15,-1-1 0,1 0 16,0-12-16,0-1 0,13 0 0,-14-13 16</inkml:trace>
  <inkml:trace contextRef="#ctx0" brushRef="#br0" timeOffset="-61011.16">10067 12356 0,'-13'0'32,"13"-13"-17,27 26 126,-14-26-125,0 13-16,0 0 15,1 0 1,-1 0-16,0 13 15</inkml:trace>
  <inkml:trace contextRef="#ctx0" brushRef="#br0" timeOffset="-60847.1">9935 12502 0,'27'0'31,"-1"0"-31,-13 0 16,14-14-16,-14 14 0,13 0 16,1-13-16,-1 13 0</inkml:trace>
  <inkml:trace contextRef="#ctx0" brushRef="#br0" timeOffset="-60383.25">10954 12277 0,'0'-14'15,"-13"28"16,-1-1-15,1 0-16,0-13 0,0 13 0,-14 1 16,14-1-16,0 0 0,-1-13 0,1 13 15,0-13-15,13 13 16,-13-13-16,26 14 31,0-14-31,0 0 0,1 0 16,-1 0-16,0 0 0,0 0 0,1 0 15,-1 0-15,0 0 0,0 0 16,-13 13-16,14 0 16,-28 0-1,1 1-15,0-1 0,0 0 16,-1 0-16,-12-13 0,13 14 16,-14-1-16,14 0 0,0-13 0,0 13 15,-1-13-15,1 13 0,0-13 16</inkml:trace>
  <inkml:trace contextRef="#ctx0" brushRef="#br0" timeOffset="-60080.4">11112 12277 0,'0'13'0,"-26"40"31,13-40-31,13 13 0,0-12 0,-13-1 16,13 13-16,0-12 0,13-1 0,-13 13 16,13-12-16,0-1 0,0 0 0,1 0 15,-1 0-15,0-13 0,0 14 16,1-14-16,-1 0 0,0 0 16,0 0-16,1 0 0,-1 0 0,0-14 15,-13 1 1,-13 13-1,13-13-15,-13 13 0,-1 0 0,1 0 16,-13 0-16,12 0 0,1 0 16,-13 0-16,-1 0 0,14 13 15,0-13-15,0 0 0</inkml:trace>
  <inkml:trace contextRef="#ctx0" brushRef="#br0" timeOffset="-59495.2">14989 11496 0,'-14'0'0,"41"0"47,-1 0-31,-12 0-1,-1 13-15</inkml:trace>
  <inkml:trace contextRef="#ctx0" brushRef="#br0" timeOffset="-59312.28">14870 11708 0,'39'-27'0,"67"14"32,-79 0-17,-14 13-15,13 0 0,-13 0 0,1 0 0,-1 0 16,0-13-16,0 13 16</inkml:trace>
  <inkml:trace contextRef="#ctx0" brushRef="#br0" timeOffset="-57963.94">16431 11073 0,'0'-13'16,"13"-14"-1,0 27 1,0 0-16,1 0 0,-1 0 0,0 0 16,0 13-16,0-13 0,1 14 15,-1-1-15,-13 0 0,0 0 16,0 0-16,0 14 0,-13-14 15,13 0-15,-14 1 0,1 12 16,0-13-16,0 1 0,0-1 0,-14 0 16,14 0-16,0 0 0,-1-13 0,14 14 15,-13-14-15,0 13 0,0-13 16,52 0 15,-25 0-31,12-13 16,-13 13-16,14 0 0,-1 0 15,-13-14-15,14 14 0,-1 0 0,-12-13 0,12 13 16,-13 0-16,1 0 0,-1-13 16,13 13-16,-13 0 0,1 0 15,-1-13-15</inkml:trace>
  <inkml:trace contextRef="#ctx0" brushRef="#br0" timeOffset="-57567.09">17119 10993 0,'-27'-13'0,"54"26"0,-54-39 0,14 26 0,0 0 16,-1 0-16,-25 13 15,25-13-15,-12 13 0,0-13 16,-1 14-16,1-1 0,12-13 0,-12 13 15,13 0-15,0 1 0,-1-14 0,1 13 16,13 0-16,-13-13 0,13 13 0,13-13 16,0 0-1,1 0-15,12 0 0,-13 0 0,14-13 16,-14 13-16,13 0 0,-12-13 0,12 13 16,-13 0-16,0 0 0,1 0 15,-1 0-15,0 13 16,-13 0-16,0 0 15,0 1-15,0-1 0,0 0 16,-13 0-16,13 1 0,0-1 16,-13 0-16,13 0 0,0 1 15,0-1-15,0 0 0</inkml:trace>
  <inkml:trace contextRef="#ctx0" brushRef="#br0" timeOffset="-57223.86">17489 10941 0,'-13'26'0,"-1"-26"16,14 13-16,-13 0 0,-13 1 15,-1 12-15,1-13 0,-1 14 0,14-14 16,-13 0-16,13 0 0,-1 1 0,1-1 15,0 0-15,0-13 0,-1 13 16,14 1-16,-13-14 0,13 13 16,13 0-16,1-13 15,-1 0-15,0 0 16,0 13-16,1-13 0,-1 0 16,13 0-16,-13 0 0,14 0 0,-1 0 15,-12 0-15,12 0 0,0-13 0,-12 13 16,-1 0-16,13 0 0,-12 0 15,-1-13-15,0 13 0,0 0 0,-13-13 16,14 13-16,-14-14 0,13 14 0,-13-13 16</inkml:trace>
  <inkml:trace contextRef="#ctx0" brushRef="#br0" timeOffset="-57026.72">17529 10888 0,'0'0'0,"-27"13"15,27 0-15,-13 0 16,13 1-16,-13 12 0,13 0 0,-14 1 16,1 13-16,13-1 0,-13 1 0,0 0 15,13 13-15,-13-14 0,-1 1 16,1 0-16,13-14 0,-13 1 0,13-1 16,0 0-16,0 1 0,-13-14 0,13 0 15,0 1-15,0-1 16,0 0-16</inkml:trace>
  <inkml:trace contextRef="#ctx0" brushRef="#br0" timeOffset="-56685.33">16047 11734 0,'40'-13'31,"-27"13"-31,27 0 0,12-13 16,15 13-16,-1-13 0,13 13 0,14-14 16,-14 14-16,27-13 0,13 0 0,13 13 15,-26-13-15,26 13 0,-12-14 16,-15 14-16,1 0 0,-13-13 0,13 13 15,-27 0-15,0 0 0,1 0 0,-27 0 16,0 0-16,-27 0 0,1 0 16,-1 0-16,-13 0 0,0 0 0,1 0 15,-41 13 1</inkml:trace>
  <inkml:trace contextRef="#ctx0" brushRef="#br0" timeOffset="-55919.39">16801 12078 0,'13'-13'15,"1"0"1,-1 13 0,0 0-16,-39 13 31,12-13-15,1 0-16,0 13 0,0 0 15,-14-13-15,14 14 0,0-14 0,-1 13 16,1-13-16,0 13 0,0 0 15,0-13 1,13 14-16,13-1 16,0-13-16,0 13 0,0-13 15,1 0-15,-1 13 0,0-13 0,0 14 16,1-14-16,-1 0 0,0 13 16,0-13-16,1 13 0,-1-13 0,-13 13 15,13-13-15,-13 27 16,-13-14-16,0 0 15,-1-13-15,1 13 0,0 1 0,-14-1 16,14-13-16,-13 13 0,12-13 16,-12 13-16,13-13 0,0 13 15,-1-13-15,1 0 0,0 0 0,0 0 16,13-13-16,26-13 16,-26 13-16,27-1 15</inkml:trace>
  <inkml:trace contextRef="#ctx0" brushRef="#br0" timeOffset="-55596.04">17079 12052 0,'-13'26'16,"-1"-13"-16,14 1 16,-13-1-16,13 13 0,-13-12 0,0 12 15,13-13-15,0 14 0,-14-1 16,14-13-16,0 14 0,14-14 0,-14 14 15,13-14-15,0 0 0,0 0 16,1 0-16,-1 1 0,0-14 0,14 13 16,-14-13-16,0 0 0,0 0 0,0 0 15,14-13-15,-14 13 0,0-14 16,1 14-16,-14-13 16,0 0-16,-14 0 15,1 13-15,0 0 16,0 0-16,13-13 0,-14 13 15,-12 0-15,26 13 16,-26-13-16</inkml:trace>
  <inkml:trace contextRef="#ctx0" brushRef="#br0" timeOffset="-55130.34">18561 11576 0,'0'0'0,"39"0"31,-26 0-15,1 0-16,-1 0 0,0 0 0,0 0 15,1 0-15,-1 0 16,13 0-16,-13 0 0,1 13 15</inkml:trace>
  <inkml:trace contextRef="#ctx0" brushRef="#br0" timeOffset="-54974.86">18613 11734 0,'27'-13'16,"-14"13"-16,0 0 15,1 0-15,-1-13 0,0 13 16,0 0-16,0-13 0,1 13 16,-1 0-16,13-14 0</inkml:trace>
  <inkml:trace contextRef="#ctx0" brushRef="#br0" timeOffset="-53747.4">19910 11152 0,'13'13'47,"0"-26"-32,1 13-15,-54 0 31,27 13-15,-1-13-16,-12 14 0,13-14 16,-14 13-16,1 0 0,13-13 15,-1 13-15,1-13 0,0 14 0,0-14 16,-1 0-16,14 13 0,-13-13 0,13 13 16,13-13-1,1 0-15,-1 13 0,0-13 16,0 0-16,1 13 0,-1-13 0,13 14 15,-12-14-15,-1 0 0,0 13 16,0 0-16,0-13 0,-13 13 16,0 1-16,0-1 15,-13 0-15,0-13 0,0 13 16,0 1-16,-1-14 0,1 13 16,-13-13-16,12 0 0,1 13 0,0-13 15,0 0-15,-1 0 0,1 0 16,-13 0-16,26-13 15</inkml:trace>
  <inkml:trace contextRef="#ctx0" brushRef="#br0" timeOffset="-53587.99">20082 11364 0,'13'0'0,"-13"-13"16,13 13 15</inkml:trace>
  <inkml:trace contextRef="#ctx0" brushRef="#br0" timeOffset="-53125.82">20466 11192 0,'13'0'0,"53"13"31,-66 0-31,13-13 0,0 14 0,-13-1 16,14-13-16,-14 13 0,0 0 0,0 0 15,-14 1-15,1-1 0,13 0 0,-13 0 16,0-13-16,-1 14 0,1-1 15,0 0-15,0-13 0,13 13 0,-13-13 16,13 14-16,-14-14 16,41 0 15,-14 0-31,0 0 0,0 0 16,1 0-16,-1-14 0,13 14 0,-12 0 15,-1 0-15,0 0 0,14 0 0,-14-13 16,0 13-16,0 0 0,0 0 15,1 0-15</inkml:trace>
  <inkml:trace contextRef="#ctx0" brushRef="#br0" timeOffset="-52770.92">21008 11218 0,'-79'14'15,"65"-14"1,1 13-16,0-13 0,0 0 16,-1 0-16,1 13 0,0-13 15,13 13-15,13 0 16,0 1-1,1-1-15,-1-13 0,0 26 16,0-12-16,-13-1 16,0 0-1,-13 0-15,0 1 16,0-14-16,-1 13 0,1 0 16,0-13-16,-14 0 15,14 13-15,0-13 0,-13 13 16,-1-13-16,14 14 0</inkml:trace>
  <inkml:trace contextRef="#ctx0" brushRef="#br0" timeOffset="-52546.71">19645 11800 0,'0'0'0,"199"-52"31,-133 38-31,13 14 0,1-13 16,-1 0-16,0 0 0,1-1 0,-1 14 16,1-13-16,-14 13 0,-13-13 15,0 13-15,-1 0 0,-25 0 0,-1 0 16,1 0-16,-14 0 0,0 0 0</inkml:trace>
  <inkml:trace contextRef="#ctx0" brushRef="#br0" timeOffset="-52335.23">19526 11919 0,'-13'0'0,"26"0"0,0 14 16,14-14-16,-1 0 0,27 0 15,0 0-15,13-14 0,14 14 16,-1 0-16,0-13 0,1 13 0,12-13 15,-12 13-15,12-13 0,-12 0 0,-14 13 16,13-14-16,-12 1 0,-15 0 0,-12 0 16,0-1-16,-1 1 0,1 0 15</inkml:trace>
  <inkml:trace contextRef="#ctx0" brushRef="#br0" timeOffset="-52014.88">19434 10821 0,'158'-13'0,"-118"13"0,26 0 15,-13-13-15,27 13 0,-1 0 0,0 0 16,14 0-16,-1 0 0,1 0 0,0 0 16,-1 0-16,1 0 0,-14 0 15,1 0-15,-14 0 0,-13 0 0,0 0 16,-14 13-16,-12-13 0,-14 0 0</inkml:trace>
  <inkml:trace contextRef="#ctx0" brushRef="#br0" timeOffset="-51810.71">19963 10954 0,'92'0'16,"-184"0"-16,237-13 0,-92 13 0,0 0 0,0 0 16,13 0-16,-13 0 0,0 0 15,0 0-15,0-14 0,-13 14 0,-14 0 16,-13 0-16,14 0 0,-14 14 16</inkml:trace>
  <inkml:trace contextRef="#ctx0" brushRef="#br0" timeOffset="-51512">19063 11046 0,'13'40'0,"-26"-80"0,40 106 0,-27-39 16,0 13-16,13-1 0,-13 1 0,13 13 15,-13 13-15,0-13 0,0 13 16,0-13-16,0 13 0,-13-26 0,13 13 16,0-13-16,0 12 0,0-25 0,0-1 15,0 1-15,0-1 0,0-13 16,13 14-16,-13-14 0</inkml:trace>
  <inkml:trace contextRef="#ctx0" brushRef="#br0" timeOffset="-51306.03">19328 11165 0,'-13'53'0,"26"-106"0,-26 146 16,13-67-16,0 14 0,13 0 16,-13 13-16,0-14 0,0 14 15,0 0-15,13 0 0,-13 0 0,13-13 0,-13 13 16,14-27-16,12 14 0,-13-14 0</inkml:trace>
  <inkml:trace contextRef="#ctx0" brushRef="#br0" timeOffset="-50991.19">21378 11086 0,'-13'66'0,"26"-132"0,-39 172 0,13-66 0,13-1 16,-14 14-16,1-13 0,0 13 0,0-14 15,-1 14-15,1-26 0,0 13 16,13-14-16</inkml:trace>
  <inkml:trace contextRef="#ctx0" brushRef="#br0" timeOffset="-50818.76">21577 11073 0,'-53'198'32,"40"-145"-32,-14 0 0,14 13 0,-14-13 15,1 13-15,0-13 0,-1 0 16,14 0-16</inkml:trace>
  <inkml:trace contextRef="#ctx0" brushRef="#br0" timeOffset="-50315.26">21934 11708 0,'-40'40'0,"-13"-1"16,-66 54-1,66-54-15,0 1 0,1 0 0,-1 0 16,-14 12-16,-12-12 0,26 0 0,0 0 16,0-14-16,14 14 15,12-27-15,1 0 0,13 0 0,-1 1 16</inkml:trace>
  <inkml:trace contextRef="#ctx0" brushRef="#br0" timeOffset="-50131.28">22053 11708 0,'0'0'16,"0"26"-16,-13-12 0,0 12 0,-14 0 15,-26 14-15,14 0 0,-28 13 16,1 0-16,-13 13 0,-1 0 0,-12 0 16,-1-13-16,-13 13 0,14 0 15,-1-13-15,14 0 0,-14 0 16,40-13-16,-13-1 0,13 1 0,14-13 15,-1-1-15,13 0 0</inkml:trace>
</inkml:ink>
</file>

<file path=ppt/ink/ink13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1:43:32.125"/>
    </inkml:context>
    <inkml:brush xml:id="br0">
      <inkml:brushProperty name="width" value="0.05292" units="cm"/>
      <inkml:brushProperty name="height" value="0.05292" units="cm"/>
      <inkml:brushProperty name="color" value="#0070C0"/>
    </inkml:brush>
  </inkml:definitions>
  <inkml:trace contextRef="#ctx0" brushRef="#br0">15915 9300 0,'0'13'0,"0"1"16,0-1 0,0 26-16,0 14 15,26 0-15,-13 40 16,14 13-16,13 39 16,-14 14-16,14 26 0,-14 93 15,1-27-15,12 93 16,1-132-1,-14 13-15,-12 13 16,12-92-16,-13-14 16,1 27-16,-14-27 15,13 0-15,0-39 16,0-14-16,-13-39 16,13-40-16,-13 26 15,0-12-15,-13-14 78,0 0-78,0-14 16</inkml:trace>
  <inkml:trace contextRef="#ctx0" brushRef="#br0" timeOffset="2748.57">15875 9247 0,'13'13'78,"40"27"-78,27-13 16,12-1-16,14-13 16,172 40-16,-53-40 15,79 1-15,-13-14 16,106 0-16,66 0 15,0 0-15,-66 0 16,79-27-16,106 1 16,-106 26-16,-52 0 15,-27 0-15,13-27 16,53 14-16,-159-13 16,-79 12-1,-53-12-15,53 26 0,-14 0 16,-65-13-1,-40 13-15,13 0 16,-13-14-16,39-12 16,-39 13-16,-13-14 15,-27 14-15,-27 0 0,107 0 16,-93 13 0,-13-14-16,-14 14 15,-13-13-15,14 13 16,-14 0-1,0 27 126,0 12-141,1 54 16,12-27-1,-13 13-15,14 40 16,-14-13-16,0-13 16,-13-27-16,0-40 15,27 120-15,12-53 16,-12 39-16,-1-39 0,1-1 15,-14-39 1,0 40-16,14-1 16,-1-12-16,-26-41 15,0 1-15,0-14 16,0 14-16,13 13 16,14 0-16,-14 26 0,27 14 15,-27-53 1,0 26-16,0-13 15,1-14-15,12-12 16,-26 13 0,0-14-16,0-13 0,13 0 15,-13 14-15,0-14 16,0 0-16,0 14 16,0-14-1,0 14-15,0-14 16,-13 26-16,13-25 15,-26 25 1,12-12-16,14-14 16,-13 14-16,0-14 15,13 26-15,-13-25 16,-1 12-16,1 1 16,0 12-16,13-12 0,-13 12 15,13 1 1,0 26-16,0-26 15,0-14-15,0 14 16,0-13-16,0 12 16,0 14-16,0 0 15,13 26-15,0-26 16,0-26-16,1 39 16,-14-26-16,0-27 15,0 0-15,0 0 31,0 1-31,-14-1 125,-12 0-125,-14 0 16,-13 0-16,1 1 16,-28 12-16,-12-13 15,-54 14-15,53-1 16,1-12-16,-40-14 16,-27 13-16,-79-13 15,52 0-15,14 0 16,0 13-16,-92-13 15,79 26-15,66-26 16,13 14-16,-13-14 16,26 0-1,-26 0-15,40 0 0,13 0 16,-14 0-16,14 13 16,-27 0-16,27-13 15,0 13-15,-26-13 16,-14 0-16,13 14 15,-13-14-15,0 0 16,40 0 0,-79 0-16,52 0 0,-26 0 15,-53 0 1,-26 0-16,-107-40 16,80 27-16,-66-1 15,53-25-15,-13 39 16,-133-40-16,120 27 15,-27 13-15,66-13 16,53-14-16,-66 27 16,132-13-16,-26 0 15,39 13-15,40 0 16,-26 0-16,13 0 16,39 0-16,-26 0 15,0 0-15,40 0 16,-27 0-1,14 0-15,-14 0 0,-39 0 16,26 0-16,-40-14 16,27 1-16,13 13 15,-39-13-15,39 13 16,-13 0-16,13 0 16,26 0-1</inkml:trace>
  <inkml:trace contextRef="#ctx0" brushRef="#br0" timeOffset="7580.19">17926 11033 0,'-14'0'63,"-12"0"-63,-1 0 15,-12 0-15,-1 0 16,0 0-16,-26 0 16,0 0-16,-53 0 15,-13 0-15,13 0 16,66 0-16,0 0 15,0 0-15</inkml:trace>
  <inkml:trace contextRef="#ctx0" brushRef="#br0" timeOffset="10111.25">21736 8467 0,'13'0'125,"0"0"-110,0 0 17,27 39-32,-27-25 15,14 12-15,-14 14 16,0-27-16,-13 13 16,0-12-16,0 12 15,0-13-15,0 1 16,-26 12-16,12-13 15,-12 14-15,-14-1 16,14-13-16,-14 1 16,0-1-1,-13 13-15,14-12 0,26-14 16,-1 13-16,28-13 78,12-13-62,14-1-16,13 1 15,-27 13-15,-13 0 16,27 0-16,-14 13 16,1 14-1,-1 26-15,-12 0 16,-1-14-16,-13 14 15,0-26-15,0 12 16,-13 1-16,-1 0 16,-25-27-16,39 0 15,-14 0-15,1-13 16,0 14-16,-13-1 16,12-13-16,1 0 15,0 0 1,0 0-16,-1 0 15,1 0 1,0 0 0,13-13-1</inkml:trace>
  <inkml:trace contextRef="#ctx0" brushRef="#br0" timeOffset="11023.57">21960 8427 0,'14'0'94,"12"0"-78,-13 13-1,27 27-15,-27-14 16,27 14-16,-27-14 15,14 41-15,-27-14 16,0-14-16,0-12 16,0 12-16,-14-25 15,-12 12-15,13-26 16,-1 27 0,1-1-1,-13-13-15,26 14 0,-27-27 16,41 0 62,12 0-78,0-27 16,1 14-16,13-13 15,-1 12 1,-12 14-16,-1-13 15,1 0-15,-14 13 16,0 0 0</inkml:trace>
  <inkml:trace contextRef="#ctx0" brushRef="#br0" timeOffset="15048.56">20545 10292 0,'-13'14'0</inkml:trace>
  <inkml:trace contextRef="#ctx0" brushRef="#br0" timeOffset="15771.57">20770 10279 0,'-27'-13'15,"14"13"1,0 0-16,0 0 0,-1 0 0,1 13 16,0-13-16,0 13 0,0-13 15,-1 14-15,1-14 16,13 13-16,0 0 15,0 0 1,13 0-16,1 1 0,-1-1 16,0 0-16,0 0 0,0 1 15,-13-1-15,14-13 0,-14 13 16,0 0-16,0 1 16,-14-1-16,1 0 15,0-13-15,0 0 16,0 13-16,-1-13 0,1 0 15,0 0-15,0 0 16,13-13-16,-14 0 16,28 0-16,-1-1 15,0 1-15,-13 0 0,13 13 16,1-13-16,-1-1 0,0 1 0,13 0 16,-12 0-16,-1-1 0,0 1 15,0 0-15,-13 0 0,14 0 0,-1 13 16,-13-14-16,0 1 0,0 0 15,-13 0-15,13-1 16,-14 1-16,1 0 16,0 13-16,0 0 0,-1-13 0,1 13 15,-13 0-15,13 0 0,-1 0 0,1 0 16,13 13-16,-13-13 0,0 0 16,-1 13-16,1-13 0</inkml:trace>
  <inkml:trace contextRef="#ctx0" brushRef="#br0" timeOffset="17810.4">18640 9922 0,'-13'-13'15,"26"52"1,-13-25 0,0-1-16,0 0 0,-13 0 15,13 0-15,0 1 0,0-1 16,0 0-16,0 0 0,-14-13 0,14 14 15</inkml:trace>
  <inkml:trace contextRef="#ctx0" brushRef="#br0" timeOffset="18146.56">18984 9882 0,'-27'13'16,"14"-13"-1,0 14-15,0-1 0,-1 0 0,1-13 16,0 13-16,0 1 0,0-1 0,-1-13 16,14 13-16,-13 0 0,0 0 15,0 1 1,26-1-1,0-13 1,0 0-16,1 0 16,78 0 15,-79 0-31,1 0 16,-1-13-16,0 13 0</inkml:trace>
  <inkml:trace contextRef="#ctx0" brushRef="#br0" timeOffset="18854.59">18957 9869 0,'-13'26'0,"-13"41"31,12-41-31,1-13 0,0 14 16,0-1-16,13 1 0,-13-1 0,-1-13 15,1 14-15</inkml:trace>
  <inkml:trace contextRef="#ctx0" brushRef="#br0" timeOffset="19771.28">18058 10755 0,'0'27'15,"0"-14"-15,0 0 16,-13 0-16,13 1 0,0-1 0,-14 13 16,14 1-16,0-14 0,-13 14 0</inkml:trace>
  <inkml:trace contextRef="#ctx0" brushRef="#br0" timeOffset="22259.58">16986 7858 0,'-13'27'31,"0"-14"-31,13 0 0,-13 14 16,-1-14-16,14 13 0,-13 14 0,0 0 16,0-14-16,13 14 0,-14 13 0,1-14 15,13 1-15,-13 13 0,13-13 16,-13-1-16,13 14 0,0-13 0,0 0 16,-13 12-16,13-12 0,0 0 0,0 0 15,0-1-15,0 1 0,0 0 16,0-1-16,13 1 0,-13 0 0,0-1 15,0-12-15,0-1 0,0 1 16,0-1-16,0 14 0,13-14 0,-13 1 0,0-1 16,0 14-16,0-14 15,13 1-15,-13-1 0,0 14 0,0 0 16,13-14-16,-13 1 0,0-1 0,0 1 16,14-1-16,-14 14 0,13-14 15,-13 1-15,0-1 0,0 1 0,13-1 16,-13 0-16,0-12 0,0 12 15,0 1-15,0-14 0,13 13 0,-13-13 16,0 14-16,0-14 0,0 14 0,0-1 16,0-13-16,0 14 0,0-14 0,0 13 15,0-12-15,0 12 0,0-13 16,0 1-16,0 12 0,0-13 0,0 1 16,0-1-16,0 0 0,0 0 15,0 0-15,0 1 0,0-1 0,0 0 16,0 0-16,14 1 0,-14-1 15,0 0-15,0 0 0,0 1 16,0-1-16,0 0 16,0 0-16,13 0 0,-13 1 15,0-1-15,0 0 0,0 0 16,0 1-16,0-1 16,0 0-16,0 0 0,0 1 15,0-1-15,0 0 16,-13 0-16,13 0 0,0 1 15,0-1-15,0 0 16,0 0-16,0 1 0,0-1 0,0 0 16,0 0-16,0 0 0,0 1 15,-14-1-15,14 0 0,0 0 0,0 1 16,0-1-16,0 0 0,0 0 16,0 1-16,0-1 0,0 0 15,0 0-15,0 0 0,0 1 0,0-1 16,0 0-16,0 0 15,0 1-15,0-1 0,0 0 16,0 0-16,-13-13 0,13 14 0,0-1 16,0 0-16,0 0 0,0 0 15,0 1-15,0-1 0,-13 0 0,13 0 16,0 1-16,0-1 0,0 0 16,0 0-16,0 0 15,-13 1-15,13-1 0,0 0 0,0 0 16,0 1-16,0-1 0,0 0 15,0 0-15,0 1 0,0-1 0,0 0 16,0 0-16,-14 0 16,14 1-16,0-1 0,0 13 15,0-12-15,0-1 16,0 0-16,0 0 16,0 1-1,0-1-15,0 0 16,0 0-1,0 0 1,0 1-16,0-1 16,0 0-16,-13 0 15,13 1 1,0-1 0,0 0-16,0 0 15,0 1-15,0-1 16,0 0-16,0 0 15,0 0 1,0-52 47</inkml:trace>
  <inkml:trace contextRef="#ctx0" brushRef="#br0" timeOffset="22732.08">16417 11284 0,'27'0'47,"-14"0"-47,0 0 0,1 0 0,12 0 15,-13 0-15,14 0 0,-1 0 16,1 0-16,12 0 0,-12 0 0,12-13 16,-12 13-16,26 0 0,-13 0 0,-1 0 15,1 0-15,13 0 0,-14-13 16,1 13-16,0 0 0,-14 0 0,14-13 16,-14 13-16,14 0 0,-13-13 15,-1 13-15,1-14 0,-1 14 0,0 0 16,-12-13-16,-1 13 0,13 0 15,-12-13-15,-1 13 0,0 0 16</inkml:trace>
  <inkml:trace contextRef="#ctx0" brushRef="#br0" timeOffset="23472.52">16907 7818 0,'0'0'0,"-13"0"16,-1 14-16,1-14 16,0 13-16,13 13 0,-26-12 15,12-1-15,1 13 0,0 14 0,-14-14 16,14 1-16,0-1 0,-14 1 0,14-14 15,0 13-15,0-12 0,13 12 16,-13-13-16,-1 1 0,14-1 16,-13-13-16,13 13 0,0 0 0</inkml:trace>
  <inkml:trace contextRef="#ctx0" brushRef="#br0" timeOffset="23728.47">16801 7805 0,'40'13'15,"-80"-26"-15,93 26 0,-40-13 0,0 14 0,14-14 16,-1 26-16,14-13 0,0 1 16,-14 12-16,14-13 0,0 1 15,-1-1-15,-12 13 0,12-13 0,-12 1 16,-1-1-16,1-13 0,-14 13 15,13 0-15,-12-13 0,-1 0 0,0 14 16,0-14-16,1 0 0,-14 13 0,13-13 16,0 0-16</inkml:trace>
  <inkml:trace contextRef="#ctx0" brushRef="#br0" timeOffset="24663.66">16417 7117 0,'14'80'15,"-14"-67"-15,0 13 16,0-12-16,13 12 0,-13-13 0,0 14 16,0-1-16,13-13 0,-13 1 15,0-1-15,0 0 0,13 0 0</inkml:trace>
  <inkml:trace contextRef="#ctx0" brushRef="#br0" timeOffset="24908.45">16775 7091 0,'-27'26'31,"14"-12"-31,-14 12 0,1 14 15,0-1-15,-1 1 0,-13 13 0,14-13 16,-1 13-16,-12-14 0,12 1 16,1 13-16,-1-13 0,1-14 15,13 0-15,-14 14 0,14-13 0,0-1 16,0-13-16,-1 1 0,14-1 16,-13 0-16,13 0 0,0 0 15,-13-13-15</inkml:trace>
  <inkml:trace contextRef="#ctx0" brushRef="#br0" timeOffset="25839.37">24937 11589 0,'-13'-13'15,"13"-1"1,-13 28-16,-1-1 0,1 0 16,0 0-16,0 14 0,-14-1 0,14 1 15,-14-1-15,1 1 0,0-1 16,12 14-16,-12-14 0,-1-13 0,14 14 15,0-14-15,-14 0 0,14 0 0,13 1 16,-13-1-16,0-13 0,0 0 16</inkml:trace>
  <inkml:trace contextRef="#ctx0" brushRef="#br0" timeOffset="26056.53">24553 11642 0,'14'-14'15,"25"28"1,-26-1-16,14 0 0,-1 14 16,14-14-16,-13 13 0,12 1 15,1-14-15,-14 13 0,14 1 0,-13-14 16,12 14-16,-12-1 0,-1-13 16,-13 0-16,14 1 0,-14-1 0,0 0 15,-13 0-15,13-13 0,1 14 0,-1-1 16</inkml:trace>
  <inkml:trace contextRef="#ctx0" brushRef="#br0" timeOffset="28087.27">14777 10001 0,'-13'-13'15,"26"39"32,-13-12-47,0-1 0,0 0 0,13 0 16,-13 1-16,0-1 0,13 0 16,-13 0-16,0 1 0,14-14 15,-14 13-15,0 0 0,0-39 47,0 12-47,0 1 16,-14 0-16,14 0 0,0-1 0,0 1 15,0 0-15,0 0 16,-13-1-16,53 28 31,-27-1-15,0-13-16,1 13 15,-1-13-15,0 0 0,0 0 16,14 0-16,-14 0 16,-13-13-16,13 13 15,-13-13-15,0-1 16,0 1-16,0 0 0,0 0 16,0 0-16,0-1 0,0 1 15,-13 0-15,13 0 0,0-1 16,-13 1-16,13 0 15,-14 13-15,1 13 32</inkml:trace>
  <inkml:trace contextRef="#ctx0" brushRef="#br0" timeOffset="28403.34">15028 9816 0,'14'-13'0,"-14"39"16,0-13 0,13 1-16,0-1 15,-13 0-15,13 0 0,0-13 0,-13 14 16,14-14-16,-1 0 0,0 13 16,0-13-16,1 0 0,-1 0 0,0 0 15,0-13-15,1-1 16,-14 1-16,0 0 15,-14 0-15,14-1 0,-13 14 16,13-13-16,0 0 16,-13 13-16,13-13 0,-13 13 0,-1-13 15,1 13 1,0 0-16,0 0 16</inkml:trace>
  <inkml:trace contextRef="#ctx0" brushRef="#br0" timeOffset="29218.12">15412 9366 0,'-13'0'15,"26"0"-15,-39 13 16,12-13-16,14 14 0,-13-1 15,0 0-15,0 0 0,13 1 16,0 12-16,-14-26 0,14 13 16,0 1-16,0 12 0,14-26 15,-14 13-15,13 0 0,0-13 16,0 0-16,14 0 16,-14-13-16,-13 0 0,13 0 15,0 0-15,1-1 0,-14 1 0,0 0 16,13 0-16,-13-1 0,0 1 0,0 0 15,0 0-15,-13 13 0,13-14 16,-14 1-16,1 13 16,0 0-16,0 13 15,0-13-15,-1 0 16,1 14-16,40-28 31,-14 14-31,0-13 16,0 0-16,0 0 0,1 0 15,-1-1-15,13 1 0,-12-13 0,-1 12 16,0 1-16,0-13 0,-13 13 0,14-1 16,-1 1-16,0 0 0,0 13 15,0 0-15,1 0 16,-1 13-16,-13 0 0,13 1 0,-13 12 16,13 14-16,-13 13 15,0-14-15,0 1 0,0 13 0,0-13 16,-13-1-16,13 14 0,-13-13 0,0-14 15,13 1-15,-14-1 0,14 1 16,-13-14-16,13 0 0,-13 0 0,0-26 31,13 0-31,0-14 0,0-12 0,13-14 16,-13 0-16,13 0 0,0-13 16,1 13-16,12 0 0,-13 0 15,14 0-15,-14 14 0,0 12 0,14 1 16,-14-1-16,0 14 0,0 0 15,1 13-15,-14-14 0,13 14 0,0 0 16,-13 14-16,13-1 0,-13 0 0,0 0 16,14 1-16</inkml:trace>
  <inkml:trace contextRef="#ctx0" brushRef="#br0" timeOffset="29953.34">14870 10583 0,'-27'14'32,"27"-1"-32,0 0 15,0 0-15,0 0 16,0 1-16,0-1 0,13-13 0,-13 13 15,0 0-15,14 1 0,-1-14 0,-13 13 16,13-13-16,0 0 0,-13 13 16,13-26-16,1 13 0,-1-13 15,0 13-15,-13-14 16,13 14-16,-13-13 16,14 26-1,-1-13-15,-13 14 16,13-14-16,0 0 0,-13 13 15,14-13 1,-1-13-16,0 13 0,0-14 16,0 1-16,-13 0 0,14 13 15,-14-13-15,0-1 0,0 1 16,0-13-16,0 13 0,0-1 0,0-12 16,-14 13-16,14-1 0,0 1 0,0 0 15,0 0-15,0 0 16,14 26-1,-14 0 1,0 0-16</inkml:trace>
  <inkml:trace contextRef="#ctx0" brushRef="#br0" timeOffset="30736.12">15253 10610 0,'0'0'15,"13"-40"1,-13 27-16,0 0 0,0-1 16,-13 28 31,13-1-47,0 0 0,0 0 15,0 1-15,0-1 16,13-13-16,1 0 15,-1 0-15,0 0 16,0-13-16,1 13 0,-1-14 16,0 1-16,0 0 0,1 0 0,-1-1 15,0 1-15,0 0 0,0 0 0,-13 0 16,14-1-16,-14 1 0,0 0 16,13 13-16,-13-13 0,0 39 62,13-13-62,-13 1 0,13-1 16,1-13-16,-14 13 15,13-13-15,0 0 16,0 0-16,1-13 0,-1 13 16,0-13-16,0 13 0,-13-14 15,0 1-15,13 13 0,-13-13 16,0 0-16,0-1 0,0 1 0,0 0 15,0-14-15,-13 14 0,13-13 0,-13-1 16,13 14-16,0-13 0,-13-1 0,13 14 16,0-14-16,0 14 15,0-13-15,0 13 0,13-1 0,-13 1 16,13 0-16,0 0 0,1-1 0,-1 1 0,0 13 16,0 0-16,1-13 15,-1 13-15,0 0 0,0 13 0,0-13 16,-13 13-16,14 1 0,-14-1 0,-14 0 15,14 14-15,-13-14 0,13 13 0,-13-13 16,0 14-16,0-14 0,-1 14 16,1-14-16,0 0 0,13 0 0,-13 1 15,-1-1-15,14 0 16,0 0-16,14-13 16,-1 0-16,0 0 0,0 0 15,14 0-15,-1 0 0,-13 0 0,14-13 16,-1 13-16,1 0 15,-1-13-15,1 13 0,-1 0 0,-13-13 16,1 13-16,-1 0 0,13 0 0,-12 0 16,-1 0-16,0 0 15,0 0-15</inkml:trace>
  <inkml:trace contextRef="#ctx0" brushRef="#br0" timeOffset="31723.55">19209 13388 0,'66'-27'15,"-40"27"-15,27-13 0,13 13 16,1-13-16,12 13 0,0-13 15,14 0-15,0 13 0,26-14 0,13 1 16,0 0-16,-13 0 0,0 13 0,-13-14 16,13 1-16,-26 0 0,13 13 15,-14-13-15,1 13 0,-1-14 0,-12 1 16,12 13-16,-12-13 0,-14 13 0,13-13 16,-13 13-16,-13 0 0,0-13 15,-13 13-15,-14 0 0,1 0 0,-1-14 16,-12 14-16,-1 0 0,0 0 0,0 0 15,1-13-15,-1 0 16,-26 0 0,-1 13-16,1-14 0</inkml:trace>
  <inkml:trace contextRef="#ctx0" brushRef="#br0" timeOffset="32021.29">21339 12991 0,'66'13'31,"-40"-13"-31,14 14 0,13-1 0,-13-13 16,12 13-16,1 0 0,0-13 0,-13 13 15,0 1-15,-1-1 0,1 0 0,-13-13 16,-1 13-16,-13 1 0,0-14 15,1 13-15,-1 0 0,-13 0 0,0 0 16,0 14-16,-27-14 16,1 0-16,0 14 0,-1-1 0,-13-12 15,1-1-15,-1 13 0,0-13 16,-13 1-16,14-1 0,-14 0 0,13 0 16,-13-13-16,13 14 0</inkml:trace>
  <inkml:trace contextRef="#ctx0" brushRef="#br0" timeOffset="32943.47">19526 13652 0,'-26'27'31,"26"-14"-31,0 0 0,0 1 0,-13-1 16,13 0-16,0 0 0,0 1 15,0 12 1,0-13-16,0 0 16,26-39 15,-26 13-16,13 13-15,0-13 0,-13-1 16,14 14-16,-1-13 16,13 13-1,-26 13-15,14-13 16,-1 14-16,0-1 16,-13 0-16,13-13 15,1 0-15,-14 13 0,13-13 16,0 13-16,13-26 15,-12 13 1,-1-13 0,0 13-1,0 0 1,1 0 0,-1 0-16,-13 13 15,13-13-15,0 0 0,14 0 16,-14 0-16,-13-13 0,13 13 15,0 0-15,1-13 16,-14 0-16,0-1 16,0 1-16,-14 0 15,1 13-15,13-13 0,-13 13 16,0 0-16,-14-14 0,14 14 16,0 0-16,0 0 0,-1 0 0,1 0 15,0 14-15,0-14 0,13 13 16,0 0-1,13-13-15</inkml:trace>
  <inkml:trace contextRef="#ctx0" brushRef="#br0" timeOffset="33532.35">20122 13666 0,'0'13'0,"-14"0"15,28 0-15,-14 1 16,13-1 0,0 0-1,0-13-15,0 0 0,1-13 16,-1 13-16,-13-13 16,0-1-16,0-12 15,-13 26-15,13-13 16,-14-1-1,28 54 17,-14-27-32,13 1 15,0-1-15,0 0 0,1 14 16,-14-14-16,13 13 0,-13 1 0,13-14 16,-13 13-16,0-12 0,0-1 0,-13 13 15,13-12-15,0-1 0,-13 0 16,-1 0-16,1-13 15,0-13 1,0 0-16,13 0 0,0-1 16,0 1-16,0 0 0,0 0 0,13-1 15,-13 1-15,13 0 0,14 0 0,-1-14 16,1 14-16,-1-13 0,0 12 16,1 1-16,-1 13 0,1-13 15,-14 13-15,14-13 0</inkml:trace>
  <inkml:trace contextRef="#ctx0" brushRef="#br0" timeOffset="34806.96">20624 13454 0,'-13'27'31,"13"-14"-31,0 13 16,0-13-16,-13 14 0,13-14 0,0 14 15,0-14-15,0 13 0,13-13 16,-13 1-16,0 12 0,13-13 0,-13 1 15,14-14-15,-1 13 0,-13 0 0,13-13 16,0 0-16,0 0 16,1-13-16,-1 13 0,0-13 15,-13-1-15,13 14 0,1-13 0,-14 0 16,13 0-16,-13-1 0,0 1 16,13 13-16,-13-13 0,13 0 15,-13 26 16,13 0-15,-13 0-16,0 1 16,14-14-16,-14 13 15,13-13-15,0-13 32,0 13-17,1-14 16,-1 28 16,-13-1-15,13 0-1,-13 0-16,13-26 32,-13 0-47,14 13 16,-14-13 0,13 13-1,0 0 1,0 0 15,0 0 0,1 0-15,-14-14-16,13 14 16,-13-13-16,13 13 0,0 0 0,-13-13 15,14 0-15,-1 0 16,-13-1-1,13 14-15,-39 14 47,26-1-47,-14 0 16,14 0-16,14 0 16,-14 1-1,13-1 1,0-13-16,0 0 15,1 0-15,-14-13 16,13 13-16,0-14 0,0 1 0,-13 0 16,13 0-16,1 0 0,-14-1 0,13 1 15,-13 0-15,13 0 0,-13-1 16,0 1-16,13 13 0,-13-13 0,0 0 16,0 0-1,0 39 16,0-13-31,-13-13 0,13 13 16,0 1-16,0-1 0,0 0 16,0 0-16,0 1 0,0-1 0,0 0 15,0 0-15,0 0 16,13 1-16,1-14 16,-1 13-16,0-13 0,0 0 15,0 0-15,1-13 0,12 13 0,-13 0 16,14 0-16,-1 0 0,-12 0 15</inkml:trace>
  <inkml:trace contextRef="#ctx0" brushRef="#br0" timeOffset="36231.44">21762 13705 0,'79'-79'31,"-65"66"-15,-1 0-16,-13-1 0,13-12 0,-13 13 15,0-1-15,0 1 0,0 0 16,0 0-16,-13 13 15,0 0-15,-1 0 16,1 13-16,0 0 16,0-13-16,13 13 0,-14 1 0,14-1 15,0 0-15,0 0 0,0 1 16,0-1-16,14 0 0,-1 0 16,0 0-16,0-13 15,1 14-15,-1-14 0,13 0 16,-12 0-16,-1 0 0,0 0 0,0 0 15,14-14-15,-14 14 0,13 0 16,-12-13-16,-1 13 0,13-13 0,-13 13 16,1-13-16,12 13 0,-13 0 15,1-13-15,-1-1 0,0 14 16,0-13-16,1 0 16,-14 0-16,0-1 15,-14 1 1,1 26-1,0-13 1,0 14-16,-1-1 16,14 0-16,-13-13 0,13 13 15,-13 1-15,13-1 0,0 0 16,0 0 0,0 0-16,13 1 15,0-28 1,1 14-16,-1-13 15,0 0 1,-13 0-16,13 13 0,-13-13 16,14-1-16,-14 1 31,0 0-31,0 39 47,0-12-32,0-1 1,0 0-16,13-13 16,0 0-16,0 0 15,0-13-15,1 13 16,-1-13-16,0 13 0,0-14 16,1 1-16,-1 13 0,-13-13 0,13 13 15,-13-13-15,13 13 0,-13-14 0,14 14 16,-1-13-1,-13 26 17,0 1-32,0-1 15,0 0 1,0 0-16,0 1 16,13-1-16,0 0 15,0-13 1,1 0-16,-1 0 0,0 0 15,0 0-15,1-13 16,-1 13-16,-13-13 0,13-1 0,0 14 16,-13-13-16,0 0 0,13 0 15,-13-1-15,0 1 0,0 0 16,0 0-16,0 0 0,0-1 0,0 1 16,0 0-1,0 0-15,-13 13 16,13-14-1,0 41 17,0-14-32,0 0 0,0 1 15,0-1-15,0 0 0,0 0 0,0 0 16,0 1-16,0-1 0,0 0 16,0 0-1,13-13-15,-13 14 16,14-14-1,-1-14-15,0 14 16,0 0-16,-13-13 0,14 13 0,-1 0 16,0 0-16,0 0 0,1 0 0,12-13 15</inkml:trace>
  <inkml:trace contextRef="#ctx0" brushRef="#br0" timeOffset="36750.01">22953 13467 0,'0'27'47,"0"-14"-31,0 0-16,0 0 16,13-13 15,0 0-16,0-13-15,1 13 16,-1 0-16,0 0 16,0 0-1,0-13 1,1 13 0,-1-13-16,-13 0 15,0-1 1,0 1-16,13 0 15,-13 0 1,0-1-16,13 14 31,1 0-15,-1 0-16</inkml:trace>
  <inkml:trace contextRef="#ctx0" brushRef="#br0" timeOffset="37551.32">23323 13533 0,'13'-39'32,"-13"26"-32,13-1 15,-13 1 1,0 0-16,-13 13 31,0 13-15,13 0-16,-13-13 15,13 14-15,0-1 16,0 0 0,13-13-1,0 0-15,0 0 16,1-13-16,-1 13 15,-13-13-15,13 13 0,0-14 16,1 1-16,-1 0 16,-13 0-16,13 13 0,-13-14 15,0 41 32,0-14-31,0 0-16,0 1 0,13-14 15,-13 13-15,14-13 16,-1 0 0,0 13-16,0-26 0,0 13 15,1 0-15,-14-13 0,13 13 16,-13-14-16,13 1 0,-13 0 16,13 0-16,-13-1 0,0 1 15,0 0-15,0 0 0,0-1 0,0-12 16,0 13-16,0 0 0,14-1 15,-14 1-15,13 0 0,-13 0 16,13-1-16,0 1 16,1 13-1,-1 0-15,-26 27 32,-1-14-32,1 0 15,13 0-15,-13 1 0,0-1 0,13 0 16,-14-13-16,14 13 0,-13 0 0,13 1 15,0-1 1,0 0-16,13-13 16,14 0-1,-14 0-15,0 0 16,1 0-16,-1-13 0,13 13 0,-13 0 16,1-13-16,-1 13 0,0-14 15,0 14-15,1 0 16,-1 0-16,0-13 0</inkml:trace>
  <inkml:trace contextRef="#ctx0" brushRef="#br0" timeOffset="39908.37">6760 6787 0,'27'0'0,"-54"0"0,67 0 0</inkml:trace>
  <inkml:trace contextRef="#ctx0" brushRef="#br0" timeOffset="40141.61">6575 7051 0,'-13'13'31,"52"-26"-31,-39 0 16,27 13-16,13-27 0,-27 14 16,13 13-16,1-26 0,12 13 0,-12-1 15,12 1-15,-12 0 0,13 0 16,-1-1-16,1 14 0,0-13 0,13 0 16,-14 13-16</inkml:trace>
  <inkml:trace contextRef="#ctx0" brushRef="#br0" timeOffset="40615.33">8295 6416 0,'53'-26'16,"-27"26"-16,-13 0 0,14 0 0,-14 0 15,13 0-15,-12 0 0,-1 0 0,0 13 16,0 0-16,-13 0 15,0 1-15,0-1 0,-13 13 0,0 1 16,0-1-16,-14 1 0,1-1 0,13 1 16,-14-1-16,14 1 0,-14-14 0,27 0 15,-13-13-15,0 13 0,13 0 16,-13-13-16,13 14 0,-14-14 0,41 0 31,-14 0-15,0 0-16,1 0 0,-1-14 0,13 14 15,1 0-15,-1-13 0,1 13 0,-1-13 16,1 13-16,-1-13 0,14 13 16,-27-13-16,13 13 0,1-14 0,-14 14 15,14-13-15,-14 13 0,13-13 0</inkml:trace>
  <inkml:trace contextRef="#ctx0" brushRef="#br0" timeOffset="41083.44">9221 6297 0,'-106'0'31,"79"0"-31,14 0 0,-13 13 0,13 1 16,-14-1-16,1 0 0,12 0 0,-12 0 16,13 1-16,-1-1 0,14 0 0,-13 0 15,13 1-15,0-1 16,13-13-16,1 0 15,-1 0-15,0 0 0,14-13 0,-1 13 16,1-14-16,-14 1 0,13 0 16,1 13-16,-14 0 0,0-13 0,0 13 15,1 0-15,-1 0 0,0 0 16,0 13-16,1 0 16,-14 0-16,0 1 15,0-1-15,0 0 0,13 0 0,-13 1 16,0-1-16,0 0 0,0 0 15,0 0-15,0 1 0,0-1 0,13 0 16</inkml:trace>
  <inkml:trace contextRef="#ctx0" brushRef="#br0" timeOffset="45790.32">9763 6297 0,'13'-13'0,"-39"13"15,13 13-15,-1 0 16,1 1-16,0-1 0,-13 0 0,-1 0 16,14 14-16,-14-1 0,14-13 0,-13 1 15,26-1-15,-14 0 0,1 0 16,13 1-16,-13-1 0,13 0 15,0 0-15,13-13 16,0 0-16,1 13 16,-1-13-16,13-13 0,-12 13 0,12 0 15,1 0-15,-1-13 0,0 13 0,1-13 16,-1 13-16,-12-13 0,12 13 0,0-14 16,-12 1-16,12 0 0,-26 0 15,13 13-15,1-14 0,-14 1 0,0 0 16</inkml:trace>
  <inkml:trace contextRef="#ctx0" brushRef="#br0" timeOffset="45947.71">9776 6218 0,'-39'26'15,"78"-52"-15,-78 65 0,25-12 16,14-14-16,0 14 0,-13-1 0,13 14 16,0-14-16,0 14 0,0-14 0,0 1 15,0-1-15,13 1 0,-13 12 16,0-12-16,0-1 0,14-12 0,-14 12 15,0-13-15,0 14 0,0-14 0,0 0 16</inkml:trace>
  <inkml:trace contextRef="#ctx0" brushRef="#br0" timeOffset="46226.51">8083 7329 0,'172'-53'16,"-79"13"-16,26 14 0,-14-1 16,15 1-16,12 0 0,0-1 0,-13-13 15,14 14-15,-14-1 0,0 1 16,-14 0-16,1-1 0,-13 14 15,-27 0-15,13-1 0,-26 1 0,0 0 16,-13 13-16,0-13 0,-14 13 0,-13 0 16,1 13-16</inkml:trace>
  <inkml:trace contextRef="#ctx0" brushRef="#br0" timeOffset="46720.49">9155 7699 0,'0'-13'32,"-14"13"-17,1 0-15,0 0 0,0 0 0,-1 13 16,-12-13-16,26 14 0,-13-14 16,0 13-16,-1-13 0,1 13 0,13 0 15,-13-13-15,13 14 16,13-14-16,-13 13 0,13-13 15,1 13-15,-1-13 0,0 0 16,0 13-16,0-13 0,1 0 0,-1 13 16,0 1-16,0-1 15,-26 13 1,0-12-16,0-1 0,-1 0 0,1 0 16,-13 1-16,-1 12 0,14-13 15,-13 0-15,12-13 0,-12 14 0,13-1 16,-1-13-16,1 13 0,0-13 0,0 0 15,13-13 1,13 0-16,0-14 16,0 1-16</inkml:trace>
  <inkml:trace contextRef="#ctx0" brushRef="#br0" timeOffset="46975.35">9340 7660 0,'13'0'16,"-13"13"-16,-13 66 31,13-65-31,0-1 0,0 0 0,13 0 16,-13 14-16,13-27 0,0 13 15,1 0-15,-1-13 0,0 13 16,0-13-16,1 0 0,-1 0 16,0-13-16,0 13 0,1-13 15,-14 0-15,0-1 16,-14 1-16,-12 0 15,13 0-15,-14-14 0,-13 14 0,1 0 16,12 0-16,-12-1 0,-1 1 16,0 0-16,1 0 0,-14-1 0</inkml:trace>
  <inkml:trace contextRef="#ctx0" brushRef="#br0" timeOffset="47471.43">6469 6892 0,'53'-26'31,"-27"13"-31,14-1 0,-13 1 0,12 0 0,1 0 16,13 0-16,0-14 0,0 14 0,13 0 16,0-1-16</inkml:trace>
  <inkml:trace contextRef="#ctx0" brushRef="#br0" timeOffset="47792.75">11020 6853 0,'26'-27'16,"-12"27"-16,105-26 31</inkml:trace>
  <inkml:trace contextRef="#ctx0" brushRef="#br0" timeOffset="47999.96">11126 7025 0,'0'0'16,"-14"13"-16,54-26 31,-27 13-31,1 0 16,-1-14-16,0 14 0,0 0 15,14-13-15,-14 13 0,0-13 0,14 0 16,-14 13-16</inkml:trace>
  <inkml:trace contextRef="#ctx0" brushRef="#br0" timeOffset="48376.66">12197 6601 0,'-26'0'15,"13"0"-15,-1 0 16,1 14-16,0-14 0,-14 13 15,14-13-15,0 13 0,0 0 0,0-13 16,-1 14-16,1-14 16,13 13-16,0 0 0,0 0 15,13-13-15,-13 13 16,14-13-16,-1 14 0,0-1 16,0-13-16,0 13 0,1 0 15,-1 1-15,-13-1 16,0 0-16,-13 0 15,13 0-15,-14 1 0,1-1 0,-13-13 16,13 13-16,-1 0 0,1 1 16,-13-14-16,12 13 0,1 0 0,0-13 15,0 0-15,13 13 0,-14-13 16</inkml:trace>
  <inkml:trace contextRef="#ctx0" brushRef="#br0" timeOffset="48543.33">12369 6787 0,'0'0'0,"0"-14"32</inkml:trace>
  <inkml:trace contextRef="#ctx0" brushRef="#br0" timeOffset="48863.48">12779 6548 0,'-26'14'31,"13"-14"-31,-1 0 0,1 13 0,0 0 16,0-13-16,0 13 0,-1-13 15,14 14-15,-13-14 0,13 13 0,13 0 16,-13 0 0,14 1-16,-1-1 15,0-13-15,-13 13 0,13 0 0,0 0 16,-13 1-16,0-1 15,-13 0-15,0 0 0,-13 14 16,-14-14-16,13 13 0,-12 1 16,-1-14-16,-13 14 0,13-14 0,-13-13 15,1 13-15,-1-26 0</inkml:trace>
</inkml:ink>
</file>

<file path=ppt/ink/ink13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1:44:30.139"/>
    </inkml:context>
    <inkml:brush xml:id="br0">
      <inkml:brushProperty name="width" value="0.05292" units="cm"/>
      <inkml:brushProperty name="height" value="0.05292" units="cm"/>
      <inkml:brushProperty name="color" value="#0070C0"/>
    </inkml:brush>
  </inkml:definitions>
  <inkml:trace contextRef="#ctx0" brushRef="#br0">11324 3175 0,'27'0'94,"78"26"-94,1-12 15,40-1-15,-1-13 16,-39 0-16,66 0 15,0 0-15,146 0 16,-54 0-16,133 0 16,13-27-16,238-25 15,-66 38-15,-145-12 16,0-1-16,-133 14 16,53 13-1,-145 0-15,-53 0 0,-67 0 16,-52 0-16</inkml:trace>
  <inkml:trace contextRef="#ctx0" brushRef="#br0" timeOffset="1587.22">966 4008 0,'39'0'31,"67"14"-31,13-14 15,40 13 1,26 0-16,-13 0 16,40-13-16,39 0 15,-92 0-15,-13 0 16,-80 0-16,13 0 0,-26 0 16</inkml:trace>
  <inkml:trace contextRef="#ctx0" brushRef="#br0" timeOffset="3926.54">3360 5411 0,'13'0'62,"54"0"-46,38 0-16,81 0 16,25 0-1,-12 0-15,-1 0 16,-26 0-16,93 0 16,-107 0-16,-25 0 15,-14 0-15,-106 0 16,0 0-16</inkml:trace>
  <inkml:trace contextRef="#ctx0" brushRef="#br0" timeOffset="4906.59">1204 6773 0,'26'27'47,"1"-27"-47,118 13 16,14-13-16,79 0 15,14 0 1,12 13-16,-105-13 16,39 0-16,-12 0 15,-67 0-15,26 0 0,-92 0 16,-27 0-1</inkml:trace>
  <inkml:trace contextRef="#ctx0" brushRef="#br0" timeOffset="6111.11">1058 7924 0,'27'0'31,"26"0"-16,13 0 1,26 27-16,-12-14 16,65 0-16,1 14 15,-1-27-15,14 0 16,-13 0-16,131 26 16,-65-26-16,-27 0 15,80 0-15,26 0 0,132 0 16,-92 0-1,-13 0-15,12 0 16,107 0-16,-120 0 16,14 0-16,-13 0 15,-27 0-15,66 0 16,-26 0-16,-133 0 16,-26 0-16,-53 0 15,-13 0-15,-80 0 16,-12 0-16</inkml:trace>
  <inkml:trace contextRef="#ctx0" brushRef="#br0" timeOffset="7274.5">900 9247 0,'13'0'78,"26"0"-78,14 0 16,66 0-16,-13 0 15,40 0-15,13 0 16,39 0-16,146-13 15,66-27-15,-79 14 16,0 26-16,-133 0 16,67 0-16,-133 0 15,-53 0-15,-39 0 16</inkml:trace>
  <inkml:trace contextRef="#ctx0" brushRef="#br0" timeOffset="9117.25">1230 10570 0,'0'0'0,"14"0"16,-1 0-16,0 0 78,0 0-62,0 0-16,27 0 15,-13 13-15,-1-13 16,27 0-16,40 14 15,52-1-15,-26-13 16,-13 0 0,40 0-16,52 0 15,-39 0-15,105 0 16,-52 0-16,13 0 16,-13 0-16,-41 0 15,-12 0-15,-26 0 0,-28 0 16,-38 0-1,-28 0-15,-12 0 16,-14 0-16,0 0 16,0 0-1,1 0 1,12 0-16,1 0 16,-1 0-1,0 0-15,14 0 16,0 0-16,-1 0 15,1 0-15,26 0 16,0 0-16,1 0 16,-28 0-16,-25 0 15,-1 0-15,0 0 16</inkml:trace>
  <inkml:trace contextRef="#ctx0" brushRef="#br0" timeOffset="12094.11">7990 9737 0,'-13'0'31,"0"13"-15,13 13-16,-13-12 0,0 12 15,-1 0 1,1 27-1,13-26-15,0 13 16,0 12-16,0 68 16,0-68-16,0 1 15,0-26-15,0 26 0,27 26 16,-14-52 0,-13-1-16,0-13 15,0 1 1,0-41 78,-13-39-79,13 13-15,0 0 16,0 0-1,0-39-15,-14 12 16,1 1-16,0 26 16,13 0-16,-13-13 0,-1 13 15,1 13 1,0 27-16,13 0 16,26 13 93,1 0-93,26-27-16,13 27 15,26-26-15,-52 13 16,-27-1-16,27 1 15,-13 0-15,-14 0 16,0 13 0,0 0-16,0 0 109,1 13-93,-1 27-16,13-14 15,1 27-15,-27 0 16,26 0-16,-12 26 16,-1-26-16,0-13 15,0 13-15,-13 0 16,27 92-16,-14-79 15,0-26 1,-13 0-16,13-1 16,-13-12-16,0-1 15,0-12 126,-26-1-141,-27 13 16,13-13-16,27-13 15,-13 27-15,-14-27 16,13 13-16,-25-13 15,12 0-15,27 0 16,-1 0-16</inkml:trace>
  <inkml:trace contextRef="#ctx0" brushRef="#br0" timeOffset="13014.12">12039 9763 0,'0'27'31,"0"39"-16,13 26-15,13 1 16,14 26-16,13 13 16,-27 1-1,1-41-15,-14-26 16,-13-26-16,0-14 0,26 27 16,-26-26-16,0-14 15,14 0-15,-28-52 94,14-28-78,-26-12-16,26 26 15,-40-39-15</inkml:trace>
  <inkml:trace contextRef="#ctx0" brushRef="#br0" timeOffset="13293.14">11933 9816 0</inkml:trace>
  <inkml:trace contextRef="#ctx0" brushRef="#br0" timeOffset="14154.26">11933 9750 0,'13'13'62,"0"-13"-46,14 0-1,-14 0-15,27 0 16,-1 0-16,41 0 16,52-13-16,-26 0 15,13-1-15,26 1 0,1 0 16,-1-13 0,120-14-16,-133 40 15,-79 0-15,-13 0 16,-27 0 78,-13 26-79,0 1-15,0-1 16,0 27-1,13 13-15,27 67 16,-14-28-16,14 14 16,13 1-16,-40-41 0,-13-26 15,13-13-15,1-1 16,-14-26-16,0 1 16,0-1 93,-66-13-93,-27 13-16,-132 0 15,13-13-15,-79 0 16,0 0-16,66 0 15,-171 0-15,144 0 16,54-13-16,105 13 16</inkml:trace>
</inkml:ink>
</file>

<file path=ppt/ink/ink13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1:44:56.677"/>
    </inkml:context>
    <inkml:brush xml:id="br0">
      <inkml:brushProperty name="width" value="0.05292" units="cm"/>
      <inkml:brushProperty name="height" value="0.05292" units="cm"/>
      <inkml:brushProperty name="color" value="#0070C0"/>
    </inkml:brush>
  </inkml:definitions>
  <inkml:trace contextRef="#ctx0" brushRef="#br0">16801 4842 0,'40'0'31,"-14"0"-15,-13 0-16,1 0 0,-1 0 0,0-13 0,0 13 15,1 0-15,12 0 16,-13-14-16</inkml:trace>
  <inkml:trace contextRef="#ctx0" brushRef="#br0" timeOffset="194.73">16748 4961 0,'-13'0'31,"39"13"0,-12-13-31,-1-13 16,0 13-16,0 0 0,1 0 15,-1 0-15,0-13 16,0 13-16</inkml:trace>
  <inkml:trace contextRef="#ctx0" brushRef="#br0" timeOffset="711.83">17476 4815 0,'13'-13'0,"-40"26"47,14-13-47,0 14 15,0-14-15,0 13 0,-1-13 16,1 13-16,0-13 0,0 13 15,-1 1-15,14-1 16,0 0 0,14 0-1,-1-13-15,-13 13 0,13-13 16,0 0-16,-13 14 0,14-14 0,-1 13 16,0-13-1,-13 13-15,13-13 0,-13 13 16,-13 1-16,0-1 15,0 0 1,-1-13-16,1 13 16,0-13-16,0 0 0,-1 14 0,1-14 15,0 0-15,0 0 32</inkml:trace>
  <inkml:trace contextRef="#ctx0" brushRef="#br0" timeOffset="908.83">17661 4921 0,'-13'-13'31</inkml:trace>
  <inkml:trace contextRef="#ctx0" brushRef="#br0" timeOffset="1276.33">17978 4842 0,'-39'13'32,"26"-13"-32,-1 13 0,-12-13 0,13 14 15,-1-14-15,1 13 0,0-13 0,0 13 16,-1-13-16,1 13 0,26 0 31,1-13-15,-14 14-16,13-14 0,0 0 15,0 13-15,1-13 16,-14 13-16,13-13 0,0 13 16,-13 1-1,-13-1 1,13 0-16,-13-13 0,-1 13 15,14 1-15,-13-14 0,0 13 0,0 0 16,-14 0-16</inkml:trace>
  <inkml:trace contextRef="#ctx0" brushRef="#br0" timeOffset="1503.75">17119 5411 0,'39'0'16,"-26"-13"-16,14 13 0,-1 0 15,14-14-15,0 1 0,13 0 16,-14 13-16,14-13 0,-13-1 0,53 1 16,-54 13-16,1-13 0,0 13 15,-14-13-15,1 13 0,-14 0 0,13 0 16,-13 0-16,1 0 15</inkml:trace>
  <inkml:trace contextRef="#ctx0" brushRef="#br0" timeOffset="1760.86">16986 5530 0,'80'0'15,"-41"-13"1,1 13-16,13-14 0,-13 1 0,13 13 16,-14-13-16,14 0 0,0 13 0,0-14 15,0 1-15,-13 0 0,-1 13 16,1-13-16,0 13 0,-14-13 0,1 13 16,-14-14-16,0 14 0,13 0 0,-12-13 15,-1 13-15,0 0 0</inkml:trace>
</inkml:ink>
</file>

<file path=ppt/ink/ink1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31:38.352"/>
    </inkml:context>
    <inkml:brush xml:id="br0">
      <inkml:brushProperty name="width" value="0.05292" units="cm"/>
      <inkml:brushProperty name="height" value="0.05292" units="cm"/>
      <inkml:brushProperty name="color" value="#FFFFFF"/>
    </inkml:brush>
  </inkml:definitions>
  <inkml:trace contextRef="#ctx0" brushRef="#br0">1363 7369 0,'26'0'94,"53"0"-78,54 0-16,92 26 15,79 14-15,106-1 16,106-12-16,106 52 16,-1-26-16,120 80 15,199-81-15,-41 28 16,80 26-16,66-14 15,-145-39-15,39-53 16,-13 0-16,0 0 16,-66 0-1,-40 0-15,-105 0 16,-213 0-16,1 0 16,-146 0-16,14 0 15,-120 0-15,-39 0 16,-67 0-16,-79 0 15,0 0-15,-52 0 141,-14-66-125,-53-79-16,0-1 15,13-13-15,-26-79 16,-13-13-16,-27-146 16,-40-172-16,1 66 15,-27 1-15,66 65 16,-40 14-16,80 132 15,-40 0 1,27 92-16,0 40 16,39 40-16,0 53 15,40 27-15,-13-1 16,0 27-16,0-1 62,-14 1-30,-52 0-32,-67 0 15,-52-1-15,-53-38 16,-120 25-16,-198 14 16,-26-93-16,-106 27 15,39 13-15,-39-40 16,-26 26-16,-67 54 15,40 26-15,13 0 16,-53 0-16,146 0 16,13 0-16,-53 0 15,40 0-15,158 0 16,-92 0-16,40 0 16,79 0-1,0 0-15,106 0 16,66 0-16,39 0 15,54 0-15,26 0 16,66 0-16,13 0 16,-12 0-16,38 0 15,-12 0-15,13 0 16,13 0-16,-40 0 16,80 0-16,-53 0 15,26 0-15,1 0 16,25 0-16,1 0 15,0 0-15,0 13 63,-1 27-47,-12 26-16,26-13 15,-40 53-15,40-27 16,-39 53-16,25 1 15,14-1 1,0 27-16,-13-1 0,-26 1 16,25-13-1,1 26-15,0 0 16,-40-14-16,40 41 16,13-40-16,0 26 15,0 0-15,0-13 16,0 13-16,0-39 15,-14-1-15,14-12 16,0-1-16,0-13 16,0-27-16,0 28 15,0-15-15,0 1 16,0 27-16,0-28 16,40 1-16,-40 13 15,27-26-15,-27-1 16,26-25-16,-26-54 15,0 0-15,0 0 16,13-13 78,14 0-63,12 27-31,67 12 16,-40-25-16,40 12 15,13 14-15,0-14 16,14 14-16,-28-27 16,-12 40-16,-40-53 15,-27 0-15</inkml:trace>
</inkml:ink>
</file>

<file path=ppt/ink/ink14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1:45:04.711"/>
    </inkml:context>
    <inkml:brush xml:id="br0">
      <inkml:brushProperty name="width" value="0.05292" units="cm"/>
      <inkml:brushProperty name="height" value="0.05292" units="cm"/>
      <inkml:brushProperty name="color" value="#0070C0"/>
    </inkml:brush>
  </inkml:definitions>
  <inkml:trace contextRef="#ctx0" brushRef="#br0">688 1230 0,'79'14'78,"54"25"-78,91-26 16,173 1-16,357-14 15,-66 0-15,159 0 16,92 0-16,-13 0 15,252 0-15,-213 0 16,1 0 0,-79 0-16,12 0 15,107 66-15,-438-66 16,-171 0-16,-198 13 16,-93 0-16,-40 1 0</inkml:trace>
  <inkml:trace contextRef="#ctx0" brushRef="#br0" timeOffset="1203.56">1442 3029 0,'26'0'62,"54"0"-62,52 0 16,67 14-1,39-14-15,119 0 0,13 0 16,14 0 0,92 0-16,-158 0 15,-93 0-15,-67 0 0,-39 0 16,-92 0-16</inkml:trace>
  <inkml:trace contextRef="#ctx0" brushRef="#br0" timeOffset="9313.34">22953 2606 0,'13'0'16,"-26"13"0,13 1-1,0-1-15,-14 0 16,14 0-16,0 1 0,-13-1 16,13 0-16,0 0 15,0 0-15,-13 1 0,13-1 16,0 0-16,13 0 0,-13 1 15,0-1 1,13-13-16,1 13 0,-14 0 16,13-13-16,0 0 0,0 14 0,1-14 0,-1 0 15,0 0-15,0 0 0,0 0 16,1 0-16,-1 0 16,0 0-16,0 0 0,1 0 0,-14-14 15</inkml:trace>
  <inkml:trace contextRef="#ctx0" brushRef="#br0" timeOffset="9500.71">22992 2805 0,'40'0'31,"-27"-14"-31,0 14 15,1 0-15,-1 0 0,13 0 0,-12-13 16,-1 13-16,-13-13 0,13 13 0,0 0 16</inkml:trace>
  <inkml:trace contextRef="#ctx0" brushRef="#br0" timeOffset="9873.79">23045 2672 0,'-13'-26'31,"26"13"-31,0 13 15,1-14-15,12 14 16,-13 0-16,14 0 0,-14 0 0,0-13 16,14 26-16,-14-13 0,0 0 15,0 0-15,1 0 0,12 14 0,-13-1 16,1 0-16,-1 0 0,-13 1 16,0-1-16,0 0 0,-13 0 15,13 0-15,-14 1 0,14-1 16,-13 0-16,0 0 0,13 1 0,-13-14 15,-1 13-15,1-13 0,13 13 16,-13-13-16,0 0 0,39 0 63,-13-13-63,1 26 0,-1-13 15,0-13-15,0 13 0,1 0 16,12 0-16,-13 0 0,0 0 0,14 0 15,-14 0-15,0 0 0,14-13 16,-14 13-16</inkml:trace>
  <inkml:trace contextRef="#ctx0" brushRef="#br0" timeOffset="10088.92">22847 2527 0,'-27'53'15,"14"-27"-15,-27 133 16,27-119-16,0 13 0,13-14 16,-13 1-16,13 0 0,0-14 0,0 0 15,0 1-15,-14-14 0,28 14 16,-14-14-16,0 0 0</inkml:trace>
  <inkml:trace contextRef="#ctx0" brushRef="#br0" timeOffset="10601.98">22767 2474 0,'53'-13'16,"-106"26"-16,133-40 0,-41 14 0,1 0 0,13 13 16,0-13-16,0-1 0,-13 14 15,13 0-15,-1-13 0,1 13 16,-13 0-16,-14 0 0,14 0 0,-13 0 16,12 13-16,-12-13 0,-1 0 15,-13 14-15,14-14 0,-1 13 0,-12-13 16,-1 13-16,0 0 0,0 1 0,1-1 15,-1 13-15,0-12 0,0 12 16,0-13-16,1 27 0,-1-27 0,0 27 16,0-27-16,1 14 0,-14-1 15,13-13-15,0 14 0,0-1 0,0-13 16,-13 14-16,14-14 0,-14 0 0,13 1 16,-13-1-16,13 13 0,-13-13 0,0 1 15,13-1-15,-13 0 16,0 0-16,-13 1 15,13-1-15,-13-13 0,0 0 16,-1 13-16,-12-13 0,0 13 0,-1-13 16,-13 0-16,-12 13 0,-1-13 15,0 0-15,-13 14 0,-1-14 0,1 0 16,0 13-16,0-13 0,13 13 0,13-13 16,-13 0-16,14 13 0,-1-13 15,14 0-15,12 0 0,-12 0 0,13 0 16,-1 14-16,1-28 15</inkml:trace>
  <inkml:trace contextRef="#ctx0" brushRef="#br0" timeOffset="14093.73">21630 939 0,'0'13'16,"-14"1"-16,14-1 0,0 0 0,-13 0 16,13 1-16,0 12 0,0-13 15,0 1-15,-13 12 0,13-13 0,0 0 16,0 1-16,0 12 0,0-13 0</inkml:trace>
  <inkml:trace contextRef="#ctx0" brushRef="#br0" timeOffset="14601.4">22027 979 0,'26'-13'16,"0"39"15,-26-13-31,0 1 0,-13-1 0,13 0 16,-13 14-16,0-14 0,13 0 0,-13 0 15,-1 0-15,1 1 16,0-1-16,13 0 16,-13-13-16,13 13 15,13-13 1,0 14-16,0-14 16,14-14-16,-14 14 15,0 0-15,0 0 0,1-13 0,12 13 16,-13 0-16,1-13 0,-1 13 15,0 0-15</inkml:trace>
  <inkml:trace contextRef="#ctx0" brushRef="#br0" timeOffset="14957.15">22622 979 0,'0'-13'0,"13"13"32,0 13-17,-13 0 1,0 0-1,0 1-15,0-1 16,0 0-16,0 0 0,0 1 16,0-1-16,0 0 0,0 0 15,0 0 1,-13 1-16,13-1 0,-13-13 16,13 13-16,-13-13 0,-1 13 0,1 1 15</inkml:trace>
  <inkml:trace contextRef="#ctx0" brushRef="#br0" timeOffset="15234.84">22992 952 0,'-26'14'16,"13"-1"-1,-1-13-15,14 13 0,-13-13 0,0 13 16,13 1-16,-13-14 0,13 13 16,-14 0-1,28 0 1,-14 1-16,13-14 0,-13 13 0,13-13 0,0 13 16,1-13-16,-1 0 15,13 0-15,-12 13 0,-1-13 0,13-13 0,-13 13 16,1 0-16,12 0 0,-13 0 0,1-13 15,-1 0-15,0 13 0</inkml:trace>
  <inkml:trace contextRef="#ctx0" brushRef="#br0" timeOffset="15408.77">23151 900 0,'-13'13'15,"0"0"-15,13 0 0,0 0 16,-14-13-16,14 14 0,0-1 0,0 0 15,-13 0-15,13 14 0,0-14 16,0 0-16,0 1 0,-13 12 0,13-13 16,0 0-16,0 1 0,-13-1 0,13 0 15,-14 0-15</inkml:trace>
  <inkml:trace contextRef="#ctx0" brushRef="#br0" timeOffset="15873.9">22397 542 0,'-26'14'16,"12"-1"0,14 0-16,-13 0 0,0 1 0,13 12 15,0-13-15,-13 0 0,13 1 16,0-1-16,0 0 0,0 0 0,0 1 15,13-14-15,-13 13 0,13 0 0,0-13 16,1 13-16,-1-13 16,0 0-16,0 0 0,-13-13 15,27 13-15,-14-13 0,-13 0 0,13 13 16,-13-14-16,0 1 16,0 0-16,0 0 0,0-1 15,0 1-15,0 0 0,-13 0 16,13 0-16,-13-1 15,-1 14-15,1 0 16,0-13-16,0 13 0</inkml:trace>
  <inkml:trace contextRef="#ctx0" brushRef="#br0" timeOffset="16024.18">22595 595 0,'14'0'15</inkml:trace>
  <inkml:trace contextRef="#ctx0" brushRef="#br0" timeOffset="16372.9">22701 450 0,'0'0'16,"13"0"-1,-13 13-15,14-13 16,-14 13-16,0 0 0,0 1 0,13-1 16,-13 0-16,0 0 0,0 14 15,0-14-15,13 0 0,-13 1 0,0 12 16,0-13-16,0 0 0,0 1 0,13-1 15,-13 0-15,0 0 16,0 1-16</inkml:trace>
  <inkml:trace contextRef="#ctx0" brushRef="#br0" timeOffset="16982.79">22900 53 0,'-53'-27'0,"106"54"0,-133-54 0,54 27 16,-1 0-16,-12 0 0,-14 0 15,13 14-15,-13-1 0,0 0 0,0 14 16,0-1-16,1 1 0,-1-1 15,13 14-15,-13-1 0,13 1 0,1 0 16,-1-1-16,13 1 0,14-13 16,-13 12-16,13 1 0,13-14 0,0 14 15,0-13-15,0-1 0,13 0 16,0 14-16,0-13 0,14-1 0,-1 1 16,14-1-16,-14-13 0,27 14 0,0-14 15,0-13-15,0 13 0,0-13 16,0 0-16,0 0 0,-14-13 0,14 13 15,0-13-15,0-14 0,0 14 0,-13-13 16,-1-14-16,-12 13 0,-1 1 16,1-14-16,-1 14 0,-12-14 0,-14 0 15,13 1-15,-13 12 16,0 1-16,-13-14 0,-1-39 0,1 52 16,0-12-16,0 12 0,-1 1 0,1 12 15,-13 1-15,12-13 0,1 26 16,0-13-16,0 13 0,0 0 15,-1 0-15,1 0 0,0 0 0</inkml:trace>
  <inkml:trace contextRef="#ctx0" brushRef="#br0" timeOffset="17333.98">22582 410 0,'13'0'16,"14"0"0,-14 0-16,0-13 15,1 13-15,-1 0 0,0 0 16,0 0-16</inkml:trace>
  <inkml:trace contextRef="#ctx0" brushRef="#br0" timeOffset="17542.18">22688 635 0,'40'-26'16</inkml:trace>
  <inkml:trace contextRef="#ctx0" brushRef="#br0" timeOffset="18422.06">21101 609 0,'0'0'0,"-14"0"0,1 0 16,13 13-1,-13-13-15,13 13 0,0 0 16,0 0-16,0 14 16,0-14-1,13-13-15,-13 13 0,13-13 0,1 14 16,-1-14-16,0 0 0,0 0 0,0 0 16,1 0-16,-1-14 15,0 14-15,0 0 0,-13-13 0,14 0 16,-14 0-16,0-1 15,0 1-15,0 0 16,0 0-16,-14 0 0,14-1 16,-13 14-16,0 0 15,0-13 1,-1 26-16</inkml:trace>
  <inkml:trace contextRef="#ctx0" brushRef="#br0" timeOffset="18550.91">21325 569 0</inkml:trace>
  <inkml:trace contextRef="#ctx0" brushRef="#br0" timeOffset="18757.89">21458 489 0,'-14'27'31,"14"-14"-31,0 0 0,0 1 16,0-1-16,0 0 0,-13 0 15,13 1-15,0-1 0,0 0 0,0 0 16,0 0-16,0 1 0,0-1 0,13-13 16</inkml:trace>
  <inkml:trace contextRef="#ctx0" brushRef="#br0" timeOffset="19237.03">21736 635 0,'-14'26'31,"14"-12"-31,0-1 0,14 0 15,-14 0 1,13 1-16,0-14 16,0 13-16,0-13 15,1-13 1,-1-1 0,-13 1-16,-13 0 15,13 0-15,0-1 16,-14 14-16,14-13 15,-13 13-15,0-13 0</inkml:trace>
  <inkml:trace contextRef="#ctx0" brushRef="#br0" timeOffset="19358">21894 635 0,'0'0'15</inkml:trace>
  <inkml:trace contextRef="#ctx0" brushRef="#br0" timeOffset="19563">22000 529 0,'-13'40'32,"13"-27"-32,0 0 0,-13 1 0,13-1 15,0 0-15,0 0 0,-14 0 16,14 1-16,0-1 0,0 0 0,0 0 16,14 1-16</inkml:trace>
  <inkml:trace contextRef="#ctx0" brushRef="#br0" timeOffset="20146.8">23164 556 0,'-13'-14'0,"0"28"31,13-1-31,0 0 15,0 0-15,13 1 0,0-1 16,1 0 0,-1-13-16,0 0 15,0 13-15,0-26 16,1 13-16,-1 0 16,-13-13-16,13 13 15,-13-13-15,-13-1 0,13 1 16,0 0-16,-13 13 0,13-13 15,-14 13 1,1-14-16,0 14 0,0 0 16,0 0-16</inkml:trace>
  <inkml:trace contextRef="#ctx0" brushRef="#br0" timeOffset="20401.64">23469 529 0,'0'0'0,"0"27"0,-14-14 16,14 0-16,0 0 16,0 1-16,-13-1 0,13 0 0,0 0 15,0 14-15,0-14 0</inkml:trace>
  <inkml:trace contextRef="#ctx0" brushRef="#br0" timeOffset="24060.95">11390 5437 0,'40'0'15,"-14"0"1,1-13-16,79 13 0,-27 0 16,1 0-16,12 0 0,1-13 0,-1 13 15,14 0-15,26 0 0,-26-13 0,27 13 16,-14 0-16,-14-14 0,1 14 0,0 0 16,-13-13-16,-1 13 0,-12 0 0,-1 0 15,-26 0-15,-13-13 16,-1 13-16,14 0 0,-39 0 15,-1 0-15,13 0 0,-13 0 0,1 0 16,-1 0 0,-13-13-16</inkml:trace>
  <inkml:trace contextRef="#ctx0" brushRef="#br0" timeOffset="24628.95">17079 5358 0,'92'0'15,"-65"0"1,26 0-16,0 0 0,13 0 0,13 0 15,1 0-15,12 0 0,-12 0 0,12 0 16,14 0-16,-13 13 0,-1-13 16,14 0-16,-27 13 0,14-13 0,-14 0 15,1 0-15,-1 14 0,-26-14 0,0 0 16,0 0-16,0 0 0,-27 13 16,1-13-16,-1 0 0,1 0 0,-14 0 15,0 0-15,0 0 0,1 0 16,-1 0-1,-40-13 1,14 13-16,-13 0 0,-1-14 16,-12 14-16</inkml:trace>
  <inkml:trace contextRef="#ctx0" brushRef="#br0" timeOffset="25721.77">2302 6456 0,'53'0'31,"-14"0"-31,14 0 0,14 0 16,-1 0-16,26 0 0,-12 0 0,12 0 15,-12 0-15,12 0 0,1 0 0,-1-13 16,1 13-16,0 0 0,-1 0 0,-12-14 15,-1 14-15,0 0 0,1 0 16,-14-13-16,-13 13 0,-13 0 16,-1 0-16,-12 0 0,-1 0 0,1 0 15,-14 0-15,0 0 0,0 0 16,1 0-16,-1 0 0,0 0 16,0 0-16,-13-13 46</inkml:trace>
  <inkml:trace contextRef="#ctx0" brushRef="#br0" timeOffset="26985.74">7673 6482 0,'106'14'16,"-67"-14"-16,14 0 16,14 0-16,12 13 0,0-13 0,14 0 15,-1 0-15,14 0 0,0 0 0,26 0 16,1-13-16,-1 13 0,0 0 15,-13 0-15,-13 0 0,0 0 0,0 0 16,0 0-16,-14 0 0,1-14 0,-14 14 16,1 0-16,25 0 15,-52 0-15,0 0 0,-26 0 0,-1 0 16,1 0-16,-14 0 0,13 0 0,-12 0 16,-1 0-16,0 0 0,-53 0 46,27 0-46</inkml:trace>
  <inkml:trace contextRef="#ctx0" brushRef="#br0" timeOffset="27673.8">8202 6654 0,'40'0'0,"-1"0"16,1-13-16,13 13 0,26 0 0,14 0 16,-14 0-16,27-13 0,-13 13 15,26 0-15,13 0 0,-26 0 0,0 0 16,26-13-16,-26 13 0,-13 0 0,12 0 15,-12 0-15,-14 0 0,14 0 16,-27 0-16,0 0 0,-13 0 0,0 0 16,0 0-16,-26 0 0,12 0 0,-12 0 15,-14 0-15,13 0 0,-12 0 16,-1 0-16,0 0 0,0 0 16,1 0-16,-1 0 15,0 0-15,-26 13 141,26-13-110,0-13 78,-13-1-46</inkml:trace>
  <inkml:trace contextRef="#ctx0" brushRef="#br0" timeOffset="29321.15">2222 7885 0,'53'0'15,"-106"0"-15,146-14 0,-66 14 0,12-13 0,14 0 16,13 13-16,0-13 0,1-1 0,-1 1 16,0 13-16,0-13 0,-13 13 15,0-13-15,-13 13 0,12-13 16,-12 13-16,0 0 0,-14-14 0,1 14 16,-1 0-16,-13 0 0,14 0 15,-14 0-15</inkml:trace>
  <inkml:trace contextRef="#ctx0" brushRef="#br0" timeOffset="29701.12">2421 7938 0,'0'0'0,"40"-14"16,-27 14-16,27 0 15,-1-13-15,1 0 0,13 13 0,13-13 16,-13-1-16,0 1 0,53 0 16,-14-14-16,-52 14 15,0 13-15,-1-13 0,1 13 0,-14-13 16,-12 13-16,-1 0 0,0-13 16,0 13-16,1 0 0,-1 0 0,0 0 15,0-14-15,1 14 16,-1 0 15,-26-13 16,26 0-31,0 0-1,-13-1-15,13 14 0,0-13 0</inkml:trace>
  <inkml:trace contextRef="#ctx0" brushRef="#br0" timeOffset="33217.87">5689 7990 0,'13'0'15,"0"0"-15,13 0 16,14 0-16,0 14 0,26-14 16,-13 0-16,26 0 0,14 0 0,-14 0 15,14-14-15,-1 14 0,14 0 0,-13 0 16,13-13-16,-14 13 0,14 0 15,0-13-15,-13 13 0,-1-13 16,-12 13-16,-1-13 0,-13 13 0,53-14 16,-79 14-16,0 0 15,-14 0-15,-13 0 0,14 0 0,-14-13 16,0 13-16,0 0 0,1 0 0,-41 13 47</inkml:trace>
  <inkml:trace contextRef="#ctx0" brushRef="#br0" timeOffset="34478.03">12263 7885 0,'0'0'16,"14"0"-16,-1-14 15,0 14-15,14 0 0,-1-13 0,0 13 16,1 0-16,-1-13 0,1 13 0,13 0 16,-14-13-16,0 13 0,14 0 15,-27-14-15,14 14 0,-1 0 16,-12 0-16,-1 0 0,0 0 0,0 0 0,0 0 16,1-13-16,12 13 15,-13 0 1,1 0-16,-1 13 0,0-13 0,0 0 15,14 0-15,-1 0 0</inkml:trace>
  <inkml:trace contextRef="#ctx0" brushRef="#br0" timeOffset="35919.01">20016 7871 0,'0'0'0,"26"0"47,-13 0-32,1 0-15,-1 0 0,13 0 16,-12 0-16,-1 0 16,-40 0 30,14 0-46,0 0 16,0 0-16,-1 0 16,1 0-16,53 0 47,-27 0-47,0 0 15,1 0-15,-1 0 0,0 0 16,0 0-16,0 0 15,-39-13 32,13 13-47,-14-13 16</inkml:trace>
  <inkml:trace contextRef="#ctx0" brushRef="#br0" timeOffset="36899.21">1958 9194 0,'40'0'16,"-27"0"-16,27 0 0,-1 0 16,14 0-16,53 0 0,-27 0 15,54 0-15,-54 0 0,-26-13 16,13 13-16,-13 0 0,0 0 15,0 0-15,0-13 0,-14 13 0,14 0 16,-26 0-16,-1-13 0,1 13 0,-1 0 16,-13 0-16,1 0 0,-1-14 0</inkml:trace>
  <inkml:trace contextRef="#ctx0" brushRef="#br0" timeOffset="37189.65">2355 9353 0,'39'-13'16,"-25"13"-16,-1 0 0,13-13 15,1 13-15,26 0 0,-14-14 0,1 14 16,0-13-16,13 13 0,-14-13 0,1 13 15,0-13-15,0 13 0,-14 0 16,0 0-16,1-14 0,-1 14 16,-12 0-16,-1 0 0,13 0 0,-13 0 15,1 0-15,-1 0 16,0 0-16,0 0 16</inkml:trace>
  <inkml:trace contextRef="#ctx0" brushRef="#br0" timeOffset="38157.57">10570 8943 0,'0'0'0,"53"-13"0,-13 13 0,-14-14 0,27 14 15,0-13-15,13 13 0,14 0 16,12 0-16,-13-13 0,14 13 0,0 0 16,-1 0-16,14 0 0,-13 0 0,-1 0 15,14 0-15,-13 13 0,-1-13 16,-12 0-16,12 0 0,-12 0 0,-1 0 15,0 0-15,-12 0 0,-14 0 16,13 0-16,-13 0 0,-14 0 0,14 0 16,-26 0-16,-1-13 0,1 13 15,-14 0-15,0 0 0</inkml:trace>
  <inkml:trace contextRef="#ctx0" brushRef="#br0" timeOffset="38433.83">10835 9009 0,'0'0'0,"39"0"16,54 0-16,-40 0 15,39-13-15,-12 13 0,555-13 31,-529 13-31,-14 0 0,14-14 16,-13 14-16,-14 0 0,14 0 16,-27 0-16,0 0 0,-13 0 0,-13 0 15,-1 0-15,-12 0 0,-1 0 0,-13 0 16,14 0-16,-14 0 0,0 0 16,1 0-16</inkml:trace>
  <inkml:trace contextRef="#ctx0" brushRef="#br0" timeOffset="39082.65">15624 9088 0,'-40'27'31,"40"-14"-31,-13 0 0,0 1 16,-1-1-16,1 13 0,0-12 16,0 12-16,-1-13 0,1 0 0,0 14 15,0-14-15,-1 0 0,14 1 0,-13-1 16,0 0-16,13 0 16,-13-13-16,13 13 0</inkml:trace>
  <inkml:trace contextRef="#ctx0" brushRef="#br0" timeOffset="39898.98">15306 9234 0,'-13'-13'0,"0"26"31,13 0-31,-14 0 16,14 1-16,0-1 0,0 0 15,0 0-15,-13 1 0,13-1 0,0 0 16,0 0-16,0 0 16,13 1-16,-13-1 0,0 0 15,0 0-15,14 1 0,-14-1 16,13-13-16,0 0 0,0 0 15,14 0-15,-14 0 0,0 0 16,14-13-16,-1 13 0,1-14 0,-1 14 16,1 0-16,12-13 0,-12 13 15,-14-13-15,13 13 0,1 0 0,-14 0 16,0-13-16,1 13 0,-1 0 16,0 0-16,0 0 0,0 0 0,-13-14 15,14 14-15,-1 0 16,0 0-16,0 0 15,1 0 1,-1 0 15,0 0 1,-13-13 30</inkml:trace>
  <inkml:trace contextRef="#ctx0" brushRef="#br0" timeOffset="40658.65">15610 9141 0,'14'-13'0,"-28"26"0,28-39 16,-1 13-16,0-1 0,-13 1 16,13 13-16,1-13 15,-1 0 1,-13 0-16,13 13 16,-39 13 15,26 0-16,-14-13-15,1 13 0,0 0 16,-14 1-16,14-1 0,-13 0 0,13 14 16,-14-14-16,1 0 0,-1 14 0,14-14 15,-14 0-15,14 13 0,0-26 0,-13 14 16,12-1-16,1 0 0,0 0 16,0 1-16,-1-1 0,1 0 15,0-13-15,13 13 0,-13-13 16,-1 13-1,1 1 1</inkml:trace>
  <inkml:trace contextRef="#ctx0" brushRef="#br0" timeOffset="41098.97">15333 9128 0,'-14'27'16,"1"-14"0,0 0-16,13 0 0,-13 1 15,13 12-15,-14-13 0,14 0 0,-13 1 16,0-1-16,13 0 0,-13 0 16,13 1-16,0-1 0,0 0 15,0 0-15,-13-13 0,26 13 16,0 1-16,0-14 15,0 0-15,1 0 0,12 0 16,-13 0-16,14 0 0,-14 0 0,14 0 16,-14 0-16,13 0 0,1-14 15,-14 14-15,13 0 0,-12 0 0,-1 0 16,13 0-16,-12-13 0,-1 13 0,0 0 16,0 0-16,0 0 0,1 0 15,-1 0-15,0 0 16</inkml:trace>
</inkml:ink>
</file>

<file path=ppt/ink/ink14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1:46:07.977"/>
    </inkml:context>
    <inkml:brush xml:id="br0">
      <inkml:brushProperty name="width" value="0.05292" units="cm"/>
      <inkml:brushProperty name="height" value="0.05292" units="cm"/>
      <inkml:brushProperty name="color" value="#FFFFFF"/>
    </inkml:brush>
  </inkml:definitions>
  <inkml:trace contextRef="#ctx0" brushRef="#br0">9512 3188 0,'0'-159'15,"0"93"1,0 53-16,0 0 16,0 0-16,0-1 0,-13 41 31,13 13-31,0 12 0,-14 28 0,14 39 15,-26 159-15,13 52 16,-27 67-16,13-172 16,14-13-16,-40 172 0,27-40 15,-1-14-15,14-171 16,0 0-16,13 119 0,0-146 16,0-13-16,0-40 15,0 14-15,0 52 0,13-12 16,-13-80-16,0-14 0,0 27 15,0-52-15,-13 12 16,13-52 0,-13-14-16,13-13 0,-13-13 0,13-27 15</inkml:trace>
  <inkml:trace contextRef="#ctx0" brushRef="#br0" timeOffset="619.29">9485 4008 0,'-26'14'16,"13"-14"0,39-14-1,-13 1-15,27 0 0,0-13 16,13-14-16,13 13 0,0 1 15,0-14-15,13 1 0,14-1 0,0-13 16,-27 26-16,13-12 0,14-14 0,-27 26 16,0 1-16,0-1 0,-13 1 15,0 0-15,0 12 0,-27 1 16,14 0-16,-13 0 0,-1-1 0,-13 14 16,0-13-16,1 13 0,-1 0 15,0-13-15,0 13 16,-26-13 15,0 0-15,0 13-16</inkml:trace>
  <inkml:trace contextRef="#ctx0" brushRef="#br0" timeOffset="963.22">10583 3188 0,'0'0'0,"27"-13"31,-1 13-31,-13 0 16,1 0-16,12 0 0,1 0 0,-1 0 15,14 0-15,-14 0 0,14 0 16,0 0-16,-14 0 0,14 0 0,-1 0 15,-12 0-15,-1 0 0,14 0 0,-14 0 16,1 13-16,-14-13 0,0 0 16,1 13-16,-1-13 0,0 14 15,-13-1-15,0 13 0,-13-12 16,0 12-16,-1 14 0,-12-1 0,-1 1 16,-12 0-16,12-1 0,1-12 15,13 13-15,-14-14 0,1 1 0,-1-1 16,14 14-16,0-27 0,13 13 0,-13-12 15</inkml:trace>
  <inkml:trace contextRef="#ctx0" brushRef="#br0" timeOffset="7963.27">3731 688 0,'0'13'0,"0"0"0,0 1 15,0-1-15,0 0 0,0 0 0,13 14 16,-13-14-16,0 13 0,0 1 16,0-1-16,0-12 0,13 12 0,-13 0 15,0-12-15,0-1 0,13 13 0,-13-12 16,0-1-16,14 0 0,-14 0 15,0 1-15,13-1 0</inkml:trace>
  <inkml:trace contextRef="#ctx0" brushRef="#br0" timeOffset="8288.54">3717 701 0,'0'0'0,"27"-26"0,-14 12 15,0 14-15,1-13 0,-1 13 16,13 0-16,-13 0 0,14 13 0,-1 1 16,1-1-16,-1 0 0,-12 14 15,12-14-15,-13 13 0,-13 1 16,13-14-16,-13 13 0,0 1 0,0-14 15,-13 14-15,13-1 0,-13 0 16,13-12-16,-13-1 0,0 13 0,-1-12 16,1 12-16,13-13 0,-13 1 15,0-14-15,13 13 0,-14-13 0,14 13 16,-13-13-16</inkml:trace>
  <inkml:trace contextRef="#ctx0" brushRef="#br0" timeOffset="8676.31">4220 939 0,'0'-26'15,"0"52"-15,13-52 0,-13 13 0,0-1 0,0 1 16,0 0 0,-13 0-16,13-1 15,-13 14-15,0-13 0,-1 13 16,1 13 0,0-13-16,13 14 0,-13-14 15,0 13-15,-1 0 0,14 0 16,0 1-16,0-1 15,0 0-15,14-13 16,-14 13-16,13-13 0,0 0 16,0 0-16,0 0 0,14 0 15,-14 0-15,0 0 0,14 0 0,-14-13 16,13 13-16,-12-13 0,12 13 0,-13-13 16,14-1-16,-1 1 0,-12 13 15</inkml:trace>
  <inkml:trace contextRef="#ctx0" brushRef="#br0" timeOffset="8952.03">4564 741 0,'0'0'0,"-13"-13"0,0 13 16,-1 0-16,1 0 0,-13 0 15,12 0 1,1 13-16,0-13 0,13 13 16,0 0-16,0 1 15,13-1-15,-13 0 16,13-13-16,1 13 0,-1 0 0,-13 1 15,13-14-15,0 13 0,1 0 16,-14 0-16,13 1 16,-13-1-16,-13 0 0,13 0 15,-14 0-15,1-13 0,0 0 16,0 14-16,-1-1 0,1-13 16,0 0-16,0 13 0,0-13 0,-1 0 15,1 0-15,0 0 16</inkml:trace>
  <inkml:trace contextRef="#ctx0" brushRef="#br0" timeOffset="9512.21">4815 661 0,'0'0'0,"-13"14"32,0-1-32,13 0 0,0 0 15,0 1-15,0-1 0,0 0 16,0 0-16,0 1 15,0-1-15,0 0 0,13-13 16,-13 13-16,13-13 16,1-13-16,-1 0 15,0 13-15,-13-13 0,13 13 16,1-14-16,-1 14 0,-13-13 16,13 13-16,-13-13 0,13 13 0,0 0 15,1-13-15,-1 13 16,0 0-1,0 0-15,14 0 16,-14 0-16,14 0 16,-14 0-1</inkml:trace>
  <inkml:trace contextRef="#ctx0" brushRef="#br0" timeOffset="10520.28">5173 609 0,'-14'-14'16,"14"1"0,-13 40-1,13-14 1,0 0-1,13 0 1,1-13-16,-1 0 16,0 0-16,0 0 0,1 0 15,-1-13-15,0 13 16</inkml:trace>
  <inkml:trace contextRef="#ctx0" brushRef="#br0" timeOffset="10960.1">5398 357 0,'0'-13'0,"0"0"32,-14 39-1,14-13-16,0 1 1,14-1-16,-14 0 0,0 0 16,0 1-16,0-1 15,13-13-15,-13 13 0,0 0 0,13 0 16,-13 1 0,0-1-1,0 0 1</inkml:trace>
  <inkml:trace contextRef="#ctx0" brushRef="#br0" timeOffset="11419.47">4617 1217 0,'-13'0'0,"26"0"0,-39 0 16,12 13-16,1-13 0,-13 27 15,12-14-15,-12 13 0,-1 1 16,-12 13-16,-1-1 0,14 14 0,-14-13 15,13 0-15,-12 13 0,-1-14 0,14 1 16,-14 0-16,14-14 0,-1 0 16,14 1-16,-14-1 0,14 1 0,0-14 15,0 0-15,-1 1 0,14-1 16,-13-13-16</inkml:trace>
  <inkml:trace contextRef="#ctx0" brushRef="#br0" timeOffset="11781.18">4511 1270 0,'40'-13'31,"0"13"-31,-1 0 0,14-13 0,13 13 0,0-14 16,14 1-16,-1 0 0,14 13 16,-14-13-16,14-1 0,-14 1 0,1 0 15,12 0-15,-13-1 0,-12 1 16,12 0-16,-13 13 0,0-13 15,-13 0-15,-13 13 0,0-14 0,-14 14 16,0 0-16,-12-13 0,12 13 0,-13 0 16,1 0-16,-41 27 31,-13-14-31,1 0 0</inkml:trace>
  <inkml:trace contextRef="#ctx0" brushRef="#br0" timeOffset="13402.99">3347 2461 0,'0'-14'0,"-40"28"16,27-1-1,13 0-15,-13 0 16,13 1-16,-13 12 0,13-13 0,-14 14 16,14-14-16,0 13 0,-13-12 15,13-1-15,0 13 0,0-12 0,0-1 16,13 0-16,-13 0 0,14 0 15,-1 1-15,0-14 0,0 0 16,1-14-16,-1 14 16,0 0-16,0-13 0,0 13 0,-13-13 15,14 0-15,-1 0 0,-13-1 16,13 1-16,-13 0 0,0 0 16,0-1-16,0 1 0,0 0 15,0 0-15,0-1 0,0 1 16,-13 0-1,0 13 17,13 13-17,13 0 1,-13 1-16,13-14 16,-13 13-1,13-13-15,-13 13 16,14-13-16,-1 0 47,0-13-32,-13 0 1,13 13-16,-13-14 16,13 14-16,1-13 15,-1 13 1,0 0-1,-13 13 1,13-13-16,1 0 16,-1 14-1,0-14 1,0-14 15,-13 1-31,14 13 16,-14-13-16,0 0 0,0 0 0,0-1 15,0 1-15,0 0 0,0 0 16,-14-1-16,14 1 0,0 0 16,0 0-16,0-1 0,0 1 31,14 26-15,-14 1-1,13-14-15,-13 13 0,0 0 16,13-13-16,-13 13 0,13 1 0,-13-1 15,0 0-15,13 0 0,-13 1 16,14-1-16,-14 0 16,0 0-1,0-39 32,0 13-31,13 13-16,-13-14 15,0 1-15,13 13 16,0 0 0,1 0-1,-1 0 1,0 0 0,-13-13-1,13 0 1,-13-1-1,0 1 1,0 0-16,14 13 0,-14-13 16,13-1-16,-13 1 15,13 13 1,0 0-16</inkml:trace>
  <inkml:trace contextRef="#ctx0" brushRef="#br0" timeOffset="13897.34">3995 2249 0,'-13'0'15,"-13"13"1,26 0-16,-14-13 16,14 14-16,0-1 0,0 0 15,0 0-15,0 1 16,0-1-1,14-13-15,-1 0 0,-13 13 16,13-26-16,0 13 16,0-13-1,1 13-15,-14-14 16,13 1-16,-13 0 16,13 0-1,0 26 1,1 0-1,-14 0 1,13-13-16,0 0 16,0 0-16,1 0 0,-1-13 15,0 13-15,-13-13 0,13 0 16,-13-1-16,13 1 0,1 0 0,-14 0 16,13-14-16,-13 14 0,0 0 15,13 0-15,-13-1 16,13 1-16,1 26 15,-1 1 1,-13-1-16,13 0 0,-13 0 16,13 0-16,0 1 0,-13-1 0,14 0 15,-1 0-15,13-13 0,-12 14 16,-1-1-16</inkml:trace>
  <inkml:trace contextRef="#ctx0" brushRef="#br0" timeOffset="15032.02">6482 1177 0,'-13'-13'31,"26"40"-31,1-1 0,-1-13 15,-13 14-15,13-14 0,0 13 16,0-12-16,14 12 0,-14-13 16,0 1-16,14 12 0,-14-26 15,-13 13-15,13-13 0,-13 14 16,14-14-16,-1-14 16,-13 1-1,0 0 1,0-14-16,-13 14 0,13-13 0,-14-14 0,1 14 15,13-14-15,-13 13 0,0 1 16,13 13-16,-14-14 0,14 14 16,0 0-16,-13 0 0,13-1 0,0 1 15</inkml:trace>
  <inkml:trace contextRef="#ctx0" brushRef="#br0" timeOffset="15619.26">6773 1124 0,'-26'14'0,"26"-1"0,-13 0 15,13 0-15,0 1 0,0-1 0,0 0 16,-14 0-16,28 67 31,-14-67-31,13-13 16,0 0-1,-13-13 1,0-1-16,13 1 0,-13 0 16,14 0-16,-14 0 15,13-1-15,0 1 0,0 13 16,-13-13-16,13 13 15,1 13-15,-1-13 16,0 0-16,-13 13 0,13 1 0,1-1 16,-14 0-16,0 0 0,0 0 15,13 1-15,-13-1 16,0 0-16,-13 0 16,-1-39 15,14 13-31,0-1 0,0 1 15,0 0-15,14 0 0,-14-14 0,0 14 16,13 0-16,-13 0 0,13-1 16,0 1-16,-13 0 0,14 13 15,-14-13-15,13 13 0,13 0 16,-13 13 0,1-13-16,-1 13 0,0 0 15,-13 1-15,13-1 0,1 0 16,-14 0-16,13 1 0,-13-1 15,13-13-15,-13 13 0,13-13 16,-13 13 0,14-13-16</inkml:trace>
  <inkml:trace contextRef="#ctx0" brushRef="#br0" timeOffset="15761.22">7104 966 0</inkml:trace>
  <inkml:trace contextRef="#ctx0" brushRef="#br0" timeOffset="16791.84">7289 1032 0,'-26'26'0,"26"-12"0,-13-14 15,13 13-15,-14 0 0,14 0 16,0 0-16,-13 1 0,13-1 0,0 0 15,0 0-15,0 1 16,0-1-16,27-26 16,-14-1-1,0 1-15,-13 0 16,13 0-16,-13-1 0,13 14 16,-13-13-16,14 0 0,-14 0 15,13 13 16,0 13-31,0-13 16,1 13-16,-1-13 16,0 0-1,0-13-15,1 13 0,-14-13 0,13 13 16,-13-13-16,13-1 0,-13 1 16,13 0-16,-13 0 15,0-14-15,0 14 0,-13 0 0,13-1 16,0-12-16,-13 0 0,13-1 15,0 14-15,-13 0 0,13-14 0,0 14 16,0 0-16,-14 13 0,14-13 0,0 39 31,0-13-31,0 14 16,0-1-16,14 1 0,-14-14 16,0 13-16,13-13 0,-13 1 15,13 12-15,-13-13 0,13 1 0,0-1 16,1 0-16,-1-13 15,-13 13-15,13-13 0,0 0 16,1 0-16,-1 0 0,0 0 16,0-13-16,1 13 0,-1-13 15,0 13-15,-13-13 16,13 13-16,0-14 16,-26 1 46,0 0 47,26 0-46,0-1-47,1 14-1,-1 0-15,-13-13 16,13 13-16,0-13 15,1 13-15,-1 13 32,-13 0-17,13 1-15,-13-1 16,0 0-16,0 0 16</inkml:trace>
  <inkml:trace contextRef="#ctx0" brushRef="#br0" timeOffset="16961.14">7726 675 0,'0'0'16</inkml:trace>
  <inkml:trace contextRef="#ctx0" brushRef="#br0" timeOffset="17332.14">7871 635 0,'0'13'0,"0"0"0,0 1 0,0-1 15,0 27-15,0-14 16,0 14-16,14-14 16,-14-13-16,0 14 0,0-14 0,0 14 15,13-14-15,-13 0 0,13 0 16,-13 0-16,13-13 0,1 14 16,-14-1-16,13-13 0,0 13 0,0-13 31,0 0-31,1 0 0,-14-13 15,13 13-15,0-13 0,0 13 16,-13-14 0,14 14-16,-1 0 47,-13 14-47,13-14 15,-13 13-15</inkml:trace>
  <inkml:trace contextRef="#ctx0" brushRef="#br0" timeOffset="17617.09">8149 542 0,'13'27'16,"-13"-14"-16,14 27 15,-14-27-15,0 13 16,13-12-16,-13-1 0,0 13 0,0-12 15,0-1-15,13 0 0,-13 0 16,0 14-16,0-14 0,0 0 16</inkml:trace>
  <inkml:trace contextRef="#ctx0" brushRef="#br0" timeOffset="18000.02">7594 1495 0,'-40'40'0,"80"-80"0,-93 106 0,26-39 0,-13 12 15,14 14-15,-14-13 0,1 13 16,-1 0-16,-26 26 15,39-39-15,-26 39 0,27-52 16,13-14-16,0 13 0,13-13 16,-14-13-16,14 14 0</inkml:trace>
  <inkml:trace contextRef="#ctx0" brushRef="#br0" timeOffset="18228.52">7633 1416 0,'-13'52'31,"13"-38"-31,-13 12 16,13 14-16,-13-14 0,-1 14 0,1 0 16,0-1-16,0-12 0,-1 12 0,1-12 15,0 13-15,0-1 16,-1-12-16,14-14 0,-13 13 15,13-12-15,-13-14 0,13 13 16</inkml:trace>
  <inkml:trace contextRef="#ctx0" brushRef="#br0" timeOffset="18632.57">7646 1429 0,'133'13'32,"-107"-13"-32,14 0 0,0 0 15,-14 0-15,14 0 0,-1 0 0,-12 0 16,13 0-16,-14 0 0,14 0 15,-14-13-15,1 13 0,-1 0 0,-13 0 16,1 0-16,12 0 0,-13-13 16,0 13-16,1 0 0,-1 0 15</inkml:trace>
  <inkml:trace contextRef="#ctx0" brushRef="#br0" timeOffset="19225.34">3850 2977 0,'-14'13'15,"28"-26"-15,-41 26 0,14 0 16,0 0-16,-14 27 0,14-14 0,-13 1 0,-1 13 16,-13 26-16,27-27 15,-13 1-15,13 0 0,-1-14 16,1 14-16,0-14 0,13-12 0,-13-1 15,13 0-15,0 0 0,0 0 16</inkml:trace>
  <inkml:trace contextRef="#ctx0" brushRef="#br0" timeOffset="19436.62">3903 2950 0,'-53'146'32,"39"-107"-32,1-12 15,0 12-15,0 1 0,0-13 0,-1 12 16,14 1-16,-13-14 0,13-12 16,-13 12-16,13-13 0,0 1 0,0-1 15,-13 0-15</inkml:trace>
  <inkml:trace contextRef="#ctx0" brushRef="#br0" timeOffset="19680.41">3876 3003 0,'40'13'16,"-80"-26"-16,106 26 0,-39 0 0,-1-13 0,14 0 16,0 0-16,-1 14 0,1-14 0,0 0 15,-14 0-15,27 0 0,-13 0 16,-14 0-16,14 0 0,-14 0 0,14 0 16,-27 0-16,14 0 0,-1 0 15,-13-14-15,14 14 0</inkml:trace>
</inkml:ink>
</file>

<file path=ppt/ink/ink14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1:47:16.120"/>
    </inkml:context>
    <inkml:brush xml:id="br0">
      <inkml:brushProperty name="width" value="0.05292" units="cm"/>
      <inkml:brushProperty name="height" value="0.05292" units="cm"/>
      <inkml:brushProperty name="color" value="#0070C0"/>
    </inkml:brush>
  </inkml:definitions>
  <inkml:trace contextRef="#ctx0" brushRef="#br0">728 2963 0,'53'-13'0,"171"13"32,-144 0-32,-1 0 15,1 0-15,12-13 0,-12 13 0,-1 0 16,0 0-16,1 0 0,-1 0 0,-13 0 15,0 0-15,-13 0 0,0 0 0,0 13 16,-13-13-16,-1 0 0,-12 0 16,-14 0-16,14 0 0,-14 0 0,0 0 15,0 0-15,0 0 0</inkml:trace>
  <inkml:trace contextRef="#ctx0" brushRef="#br0" timeOffset="281.17">1111 3043 0,'40'0'0,"-80"0"0,80-14 16,0 14-16,-1 0 0,14 0 15,13-13-15,80 13 0,-80-13 16,13 13-16,1 0 0,-14 0 15,13 0-15,-13 0 0,-13 0 16,14 0-16,-15 0 0,1 0 0,-13 0 16,0 0-16,-1 0 0,-12 0 0,-14 0 15,14 0-15,-14 0 0,0 0 16,0 13-16,0-13 0,-13 13 16</inkml:trace>
  <inkml:trace contextRef="#ctx0" brushRef="#br0" timeOffset="1225.08">8255 2937 0,'304'0'16,"-224"0"-1,-1 0-15,14 0 0,-1 13 16,1-13-16,13 0 0,-27 13 0,14-13 16,-14 0-16,14 14 0,-14-14 0,-13 0 15,14 13-15,-28-13 0,1 0 16,-13 13-16,0-13 0,-14 0 0,1 0 16,-14 0-16,0 0 0,0 0 0,14 0 15,-14 0-15,0 0 16,-39 0 31,13 0-47</inkml:trace>
  <inkml:trace contextRef="#ctx0" brushRef="#br0" timeOffset="2169.57">10954 2844 0,'0'0'0,"39"0"16,1 0-1,13 0-15,0 0 0,26 0 0,14 0 16,0 0-16,12 0 0,1 0 0,0 0 16,26 14-16,-26-14 0,0 0 15,0 0-15,-14 0 0,1 0 0,0 0 16,-14 13-16,-26-13 0,13 0 15,-13 0-15,-13 0 0,-14 0 0,1 0 16,-1 0-16,-13 0 0,1 0 16,-1 0-16,0 0 0,0 0 0,0 0 15,1 0-15,-1 13 0,-13 0 47</inkml:trace>
  <inkml:trace contextRef="#ctx0" brushRef="#br0" timeOffset="3237.11">14102 2117 0,'0'0'0,"-13"13"15,13 0-15,0 14 16,-13 12-16,0 1 0,13 26 0,-14-13 16,1 0-16,0 13 0,0-13 0,-1 0 15,14 0-15,-13-13 0,13-1 16,0-12-16,-13-1 0,13 1 0,0-14 15,0 13-15,0-12 0,0-1 0,0 0 16,0 0-16,-13 0 16</inkml:trace>
  <inkml:trace contextRef="#ctx0" brushRef="#br0" timeOffset="3862.08">14063 2103 0,'0'-13'0,"0"26"0,13-39 0,0 26 16,0 0-16,1 0 0,-1-13 15,0 13-15,13 0 0,1 0 16,-1 0-16,14 0 0,-13 0 0,12 0 16,14 0-16,-13 0 0,-1 0 15,1 0-15,0 0 0,-14 0 0,1 0 16,12 0-16,-12-13 0,-14 13 0,14 0 16,-1 0-16,-13 0 0,1 0 0,-1 0 15,0 0-15,13 0 16,-12 0-1,-28 13 1,14 0-16,0 0 16,-13 0-16,13 14 0,0-1 15,-13 1-15,13-1 0,0 14 0,-13 0 16,13-1-16,0 1 0,0 0 0,-13-1 16,13 1-16,0 0 0,0-1 15,0-12-15,0-1 0,0 1 0,0-1 16,0-12-16,0 12 0,13-13 15,-13 14-15,0-14 0,0 0 0,0 0 16,0 1-16,0-1 0,0 0 16,0 0-16,-13 1 0,13-1 15,-14 0 1,1-13-16,13 13 0,-13-13 0,0 0 16,-1 13-16,-12-13 0,-1 0 0,1 14 15,0-14-15,-14 13 0,0-13 16,-13 13-16,14-13 0,-1 13 0,-53 1 15,67-14-15,-1 13 16,1-13-16,13 0 0,-1 0 0,1 0 0,0 13 16</inkml:trace>
  <inkml:trace contextRef="#ctx0" brushRef="#br0" timeOffset="4442.89">16841 2844 0,'106'-13'31,"-54"13"-31,15-13 16,-1 13-16,13-13 0,1 13 0,-1 0 16,13-14-16,-12 14 0,12 0 0,-12-13 15,12 13-15,-12 0 0,-1-13 16,1 13-16,-14 0 0,-13 0 16,0 0-16,-1-13 0,-12 13 0,-13 0 15,-1 0-15,-13 0 0,1 0 0,-1 0 16,0 0-16,0-14 15</inkml:trace>
  <inkml:trace contextRef="#ctx0" brushRef="#br0" timeOffset="4759.75">16748 3003 0,'40'0'0,"238"-26"16,-199 26 0,0-14-16,14 14 0,0-13 0,-1 13 15,-12-13-15,12 13 0,-12-13 16,-1 13-16,0-14 0,-13 14 0,-13 0 16,0-13-16,0 13 0,-13 0 0,0 0 15,-14-13-15,0 13 0,-12 0 16,-1 0-16,0 0 0,0 0 0,1 0 15,-1 0-15,0 0 16,-53 0 15,27 0-15,0 0-16,0 0 0,-14 0 0</inkml:trace>
  <inkml:trace contextRef="#ctx0" brushRef="#br0" timeOffset="-15831.62">6535 10729 0,'40'-13'31,"-27"13"-31,0 0 0,14 0 16,-14 0-16,14-14 0,-14 14 0,0 0 15,13 0-15,-12 0 0,-1 0 0,0-13 16,0 13-16,1 0 0,-1 0 15,0 0-15,0-13 0,0 13 16,1 0-16,-1 0 31,-26 13 1,-1 0-17</inkml:trace>
  <inkml:trace contextRef="#ctx0" brushRef="#br0" timeOffset="-14640.6">3638 11642 0,'-13'0'0,"66"-27"15,-27 27 1,1-13-16,-1 13 0,14-13 0,-14 0 16,1 13-16,-1-14 0,1 14 15,-1 0-15,1-13 0,-14 13 0,13 0 16,-13-13-16,1 13 0,-1 0 16,0 0-16,0 0 0,1-13 15,-1 13-15,0 0 31,0 0 1</inkml:trace>
  <inkml:trace contextRef="#ctx0" brushRef="#br0" timeOffset="-12696.18">5384 10980 0,'-13'-13'0,"0"26"16,0 0 0,13 1-16,0-1 0,0 0 15,0 0-15,0 1 0,0-1 16,0 0-16,0 0 0,0 0 16,0 1-16,0-1 0,0 0 15,0 0-15,-14 1 0,14-1 16,0 0-1,-13-13-15,13 13 0,-13-13 16,0 14-16,-1-14 0,1 13 16,-13-13-16,13 13 0,-1-13 15,-12 13-15,-1-13 0,1 13 0,-1-13 16,1 14-16,-14-1 0,1 0 0,-14 0 16,13 1-16,-26-1 0,0 0 15,13 0-15,-13 14 0,0-14 0,13 0 16,-14 14-16,1-14 0,0 13 0,13-12 15,-13-1-15,13 13 16,14-12-16,-14-14 0,26 13 0,-13 0 16,14-13-16,13 0 0,0 13 0,-1-13 0,1 0 15,0 0-15,0 0 16,13 13-16,-14-13 16,41-13-1,-14 13 1,0 0-16</inkml:trace>
  <inkml:trace contextRef="#ctx0" brushRef="#br0" timeOffset="-12012.53">5173 11086 0,'0'-13'15,"0"0"1,13 13-16,-13-14 0,13 14 16,-13-13-16,13 13 0,1-13 0,-1 13 15,-13-13-15,13 13 0,0-14 0,0 14 16,1-13-16,-1 13 16,0 0-16,0 0 0,1 0 15,-1 0-15,0 0 16,-13 13-16,13-13 15,1 14-15,-14-1 16,13-13-16,-13 13 0,13 0 16,-13 1-16</inkml:trace>
  <inkml:trace contextRef="#ctx0" brushRef="#br0" timeOffset="-11371.36">3810 11470 0,'-26'13'31,"26"0"-31,-14 0 0,1 1 0,0-1 16,13 0-16,-13 0 0,-1 1 16,1-1-16,13 0 0,-13 0 0,0 0 15,13 1-15,-14-1 0,14 0 0,0 0 16,0 1 0,14 12-1,-1-26-15,0 13 0,0-13 16,1 0-16,-1 0 0,0 0 15,0 0-15,1 14 0,-1-14 16,0 0-16,0 0 0,0 0 16,1 0-16,-1 0 15,0 0-15,0 0 0</inkml:trace>
  <inkml:trace contextRef="#ctx0" brushRef="#br0" timeOffset="-10126.59">2328 11880 0,'0'0'0,"0"-13"0,0 52 47,0-26-47,0 1 0,0-1 0,0 13 15,0-12-15,0 12 0,14-13 16,-14 1-16,0 12 0,0-13 0,0 14 16,0-14-16,0 0 0,0 0 0,0 1 15</inkml:trace>
  <inkml:trace contextRef="#ctx0" brushRef="#br0" timeOffset="-9818.94">2249 12091 0,'-13'-13'15,"-1"26"17,14 1-32,14 12 0,-14-13 15,0 1-15,13-1 16,-13 0-16,13 0 0,-13 1 15,13-1-15,1 0 0,-1-13 0,0 13 16,0-13 0,14 0-1,-27-13-15,13 13 0,-13-13 0,13 13 16,0-13-16,-13-1 0,14 1 16,-1 13-16,-13-13 0,13 0 0,0 13 15,1-14-15,-1 14 0</inkml:trace>
  <inkml:trace contextRef="#ctx0" brushRef="#br0" timeOffset="-8806.57">2183 12554 0,'13'14'31,"-13"-1"-15,0 0-16,13 0 0,-13 1 16,13-1-16,-13 0 15,0 0-15,14 1 16,-1-41 15,-13 14-15,0 0-1,13-1-15,0 14 32,1 14-17,-1-14-15,-13 13 0,13-13 16,0 13-16,1-13 15,-1 0-15,0 0 16,0 0-16,0-13 16,1 0-16,-14-1 15,13 14 1,-13-13-16,0 0 16,13 13-1,0 13 1,1-13-1,-1 0-15,-13 13 0,26-13 16,-12 0 0,-1-13-16,0 0 15,-13 0-15,0-1 16,-13 1 0,13 0-16,-13 0 15,-1 13-15,14-13 0,-13 13 0,-13 0 16,12 0-1,1 0-15,13 13 16,-13-13-16,0 13 16,26 0-1,0-13-15,14-13 16,-14 13-16,0-13 0,0 0 16,14-14-16,-14 14 15,0 0-15,0-1 0,-13-12 0,14 13 16,-14-1-16,13 1 0,-13 0 15,13 0-15,-13 0 0,0-1 16,13 14-16,-13-13 16,14 40-1,-1-14-15,-13 0 0,0 13 16,13-12-16,-13-1 0,0 0 16,13 14-16,-13-14 0,0 0 15,14 14-15,-1-14 0,0 0 16,0-13-16</inkml:trace>
  <inkml:trace contextRef="#ctx0" brushRef="#br0" timeOffset="-8623.76">2553 12435 0,'-13'0'16,"26"-26"-1,0 26-15,1-13 0,-1 13 16,0-14-16,0 1 0,14 0 0,-1 13 16,1-13-16,-1 0 15,14-1-15,-14 1 0,1 0 0</inkml:trace>
  <inkml:trace contextRef="#ctx0" brushRef="#br0" timeOffset="-7217.67">2937 12356 0,'-13'0'0,"13"13"16,0 0 0,0 1-16,0-1 15,0 0-15,0 0 16,13-13-16,-13 14 15,13-14-15,0 0 16,1-14 0,-1 1-16,-13 0 15,0 0-15,13-1 0,-13 1 16,0 0-16,13 0 16,-13 0-16,0-1 15,13 41 16,-13-14-15,0 0-16,0 0 16,14 1-16,-14-1 15,13 0-15,-13 0 16,26-26 15,-12 13-15,-14-13-16,13 0 15,0-1 1,0 1 0,-13 40 15,14-27-31,-14 13 0,0 0 16,0 0-1,13-26 32,0 0-47,0 13 16,-13-13-1,13 13 17,1 0-17,-1 0 1,0-14-16,-13 1 0,13 13 15,-13-13-15,14 0 0,-1 0 16,-13-1-16,13 1 0,0 0 0,-13 0 16,14 13-1,-14-14-15,13 28 16,-13-1-16,0 0 16,0 0-16,0 1 0,0 12 15,-13 27-15,13-27 0,-14 14 16,1 13-16,13-27 0,0-12 15,-13-1-15,13 0 0,0 0 16,0 1-16,-13-1 0,13-40 47,0 14-47,0 0 16,13 13-16,-13-13 0,13-14 0,-13 14 15,0 0-15,13 0 0,-13-1 16,14 1-16,-14 0 0,13 0 0,-13-1 15,0 1-15,13 0 0,0 26 47,0 0-31,1-13 0,-1 0-1,0-13 1,0 0-16,-13 0 15,14 13-15,-14-14 16,13 14-16,-13-13 0,13 0 16,13 13 15,-26 13-15,14-13-1,-1 0 1,-13-13-1,13 13 1,0 0 0,-13-13-1,14 13 1,-14-13 0,13 13-16</inkml:trace>
  <inkml:trace contextRef="#ctx0" brushRef="#br0" timeOffset="-4655.55">6469 10583 0,'0'-13'0,"0"0"32,13 39-1,-13-12-16,14-14-15,-14 13 0,13 0 16,-13 0-16,13-13 16,0 13-16,0-13 15,1-13 1,-1 0 0,0 0-16,-13 0 15,13-1-15,-13 1 16,0 0-1,0 0-15,0-1 16,14 28 31,-14-1-31,0 0-1,13 0-15,0 1 16,-13-1-16,13-13 15,1 0 1,-1 0-16,0-13 16,-13-1-1,13 14-15,-13-13 0,13 13 16,-13-13-16,14 13 16,-14-13-16,13 13 15,0 0 16,-13 13-31,0 0 32,0 0-32,0 1 15,0-1 1,13-13 0,1-13-1,-1 13 1,-13-14-16,13 14 0,-13-13 15,0 0-15,13 13 16,-13-13-16,0-1 0,13 14 16,-13-13-16,0 40 62,0-14-62,14 0 31,-1-26-15,0 0 0,-13-1-16,13 1 0,-13 0 15,14 13-15,-14-13 0,0 0 0,13-14 16,-13 14-16,0 0 16,13-1-16,-13 1 0,0 0 15,13 13-15,1 13 31,-14 0-31,0 14 0,13-14 16,-13 14-16,0-1 0,0 0 0,13 1 16,-13-14-16,0 14 0,0-1 15,0-13-15,0 14 0,0-14 16,-13 0-16,13 0 0,0 1 0,0-1 16,0 0-16,26-39 46,-13 12-30,1 1-16,-14 0 16,13 13-16,-13-13 0,13-1 0,-13 1 15,13 13-15,-13-13 0,0 0 0,14 0 16,-14-1-16,13 14 16,-13-13-16,13 26 46,-13 1-30,13-14 0,1 0-1,-1 0 1,-13-14-16,13 14 0,-13-13 16,13 13-16,-13-13 15,13 26 32,1-13-31,-1 0-1,0 0 1,0-13-16,1 0 16,-1-1-16,-13 1 15,0 0-15,13 0 0,-13 0 0,13-1 16,-13 1-16,0 0 0,13 0 15,-13-1-15,0 1 0,0 0 16,0 0-16,14 13 0,-14-14 16,0 41 15,0-14-31,0 0 0,0 1 16,0-1-16,0 0 15,13 0-15,-13 1 16,13-14-16,-13 13 15,27-26 1,-14 13-16</inkml:trace>
  <inkml:trace contextRef="#ctx0" brushRef="#br0" timeOffset="-4524.53">7448 10411 0,'0'0'15,"0"14"-15,0-1 0,0 0 16,0 0-16,0 1 0,0-1 15,0 0-15,0 0 0,13 0 16,-13 1-16</inkml:trace>
  <inkml:trace contextRef="#ctx0" brushRef="#br0" timeOffset="36648.11">15835 622 0,'-13'79'0,"13"-52"0,0-14 0,-13 13 15,13 1-15,0-1 0,0 1 16,0-14-16,0 13 0,0-12 0,0 12 16,0-13-16,0 0 0,0 14 15,0-14-15,0 0 16,0 1-16,13-14 0,-13 13 16</inkml:trace>
  <inkml:trace contextRef="#ctx0" brushRef="#br0" timeOffset="37613.75">16021 728 0,'13'-14'16,"-26"28"-16,39-41 0,-13 27 15,0 0-15,1 13 16,-14 1-16,13-14 15,-13 13-15,0 0 16,0 0-16,-13 14 0,13-14 0,-14 0 16,14 14-16,-13-14 0,13 0 0,-13 0 15,13 1-15,-13-1 0,0 0 16,13 0-16,-14-13 16,14 13-16,14-13 31,12 0-16,-13-13-15,0 13 0,1-13 16,12 0-16,1 0 0,-1-14 16,-13 14-16,14-14 0,-1 14 0,-13-13 15,14-1-15,-14 27 0,0-13 16,1 0-16,-14 0 16,-14 39 30,14-13-46,0 14 16,14-14 0,-1 0-16,0-13 0,0 0 15,0 0-15,1 0 16,-1 0-16,0-13 0,0 13 0,1-26 16,-14 12-16,0 1 15,0 0-15,0 0 0,0-1 16,-14 1-16,1 0 15,0 0-15,0 13 0,-1 0 16,1 13-16,0-13 0,-13 13 16,-1 14-16,1-14 0,-1 13 0,14-12 15</inkml:trace>
  <inkml:trace contextRef="#ctx0" brushRef="#br0" timeOffset="38082.46">15769 1217 0,'27'-13'15,"-1"0"1,14-1-16,-1 1 0,1 0 0,53-14 16,-40 1-16,13 13 0,-27 0 15,1-1-15,13 1 0,-13 0 16,13 0-16,-14-1 0,1 1 0,0 0 15,-14 0-15,1-1 0,-1 14 0,-13 0 16,1-13-16,12 0 0,-13 0 16,1 0-16,-1-14 0,0 1 15,0-14-15,0-26 0,1 26 16,-14 0-16,0 1 0,-14-1 16,1-13-16,0 0 0,-66-39 15,26 65-15,-66-26 0,52 40 16,-91 13-16,78 13 15,-12 1-15,12 12 0,-25 0 0,12 14 16,27-13-16,-27 25 0,14-12 0,13 0 16,-40 52-16,53-52 15,13 13-15,1-13 0,12-1 0,14 1 16,0 0-16,-1-14 0,14-13 16,0 40-16,14-13 0,12-13 15,1-14-15,-1 13 0,14-13 16,52 1-16,-39-1 0,0-13 15,13-13-15,67-1 0</inkml:trace>
  <inkml:trace contextRef="#ctx0" brushRef="#br0" timeOffset="38343.64">16616 873 0,'40'0'16,"-27"-13"0,0 13-16,13 0 0,27-13 15,-13 13-15,-13 0 0,-1-14 0,0 14 16,41-13-16,-54 13 15,26-13-15,-25 13 16,12-13-16,-26 0 0</inkml:trace>
  <inkml:trace contextRef="#ctx0" brushRef="#br0" timeOffset="38545.15">16880 648 0,'0'0'16,"27"13"-16,-1-13 15,-12 14-15,12-14 0,14 13 16,-14 0-16,14 14 0,-14-14 0,14 13 16,-14 1-16,-26-14 15,14 0-15,-14 0 16,-14 14-16,14-14 0,-13 14 0,-13-1 0,13 0 16,-14-26-16,14 27 0,-14-1 15,14-12-15</inkml:trace>
  <inkml:trace contextRef="#ctx0" brushRef="#br0" timeOffset="40102.41">17833 595 0,'-13'0'0,"-1"14"15,1-1-15,-13 0 0,-14 40 16,27-27-16,-14 1 0,14-1 0,0 1 16,0-1-16,-1 1 15,1-14-15,13 0 0,0 0 0,0 1 0,0 12 16,0-13-16,13-13 15,1 0-15,-1 0 16,13 0-16,-12-13 0,-1 13 0,13-13 16,-12 0-16,-1-1 0,13 1 0,-13 0 15,-13 0-15,14 13 0,-1-14 16,0 1-16,0 13 16,-13 13-1,14 1-15,-14-1 16,0 0-16,13-13 0,-13 13 0,13 1 15,-13-1-15,27 0 16,-14 0-16,0-13 16,0 0-16,0 0 15,1-13-15,-14 0 0,0-14 16,0 14 0,0 0-16,-14 13 15,14-13-15,0-1 0,-13 1 16,26 40 31,1-27-47,-1 0 15,-13 13 1,13-13-16,0 0 0,1 13 16,-1-13-1,0 0-15,0 0 16,1 0-1,-1 0-15,0 0 0,0-13 16,0 13-16,1-13 16,-1-1-16,0 14 15,-13-13-15,13 0 0,-13 0 16,0 0-16,-13 26 47,13 0-47,-13-13 15,26 13 1,-13 0-16,13-13 16,1 0-16,-1 0 15,0 0-15,0 0 0,0 0 16,-13-13-16,14 13 0,-1 0 0,0-13 16,0 13-1,1-13-15,-1 26 31,-13 0-31,0 0 16,0 1-16,13-1 16,0 0-1,14-26-15,-14 13 16,0-13-16,14-14 16,-27 14-16,13 0 15,0 0-15,14-27 0,-14-13 16,0 26-16,0 14 15,-13 40 17,0-14-32,0 13 0,-13 1 15,13 13-15,-13-1 0,0-12 0,13 12 16,-14 1-16,14-14 0,-13-26 16,13 14-16,0-1 0,-13 13 0,13-12 15,-13-14-15,13 13 16,-14-40-1,28 14-15,-14-27 16,0 27-16,13-13 0,13-27 16,-26 40-16,27-14 15,-27 14-15,13 0 0,0 13 16,1 13-16,-14 27 31,-14-40-31,14 13 0,-13 13 16,0-26-16,13 14 0,0-1 15,-13-13-15</inkml:trace>
  <inkml:trace contextRef="#ctx0" brushRef="#br0" timeOffset="40368.35">18680 661 0,'0'-39'15,"0"78"-15,0-52 31,0 26-31,0 14 0,0-14 16,0 0-16,-14 14 0,14-1 16,-13-12-16,13-1 0,-13 13 0,13-13 15,0 1-15,0-1 0,0 0 32,13-26-17,-13 0 1,13-1-16,1 1 15,-1 13-15,0-13 16,13 13-16</inkml:trace>
  <inkml:trace contextRef="#ctx0" brushRef="#br0" timeOffset="40714.95">17410 1363 0,'0'0'15,"13"-14"-15,0 1 0,13 0 16,14-14-16,79-12 0,80-27 16,-1-1-1,80 15 16,-238 38-15</inkml:trace>
  <inkml:trace contextRef="#ctx0" brushRef="#br0" timeOffset="40794.94">17727 1336 0,'278'-92'47,"-199"65"-31,-65 27-1,-1 0-15,-397 119 0</inkml:trace>
  <inkml:trace contextRef="#ctx0" brushRef="#br0" timeOffset="41152.18">18045 1323 0,'-40'26'0,"13"-12"0,1 12 15,0-13-15,-1 14 0,-26-1 16,13 14-16,-39 13 0,39-27 16,14 1-16,-1-1 0,-39 14 15,40-27-15,13 0 16,-1 1-16,-12-1 0,13 0 0,-1-13 0,1 13 16,0 0-16</inkml:trace>
  <inkml:trace contextRef="#ctx0" brushRef="#br0" timeOffset="41480.15">17489 1535 0,'-27'39'0,"54"-78"0,-54 92 0,14-40 0,0 0 15,0 13-15,0-12 0,-1 12 16,14-13-16,-13 14 0,0-1 16,13-13-16,0 27 0,0-27 15,13 1-15,-13-1 0,13-13 16,1 0-16,25 13 0,14-26 15,-40 13-15,14 0 0,-1-13 16,40-1-16,-39 1 16,-1 13-16</inkml:trace>
  <inkml:trace contextRef="#ctx0" brushRef="#br0" timeOffset="43238.37">19076 952 0,'0'0'0,"40"0"15,-13 0-15,-14 0 16,40 0-16,-27 0 0,1 0 15,-1 0-15,1 0 0,-1-13 16,1 13-16,-1 0 0,-13-13 16,14 13-16,-14 0 0,13-13 0,-12 13 15</inkml:trace>
  <inkml:trace contextRef="#ctx0" brushRef="#br0" timeOffset="43488.57">19354 741 0,'14'0'0,"-1"0"0,0 13 16,0-13 0,0 13-16,1-13 0,-1 14 0,0-1 15,0 0-15,14 0 0,-14 0 16,-13 14-16,13-14 0,-13 0 15,0 1-15,0-1 0,0 13 0,-13-13 16,0 14-16,13-14 0,-13 0 16,13 1-16,-14-1 0</inkml:trace>
  <inkml:trace contextRef="#ctx0" brushRef="#br0" timeOffset="44078.16">20002 767 0,'-13'40'31,"13"-27"-15,0 0-16,0 14 0,0-14 15,0 0-15,-13 1 0,13-1 0,0 0 16,0 0-16,0 0 0,0 1 15,0-1-15,0 0 16,0 0-16,0-52 31,0 25-15,0-12-16,0 13 0,0-27 16,0 14-16,0-1 0,13-26 15,-13 40-15,0 0 16,0 0-16,0-1 0,13 1 0,-13 0 15,14 0-15,-1 13 16,0 13 0,0-13-16,1 13 0,-14 0 15,0 1-15,0-1 16,0 0-16,0 0 0,0 1 0,0-1 16,-14 0-16,14 0 15,-13 0-15,13 1 0,-13-1 0,0 0 16,13 0-16,-14-13 0,1 14 15</inkml:trace>
  <inkml:trace contextRef="#ctx0" brushRef="#br0" timeOffset="44576.7">20122 873 0,'-14'27'32,"14"-14"-32,0 0 15,0 0 1,14 0-1,-1-26 1,0 13-16,0-13 16,0 0-16,-13 0 15,14-1-15,-14 1 16,13 0 0,0 26 15,-13 0-31,0 1 15,0-1-15,13 0 0,-13 0 16,0 0-16,0 1 0,0-1 16,14 0-16,-28 0 0,14 1 15,0-1-15,0 0 0,0 0 0,-13 1 16,13-1-16,-13 0 0,0 0 16,-1-13-1,14 13-15,-13-13 0,0-13 16,0 13-1</inkml:trace>
  <inkml:trace contextRef="#ctx0" brushRef="#br0" timeOffset="44940.43">20386 648 0,'0'27'31,"0"-14"-31,0 13 16,0-12-16,0-1 0,0 0 15,0 0-15,0 14 0,-13-1 16,13 1-16,0-1 0,-13-13 15,13 1-15,0-1 16,0 0-16,0 0 0,0 0 0,-14-13 16,14 14-1,0-1 1,0 0-16</inkml:trace>
  <inkml:trace contextRef="#ctx0" brushRef="#br0" timeOffset="45314.95">20532 648 0,'-14'27'31,"14"-14"-31,0 0 0,-13 0 0,13 1 16,0 12-16,-13-13 0,13 1 16,-13 25-16,13-26 15,0 1-15,-13-1 0,13 0 16,0 0-1,13-13 1,0 0 0,0 14-1,0-14 1,1 0-16,-14 13 16,13-13-16,0 13 15,0-13-15,1 0 0,-1 0 16</inkml:trace>
  <inkml:trace contextRef="#ctx0" brushRef="#br0" timeOffset="45877.06">20280 860 0,'53'-27'31,"-40"27"-31,14-13 16,-14 13-16,14 0 0,-1-13 0,1 13 15,12-13-15,-12 13 16,-1 0-16,-13-13 0,1 13 16,-1 0-16,0 0 0,14 0 15,-14 0 1,-13 13-16,0 0 31,0 0-31,0 0 16,0 1-16,0-1 15,13-13 1,0 0 0,0 0-16,1-13 15,-1-1-15,-13 1 16,13 13-16,-13-13 0,0 0 15,0 0 1,0-1-16,0 1 16,13 40 46,-13-14-62,14 0 16,-1-13-16,0 13 15,0-13-15,-13 13 16,13-13-16,1 0 0,-1 0 16,-13 14-1</inkml:trace>
  <inkml:trace contextRef="#ctx0" brushRef="#br0" timeOffset="46140.5">19817 1296 0,'53'-13'0,"-40"13"16,14-13-16,52 0 15,27-14-15,66-26 16,-66 40-16,-53 0 15,-13 0-15,12-1 16,-12 14-16,92-39 16,-118 39-1,-1-13-15,0 13 16</inkml:trace>
  <inkml:trace contextRef="#ctx0" brushRef="#br0" timeOffset="58172.08">14962 900 0,'-66'13'16,"132"-26"-16,-158 26 0,65-13 0,14 0 0,-14 0 16,1 0-16,0 0 0,12 0 15,-12 13-15,-14-13 0,14 0 0,-1 0 16,1 13-16,-1-13 0,14 0 0,-13 13 16,12-13-16,-12 0 0,13 0 15,-14 0-15,14 0 0,0 0 0</inkml:trace>
  <inkml:trace contextRef="#ctx0" brushRef="#br0" timeOffset="58441.18">14420 754 0,'-40'27'31,"27"-14"-31,0 0 0,-1 0 0,1 14 16,0-14-16,0 13 0,13-12 16,0 12-16,-13-13 0,13 0 0,0 1 15,0-1-15,13 0 0,-13 0 0,13 14 16,0-14-16,0-13 0,1 13 16,12 1-16,1-14 0,-14 0 15,13 13-15,1-13 0,-1-13 0,1 13 16,-1 0-16,1-14 0,-1 14 0</inkml:trace>
  <inkml:trace contextRef="#ctx0" brushRef="#br0" timeOffset="59237.14">11827 1072 0,'-13'0'15,"13"13"-15,0 0 16,0 13-16,0 1 0,13-1 0,-13 1 0,0-1 16,0 1-16,13 12 15,-13 14-15,0-39 0,13 12 16,-13-13-16,0 14 0,14-1 15,-14-13-15,0 1 0,0-1 16,0 0-16,13-13 0,-13 13 16,-13-52 15,13 25-31,-14-12 0,-39-265 47,53 251-32,14 1-15,78 224 125,-105-185-125,13 13 0,-13 0 16,0-13-16,-1 13 16,1 1-1</inkml:trace>
  <inkml:trace contextRef="#ctx0" brushRef="#br0" timeOffset="59976.59">12105 1164 0,'-14'-13'15,"-12"26"32,26 0-31,0 1-16,-13-1 0,13 0 16,0 0-16,0 1 0,0-1 15,0 0-15,0 0 0,0 14 16,0-14-16,0 0 0,0 0 15,13 1-15,-13-1 0,13 0 16,0-26 15,-13 0-31,14-1 0,-14 1 16,13 0-16,-13 0 16,0-1-16,13 1 15,-13 0-15,13 13 0,-13-13 0,14 13 16,-1 0-1,0 13-15,0-13 16,-13 13-16,14-13 0,-14 13 16,13 1-16,-13-1 15,13 0 1,-13 0-16,13 1 31,-26-54-15,13 27-1,0-1-15,0 1 16,0 0-16,13 0 0,-13 0 16,0-1-16,13 1 15,1 0-15,-14 0 16,13 13-16,0 0 16,0 0-1,1 13 1,-14 0-1,0 0-15,13 1 16</inkml:trace>
  <inkml:trace contextRef="#ctx0" brushRef="#br0" timeOffset="60412.61">12422 926 0,'-13'-13'16,"26"66"15,-13-27-15,13 27-16,1 26 15,-14-26-15,13-13 16,-13-13-16,0-14 0,0 0 15,0 0-15,0 0 0,0 1 16,0-1-16,0 0 0,0 0 16,-13-13-1,13-13 1,-14 0-16,14 0 0,14-1 16,-14 1-16,0 0 0,0 0 0,0-14 15,13 27-15,0-26 16,-13 13-16,13-1 15,1 14-15,12 0 16,-26 14-16,13-14 16,-13 13-1,13-13-15,1 26 0,-14-12 16,0-1-16,13 0 0,-13 0 31</inkml:trace>
  <inkml:trace contextRef="#ctx0" brushRef="#br0" timeOffset="60554.53">12568 1032 0,'-14'0'0,"1"13"15</inkml:trace>
  <inkml:trace contextRef="#ctx0" brushRef="#br0" timeOffset="61008.78">12634 1058 0,'0'14'0,"0"-28"0,-13 41 15,13-14 1,0 0-16,0 0 15,13-13-15,0 14 16,0-14-16,1-14 16,-1 14-1,13 0-15,-13 0 16,1 14 0,-1-14-16,-13 13 15,0 0-15,0 0 16,0 1-16,0-1 15,26-26 17,-12 13-32,-14-14 15,13 1-15,0 0 0,0 13 0,1-13 16,-14-1-16,13 1 0,0 0 0,0 0 16,-13 0-1,13 13-15,1 13 31,-14 0-15,0 0-16,0 14 31,0-14-31,-14 0 16</inkml:trace>
  <inkml:trace contextRef="#ctx0" brushRef="#br0" timeOffset="61215.49">12197 1707 0,'27'-14'15,"26"-25"1,92-41 0,27-12-16,-66 39 15,0 13 1,-40 14-16,-13-1 15,-40 27-15,0 0 16</inkml:trace>
  <inkml:trace contextRef="#ctx0" brushRef="#br0" timeOffset="61576.53">12158 1786 0,'0'0'15,"26"-27"-15,1 27 0,39-26 16,0-14-16,13 14 16,-39-1-16,13 14 0,-14 0 15,41-13-15,-54 12 16,27 1-16,-13 0 16,-14 0-16,-12 13 15,-1 0-15,0-14 16,0 14-16,1-13 15,-1 13 1,0 0 15,-26-13 47,0 13-78</inkml:trace>
  <inkml:trace contextRef="#ctx0" brushRef="#br0" timeOffset="62291.15">11761 1296 0,'-40'0'0,"80"0"0,-106 14 0,52-14 15,-12 0-15,-1 13 0,-12 0 0,-1 0 16,0-13-16,1 14 0,-1-1 16,14 0-16,-1-13 0,-26 13 15,40 1-15,-27-1 0,27-13 16,0 0-16,0 13 0,-1-13 16,-12 13-16,13-13 15</inkml:trace>
  <inkml:trace contextRef="#ctx0" brushRef="#br0" timeOffset="62608.14">11205 1283 0,'0'0'0,"-53"27"16,40-14-16,0 0 16,-1 0-16,-12 27 15,13-13-15,13-14 0,-13 0 16,13 0-16,0 0 0,0 14 16,13-14-16,13 27 31,-13-27-31,1-13 0,-1 13 0,0-13 0,14 0 15,-14 0-15,13 0 16,-12 0-16,12 0 0,-13 0 0,14-13 16,-14 13-16</inkml:trace>
  <inkml:trace contextRef="#ctx0" brushRef="#br0" timeOffset="64380.09">9287 1733 0,'0'40'31,"0"-27"-16,0 0-15,0 14 0,13 12 16,0-25-16,-13 12 0,0-13 0,14 14 16,-14-14-16,0 0 0,0 0 15,13 1-15,-13-1 0,0 0 16</inkml:trace>
  <inkml:trace contextRef="#ctx0" brushRef="#br0" timeOffset="64728.38">9393 1812 0,'0'27'32,"0"-14"-32,0 0 0,0 1 15,13-1-15,0 0 0,-13 0 0,13 0 16,1 1-16,-1-1 0,0 0 15,0-13-15,14 13 16,-14-13-16,13-13 16,-12 13-16,-14-13 0,13 13 15,-13-13-15,0-1 16,0 1-16,0 0 0,-13 0 16,13 0-16,-14-1 0,1 14 15,13-13-15,-13 13 0,0-13 0,0 13 16,-1 0-16,1 0 0,0-13 15,0 26-15,-1-13 0,1 0 0,0 0 16</inkml:trace>
  <inkml:trace contextRef="#ctx0" brushRef="#br0" timeOffset="65008.27">9578 1746 0,'13'27'0,"-26"-54"0,26 67 0,-13-27 0,13 0 16,-13 1-16,0-1 16,14 0-16,-1 0 0,0 1 15,0-14-15,1 0 0,-1 0 0,0 0 16,0 0-16,0 0 16,1-14-16,-1 14 0,0-13 15,-13 0-15,13 13 0,-13-13 0,0-1 16,0-12-1,-13 26-15,13-13 0,-13-1 16,0 14-16,-1 0 0,1-13 16,0 26-16,0-13 15,0 0-15,13 14 0,-14-14 16</inkml:trace>
  <inkml:trace contextRef="#ctx0" brushRef="#br0" timeOffset="65209.13">10014 1535 0,'14'0'15,"-14"13"1,0 0-16,0 0 0,0 1 16,0 12-16,0 0 0,-14 1 15,14-1-15,0 14 0,-13-14 0,13 1 16,-13 13-16,13-14 0,0-13 15,0 1-15,0-1 16</inkml:trace>
  <inkml:trace contextRef="#ctx0" brushRef="#br0" timeOffset="65344.92">9776 1720 0,'-13'-13'0,"40"13"16</inkml:trace>
  <inkml:trace contextRef="#ctx0" brushRef="#br0" timeOffset="65478.63">10213 1733 0,'-40'13'31,"27"-13"-15</inkml:trace>
  <inkml:trace contextRef="#ctx0" brushRef="#br0" timeOffset="66045.07">8903 1826 0,'-53'13'0,"40"-13"16,-13 0-16,-1 0 0,14 13 16,-14-13-16,1 0 0,0 13 0,-1-13 15,14 0-15,-40 14 0,40-14 16,-14 13-16,14-13 0,0 13 16,-14-13-16,14 0 0,-13 13 15</inkml:trace>
  <inkml:trace contextRef="#ctx0" brushRef="#br0" timeOffset="66269.38">8374 1786 0,'-26'26'15,"52"-52"-15,-66 66 0,40-27 0,-13 0 0,13 0 16,-13 14-16,13-14 15,0 0-15,0 0 0,0 1 16,13-1-16,-13 0 0,13-13 0,1 13 16,-1-13-16,0 14 0,0-14 15,1 0-15,-1 0 0,13 0 16,1 0-16,-14-14 0,0 14 16</inkml:trace>
  <inkml:trace contextRef="#ctx0" brushRef="#br0" timeOffset="67056.75">7435 1852 0,'-27'27'16,"14"-14"-16,0-13 0,0 13 0,-1 13 15,1-12-15,0-1 0,-14 0 16,14 0-16,0 1 0,0 12 15,0-13-15,-1 1 0,14-1 16,0 0 0,14 0-16,-1-13 15,0 0-15,27 0 0,-14 0 16,-13 0-16,14-13 0,-14 13 16,14-13-16,-1 0 0,-13 13 15,14-27-15,-14 14 16,0 13-16</inkml:trace>
  <inkml:trace contextRef="#ctx0" brushRef="#br0" timeOffset="67244.73">7461 1839 0,'0'-13'16,"-13"39"0,13-13-16,0 1 0,0 12 15,13-13-15,-13 0 16,0 1-16,0 12 0,0-13 0,13 1 15,-13-1-15,0 0 0,0 0 16,0 14-16,0-14 0,0 0 16,14 0-16,-14 1 0,0-1 15</inkml:trace>
  <inkml:trace contextRef="#ctx0" brushRef="#br0" timeOffset="67620.8">7673 1826 0,'-27'13'16,"14"0"-16,0 0 0,0 1 0,0-1 15,-1 0-15,14 0 16,-13-13-16,13 13 0,0 1 0,0-1 15,13 0 1,1-13-16,-1 0 16,0 0-16,0 0 0,0 0 15,1 0-15,-14 13 0,13-13 0,0 0 16,0 0-16,1 0 16,-1 14-16,-13-1 15,0 0 1,0 0-16,-13 1 15,-1-1-15,1 13 16,0-26-16,0 13 0,-1 1 16,1-14-16,13 13 15</inkml:trace>
  <inkml:trace contextRef="#ctx0" brushRef="#br0" timeOffset="67823.5">7898 1680 0,'-40'265'109</inkml:trace>
  <inkml:trace contextRef="#ctx0" brushRef="#br0" timeOffset="67964.32">7752 1879 0,'-13'-14'16,"40"28"15</inkml:trace>
  <inkml:trace contextRef="#ctx0" brushRef="#br0" timeOffset="68080.53">8070 1852 0,'13'-13'0</inkml:trace>
  <inkml:trace contextRef="#ctx0" brushRef="#br0" timeOffset="68960.6">7832 1416 0,'-53'-40'16,"106"80"-16,-119-93 0,52 53 0,-12-14 0,13 14 15,-14-13-15,1 13 0,-1 0 0,1 0 16,-1 13-16,-26-13 0,27 14 16,-14 12-16,-13 1 0,14-1 0,-1 0 15,13 14-15,-12 0 0,-1 66 16,14-53-16,12-1 0,14 1 15,0 40-15,0-40 16,0-13-16,14-1 0,-1 1 0,13 0 16,1-14-16,-1 1 0,1-1 0,-1 0 15,40 14-15,-39-27 16,-1 1-16,40-14 0,-52 13 16,25-26-16,-12 13 0,12-14 15,-12 1-15,13 0 0,-14 0 0,14-1 16,-14-12-16,1 13 0,-14-14 0,13 1 15,1-1-15,-14 1 0,0-14 16,1 1-16,-1 12 0,-13-13 16,13 1-16,-13 12 0,0 1 0,-13-14 15,0 14-15,-1-14 0,1 14 0,-13-14 16,-1 13-16,1 1 0,-27-14 16,13 14-16,14 13 0,-41-14 15,41 27-15,-40 0 16,39 0-16,1 0 0,-1 0 15,-12 0-15,12 13 0,1-13 0,-1 14 16</inkml:trace>
  <inkml:trace contextRef="#ctx0" brushRef="#br0" timeOffset="69531.39">7170 1945 0,'-79'0'16,"158"0"-16,-185 13 0,80-13 0,13 0 15,-14 0-15,1 0 0,-1 0 0,1 0 16,13 0-16,-14 0 0,1 0 0,-1 0 16,1 0-16,13 0 0,-14 0 15,14 0-15,-14 13 0,14-13 0,-13 0 16,-1 0-16,14 0 16,0 0-16</inkml:trace>
  <inkml:trace contextRef="#ctx0" brushRef="#br0" timeOffset="69816.36">6628 1839 0,'-13'13'16,"-1"-13"-16,14 13 15,-13 1-15,0-1 0,13 0 0,-13 0 16,13 0-16,0 1 0,-14 12 0,14 1 16,0-14-16,0 0 0,0 0 15,14 1-15,-14-1 0,13 0 16,0 0-16,0-13 0,-13 13 16,27-13-16,-14 14 0,0-14 0,1 0 15,-1 0-15,0 0 0,0 0 16,0 0-16,1 0 0,-1 0 0</inkml:trace>
  <inkml:trace contextRef="#ctx0" brushRef="#br0" timeOffset="70473.37">5636 1812 0,'-14'0'16,"1"0"-16,0 14 0,-27-1 15,-39 27 1,66-27-16,-1 0 16,1 0-16,13 0 0,-13-13 0,13 14 15,0 12 1,13-26-16,0 13 0,1-13 0,-1 14 15,0-14-15,0 0 0,14 13 16,-14-13-16,0 0 0,0 13 0,1-13 16,-1 0-16,0 13 0,0-13 15,1 14-15,-1-14 0,-13 13 16,0 0-16,0 0 16,-13-13-16,13 13 0,-14 1 15,1-14-15,0 13 0,0 0 16,-1-13-16,1 0 15,0 13-15,0-13 0,0 0 0,-1-13 16,14 0 0</inkml:trace>
  <inkml:trace contextRef="#ctx0" brushRef="#br0" timeOffset="70702.38">5609 1746 0,'0'-13'31,"13"26"-15,-13 0 0,14 1-16,-14-1 0,13 13 15,-13-12-15,13 12 0,-13-13 0,13 14 16,1-14-16,-14 13 0,13-12 0,-13-1 16,13 0-16,0 0 0,-13 1 15,0-1-15,13 0 0,-13 0 0,14-13 16,-14 14-16,0-1 0,13-13 15</inkml:trace>
  <inkml:trace contextRef="#ctx0" brushRef="#br0" timeOffset="71938.47">5622 2077 0,'0'-13'0,"0"26"0,14-39 0,-1 12 16,-13 1-16,13 13 16,0-13-16,1 0 0,-1 13 15,-13-14-15,13 14 0,0-13 16,0 0-16,1 13 16,-14-13-16,13 13 0,0-14 15,0 14-15,-13-13 16,14 0-1,-1 13 17,0 13-17,0 0-15,1 1 16,-14-1-16,13 0 16,-13 0-16,13-13 15,-13 14-15,13-1 16,-13-40 15,13 27-31,-13-13 16,0 0-16,0 0 15,0-1-15,0 1 0,14 13 0,-14-26 16,13 13 0,-13-1-16,13 28 62,-13-1-62,0 0 0,13-13 16,-13 13-16,14 0 15,-1-13-15,-13 14 16,13-14-16,0-14 16,0 14-1,-13-13-15,0 0 16,0 0-1,-13 0-15,13-1 16,-13 14-16,0 0 16,13-13-16,-13 13 15,-1 0-15,1-13 16,40 13 31,-14 0-32,0 0-15,-13 13 0,13-13 16,0 0-16,-13 13 0,14-13 16,-1 0-16,-13 14 15,13-1-15,0 0 16,1-13 15,-1-13 0,-13 0-15,13 13-16,-13-14 16,13 14-16,-13-13 0,14 13 0,-14-13 15,13 0-15,0-1 16,-13 1-16,13 0 16,-13 0-1,-13-1 1,26 28 31,0-1-32,-13 0-15,0 14 0,14-27 16,-14 39-16,0-25 16,0-1-16,-14 0 0,14 0 0,0 0 15,0 1-15,-13 12 0,13-13 16,-13-13-16,13 14 15,0-41 17,0 14-17,13 0-15,-13-1 0,13 14 16,-13-13-16,0 0 0,14 0 0,-1 0 16,-13-1-16,13 14 15,-13-13-15,0 0 0,13 13 0,-13-13 16,14 13-16</inkml:trace>
  <inkml:trace contextRef="#ctx0" brushRef="#br0" timeOffset="82769.36">8096 1693 0,'93'-53'0,"-1"27"31,-78 13-31,12 13 0,-13-13 16,1 13-16,-1-14 0,0 14 0,0-13 15,1 13-15,-1-13 16,0 13-16,0-13 0</inkml:trace>
  <inkml:trace contextRef="#ctx0" brushRef="#br0" timeOffset="83052.39">8308 1455 0,'13'-13'31,"0"13"-31,14 0 16,-14 13-1,0-13-15,1 13 0,-1-13 16,0 14-16,0-14 0,0 13 0,-13 0 16,14 0-16,-14 1 0,13-14 15,-13 13-15,0 0 0,0 0 0,0 1 16,0-1-16,-13 0 16,13 0-16,0 0 0,-14 1 15</inkml:trace>
  <inkml:trace contextRef="#ctx0" brushRef="#br0" timeOffset="83456.36">8692 1283 0,'-14'27'15,"14"-14"-15,0 13 16,0-12-16,0 12 16,0-13-16,0 14 0,14-1 15,-1-13-15,-13 1 0,13-1 0,-13 0 16,13-13-16,-13 13 0,13-13 15,1 0-15,-1 14 16,0-28-16,-13 1 31,0 0-31,0 0 16,-13-1 0,0 14-1,13-13-15,-14 13 16,1 0-16,0 0 15</inkml:trace>
  <inkml:trace contextRef="#ctx0" brushRef="#br0" timeOffset="85117.43">8639 1402 0,'0'-13'16,"13"0"-16,0 13 0,-13-13 16,13 13-16,1-14 0,-1 1 15,0 13-15,0-13 0,0 0 16,1 13-16,-14-14 15,13 14-15,-26 27 32,13-14-17,-14-13-15,14 13 0,-13 1 16,0-1-16,0 0 0,13 0 16,-13 1-16,13-1 0,-14-13 15,14 13-15,0 0 16,14 0-16,-1-13 15,-13 14-15,13-14 0,0 0 0,0 13 16,1-13-16,-1 13 16,0-13-16,0 0 0,1 13 15,-1-13-15,0 14 16,-13-1 0,-13 0-16,13 0 15,-13 1-15,-1-14 0,1 13 16,0 0-16,0 0 0,-1-13 15,-12 13-15,13 1 0,0-14 16,-1 0-16,1 13 0,0-13 0,0 0 31</inkml:trace>
  <inkml:trace contextRef="#ctx0" brushRef="#br0" timeOffset="85479.39">8877 1323 0,'-13'0'16,"-14"13"0,27 0-16,-13-13 15,13 14-15,0-1 16,0 0-16,0 0 15,13-13-15,0 14 16,1-14-16,-1 0 0,0 13 16,0-13-16,0 13 15,1-13-15,-1 13 16,-13 0 0,0 1-16,-13-1 0,13 0 15,-14 0-15,1 1 0,13-1 16,-13 0-16,0 0 0,0 1 15,13-1-15,-14-13 0,1 13 16</inkml:trace>
  <inkml:trace contextRef="#ctx0" brushRef="#br0" timeOffset="85649.24">9049 1270 0,'0'26'16,"0"-12"-16,0-1 16,-13 0-16,13 14 0,-14-1 15,14 1-15,0-14 0,0 0 16,-13 0-16,13 14 0,0-14 0,0 0 16</inkml:trace>
  <inkml:trace contextRef="#ctx0" brushRef="#br0" timeOffset="85781.43">8903 1416 0</inkml:trace>
  <inkml:trace contextRef="#ctx0" brushRef="#br0" timeOffset="85940.3">9141 1389 0,'0'-13'31</inkml:trace>
  <inkml:trace contextRef="#ctx0" brushRef="#br0" timeOffset="86434.38">8983 1680 0,'39'-26'0,"-25"12"16,-1 14-16,40-39 0,-27 26 15,1-14-15,-14 1 0,13-1 0,14-26 16,-27 40-16,0-27 16,1 14-16,-14 13 0,0-14 0,0 1 15,-14-27-15,-12 13 16,0 14-16,-27-27 0,26 39 16,-13-12-16,1 26 0,-1-13 15,-13 13-15,13 0 0,-12 13 0,-1-13 16,0 26-16,0-12 0,0 12 0,13 14 15,0-14-15,1 14 0,26 0 16,-14-14-16,14 14 0,0 39 16,13-39-16,-14 0 0,28-14 0,-14 1 15,13 12-15,0-12 0,14-1 16,-14 1-16,26-1 0,-25-13 16,12 0-16,1-13 0,-1 0 0,1 0 15,-1 0-15,0 0 0,1-13 16,-1 0-16,14 0 0</inkml:trace>
  <inkml:trace contextRef="#ctx0" brushRef="#br0" timeOffset="86921.05">9366 1363 0,'53'-27'0,"93"-39"32,-107 53-32,1 0 0,0-14 0,-14 14 15,14-14-15,0 14 0,-14-13 16,0 12-16,1-12 0,13-27 15,-27 40-15,0 0 0,0-14 0,1 14 16,-14 0-16,13-1 16,-13 1-16,0 0 0,0 0 15,0 0-15,0-1 0,0 1 0,-13 13 16,13-13-16,-14 0 16,1 13-1,0-14-15</inkml:trace>
  <inkml:trace contextRef="#ctx0" brushRef="#br0" timeOffset="87194.02">9803 833 0,'13'-13'16,"-13"0"-16,13 13 0,0 0 15,1 0-15,-1 0 0,0 0 16,0 0-16,1 0 0,-1 13 0,13-13 16,-12 0-16,-1 13 0,0-13 15,0 14-15,0-14 0,1 13 0,-1 13 16,-13-12-16,0-1 16,0 0-16,0 13 0,-13-26 15,-1 14-15,1 12 0,0-13 0,0 14 16,0-14-16,13 0 0,-14 1 15</inkml:trace>
  <inkml:trace contextRef="#ctx0" brushRef="#br0" timeOffset="98872.32">10306 503 0,'0'26'31,"0"-13"-15,0 1-16,13-1 0,-13 13 0,0-12 15,0 12-15,13-13 0,-13 14 0,0-14 16,0 0-16,13 14 0,-13-14 16,0 0-16,0 0 0,0 1 15,13-1-15,-13 0 0,0 0 0</inkml:trace>
  <inkml:trace contextRef="#ctx0" brushRef="#br0" timeOffset="99420.26">10213 609 0,'26'-53'16,"1"53"-1,-14-14-15,14 14 0,-14-13 16,0 13-16,0 0 0,0 0 15,-13 13-15,14-13 0,-1 14 16,-13-1-16,0 0 16,-13 0-16,13 1 0,-14-14 15,14 13-15,0 0 0,-13-13 0,13 13 16,13 0 0,1 1-16,-1-14 15,0 13-15,14-13 0,-14 0 16,0 13-16,0-13 0,14 13 0,-14 1 15,0-14-15,-13 13 16,13-13-16,-13 13 0,0 0 0,0 14 16,-13-14-16,0 0 15,0 0-15,0 1 16,-1-14-16,1 13 0,0-13 0,13 13 16,-13-13-16,-1 0 15,1 0-15</inkml:trace>
  <inkml:trace contextRef="#ctx0" brushRef="#br0" timeOffset="100136.5">10636 754 0,'27'-40'15,"-27"27"-15,13 0 16,-13 0-16,0-1 16,-13 1-1,13 0-15,-14 13 16,1 13-1,0 0-15,13 1 16,-13-14-16,13 13 0,0 0 0,0 0 16,0 1-16,0-1 15,0 0 1,13-13-16,0 0 16,0-13-16,1 13 15,-1 0-15,0-13 0,0 13 16,1-14-16,-1 14 15,0 0 1,0 0-16,1 0 16,-14 14-16,13-14 15,0 0 1,-13 13 0,13-26 15,0 13-31,1-14 15,-1 14-15,0-13 16,0 13 0,1 0-1,-1 0-15,0 0 0,0 0 16,-13-13-16</inkml:trace>
  <inkml:trace contextRef="#ctx0" brushRef="#br0" timeOffset="100617.25">11152 410 0,'0'27'31,"0"-14"-31,0 0 0,0 0 0,13 0 16,-13 1-16,0-1 0,0 13 16,0-12-16,0-1 0,14 0 15,-14 0-15,0 1 0,0-1 16,0 0-16,0-53 31,0 27-31,-14-13 16,14-1-16,0 1 0,0-1 0,-13 1 15,26-14-15,-13 27 0,0-14 16,0 14-16,0-13 0,0 13 0,14 13 16,-14-14-16,13 14 0,0 0 15,0 14-15,14 12 16,-14-13-16,-13 0 0,13 1 15,0 12-15,-13-13 0,14 1 16,-1 12-16,-13-13 0,13 0 16,-13 1-16,13 12 0,-13-13 15,0 1-15</inkml:trace>
  <inkml:trace contextRef="#ctx0" brushRef="#br0" timeOffset="101177.23">11218 609 0,'-13'0'0,"26"-27"32,1 27-17,12-13-15,-13 0 0,0-1 16,14-12-16,-1 13 0,-12-1 0,-1-12 16,0 13-16,0-14 0,14-12 15,-27 12-15,13 14 0,-13 0 16,0 0-16,13-1 0,-13 1 15,0 0-15,0 0 16,13 39 0,-13-13-16,0 1 0,0 12 15,0 0-15,14 1 0,-14-1 0,0 1 16,0 12-16,0-12 0,0-1 16,0 1-16,0 13 0,0-14 15,0-13-15,0 0 0,0 1 16,-14-1-16,14 0 0,0 0 15,-13-13-15,0 0 16,0-13 15,26 0-31,-13 0 16,13-1-16,-13 1 0,13-13 16,1 13-16,-14-14 0,13 14 0,13-53 15,-12 39-15,-14 1 0,13 13 16,-13-1-16,13-12 0,0 13 15,-13-1-15,0 1 0,14 13 16,-14 13 15,0 1-31,0-1 16,-14 0-16,14 0 0,0 1 0,0-1 16,0 0-16,0 0 0,0 0 15,0 1-15,14-1 0,-14 0 16</inkml:trace>
  <inkml:trace contextRef="#ctx0" brushRef="#br0" timeOffset="101612.33">11748 423 0,'0'-13'16,"-27"26"-1,14 1 1,0-1-16,13 0 0,-14 0 15,1-13-15,13 13 0,-13 1 16,26-14 15,0 0-15,1 0 0,-1 0-1,0-14 1,0 14-1,1-13-15,-1 0 16,0 0-16,-13 0 16,13 13-16,-13-14 0,13 1 15,-13 0-15,0 0 0,0-1 0,14 1 16,-14 0-16,0 0 0,0 0 16,13 13-16,-40 26 31,27-13-16,-13 14-15,13-14 0,-13 13 16,13-12-16,-13 12 0,13-13 16,0 0-16,0 1 0</inkml:trace>
  <inkml:trace contextRef="#ctx0" brushRef="#br0" timeOffset="101865.31">11880 370 0,'26'-52'0,"-52"104"0,65-118 16,-39 53-16,14 0 0,-14 0 0,13-1 15,-13 28 17,-13-1-32,-1 0 0,1 0 15,13 1-15,-13-1 0,0 0 16,13 0-16,0 0 0,0 1 0,-13-14 16,13 13-16,0 0 15,13 0-15,13-13 16,-13 0-16,1-13 15,-1 13-15,13 0 0,-12-13 16,-1 13-16,13 0 0,-12-13 0,-1 13 16,13 0-16,-13 0 0,1 0 15</inkml:trace>
  <inkml:trace contextRef="#ctx0" brushRef="#br0" timeOffset="101996.13">12224 370 0,'-13'0'0,"26"0"0,0 0 15,-39 14 63</inkml:trace>
  <inkml:trace contextRef="#ctx0" brushRef="#br0" timeOffset="104700.2">10597 1098 0,'39'-26'16,"-78"52"-16,91-66 0,-12 14 0,-13 13 0,26-14 16,-14 1-16,14 12 0,0-12 15,0 0-15,0-1 0,0 1 0,0-1 16,0 14-16,-14-13 0,1 12 16,0 1-16,-14 0 0,1 0 0,-1-1 15,-13 14-15,14-13 0,-14 13 16</inkml:trace>
  <inkml:trace contextRef="#ctx0" brushRef="#br0" timeOffset="104920.33">10491 1151 0,'0'13'0,"0"-26"0,26 26 16,-13-26-1,1 13-15,12-13 0,14-1 16,-1 1-16,1 0 0,-13 0 0,12-14 16,1 14-16,0 0 0,-1 0 15,1-1-15,0-12 0,-14 13 0,14 13 16,-27-14-16,14 14 0,-1-13 0,0 13 16,-12-13-16,12 0 0,14-14 15,-14 14-15,14-13 0</inkml:trace>
  <inkml:trace contextRef="#ctx0" brushRef="#br0" timeOffset="105336.43">12224 410 0,'26'-13'0,"-13"13"16,1-13-16,-1 13 15,0 0-15,14 0 0,-14-14 16,0 14-16,13 0 0,-12-13 0,-1 13 15,0 0-15,0-13 0,1 13 0,-1 0 16</inkml:trace>
  <inkml:trace contextRef="#ctx0" brushRef="#br0" timeOffset="105580.43">12409 251 0,'26'-13'16,"1"26"-1,-1 1-15,-12-14 0,-1 13 16,0 0-16,0-13 0,0 13 16,1 1-16,-14-1 0,13 0 15,-13 0-15,0 0 0,0 1 0,0-1 16,-13 0-16,13 0 15,-14 1-15,1-1 0,0 0 0,13 0 0</inkml:trace>
  <inkml:trace contextRef="#ctx0" brushRef="#br0" timeOffset="114078.33">11218 886 0</inkml:trace>
  <inkml:trace contextRef="#ctx0" brushRef="#br0" timeOffset="115392.53">20902 926 0,'27'0'31,"-14"0"-31,0-13 0,13 13 0,1 0 16,-1-13-16,14 13 0,-13 0 15,-1-14-15,0 14 0,14-13 0,-13 13 16,-1 0-16,0-13 0,1 13 0,-1 0 16,-12-13-16,12 13 0,-13 0 15,1 0-15,12-14 0,-13 14 16,0 0-16,-13-13 0</inkml:trace>
  <inkml:trace contextRef="#ctx0" brushRef="#br0" timeOffset="115661.12">21312 714 0,'27'0'31,"-14"14"-31,0-14 0,0 13 16,1-13-16,-1 13 0,0 0 0,0 1 15,0-14-15,1 13 0,-1 0 16,0 0-16,0 0 0,1 1 0,-14-1 16,13 0-16,-13 0 15,0 1-15,-13-1 0,13 0 16,-14 0-16,1 0 0,0-13 16,0 14-16,-1-14 15,1 13-15</inkml:trace>
  <inkml:trace contextRef="#ctx0" brushRef="#br0" timeOffset="116549.32">22490 675 0,'-14'0'0,"-25"-14"15,25 14 1,1 0-16,-13 0 0,13 14 15,-14-14-15,14 0 0,0 13 16,-1 0-16,1 0 16,13 1-16,13-1 15,-13 0-15,14 0 0,-1 1 16,0-1-16,0 0 0,1-13 0,-1 13 16,13 0-16,-13-13 0,1 14 15,-1-1-15,0-13 0,0 13 16,1 0-16,-14 1 15,-14-14 1,14 13-16,-13 0 0,-13-13 0,12 13 16,1-13-16,-13 13 0,-1-13 0,14 0 15,0 0-15,0 0 0,-1 14 16,1-14-16,0 0 0,0 0 0,-1 0 16</inkml:trace>
  <inkml:trace contextRef="#ctx0" brushRef="#br0" timeOffset="117023.2">22635 767 0,'-13'14'47,"13"-1"-47,0 0 16,0 0-16,0 0 15,0 1 1,13-14-16,-13 13 15,13-13-15,1-13 16,-1 13-16,0 0 16,0-14-1,0 14-15,1 14 16,-1-1-16,0 0 16,-13 0-16,13 1 0,-13-1 15,14 13-15,-14-13 0,13-13 16,-13 14-16,0 12 0,0-13 0,0 1 15,0-1-15,0 0 0,0 0 16,-13-13-16,13 14 0,0-1 0,-14 0 16,1-13-16,0 13 0,0-13 15,-1 0-15,1 0 0,0 0 16,0-13-16,0 13 0,-1-13 16</inkml:trace>
  <inkml:trace contextRef="#ctx0" brushRef="#br0" timeOffset="117413.58">22834 807 0,'0'0'15,"13"13"-15,-13 14 16,0-14-16,0 0 15,0 0-15,0 1 16,0-1-16,0 0 0,0 0 16,13 0-1,0-26 17,-13 0-32,13 13 0,-13-13 15,14 0-15,-1-1 0,0 1 16,0 13-16,1 0 15,-1 13 1,-13 1-16,13-1 16,-13 0-16,0 0 15,0 0-15,13 1 16,-13-1-16,14-13 31</inkml:trace>
  <inkml:trace contextRef="#ctx0" brushRef="#br0" timeOffset="117632.2">23204 569 0,'0'26'31,"0"1"-15,0-14-16,-13 13 0,13 1 0,0-1 15,0 1-15,-13-14 0,13 14 16,0-1-16,0 0 0,0-12 16,-14 12-16,14-13 0,0 1 0,0-1 15,0 0-15,0 0 0</inkml:trace>
  <inkml:trace contextRef="#ctx0" brushRef="#br0" timeOffset="117834.98">23032 860 0,'-13'0'15,"39"-27"17,-13 27-32,1 0 0,-1-13 15,13 13-15,-12-13 0,-1 13 0,13 0 16,-12-13-16,12 13 0,0-13 15,-12 13-15,12 0 0,-13 0 0,1-14 16</inkml:trace>
  <inkml:trace contextRef="#ctx0" brushRef="#br0" timeOffset="118333.54">23469 741 0,'-14'0'16,"1"13"-16,0 0 16,13 1-1,-13-1-15,-1 13 0,14-13 16,0 1-16,0-1 16,14 0-1,-1-13-15,0-13 16,0 13-16,1-13 15,-1-1-15,0 1 16,0 0-16,0 13 0,-13-13 0,14 0 16,-1-1-16,-13 1 15,13 13-15,-13 13 16,0 1 0,0-1-1,0 0-15,0 0 0,0 0 0,0 1 16,0-1-16,0 0 0,13 0 0,-13 1 15,0-1-15</inkml:trace>
  <inkml:trace contextRef="#ctx0" brushRef="#br0" timeOffset="118519.75">23892 714 0,'-13'27'16,"-1"-14"-16,14 0 16,-26 14-16,26-14 15,-13 13-15,-1-12 0,-25 25 16,26-25-16</inkml:trace>
  <inkml:trace contextRef="#ctx0" brushRef="#br0" timeOffset="118712.98">23601 767 0,'0'-13'15,"26"40"17,-12-27-32,-1 13 0,13-13 15,-13 13-15,1 0 0,12-13 16,1 13-16,-14 1 0,26-1 15,-25-13-15,-1 13 0,0 0 16,0-13-16</inkml:trace>
  <inkml:trace contextRef="#ctx0" brushRef="#br0" timeOffset="119002.32">22767 1244 0,'0'0'16,"53"-14"-16,-26 1 0,12 0 15,1 0-15,26-1 0,67-12 0,-67 13 16,0-14-16,0 14 0,13 0 15,-12 13-15,-15-13 16,1-1-16,0 14 0,-26-13 0,-1 13 0,1 0 16,-1-13-16,-13 13 0,1 0 15</inkml:trace>
  <inkml:trace contextRef="#ctx0" brushRef="#br0" timeOffset="119225.13">22847 1310 0,'53'-14'0,"-27"14"0,54-26 16,-28 26-16,54-26 15,-53 12-15,0 1 0,0 13 0,-13-13 16,13 0-16,26-1 15,-53 14-15,1-13 0,-1 13 0,-12 0 16,-1-13-16,0 13 0,0 0 16,1 0-16</inkml:trace>
  <inkml:trace contextRef="#ctx0" brushRef="#br0" timeOffset="125549.45">21511 1786 0,'0'26'0,"0"-12"0,-14-1 16,14 0-16,0 14 0,0-14 0,0 0 16,0 13-16,0-12 0,0-1 15,0 13-15,0-12 0,0-1 0,0 0 16,0 0-16,0 14 0,0-14 16,0 0-16,0 0 15,0 1-15</inkml:trace>
  <inkml:trace contextRef="#ctx0" brushRef="#br0" timeOffset="125832.23">21431 1918 0,'0'-39'0,"0"78"0,13-92 0,-13 40 16,0 0-16,14 0 0,-1-1 15,0 1-15,0 13 16,1-13-16,-1 13 0,13 13 16,-12 0-16,-1-13 15,-13 14-15,0-1 0,13 0 16,-13 0-16,0 1 0,0-1 16,0 0-16,0 0 0,0 0 0,0 1 15,-13-1-15,13 0 0,-13 0 16,13 1-16,-14-1 0,1-13 0,13 13 15,-13 0-15,0-13 0,13 14 0,-14-14 16</inkml:trace>
  <inkml:trace contextRef="#ctx0" brushRef="#br0" timeOffset="126305.51">21683 1865 0,'-14'27'31,"14"-14"-31,0 0 0,0 0 16,0 1-16,0-1 0,0 0 16,0 0-16,0 1 15,0-1-15,-13-13 0,13 13 0,0 0 16,0 1-16,-13-1 15,13 0 1,-27-13 62,14 0-47,0 0-31,0 13 16,13 0 0,13 1 15,0-14-15,0 0-16,1 0 15,-1 0-15,0-14 0,0 14 0</inkml:trace>
  <inkml:trace contextRef="#ctx0" brushRef="#br0" timeOffset="126446.51">21815 2051 0,'13'0'16,"-26"0"-16,26-14 16</inkml:trace>
  <inkml:trace contextRef="#ctx0" brushRef="#br0" timeOffset="126749.61">22040 1879 0,'-13'13'15,"-1"-13"-15,1 0 0,-27 39 32,40-25-32,0-1 15,0 0-15,0 0 0,14 1 16,-14-1-16,13 0 16,0 0-1,-13 1-15,0-1 16,0 0-1,-13-13 1,13 13-16,-13-13 16,-1 0-16,14 13 0,-13-13 15,0 14-15</inkml:trace>
  <inkml:trace contextRef="#ctx0" brushRef="#br0" timeOffset="127300.33">22119 2051 0,'0'0'0,"0"-14"0,0 1 16,0 0-16,0 0 31,13 39 32,1-26-48,-1 0 1,-13 13-16,13-13 15,-13 14-15,13-14 16,1 0 15,-1-14 1,0 14-17,-13-13-15,13 13 0,0 0 16,1-13 15,-1 26-15,0-13-1,0 0 17,-13-13-17,14 13 1</inkml:trace>
  <inkml:trace contextRef="#ctx0" brushRef="#br0" timeOffset="127457.06">22384 1892 0,'0'-13'0,"0"39"31,0-13-15,0 0-16,-13 1 15,13-1-15,0 0 16</inkml:trace>
  <inkml:trace contextRef="#ctx0" brushRef="#br0" timeOffset="127876.18">22556 1945 0,'0'-14'0,"13"14"16,0-13 109,-13 26-63,0 1-62,13-14 16,-13 13 0,0 0-1</inkml:trace>
  <inkml:trace contextRef="#ctx0" brushRef="#br0" timeOffset="128164.09">22159 2222 0,'26'-13'0,"-12"0"15,-1 13-15,13-13 0,14 0 16,0-1-16,-1 1 0,14 0 0,-13 13 16,0-13-16,-1-1 0,-12 14 15,-1-13-15,1 13 0,-1 0 0,-13-13 16,1 13-16,-1 0 16</inkml:trace>
  <inkml:trace contextRef="#ctx0" brushRef="#br0" timeOffset="128381.7">22159 2209 0,'-40'13'15,"252"-52"-15,-384 65 0,159-26 16,26 0-16,13-13 16,14 13-16,13-13 0,-13 13 15,13-13-15,-14-1 0,54 1 16,-40 0-16,-27 13 15,1 0-15,-14-13 0,0 13 0,0 0 16,1 0-16,-1 0 0,0-14 0,0 14 16,0 0-16,1-13 15</inkml:trace>
  <inkml:trace contextRef="#ctx0" brushRef="#br0" timeOffset="128744.13">23045 1918 0,'13'0'15,"-26"0"-15,40-13 0,-14 13 16,0 0-16,0 0 15,-13-13 1,14 13 0</inkml:trace>
  <inkml:trace contextRef="#ctx0" brushRef="#br0" timeOffset="129036.52">23085 1799 0,'13'-13'16,"0"13"0,14 0-16,-1 13 15,-12-13-15,-1 0 16,0 0-16,0 13 0,0-13 15,1 0-15,12 14 0,-26-1 16,13-13-16,1 13 0,-14 0 16,0 1-16,13-14 0,-26 13 15,13 0-15,0 0 0,0 0 16,-14 1-16,14-1 16,-13-13-16,13 13 0</inkml:trace>
  <inkml:trace contextRef="#ctx0" brushRef="#br0" timeOffset="129807.54">23601 1640 0,'-13'0'16,"-1"14"-1,1-14-15,13 13 16,0 0-16,0 0 0,0 1 16,0-1-16,13-13 15,-13 13-15,14 0 0,-1 0 16,-13 1-16,13-14 0,-13 13 15,13 0-15,-13 0 16,0 1-16,0-1 0,0 0 16,0 0-16,-13-13 0,13 14 0,-13-1 15,13 0 1,-13-13-16,39-13 31,-13 13-15,-13-13-16,27-1 0,-14 1 0,0 0 15,14 0-15,-14-1 0,-13 1 16,13 13-16,0-13 0,1 0 16,-14-1-1,13 14-15,0 14 32,0-1-17,0-13-15,1-13 31,-1 13-31,0-14 16,0 1-16,1 0 16,-14-13-16,0 12 15,0 1-15,-14 0 16,14 0-16,-13 13 16,0 13-16,0-13 15,-1 0-15,14 13 0,-13 0 16,26 1-1,1-14 1,-1 0 0,0 0-16,0 0 0,-13 13 15,14-13-15,-1 0 0,0 13 16,0-13-16,-13 13 16,14-13-1,-14 13-15,13-13 0,-13 14 0</inkml:trace>
  <inkml:trace contextRef="#ctx0" brushRef="#br0" timeOffset="191912.8">3413 8043 0,'66'0'0,"67"-26"31,-107 26-31,14 0 0,-14 0 0,1-13 15,-1 13-15,-13 0 16,14 0-16,-1-14 0,-13 14 0,1 0 0,-1 0 16,0 0-16,0 0 0,1 0 0,-1 0 15,0-13-15,0 13 16,1 0 0,-14-13-1</inkml:trace>
  <inkml:trace contextRef="#ctx0" brushRef="#br0" timeOffset="192323.61">3850 7858 0,'13'0'31,"0"0"-31,0 13 0,1-13 15,-1 0-15,0 0 0,14 14 0,-14-14 16,0 13-16,13-13 0,-12 0 16,-1 13-16,0-13 0,0 13 0,1-13 15,-1 14-15,0-1 0,-13 0 16,0 0-16,-13 0 0,13 1 16,-13-1-16,-1 13 0,-12-12 15,13 12-15,-1-13 0,-12 14 0,13-1 16,0-13-16,-1 1 0,1 12 15,0-13-15,0 1 0</inkml:trace>
  <inkml:trace contextRef="#ctx0" brushRef="#br0" timeOffset="192729.4">3704 8665 0,'0'0'16,"40"0"15,-27 0-31,14 0 0,-1 0 0,14-13 16,-1 13-16,1 0 0,0-13 0,-1 13 15,-12-14-15,-1 14 0,1 0 16,-1-13-16,1 13 0,-1-13 0,-13 13 15,14 0-15,-14-13 0,0 13 0,1-14 16,-1 14-16,-13-13 16</inkml:trace>
  <inkml:trace contextRef="#ctx0" brushRef="#br0" timeOffset="192969.99">4022 8414 0,'0'0'16,"0"-13"-16,13 13 0,0 0 0,-13-14 0,13 14 16,1 0-16,-1 0 0,13 0 15,-12 0-15,-1 0 0,0 14 0,0-14 16,14 13-16,-14-13 0,0 13 16,0 0-16,1 0 0,-14 1 15,13-1-15,-13 0 0,0 14 0,0-14 16,0 13-16,-13 1 0,-1-1 0,1 1 15,0-1-15,-14 1 0,14-1 16,-13 0-16,13 1 0,-1-14 0</inkml:trace>
  <inkml:trace contextRef="#ctx0" brushRef="#br0" timeOffset="193728.99">6456 9790 0,'40'-14'15,"-27"14"-15,79-39 32,-65 25-32,-14 1 0,0 13 0,1-13 15,12 13-15,-13-13 16,0 13-16,1-13 0,-1 13 0,0-14 15,0 14 1,-13-13 0</inkml:trace>
  <inkml:trace contextRef="#ctx0" brushRef="#br0" timeOffset="194022.44">6694 9578 0,'26'0'0,"-12"0"16,-1 0-16,0 0 0,0 13 0,1-13 16,-1 0-16,0 0 0,66 13 31,-65-13-31,-14 14 0,13-14 0,13 13 15,-26 0-15,0 0 0,14-13 16,-14 14-16,0-1 16,0 0-16,-14 0 0,14 0 15,-13-13-15,13 14 16,-13-14-16</inkml:trace>
  <inkml:trace contextRef="#ctx0" brushRef="#br0" timeOffset="194723.73">6588 7858 0,'27'-13'0,"-54"26"0,67-39 16,-14 26-16,-12-14 0,12 14 0,14-13 16,-1 13-16,1-13 0,0 13 15,-1 0-15,1 0 0,0 0 0,-14 0 16,14 0-16,-14 0 0,27 0 16,-13 13-16,-14-13 0,1 13 0,-1 1 15,1 12-15,-1-13 0,1 14 16,-14-1-16,0 14 0,14-14 0,-14 54 15,0-14-15,0-13 0,1 13 16,-1-13-16,0 13 0,13 40 16,-12-40-16,-1-13 0,13 0 15,-12 0-15,-1 0 0,0 0 16,14 0-16,-14-1 0,13 1 16,-13-13-16,1-13 0,-1 12 0,0 1 0,0-14 15,14 41-15,-14-41 0,-13 0 16,13 1-16,-13-14 0,0 14 15,14-14-15,-14 26 16,0-12-16,0-14 0,-14 14 0,14-14 16,0 13-16,-13-12 0,0 12 15,0-13-15,-1 14 0,1-14 0,-13 13 16,12-12-16,-12 12 0,0-13 0,-14 14 16,13-14-16,-52 27 15,39-27-15,1 13 0,-41 14 16,41-27-16,-1 0 0,13 14 0,1-27 15,0 13-15,12 0 0,-12 1 16,13-1-16,-1 0 0,1-13 0</inkml:trace>
  <inkml:trace contextRef="#ctx0" brushRef="#br0" timeOffset="199471.3">10663 2064 0,'0'13'47,"0"27"-47,0-14 15,0 14-15,0 185 0,13-133 16,-13 41-1,13-28-15,0 15 16,-13-28-16,0-26 16,0-26-16,0 0 15,14-1-15,-14-25 16</inkml:trace>
  <inkml:trace contextRef="#ctx0" brushRef="#br0" timeOffset="201403.41">10583 1945 0,'14'0'94,"25"0"-79,14 0-15,40 0 16,26 0-16,79 0 15,-26 0-15,119 0 16,-39 0-16,12-27 16,1 27-16,-54 0 15,-39 0-15,-39 0 16,-27-13-16,-40 13 16,-13 0-16,0 0 15,-14 0-15,27 0 16,-13 0-16,-13 0 15,26 0 1,-26 0-16,0 0 0,-27 0 16,13 0-16,1 0 15,-1 0-15,14 0 16,13 0-16,-27 0 16,67 0-1,-27 0-15,40 0 16,-27 0-16,-26 0 15,13 0-15,27 0 16,13-13-16,-53 13 16,26 0-16,-53 0 15,27 0-15,0 0 0,-26 0 16,-1 0 0,1 0-16,-1 0 15,-13 0 1,1 0-16,12 0 15,14 0 1,13 0-16,26-13 16,-39 13-16,-1-14 15,1 14-15,-27 0 16,0 0-16,1 0 16,-14-13-16,0 26 109,0 27-93,0 0-16,13-1 15,-13-12-15,0 13 16,0-1-16,0-12 15,0 12-15,0-12 16,0 52-16,0-39 16,0-14-16,0 27 15,0 0-15,0 27 16,0-28-16,0 41 16,0-40-16,0 0 0,0-27 15,0 14 1,0-13-16,0-14 15,0 26-15,0-25 16,0 12 0,0-13-16,-13 27 0,13-14 15,0 14-15,0-13 16,0-14 0,0 0-16,-14-13 15,14 13-15,-13-13 94,-13 0-78,13 0-1,-14 0 1,-39 0-16,-66 0 15,-1-13-15,-39 13 16,0-13-16,-26 13 16,-53-13-16,79 13 0,13 0 15,0 0 1,27-14-16,0 1 16,65 0-16,1 13 15,53 0 1,-13 0-16,12 0 0,-12 0 15,13 0 1,-1 0-16,1 0 16,0 0-16,0 13 15,-14-13-15,1 0 16,-1 0 0,1 0-16,13 0 15,-1 0 16,1 0-15,0 0-16,0 0 16,-14 0-16,14 0 15,-13 0-15,12 0 16,1 0-16,0 0 16</inkml:trace>
  <inkml:trace contextRef="#ctx0" brushRef="#br0" timeOffset="-211361.6">14724 3823 0,'40'-26'141,"52"13"-126,27 13-15,80-14 16,-40 14-1,39-13-15,40 0 16,93 13-16,66 0 16,13 0-16,-13 0 0,-119 0 15,-14 0-15,-105 0 16,-40 13 0,-26-13-16,-41 0 15,-38 0-15,-1 0 16</inkml:trace>
  <inkml:trace contextRef="#ctx0" brushRef="#br0" timeOffset="-206970.53">1680 4670 0,'13'0'78,"27"13"-62,13 0-16,-13-13 16,26 0-16,66 27 15,-26-27-15,26 0 16,-26 0-16,-27 0 15,27 0-15,-40 0 16,-52 0-16,-1-13 16</inkml:trace>
  <inkml:trace contextRef="#ctx0" brushRef="#br0" timeOffset="-200865.43">11972 3797 0,'0'53'15,"0"26"1,14 27-1,-14-40-15,0 0 16,0 0-16,0 0 16,0 27-16,-14-27 0,1-13 15,13-26 1,-13-14-16,13 27 16,0-27-16,0 0 15,0 0-15,0 0 16,-13 1-16</inkml:trace>
  <inkml:trace contextRef="#ctx0" brushRef="#br0" timeOffset="-200185.49">12951 3876 0,'93'0'0,"119"0"31,-173 0-31,-12 0 16,-14 0-1,0 0-15,0 0 63</inkml:trace>
  <inkml:trace contextRef="#ctx0" brushRef="#br0" timeOffset="-198248.75">18322 3744 0,'186'13'0,"-147"0"0,14-13 16,0 14-16,13-14 0,0 13 15,14 0-15,-1 0 0,1 14 16,-1-14-16,27 27 0,0-14 0,-1 1 15,-12-1-15,-14 0 0,27 14 0,-40-13 16,14-1-16,65 27 0,-79-27 16,1-12-16,-1 12 0,0 1 15,-13-1-15,0 0 0,-14-12 0,1 12 16,0 1-16,-14-14 0,1 0 16,-1 0-16,-13 1 0,1-1 0,-1 0 0,0 0 15,0-13-15,-13 13 0,14 1 16,-1-1-1,-13 0 1</inkml:trace>
  <inkml:trace contextRef="#ctx0" brushRef="#br0" timeOffset="-197839.78">20505 4220 0,'0'-13'0,"13"39"32,1-12-17,-1-14-15,-13 13 0,26 13 32,-12-13-32,-1 1 0,0-1 0,-13 0 15,13 0-15,-13 1 0,14-1 0,-14 0 0,13 14 16,-13-14-16,0 0 15,0 0-15,0 0 0,0 1 16,0-1-16,0 0 0,-13 0 0,-1 1 16,1-1-16,0 0 15,0-13-15,-14 13 0,-13 1 16,27-14-16,0 0 0,0 0 0</inkml:trace>
  <inkml:trace contextRef="#ctx0" brushRef="#br0" timeOffset="-196620.78">20981 3664 0,'93'14'16,"-53"-14"-16,13 0 16,13 0-16,-13 0 0,26 0 15,0 0-15,1 0 0,12 0 16,67 0-16,-79 0 0,-14 0 16,0 0-16,13 0 0,-26 0 15,13 0-15,-13-14 0,13 14 0,-13 0 16,-13 0-16,13 0 0,-27-13 0,1 13 15,-1 0-15,-13 0 0,1 0 16,-1 0-16,0-13 16,-53 13-1,14 0-15,-14 0 0</inkml:trace>
  <inkml:trace contextRef="#ctx0" brushRef="#br0" timeOffset="-196102.72">21947 3757 0,'-26'0'31,"-1"0"-31,14 0 16,0 0-16,-14 13 0,-12 1 15,25-1-15,-12-13 0,0 13 0,-41 27 16,41-27-16,-14 0 15,14 14-15,-1-14 0,-12 13 0,-14 14 16,26-14-16,1-12 16,-40 39-16,39-40 0,-26 27 15,27-14-15,-1-13 16,1 14-16,-27-1 0,40 1 16,0-14-16,-27 13 0,27-13 15,-1 1-15,1-1 0,0-13 0,0 13 16,13 0-16,-14-13 0,1 14 15,13-1-15,-13-13 0,13 13 16,-13 0 15</inkml:trace>
  <inkml:trace contextRef="#ctx0" brushRef="#br0" timeOffset="-195752.43">20915 4194 0,'0'0'0,"-26"26"16,26-13-16,-13 1 15,13-1-15,-14 0 0,14 0 16,-13 0-16,13 14 0,-13-14 16,13 0-16,0 1 0,0-1 0,0 0 15,-13 0-15,13 1 0,0-1 16,0 0-16,13 0 0,-13 0 16,13 1-16,0-1 15,1-13-15,-1 0 0,0 13 16,0-13-16,1 0 0,-1 0 0,13 0 15,-13 13-15,14-13 0,-1 0 0,-12 0 16,-1 0-16,13 0 0,-12 0 16,12 0-16,-13 0 0,0 0 0,1 0 15</inkml:trace>
  <inkml:trace contextRef="#ctx0" brushRef="#br0" timeOffset="-194656.28">20122 4617 0,'39'0'15,"-12"0"1,79-13-16,-54 13 0,28 0 0,-14-13 15,13 13-15,1-14 16,-1 1-16,14 13 0,-14-13 0,0 13 16,80-27-16,-79 27 0,-28-13 15,1 13-15,0 0 0,-13 0 16,0-13-16,13 13 0,-40 0 16,0 0-16,14 0 0,-14 0 0,0 0 15,0 0-15,0 13 16,1-13-16,-14 13 0,0 1 15,13 12-15,-13-13 0,0 14 16,0-14-16,13 13 0,-13 1 16,0-1-16,0 14 0,13-14 15,-13 41-15,0-41 0,14 1 16,-14-1-16,13 0 0,-13 1 0,13-14 16,-13 14-16,13-14 0,1 40 15,-14-27 1,0-13-16,0 1 0,-14-1 15,-12 13 1,-14-12-16,27-1 0,-53 0 16,26-13-16,-13 0 15,-132 13-15,39 1 16,80-14-16,-92 13 16,-94 0-16,160 0 15,-67-13-15,27 13 16,52 1-16,27-14 15,0 0-15,-26 0 0,39 0 16,14 0-16,-14 0 16,14 0-16,-14 0 0,27-14 15,0 14-15,-14-13 0,14-13 16,0 13-16,13-1 16,-14-12-16,14-27 0,0 26 15,-13-12-15,13-1 0,0-39 16,0 39-16,0 0 0,0-26 15,0 40-15,0 12 16,0-12-16,0-14 0,0 27 16,0 0-16,0-14 0,0 14 15,13 0-15,-13 0 16,14 0-16,-1 13 0,0-14 16,27 14-16,-27-13 15,40 13-15,-27 0 16,-12 13-16,52-13 15,-27 0-15,-12 0 0,-1 14 0,1-14 16,-1 13-16</inkml:trace>
  <inkml:trace contextRef="#ctx0" brushRef="#br0" timeOffset="-193962.53">19989 4855 0,'-13'-13'0,"13"39"31,0-12-31,0-1 0,0 0 15,13-13-15,-13 13 0,0 0 16,0 1-16,0-1 0,13 0 16,-13 0-16,0 1 0,14-14 15,-14 13-15,13-13 0,-13 13 16,13-13-16,0-13 16,1 0-1,-14-1-15,0 1 16,13 0-16,-13 0 0,0-1 15,0 1-15,0 0 0,13-13 16,-13-1-16,0 14 16,0 0 15,27 26-15</inkml:trace>
  <inkml:trace contextRef="#ctx0" brushRef="#br0" timeOffset="-193271.79">20188 4934 0,'13'-13'0,"-13"0"16,0 0 15,0 0-16,-13 39 1,-1-13 0,14 0-16,0 1 15,0-1 1,14-13 0,12 0-1,-13 0-15,1 0 16,-1-13-16,0 13 15,0 0-15,1 13 16,-1-13-16,-13 13 0,13-13 16,-13 13-16,13 1 15,-13-1 1,13-13 0,1-13-1,-1 13-15,-13-14 16,13 14-16,-13-13 0,13 13 15,1-13-15,-1 0 0,0-1 16,0 1-16,1 13 16,-14-13-16,13 13 15,0 0 1,0 0 0,0 13-1,1 0 1,-14 1-1,13-14-15,-13 13 0,0 0 16,0 0 0,0 1-16,0-1 15,-13 0 1,26-39 31,-13 12-32,13 14-15,0-13 0,1 13 16,-1 0-16,-13-13 0,13 13 16</inkml:trace>
  <inkml:trace contextRef="#ctx0" brushRef="#br0" timeOffset="-192087.4">20889 4855 0,'-13'-13'0,"-1"13"16,14 13 0,-13-13-16,0 13 15,13 1-15,-13-1 16,13 0 0,13 0-1,0 0-15,0-13 16,-13 14-16,14-14 15,-1 13-15,0 0 16,-13 0-16,0 1 16,0-1-16,0 0 15,-13 0-15,0 1 0,13-1 16,-14-13 0,14 13-16,14-39 31,-1 26-31,0-14 15,0 1-15,1 0 0,-1 13 16,0-27-16,0 27 16,0-13-16,1 13 15,-14-13-15,13 13 0,0-13 16,-26 39 31,13-13-47,13-13 15,0 0 1,14 0 0,-14-13-16,0 13 15,-13-13-15,14 13 0,-1 0 16,-13-13-16,13 13 0,-13-14 16,-13 1-1,13 0 1,-13 13-1,39 0 32,-13 0-31,0 0-16,1 0 0,-1 0 16,0 0-1,0 0 1,-13 13-1,0 0 1,0 1 0,14-1-1,-1-13 1,0-13 0,0 13-16,0-14 15,1 14-15,-1-13 16,0 0-16,0 0 15,-13 0 1,14-1 0,-28 41 31,1-14-47,13 0 15,0 0 1,13 1-16,1-1 15,-1-13 1,0-13 0,0 13-16,1-14 15,-1 1-15,0 0 0,-13 0 16,26-14-16,-26 1 0,14 13 16,-1-1-16,-13 1 0,13 0 15,-13 0-15,13 13 0,-13 26 31,0-13-15,0 1-16,0-1 16,0 0-16,0 0 0,0 14 0,14-14 15,-14 0-15,0 0 0,13 1 16,0-1-16,0 0 16,1-13-16,-1 0 0</inkml:trace>
  <inkml:trace contextRef="#ctx0" brushRef="#br0" timeOffset="-191404.04">21722 4855 0,'40'-13'15,"-27"13"1,0 0-16,14-13 0,-1 13 0,1 0 16,13-14-16,-14 14 0,14 0 15,-14 0-15,14-13 0,-1 13 0,1 0 16,-13 0-16,-1-13 0,1 13 0,-1 0 16,-13 0-16,0 0 15,27 0-15,-27-13 0,1 13 16,-1 0-16,0-14 15,-26 1 1</inkml:trace>
  <inkml:trace contextRef="#ctx0" brushRef="#br0" timeOffset="-191130.52">22199 4657 0,'52'26'16,"-25"-26"-1,-14 13-15,14-13 0,-1 14 16,-13-14-16,14 13 0,-1 0 16,-13 0-16,14-13 0,-14 13 0,0 1 15,1-1-15,-1-13 0,-13 13 16,0 0-16,0 1 0,0-1 0,0 0 15,-13 0-15,-14 1 0,1-1 0,-1 13 16,1-13-16,-14 14 0,14-14 16,-14 0-16,13 1 0,-25-1 15</inkml:trace>
  <inkml:trace contextRef="#ctx0" brushRef="#br0" timeOffset="-190012.02">22886 4683 0,'-13'27'16,"0"-14"-1,13 0-15,0 0 0,-13 14 0,13-14 16,0 13-16,0-12 0,-13-1 15,13 0-15,0 0 0,0 14 16,0-14-16,0 0 0,0 0 0,0 1 16,0-1-16,0 0 15,0-39 17,0 12-17,0-12-15,13 13 0,-13-14 0,13 1 16,-13-14-16,13 14 0,-13-1 0,13 1 15,-13-1-15,14 14 0,-1-13 16,-13 12-16,13 1 0,-13 0 0,13 0 16,1 0-16,-1-1 0,13 28 15,-12-1 1,-1-13-16,-13 13 0,13 0 16,0 14-16,-13-14 0,13 13 0,-13-12 15,14 12-15,-14-13 0,13 0 16,-13 14-16,13-1 0,-13 1 15,13-27-15,-13 26 16,0-12-16,0-1 0,0 0 0</inkml:trace>
  <inkml:trace contextRef="#ctx0" brushRef="#br0" timeOffset="-189156.31">22754 4855 0,'0'0'0,"13"-13"16,1 13-16,-1-13 15,0 13-15,0 0 16,14 0-16,-14-14 0,13 14 0,-12-13 16,12 13-16,1 0 0,-1-13 15,14 13-15,-14-13 0,27-1 16,-13 14-16,-14-13 0,1 13 0,-1-13 15,1 13-15,-14-13 0,0 13 16,14 0-16,-14-13 0,0 13 16,0-14-16,0 14 15,-39 0 17,13 14-17,0-1-15,13 0 16,-14 0-16,14 0 15,0 1-15,0-1 0,14 0 16,-14 0-16,13-13 16,0 0-16,-13 14 0,13-14 15,0 0-15,1 0 0,-1 0 0,0-14 16,0 14-16,14-13 16,-14 0-16,0 0 0,1-1 15,-1-12-15,0 13 0,0-27 0,0 0 16,-13 14-16,14-14 15,-1 14-15,-13 13 0,0-1 0,13-12 16,-13 13 0,0-1-16,0 1 0,13 40 31,-26-14-31,26 0 16,-13 0-16,0 14 0,0-1 15,0-12-15,0 12 0,0 0 0,0-12 16,0 25-16,14-12 15,-14-1-15,-14-13 0,14 14 16,0-14-16,-13 0 16,0 1-16,0-14 0,-1 0 15,1 13-15,0-13 16,0 0-16,0 0 16,13-13-16,-14 13 15,28-14 1,-14 1-16,13 13 0,0-13 15,0 13-15,0-13 0,14-1 16,-14 14-16,0-13 0,27 0 16,-27 13-16,1 0 0,-1 0 15,0-13-15,0 26 0,0-13 16,1 0-16,-14 13 16,13-13-16,-13 13 15,0 1-15,0-1 0,0 0 16,0 0-16,0 1 15,13-14 1,-13 13-16</inkml:trace>
  <inkml:trace contextRef="#ctx0" brushRef="#br0" timeOffset="-189006.52">23720 4604 0,'0'0'0,"-13"-13"16</inkml:trace>
  <inkml:trace contextRef="#ctx0" brushRef="#br0" timeOffset="-188571.68">23984 4657 0,'-26'13'0,"13"-13"16,13 13-16,-13-13 0,-1 13 15,1 1-15,13-1 0,-13 0 16,13 0-16,0 0 16,0 1-1,13-14-15,0 0 16,-13-14-1,14 14-15,-14-13 0,0 0 16,0 0-16,0 0 16,0-1-16,0 1 0,0 0 0,-14 13 15,14-13-15,0-1 16,-13 28 15,13-1-31,0 0 16,13-13-16,-13 13 0,14-13 15,-14 14-15,13-1 0,0-13 0,-13 13 16,13-13-16,0 13 0,1-13 16,-1 13-16,0-13 0,0 0 15,-13 14-15,14-14 16,-1-14 0,-26 1-1</inkml:trace>
  <inkml:trace contextRef="#ctx0" brushRef="#br0" timeOffset="-182195.81">2500 7673 0,'0'-13'0,"0"-1"0,-26-12 16,26 13 0,-13 13-16,-1-13 0,1-1 15,-13 1-15,12 13 0,-25-26 16,12 12-16,-12 14 0,-1-13 0,0 0 0,1 0 16,-14 13-16,13-14 15,0 1-15,1 13 0,-54-13 16,40 13-16,0 0 0,13 0 0,-26 0 15,13 0-15,1 13 0,-1-13 0,0 13 16,0-13-16,0 14 0,13-1 16,-13-13-16,0 13 0,14 0 0,-1 1 15,0-14-15,1 13 0,-1 0 0,0 0 16,0 14-16,-65 12 16,78-12-16,1-14 15,-1 0-15,1 14 0,-1-1 0,1-12 16,13 12-16,-14 0 0,14 1 0,0-1 15,0-12-15,-1 12 0,14 1 16,-13-1-16,13 0 0,0 1 0,0-1 16,0 1-16,13 39 0,1-26 15,-14-1-15,13 1 0,0-14 16,0 14-16,14-13 0,-14-1 0,13 1 16,1-1-16,-1 0 0,14-12 0,0-1 15,-14 13-15,14-26 0,13 14 0,0-1 16,0 0-16,13-13 15,0 0-15,0 13 0,0-13 0,0 0 16,-13 0-16,13 0 0,1 0 0,-15 0 16,15 0-16,12 0 0,-13 0 0,0 0 15,-13-13-15,13 13 0,-13-13 16,13 0-16,-13-1 0,0-12 0,0 13 16,0-14-16,-13 1 0,-1-14 15,41-26-15,-14 13 16,-13-13-16,-27 39 0,1-12 15,-14-1-15,13 0 0,-12 14 0,-1-14 16,-13 1-16,0-1 0,0 13 16,0-12-16,-13-1 0,-1 0 0,-12 1 15,-14-1-15,1 13 0,-1-12 16,-13 26-16,13-14 0,1 27 0,-14-13 16,0 13-16,-13 0 0,13 13 15,0 0-15,-13 1 16</inkml:trace>
  <inkml:trace contextRef="#ctx0" brushRef="#br0" timeOffset="-181343.81">1111 8493 0,'-39'-79'0,"-147"13"31,147 79-15,-1-13-16,0 13 0,-13 14 15,0-1-15,1 0 0,-1 14 0,13 0 16,-13-1-16,13 14 0,1-13 16,-1 26-16,0-13 0,14 13 0,-1-13 15,14 13-15,-13 40 16,39-13-16,0-40 0,14-14 15,-1 14-15,1-13 0,12 0 16,1-1-16,0-12 0,79 13 16,-53-14-16,0-13 0,13-13 0,80 13 15,145-52 1,-198 26-16,0-1 0,119-39 16,-106 40-16,-13-27 15,53 1-15,-80 12 0,-13 1 16,0-1-16,0 1 0,-13-14 15,0 14-15,0-14 0,0 14 0,-13-14 16,-1 0-16,28-26 0,-41 40 16,14-40-16,-14 26 15,14-66-15,-27 66 16,-13 1-16,13-1 0,-13 0 0,0 1 16,-13-1-16,0 0 0,0 1 15,-14-14-15,1 13 0,-14 0 16,0 14-16,-13-1 0,-52-26 0,25 27 15,14 13-15,-13 13 16,-1-14-16,1 14 0,13 0 0,-27 14 16,14-1-16,-1 0 0,-12 14 0,-345 145 31,371-133-31,-53 41 16,66-41-16,0 1 0</inkml:trace>
  <inkml:trace contextRef="#ctx0" brushRef="#br0" timeOffset="-180571.6">582 9300 0,'-93'-13'15,"80"13"-15,0 13 0,0-13 16,-14 13-16,1-13 0,-1 27 16,14-1-16,-13 1 0,-1-1 0,14 14 15,-27 39-15,14-39 0,13 0 16,-14 65-16,14-65 15,13 0-15,0 52 0,0-52 16,13 39-16,0-39 16,1 0-16,-1 0 0,0-14 0,27 40 15,-14-53-15,1 14 0,-1-1 16,14-12-16,39 12 0,-39-26 16,92 26-16,120-26 31,-200-13-31,15 13 15,-14 0-15,13 0 0,-13 0 0,13 0 16,-13 0-16,66 0 16,-66 13-16,13-26 0,53 13 15,-40 0-15,-13 0 0,14-13 0,-1 13 16,-13-13-16,14 0 0,-14-1 16,13 1-16,-13 0 0,0 0 0,1-14 15,-14 14-15,-1 0 0,1-1 16</inkml:trace>
  <inkml:trace contextRef="#ctx0" brushRef="#br0" timeOffset="-172788.31">16841 8427 0,'53'0'109,"13"0"-93,26 0-1,80 0-15,-66 0 16,66-26-16,53 12 16,40 1-16,171-13 0,-277 26 15,-66 0-15,-67-14 16</inkml:trace>
  <inkml:trace contextRef="#ctx0" brushRef="#br0" timeOffset="-171795.99">20333 8427 0,'13'0'78,"27"0"-62,40 0-16,25 0 15,14 0-15,80-26 16,52 12-16,212-12 16,-53 13-16,-13-14 15,0 27-15,-40 0 16,-26 0-16,-185-13 16,-67 13-16,-39-13 15</inkml:trace>
  <inkml:trace contextRef="#ctx0" brushRef="#br0" timeOffset="-168880.96">9247 9181 0,'13'0'78,"40"0"-78,0 0 16,27 0-16,65 0 15,27 13-15,-53-13 16,53 0-16,13 0 15,1 0-15,12 0 16,-79 0-16,-40 0 16,-52 0-16,-14 0 15</inkml:trace>
  <inkml:trace contextRef="#ctx0" brushRef="#br0" timeOffset="-167841.38">12700 9247 0,'13'0'110,"27"0"-110,13 0 15,185 0-15,27 0 16,52 0-16,146 0 15,225 0-15,-119 0 16,13 13-16,66-13 16,-39 0-16,171 0 15,-132 0-15,-105 0 16,-80 0-16,-66 0 16,-119-26-16,-159 13 15,-14 13-15,-91 0 16</inkml:trace>
  <inkml:trace contextRef="#ctx0" brushRef="#br0" timeOffset="-165846.44">20267 8943 0,'53'0'0,"66"0"15,-66-13 1,0 13-16,0 0 0,13 0 0,-13 0 16,0 0-16,13 0 0,-13 0 15,13 13-15,-13-13 0,0 0 0,-13 0 16,-1 0-16,1 0 0,-14 0 0,1 0 15,-14 13-15,13-13 0,-12 0 16,-1 0-16,0 0 0,0 0 16,1 0-1,-41-13 17,27 0-32</inkml:trace>
  <inkml:trace contextRef="#ctx0" brushRef="#br0" timeOffset="-165593.12">21087 8771 0,'27'0'0,"-14"0"16,159 79 15,-146-65-31,1-1 0,-1 0 0,1 0 15,-14 0-15,0 1 0,0-1 0,1 13 16,-14-12-16,0-1 0,0 0 16,0 0-16,-14 1 0,1 12 0,0-13 15,0 0-15,0 14 0,-1-27 0,1 13 16,0 0-16,13 1 0,-13-1 16,-1-13-16</inkml:trace>
  <inkml:trace contextRef="#ctx0" brushRef="#br0" timeOffset="-165183.84">22199 8930 0,'-27'13'31,"27"0"-31,-13-13 0,0 13 16,13 1-16,-14-14 0,1 13 0,0-13 15,13 13-15,-13 0 0,-1 1 16,14-1-1,14 0-15,-1-13 16,0 13-16,14-13 0,-14 0 16,13 0-16,1 0 0,12 0 0,-12 0 15,13 0-15,-14 0 0,1 0 16,-1 0-16,0-13 0,1 13 0,-14 0 16,0 0-16,1 0 0,-1-13 15,-13 0 1,0-1-16</inkml:trace>
  <inkml:trace contextRef="#ctx0" brushRef="#br0" timeOffset="-164996.15">22371 8903 0,'-14'0'0,"1"0"0,0 0 16,13 13-16,-13-13 16,13 14-16,-14-1 0,14 0 15,-13 0-15,13 14 0,0-14 0,-13 0 16,13 1-16,0 12 0,0-13 15,-13 0-15,13 1 0,0-1 0,0 0 16,-14 0-16,14 1 16,0-1-16,14-13 15</inkml:trace>
  <inkml:trace contextRef="#ctx0" brushRef="#br0" timeOffset="-164480.57">22251 8639 0,'-39'-27'0,"78"54"0,-105-54 0,40 14 16,-1 13-16,1 0 0,-14 13 15,-13-13-15,14 13 0,-1 1 0,0 12 16,14-13-16,-14 27 0,0 0 0,27-14 16,-13 14-16,13 0 0,-1-1 15,1 1-15,13 0 0,-13-1 16,13 1-16,13 0 0,-13-1 0,27 1 15,-14 0-15,26-1 0,-12-12 0,13 13 16,-1-14-16,-12-13 0,12 0 0,1 1 16,0-1-16,-1-13 0,-12 13 15,13-26-15,-1 13 0,14-13 0,-13-1 16,0 14-16,13-26 0,-14 13 16,1 0-16,0-1 0,-14 1 15,0 0-15,14-14 0,-13 14 0,-14 0 16,0 0-16,0 0 0,1-14 0,-1 1 15,0-1-15,0 1 0,-13-14 16,0 14-16,0-1 0,13 1 0,-26-1 16,13 1-16,0-1 0,-13 1 0,13-1 15,-13 1-15,0-1 0,-14 14 0,1-13 16,-1 12-16,1-12 0,-1 13 16,-12 0-16,12 13 0,1-14 0,-1 1 15,1 13-15,-14 0 0,14 0 0,-1-13 16,1 13-16,-1 0 0,1 0 15,-1 0-15,1 0 0,13 0 16,-14 0-16,1 0 0,-1 0 0,14 0 16,-13 0-16,12 13 0,1-13 15,0 13-15,-14-13 0,27 14 16,-13-1-16,0-13 0,0 13 0</inkml:trace>
  <inkml:trace contextRef="#ctx0" brushRef="#br0" timeOffset="-162792.65">23429 9075 0,'-13'66'32,"13"-52"-32,-14-1 0,14 13 15,-13 1-15,13-1 0,-13-13 0,13 14 16,-13-1-16,13-12 0,-14 12 0,14-13 15,-13 14-15</inkml:trace>
  <inkml:trace contextRef="#ctx0" brushRef="#br0" timeOffset="-162484.78">23521 9234 0,'-13'53'16,"13"-40"0,13 0-16,-13 1 0,0-1 0,14 0 15,-1-13-15,0 13 0,0-13 16,1 0-16,-1 0 0,0 0 16,0 0-16,1-13 0,-1 0 15,0 0-15,-13-1 0,0 1 16,0 0-16,0 0 15,-13-1-15,0 1 0,13 0 16,-14 13-16,14-13 0,-13 13 0,0 0 16,-14 0-1,14 0-15,0 13 0,0 0 0,13 0 16,-14-13-16,14 14 0</inkml:trace>
  <inkml:trace contextRef="#ctx0" brushRef="#br0" timeOffset="-161992.51">23283 9366 0,'-13'-13'15,"13"0"-15,-13 13 0,-27-27 31,27 27-31,0 0 0,0 0 16,-1 0-16,1-13 0,0 13 16,0 0-16,-1 0 0,1 0 0,0-13 15,0 13 1</inkml:trace>
  <inkml:trace contextRef="#ctx0" brushRef="#br0" timeOffset="-161731.72">23032 9181 0,'-53'40'16,"106"-80"-16,-119 80 0,53-27 0,-1 0 0,-12 14 15,13-14-15,-1 0 0,1 14 16,13-14-16,-13 0 0,13 0 0,-13 0 15,13 1-15,0-1 0,13 0 0,-13 0 16,13 14-16,0-14 16,1 0-16,12 1 0,-13-14 15,1 0-15,-1 13 0,13-13 0,-12 0 16,12 0-16,-13 0 0</inkml:trace>
  <inkml:trace contextRef="#ctx0" brushRef="#br0" timeOffset="-161160.52">23178 8877 0,'-53'13'0,"106"-26"0,-133 39 0,40 1 16,14-14-16,-14 27 0,1-1 0,12-12 15,1 12-15,-14 14 16,27-13-16,-14 0 0,1 66 0,26-54 15,0-12-15,0 13 0,13-13 16,0 13-16,14 0 0,12-14 16,-12 14-16,26-13 0,-13-14 0,65 40 15,-52-52-15,0 12 0,0-26 16,-13 13-16,13-13 0,0 0 16,0 0-16,13-13 0,-13 0 0,13 0 15,-13-14-15,0 1 0,-1 13 0,-12-27 16,0 13-16,0-12 0,-14 12 15,40-65-15,-53 52 0,14 0 16,-14 1-16,-13-1 0,0-13 16,-13 13-16,0-13 0,-14 14 0,-13-14 15,1 13-15,-67-26 16,-26 13-16,-14 13 16,80 14-16,0 13 0,0 13 15,0-14-15,13 14 0,-40 0 16,67 0-16,-14 0 0,13 0 15,1 14-15,13-14 0,-14 13 0,14-13 16</inkml:trace>
  <inkml:trace contextRef="#ctx0" brushRef="#br0" timeOffset="-159292.43">9327 10200 0,'582'0'0,"-503"0"0</inkml:trace>
</inkml:ink>
</file>

<file path=ppt/ink/ink14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1:59:02.293"/>
    </inkml:context>
    <inkml:brush xml:id="br0">
      <inkml:brushProperty name="width" value="0.05292" units="cm"/>
      <inkml:brushProperty name="height" value="0.05292" units="cm"/>
      <inkml:brushProperty name="color" value="#0070C0"/>
    </inkml:brush>
  </inkml:definitions>
  <inkml:trace contextRef="#ctx0" brushRef="#br0">4710 2871 0,'105'-27'0,"-65"27"0,211-26 15,-158 13 1,0-1-16,26 1 0,13 0 0,0 0 16,-13-1-16,14 1 0,-14 0 0,-27 13 0,1 0 15,0-13-15,-1 0 16,-12 13-16,-1-14 0,-13 14 0,-13 0 16,13-13-16,-26 13 0,-1 0 15,-12 0-15,-1 0 0,-12 0 0</inkml:trace>
  <inkml:trace contextRef="#ctx0" brushRef="#br0" timeOffset="263.66">5001 3056 0,'39'0'0,"41"0"0,65-13 15,-65-1-15,25 1 16,14 0-16,14 0 0,-1 0 0,0-1 16,450-39-1,-489 40-15,-14 0 16,1 13-16,-1-13 0,-13 13 0,-13-13 16,0 13-16,-26 0 0,-1 0 0,1-14 15,-1 14-15,-13 0 0,0 0 16</inkml:trace>
  <inkml:trace contextRef="#ctx0" brushRef="#br0" timeOffset="1999.53">13838 886 0,'66'-13'0,"-26"13"0,-14 0 0,14-13 16,13 13-16,0 0 0,13-13 15,0 13-15,40-14 0,-40 14 16,-13-13-16,0 13 0,0 0 0,-14-13 16,1 13-16,0 0 0,-14-13 15,1 13-15,-14 0 0,13 0 0,-13-13 16</inkml:trace>
  <inkml:trace contextRef="#ctx0" brushRef="#br0" timeOffset="2241.67">14486 675 0,'66'13'31,"-39"-13"-31,-1 13 15,0 0-15,14 1 0,-13-1 0,-14 0 16,13 0-16,-12 14 0,-1-14 16,0 0-16,0 14 0,-13-14 0,0 0 15,0 14-15,0-14 0,0 13 0,0-13 16,-13 1-16,13-1 0,-13 13 16,13-12-16,0-1 0,0 0 15</inkml:trace>
  <inkml:trace contextRef="#ctx0" brushRef="#br0" timeOffset="2497.92">15280 635 0,'0'-13'16,"-14"39"-1,14 1 1,-13-14-16,13 13 0,0-12 16,-13 12-16,13 1 0,0-1 15,0 0-15,-13-12 0,13 12 0,0 1 16,0-14-16,0 13 0,-13-13 16,13 1-16,0-1 0,0 0 15,0 0-15</inkml:trace>
  <inkml:trace contextRef="#ctx0" brushRef="#br0" timeOffset="3011.73">15174 741 0,'13'-13'0,"-13"-1"16,13 1-16,1 13 0,-1-13 15,0 0-15,0 13 0,0 0 16,1 0-16,-1 13 16,0-13-16,-13 13 0,0 0 15,0 1-15,0-1 0,0 0 16,-13-13-16,13 13 0,0 1 16,0-1-16,13-13 15,-13 13-15,13-13 0,-13 13 16,14-13-16,-1 13 0,0-13 15,-13 14-15,13-14 0,1 13 0,-14 0 16,0 0 0,0 1-16,-14-1 15,14 0-15,-26 0 0,13 0 0,-1-13 16,-12 0-16,13 14 0,-1-14 16,1 13-16,0-13 0,0 13 15</inkml:trace>
  <inkml:trace contextRef="#ctx0" brushRef="#br0" timeOffset="4199.35">15465 847 0,'-13'13'16,"13"0"-16,-14 0 15,14 1-15,0-1 16,0 0-16,-13 0 0,13 0 0,13-13 15,-13 14-15,14-14 16,-14 13-16,13-13 0,0 0 16,0 0-16,1-13 0,-1 13 0,0 0 15,0-14-15,1 14 0,-1 0 16,0-13-16,-13 0 0,13 0 16,-13 0-16,0-1 0,0 1 0,0 0 15,-13 0-15,13-1 0,-13 14 0,13-13 16,-13 13-16,-1 0 15,1 0-15,-13 0 0,12 0 16,1 13-16,0-13 0,13 14 16,-13-14-16,-1 13 0,14 0 15,-13-13-15,13 13 16,13 1-16,1-14 16,12 0-1,-13 0-15,1-14 0,-1 14 16,0 0-16,0 0 0,-13-13 0,14 13 15,-1-13-15,0 13 0,0 0 16,0-13-16,1 13 16,-1 0 15,-13 13-15,13 0-1,-13 0-15,13 1 16,1-1-1,-1-13 1,0 0-16,0-13 16,0 13-1,1 0 1,-1 0-16,-13 13 16,13-13-16,0 0 0,1 0 15,-1 13-15,0-13 16,0 0-16,1 0 0,-1 0 15,-13-13-15,13 13 0,0 0 0,0-13 16,1 13-16,-14-14 0,13 1 16,0 0-16,0 0 0,-13-1 15,14 1-15,-14 0 0,0 0 0,13 0 16,-13-1-16,13 14 16,-13 14-1,-13 12 1,13-13-1,0 0-15,0 1 0,13-14 16,-13 13-16,0 0 0,13-13 16,1 0-16,-1 0 15,0-13-15,0 13 0,0-13 16,1-1-16,-1 1 0,0-13 16,0 13-16,-13-14 0,14 1 15,-14-1-15,13 14 0,0-40 16,-13 27-16,0-14 15,13 13-15,-13-12 0,0 25 0,0-12 0,0 13 16,0 0-16,13-1 16,-26 1-16,26 0 0,-13 39 31,14-12-15,-14-1-16,0 0 0,0 13 0,0 1 15,0-1-15,0 14 0,0-13 16,13-1-16,-13 0 0,0 1 0,0-1 15,13-12-15,-13-1 0,13 27 16,-13-27-16,14 0 16,-1-13-16,-13 13 0,13-26 15,0 13-15,1 0 0,-14-13 16,13 0-16,0 13 0,-13-14 16,13 14-16,-13-13 0,13 13 0,-13-13 15,14 26 1,-1 0-16,-13 1 15,0-1-15,13 0 16,-13 0-16,0 0 16,13 1-16,1-1 15</inkml:trace>
  <inkml:trace contextRef="#ctx0" brushRef="#br0" timeOffset="4339.96">16417 622 0,'-13'0'0,"0"0"15,-14 0 1</inkml:trace>
  <inkml:trace contextRef="#ctx0" brushRef="#br0" timeOffset="4669.7">16523 661 0,'0'14'16,"0"-28"-16,0 41 0,0-14 16,13-13-16,-13 13 0,0 1 0,0-1 15,0 0-15,0 0 0,0 1 16,0-1-16,14-13 15,-14 13-15,13-13 47,0-13-31,0 13-16,1 0 16,-1 0-1,0 0-15,0 0 16,-13 13-16,14-13 0,-1 0 0,0 0 15,0 0-15,0 0 0,-13-13 16,14 13-16,-1 0 0</inkml:trace>
  <inkml:trace contextRef="#ctx0" brushRef="#br0" timeOffset="4915.46">16775 741 0,'13'-13'0,"-26"39"16,13-39-16,13-14 0,0 41 31,0-1-31,-13 0 16,14 0-16,-14 14 15,0-14-15,13 0 0,-13 14 0,0-14 16,0 13-16,0-12 0,-13 12 0,13 0 16,-14-12-16,1-1 0,0 13 15,0-12-15,-1-1 0,14 0 0,-26 0 16,13-13 0,13-13-1,0 0-15,0-14 0,13 14 0,0-13 16,0 12-16,14-25 0,-1 12 0,27-26 15,-40 27-15,40-14 16</inkml:trace>
  <inkml:trace contextRef="#ctx0" brushRef="#br0" timeOffset="5058.07">17132 701 0,'13'0'0,"0"0"31</inkml:trace>
  <inkml:trace contextRef="#ctx0" brushRef="#br0" timeOffset="7614.68">820 7541 0,'53'0'0,"-26"0"0,25-14 0,81 1 16,-54 13-16,1 0 16,-1-13-16,14 13 0,-1 0 0,-12-13 15,12 13-15,14 0 0,-27-14 0,14 14 16,-14 0-16,1 0 0,-1 0 15,-26 0-15,13 0 0,-13 0 0,-13 0 16,-14 0-16,1 0 0,-1 0 0,-13 0 16,14 0-16,-14 0 0,0 0 15,0 0-15,1 0 0,-14 14 16,-14-14 0,1 13-1,0-13-15</inkml:trace>
  <inkml:trace contextRef="#ctx0" brushRef="#br0" timeOffset="8088.4">1138 8480 0,'0'0'0,"66"13"0,-26-13 0,12 13 0,15-13 16,12 0-16,0 0 0,1 0 16,26 0-16,-14 0 0,14 0 15,-13 0-15,-1 0 0,1-13 0,-1 13 16,1 0-16,-27 0 0,14 0 0,-28 0 15,15 0-15,-28 0 0,1 0 16,0 0-16,-14 0 0,1 0 0,-14 0 16,0 0-16,0 0 0,1 0 0,-14 13 15,-14 14 1,1-14-16</inkml:trace>
  <inkml:trace contextRef="#ctx0" brushRef="#br0" timeOffset="8507.99">807 9538 0,'13'13'0,"-26"-26"0,53 26 15,-27 1-15,13-14 16,27 0-16,0 0 0,27 0 0,12-14 16,1 14-16,-1-13 0,1 13 0,39-13 15,-13 0-15,14 0 0,-28-1 0,15 1 16,-28 13-16,14-13 16,-13 13-16,-1-13 0,1 13 0,-1-14 15,-25 14-15,-1 0 0,-13 0 0,0 0 0,-14 0 16,1 0-16,-27 0 15,14 14-15,-1-14 0,-13 0 0,0 0 0,1 0 16,-1 0-16,0 0 0,0 0 0,-13 13 16,14-13-16,-14 13 15,-14 0 1,1-13 0,0 0-16,0 0 15,-1 0-15,1 0 16,0-13-16</inkml:trace>
  <inkml:trace contextRef="#ctx0" brushRef="#br0" timeOffset="10222.9">17092 3651 0,'53'0'15,"-27"0"-15,1 0 0,26 0 16,0 0-16,26 0 0,0 0 0,1 0 15,-14 0-15,0 0 0,0 0 16,-13 0-16,0 0 0,-13 0 0,0 0 16,-14 0-16,0-13 0,-12 13 0,12 0 15,-13 13-15,1-13 0,-1 0 16,0 0-16,0 0 0,1 0 0,-14 13 16,13-13-16</inkml:trace>
  <inkml:trace contextRef="#ctx0" brushRef="#br0" timeOffset="10935.4">16550 7779 0,'-14'26'16,"14"-13"0,0 1-16,0-1 0,0 0 15,0 0-15,14 1 0,-14 12 16,0-13-16,0 1 0,13-1 0,-13 0 15,0 0-15,13 0 0,-13 1 0,0-1 16,0 0-16,13-13 0,-13 13 16,0 1-16</inkml:trace>
  <inkml:trace contextRef="#ctx0" brushRef="#br0" timeOffset="11244.55">16470 8004 0,'0'0'0,"-13"13"16,13 0 0,0 0-16,13 1 15,-13-1-15,14 0 16,-1-13-1,0 0-15,13 0 16,-12-13-16,-1 13 16,0-13-16,0-1 15,1 1-15,-1 13 0,-13-13 16,13 0-16,0 13 0,-13-14 0,14 1 16,-14 0-16,13 0 0,0 0 15,-13-1-15</inkml:trace>
  <inkml:trace contextRef="#ctx0" brushRef="#br0" timeOffset="11803.93">16510 7250 0,'-13'26'31,"0"-13"-31,13 0 0,0 1 0,0-1 16,0 0-16,0 0 0,0 1 15,-14-1-15,14 0 0,0 0 16,0 1-16,0-41 47,14 14-47,-14 0 15,0-1-15,0-12 0,0 13 0,13-14 16,-13 14-16,0-13 0,13 12 0,-13 1 16,13 0-16,-13 0 0,13-1 15,1 1-15,-1 13 0,0 0 16,0 0-16,1 13 16,-1 1-16,0-1 15,-13 0-15,13 0 0,1 1 0,-14-1 16,13 0-16,-13 0 0,13-13 0,-13 13 15,0 1-15,13-1 16,-13 0-16,0 0 16</inkml:trace>
  <inkml:trace contextRef="#ctx0" brushRef="#br0" timeOffset="11995.91">16351 7382 0,'-13'0'32,"39"-13"-32,-12 13 0,12-14 15,1 14-15,-1-13 0,1 0 0,12 0 16,1 13-16,-14-14 0,14 1 16,0 0-16,-1 0 0,-12 0 15,13 13-15,-1-14 0,1 1 0</inkml:trace>
  <inkml:trace contextRef="#ctx0" brushRef="#br0" timeOffset="12603.84">18997 6773 0,'27'0'31,"-14"0"-31,-13 14 0,13-14 15,0 0-15,0 13 0,1-13 16,-1 13-16,0-13 0,0 0 0,1 13 16,-1-13-16,0 13 0,0-13 15,1 0-15,-1 14 0,0-14 16,-13 13-16,13-13 0</inkml:trace>
  <inkml:trace contextRef="#ctx0" brushRef="#br0" timeOffset="12887.71">19248 6800 0,'0'0'16,"27"26"15,-14-13-16,-13 1-15,13-14 0,-13 13 16,14-13-16,-14 13 0,13 0 0,0 1 16,-13-1-1,-13 0 1,0-13-16,13 13 16,-14-13-16,1 0 0,0 0 15,0 0-15,-1 0 0,-12 0 16,13 0-16,0 0 0,-1 0 0</inkml:trace>
  <inkml:trace contextRef="#ctx0" brushRef="#br0" timeOffset="13215.49">18508 6522 0,'0'26'16,"0"-12"-1,13-14-15,-13 13 0,0 0 16,0 0-16,0 1 0,0-1 15,0 13-15,0-12 0,0-1 0,0 0 16,0 0-16,0 0 0,0 1 16,0-1-16,0 0 15,-13 0-15,13 1 16</inkml:trace>
  <inkml:trace contextRef="#ctx0" brushRef="#br0" timeOffset="13790.6">18534 6522 0,'13'13'31,"-13"0"-15,0 1-16,0-1 15,0 0 1,14 0-16,-14 1 0,13-1 16,-13 0-16,13 0 0,0-13 0,0 14 15,1-1-15,-14 0 0,13 0 16,0 0-16,-13 1 0,-13-1 16,13 0-16,-13-13 15,-1 13-15,1 1 0,-13-14 16,13 0-16,-1 13 0,-12-13 0,13 0 15,-1 0-15,-12 0 0,13 0 16,-1 0-16</inkml:trace>
  <inkml:trace contextRef="#ctx0" brushRef="#br0" timeOffset="14497.88">19725 4961 0,'-14'0'0,"41"0"31,-14 0-15,0 0-16,14 0 0,-14 0 0,0 0 0,14 0 15,-14 0-15,0 0 0,0 0 16,1 0-16,-1 0 0,0 0 16,0 0-16,1 0 0,-1 0 0,0-13 15,0 13-15</inkml:trace>
  <inkml:trace contextRef="#ctx0" brushRef="#br0" timeOffset="14753.66">19910 4868 0,'26'14'31,"-12"-1"-31,-14 0 16,13 0-16,-13 0 0,13 1 15,-13-1-15,0 0 16,-13 0-16,13 1 0,-13-1 16,13 0-16,-14-13 0,14 13 0,-13-13 15,13 14-15,-13-14 0,0 0 16</inkml:trace>
  <inkml:trace contextRef="#ctx0" brushRef="#br0" timeOffset="15152.57">19315 4815 0,'-27'0'16,"14"14"-16,0-14 0,-1 13 0,-65 40 16,66-40-1,13 13-15,-13-12 0,13-1 16,0 0-16,0 0 0,13 1 16,0-14-16,0 13 0,1-13 15,12 13-15,-13-13 0,14 0 16,-1 0-16,1 0 0,-1 0 0,-13 0 15,27 0-15,-14 0 0</inkml:trace>
  <inkml:trace contextRef="#ctx0" brushRef="#br0" timeOffset="22780.77">4339 7527 0,'-13'0'0,"53"0"31,-14 0-31,14 0 0,13 0 0,0 0 15,79 0-15,-53 0 0,1 0 16,-1 0-16,0-13 0,14 13 16,-14 0-16,1 0 0,-1 0 0,-13-13 15,-13 13-15,13 0 0,-13 0 0,0-13 16,0 13-16,0 0 0,-13 0 16,-1-14-16,-12 14 0,-1 0 0,1 0 15,-14 0-15,13 0 0,-12 0 0</inkml:trace>
  <inkml:trace contextRef="#ctx0" brushRef="#br0" timeOffset="23082.85">4789 7660 0,'0'0'0,"26"0"16,-12 0-16,12 0 0,14 0 16,13 0-16,13 0 0,13 0 0,1 0 15,-1 0-15,0 0 0,1 0 0,12-14 16,-12 14-16,-1 0 0,0 0 16,1 0-16,-27-13 0,0 13 0,0 0 15,-14 0-15,1 0 0,-14 0 16,1 0-16,-1 0 0,-12 0 0,-1 0 15,0 0-15,0 0 0,0 0 0,1 0 16,-14-13-16,13 13 31,0 0-15</inkml:trace>
  <inkml:trace contextRef="#ctx0" brushRef="#br0" timeOffset="23955.67">4762 8612 0,'53'0'31,"-26"0"-31,13 0 0,26-13 0,0 13 16,13 0-16,1-13 0,-1 13 15,14-14-15,-14 14 0,0-13 0,14 13 16,-14-13-16,1 13 0,-1-13 0,53 13 15,-92-13-15,13 13 16,-13 0-16,-14 0 0,-13 0 0,14-14 16,-14 14-16,0 0 0,-13 14 15,-26-14 1</inkml:trace>
  <inkml:trace contextRef="#ctx0" brushRef="#br0" timeOffset="24237.64">5027 8652 0,'-26'0'16,"52"0"-16,-13 0 15,14 0-15,26 0 16,0 0-16,13 0 0,0 0 0,93-13 16,-67 13-16,1 0 0,-14 0 15,14-14-15,-14 14 0,1 0 16,-1 0-16,0-13 0,-26 13 0,0 0 15,0 0-15,-13 0 0,-1 0 16,-12 0-16,-1 0 0,1 0 0,-14 0 16,0-13-16,1 13 0,-1 13 0,0-13 15,-26 13 17,0-13-32,-1 14 15</inkml:trace>
  <inkml:trace contextRef="#ctx0" brushRef="#br0" timeOffset="25183.64">4895 9578 0,'-27'0'16,"54"0"-16,-67 0 0,40-13 15,13-1 1,14 14-16,12 0 16,1-13-16,13 0 0,26 13 0,1-13 15,-14 0-15,13 13 0,1-14 16,12 14-16,1-13 0,0 0 0,-1 13 16,-12 0-16,12-13 0,1 13 0,-27 0 15,13 0-15,-26-14 0,0 14 16,-13 0-16,-14 0 0,1 0 0,-1 0 15,1 0-15,-14 0 0,0 0 0,-13 14 16,13-14-16,-39 13 16,-1 0-16</inkml:trace>
  <inkml:trace contextRef="#ctx0" brushRef="#br0" timeOffset="25541.46">4524 9856 0,'80'-14'0,"-41"14"16,1-13-16,26 13 0,0-13 0,120 0 16,-94 0-16,1 13 0,39-14 15,-13 1-15,-13 0 0,106 0 16,-120 13-16,1-14 15,79 1-15,-93 0 0,-13 13 0,-13-13 16,-13 13-16,13 0 16,-13-13-16,-14 13 0,1 0 0,-1 0 15,-13 0-15,0-14 0,1 14 0,-1 0 16,0 0-16,0 0 0,1 0 16,-1 0-16,0 0 31,0 0 0</inkml:trace>
  <inkml:trace contextRef="#ctx0" brushRef="#br0" timeOffset="26540.42">8811 8903 0,'13'27'16,"-13"-1"-1,0 14-15,0 0 0,0-1 16,0 14-16,0 13 0,13 0 16,-13 1-16,0-1 0,0-27 0,13 14 15,-13 0-15,14-13 0,-14 0 0,13-1 16,-13 1-16,13-14 0,-13-12 15,0 12-15,13-13 0,-13 1 16,13-14-16</inkml:trace>
  <inkml:trace contextRef="#ctx0" brushRef="#br0" timeOffset="27244.97">8559 8916 0,'13'-13'15,"14"0"-15,13 13 0,158-40 32,-119 40-32,1-13 0,12 13 0,1-13 15,0 13-15,-1-13 0,41 13 16,-1-14-16,0 1 0,14 13 15,-14-13-15,13 13 0,1-13 0,0-1 16,-1 14-16,-13-13 0,146 0 16,-159 0-16,-13 13 0,0-13 15,-14 13-15,1 0 0,0-14 0,-1 14 16,-12-13-16,-1 13 0,40-13 16,-66 13-16,-13 0 0,-1 0 15,-12 0-15,-1 0 0,-12 0 0,12-13 16,-13 13-16,0 0 15,1 0-15,-1 13 0,0-13 16,-13 13-16,0 0 0,0 1 16,0 12-16,13 0 0,-13 1 15,0 52-15,0-39 0,0 13 0,14-13 16,-14-1-16,13 1 16,0 39-16,0-39 0,0 0 15,1-1-15,-1 1 0,0-13 0,0 12 16,1-12-16,12-1 0,-13 1 15,1-1-15,12 14 0,-26-27 16,13 0-16,-13 0 0,13 1 0,-13-1 16,0 0-16,14 0 0,-28-13 0,14 14 15,-13 12 1,-13-13-16,13-13 0,-27 14 0,0-1 16,0-13-16,-26 13 0,-13 0 0,0-13 15,-14 13-15,0-13 0,-145 14 16,93-14-16,-1 0 0,-145 13 15,132 0-15,14-13 0,-159 13 16,158 1-16,1-1 0,12 0 16,14 0-16,0 0 0,27 1 15,-1-1-15,0 0 0,14-13 0,0 13 16,-40 1-16,79-14 0,0 13 16,1-13-16,25 0 0,-12 0 15,13 0-15,-1 0 0</inkml:trace>
  <inkml:trace contextRef="#ctx0" brushRef="#br0" timeOffset="32284.47">19857 8969 0,'0'-13'0,"0"26"0,-13-26 16,13 0-16,-13 39 31,13 1-31,0-14 16,-14 0-16,14 14 0,-13-14 16,13 13-16,-13 1 0,13-14 0,0 0 15,0 14-15,-13-14 0,13 0 16,0 1-16,0-1 0,0 0 0,-14 0 15,14 0-15,14-13 0</inkml:trace>
  <inkml:trace contextRef="#ctx0" brushRef="#br0" timeOffset="32837.64">19857 8903 0,'26'0'16,"120"0"-1,-93-13 1,0 13-16,0 0 0,0 0 16,13 0-16,-13 0 0,26-13 0,-26 13 15,0 0-15,0 0 0,0 0 0,0-13 16,-14 13-16,-12 0 0,12 0 15,-25 0-15,12 0 0,-13 0 16,14 0-16,-14 0 0,0-14 0,1 14 0,-1 0 16,0 14-16,0-14 15,0 0-15,-13 13 0,14-13 16,-14 13-16,13 0 0,-13 0 0,13 1 16,-13-1-16,13 0 0,-13 14 15,14-14-15,-14 13 0,13 1 0,-13-14 16,13 13-16,-13-12 0,13 12 15,-13-13-15,14 14 0,-14-14 16,0 0-16,13 1 0,-13-1 0,13 0 16,-13 0-16,0 0 0,0 1 0,0-1 15,0 0-15,0 0 0,-13 1 16,0-1-16,-14 0 0,14 0 16,-27 0-16,0-13 0,-12 14 0,-15-1 15,1 0-15,-13-13 0,0 13 0,-1-13 16,1 14-16,-1-14 15,-12 0-15,12 0 0,-12 0 0,12 0 0,1 0 16,0 0-16,26 0 0,0 0 16,0 0-16,13 0 0,1 0 15,12-14-15,1 14 0,-1 0 0,1 0 16,12 0-16,1 0 0</inkml:trace>
  <inkml:trace contextRef="#ctx0" brushRef="#br0" timeOffset="37266.91">20307 4538 0,'-13'13'32,"13"0"-17,0 0-15,0 1 0,-14-1 16,14 0-16,0 0 0,0 0 16,-13 14-16,13-14 0,0 14 0,0-14 15,0 0-15,-13 13 0,13-12 16,0 12-16,0-13 0,0 14 0,0-14 15</inkml:trace>
  <inkml:trace contextRef="#ctx0" brushRef="#br0" timeOffset="37552.51">20307 5067 0,'0'13'0,"0"0"16,-13 0-16,13 1 15,0-1-15,0 0 16,0 0-16,0 1 0,0-1 0,0 0 15,0 0-15,0 1 0,0-1 16,0 0-16,0 0 0,0 0 0,0 1 16,0-1-16</inkml:trace>
  <inkml:trace contextRef="#ctx0" brushRef="#br0" timeOffset="39427.81">20346 5490 0,'0'0'16,"0"13"-16,14 1 31,-14-1-15,0 0 0,0 0-16,-14 0 15,14 1-15,0-1 0,0 0 16,0 0-16,0 1 15,0-1-15,0 13 16,0-12-16,-13-14 16,13 13-1,0 0-15,0 0 16,0 0 0,0 1-16,0-1 15,0 0-15,-13 0 16,13 1-16,0-1 15,0 0 1,0 0-16,0 1 16,-13-1-16,13 0 0,0 0 15,0 0 1,0 1-16,0-1 31,0 0-15,0 0-1,13 1-15,-13-1 16,0 0 0,0 0-16,0 0 0,0 1 15,0-1-15,0 0 0,0 0 16,13-13-16,-13 14 16,0-1-16,0 0 15,0 0 1,0 1-16,0-1 15,0 0 1,0 0 0,0 0-1,0 1-15,0-1 0,0 0 16,0 0 0,0 1-16,0-1 15,0 0-15,0 0 16,0 1-16,0-1 15,0 0-15,0 13 16,13-26-16,-13 14 16,0-1-16,-13 0 31,13 0-31,0 1 0,0-1 16,0 0-1,0 0-15,0 1 16,0-1-1,0 0-15,0 0 16,0 0-16,0 1 16,0-1-16,0 0 0,0 14 15,0-14 1,0 0 0,0 0-16,0 1 15,0-1-15,0 0 16,-13 0-1,13 0-15,0 1 0,0-1 0,0 0 16,0 0-16,0 1 0,0-1 16,0 0-16,0 0 15,0 0-15,0 1 0,0-1 16,0 0-16,0 0 0,0 1 16,0-1-1,0 0 1,0 0-16,0 1 15,0-1-15,0 0 16,0 0 0,-13-13-16,13 13 0,0 1 15,0-1-15,0 0 16,0 0 0,0 1-16,0-1 31,0 0-31,0 0 15,0 1 1,0-1-16,0 13 16,-13-13-1,13 1-15,0-1 0,0 0 0,0 0 16,0 1-16,0-1 0,0 0 16,0 0-16,0 0 0,0 1 0,0-1 15,0 0-15,0 0 0,0 1 0,0-1 16,0 13-16,0-12 15,0-1-15,0 0 16,0 0-16,0 0 0,0 14 16,0-14-1,0 0-15,0 1 16,13-1 0,-13 0-16,0 0 0,0 1 15,0-1-15,13 0 16,-13 0-16,0 0 0,0 1 0,0-1 15,13 0-15,-13 0 0,0 1 16,0-1-16,13 0 0,-13 0 16,0 1-16,0-1 0,0 0 0,0 0 15,0 0-15,0 1 0,14-1 16,-14 0-16,0 0 0,0 14 16,0-14-16,0 0 0,0 1 15,0-1-15,0 0 16,13-13-16,-13 13 0,0 0 15,0 1-15,0-1 16,0 0-16,0 0 16,0 1-16,0-1 15,0 0 1,0 0-16,0 0 0,0 1 16,-13-1-1,13 0-15,0 0 16,0 1-16,0-1 15,-14 0-15,14 0 16,0 1 0,0-1-16,0 0 0,0 0 15,-13-13-15,13 13 16,0 1-16,0-1 16,0 0-1,13-39 32,-13 12-47,0 1 16,0-13-16,14 13 0</inkml:trace>
  <inkml:trace contextRef="#ctx0" brushRef="#br0" timeOffset="40647.71">20571 4286 0,'0'-13'0,"-13"39"46,26-12-46,-13-1 0,0 0 16,0 0-16,0 1 16,0-1-16,14 0 15,-14 0-15,0 1 16,0-41 31,0 14-32,0 0-15,0-1 0,0 1 0,0 0 16,0 0-16,0-1 0,0 1 16,0 0-16,0 0 15,0 0-15,0-1 16,0 1-16,26 26 47,-26 1-47,0-1 0,13-13 15,-13 13 1,14-13-16,-14 13 0,13-13 16,0-13-1,-13 0 1,13 13 0,-13-13-16,0-1 0,13 14 0,-13-13 15,14 0-15,-14 0 16,13 13-16,-13-14 15,13 14-15,0 14 16,1-1 0,-14 0-16,13-13 15,-13 13-15,0 1 0,13-14 0,-13 13 16,13 0-16,-13 0 16,13 0-16,-13 1 15,14-14-15,-14 13 0,13-13 16,0 13-1,0-13-15</inkml:trace>
  <inkml:trace contextRef="#ctx0" brushRef="#br0" timeOffset="41464.81">20942 4313 0,'0'-40'16,"13"27"0,-13 0-16,-13-1 15,13 1-15,0 0 16,-13 13 0,-1 0-16,1 13 15,13 0-15,-13 1 16,13-1-16,0 0 15,0 0-15,0 0 16,13 1-16,0-14 16,1 13-16,-1-13 0,0 0 15,0 0-15,0 0 0,1 0 16,-1 0-16,0 0 0,0 0 0,14-13 16,-14 13-16,0 0 0,1-14 15,-1 14-15,13-13 16,-26 0-16,13 0 0,1 0 15,-28-1 17,14 1-32,-13 13 15,0 13 1,0-13-16,13 14 0,-13-14 16,13 13-16,-14-13 0,14 13 15,0 0-15,0 0 31,0 1-31,14-14 32,-1 0-17,0-14-15,0 14 16,-13-13-16,13 13 0,1-13 16,-1 0-1,0 13-15,0 0 16,1 0-1,-14 13-15,13-13 16,0 13 0,0-13 15,0 0-15,1-13-16,-1 13 15,0 0 1,-13-13-16,13 13 15,1 0 1,12 0 0,-13 0-16,1 0 15,-1 0 1,0 0-16,0 0 0</inkml:trace>
  <inkml:trace contextRef="#ctx0" brushRef="#br0" timeOffset="41699.68">21656 4128 0,'0'0'15,"13"-14"1,1 14-16,-1 0 0,0-13 16,0 13-16,1 0 0,-1 0 15,0 13-15</inkml:trace>
  <inkml:trace contextRef="#ctx0" brushRef="#br0" timeOffset="41876.49">21643 4233 0,'0'14'0,"26"-28"47,-12 14-47,-1-13 0,0 13 0,0 0 16,1-13-16,12 13 0,-13 0 0,0 0 15,1-13-15,-1 13 0,0 0 16</inkml:trace>
  <inkml:trace contextRef="#ctx0" brushRef="#br0" timeOffset="42503.53">22172 4022 0,'-13'13'32,"13"0"-32,0 0 15,0 1-15,0-1 16,0 0-16,0 0 16,0 1-16,0-1 15,13-40 32,-13 14-47,0 0 16,0 0-16,0-1 0,0-12 0,0 13 15,0-1-15,0 1 0,0 0 16,13 0-16,-13 0 0,0-1 16,14 28 15,-14-1-16,13-13-15,-13 13 16,13 0-16,13-13 31,-26-13-15,14 0-16,-1 0 16,0 13-16,-13-14 15,13 1-15,1 13 16,-1 0-1,-13 13 1,13 1-16,-13-1 16,0 0-16,0 0 15,13 0-15,-13 1 16,14-1-16,-1 0 16,0 0-1,0-13 1</inkml:trace>
  <inkml:trace contextRef="#ctx0" brushRef="#br0" timeOffset="43308.47">22582 4035 0,'0'-13'0,"0"-14"31,-13 14-15,-14 13-1,27 13 1,-13-13-16,13 13 0,-13-13 16,13 14-16,0-1 15,0 0-15,0 0 16,13-13-16,0 0 15,1 0-15,-1 0 0,0 0 16,0 0-16,1 0 0,-1 0 0,0 0 16,0 0-16,1 0 0,-1-13 15,0 13-15,0 0 0,-13-13 0,13 13 16,1-13-16,-41 26 62,14-13-62,13 13 16,-13 0 0,26-13-16,-13 14 15,13-14 1,0-14 0,1 14-1,-1-13-15,-13 0 0,13 13 16,-13-13-16,0-1 0,13 1 0,-13 0 15,14 0-15,-14 0 0,0-14 0,13 14 16,-13 0-16,0-1 0,0 1 16,0 0-16,13 0 0,-13-1 15,0 1-15,0 0 16,-13 39 15,13-12-31,-13-1 16,13 0-16,0 14 0,-14-27 15,14 26-15,0-13 16,0 1-16,0 12 0,14-13 16,-1-13-1,0 0-15,0 0 16,1 0 0,-14 13-16,13 1 15,-13-1 16,13-13-31,-13 13 0,0 0 16,13-13-16,-13 14 16,13-14-16</inkml:trace>
  <inkml:trace contextRef="#ctx0" brushRef="#br0" timeOffset="43419.92">22992 3889 0,'0'0'0</inkml:trace>
  <inkml:trace contextRef="#ctx0" brushRef="#br0" timeOffset="43860.23">23085 3876 0,'-27'0'31,"14"13"-31,13 1 16,-13-14-16,26 66 62,0-66-46,1 0-16,-14-13 16,13 13-16,0-14 0,0 14 15,-13-13-15,14 13 0,-1-13 16,0 13 0,-13 13-1,13 0 1,1-13-1,-14 14 1,13-14-16,0 0 16,0 0-1,0 0 1,1-14-16,-1 14 16,0-13-16</inkml:trace>
  <inkml:trace contextRef="#ctx0" brushRef="#br0" timeOffset="50028.62">20743 5054 0,'-13'0'15,"53"0"1,-27-14-16,27 14 16,-14-13-16,1 13 0,12 0 15,14-13-15,-13 13 0,0 0 16,-14-13-16,1 13 0,12 0 0,-12 0 16,-1 0-16,1 0 0,-14 0 0,0 0 15,0 0-15,0 0 0,1 0 16,-1 0-16,0 0 15</inkml:trace>
  <inkml:trace contextRef="#ctx0" brushRef="#br0" timeOffset="50391.75">20876 4908 0,'-67'26'31,"54"-12"-31,0-14 0,0 13 16,-14 0-16,14 0 0,0 1 15,0 12-15,-1-13 0,1 1 0,0-1 16,0 0-16,13 0 0,-13 0 0,13 1 15,0-1-15,0 0 16,0 0-16,0 1 16,13-1-16,0-13 0,-13 13 0,13-13 15,0 13-15,14-13 0,-14 0 16,0 0-16,14 14 0,-14-14 0,13 0 16,-12 0-16,-1 0 0,13 0 0,1 0 15,-14 0-15,14-14 0,-14 14 16,13 0-16,1 0 0,-14 0 0,0-13 15</inkml:trace>
  <inkml:trace contextRef="#ctx0" brushRef="#br0" timeOffset="52002.49">21868 4934 0,'26'-26'31,"-12"26"-16,-1 0-15,0 0 0,0 0 16,0 0-16,1 0 0,-1 13 0,0-13 16,0 0-16,-13 13 0,14 1 0,-14-1 15,0 0-15,0 0 16,0 1-16,-14-1 0,14 0 0,-13 0 16,0 1-16,0-1 0,-1 0 15,1 0-15,13 0 16,-13-13-16,13 14 15,13-14 17,0 0-32,1-14 15,-1 14-15,0 0 0,0 0 0,1 0 0,-1 0 16,0-13-16,13 13 16,-12 0-16,-1-13 0,13 13 0,-12 0 15,12-13-15,-13 13 0,1-13 0,-1 13 16</inkml:trace>
  <inkml:trace contextRef="#ctx0" brushRef="#br0" timeOffset="52579.52">22344 4908 0,'-13'-26'0,"0"12"15,-1 14 1,1 0-16,13 14 16,-13-14-16,13 13 15,-13-13-15,-1 13 0,14 0 0,0 0 16,-13-13-16,13 14 0,0-1 0,13 0 15,-13 0-15,14-13 0,-14 14 16,13-1-16,0-13 0,14 0 0,-14 13 16,0-13-16,0 0 0,1 0 0,-1 0 15,13-13-15,-13 0 16,1 13-16,-14-14 0,0 1 16,13 0-16,-26 13 0,13-13 0,0-1 15,0 1-15,-14 13 0,14-13 16,-13 0-16,0 0 0,0 13 15,13-14-15,-13 14 16,26-13 15,0 13-31,0-13 0,0 13 16,1 0-16,-1-13 0,0 13 0,0 0 16,1 0-16,-1-14 15,0 28-15,0-1 16,-13 0 15,0 0-31,13 1 0,-13-1 16,14-13-16,-14 13 0,13-13 0,0 0 15,0 13-15,1-13 16,-1 0-16,0 0 0,0 0 16,1-13-16,-1 13 0,-13-13 0,13 13 15,-13-13-15,13-1 0,-13 1 16,0 0-16,-13 0 0,13-1 15,-13 1-15,0 0 0,-1 13 16,1-13-16,0 13 0,0 0 0,-1 0 16,1 0-16,-13 13 0,12-13 15,-12 13-15,0 14 0,-1-14 0,1 13 16</inkml:trace>
  <inkml:trace contextRef="#ctx0" brushRef="#br0" timeOffset="53673.18">21749 6324 0,'-13'13'16,"-1"0"-1,1-13-15,0 13 0,-14 0 0,1 1 16,-1-1-16,1 0 0,0 0 16,-1 1-16,-26-1 0,40 0 15,-14 0-15,14-13 0,0 14 0,-13-1 16,12-13-16,1 13 0,0-13 16,0 13-16,-1-13 0,-12 13 15,13-13-15,13 14 16,-14-14-16,1 0 0,13 13 15,-13-13 1</inkml:trace>
  <inkml:trace contextRef="#ctx0" brushRef="#br0" timeOffset="54136.56">21392 6403 0,'-40'26'16,"40"-12"-1,-13-14-15,-1 13 0,1 0 16,0 0-16,0 1 0,-14-1 16,27 0-16,-13 0 0,0 0 0,0 1 15,13-1 1,-14 0-16,14 0 16,0 1-16,14-14 15,-14 13-15,13-13 16,0 0-16,0 0 0,0 0 15,1 13-15,-1-13 0,0 0 16,0 0-16,1 0 0,-1 0 16,0 0-16,0 0 15,1 0-15,-1 0 16,0 0 0,0 0-1,0 0-15,1-13 16,-1 13-16</inkml:trace>
  <inkml:trace contextRef="#ctx0" brushRef="#br0" timeOffset="55043.68">22132 6244 0,'0'-13'0,"0"26"0,0-39 15,14 26-15,-1 0 0,0-14 16,0 14 0,1 14-16,-14-1 15,13-13-15,-13 13 0,-13 0 0,13 1 16,0-1-16,-27 13 0,14-12 15,13-1-15,-13 0 0,-1 0 16,1 0-16,0 1 0,0-1 16,13 0-16,-14-13 15,14 13 1,27-13 0,-14-13-1,0 13-15,1 0 0,-1 0 16,0-13-16,0 13 0,14 0 0,-14 0 15,0-13-15,0 13 0,1 0 0,-1-14 16,0 14-16,0 0 0</inkml:trace>
  <inkml:trace contextRef="#ctx0" brushRef="#br0" timeOffset="55374.66">22410 6244 0,'-39'13'31,"25"1"-31,1-14 16,13 13-16,0 0 0,-13 0 15,13 1-15,13-1 0,0 0 16,1-13 0,-1 0-16,0 0 0,0 0 15,0 0-15,1 0 0,-1 0 0,0-13 16,0 13-16,-13-13 0,14 13 15,-14-14-15,13 14 0,-13-13 0,0 0 16,0 0-16,0-1 16,-13 14-16,-1-13 15,1 13 1,0 0-16,0 0 0,-1 0 16,1 0-16</inkml:trace>
  <inkml:trace contextRef="#ctx0" brushRef="#br0" timeOffset="55673.81">22582 6218 0,'-13'39'0,"13"-25"0,0-1 15,0 0-15,0 0 16,0 1-16,13-14 0,0 13 0,1-13 15,-1 0-15,0 0 0,0 0 16,14 0-16,-14 0 0,0 0 16,0-13-16,1 13 0,-1-14 15,0 14-15,-13-13 0,13 0 0,-13 0 0,14-1 16,-14 1 0,0 0-16,-14 0 0,14-1 0,-13 1 15,0 0-15,13 0 0,-13 13 0,-1-13 16,1 13-16,-13 0 0,13 0 15,-14 13-15,14 0 0,-14-13 0,1 26 16,-1-12-16,14-1 0,-13 13 0</inkml:trace>
  <inkml:trace contextRef="#ctx0" brushRef="#br0" timeOffset="57723.48">21431 7898 0,'40'-27'0,"-80"54"0,93-54 0,-26 14 15,-14 0-15,27-14 0,-1 14 16,14-13-16,0-14 0,0 14 16,66-41-16,-53 28 0,0 12 15,93-52-15,-93 52 0,14-12 16,-14 12-16,0 1 0,-13 13 16,13-14-16,-13 14 0,-13 0 0,-1-1 15,-12 1-15,-1 0 0,1 0 0,-1 13 16,-13-13-16,1 13 0,-1 0 15,0-14-15,0 14 0,0 0 0,1-13 16,-54 13 31,40 13-47,-26-13 0,12 14 16</inkml:trace>
  <inkml:trace contextRef="#ctx0" brushRef="#br0" timeOffset="60172.04">21934 7501 0,'0'-13'16</inkml:trace>
  <inkml:trace contextRef="#ctx0" brushRef="#br0" timeOffset="60579.55">22079 7355 0,'0'-13'16,"0"40"31,0-14-47,-13 0 0,13 0 0,0 1 15,0-1-15,-13-13 0,13 13 0,0 0 16,0 0-16,-13 1 16,13-1-16,0 13 15,13-12-15,-13-1 16,13-13 0,0 13-16,1-13 0,-1 0 15,0 0-15,0 13 0,1-13 16,-1 0-16,0 0 0,0 0 15,1 0-15,-1 0 0,0 0 0,0 0 16,-13 14-16,13-14 0,1 0 0,-1 0 16,0 0-16,-13-14 0,13 14 15,1 0-15,-1 0 0,0-13 16</inkml:trace>
  <inkml:trace contextRef="#ctx0" brushRef="#br0" timeOffset="61067.85">22953 6932 0,'26'0'0,"-52"0"0,65 0 15,-25 0-15,-1 0 16,-13 13-16,13-13 0,-13 14 0,0-1 15,-13 0-15,13 0 0,-13 0 16,13 14-16,-14-14 0,1 14 16,0-14-16,0 0 0,13 0 15,-14-13-15,14 14 0,0-1 0,-13-13 16,13 13-16,0 0 16,13 0-1,1-13-15,-1 0 16,0 0-16,0 0 15,1-13-15,12 13 0,-13 0 0,0 0 16,14-13-16,-14 13 0,0 0 0,14 0 16,-14-13-16,0 13 0,1-13 15,-1 13-15</inkml:trace>
  <inkml:trace contextRef="#ctx0" brushRef="#br0" timeOffset="61676.56">23310 6972 0,'-13'-27'0,"26"54"0,-40-54 0,27 14 15,-13 13-15,0 0 16,-14 0-16,27 13 16,-13-13-16,0 14 0,13-1 0,-13-13 15,13 13-15,-13 0 0,13 0 16,0 1-16,13-1 0,-13 0 16,13 0-16,0-13 15,0 14-15,1-14 0,-1 0 0,0 0 16,0 0-16,1 0 0,12 0 15,-13-14-15,0 14 0,-13-13 16,14 13-16,-14-13 0,13 0 16,-13-1-16,0 1 0,-13 0 15,13 0-15,-14 0 16,1 13-16,13-14 16,-13 14-16,0 0 0,13-13 0,-13 13 15,26-13 16,0 13-31,0 0 16,0 0-16,1-13 16,-1 26-1,0 0 1,-13 0-16,0 1 16,13-14-16,-13 13 15,14 0-15,-1-13 0,-13 13 16,13-13-16,0 0 0,1 0 0,-1 0 15,0 0-15,0 0 0,0 0 16,14 0-16,-14 0 0,0-13 0,1 13 16,-14-13-16,13 13 0,0-13 0,-13-1 15,13 14-15,-13-13 0,0 0 16,-13 0-16,0-1 16,13 1-16,-13 0 0,-1 13 0,1-13 15,0 13-15,0 0 0,-1-14 0,1 14 16,0 0-16,0 0 0,0 0 15,-1 0-15,1 14 0,0-14 0,0 0 16,-1 13-16</inkml:trace>
  <inkml:trace contextRef="#ctx0" brushRef="#br0" timeOffset="91384.56">16232 8202 0,'-13'-13'32,"13"39"61,-13-26-93,13 14 0,-14-1 0,1 0 16,13 0-16,-13 14 16,0-14-16,0 0 0,-1 14 0,14-14 15,-13 0-15,0 14 0,0-14 0,-1 0 16,1 13-16,0-12 0,13-1 15,-13 0-15,0-13 0,13 13 0,-14 1 16,1-1-16,13 0 16,-13-13-1,13 13-15,-13 0 16,13 1 15</inkml:trace>
  <inkml:trace contextRef="#ctx0" brushRef="#br0" timeOffset="91935.43">15624 8612 0,'0'0'0,"-27"13"0,27 1 16,-13-14-16,13 13 0,0 0 15,-13 0-15,13 1 0,0-1 16,0 0-16,0 0 0,0 0 16,13 1-16,-13-1 0,13 0 15,-13 0-15,13-13 0,1 14 16,-1-14-16,0 0 0,-13 13 0,13-13 15,1-13-15,-1 13 0,0 0 0,0 0 16,-13-14-16,13 14 16,1-13-16,-1 0 0,-13 0 15,0-1-15,0 1 0,0 0 16,-13 0-16,-1 13 0,14-13 0,-13-1 16,0 1-16,0 0 15,0 13-15,-1-13 0,1 13 16,0-14-16,0 14 0,-1 0 15,1 0-15,0 0 16,0 0-16</inkml:trace>
  <inkml:trace contextRef="#ctx0" brushRef="#br0" timeOffset="96568.54">24474 8202 0,'0'-13'110,"0"39"-79,13-12-16,-13-1-15,0 0 0,0 0 16,0 14-16,0-14 0,0 13 16,0-12-16,0 25 15,0-12-15,0-14 0,0 13 0,0-12 16,0 12-16,0-13 0,0 1 0,0-1 16,0 0-16,0 0 0,0 0 15,0 1-15,0-1 0,0 0 16,0 0-16,0 1 15</inkml:trace>
  <inkml:trace contextRef="#ctx0" brushRef="#br0" timeOffset="97000.54">24342 8533 0,'0'13'16,"0"0"-16,0 0 16,0 1-16,0-1 0,13 0 15,-13 0-15,0 1 0,13-1 16,-13 0-16,13-13 0,-13 13 16,14 1-16,-14-1 0,13-13 15,-13 13-15,13-13 0,0 0 16,14 0-1,-14 0-15,0-13 0,0 0 16,1 13-16,-14-14 0,13 1 16,0 13-16,-13-13 15,13 13-15,-13-13 0,14-1 16,-14 1-16,13 13 16</inkml:trace>
  <inkml:trace contextRef="#ctx0" brushRef="#br0" timeOffset="97936.38">24328 8956 0,'14'-13'0,"12"13"16,-13 0-16,1 0 15,-1 0-15,0 13 0,0 0 16,-26 1 0,13-1-16,-13 0 0,0 0 15,13 1-15,-14-14 0,14 13 16,-13-13-16,0 13 15,13 0-15,13-13 16,0 13 0,1-13-16,-14 14 0,13-14 0,0 13 15,0-13 1,-13 13-16,0 0 0,0 1 16,-13-14-1,13 13-15,-13-13 0,0 13 0,-1-13 16,1 13-16,0-13 0,0 0 0,-1 14 15,1-14-15,0 0 0,0 13 16,0-13-16,-1 0 0,1 0 16,0 0-16</inkml:trace>
  <inkml:trace contextRef="#ctx0" brushRef="#br0" timeOffset="98349.37">24606 8956 0,'-53'0'31,"40"13"-31,0-13 16,13 14 0,0-1-16,13-13 15,-13 13-15,13 0 0,1 1 0,-1-1 16,0-13-16,-13 13 0,13 0 16,0-13-16,-13 13 0,14-13 0,-14 14 15,13-14-15,-13 13 0,13-13 16,-13 13-16,-13 0 15,0 1 1,-1-14-16,14 13 0,-13-13 16,0 0-16,0 0 0,0 13 15,-1-13-15,1 0 16</inkml:trace>
  <inkml:trace contextRef="#ctx0" brushRef="#br0" timeOffset="98656.56">24805 8956 0,'-40'40'32,"40"-27"-32,0 0 15,-13 1-15,26-1 16,-13 0-16,0 0 0,13-13 15,-13 13-15,13-13 0,1 0 16,12 0 0,-26-13-16,13 0 0,-13 0 15,0 0 1,-13-1-16,13 1 0,-13 0 16,0 13-16,13-13 0,-14-1 15,1 14-15,0-13 0,0 13 16,0 0-16,-1 0 0,1 0 15,0 0-15,0 0 0,-1 13 0</inkml:trace>
  <inkml:trace contextRef="#ctx0" brushRef="#br0" timeOffset="102053.39">15610 8652 0,'-13'0'47,"0"0"-32,0 0 1,0 13 0,13 0-16,-14-13 0,14 14 15,-13-1-15,0 0 16,13 0-16,-13 0 0,13 1 15,0-1-15,0 0 0,0 0 16,0 1-16,0-1 0,0 0 16,0 0-16,13-13 0,-13 14 15,13-14-15,-13 13 0,13-13 16,1 13-16,-1-13 16,0 0-16,0 0 0,0 0 15,1 0-15,-1 0 0,0 0 16,0-13-16,1 13 15,-1 0-15,-13-13 0,13 13 0,-13-14 16,13 14-16,0-13 0,-13 0 16,14 13-1,-14-13-15,0-1 16,-14 1-16,14 0 16,-13 0-16,0 13 15,13-14 1,-13 14-16,13-13 0,-13 13 0,-1-13 15,1 13 1,0-13-16,0 13 16,-1-13-16,1 13 15,0 0 1,0 0 0,0 0-1,-1 0 1,1 0 15,13 13-15,-13-13-1,13 13 1,-13-13 0,13 13-1,0 0 1,0 1-1,0-1 1,0 0-16,0 0 16,0 1-16,0-1 0,0 0 15,13-13-15,-13 13 16,0 1-16,13-14 16,0 13-16,1-13 15,-1 0-15,0 0 0,0 0 16,0 0-16,1 0 15,-1-13-15,0 13 0,0 0 16,1-14-16,-1 14 0,-13-13 0,13 13 16,-13-13-16,13 13 15,-13-13-15,0-1 0,0 1 16,0 0 0,-13 13-16,13-13 15,-13 13-15,0 0 0,13-14 0,-14 14 16,1 0-16,0 0 0,0 0 0,-1 0 15,1 0-15,0 0 0,0 0 16,0 0-16,13 14 0,-14-14 16,1 13-16,0 0 15,13 0-15,-13-13 0,13 14 0,0-1 0,0 0 16,0 0 0,13 1-16,-13-1 0,13-13 15,0 13-15,1-13 16,-1 0-16,0 0 0,13 0 15,-12 0 1,-1-13-16,0 0 0,0 13 16,-13-14-16,14 1 15,-14 0-15,0 0 16,0-1-16,0 1 0,-14 13 16,1-13-16,0 13 15,0 0-15,-1-13 16,-12 26-16,13-13 0,0 0 15,-1 0-15,14 13 0,-13-13 16,13 13-16,-13-13 0,13 14 16,0-1-16,0 0 0,0 0 15,0 1-15,0-1 16,13-13 0,0 0-1,1 0-15,-1 0 16,0 0-16,-13-13 15,13 13-15,0-14 16</inkml:trace>
  <inkml:trace contextRef="#ctx0" brushRef="#br0" timeOffset="106704.99">24791 8996 0,'-13'13'0,"13"0"16,-13 1-1,13-1 1,0 0 0,13 0-16,-13 0 15,13-13 1,1 14-16,-1-14 15,0 13-15,0-13 16,1 0 0,12 0-16,-13-13 15,1 13-15,-1-14 16,0 14 0,-13-13-16,13 13 0,0-13 15,-13 0 1,14 0-1,-14-1-15,0 1 16,0 0 0,0 0-1,0-1 1,0 1 0,-14 0-1,14 0 1,-13 13-1,13-14 1,-13 14 0,0 0-1,0-13 32,-1 13-31,1 0-1,0 0 1,0 0 15,-1 0-15,1 13 0,0-13 15,0 0-16,13 14 1,-14-14 0,14 13-1,-13-13-15,13 13 16,0 0-16,-13-13 16,13 14-16,0-1 15,-13 0 1,13 0-1,0 1 17</inkml:trace>
  <inkml:trace contextRef="#ctx0" brushRef="#br0" timeOffset="111076.52">20571 8401 0,'-39'13'47,"25"-26"-32,1 13 1,0-14-16,0 14 0,0 0 15,13-13-15,-14 13 0,1 0 16,0 0-16,0-13 0,-1 13 0,1 0 16,0 0-16,0 0 0,-1-13 0,1 13 15,0 0-15,0 0 0,0 0 16,-1 0-16,1 0 0,-13 0 0,12 13 16,1-13-16,-13 0 0,12 13 0,-12-13 15,13 13-15,-14 1 16,14-1-16,-13-13 0,12 13 0,1 0 15,0 0-15,0 1 0,-1-1 0,1 0 16,13 14-16,-13-14 0,13 0 16,-13 0-16,13 0 0,0 1 0,0-1 15,13 0-15,-13 14 0,13-14 0,-13 0 16,13 0-16,1 1 0,-1-1 16,13 0-16,-12 0 0,12-13 0,-13 13 15,14 1-15,-1-14 0,1 0 0,-1 13 16,-13-13-16,14 0 0,-1 0 15,1 0-15,-1 0 0,-13-13 0,14 13 16,-1 0-16,-12-14 0,12 14 0,-13 0 16,14-13-16,-14 13 15,0-13-15,14 13 0,-14-13 0,0 13 16,0-13-16,1-1 0,-1 1 16,0 0-16,0 0 0,1-1 15,-14 1-15,13 0 16,-13 0-16,13-1 0,-13 1 15,0 0-15,0-13 16,-13 26-16,13-14 16,0 1-16,-13 0 0,-1 0 15,1-1-15,13 1 0,-13 13 16,0-13-16,-1 0 16,1 13-16,0 0 0,13-13 15,-13 13-15,-1 0 0,1-14 0,0 14 16,0 0-16,0 0 15,-1 0-15,1 0 0,0 0 0,0 0 16,-1 0-16,1 0 0,0 0 16,0 0-16,-1 0 15,1 14-15,0-14 0</inkml:trace>
  <inkml:trace contextRef="#ctx0" brushRef="#br0" timeOffset="112352.7">11523 6998 0,'26'0'16,"-13"0"-16,1 0 0,-1 0 16,0 0-16,0 0 15,14 0-15,-14 0 0,0 0 0,14 0 16,-14 0-16,0 0 0,0 0 0,1 0 16,-1 0-16</inkml:trace>
  <inkml:trace contextRef="#ctx0" brushRef="#br0" timeOffset="112604.61">11549 7144 0,'-13'0'0,"39"13"47,-12-13-32,-1 0-15,0 0 0,0 0 0,0 0 16,1 0-16,-14-13 0,13 13 16,0 0-16,0 0 0,1 0 0,12 0 15,-13 0 1,1 0-16,-1-13 0,0 13 16,0 0-1</inkml:trace>
  <inkml:trace contextRef="#ctx0" brushRef="#br0" timeOffset="113567.69">12250 7064 0,'-13'0'0,"26"0"0,-39 14 15,26-41 32,0 14-47,0 0 0,0-1 16,0 1-16,0 0 0,13 0 16,-13 0-16,0-1 0,0 1 0,0 0 15,0 0-15,0-1 16,0 54 15,13-27-31,-13 1 16,0-1-16,0 0 0,0 0 15,13 0-15,-13 1 0,14-1 16,-14 0-16,13-13 16,0 0-16,0-13 15,1 0-15,-14-1 16,13 1-16,-13 0 0,0 0 0,13 0 15,-13-14-15,13 14 0,-13 0 16,0-1-16,13 14 0,-13-13 0,0 0 16,14 13-16,-14-13 15,13 26 1,0 0 0,-13 0-16,0 1 15,0-1-15,0 0 0,0 0 0,13 1 16,-13-1-16,0 0 15,0 13-15,0-12 16,0-1-16,14 0 0,-14 0 16,13-13-16,0 14 15</inkml:trace>
  <inkml:trace contextRef="#ctx0" brushRef="#br0" timeOffset="114391.72">12687 7064 0,'0'-26'0,"-13"13"32,13-1-32,-14 14 15,14-13-15,-26 26 16,13 1-1,13-1 1,-14-13-16,14 13 0,0 0 0,0 1 16,0-1-1,0 0-15,14-13 0,-1 13 16,0-13-16,0 0 0,1 0 16,-1 0-16,0 0 0,0 0 15,0 0-15,1 0 0,-1-13 0,0 13 16,0 0-16,1-13 0,-1 13 0,0 0 15,0-13-15,1-1 16,-1 1-16,-13 0 16,13 13-16,-13-13 0,0-1 15,0 1 17,-26 26-1,26 1-31,-14-14 0,14 13 15,0 0 1,0 0-16,0 1 16,14-14-1,-1 0 1,0 0 0,0-14-1,0 14-15,-13-13 16,14 13-16,-1-13 15,0 0 1,0 26 15,1 0-15,-14 0 0,13 1 15,0-28 0,0 14-15,1 0 15,-1 0-15,0 0-1,13 0 1,-12 0-16,-1 0 15</inkml:trace>
  <inkml:trace contextRef="#ctx0" brushRef="#br0" timeOffset="114583.03">13256 6998 0,'0'-13'0,"39"0"16,-12 13-1,-14 0-15</inkml:trace>
  <inkml:trace contextRef="#ctx0" brushRef="#br0" timeOffset="114744.16">13229 7078 0,'-13'13'0,"53"-26"31,-27 13-15,0-14-16,0 14 0,1 0 0,-1-13 15,0 13-15</inkml:trace>
  <inkml:trace contextRef="#ctx0" brushRef="#br0" timeOffset="115635.42">13652 6892 0,'14'0'0,"-1"0"16,0 0 0,0 0-16,-13 14 0,14-14 0,-14 13 15,0 13 1,0-12-16,-14-14 0,1 13 15,13 0-15,-13 0 0,0 0 0,13 1 16,-14-14-16,14 13 0,-13-13 16,13 13-16,-13 0 15,39-13 17,-12 0-32,-1 0 0,0-13 15,0 13-15,1 0 0,12-13 0,-13 0 16,14 13-16,-1-14 0,-13 1 15,1 13-15,-1-13 0,0 13 16,0-13-16,1 0 0,-1-1 16,-26 41 31,-1-27-47,14 13 0,14 0 15,-1 0 1,0-13-16,0 0 15,1 0-15,12 0 16,-13-13-16,0 13 16,-13-13-16,0 0 15,0 0 1,-13-1-16,0 1 16,0 0-1,0 13-15,-1 13 31,28 0-15,-1-13-16,0 0 16,0 14-1,0-14-15,-13 13 0,14-13 16,-1 0-16,-13 13 16,13-13-16,0 0 0,1 0 0,-1 0 15,0 0-15,0 0 0,1 0 16,-1 0-16,0-13 15,0 13-15,0 0 0,-13-13 0,14 13 16,-14-14-16,13 14 0,-13-13 16,0 0-16,0 0 0,0-1 15,-13 1-15,-1 0 16,1 13-16,13-13 0,-13 13 16,0 0-16,0 0 0,-1 0 15,1 0-15,0 0 0,-14 13 0,14-13 16,0 13-16,-14-13 0</inkml:trace>
  <inkml:trace contextRef="#ctx0" brushRef="#br0" timeOffset="116433.22">10927 8083 0,'27'-13'0,"-14"13"16,0-13-16,0 13 0,1 0 15,-1 0-15,0 0 0,14 0 0,-14 0 16,0 0-16,0 0 0,0 0 0,1 0 16,-1 0-16</inkml:trace>
  <inkml:trace contextRef="#ctx0" brushRef="#br0" timeOffset="116611.63">10914 8176 0,'27'0'16,"-14"0"-1,0 0-15,27 0 0,-27 0 0,13-14 16,14 14-16,-14 0 16,-12 0-16,-1-13 0,13 13 0,-12 0 15</inkml:trace>
  <inkml:trace contextRef="#ctx0" brushRef="#br0" timeOffset="119398.56">17740 8295 0,'-13'-14'15,"13"41"1,-13-14 0,13 0-1,0 1-15,0-1 32,0-40 30,0 14-62,-13 13 16,13-13-1,0 39 32,0-12-31,-14-1-16,14 0 31,0-39 32,0 12-48,27 41 16</inkml:trace>
  <inkml:trace contextRef="#ctx0" brushRef="#br0" timeOffset="120056.29">17608 8572 0,'-13'0'0,"0"14"32,13-1-17,-14 0-15,14 0 0,0 1 16,0-1-16,-13-13 0,13 13 15,0 0-15,0 1 16,0-1-16,0 0 16</inkml:trace>
  <inkml:trace contextRef="#ctx0" brushRef="#br0" timeOffset="120437.67">17674 8599 0,'13'0'0,"1"0"16,-1 0-16,0 0 15,-13 13 1,0 0-16,-13 1 15,13-1 1,-13-13-16,13 13 0,-14 0 16,1 1-1,26-1 32,1-13-31,-1 0-1,0 0 1,0-13-16,1 13 16,-1 0-16,0 0 0</inkml:trace>
  <inkml:trace contextRef="#ctx0" brushRef="#br0" timeOffset="120707.89">17939 8572 0,'-13'0'0,"-27"14"31,40-1-31,0 0 16,0 0-1,13-13-15,-13 14 16,0-1-16,13-13 0,-13 13 15,0 0 1,-13 1 0,0-1-16,0 0 15,-1 0-15,1-13 16,0 13-16</inkml:trace>
  <inkml:trace contextRef="#ctx0" brushRef="#br0" timeOffset="120935.46">17582 8864 0,'39'-14'31,"-26"1"-31,14 13 15,-1 0-15,-12 0 0,-1 0 16,0 0-16,0 0 0,1-13 16,-1 13-16</inkml:trace>
  <inkml:trace contextRef="#ctx0" brushRef="#br0" timeOffset="121260.75">17529 8916 0,'0'0'0,"26"-13"15,-13 13 1,1-13-16,12 13 0,-13 0 16,0 0-16,1 0 0,-1 0 0,13 0 15,-26-13-15,14 13 16,-1 0-16,0 0 0,0 0 15,1 0 1,-1 0-16,0 0 16,0 0-1,-13-13 1,13 13 15,1 0-15</inkml:trace>
  <inkml:trace contextRef="#ctx0" brushRef="#br0" timeOffset="124748.42">23072 8268 0,'0'-13'15,"-14"26"32,1 0-47,13 1 16,0-1-16,-13 0 16,13 0-16,-13 1 15,13-1-15,0 0 16,0 0-1,0-39 32,0 13-31,13-1-16,-13 1 31,-13 26 16,13 1-47,-13-1 16,13 0-16,0 0 15,0-39 63,0 13-62,0-1 0,-14 1-1,28 53 32,-14-27-47</inkml:trace>
  <inkml:trace contextRef="#ctx0" brushRef="#br0" timeOffset="125346.84">22807 8625 0,'0'-13'15,"13"13"1,1 13-1,-14 1 1,0-1 0,0 0-16,-14-13 0,14 13 0,-13 1 15,0-1 1,13 0 0,13 0 30,0-26-30,1 13-16,-1 0 16,0 0-1,0 0 1,0 0-16</inkml:trace>
  <inkml:trace contextRef="#ctx0" brushRef="#br0" timeOffset="125727.22">22966 8599 0,'0'-13'0,"26"13"47,-12 0-47,-14 13 0,13-13 0,0 0 31,-13 13-31,0 0 15,13 1-15,-13-1 16,0 0 0,0 0-16,0 1 15,0-1 1,0 0 0,13-13-16</inkml:trace>
  <inkml:trace contextRef="#ctx0" brushRef="#br0" timeOffset="125916.27">22992 8678 0,'40'-13'31,"-27"13"-16,0 0-15,1 0 16,-1 0-16</inkml:trace>
  <inkml:trace contextRef="#ctx0" brushRef="#br0" timeOffset="126211.5">23204 8599 0,'-13'0'0,"0"0"31,13 13-31,0 0 16,13 1-16,-13-1 0,13-13 16,-13 13-16,13-13 15,-13 13-15,0 1 16,0-1-1,-13-13-15,0 0 16,0 13-16,-1-13 0,1 0 0,0 0 16,0 0-16,-27 13 0,27-13 15,-1 0-15,1 0 0,-13 0 16,13 0-16,-14 0 0</inkml:trace>
  <inkml:trace contextRef="#ctx0" brushRef="#br0" timeOffset="127691.51">12025 7885 0,'-26'39'0,"26"-25"16,0-1-16,0 0 16,0 0-16,0 0 15,0 1 1,0-54 31,0 27-47,0 0 0,13-1 15,-13 1-15,0 0 0,0 0 16,13-1-16,-13 1 0,14 13 31,-1 13-15,-13 1-16,13-1 16,-13 0-16,13-13 15,-13 13-15,13 1 16,1-28-1,-1 14 1,-13-13-16,13 0 0,-13 0 16,13-1-1,-13 1-15,14 13 16,-1 13 0,-13 1-1,13-1-15,-13 0 16,0 0-16,0 1 0,13-1 15,-13 0-15,0 0 16,0 0-16,14-13 0,-14 14 16,13-14-16,-13 13 0,13-13 15</inkml:trace>
  <inkml:trace contextRef="#ctx0" brushRef="#br0" timeOffset="128241.08">12396 7964 0,'0'-26'31,"-14"12"-15,1 28-1,0-1 1,13 0-1,0 0 1,13 0-16,0 1 16,1-14-1,-1 0-15,0 0 0,0-14 16,1 14-16,-1 0 0,-13-13 0,13 13 16,0 0-16,-13-13 15,14 13-15,-1-13 16,-40 26 46,27 0-62,14-13 32,-1 0-17,0 0 16,0 0-31,0 13 32,1-13-17,-1 0 1,0 0-16,14 0 16,-14 0-16,0 0 15,0 0-15</inkml:trace>
  <inkml:trace contextRef="#ctx0" brushRef="#br0" timeOffset="128408.67">13004 7911 0,'14'-13'16,"12"13"-1</inkml:trace>
  <inkml:trace contextRef="#ctx0" brushRef="#br0" timeOffset="128571.45">12898 8030 0,'27'0'47,"-27"-13"-47,13 13 0,0 0 0,1 0 16,-1-13-16,0 13 15,0 0-15,1-14 0,-1 14 0</inkml:trace>
  <inkml:trace contextRef="#ctx0" brushRef="#br0" timeOffset="129564.43">13560 7845 0,'0'0'0,"13"0"0,0 0 16,-13 13-1,0 0-15,0 1 16,-13-14-16,13 13 15,-13 0-15,0 0 0,13 1 16,-14-14-16,14 13 0,-13-13 16,13 13-16,-13 0 15,26 0 1,0-13 0,1 0-16,-1 0 15,0-13-15,0 13 0,14 0 0,-14-13 16,13 13-16,-12-13 0,-1 13 0,0-13 15,0-1-15,1 14 16,-1-13-16,0 13 0,0-13 16,-13 0-16,-26 26 47,26 0-32,0 0 1,13 1-16,0-14 15,1 0-15,-1 0 16,0 0-16,0 0 0,0 0 16,1 0-16,-14-14 0,13 14 15,0-13-15,-13 0 16,0 0 0,-13 13-1,0 13 1,13 0-1,0 0 1,13 1-16,0-14 16,0 0-16,-13 13 0,14-13 15,-1 0-15,0 0 0,0 0 0,1-13 16,-1 13-16,0 0 16,-13-14-16,13 1 15,-13 0-15,0 0 16,-13 13-16,13-14 15,-13 14-15,13-13 0,-13 13 0,-1 0 16,-12 13 0,13-13-16,-1 14 15</inkml:trace>
  <inkml:trace contextRef="#ctx0" brushRef="#br0" timeOffset="130574.24">13110 9022 0,'13'-13'16,"1"0"-16,-1 13 15,0 0-15,0 0 0,0 0 16,1 0-16,-1 0 0,0 0 16,0 0-16,1 0 15,12 0-15</inkml:trace>
  <inkml:trace contextRef="#ctx0" brushRef="#br0" timeOffset="130758.73">13203 9128 0,'26'0'32,"-13"0"-17,1-13-15,-1 13 0,0 0 16</inkml:trace>
  <inkml:trace contextRef="#ctx0" brushRef="#br0" timeOffset="133472.06">18693 8268 0,'0'27'63,"0"-14"-63,0 0 15,0 0-15,0 1 16,0-1 0,13-26 31,-13-1-32,0 1-15,0 0 0,0 0 16,0-1-1,0 41 32,0-14-31,0 0 0,0-39 46,0 13-31</inkml:trace>
  <inkml:trace contextRef="#ctx0" brushRef="#br0" timeOffset="136357.03">22000 8281 0,'0'-13'0,"-13"40"46,13-14-30,0 0 0,0 0-16,-13 1 15,13-1 17,13-40 14,-13 14-30,13 0 0,-13 0-1,-13 39 32,13-13-16,0 1-15,-13-14 0,26-27 31,-13 14-32,0 0 1,0-1-16,0 1 62</inkml:trace>
  <inkml:trace contextRef="#ctx0" brushRef="#br0" timeOffset="138580.67">13864 8983 0,'13'-14'0,"14"14"15,-14 14 1,0-14-16,-13 13 15,0 0-15,0 0 16,0 1-16,-13-1 0,0 0 16,13 0-1,-13 0-15,13 1 0,-14-14 16,14 13-16,-13-13 0,13 13 16,-13-13-1,39 13 16,-12-26-15,-1 13-16,0 0 16,0 0-16,1-13 0,-1 13 15,0 0-15,0 0 0,0-13 16</inkml:trace>
  <inkml:trace contextRef="#ctx0" brushRef="#br0" timeOffset="138868.9">14142 9022 0,'-13'-13'15,"-14"13"1,14 13 0,13 1-1,0-1-15,0 0 16,13-13-16,-13 13 16,14-13-16,-14 13 0,13-13 0,0 0 15,0 0-15,0 0 16,-13-13-16,14 13 15,-14-13-15,0 0 16,-14 0 0,1-1-1,0 14 1</inkml:trace>
  <inkml:trace contextRef="#ctx0" brushRef="#br0" timeOffset="139111.63">14235 9022 0,'13'0'0,"-26"0"0,26 14 0,0-14 16,0 0-16,1 13 16,-1-13-16,0 0 15,0 0-15,0 0 16,-13-13-16,14 13 0,-14-14 15,13 14-15,-13-13 16,0 0-16,-13 0 16,-1-1-16,1 1 15,0 13 1,-13 13-16,12-13 16,1 14-16</inkml:trace>
  <inkml:trace contextRef="#ctx0" brushRef="#br0" timeOffset="139319.6">13864 9313 0,'132'-26'31,"-105"26"-31,-1-13 15,1 13-15,-1-14 0,-12 14 0,38-13 16,-38 13-16,-1 0 0,13 0 16,-12 0-16,-1 0 0,0 0 15</inkml:trace>
  <inkml:trace contextRef="#ctx0" brushRef="#br0" timeOffset="139507.03">13983 9366 0,'40'-13'31,"-14"13"-15,-12 0-16,12-13 0,-13 13 0,1 0 16,12-13-16,-13 13 0,0 0 15,14-14-15,-14 14 0,0-13 0,1 13 16,-1 0-16,-13-13 0</inkml:trace>
  <inkml:trace contextRef="#ctx0" brushRef="#br0" timeOffset="140027.37">13957 8758 0,'79'-14'31,"-52"14"-31,-1 0 15,1-13-15,-1 13 0,14 0 0,13-13 0,-14 13 16,1-13-16,0 13 0,-1-13 16,1 13-16,-14-14 0,1 14 15,13 0-15,-14-13 0,-13 13 0,14 0 16,-1 0-16,-13 0 0,1-13 16,-1 13-16,0 0 0,0 0 0,1 13 15,-1-13-15,0 13 16,-13 1-16,0-1 15,0 0-15,13 0 0,-13 0 0,0 1 16,0 12-16,0 1 0,0-14 0,0 13 16,0-12-16,0 12 0,0-13 15,0 14-15,0-1 0,0-13 16,0 1-16,0-1 0,0 13 0,0-12 16,0-1-16,0 0 15,0 0-15,0 0 16,0 1-16,-13-14 0,0 13 15</inkml:trace>
  <inkml:trace contextRef="#ctx0" brushRef="#br0" timeOffset="140623.01">13930 8797 0,'-66'14'15,"132"-28"-15,-145 28 16,66-14-16,-1 0 0,1 0 15,13 13-15,-13-13 0,0 0 16,0 13 0,-1 0-1,14 1-15,-13-1 16,13 0-16,0 0 16,-13 0-16,13 1 0,-13 12 15,13 1-15,0-14 0,-14 13 0,14 1 16,0-1-16,-13 1 0,13-1 15,0 1-15,0 12 0,0-12 0,-13-1 16,13 1-16,0-14 0,0 13 0,0 1 16,0-14-16,0 0 0,0 0 15,0 1-15,0-1 0,0 0 0,0 0 16,0 1-16,13-14 16,0 0-1</inkml:trace>
  <inkml:trace contextRef="#ctx0" brushRef="#br0" timeOffset="143574.51">9036 10954 0,'13'0'15,"0"0"1,0 0 0,0 13-16,14-13 0,-14 0 15,14 0-15,-1 0 0,-13 0 0,14 0 16,12 0-16,-12 0 0,13 0 15,-14 0-15,0 0 0,1 0 0,-1 0 16,1 0-16,-1 0 0,1 0 0,-1 0 16,-13 0-16,14 0 0,-14 0 15,0 0-15,1 0 0</inkml:trace>
  <inkml:trace contextRef="#ctx0" brushRef="#br0" timeOffset="144771.16">12581 10478 0,'0'39'16,"0"-26"-16,13 14 15,-13-1-15,0 1 0,13 12 0,-13 1 16,0-13-16,0-1 0,14 1 0,-14-1 16,0 0-16,0-12 0,13 12 15,-13-13-15,0 1 0,0-1 0,13 0 16,-13 0-16,0 1 15</inkml:trace>
  <inkml:trace contextRef="#ctx0" brushRef="#br0" timeOffset="145131.73">12607 10306 0,'67'-27'0,"-134"54"0,173-54 0,-66 14 16,0 13-16,13-13 0,-1 13 15,1-14-15,0 1 0,13 13 0,-13-13 16,0 13-16,0-13 0,0 13 16,-13-14-16,13 14 0,-27 0 0,1-13 15,-1 13-15,1 0 0,-1 0 16,-13 0-16,14 13 0,-14-13 0,13 14 15,-12-1-15,12 13 0,-13-12 0,14 12 16,-14 14-16,0-14 0,0 1 16,1 12-16,-14-12 0,13-1 0,-13 14 15,0-14-15,13 1 0,-13-1 0,0 1 16,-13-1-16,13 1 0,0-14 16,0 13-16,0-12 0,0-1 0,0 0 15,0 0-15,13 1 0,-13-1 0,13-13 16</inkml:trace>
  <inkml:trace contextRef="#ctx0" brushRef="#br0" timeOffset="147324.54">16854 10954 0,'79'0'0,"-158"0"0,198 0 0,-79 0 0,13 0 15,0 0-15,-1 0 0,15 0 0,-1 0 16,13 0-16,0 0 0,-12 0 16,-1 0-16,0 0 0,0 0 0,-13 0 15,53 0-15,-66 0 0,-14-13 16,0 13-16,1 0 0,-14 0 15,14 0-15,-14 0 0,0 0 16,0 0-16,-52 0 31</inkml:trace>
  <inkml:trace contextRef="#ctx0" brushRef="#br0" timeOffset="147725.56">16828 11218 0,'145'14'0,"27"-28"16,-93 14-16,1 0 0,12 0 15,1 0-15,0 0 0,-1 0 0,14-13 16,-13 13-16,12 0 0,-12 0 16,0 0-16,-14-13 0,14 13 15,-27 0-15,0 0 0,-13 0 0,-13 0 16,-1 0-16,1 0 0,-27 0 0,14 0 16,-14 0-16,0-13 0,0 13 0,0 0 15,1 0-15,-1 0 0,0 0 16,0 0 62,-13-14-78,14 14 16,-1 0-16</inkml:trace>
  <inkml:trace contextRef="#ctx0" brushRef="#br0" timeOffset="149155.94">23032 11046 0,'26'0'16,"-12"0"-16,12 0 15,-13 0-15,14 0 0,-14 0 16,14 14-16,-1-14 0,0 0 16,1 0-16,-1 0 0,1 0 0,-1 0 15,1 0-15,-1 0 0,1 0 0,-14 0 16,13 0-16,-12 0 0,-1-14 15,0 14-15,0 0 0,0 0 0</inkml:trace>
  <inkml:trace contextRef="#ctx0" brushRef="#br0" timeOffset="150999.46">6985 11073 0,'-26'66'16,"26"-40"0,0 1-16,-14-1 0,14 14 0,0-14 15,0 1-15,0 13 0,0-14 0,0 1 16,0-1-16,0 0 0,0-12 16,0 12-16,0-13 0,0 1 15,14-1-15,-14 0 0,0 0 0</inkml:trace>
  <inkml:trace contextRef="#ctx0" brushRef="#br0" timeOffset="151651.31">6839 11007 0,'106'-40'15,"-66"40"-15,277-26 16,-237 26 0,-1 0-16,1 0 0,12 0 0,-12 0 15,-1 0-15,14 0 0,-27 0 16,13 0-16,-13 0 0,-13 0 0,27 0 16,-28 0-16,15 0 0,-14 0 0,13-14 15,-13 14-15,-1 0 0,-12 0 16,-13 0-16,-1 0 0,1 0 0,-1 0 15,-13 0-15,14 0 0,-14 0 0,0 0 16,0 0-16,1 0 16,-1 0-16,0 0 0,0 0 15,-13 14-15,14-14 0,-1 13 16,0-13-16,-13 13 16,13 0-16,0 0 0,-13 1 0,14-1 0,-1 0 15,0 0-15,-13 1 0,27 25 16,-14-26-16,0 1 0,0 12 15,1-13-15,-1 1 0,0-1 0,0 13 16,0-12-16,1-1 0,-1 0 0,0 0 16,0 0-16,1 1 0,-1-1 15,0 0-15,0 0 0,-13 1 16,14-14-16,-14 13 0,0 0 16,-14 0-1,1 1-15,-13-1 0,-1 0 16,1 0-16,-27 0 0,13 1 0,-26-1 15,0 0-15,-14 0 0,1 1 16,0-1-16,-14 0 0,14 0 0,-14-13 16,0 14-16,1-1 0,12-13 0,-12 13 15,13 0-15,12 0 0,-12-13 16,13 14-16,13-14 0,13 13 16,-13-13-16,14 13 0,12-13 0,1 0 0,-1 13 15,1-13-15,13 14 16,-1-14-16,1 0 0</inkml:trace>
  <inkml:trace contextRef="#ctx0" brushRef="#br0" timeOffset="153175.47">17674 9816 0,'93'40'31,"-54"-27"-31,14-13 0,0 0 0,13 13 16,14-13-16,12 0 0,1 0 16,13 0-16,0 0 0,39-13 15,1 13-15,-1 0 0,1-13 0,13 13 16,-1 0-16,14 0 0,-13-14 15,13 14-15,0 0 0,0 0 0,0 0 16,0 0-16,-13 0 0,13 0 0,0 0 16,-14 14-16,1-14 0,0 0 0,-14 13 15,-12-13-15,-1 0 0,-26 13 16,0-13-16,-1 0 0,-12 13 0,-14-13 16,1 0-16,-27 0 0,0 0 15,0 0-15,-14 0 0,-12 0 0,-1 0 16,-13 0-16,1 0 0,-1-13 15,0 13-15,-13-13 16,0 0-16</inkml:trace>
  <inkml:trace contextRef="#ctx0" brushRef="#br0" timeOffset="153571.53">22423 9684 0,'40'13'16,"-27"-13"-1,14 0-15,-14 0 0,13 13 0,1-13 16,-1 0-16,1 13 0,13-13 0,-1 14 15,1-14-15,0 13 0,-1-13 16,1 0-16,0 13 0,26 0 16,-40-13-16,1 0 0,-1 14 0,-13-14 15,14 0-15,-14 13 0,0-13 16,1 0-16,-1 0 0,0 13 16,0-13-16,-13 13 0,14-13 0,-14 13 15,-14 1-15,1-1 16,0 0-16,-14 14 0,-12-14 15,12 0-15,-12 0 0,-1 14 0,13-14 16,-12 0-16,12 0 0,1 1 16,-1-1-16,14 0 0,0 0 0,0-13 15,-1 14-15,1-1 0</inkml:trace>
  <inkml:trace contextRef="#ctx0" brushRef="#br0" timeOffset="160612.78">16073 8652 0,'0'0'0,"0"53"0,-13-27 16,13 14-16,-13 0 0,13 13 0,-13-1 16,0-12-16,-1 13 0,1-13 15,13 13-15,-13-14 0,0 1 0,13 0 16,-14 13-16,1-27 0,13 14 0,-13-1 16,13-12-16,-13-1 0,13-12 15,0-1-15,0 13 0,0-12 0,-14-1 16,14 0-16,0 0 0,0 0 15,0 1 1,0-1-16,-13 0 16,13 0 15,0 1-15,13-14-1,1 0 1,-1 0-16,27 0 15,-27 0-15,0 0 0,0 0 16,1 0-16,12 0 0,-13 0 0,14 0 16,-1 0-16,1 0 0,-1 0 15,14 0-15,-14 0 0,14 0 0,0 0 16,12-14-16,1 14 0,0 0 16,-13 0-16,13 0 0,0 0 0,0 0 15,0 0-15,0 0 0,0 0 0,13 0 16,0 0-16,-13 0 0,13 0 15,13 0-15,-26 0 0,27 0 0,-14 0 16,13 0-16,0 0 0,-12 14 0,12-14 16,0 0-16,-13 0 0,14 13 0,-1-13 15,-13 0-15,14 13 0,-1-13 16,0 0-16,-12 13 0,12-13 16,0 0-16,-12 0 0,12 0 0,-13 14 15,13-14-15,1 0 0,-14 0 16,13 13-16,-26-13 0,13 0 0,-13 0 15,13 0-15,-13 0 0,14 13 0,-15-13 16,1 0-16,13 0 0,-13 0 16,0 0-16,13 0 0,-13 0 0,0 0 15,0 0-15,0 0 0,-13 0 0,13 0 16,0 0-16,0-13 0,-1 13 16,-12 0-16,13 0 0,0 0 0,-13 0 15,-1-13-15,14 13 0,-13 0 16,-14 0-16,14 0 0,-13 0 0,-1 0 15,14-14-15,-14 14 0,14 0 16,-14 0-16,14 0 0,-14 0 0,14-13 16,-13 13-16,12 0 0,-12 0 0,12 0 15,-12-13-15,13 13 0,-14 0 16,14 0-16,-14 0 0,14 0 0,-14-13 16,14 13-16,-14 0 0,14 0 0,-13 0 15,12 0-15,-12 0 0,12 0 16,1 0-16,-13 0 0,26 0 0,-14-14 15,14 14-15,-13 0 0,0 0 0,12 0 16,-12 0-16,-13 0 0,26-13 16,-27 13-16,14 0 0,-14 0 0,14 0 15,-14 0-15,14 0 0,-14 0 16,14 0-16,-13 0 0,12 0 0,1 0 16,0 0-16,-1-13 0,14 13 15,-26 0-15,12 0 0,-12 0 0,12 0 16,1 0-16,-13 0 0,12 0 0,1 0 15,-14 0-15,14 0 0,0 13 16,-14-13-16,14 0 0,0 0 0,-14-13 16,14 13-16,-14 0 0,14 0 0,-14 0 15,1 0-15,-1 0 0,1 0 16,-14 0-16,14 0 0,-1 0 16,0 0-16,-12 0 0,-1 0 0,13 0 15,-12 0-15,-1-13 0,0 13 0,0 0 16,0 0-16,1 0 0,-1 0 15,0 0-15,0-14 0,1 14 0,-1 0 16,0 0-16,0 0 0,1 0 16,-1 0-16,13 0 15,-13 0-15,54 0 32,-54 0-32,0 0 0,0 0 15,1 0-15,-1 0 0,0 0 16,0 0-16,0 0 0,1 0 15,-1 0-15,0 0 0,0 0 16,1 0-16,-1 0 0,0 0 16,0 0-16,0 0 0,1 0 15,-1 0-15,0 0 0,0 0 16,1 0-16,-1 0 0,0 0 16,0 0-16,1 0 15,-1 0-15,0 0 16,0 0-16,0 0 15,1 0-15,-1 0 32,0 0-32,0 0 15,-13 14 1,14-14 0,-1 0-16,0 0 15,0 0 1,1 0 31,-1 0-16,0 0-31,0 0 0,0 0 16,1 0-1,-1 0-15,0 0 16,0 0-16,1 0 15,-1 13-15,0-13 0,0 0 16,1 0-16,-1 0 0,0 0 0,0 0 16,0 0-16,1 0 0,-1 0 15,13 0-15,-12 0 0,-1 0 0,-13 13 16,13-13-16,0 0 0,1 0 0,-1 0 16,0 0-16,0 0 15,0 0 1,1 0-16,-1 0 15,0 0 1,0-13 15,-13 0-15,14 13 0,-14-14-1,0 1-15,13 0 16,-13 0-16,0 0 15,0-1 1,13 1-16,-13 0 16,0 0-1,0-1-15,0 1 16,0 0 0,13 0-16,-13-1 15,0 1 1,0 0 15,0 0-15,0 0 62,13 13-31,-13-14-32,14 1 1</inkml:trace>
  <inkml:trace contextRef="#ctx0" brushRef="#br0" timeOffset="163093.93">16073 8520 0,'-13'0'31,"13"13"-31,-13-13 31</inkml:trace>
  <inkml:trace contextRef="#ctx0" brushRef="#br0" timeOffset="168012.1">17515 8493 0,'0'27'31,"0"-14"-31,-13 0 16,13 0-16,0 14 16,-13-1-16,0 14 0,13-14 15,-14 1-15,14-1 0,-13 1 0,13-1 0,-13-13 16,13 14-16,-13-14 0,13 0 16,0 1-16,-13-1 0,13 0 15,0 0-15,0 0 16</inkml:trace>
  <inkml:trace contextRef="#ctx0" brushRef="#br0" timeOffset="168495.64">17476 8467 0,'39'0'0,"-78"0"0,105-14 16,-40 14-16,14 0 0,-14 0 0,1 0 16,13 0-16,-1 0 0,1 0 0,-14 0 15,14 0-15,-13 0 0,12 0 16,-12 0-16,-1 0 0,1 0 0,-1 0 16,1 0-16,-14 14 0,0-14 15,0 0-15,1 0 0,-1 13 0,0-13 16,0 0-16,0 0 0,1 13 0,-1-13 15,0 13-15,-13 1 16,13-14-16,1 13 0,-14 0 0,13 0 16,0 0-16,-13 1 0,13-1 15,0 13-15,1-12 0,-1 12 0,-13-13 16,26 14-16,-26-1 0,14 1 16,-14-1-16,13-13 0,-13 14 0,13-14 15,-13 14-15,0-14 0,0 0 0,0 0 16,0 0-16,-13 14 0,0-14 15,-1 0-15,-12 14 0,-1-1 0,1-12 16,-14-1-16,1 0 0,-1 13 0,-13-12 16,0-1-16,0-13 15,0 13-15,14 0 0,-14-13 0,26 0 0,-12 0 16,12 0-16,14 0 0,-14 0 16,14 0-16,0-13 0,13 0 15,13 0-15</inkml:trace>
  <inkml:trace contextRef="#ctx0" brushRef="#br0" timeOffset="169364.42">22582 8520 0,'13'0'16,"1"13"-16,-14 0 15,0 0-15,-14 0 0,14 1 16,0-1-16,-13 0 0,13 14 0,-13-14 16,13 13-16,-13-12 0,13-1 15,-14 13-15,14-13 0,0 1 16,-13-1-16,13 0 0,0 0 0,-13 1 16,13-1-16,0 0 15</inkml:trace>
  <inkml:trace contextRef="#ctx0" brushRef="#br0" timeOffset="169918.87">22754 8401 0,'53'-14'0,"-40"14"0,14 0 16,-1-13-16,1 13 0,-1 0 16,1 0-16,12 0 0,-12-13 0,12 13 15,-12 0-15,-1 0 0,1 0 0,-1 0 16,1 0-16,-14 0 0,13 0 16,-12 0-16,-1 0 0,0 0 15,0 0-15,1-13 0,12 13 16,-13 13-16,0-13 15,1 0 1,-1 13-16,-13 0 16,0 1-1,13-1-15,-13 0 0,0 0 16,0 0-16,0 1 0,0-1 0,0 0 16,13 0-16,-13 1 0,0-1 15,0 0-15,0 0 0,14 0 0,-14 1 16,0-1-16,0 0 0,0 0 0,13 1 15,-13-1-15,0 0 0,0 0 16,0 1-16,0-1 0,0 0 0,0 0 16,0 0-16,0 1 15,-13-14-15,13 13 0,0 0 16,-14-13-16,14 13 0,-13 1 0,0-14 16,13 13-16,-13-13 0,-1 13 0,1-13 15,0 13-15,0-13 0,0 0 16,-14 14-16,1-14 0,12 0 0,-25 0 15,12 13-15,1-13 0,-14 0 0,-13 0 16,27 0-16</inkml:trace>
  <inkml:trace contextRef="#ctx0" brushRef="#br0" timeOffset="175368.45">18680 8308 0,'0'-27'79,"-14"14"-64,14 0 1,0 0-16,0 0 0,0-1 15,0-12-15,0 13 16,-13-1 0,13 1-16,0 0 15,0 0 1,0-1 0,0 1-1,13 13-15,-13-13 16,14 13-1,-14-13-15,13 13 0,0 0 16,0 0-16,0-13 0,1 13 16,-1 0-16,0 0 0,0 0 15,1 0-15,12 0 0,-13 0 0,14 0 16,-1 0-16,1-14 0,-14 14 0,27 0 16,-14 0-16,14 0 0,-14 0 15,1 0-15,12 0 0,-12 0 0,-1 0 16,14 0-16,-14 0 0,1 0 15,13-13-15,-14 13 0,1 0 16,12 0-16,-12 0 0,12 0 0,-12 0 16,12 0-16,-12 0 0,13 0 0,-14 0 15,14 0-15,-14 0 0,14 0 16,-14 0-16,1 0 0,13 0 0,-14 0 16,0 0-16,-12 0 0,12 0 0,1 0 15,-1 0-15,0 0 0,1 0 16,-1 0-16,-12 0 0,12 0 0,1 0 15,-1 0-15,-13 0 0,14 0 0,-1 0 16,1 0-16,-1 0 0,-13 0 16,14 0-16,-1 0 0,-13 0 15,14 0-15,-14 0 0,0 0 0,14 0 16,-14 0-16,14 0 0,-14 0 16,0 0-16,13 0 0,-12 0 0,-1 0 15,0 0-15,0 0 0,1 0 0,-1 0 16,13 0-16,-12-13 15,-1 13-15,0 0 0,0 0 16,0 0-16,1 0 0,-1 0 0,0 0 0,0 0 16,1 0-16,-1 0 15,0 0-15,0 0 0,0 0 0,1 0 16,-1 0-16,0 0 0,0 0 16,1 0-16,-1 0 15,0 0-15,0 0 0,1 0 16,-1 0-16,0 0 0,0 0 15,0 0-15,1 0 16,-1 0-16,0-13 0,0 26 0,1-13 16,-1-13-16,0 13 0,0 0 0,14 0 15,-14 0-15,0 0 0,0 0 16,1 0-16,-1 0 0,13 0 0,-12 0 16,-1 0-16,0 0 0,0 0 0,0 0 15,1 0-15,-1 0 0,0 0 16,0 0-16,1 0 0,-1 0 15,0 0-15,0 0 0,14 0 16,-14 0-16,0 0 16,14 0-1,-14 0-15,0 0 16,14 0-16,-14 0 16,0-14-16,0 14 15,1 0-15,-1 0 16,0 0-16,0 0 0,0 0 15,1 0 1,-1 0-16,0-13 16,0 13-16,1 0 15,-1 0-15,0 0 16,0 0-16,1 0 0,-1 0 16,0 0-1,13 0-15,-12 0 16,-1 0-1,0 0 1,0 0 0,1 0-1,-1 0 1,0 0 78,0 0-79,-13-13 17,14 13-1,-1 0 16,0 0 46,-13 13-77,13-13 0,-13 13-16,0 1 15,0-1 1,-13 0-16,13 0 16,0 1-16,0-1 0,-13-13 15,13 13-15,0 0 0,-13-13 0,13 13 16,0 1-16,0-1 0,-14 0 15,14 0-15,0 1 16,0-1-16,0 0 16,0 0-1,0 1 1,0-1 0,0 0 30,-13-13 1</inkml:trace>
  <inkml:trace contextRef="#ctx0" brushRef="#br0" timeOffset="185082.98">13785 7236 0,'39'-13'16,"28"0"-1,-54 13-15,0 0 0,14 0 16,-14 0-16,0 0 0,0 0 15,0 0-15,1-13 0,-1 13 0,0 0 16,0 0-16,1 0 0,-1 0 16,0 0-16,0 13 15</inkml:trace>
  <inkml:trace contextRef="#ctx0" brushRef="#br0" timeOffset="185400.98">13719 7316 0,'0'0'0,"-14"0"0,54 0 31,-27 0-15,1 0-16,-1 0 0,0-14 15,13 14-15,-12 0 0,-1 0 0,13 0 16,-12 0-16,-1 0 0,0-13 0,14 13 15,-14 0-15,0 0 0,0 0 16,0 0-16,1 0 16,-1 0-16,0 0 15,-13-13-15,13 13 16,1 0 0,-1 0 15</inkml:trace>
  <inkml:trace contextRef="#ctx0" brushRef="#br0" timeOffset="187297.28">14446 6760 0,'0'27'47,"0"-14"-31,0 0-16,0 0 15,0 0-15,0 1 0,0-1 16,-13 0-1,13 0-15,13 1 16</inkml:trace>
  <inkml:trace contextRef="#ctx0" brushRef="#br0" timeOffset="187589.42">14380 6853 0,'0'-14'16,"0"28"-16,27-28 31,-14 14-16,0 0-15,0-13 16,0 13-16,14 0 16,-14 0-16,0 0 15,1 0-15,-14 13 16</inkml:trace>
  <inkml:trace contextRef="#ctx0" brushRef="#br0" timeOffset="188026.74">14354 7025 0,'39'0'16,"-25"0"-1,-1 0-15,0 0 0,0 0 16,0 0-16,1 0 0,-1 0 0,0 0 16,0 0-16,14 0 15,-14 0 1,0 0-16,1 0 16,-1 0-1,-13 13 16</inkml:trace>
  <inkml:trace contextRef="#ctx0" brushRef="#br0" timeOffset="191576.53">14843 6800 0,'13'-27'16,"1"27"-1,-1 0-15,0 0 0,13 0 16,-12 0 0,-1 0-16,0 0 0,-13 14 15,13-14-15,-13 13 0,0 0 16,0 0-1,0 0-15,-13 1 0,13-1 16,-13-13-16,13 13 0,-13 0 0,-1-13 16,14 14-16,-13-14 15,13 13-15,-13-13 0,0 13 16,26 0 31,0-13-32,0 0-15,1 0 16,-1 0-16,0 0 0,0 0 16,1 0-16,-1 0 0,0-13 15,0 13-15,1 0 0</inkml:trace>
  <inkml:trace contextRef="#ctx0" brushRef="#br0" timeOffset="192271.61">15174 6760 0,'-13'0'0,"-14"13"16,14 1-1,13-1-15,-13 0 16,13 0-16,0 0 15,13-13-15,-13 14 16,13-14-16,-13 13 0,13-13 16,1 0-16,-1 0 0,0 13 15,0-13 1,1-13-16,-1 13 16,0-13-1,-26-14 1,0 14-1,-1 13-15,1-13 16,0 13 0,13-13-1,13 13 1,0-14 0,1 14-1,-1 0-15,0 0 16,0 0-16,-13-13 15,13 26 1,-13 1 0,0-1-16,14 0 15,-14 0-15,0 0 16,13 1-16,0-14 16,-13 13-16,13-13 0,1 0 15,-1 0-15,0 13 0,0-13 0,1 0 16,-14-13-16,13 13 0,0 0 15,0 0-15,0-13 0,1-1 16,-14 1-16,0 0 16,0 0-16,-14 0 15,1-1-15,0 1 16,0 13-16,0 0 0,-1 0 0,1 0 16,0 0-16,0 0 15,-1 0-15,1 0 0,0 13 0,0-13 16,-1 14-16,1-1 15</inkml:trace>
  <inkml:trace contextRef="#ctx0" brushRef="#br0" timeOffset="193476.87">15108 6112 0,'0'26'47,"0"-12"-47,0-1 0,0 0 16,0 0-16,13 0 15,-13 1-15,0-1 0,13 0 0,0 0 16,-13 1-16,14-14 15,-1 0-15,-13 13 0,13-13 16,0 0-16,1 0 0,-1 0 16,0 0-16,0-13 0,0-1 15,1 1 1,-14 0-16,0 0 0,0-1 16,0 1-16,0 0 0,-14 0 15,14 0-15,-13 13 0,0-14 16,13 1-16,-13 13 0,0-13 0,-1 13 15,1-13-15,0 13 16,0 0-16,-1 0 16,1 0-16,0 0 15,0 0-15</inkml:trace>
  <inkml:trace contextRef="#ctx0" brushRef="#br0" timeOffset="193884.66">15465 6204 0,'26'0'15,"-12"0"-15,-1 0 0,0-13 16,14 13-16,-14 0 0,0 0 0,13 0 16,-12 0-16,12 0 0,-13 0 0,1 0 15,12 0-15,-13 0 0,0-13 16,1 13-16,-1 0 0</inkml:trace>
  <inkml:trace contextRef="#ctx0" brushRef="#br0" timeOffset="194168.74">15663 6085 0,'27'0'0,"-14"14"16,0-14-16,0 0 0,67 39 31,-67-25-31,0-1 16,-13 0-16,14-13 16,-14 13-16,0 0 0,-14 1 15,14-1-15,-13 0 0,13 0 16,-13-13-1,13 14-15,0-1 16</inkml:trace>
  <inkml:trace contextRef="#ctx0" brushRef="#br0" timeOffset="194504.34">16179 6125 0,'0'-13'0,"-26"39"32,13-12-32,-1-1 0,1-13 0,0 13 15,0 0-15,-1 0 0,1 1 16,13-1-16,-13-13 0,13 13 0,-13-13 15,13 13-15,0 1 16,0-1-16,13-13 16,-13 13-16,13-13 0,0 0 15,1 0-15,-1 0 16,0 0-16,0 0 0,1 0 16,-1 0-16,0 0 0,0 0 0,0 0 15,1 0-15,-1 0 0,0 0 0,0 0 16,-13-13-16</inkml:trace>
  <inkml:trace contextRef="#ctx0" brushRef="#br0" timeOffset="194712">16232 6178 0,'-26'13'16,"26"0"-16,0 1 15,-14-1 1,14 0-16,-13-13 0,13 13 0,0 1 16,-13-1-16,13 0 0,0 0 15,0 1 1,0-1-16</inkml:trace>
  <inkml:trace contextRef="#ctx0" brushRef="#br0" timeOffset="195296.42">16325 6204 0,'0'-13'0,"-13"13"0,-1 13 31,1-13-31,13 14 16,0-1-16,-13 0 0,13 14 15,13-27 1,-13 13-16,13-13 0,-13 13 15,14-13-15,-1 0 0,0 0 0,13 0 16,-12 0 0,-14-13-16,13 13 15,-13-13-15,13-1 16,-13 1-16,-13 0 0,13-14 16,-13 14-1,13 0 1,-14 13-1,41 0 17,-14 13-17,0 0-15,1-13 16,-1 14 0,0-14-16,0 13 15,1-13-15,-1 13 16,0-13-16,0 13 15,0-13-15,1 0 0,-1 0 16,0 0-16,0 0 16,1 0-16,-1 0 15,-13-13-15,13 13 0,-13-13 16,-13 0 0,13-1-16,-13 1 15,-1 13-15,1-13 0,0 13 16,-14 0-16,1 0 0,13 0 15,0 0-15,-14 0 0,14 13 16,-40-13-16,26 13 0</inkml:trace>
  <inkml:trace contextRef="#ctx0" brushRef="#br0" timeOffset="196704.75">14261 7792 0,'0'26'47,"0"-12"-31,0-1-1,0 0-15,0 0 16,0 1-16,0-1 16,0 0-16,0 0 15</inkml:trace>
  <inkml:trace contextRef="#ctx0" brushRef="#br0" timeOffset="196965.22">14221 7898 0,'0'-13'15,"14"13"1,-1-14-16,0 14 15,0 0-15,1 0 16,-1 0-16,0 0 16,0-13-16,0 26 15,1-13-15</inkml:trace>
  <inkml:trace contextRef="#ctx0" brushRef="#br0" timeOffset="197251.81">14168 8057 0,'27'0'16,"-14"0"0,0 0-16,1 0 15,-1 0-15,0 0 0,0 0 16,1-14-16,-1 14 16,13 0-16,-13 0 15,1 0-15,-1 0 0,0 0 16</inkml:trace>
  <inkml:trace contextRef="#ctx0" brushRef="#br0" timeOffset="199647.78">14803 7752 0,'0'-13'16,"14"13"0,-1-13-16,0 13 15,0 0 1,-13-13-16,14 13 16,-54 13 15,27-13-31,-1 0 15,14 13-15,-26-13 0,13 13 16,0-13-16,-1 14 0,1-14 16,0 0-16,13 13 0,-13-13 15,26 13 17,0-13-32,-13 13 0,13-13 15,1 0-15,-1 0 0,0 0 16,0 13-16,0-13 0,1 0 0,-1 0 15,0 14-15,0-14 16,-13 13-16,0 0 16,0 0-1,-13-13-15,0 14 0,0-14 16,-1 0-16,1 13 0,0-13 16,0 13-16,0-13 15,-1 0-15,1 0 0,0 13 16</inkml:trace>
  <inkml:trace contextRef="#ctx0" brushRef="#br0" timeOffset="199982.61">14949 7792 0,'0'26'31,"0"-12"-31,13-14 0,0 13 16,1 0-1,-1-13-15,0 0 0,0 13 16,14-13-16,-14 0 0,0 0 0,14 0 16,-14-13-16,0 13 0,0 0 0,1 0 15,-14-13-15,13 13 0,0-13 16,-26-14-1,0 14-15,-1 0 0,1 0 16,0 13-16,0-14 0,-14 14 16,14-13-16,0 13 0,-14 0 0,14-13 15,-13 13-15,12 0 0,1 0 0,0 0 16,0 13-16,-1-13 16,1 13-16,0-13 15</inkml:trace>
  <inkml:trace contextRef="#ctx0" brushRef="#br0" timeOffset="202038.72">14526 7739 0,'26'0'31,"1"0"-16,-27-13-15,26 13 0,-13 0 16,0 0-16,1 0 0,-1 0 16,0-13-16,14 13 0,-14 0 0,0 0 15,0-14-15,1 14 0,-1 0 16,0 0-16,0 0 16,0 0-16,-13-13 15,14 26 1,-14 1-16,-14-1 15,14 0-15,0 14 0,-13-14 16,13 0-16,0 13 0,-13-12 0,13 12 16,0-13-16,0 1 0,-13 12 0,13-13 15,0 1-15,0 12 16,0-13-16,0 0 0,-13 1 0,13-1 16,0 0-16,0 0 0,0 1 15,13-14 1,-13 13-16,13-13 15,0-13 1</inkml:trace>
  <inkml:trace contextRef="#ctx0" brushRef="#br0" timeOffset="202281.56">14658 7885 0,'13'-14'32,"14"14"-17,-14 0-15,0 0 0,0-13 0,14 13 16,-14 0-16,13 0 0,1-13 0,-14 13 16,14 0-16,-1 0 15,-13-13-15,14 13 0,-14 0 0,13 0 16,-12 0-16,-1-14 0,13 14 0,-12 0 0,-1 0 15,0 0-15,0 0 16</inkml:trace>
  <inkml:trace contextRef="#ctx0" brushRef="#br0" timeOffset="203291.72">15280 7766 0,'-14'-14'0,"28"14"16,-1-13-16,0 13 15,0 0-15,1-13 16,-1 13-16,0 0 15,-53 0 32,27 0-47,-13 0 0,12 13 16,-12-13-16,0 13 0,-1-13 0,1 0 16,-1 14-16,1-14 0,-1 13 15,1-13-15,-1 13 0,14-13 0,0 0 16,0 13-16,-1-13 0,1 0 15,0 0-15,13 13 0,-13-13 16,26 14-16,-13-1 16,13-13-16,0 0 0,-13 13 15,14-13-15,-1 0 0,13 13 0,-12-13 16,-1 14-16,0-14 0,13 13 16,-12-13-16,-1 13 0,0-13 0,0 13 15,1 1-15,-1-14 16,-13 13-16,13-13 0,-13 13 15,0 0-15,0 0 16,-13-13-16,13 14 0,-13-14 0,-1 13 16,1-13-16,0 13 15,-14-13-15,14 0 0,-13 13 0,13-13 16,-14 0-16,14 14 0,0-14 0,-14 0 16,14 0-16,0 0 0,-1 0 15,1 0-15,0 13 16,0-13-16,39-13 47,-13 13-47,1 0 0,-1 0 0,13-14 0,-12 14 15,12 0-15,-13-13 0,14 13 0,-14 0 16,13 0-16,-12-13 16,-1 13-16,0 0 0,0-13 0,1 13 15,-1 0-15,0 0 0,0-14 16,1 14-16,-1-13 15,-13 0 1,0 0 0,-13 0-16,-1-1 15,1 14-15,0-13 0,-14 0 16,1 0-16,13-1 0,-14 1 16,14 13-16,0-13 0,-14 0 15,14 13-15,0-14 0,0 1 16,-1 13-16,1 0 15,13-13-15,13 0 16,1 0 0,-1 13-16,0 0 0,0 0 0,14-14 15,-14 14-15,0 0 0,14 0 0,-14-13 16,0 13-16,0 0 0,1 0 16,-1-13-16,0 13 15,0 0-15,1 0 0,-1 0 16,-13-13-1</inkml:trace>
  <inkml:trace contextRef="#ctx0" brushRef="#br0" timeOffset="205611.9">17780 8401 0</inkml:trace>
  <inkml:trace contextRef="#ctx0" brushRef="#br0" timeOffset="206494.55">22013 8480 0</inkml:trace>
  <inkml:trace contextRef="#ctx0" brushRef="#br0" timeOffset="207466.67">14883 8189 0,'66'-13'0,"-53"13"0,67-14 15,-67 14 1,13 0-16,1 0 0,-1 0 0,-13-13 16,14 13-16,-14 0 0,0 0 0,1 0 15,-1 0-15,-40 13 31,14 1-31,0-14 16,-14 0-16,1 13 0,13-13 0,-14 0 16,1 13-16,13-13 15,-14 0-15,14 13 0,0-13 0,-1 0 16,1 0-16,0 0 0,13 14 0,13-1 31,0-13-15,1 0-16,-1 0 0,0 0 0,0 0 15,1 0-15,-1 0 0,0 0 16,0 0-16,0 0 0,1-13 0,-1 13 16,0 0-16,0 0 0,1 0 15,-1 0-15,-13-14 16,13 14-16,0-13 0</inkml:trace>
  <inkml:trace contextRef="#ctx0" brushRef="#br0" timeOffset="208055.57">15161 7117 0,'13'-13'16,"0"13"0,-13-13-16,13 13 15,1 0-15,-1 0 0,0-13 0,13 13 16,-12 0-16,-1 0 0,0-14 15,14 14-15,-14 0 0,0 0 0,0 0 16,1 0-16</inkml:trace>
  <inkml:trace contextRef="#ctx0" brushRef="#br0" timeOffset="208451.4">15108 7131 0,'66'-14'31,"-53"14"-31,14 0 16,-14 0-16,0 0 0,0 0 0,0-13 16,1 13-16,-1 0 15,0 0-15,0 0 0,1 0 16,-1 0-16,0-13 15,0 13 17,1 0-17,-1 0 1,0 0 78,0 0-79</inkml:trace>
  <inkml:trace contextRef="#ctx0" brushRef="#br0" timeOffset="210527.6">14922 9036 0,'0'-14'31,"-13"41"0,13-14-31,0 0 0,0 0 16,0 1-16,-13-1 16,13 0-16,0 0 0,0 1 15,0 12 1,0-13-16,0 1 15</inkml:trace>
  <inkml:trace contextRef="#ctx0" brushRef="#br0" timeOffset="210763.47">14817 9194 0,'-14'0'0,"28"-13"47,12 13-47,-13 0 0,1 0 16,-1 0-16,0 0 15,0 0-15,0 0 16,1 0-16,-1 0 0</inkml:trace>
  <inkml:trace contextRef="#ctx0" brushRef="#br0" timeOffset="211075.73">14737 9379 0,'27'0'16,"-1"0"-1,1 0 1,-14 0-16,0 0 16,0-13-16,1 13 0,-1 0 15,0 0-15,0 0 16,0 0-16,1 0 15,-1 0 1,0-13 0,0 13-1,1 0-15,-1-13 0</inkml:trace>
  <inkml:trace contextRef="#ctx0" brushRef="#br0" timeOffset="212463.09">15544 9141 0,'27'0'16,"-27"-13"0,13 13-16,-39 13 47,12-13-47,1 0 0,0 14 15,0-14 1,-1 0-1,14 13-15,14 0 32,-1-13-17,0 13-15,0-13 16,1 0 0,-1 14-16,-26-1 46,-1-13-46,14 13 0,-13-13 0,0 0 16,13 13-16,-13-13 0,-1 0 16,1 0-16,13 13 15</inkml:trace>
  <inkml:trace contextRef="#ctx0" brushRef="#br0" timeOffset="212734.78">15637 9155 0,'13'13'0,"-13"13"16,13-26 0,1 14-16,-1-14 15,0 0 1,13 0-16,-12-14 15,-1 1 1,-13 0 0,-13 0-1,-1-1-15,1 14 16,0 0-16,-13 0 16,12 14-16</inkml:trace>
  <inkml:trace contextRef="#ctx0" brushRef="#br0" timeOffset="213584.8">14129 9432 0,'0'14'31,"13"-14"-15</inkml:trace>
</inkml:ink>
</file>

<file path=ppt/ink/ink14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02:54.296"/>
    </inkml:context>
    <inkml:brush xml:id="br0">
      <inkml:brushProperty name="width" value="0.05292" units="cm"/>
      <inkml:brushProperty name="height" value="0.05292" units="cm"/>
      <inkml:brushProperty name="color" value="#0070C0"/>
    </inkml:brush>
  </inkml:definitions>
  <inkml:trace contextRef="#ctx0" brushRef="#br0">19738 2725 0,'-53'0'15,"106"-13"17,-27 13-32,27 0 0,-13 0 0,39-13 15,1 13-15,-1-13 0,14 13 16,-14 0-16,14-14 0,-1 14 0,1-13 15,0 13-15,-1-13 0,1 13 0,-14 0 16,0 0-16,1-13 0,-27 13 0,13 0 16,-13 0-16,0 0 0,-27 13 15,14-13-15,-27 0 0,14 0 16,-14 0-16,0 0 0,0 0 0,-13 13 16,-39-13-1,12 13-15,-13-13 0,-13 14 16</inkml:trace>
  <inkml:trace contextRef="#ctx0" brushRef="#br0" timeOffset="271.96">20082 2818 0,'0'0'0,"66"0"16,-40 0-16,27 0 15,14 0-15,12 0 0,-13 0 0,13 0 16,1 0-16,-1 0 0,-13 0 15,14-13-15,-1 26 0,0-13 0,1 0 16,-14 0-16,0 0 0,-13 0 16,13 0-16,-13 0 0,0 13 0,-27-13 15,14 0-15,-13 0 0,-14 0 0,13 0 16,-12 0-16,-1 0 0,0 0 0,0 0 16,0 0-16,-13 13 15,-13-13 1,0 0-16,-13 14 0,-1-14 0,1 0 15,-27 0-15</inkml:trace>
  <inkml:trace contextRef="#ctx0" brushRef="#br0" timeOffset="1401.85">15690 2831 0,'-13'0'16,"65"0"15,-25 0-31,-1 0 0,14-13 15,0 13-15,13 0 0,0 0 0,0 0 16,-1 0-16,1-13 0,13 13 0,-13 0 16,14 0-16,-15 0 0,1 0 15,0 0-15,0 0 0,-13 0 16,-14 0-16,14 0 0,-13 0 0,-1 0 16,0 0-16,-12 0 0,12 0 0,-13 0 15,1 0-15,-1 0 16,-40 13-1,1-13-15</inkml:trace>
  <inkml:trace contextRef="#ctx0" brushRef="#br0" timeOffset="1731.83">15571 2950 0,'39'0'15,"-12"0"-15,-1 0 16,1 0-16,26 0 0,13 0 0,-13 0 16,26-13-16,-13 13 0,0 0 15,1 0-15,12 0 0,-13-13 0,-13 13 16,13 0-16,-13 0 0,0-14 0,-13 14 16,13 0-16,-27 0 0,14 0 15,-14 0-15,-13 0 0,14 0 16,-14 0-16,0 0 0,1 0 0,-1 0 15,0 0-15,0 0 0,1 0 16,-1 0-16,-40 0 47,14 14-31,0-14-16,0 0 0</inkml:trace>
  <inkml:trace contextRef="#ctx0" brushRef="#br0" timeOffset="12332.53">9895 8758 0,'-105'13'15,"78"0"-15,14-13 0,-14 13 0,1 1 16,0-1-16,-1 13 0,1-12 16,-1-1-16,14 0 0,0-13 0,-1 13 15,1 0-15,0-13 0,13 14 16,26-14 15,1 0-31,-14-14 0,0 14 16,1 0-16,12 14 0,-13-14 0,1 13 15,-1 0-15,0 14 0,0-1 0,0 1 16,-13-1-16,0 0 0,0 14 16,-13 13-16,13-13 0,-13-1 0,0 1 15,13 0-15,-13-14 0,-1 14 16,14-14-16,0 1 0,-13-14 0,13 0 15,0 1-15,13-1 0,-13 0 16,14 0-16,-1 0 0,0-13 16,0 0-16,0 0 0,14 0 0,-1-13 15,1 13-15,-1-13 0,14 0 16,-14 0-16,14-1 0</inkml:trace>
  <inkml:trace contextRef="#ctx0" brushRef="#br0" timeOffset="12928.7">10464 9049 0,'-13'13'31,"0"0"-31,0 0 0,-1 1 15,1-1-15,-13 0 16,12 0-16,1 1 0,-13-1 0,-1 13 16,14-26-16,0 14 0,0-1 15,-1 0-15,14 0 16,0 0 0,14-13-16,-1 0 0,0 14 15,0-14-15,1 0 0,12 0 16,-13 0-16,14 0 0,-1 0 0,1 0 15,-1 0-15,-13-14 0,14 14 0,-1 0 16,-13 0-16,1-13 0,-1 13 0,0 0 16,0-13-16</inkml:trace>
  <inkml:trace contextRef="#ctx0" brushRef="#br0" timeOffset="13117.97">10411 9036 0,'0'13'0,"-13"0"0,26 0 16,-13 0-16,0 1 0,0 12 0,0 133 47,14-133-47,-14 1 0,0-1 0,0 1 15,0-14-15,0 0 0</inkml:trace>
  <inkml:trace contextRef="#ctx0" brushRef="#br0" timeOffset="13325.59">10769 9274 0,'13'0'0,"-13"13"0,0 0 16,0 0-16,-40 93 31,27-79-31,0-1 0,-1 1 0,-12 12 16,26-12-16,0-14 0,0 0 15,13 0 1</inkml:trace>
  <inkml:trace contextRef="#ctx0" brushRef="#br0" timeOffset="13724.68">11271 9049 0,'-66'172'16,"66"-133"-16,53-39 16,-40-211-16,-39 422 15,13-211-15,-1-13 16,1 26-16,0-13 0,0 0 16</inkml:trace>
  <inkml:trace contextRef="#ctx0" brushRef="#br0" timeOffset="13918.1">11483 9300 0,'13'0'0,"-26"0"0,26 13 0,0-13 0,-13 14 16,0-1-16,0 0 0,0 13 15,0-12-15,0 12 0,-13-13 16,0 14-16,0-1 0,-1 1 15,1-14-15,13 13 0,-13-12 0,-13 12 16,26-13-16,-14 1 0</inkml:trace>
  <inkml:trace contextRef="#ctx0" brushRef="#br0" timeOffset="15096.66">11337 8692 0,'-39'0'16,"25"0"-1,1 13-15,0 0 0,0-13 0,0 13 16,-1 0-16,1 14 0,0-14 16,0 14-16,-1-14 0,1 13 0,-13 14 15,-14 53-15,27-67 16,0 1-16,13-1 16,-14-13-16,14 14 0,-13 12 0,13-12 15,0-14-15,0 14 0,0-14 0,0 0 16,0 0-16,0 0 0,0 1 15,13-1-15,-13 0 0,0 0 16,14 1-16,-14-1 0,13-13 16,-13 13-16,13-13 0,0 0 0,0 0 15,1 0 1,-1 0-16,0 0 0,-13-13 16,13 13-16,1 0 0,-1-13 15,0 13-15,0 0 0,-13-14 16,14 14-16,-14-13 0,13 0 0,0 13 15,-13-13-15,13 13 0,-13-14 0,13 1 16,-13 0-16,14 0 16,-14 0-16,0-1 0,13 14 15,-13-13-15,0 0 0,0 0 16,0-1-16,0 1 16,0 0-1,-13 0-15,13-1 0,-14 1 16,1 13-16,13-13 0,-13 13 15,0-13-15,0 13 0,13-13 16,-14 13-16,1-14 0,-13 14 16,12 0-16,1 0 0,0-13 0,-14 13 0,14 0 15,0 0-15,-13 0 0,12 13 16,1-13-16,0 0 0,0 14 0,-1-14 16,1 0-16</inkml:trace>
  <inkml:trace contextRef="#ctx0" brushRef="#br0" timeOffset="16057.75">12396 8996 0,'0'-13'0,"13"-1"16,-13 1-1,0 0-15,0 0 0,-13-1 16,13 1-16,-14 0 0,1 13 15,-13-13-15,13 13 16,-1-13-16,-25 13 16,12 13-16,1-13 0,-1 13 0,1 0 15,-1 0-15,1 1 0,-1-1 16,1 13-16,0-12 0,12 12 0,14-13 16,-13 1-16,13-1 0,0 0 15,0 0-15,13-13 0,1 13 16,-1-13-16,0 0 0,0 0 0,0-13 15,14 13-15,-1-13 0,14 0 0,-13 0 16,-1-14-16,-13 14 0,14 13 16,-14-13-16,0-1 0,0 14 15,1-13-15,-1 13 0,0 0 16,0 13-16,-13 1 0,0-1 16,0 0-16,0 14 15,0-14-15,0 13 0,-13 1 0,13-1 16,0 1-16,-13-1 0,13-13 0,0 14 15,-13-14-15,13 13 0,0-12 16,13-1-16,-13 0 0,0 0 0,0 1 16,13-14-16,0 0 0,-13 13 0</inkml:trace>
  <inkml:trace contextRef="#ctx0" brushRef="#br0" timeOffset="16330.83">12912 9208 0,'39'52'31,"-39"-38"-31,0-1 0,0 0 15,0 14-15,-13-14 0,13 13 0,-13 1 16,0-1-16,-1-13 0,1 14 16,0-14-16,0 0 0,0 1 0,-1-1 15,14 0-15,-13 0 16</inkml:trace>
  <inkml:trace contextRef="#ctx0" brushRef="#br0" timeOffset="16813.66">13481 8983 0,'26'0'0,"0"26"31,-12-26-31,-14 13 0,0 1 0,0-1 16,0 0-16,-14 0 15,14 0-15,-13 1 0,0-1 16,13 0-16,-13-13 15,26 13 1,0 1 0,0-14-16,1 13 0,-1 0 15,0-13-15,-13 13 16,0 1-16,0-1 16,-13 0-16,0 0 0,-1 0 0,1 1 15,-13-1-15,-1 0 0,1 0 0,13 1 16,-14-14-16,14 13 0,-14 0 15,14-13-15,0 0 0,0 0 16,0 0-16,-1-13 16,28 0-16</inkml:trace>
  <inkml:trace contextRef="#ctx0" brushRef="#br0" timeOffset="17210.62">14036 8956 0,'27'-13'15,"-1"26"1,-13-13-16,1 0 0,-1 0 16,0 0-16,27 0 15,-27 13-15,13-13 16,-12 0-16,-1 14 0,0-1 16,0 0-16,-13 0 15,0 1-15,0-1 0,0 0 0,0 0 16,-13 14-16,13-14 0,0 0 0,-13 27 15,13-27-15,0 0 16,0 1-16,0-1 0,-13 0 0,13 0 16,0 0-16,0 1 0,0-1 15,0 0 1</inkml:trace>
  <inkml:trace contextRef="#ctx0" brushRef="#br0" timeOffset="17407.97">13917 9221 0,'27'0'47,"-14"-13"-47,0 13 0,13 0 0,-12 0 16,-1 0-16,13 0 0,-12 0 15,12 0-15,-13 0 0,1 0 0,-1 0 16,0 0-16,0 0 0,0 0 0,-13 13 15,14-13-15</inkml:trace>
  <inkml:trace contextRef="#ctx0" brushRef="#br0" timeOffset="17639.02">13824 9313 0,'0'14'0,"0"-1"0,-13 13 16,13 1-16,-13-14 0,0 13 15,-133 173 17,120-173-32,13-12 0,-1-1 0,1 0 15,0 0-15,0-13 0,13 13 0</inkml:trace>
  <inkml:trace contextRef="#ctx0" brushRef="#br0" timeOffset="18149.02">14698 8639 0,'13'13'16,"0"53"-1,-13-40-15,-13 1 16,13-14-16,0 14 0,-13-1 16,13 1-16,-14-14 0,14 13 0,0-13 15,0 1-15,0-1 0,0 0 16,0 0-16,14-13 0,-1 0 16,0 0-16,0 0 15,1 0-15,-1 0 16,0 14-16,0-1 15,-13 0 1,13 0-16,-13 14 0,0-14 0,0 13 16,0 1-16,0-1 0,-13 14 0,13 0 15,-13-1-15,0 1 0,0-13 16,-1 12-16,-12-12 0,13 12 16,-14-12-16,1-1 0,-1 1 0,1-1 15,13-13-15,-14 14 0,1-14 0,12-13 16,-12 13-16,13 1 0,-14-14 0,14 0 15,0 0-15,-14 0 0</inkml:trace>
  <inkml:trace contextRef="#ctx0" brushRef="#br0" timeOffset="19441.82">8229 9551 0,'13'-13'0,"0"0"15,0 13-15,14 0 16,-14-13-16,0 13 0,14 0 15,-1 0-15,-13-13 0,14 13 0,-1 0 16,1 0-16,-14 0 0,0 0 0,14 13 16,-14 0-16</inkml:trace>
  <inkml:trace contextRef="#ctx0" brushRef="#br0" timeOffset="19616.96">8123 9750 0,'-14'0'0,"41"0"32,-1 0-32,-12-13 0,12 13 15,1 0-15,-1-14 0,0 14 0,1 0 16,-1 0-16,1-13 0,-14 13 0,14 0 16,-1 0-16,-13 13 0,0-13 15,1 0-15</inkml:trace>
  <inkml:trace contextRef="#ctx0" brushRef="#br0" timeOffset="19841.64">8083 10226 0,'13'-13'16,"0"13"-16,1-13 16,-1 13-16,0 0 0,0 0 15,1-14-15,12 14 0,-13 0 16,1 0-16,12 0 0,-13 0 0,0 0 16</inkml:trace>
  <inkml:trace contextRef="#ctx0" brushRef="#br0" timeOffset="20382.79">8096 10438 0,'66'-13'16,"-52"13"-16,-1 0 15,0-14-15,0 14 0,14 0 16,-1-13-16,-13 13 0</inkml:trace>
  <inkml:trace contextRef="#ctx0" brushRef="#br0" timeOffset="21031.84">9750 10848 0,'-13'26'32,"-1"-12"-32,14-1 15,-13 0-15,0 14 0,0-14 0,13 0 16,-13 13-16,-1-12 0,1 12 0,13-13 15,-13 1-15,13-1 0,-13 0 16,-1 0-16,14 0 0,0 1 16,0-1-16,14-13 15,-1 13 1,0-13-16,0 0 0,1 0 16,-1 0-16,13 0 0,-13 0 0,1 0 15,-1 0-15,13 0 16,-12 0-16,12 0 0,-13-13 0,0 13 15,14 0-15,-14 0 0,0-13 0,1 13 16</inkml:trace>
  <inkml:trace contextRef="#ctx0" brushRef="#br0" timeOffset="21341.36">10134 10861 0,'0'-13'15,"0"39"17,0-12-32,0-1 0,13 0 15,-13 0-15,13 1 0,-13-1 0,13 0 16,-13 0-16,13 0 0,1-13 0,-14 14 16,13-14-16,-13 13 0,13-13 15,-13 13-15,13-13 16,14-13-1,-27 0 1,0-1-16,0 1 0,0 0 16,13 0-16,-13 0 0,0-1 0,13 14 15,-13-13-15,14 0 0,-1 13 16,0-13-16,0 13 0,0-14 16</inkml:trace>
  <inkml:trace contextRef="#ctx0" brushRef="#br0" timeOffset="21604.85">10941 10927 0,'52'0'0,"-38"0"0,65 0 32,-66 0-17</inkml:trace>
  <inkml:trace contextRef="#ctx0" brushRef="#br0" timeOffset="21784.42">10808 11112 0,'53'0'15,"-40"0"1,14-13-16,-14 13 0,14 0 0,-1-13 15,0 13-15,14 0 0,-13 0 0,-1-13 16</inkml:trace>
  <inkml:trace contextRef="#ctx0" brushRef="#br0" timeOffset="22222.07">12263 10769 0,'40'13'31,"-27"-13"-31,-13 13 16,14-13-16,-14 13 0,0 0 16,-14-13-16,14 14 0,0-1 15,-13 0-15,13 0 16,13 1 0,1-14-16,-14 13 0,13-13 0,0 13 15,0 0-15,0-13 0,-13 14 16,14-1-16,-14 0 15,13 0-15,-26-13 0,13 13 16,0 1-16,-14-1 0,1-13 0,0 13 16,0 0-16,-14-13 0,14 14 15,0-14-15,0 13 0,-1-13 0,1 0 16</inkml:trace>
  <inkml:trace contextRef="#ctx0" brushRef="#br0" timeOffset="22636.72">15214 10755 0,'0'27'31,"0"-14"-31,0 0 0,0 14 0,0-14 16,-14 0-16,14 14 0,0-14 0,-13 13 15,13-12-15,0 12 0,0-13 16,0 14-16,-13-14 0,13 0 15</inkml:trace>
  <inkml:trace contextRef="#ctx0" brushRef="#br0" timeOffset="22873.07">15544 10636 0,'0'-13'31,"-13"39"-31,13-12 0,0-1 16,-13 0-16,13 0 0,0 14 0,-13-14 15,13 0-15,0 14 0,0-14 16,-14 13-16,14-12 0,0 12 0,0-13 16,0 1-16,0-1 0,-13 13 0,13-12 15,0-1-15,0 0 0,0 0 16</inkml:trace>
  <inkml:trace contextRef="#ctx0" brushRef="#br0" timeOffset="23076.39">15094 10967 0,'-13'0'16,"66"-13"15,-40 13-31,14-13 0,-1 13 0,-12 0 0,12 0 16,0 0-16,-12-14 0,12 14 15,1 0-15,-1 0 0,1 0 0,-1-13 16</inkml:trace>
  <inkml:trace contextRef="#ctx0" brushRef="#br0" timeOffset="23425.96">16007 10808 0,'0'27'31,"0"-14"-31,0 0 15,14-13-15,-14 13 0,0 1 0,0-1 16,13-13-16,-13 13 0,13-13 0,-13 13 16,13 1-1,0-14-15,1 0 16,-1-14-16,0 1 16,0 0-16,-13 0 15,14-1-15,-1 1 0,-13 0 16,13-14-16,-13 14 0,13 0 0,0 0 15,-13 0-15,14 13 16,-1 0-16,-13-14 0,13 14 0</inkml:trace>
  <inkml:trace contextRef="#ctx0" brushRef="#br0" timeOffset="23646.93">16589 10795 0,'14'-26'32,"-1"26"-32,13 0 15,-12 0-15,-1 13 16,0-13-16,-13 13 15</inkml:trace>
  <inkml:trace contextRef="#ctx0" brushRef="#br0" timeOffset="23814.1">16457 10967 0,'0'0'15,"27"-13"16,-14 13-31,0 0 0,13-13 16,-12 13-16,12 0 0,-13 0 0,14-14 16,-14 14-16,14 0 0,-1 0 15,-13-13-15</inkml:trace>
  <inkml:trace contextRef="#ctx0" brushRef="#br0" timeOffset="24205.71">17357 10676 0,'0'0'0,"-14"-13"15,1 13-15,0 0 16,0 0-16,-14 0 0,14 0 0,0 13 15,-14-13-15,14 13 0,-13-13 16,12 13-16,1 1 0,0-14 0,0 13 16,0 0-16,13 0 0,-14 1 15,28-1-15,-1-13 16,0 0-16,0 0 16,0 0-16,1 0 0,12 0 0,-13 0 15,1 0-15,-1 0 0,0 0 0,0 0 0,1 0 16,-1 13-16,0-13 0,-13 13 15,13 0-15,-13 1 0,0-1 16,13 13-16,-13-12 0,0-1 0,-13 13 16,13-12-16,0 12 0,0-13 15,0 0-15,0 14 0,0-14 0,0 0 16,0 1-16</inkml:trace>
  <inkml:trace contextRef="#ctx0" brushRef="#br0" timeOffset="25681.33">11628 12343 0,'0'0'0,"40"-13"31,-27 13-31,1 0 0,-1 0 15,13 0-15,-12-14 0,-1 14 0,13 0 16,-13 0-16,1-13 0,12 13 16,-13 13-16,1-13 0</inkml:trace>
  <inkml:trace contextRef="#ctx0" brushRef="#br0" timeOffset="25848.89">11655 12462 0,'-13'13'0,"-1"-13"31,14 13-31,14-13 0,-1 0 16,13 0-16,-12 0 0,12 0 15,-13 0-15,14 0 0,-1 14 16,14-28-16,-14 14 0,1 0 0,-1 0 16,1 0-16</inkml:trace>
  <inkml:trace contextRef="#ctx0" brushRef="#br0" timeOffset="26285.04">8877 12330 0,'-27'66'16,"14"-40"0,13-13-16,0 14 0,-13 13 0,13-1 15,-13-12-15,-1 79 16,1-80-16,13 0 15,0-12-15,0 12 0,0-13 0,0 1 16</inkml:trace>
  <inkml:trace contextRef="#ctx0" brushRef="#br0" timeOffset="26677.91">8903 12303 0,'0'0'0,"27"-40"0,-14 40 15,0-13-15,0 0 16,1 13-16,-1 0 0,0 0 0,0 0 0,-13 13 16,14-13-16,-14 13 0,13 14 0,-26-14 15,13 14-15,-14-1 16,1 14-16,0-14 0,-14 14 0,1-14 15,13 1-15,-14-1 0,14 1 0,0-14 16,0 0-16,-1 0 0,1 1 16,0-1-16,0-13 0,13 13 0,-14-13 15,14 13-15,-13 1 16,26-1 0,1-13-16,-1 0 0,0 0 15,0 0-15,1 0 0,-1 0 0,13 0 16,-13 0-16,1 0 0,12 0 15,-13 0-15,14 0 0,-1 0 16,-12 0-16,-1 0 0,13 0 0,-13 0 16,1 0-16,12 0 0</inkml:trace>
  <inkml:trace contextRef="#ctx0" brushRef="#br0" timeOffset="27722.14">9512 12475 0,'-53'0'16,"40"0"-1,-1 13-15,1-13 0,0 14 16,0-1-16,-1 0 0,1 0 15,0 0-15,13 1 0,-13-1 0,13 0 16,-13 0-16,26 14 16,-13-14-1,13-13-15,0 13 16,0-26-16,1 13 16,-1 0-16,-13-13 15,13 13-15,-13-13 0,13-1 16,1 1-16,-14 0 0,13 13 15,-13-13-15,0-1 0,13 14 16,-13-13-16,0 0 16,13 0-16,1 26 47,-14 0-16,13 0-31,-13 1 15,13-14 1,-13 13 0,13-13-1,0-13 1,1 13 0,-1 0-16,0 0 15,0 0 16,1 13-31,-1-13 32,-13 13-17,13-13 1,0 0 15,1-13-15,-1 13-16,0 0 15,0 0-15,-13-13 16,13 13-16,1 0 16,-1-14-16,0 14 15,-13-13 1,13 13-16,-13-13 16,14 13-1,-1 13 1,-13 0-1,0 1-15,0-1 16,13 0-16,-13 0 0,0 1 0,0 12 16,0-13-16,-13 14 0,13-14 15,0 13-15,-13 1 0,13-14 0,-14 14 16,14-14-16,0 0 0,-13 0 0,13 1 16,-13-1-16,0-13 15,26-27 16,0 14-15,0 13-16,-13-13 0,14 0 16,-1-1-16,0 1 0,0 13 0,0-13 15,1 0-15,-1-1 0,13 1 0,-12-13 16,12 13-16,1-1 0,-1 1 0,0 0 16</inkml:trace>
  <inkml:trace contextRef="#ctx0" brushRef="#br0" timeOffset="28565.81">12793 12356 0,'13'0'15,"-13"13"1,13-26 0,-13 0-1,0 0-15,0-1 0,0 1 16,-13 0-16,13 0 15,0-1-15,-13 1 0,-1 0 16,1 0-16,0 0 0,0 13 16,-1 0-16,1 13 15,0-13-15,0 0 0,0 13 16,-1 0-16,1 0 0,0 1 0,0-1 16,13 0-16,0 0 0,-14 1 0,14-1 15,0 0-15,14-13 16,-14 13-16,13-13 0,0 0 0,0 0 15,14-13-15,-14 13 0,0-13 16,0 13-16,1-13 0,12 13 16,-13-14-16,1 14 0,-14-13 0,13 13 15,0 0-15,0 0 16,1 13 0,-14 1-16,0-1 0,0 0 15,13 13-15,-13-12 0,0-1 0,0 0 16,0 14-16,0-14 0,0 13 15,0-12-15,0-1 0,13 0 0,-13 0 16,0 0-16,0 1 0,13-14 0,-13 13 16,13 0-16,1-13 15,-1 0-15</inkml:trace>
  <inkml:trace contextRef="#ctx0" brushRef="#br0" timeOffset="28764.65">13163 12449 0,'13'-14'31,"0"14"-31,1 0 16,-1-13-16,0 13 0,14 0 0,-14 0 15,13 0-15,1 0 0,-1 0 16,1-13-16,-1 13 0,1 0 0,-1 0 15</inkml:trace>
  <inkml:trace contextRef="#ctx0" brushRef="#br0" timeOffset="30108.15">13957 12303 0,'13'-13'31,"0"13"-15,-13-13-1,13 13-15,1 0 0,-1 0 16,-13 13-16,13-13 16,-13 13-1,0 0-15,0 1 16,0-1 0,0 0-1,13-13-15,1 13 0,-1-13 16,0 13-16,0-13 0,1 14 0,-1-1 15,0-13-15,-13 13 16,13-13-16,-13 13 0,0 1 0,0-1 0,-13 0 16,13 0-16,-13 1 0,-14-1 15,1 13-15,-1-13 0,-12 14 16,-1-14-16,14 0 0,-14 1 0,0-1 16,14 0-16,-14-13 0,0 13 0</inkml:trace>
  <inkml:trace contextRef="#ctx0" brushRef="#br0" timeOffset="30550.14">11496 13494 0,'27'-13'0,"-14"13"15,0-14-15,53 1 16,-39 13-16,12 0 15,-12 0-15,-1-13 0,-12 26 0,-1-13 16,0 0-16,0 0 0,0 13 0</inkml:trace>
  <inkml:trace contextRef="#ctx0" brushRef="#br0" timeOffset="30729.07">11509 13719 0,'53'-14'16,"-39"14"-16,12 0 16,14-13-16,-1 0 0,14 13 0,-13-13 15,0 13-15,-1 0 0,1-14 16,0 14-16,-14 0 0,1 0 0,-1 0 16,1 0-16,-1 0 0,0 0 0</inkml:trace>
  <inkml:trace contextRef="#ctx0" brushRef="#br0" timeOffset="31564.97">13348 13203 0,'-13'-14'0,"-40"41"31,40-1-31,0-12 0,-14 12 16,14 1-16,0-1 0,-1 14 0,14-14 15,0 1-15,-13-1 0,13 1 16,13-1-16,-13 0 0,14-12 0,-1 12 15,0 1-15,14-1 0,-1-13 0,-13 0 16,14-13-16,-14 14 0,13-14 16,-12 0-16,12 0 0,-13 0 0,1-14 15,-1 14-15,-13-13 0,13 13 0,-13-13 16,0 0-16,-13 0 16,-14-14-16,14 14 15,-13 13-15,12-13 0,-12 13 0,13 0 16,-14 0-16,1 0 0,13 0 0,-14 0 15,14 0-15,0 13 0,-1-13 16,1 0-16,0 13 0,13 0 16,0 1-16,13-1 15</inkml:trace>
  <inkml:trace contextRef="#ctx0" brushRef="#br0" timeOffset="31773.85">14023 13388 0,'-27'26'16,"54"-52"-16,-80 66 15,27-14-15,-1 1 0,-13 12 0,1 1 16,-14 0-16,13-1 0,-13 1 0,13 13 16,-12-13-16,-1 12 0,13-12 15,-13 0-15,13 13 0,14-27 0,-1 1 16,14-14-16,0 0 0,0 0 15</inkml:trace>
  <inkml:trace contextRef="#ctx0" brushRef="#br0" timeOffset="31923.6">14116 13441 0,'-14'26'0,"-131"146"16,92-119-1,0 13-15,-13 14 0,-14-1 0,14 0 16,-13 1-16,13 12 0,-14 1 16</inkml:trace>
  <inkml:trace contextRef="#ctx0" brushRef="#br0" timeOffset="38617.97">18203 8572 0,'0'0'0,"80"-13"0,-67 0 0,0 13 0,14 0 15,-14 0-15,13 13 0,-12-13 0,12 0 16,0 13-16,-12-13 0,12 14 0,1 12 15,-1 1-15,-13-1 0,1 1 16,-1 12-16,0 1 0,-13 0 0,13 13 16,-13-1-16,-13 15 0,13-1 0,0 0 15,-13 13-15,0 1 0,13 12 16,-14-12-16,14-1 0,-13 14 16,13-14-16,0 14 0,0-14 0,0 14 15,0-14-15,13 14 0,-13-14 0,14 27 16,-1 0-16,0-1 0,13 1 15,-12 0-15,12-13 0,1 13 0,-14-14 16,26 14-16,-12-13 0,-1-1 0,1 14 16,13-13-16,-1-1 0,1 1 0,0-14 15,-1 14-15,-12-27 0,12 13 16,-12-13-16,-1 1 0,1-1 0,-1-13 16,1 13-16,-1 0 0,-13-13 0,1 0 15,-1 0-15,0 0 0,-13-14 16,0 1-16,0-14 0,0 14 15,-13 0-15,0 0 0,-1-14 0,1 0 16,-13 1-16,-1-1 0,-12 1 0,-1-1 16,-13-12-16,0 12 0,-13-13 0,0 14 15,-14-14-15,1 13 0,-27-12 16,-26 12-16,13 0 0,-13 1 0,-1-1 16,-12 1-16,-1-1 0,-13 1 0,14-1 15,-14-13-15,14 14 0</inkml:trace>
</inkml:ink>
</file>

<file path=ppt/ink/ink14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03:35.421"/>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7660 1349 0,'238'-53'0,"-172"40"0,13 0 16,1 0-16,-1 13 0,14-13 0,-1-1 15,1 14-15,-1-13 0,1 0 16,0 13-16,-1-13 0,1 13 0,-14-14 16,1 14-16,-1 0 0,-13 0 0,0 0 15,-26-13-15,13 13 0,-13 0 0,-14 0 16,1 0-16,-1 0 0,0 0 16,-12 0-16,-1 0 0,0 0 15</inkml:trace>
  <inkml:trace contextRef="#ctx0" brushRef="#br0" timeOffset="308.7">7355 1588 0,'0'0'0,"133"-27"15,-67 14 1,13 0-16,27-1 0,13 1 16,0-13-16,13 12 0,14 1 0,0-13 15,-14 13-15,13-1 0,1 1 0,-14 0 16,0 0-16,-12-1 0,-15 14 16,-12-13-16,-14 13 0,14-13 15,-14 13-15,-13-13 0,1 13 0,-28 0 16,1 0-16,0 0 0,-14 0 0,-13-14 15,14 14-15,-14 0 0,0 0 16,0 0-16,1 0 16</inkml:trace>
  <inkml:trace contextRef="#ctx0" brushRef="#br0" timeOffset="5439.23">5490 2355 0,'-13'106'0,"13"-67"16,-13 14-16,13-13 0,0 13 16,-14 0-16,14 0 0,0 0 0,0 0 15,0-14-15,0 1 0,0 0 16,0-14-16,0 0 0,0 1 0,0-1 15,0-12-15,0-1 0,0 0 0,0 0 16,0 1-16,0-1 0,0 0 16</inkml:trace>
  <inkml:trace contextRef="#ctx0" brushRef="#br0" timeOffset="6020.86">5384 2183 0,'14'-13'0,"-28"26"0,41-26 15,-27-1-15,26 14 0,-13-13 16,1 0-16,12 13 0,-13-13 0,14 13 16,-1-14-16,1 1 0,-1 13 0,1-13 15,-1 13-15,14-13 16,-14 13-16,-13 0 0,1 0 16,-1 0-16,0 0 0,0 0 0,1 0 15,-1 0-15,-13 13 16,0 0-16,0 0 15,0 1-15,0-1 0,-13 13 0,13 1 16,0-14-16,-14 13 0,14 14 16,0-13-16,0 12 0,0-12 0,0 26 15,0-14-15,0 1 0,14 13 16,-14-13-16,13-1 0,-13 1 16,13 13-16,0-13 0,-13-1 0,14-12 0,-1 13 15,0-1-15,0-12 0,-13-1 16,13-13-16,-13 14 0,0-1 15,14-13-15,-14 1 0,0-1 0,0 0 16,0 0-16,-14 1 0,14-1 0,-13 0 16,-13 14-16,-1-14 0,1 0 15,-1 13-15,-12-12 0,-1-1 0,-13 0 16,-13 0-16,0 14 0,0-14 0,0 0 16,-67 14-16,67-14 15,0 0-15,13 0 0,0 1 0,13-14 16,1 13-16,25-13 0,-12 0 0,13 0 15</inkml:trace>
  <inkml:trace contextRef="#ctx0" brushRef="#br0" timeOffset="8533.91">12832 2897 0,'40'0'31,"-14"0"-31,14 0 0,13 0 0,13-13 16,0 13-16,14 0 0,-14 0 0,13-13 16,-26 13-16,13 0 0,-13 0 15,0-13-15,0 13 0,0 0 0,0 0 16,-13-14-16,-14 14 0,0 0 0,-12 0 15,-1 0-15,0 0 0</inkml:trace>
  <inkml:trace contextRef="#ctx0" brushRef="#br0" timeOffset="8812.9">12938 2977 0,'-13'0'0,"26"0"0,0 0 31,14 0-31,-14 0 16,14 0-16,12 0 0,14 0 0,-13 0 15,13-14-15,0 14 0,0 0 0,-14-13 16,14 13-16,-13 0 0,0-13 16,-1 13-16,-12 0 0,-1 0 0,-13-13 15,14 13-15,-14 0 0,13 0 0,-12 0 16,-1 0-16,0 0 0,0-14 15,1 14 1,-1-13 0,0 13-16</inkml:trace>
  <inkml:trace contextRef="#ctx0" brushRef="#br0" timeOffset="9976.84">15042 2302 0,'0'40'0,"0"-80"0,-14 106 0,14-40 15,0 14-15,0 13 0,0-13 16,0 13-16,-13-14 0,13 14 0,0 0 16,0-13-16,13 0 0,-13-1 0,0 1 15,0-14-15,0 1 0,0-14 0,0 14 16,14-1-16,-14-13 0,0 0 16,0 1-16</inkml:trace>
  <inkml:trace contextRef="#ctx0" brushRef="#br0" timeOffset="11392.84">15081 2183 0,'40'0'0,"-80"0"0,93 0 16,-40 0-16,14 0 0,-14 0 15,14 0-15,-1-13 0,0 13 0,14 0 16,-13 0-16,26 0 0,-1-14 0,1 14 15,0 0-15,13-13 0,14 13 16,-14-13-16,0 13 0,0-13 0,14 13 16,-1-14-16,-13 14 0,27-13 0,-14 13 15,14-13-15,-14 0 16,14 13-16,-1-13 0,14-1 0,13 14 0,-26-13 16,13 13-16,-14-13 0,41 13 15,-41-13-15,14 13 0,0-14 16,-14 14-16,1 0 0,13-13 0,-14 13 15,1-13-15,0 13 0,-1 0 0,1 0 16,-14-13-16,1 13 0,-1 0 16,0-14-16,1 14 0,-14 0 0,13 0 15,-13-13-15,1 13 0,-15 0 0,1 0 16,0-13-16,0 13 0,-13 0 16,13 0-16,-13 0 0,-14 0 0,14 0 15,-14-13-15,1 13 0,-1 0 0,0 0 16,1 0-16,-1 0 0,1 0 15,-1 0-15,-12 0 0,-1 0 16,13 0-16,-13 0 0,1 0 0,-1 0 16,0 0-16,14 0 0,-14 0 0,0 0 15,0 0-15,1 0 0,-1 0 16,0 0-16,13-13 0,-12 13 0,-1 0 16,0 0-16,14 0 0,-14 0 0,13 0 15,-13 0-15,14 0 0,-1 0 16,1 0-16,-1 0 0,14 0 15,-14 0-15,14 0 0,-13-14 0,-1 14 0,14 0 16,-14 0-16,1 0 16,-1 0-16,1 0 0,-1 0 0,1 0 15,-1 0-15,0-13 0,-12 13 0,12 0 16,-13 0-16,1 0 0,12 0 16,-13 0-16,1 0 0,-1 0 0,0 0 15,0 0-15,14 0 16,-27-13-16,26 13 15,1 0-15,-14 0 16,13 0-16,-13 0 16,1 0-16,-1 0 15,0 0-15,0 0 0,1 0 0,-1 0 16,0 13-16,0-13 0,1 0 16,-1 0-16,0 0 0,0 0 15,0 0-15,1 0 16,-1 0-16,0 0 0,0 0 15,1 0-15,-1 0 32,0 0-32,0 13 15,1-13 1,-1 14-16,0-1 16,-13 0-1,13 0-15,-13 0 0,0 1 0,13-1 16,-13 0-16,0 0 0,14 1 15,-14-1-15,0 13 0,0-12 16,13 12-16,-13-13 0,0 53 16,0-52-16,0 12 0,0 0 15,0 1-15,-13-1 0,13 1 16,0-1-16,0 1 0,-14-1 0,14 1 16,0-1-16,0-13 0,0 14 0,0-1 15,14 1-15,-14-1 0,0-13 16,13 14-16,-13-1 0,0 1 15,13-14-15,-13 0 0,13 14 0,-13-14 0,14 13 16,-14-12-16,13-1 0,-13 0 16,13 0-16,-13 1 0,13-1 0,-13 0 15,0 0-15,13 1 0,-13-1 16,0 0-16,14-13 0,-14 13 16,0 0-16,0 1 0,0-1 15,0 0-15,-14 0 0,14 1 16,-13-1-16,0-13 15,13 13-15,-13-13 0,0 13 0,-1 0 16,1-13-16,-13 14 0,-1-14 0,1 13 16,-14-13-16,-13 13 0,0-13 0,-13 0 15,-13 13-15,-14-13 0,1 0 16,-1 0-16,-13 0 0,13-13 0,-12 13 16,-1 0-16,13 0 0,1-13 15,12 13-15,1 0 0,26-13 16,0 13-16,13 0 0,14-14 0,-14 14 15,14-13-15</inkml:trace>
  <inkml:trace contextRef="#ctx0" brushRef="#br0" timeOffset="12353.04">18971 2275 0,'-14'-13'16,"14"40"0,-13-1-16,13 1 15,-13-1-15,13 14 0,-13-1 0,13 1 16,-14 13-16,1-13 0,13 13 0,-13-14 15,0 1-15,13 0 0,0-14 0,-13 1 16,13-1-16,0 1 0,0-1 16,0-13-16,0 0 0,-14 1 0,14-1 15,0 0-15,0 0 16,27-26 0</inkml:trace>
  <inkml:trace contextRef="#ctx0" brushRef="#br0" timeOffset="13208.28">18918 2209 0,'13'0'0,"80"0"31,-54 0-31,1 0 0,13 0 0,13 0 16,0 0-16,14 0 0,-1 13 16,0-13-16,1 0 0,-1 0 0,0 0 15,1 0-15,-1 0 0,0 0 0,1 0 16,-1 0-16,1 0 15,-1 0-15,-13 0 0,0 0 0,0 0 16,1 0-16,-14-13 0,-1 13 0,1 0 0,0 0 16,0 0-16,0 0 15,-13 0-15,-14 0 0,14 0 0,-14 0 16,1 0-16,-1 13 0,1-13 0,-1 0 16,1 0-16,-1 0 0,-13 0 15,14 0-15,-14 0 0,0 0 0,14 0 16,-14 0-16,0 0 0,0 0 15,1 0-15,-1 0 16,0 0-16,0 0 0,1 0 16,-1 0-16,0 0 15,0 0-15,-13 14 16,13-14 0,1 13-16,-14 0 15,13-13-15,-13 13 0,0 1 0,0-1 16,0 0-16,0 0 0,0 14 15,13-14-15,-13 13 0,0-12 0,0 12 16,0 1-16,0-14 0,0 13 0,0-12 16,-13 12-16,13 0 0,0-12 15,0 12-15,0-13 0,0 14 0,0-14 16,-13 0-16,13 14 0,0-14 0,0 0 16,0 0-16,0 1 0,-14-1 15,14 0-15,0 0 0,0 1 16,0-1-16,0 0 0,-13-13 0,13 13 15,0 1 1,0-1-16,0 0 16,-13-13-16,13 13 0,-13-13 15,0 13-15,-1-13 0,1 0 16,0 0-16,-14 14 0,1-14 16,-27 0-16,-132 0 15,105 13-15,-12-13 0,-1 0 0,-13 0 16,-26 13-16,0-13 15,0 13-15,-1-13 0,1 0 0,0 14 0,26-14 16,13 13-16,1-13 0,12 0 16,27 0-16,-13 0 0,27 0 15,12-13-15,1 13 0,-1-14 0,14 14 16,0-26-16</inkml:trace>
  <inkml:trace contextRef="#ctx0" brushRef="#br0" timeOffset="13622.97">19870 2130 0,'53'-40'16,"66"-52"-1,-92 65-15,12-13 0,1 1 16,13-1-16,-13 0 0,-14 14 15,40-27-15,-39 27 0,-1 12 16,-13-12-16,14 13 0,-14 13 16,0-14-16,1 1 0,-1 13 0,-13-13 15,13 0-15,0 13 0,-13-13 16,13 13-16,-13-14 0,14 14 16,-14-13-16,13 13 0,-13-13 15</inkml:trace>
  <inkml:trace contextRef="#ctx0" brushRef="#br0" timeOffset="13932.97">20307 1376 0,'66'0'0,"-132"0"0,145 0 0,-66 0 16,14 0-16,-1 0 0,1 0 0,-1 0 16,1 13-16,-1-13 0,14 13 0,-14 1 15,14-1-15,-14 13 0,1-13 0,-1 1 16,-12 12-16,-1-13 0,0 1 16,0-1-16,-13 13 0,13-12 0,-13 12 15,0-13-15,0 0 0,0 14 16,0-14-16,-13 14 0,0-1 15,0 0-15,0 14 0,-14-13 16,1-1-16,-1 1 0,1-14 0,-1 13 0,1 1 16,-1-14-16,1 0 15</inkml:trace>
  <inkml:trace contextRef="#ctx0" brushRef="#br0" timeOffset="21861.14">8612 5702 0,'66'0'0,"-52"0"0,-1 0 16,0 0-16,0 0 0,14-13 0,-14 13 16,0 0-16,0 0 0,1 0 15,-1 0-15,0 0 16,0-14 0,1 28-16,-1-14 15,-13 13-15,0 0 16,0 0-16,0 0 0,0 1 15,0 12-15,0-13 0,0 1 0,0 12 16,-13-13-16,13 14 0,0-14 16,-14 0-16,14 14 0,0-14 0,-13 0 15,13 0-15,0 1 0,0-1 16,-13-13-16,13 13 16,0 0-16</inkml:trace>
  <inkml:trace contextRef="#ctx0" brushRef="#br0" timeOffset="22091.82">8639 5966 0,'-14'0'0,"54"0"31,-27 0-31,1 0 16,-1 0-16,0-13 0,13 26 0,-12-26 16,-1 13-16,0 0 0,0 0 0,1 0 15,-1 0-15,0 0 0,0 0 16,1 0-16,-1 0 0,-13-13 0,13 13 16</inkml:trace>
  <inkml:trace contextRef="#ctx0" brushRef="#br0" timeOffset="22562.68">9221 5781 0,'0'27'31,"0"-14"-31,-13 0 0,13 0 0,0 1 15,-14-1-15,14 0 0,-13 13 0,13-12 16,-13-1-16,13 0 0,0 0 16,-13 1-16,13-1 0,0 0 0,0 0 15,-14 0-15,28-13 16,-1 14 0,0-14-16,0 0 15,1 0-15,-1 0 0,0 0 16,13 0-16,-12 0 0,-1-14 0,0 14 15,0 0-15,1 0 0,12 0 16,-13-13-16,0 13 16,1-13-16,-1 13 0,0 0 15</inkml:trace>
  <inkml:trace contextRef="#ctx0" brushRef="#br0" timeOffset="22738.89">9247 5927 0,'27'0'16,"-27"-14"-1,13 14-15,13 0 0,-12 0 16,-1 0-16,0-13 0,13 13 16,-12 0-16,-1-13 0,13 13 0,-12 0 15,-1-13-15</inkml:trace>
  <inkml:trace contextRef="#ctx0" brushRef="#br0" timeOffset="22923.94">9260 5781 0,'53'-26'31,"-39"26"-16,12-14-15,-13 14 0,14 0 0,-14 0 16,0 0-16,14 0 0,-14 0 0,0 0 16,14 0-16</inkml:trace>
  <inkml:trace contextRef="#ctx0" brushRef="#br0" timeOffset="23457.05">9723 5821 0,'0'13'0,"0"0"15,0 1-15,0-1 16,0 0 0,0 0-16,0 0 15,14-26 32,-14 0-31,13 13-1,0 0-15,0 0 32,1 0-32,-14 13 0,13-13 15,-13 13 1,13 1-1,0-28 32,0 14-47,-13-13 0,14 13 16,-1-13-16,0 13 16,0 0-1,1 0-15,-1 0 16,-13 13-16,13-13 0,0 13 15,1-13-15,-1 14 16,0-14-16,0 13 0,0-13 16,1 13-16,-1-13 15,0 0 1</inkml:trace>
  <inkml:trace contextRef="#ctx0" brushRef="#br0" timeOffset="23916.02">10147 5768 0,'0'26'32,"0"-12"-32,0-1 0,0 0 0,0 14 15,0-14-15,0 13 0,0 1 0,0-14 16,0 13-16,-13 1 0,13-1 15,0-13-15,0 14 0,0-14 16,0 14-16,0-14 0,0 0 0,0 0 0,0 1 16,-14-14-16,14 13 0,0 0 15,0-66 17,14 40-32,-14-14 15,13-12-15,-13 12 0,13-12 16,0 12-16,-13 14 0,13 0 0,-13-14 15,14 27-15,-1-13 0,-13 0 16,13 13-16,0 0 16,1 0-16,-14 13 15,0 0-15,0 0 0,0 1 16,-14-1-16,14 13 0,-13-12 16,13-1-16,-13 0 0,13 0 0,-13-13 15,13 13-15,-14 1 0,1-1 16,13 0-16</inkml:trace>
  <inkml:trace contextRef="#ctx0" brushRef="#br0" timeOffset="24767.5">10345 5675 0,'-13'27'47,"13"-14"-47,0 13 16,0-12-16,0-1 0,0 13 0,0-12 15,0 12-15,0-13 0,0 14 0,0-14 16,0 0-16,0 0 0,13 1 0,-13-1 16,13 0-16,1 0 15,12-13 1,-13-13-16,1 13 0,-14-13 15,13 13-15,-13-13 0,13 13 16,-13-14-16,13 14 0,-13-13 16,14 13-16,-1 0 31,-13 13-15,0 1-16,13-14 15,0 13-15,0-13 16,1 0-1,-1-13 1,-13-1-16,0 1 16,-13 0-1,-1 13 1,1 0-16,0 13 16,0-13-1,13 13 1,13-13-1,0 0-15,0 0 16,1 0-16,-1-13 16,0 13-16,0 0 0,1-13 15,-1 13-15,0 0 16,0 0 0,0 0-16,1 0 15,-1 0-15,0 0 16,0 0-1,1 0 1,-1 0-16,-13 13 16,13 0-16,-13 1 15,13-1-15,-13 0 0,0 0 16,0 1-16,0-1 0,0 0 16,0 0-16,0 0 0,0 1 0,-13-1 15,13 0-15,-13 0 0,13 1 0,-13-14 16,13 13-16,-14 0 0,14 0 15,-13-13-15,0-13 32,26 0-17,-13-14-15,13 27 16,-13-13-16,0 0 0,14 0 0,-1-1 16,-13 1-16,13 0 15,-13 0-15,13 13 16,1-13-16,-1 13 15,0-14-15</inkml:trace>
  <inkml:trace contextRef="#ctx0" brushRef="#br0" timeOffset="25119.83">11033 5861 0,'40'0'31,"-27"0"-16,0 0-15,0 0 0,1 0 16,-1 0-16,0 0 0,0 0 16,1 0-16,-1 0 0,0 0 0,0 0 15,1 0-15,12 0 16,-13-14 0,0 14-1</inkml:trace>
  <inkml:trace contextRef="#ctx0" brushRef="#br0" timeOffset="25386.96">11218 5755 0,'14'13'15,"-1"0"1,0-13-16,0 13 0,0 1 15,14-1-15,-14 0 0,0-13 16,1 13-16,-14 1 0,13-14 16,0 13-16,0 0 0,-13 0 0,14 0 15,-14 1-15,0-1 16,-14 0-16,1 0 16,0 1-16,-14-1 0,14 0 0,-13-13 0,12 13 15,-12 0-15,0 1 0,12-14 16,-12 13-16,13-13 0</inkml:trace>
  <inkml:trace contextRef="#ctx0" brushRef="#br0" timeOffset="26635.69">12052 5596 0,'-13'13'16,"13"0"-16,0 1 0,0-1 16,-14 0-16,14 0 0,0 1 15,0-1-15,0 13 0,0-13 0,0 1 16,0-1-16,0 13 0,0-12 0,0-1 16,-13 0-16,13 0 0,0 1 15,0-1-15,0 0 0,0 0 0,0 0 16</inkml:trace>
  <inkml:trace contextRef="#ctx0" brushRef="#br0" timeOffset="27574.82">12184 5569 0,'-26'-13'0,"52"26"0,-66-13 15,27 0-15,0 14 0,0-1 16,-1-13-16,1 26 0,0-12 16,0-1-16,-14 13 0,27 1 0,-13-1 15,0-13-15,0 14 0,13-14 0,0 14 16,-14-14-16,14 13 16,0-12-16,14-1 0,-14 13 0,13-13 0,-13 1 15,13-1-15,0 0 0,1 0 0,-1 1 16,0-14-16,13 13 0,-12-13 15,-1 13-15,0-13 0,0 0 16,1 0-16,-1 0 0,0 0 0,0-13 16,1 13-16,-1 0 0,13-13 15,-13 13-15,-13-14 0,14 14 0,-1-13 16</inkml:trace>
  <inkml:trace contextRef="#ctx0" brushRef="#br0" timeOffset="27914.88">12449 5609 0,'0'-13'32,"-14"39"-17,14-12-15,0-1 0,0 0 16,0 0-16,-13 1 0,13 12 15,0-13-15,0 0 0,0 1 0,0-1 16,0 0-16,0 0 0,0 1 0,13-1 16,-13 0-16,14 0 15,-14 1-15,13-14 0,-13 13 0,13-13 16,0 0-16,1 13 0,-1-13 16,0 0-16,0 0 0,0 0 15,14 0-15,-14 0 0,0 0 16,1 0-16,-1-13 0,0 13 0,0 0 15,1 0-15,-1-13 0,0 13 0,0-14 16,0 1-16</inkml:trace>
  <inkml:trace contextRef="#ctx0" brushRef="#br0" timeOffset="28096.7">12528 5768 0,'0'0'0,"26"-13"16,-12 13 0,12 0-16,-13-14 0,1 14 15,-1 0-15,0 0 0,0-13 0,1 13 16,-1 0-16,0-13 0,0 13 16</inkml:trace>
  <inkml:trace contextRef="#ctx0" brushRef="#br0" timeOffset="28291.67">12449 5596 0,'13'-13'0,"0"13"16,0 0-16,14-14 15,-14 14-15,0 0 0,14-13 0,-1 13 16,-13 0-16,14-13 0,-1 13 0,1 0 15,-14 0-15,13-13 0,1 13 0,-14 0 16,0 0-16,1 0 0</inkml:trace>
  <inkml:trace contextRef="#ctx0" brushRef="#br0" timeOffset="28587.94">12965 5530 0,'-14'39'31,"14"-25"-31,0-1 0,0 0 16,14-13-16,-14 13 0,0 1 0,13-1 16,0 0-16,0-13 0,1 13 15,-1 1-15,13-14 0,-13 0 0,14 0 16,-14 0-16,14 0 0,-14 0 0,0 0 16,13-14-16,-12 14 0,-1-13 15,-13 0-15,13 13 0,-13-13 16,0-1-16,0 1 0,0 0 0,-13 0 0,0-1 15,-1 1-15,1 0 16,0 0-16,0 0 0,-14 13 0,14-14 16,-13 14-16,12 0 0,-12 0 0,0 14 15,-14-14-15,0 26 0,14-13 0,-14 14 16,0-14-16,14 13 0</inkml:trace>
  <inkml:trace contextRef="#ctx0" brushRef="#br0" timeOffset="28888.82">12343 6046 0,'119'-14'31,"-93"1"-31,14 13 16,0-13-16,-1 0 0,1 13 0,0-13 0,-14 13 16,1 0-16,-1 0 0,1-14 15,-1 14-15,1-13 0,-1 13 16,-13 0-16,0 0 0</inkml:trace>
  <inkml:trace contextRef="#ctx0" brushRef="#br0" timeOffset="29103.77">12435 6085 0,'-13'0'0,"26"0"0,14 0 31,-14 0-31,14 0 0,-1 0 15,14-13-15,-1 13 16,1-13-16,0 13 0,-1 0 0,1-13 16,-13 13-16,12 0 0,-12-14 0,-1 14 15,1 0-15,-14 0 0,13 0 16,-12 0-16,-1-13 0,0 13 0,0 0 16,1 0-16</inkml:trace>
  <inkml:trace contextRef="#ctx0" brushRef="#br0" timeOffset="29732.69">9115 6178 0,'53'0'0,"92"0"16,-105 0-16,13 0 0,-13-13 16,-1 13-16,14 0 0,0-13 15,-13 13-15,13 0 0,0-14 16,0 14-16,-14-13 0,1 13 0,0 0 16,-14-13-16,1 13 0,-1 0 15</inkml:trace>
  <inkml:trace contextRef="#ctx0" brushRef="#br0" timeOffset="30095.8">9221 6310 0,'26'0'15,"1"0"-15,-1 0 0,1 0 0,-1 0 16,27 0-16,-13-13 0,-1 13 16,1 0-16,0-13 0,-14 13 0,1 0 15,12-13-15,-12 13 0,-1 0 0,1-14 16,-1 14-16,-13 0 0,14 0 16,-14 0-16,0 0 0,0-13 0,1 13 15,-1 0-15,0 0 0,0 0 16,1 0-1,-1 0-15,0 0 16,0 0 0,1-13-1,-1 13 1,0 0 0</inkml:trace>
  <inkml:trace contextRef="#ctx0" brushRef="#br0" timeOffset="30903.83">12422 6032 0,'40'-13'16,"-27"13"-1,0-13-15,14 13 0,-1 0 0,1-13 16,-1 13-16,1-13 0,-1 13 0,1-14 16,-1 14-16,14 0 15,-14-13-15,1 13 0,-14 0 0,13-13 16,-12 13-16,-1 0 0,0 0 0,0 0 15,-13 13-15,13-13 16</inkml:trace>
  <inkml:trace contextRef="#ctx0" brushRef="#br0" timeOffset="31122.84">12554 6112 0,'27'0'31,"-1"0"-31,-12 0 16,-1 0-16,13 0 0,1 0 16,-1 0-16,-13-13 0,14 13 0,-1 0 15,-12 0-15,12 0 0,1-14 0,-14 14 16,0 0-16,13 0 0,-12 0 16,-1-13-16,0 13 0,0 0 15,1 0-15,-1 0 0</inkml:trace>
  <inkml:trace contextRef="#ctx0" brushRef="#br0" timeOffset="35740.83">14407 5728 0,'26'0'15,"-13"0"-15,120-13 32,-107 13-32,-13 0 15,27 0-15</inkml:trace>
  <inkml:trace contextRef="#ctx0" brushRef="#br0" timeOffset="35948.6">14473 5861 0,'-14'0'0,"28"0"0,-1 0 31,0 0-31,0 0 16,1 0-16,-1 0 0,0 0 16,0 0-16,14 0 0,-14-14 0,0 14 15,14 0-15,-1 0 0,1-13 0</inkml:trace>
  <inkml:trace contextRef="#ctx0" brushRef="#br0" timeOffset="36604.91">15558 5596 0,'-53'-13'16,"39"13"-1,1 13-15,0-13 0,0 0 16,-1 13-16,1 0 16,13 1-16,13-1 0,-13 0 15,0 0-15,14 1 0,-1-1 16,-13 0-16,13 0 0,-13 0 16,13 1-16,-13-1 0,0 0 0,0 0 15,0 1 1,0-1-16,-13 0 0,0 0 15,0-13-15,-1 0 32,14-13-17,14 0-15,-1 0 16,0 13-16,-13-14 16,13 1-16,1 13 0,-1-13 0,-13 0 15,13-1-15,0 1 0,-13 0 0,0 0 16,14 13-16,-14-13 0,0-1 15,0 1-15,-14 13 0,14-13 16,0 0-16,-13 13 0,13-14 0,-13 14 16,13-13-16,-13 13 0,-1 0 15,1 0 1,0 0-16,13 13 16,0 1-16</inkml:trace>
  <inkml:trace contextRef="#ctx0" brushRef="#br0" timeOffset="37070.82">15266 5477 0,'0'0'15,"-13"26"-15,13-12 0,-13 12 0,13-13 16,0 0-16,0 1 0,0 12 0,-13 1 16,13-1-16,0 1 0,0-1 0,-13 0 15,13-12-15,0 12 0,0 1 0,-14-14 16,14 13-16,0-12 0,0-1 15,0 0-15,0 0 0,0 0 0,0 1 16,0-1 0,14-40-1</inkml:trace>
  <inkml:trace contextRef="#ctx0" brushRef="#br0" timeOffset="37599.71">15240 5490 0,'0'0'0,"53"-13"0,-40 0 16,14 13-16,-1-14 0,1 14 16,-1-13-16,14 0 0,-1 13 0,1-13 15,0 13-15,-1-13 0,1 13 0,-13 0 16,-1 0-16,0 0 0,-12-14 0,12 14 15,-13 0-15,14 0 0,-14 0 16,0 0-16,1 14 0,-1-14 16,0 0-16,-13 13 0,13-13 0,0 13 15,-13 0-15,14 0 16,-14 1-16,0-1 0,13-13 0,-13 13 16,0 0-16,13 14 0,-13-14 0,13 0 15,-13 14-15,14-14 0,-1 13 16,-13-12-16,13-1 0,0 13 15,1-12-15,-1-1 0,0 13 0,-13-13 16,13 1-16,-13-1 0,13-13 16,-13 13-16,14 0 0,-14 1 15,13-1-15,-13 0 16,0 0-16,-13-13 16,-1 14-16,1-14 0,0 0 15,-13 0-15,-1 13 0,1-13 0,-27 0 16,13 0-16,-13 13 0,13-13 0,-13 13 15,1-13-15,-1 0 0,0 13 16,0-13-16,0 0 0,13 14 16,-13-14-16,27 13 0,-1-13 0,1 0 15,-1 0-15,14 0 0,0 13 16,0-13-16,0 0 0,-1 0 0,14 13 16,-13-13-16</inkml:trace>
  <inkml:trace contextRef="#ctx0" brushRef="#br0" timeOffset="40764.9">8652 10200 0,'0'-14'31,"0"1"-15,-13 13-16,-1 0 15,1 0-15,0 0 16,0 0-16,-14 13 0,14-13 15,-13 14-15,-1-14 0,14 13 0,-14 0 16,14-13-16,0 13 0,0 1 0,0-14 16,-1 13-16,14 0 0,-13-13 15,13 13-15,13 1 0,1-1 16,-1-13-16,0 13 0,0 0 16,0-13-16,14 13 0,-14-13 15,0 14-15,14-14 0,-14 13 0,0-13 16,0 13-16,1-13 0,-1 13 0,0 1 15,-13-1-15,0 0 16,-13 0-16,13 1 16,-13-1-16,-1-13 0,1 13 0,0 0 15,0-13-15,-14 13 16,14-13-16,0 14 0,0-14 16,-14 0-16,1 13 0,13-13 15,-1-13-15,1 13 0,0 0 16,0-14-16,-1 1 0,14 0 15</inkml:trace>
  <inkml:trace contextRef="#ctx0" brushRef="#br0" timeOffset="40976.01">8506 10107 0,'-13'40'31,"13"-14"-31,0-13 0,-13 14 16,13-1-16,0 14 0,-13 0 0,13-1 16,-14 1-16,14 0 0,0-14 0,-13 14 15,13 0-15,0-14 0,-13 1 16,13 12-16,0-12 0,0-14 0,0 0 16,0 0-16,0 1 0</inkml:trace>
  <inkml:trace contextRef="#ctx0" brushRef="#br0" timeOffset="41578.99">8877 10292 0,'13'14'31,"-13"-1"-31,0 0 0,0 0 15,0 0-15,13 1 0,-13-1 16,-13 0-16,13 14 0,0-14 0,0 0 16,0 0-16,0 1 0,0-1 0,0 0 15,0 0-15,0 0 16</inkml:trace>
  <inkml:trace contextRef="#ctx0" brushRef="#br0" timeOffset="41936.8">9022 10332 0,'-13'13'47,"0"-13"-47,13 13 0,0 1 0,0-1 15,13 0-15,-13 0 0,0 1 16,0-1-16,13-13 0,-13 13 15,14 0-15,-1-13 0,-13 14 0,13-14 16,0 0-16,0 0 0,1 0 0,-1 0 16,0-14-16,0 14 0,-13-13 15,14 13-15,-14-13 0,0 0 16,0-1-16,0 1 0,0 0 16,0 0-16,-14-1 0,1 1 15,13 0-15,-13 13 16,13-13-16,-13 13 0,-1 0 0,14-13 15,-13 13-15,0 0 16,0 13 0</inkml:trace>
  <inkml:trace contextRef="#ctx0" brushRef="#br0" timeOffset="42214.98">9260 10319 0,'0'13'0,"14"27"16,-14-27 0,13 0-16,0 0 15,0-13-15,-13 14 0,14-14 16,-1 0-16,0 0 0,0 0 0,0-14 16,1 14-16,-1-13 15,0 13-15,-13-13 0,13 0 0,-13-1 16,0 1-16,0-13 15,-13 26-15,0-13 16,0 13-16,-1 0 0,1-14 0,0 14 16,0 0-16,0 0 0,-14 14 0,14-14 15,0 0-15,-1 13 0,1-13 16,0 13-16,0-13 0,13 13 16</inkml:trace>
  <inkml:trace contextRef="#ctx0" brushRef="#br0" timeOffset="43800.71">10517 10186 0,'-39'0'0,"12"0"16,14 0-16,-14 14 0,-105-1 31,106 0-31,-1-13 0,14 0 0,0 0 16,-1 13-16,1-13 0,13 14 15,13-1 1,1-13-16,12 13 15,-13 0-15,14-13 0,-14 14 0,0-1 16,1-13-16,-1 13 0,0 0 16,0-13-16,-13 13 0,13-13 15,-13 14-15,0-1 0,0 0 0,0 0 16,-13 1 0,0-1-16,0 0 0,0-13 0,-1 13 15,1 1-15,0-1 0,-27 0 16,14-13-16,12 13 0,-12-13 15,13 0-15,0 0 0,-1 0 0,1 0 16,0-13-16,0 0 16,-1 0-16</inkml:trace>
  <inkml:trace contextRef="#ctx0" brushRef="#br0" timeOffset="44037.75">10253 9962 0,'0'52'16,"0"-25"-1,0-1-15,-14 14 0,14 13 0,0-13 16,-13-1-16,13 14 0,-13-13 16,13 0-16,-13 13 0,13-14 15,0 1-15,-14 0 0,14-1 0,0 1 16,0-14-16,0-12 0,0 12 0,0 1 15,0-14-15,0 0 0,0 0 0,0 1 16</inkml:trace>
  <inkml:trace contextRef="#ctx0" brushRef="#br0" timeOffset="44547.73">10874 10147 0,'0'0'0,"14"13"31,-28 0-31,14 0 0,0 1 16,0-1-16,0 0 0,-13 14 0,13-14 16,0 13-16,0-12 0,-13-1 0,13 13 15,0-13-15,-13 1 0,13 12 16,0-13-16,-14-13 0,14 14 15,0-1-15,0 0 0,0 0 16,14-13 0</inkml:trace>
  <inkml:trace contextRef="#ctx0" brushRef="#br0" timeOffset="44895.84">10993 10239 0,'0'0'0,"-26"14"32,26-1-32,0 0 15,0 0-15,0 1 0,0-1 16,0 0-16,0 0 0,0 0 0,0 1 16,13-1-16,-13 0 0,13 0 0,1 1 15,-1-1-15,0-13 16,0 0-16,14 0 0,-14 0 0,0 0 15,0-13-15,1 13 0,-1 0 0,0-14 16,-13 1-16,13 13 16,-13-13-16,14 0 0,-14-1 0,0 1 15,-14 0-15,14 0 0,-13 0 0,0-1 0,0 1 16,-1 0-16,1 0 0,0 13 16,0-14-16,0 14 0,-1 0 15,1-13-15,13 26 0,-13-13 0,0 0 16,-1 0-16,14 14 15</inkml:trace>
  <inkml:trace contextRef="#ctx0" brushRef="#br0" timeOffset="45388.78">11364 10226 0,'13'0'32,"0"0"-32,-13 13 0,14-13 15,-1 14-15,-13-1 16,0 0 0,0 0-1,0 1-15,0-1 16,13 0-1,0-13 1,-13 13-16,13 0 16,-13 1-16,0-1 15,-13 0 1,0 0-16,13 1 0,-13-14 0,0 13 16,-1-13-16,1 0 15,0 13-15,0-13 0,-1 0 16,1 0-16</inkml:trace>
  <inkml:trace contextRef="#ctx0" brushRef="#br0" timeOffset="46784.8">12779 10160 0,'-13'-13'0,"-79"26"31,78-13-31,-12 0 0,13 13 16,-1-13-16,1 13 0,0-13 0,0 0 16,-1 14-16,1-1 0,13 0 15,13 0 1,1-13-16,-14 14 0,13-14 0,0 13 15,0 0-15,1-13 0,-14 13 0,13 1 16,0-14-16,0 13 0,1 0 16,-14 0-1,0 0-15,0 1 16,-14-14-16,1 13 0,-13 0 0,12-13 16,-12 13-16,13-13 0,-14 14 15,1-1-15,-1-13 0,14 0 0,-13 13 16,12-13-16,1 0 0,0 0 0,0 0 15,-1-13-15,1 13 16,13-13-16</inkml:trace>
  <inkml:trace contextRef="#ctx0" brushRef="#br0" timeOffset="46983.81">12607 9962 0,'-13'105'31,"13"-78"-31,-13 13 0,13-1 16,0 14-16,-13-13 0,13 0 0,0 12 15,-14-12-15,14 0 0,0 13 0,-13-14 16,13 1-16,0 0 0,-13-14 16,13 1-16,0-1 0,0-13 0,-13 1 15</inkml:trace>
  <inkml:trace contextRef="#ctx0" brushRef="#br0" timeOffset="47908.21">13454 10134 0,'0'0'0,"-13"0"0,0 0 16,-14 0-1,14 13-15,-14 0 0,14 0 16,0 0-16,-13 1 0,12-1 0,1 0 16,0 0-16,0 1 15,-1-1-15,1 0 0,13 0 0,-13 1 0,13-1 16,13 0 0,0-13-16,14-13 15,-14 13-15,0 0 0,14-13 16,-1-1-16,1 14 0,-14-13 0,13 0 15,-12 0-15,-1-1 0,0 14 16,0-13-16,1 13 0,-1 0 0,-13-13 16,13 13-16,0 13 0,-13 0 15,13 1 1,-13-1-16,0 0 0,-13 27 16,13-27-16,0 13 0,-13-12 15,13-1-15,0 13 0,0-12 0,-13-1 16,13 0-16,0 0 15,0 1-15,13-14 0,-13 13 16</inkml:trace>
  <inkml:trace contextRef="#ctx0" brushRef="#br0" timeOffset="48421.07">13824 10186 0,'0'0'0,"14"27"31,-1-14-31,-13 0 0,0 1 16,0-1-16,13 13 0,-13-12 0,0-1 15,0 0-15,0 0 16,0 0-16,0 1 0,0-1 0,0 0 16,-13 0-16,0 1 0,-1-1 15,1-13 1,13-13-1,0-1 1,13 1-16,1 0 16,-14 0-16,13-1 0,0 14 0,-13-13 15,13 0-15,1 0 0,-14 0 16,0-14-16,13 14 0,-13 0 0,0-1 16,-13 1-16,13 0 15,0 0-15,-14-1 0,1 14 0,13-13 16,-13 13-16,0-13 0,-1 13 15,-12 0-15,13 13 16</inkml:trace>
  <inkml:trace contextRef="#ctx0" brushRef="#br0" timeOffset="48990.86">14936 10094 0,'0'0'0,"-40"0"0,27 13 0,0-13 0,-1 0 15,1 13-15,0-13 16,13 14-16,-13-1 0,13 0 16,13 0-16,-13 0 0,13-13 15,-13 14-15,13-1 0,1 0 16,-1-13-16,0 13 0,0 1 16,0-1-16,1 0 0,-1-13 0,0 13 15,0 1-15,1-1 16,-14 0-16,0 0 0,0 0 15,0 1-15,-14-1 0,1 0 16,0 0-16,0 1 0,-14-1 16,14 0-16,-13 0 0,12-13 0,-12 14 15,13-14-15,-14 13 0,14-13 0,-13 13 16,12-13-16,1 0 0,0 0 0,0 0 16,-1-13-16,14-14 15</inkml:trace>
  <inkml:trace contextRef="#ctx0" brushRef="#br0" timeOffset="49200.7">14989 9988 0,'0'93'31,"0"-67"-31,-14 67 15,14-54-15,-13 14 0,13 0 0,-13 0 16,13-13-16,-13 13 0,13-14 16,0 1-16,-14 0 0,14-14 15,0 1-15,0-1 0,0-13 0,0 14 16</inkml:trace>
  <inkml:trace contextRef="#ctx0" brushRef="#br0" timeOffset="50299.8">15438 10200 0,'0'-14'0,"0"1"16,0 53 15,0-27-31,0 0 0,0 1 16,0-1-16,0 0 0,0 14 0,0-14 15,-13 13-15,13-13 0,0 1 16,0-1-16,0 0 0,0 0 0,0 1 15,0-1-15,-13 0 0,26 0 16</inkml:trace>
  <inkml:trace contextRef="#ctx0" brushRef="#br0" timeOffset="50633.83">15650 10226 0,'0'0'0,"0"-13"0,-13 13 15,0 13 1,-1 0-16,14 1 16,-13-1-16,13 0 0,0 0 15,0 1-15,0-1 0,0 0 0,13 0 16,-13 0-16,14 1 0,-1-1 0,0 0 16,0-13-16,1 13 0,-1-13 15,0 0-15,0 0 0,0 0 0,1 0 16,-1 0-16,0-13 0,0 13 0,1-13 15,-14 0-15,0-1 16,0 1-16,0 0 0,0 0 16,0 0-16,-14-1 0,1 1 0,13 0 15,-13 13-15,0-13 0,-1-1 0,1 14 16,0 0-16,0 0 16,0 0-16,-1 0 0,1 14 15,0-14-15,13 13 16</inkml:trace>
  <inkml:trace contextRef="#ctx0" brushRef="#br0" timeOffset="50852.86">15981 10134 0,'0'0'16,"13"13"-1,-13 0-15,13 0 16,-13 0-16,0 1 0,0-1 0,0 0 15,0 0-15,0 14 0,0-14 16,0 14-16,0-14 0,0 0 0,0 13 16,0-12-16,0-1 0,0 0 0,0 0 15,0 1-15,0-1 16,14 0 0,-1-26-16</inkml:trace>
  <inkml:trace contextRef="#ctx0" brushRef="#br0" timeOffset="51488.75">17330 10134 0,'-26'0'0,"52"0"0,-65-14 15,25 14-15,-12 14 0,13-14 16,-14 0-16,1 0 0,-1 13 0,1-13 15,-1 13-15,1-13 0,13 13 0,-1-13 16,1 13-16,0-13 0,0 0 16,13 14-16,13-1 15,-13 0-15,13-13 0,0 13 0,14-13 16,-14 14-16,14-1 0,-1 0 16,-13-13-16,14 13 0,-1 1 0,-13-14 15,1 13-15,-1 0 0,0-13 16,-13 13-16,13 0 0,-13 1 15,0-1-15,0 0 0,-13 0 16,0 1-16,0-1 0,-14 0 16,14 0-16,-14 1 0,1-1 0,-27 0 15,27 0-15,12-13 16,-12 13-16,13-13 0,-1 0 0,1 0 16,0 0-16,0 0 0,0 0 0,13-13 15,-14 0-15</inkml:trace>
  <inkml:trace contextRef="#ctx0" brushRef="#br0" timeOffset="51711.68">17171 9948 0,'0'0'0,"0"40"31,0-27-31,-13 14 0,13-1 0,0 14 16,0 0-16,-13-1 0,13 14 15,0 0-15,0-13 0,-13 26 16,0-13-16,13 0 0,-14 0 0,1-14 0,13 1 16,-13 0-16,13-1 0,-13-12 0,13-1 15,-14 1-15,14-14 16,0 13-16,0-12 0,0-1 0</inkml:trace>
  <inkml:trace contextRef="#ctx0" brushRef="#br0" timeOffset="52603.09">17780 10081 0,'0'26'16,"0"1"-1,0-14-15,0 0 0,0 0 16,0 14-16,0-14 0,0 13 0,-13 1 16,13-14-16,0 14 0,0-1 15,-13-13-15,13 0 0,0 14 0,0-14 16,-14 0-16,14 1 0,0-1 16</inkml:trace>
  <inkml:trace contextRef="#ctx0" brushRef="#br0" timeOffset="53845.93">18098 10107 0,'0'-13'0,"-14"39"47,14-12-47,0-1 0,-13 0 16,13 0-16,0 0 0,0 1 0,-13-1 15,13 0-15,0 0 0,0 1 16,0 12-16,13-26 0,-13 13 16,0 1-16,13-1 0,-13 0 0,14-13 0,-1 13 15,0-13-15,0 0 16,0 0-16,1 0 0,-1 0 16,0-13-16,0 0 0,1 13 0,-1-13 15,0-1-15,-13 1 0,13 0 16,-13 0-16,0-1 0,0 1 0,0 0 15,-13-14-15,13 14 0,-13 0 0,0 0 16,-1 13-16,1-13 0,0-1 0,0 14 16,-14 0-16,14 0 0,0 0 15,-14 0-15,14 14 0,-13-14 0,12 0 16,14 13-16,-13-13 0,0 13 0</inkml:trace>
  <inkml:trace contextRef="#ctx0" brushRef="#br0" timeOffset="56292.64">18494 10094 0,'14'0'0,"-1"-13"0,0 13 16,0 0-16,1 0 16,-14-14-16,26 14 0,-13 0 15,-26 14 16,0-1-15,0-13-16,-1 0 0,1 13 0,0-13 16,0 13-16,-1-13 0,1 14 15,0-14-15,0 13 0,-1-13 16,14 13-16,-13-13 0,26 13 31,1-13-31,-14 13 16,13-13-16,0 0 0,0 14 0,1-14 15,-1 13 1,0-13-16,0 13 0,1 0 16,-14 1-16,13-14 0,-26 13 15,13 0-15,-14-13 16,1 13-16,0-13 0,0 14 16,-1-1-16,-12-13 0,13 0 0,-14 13 15,14-13-15,0 0 0,-14 0 0,14 13 16,0-13-16,0 0 0,-1 0 15</inkml:trace>
  <inkml:trace contextRef="#ctx0" brushRef="#br0" timeOffset="58138.73">19645 10041 0,'-26'-13'0,"-1"13"15,1 13-15,13-13 16,-1 0-16,-12 0 0,0 0 0,12 0 16,1 13-16,-13-13 0,12 0 15,1 0-15,0 13 0,0-13 16,26 14 0,0-1-1,0-13-15,1 13 0,12-13 0,-13 13 16,1-13-16,-1 14 0,13-1 0,-13 0 15,1-13-15,-14 13 16,0 0-16,13-13 0,-26 14 16,13-1-16,-14 0 0,1 0 15,0 1-15,0-14 0,-14 13 0,1 0 16,13-13-16,-14 13 0,14-13 16,-13 14-16,12-14 0,1 0 0,0 13 15,0-13-15,-1 0 0,1 0 0,0-13 16,0-1-1</inkml:trace>
  <inkml:trace contextRef="#ctx0" brushRef="#br0" timeOffset="58360.71">19407 9882 0,'0'-13'0,"13"39"16,-13 1-1,0-14-15,0 14 0,0-1 16,-13 14-16,13-1 0,0 1 0,-13 0 16,13-1-16,0 1 0,-13 0 0,0 0 15,13-1-15,-14 1 0,14-14 16,-13 14-16,13-27 0,0 14 0,0-14 16,0 0-16,0 14 0,0-14 0,13-13 15</inkml:trace>
  <inkml:trace contextRef="#ctx0" brushRef="#br0" timeOffset="60751.05">20426 10081 0,'0'0'0,"0"-27"15,0 14 1,-13 13-16,-1-13 16,1 13-16,0 0 15,0 0-15,-1 0 0,-12 13 16,13-13-16,-14 13 0,1 0 0,13 1 15,-1-1-15,-12-13 0,13 13 0,-1 0 16,14 1-16,-13-1 0,0 0 16,13 0-16,0 0 0,13 1 15,0-14-15,1 0 16,-1 0-16,13 0 0,-12 0 16,-1-14-16,13 14 0,-12 0 0,-1 0 15,0-13-15,0 13 0,0 0 0,1 0 16,-1 0-1,0 13-15,-13 1 16,0-1-16,0 0 0,-13 0 16,13 1-16,0-1 0,0 0 15,-13 0-15,13 1 0,-14 12 16,14-13-16,-13 0 0,13 1 16,0-1-16,13 0 15,1-13 1</inkml:trace>
  <inkml:trace contextRef="#ctx0" brushRef="#br0" timeOffset="61103.78">20783 10094 0,'0'0'0,"-13"0"16,-14 0-1,14 0-15,0 13 0,0-13 0,-14 13 16,14-13-16,-13 14 0,12-14 0,1 13 16,0-13-16,0 13 0,13 0 15,-14-13-15,41 13 16,-14-13-16,0 0 16,1-13-16,-1 13 15,0 0-15,0 0 0,0 0 0,1 13 16,-1-13-16,0 0 0,-13 14 0,13-1 15,-13 0-15,14 0 0,-14 1 0,0 12 16,0-13-16,0 14 0,-14-14 16,14 0-16,0 14 0,0-14 0,-13 13 15,13-12-15,0-1 0,0 0 0,0 0 16,0 1-16,0-1 0,0 0 16</inkml:trace>
  <inkml:trace contextRef="#ctx0" brushRef="#br0" timeOffset="62255.83">6641 10213 0,'0'-13'0,"-13"13"15,0 0 1,-1 0-16,1 0 0,-13 0 15,-1 13-15,14-13 0,-13 13 0,-1-13 16,14 13-16,0-13 0,-1 14 0,1-14 16,0 0-16,13 13 0,-13-13 15,13 13-15,13 0 16,0-13-16,0 0 0,1 14 0,-1-14 16,0 0-16,-13 13 0,13-13 15,1 0-15,-1 13 0,0-13 0,0 13 16,0 0-16,-13 1 0,0-1 15,0 0-15,0 0 16,0 1-16,-13-1 0,0 0 0,0 0 16,0 1-16,-1-1 0,-12 13 15,-1-13-15,1 1 0,-1-1 16,14 0-16,-13-13 0,13 13 0,-14-13 16,14 14-16,0-14 0,-14 0 0,14 0 15,0 0-15,-1 0 16,1-14-16</inkml:trace>
  <inkml:trace contextRef="#ctx0" brushRef="#br0" timeOffset="62492.99">6376 10001 0,'27'106'15,"-27"-66"1,13 52-16,-13-52 0,0 13 16,-13 79-16,13-79 0,-13 13 15,-1-13-15,14-13 0,-13 13 16,13-13-16,-13-1 0,13-12 0,0-1 16,0 1-16,0-1 0,0-13 0,-13 1 15,13-1-15</inkml:trace>
  <inkml:trace contextRef="#ctx0" brushRef="#br0" timeOffset="66680.12">7011 10266 0,'-13'0'32,"13"26"-17,0-12-15,0-1 16,0 0-16,0 0 0,-13 14 16,13-14-16,0 0 0,0 14 0,0-14 15,-13 13-15,13 1 0,0-14 0,0 13 16,0-12-16,-13-1 0,13 40 15,0-40 1,0 0-16,0 0 16</inkml:trace>
  <inkml:trace contextRef="#ctx0" brushRef="#br0" timeOffset="67042.89">7157 10385 0,'0'0'0,"0"-13"16,-13 39 0,0-13-1,13 1-15,0-1 0,0 0 16,0 0-16,0 1 0,0 12 16,13-13-16,-13 0 0,13 1 0,0-14 0,0 13 15,1 0-15,-1-13 0,0 13 16,0-13-16,14 0 0,-14 0 15,0 0-15,0-13 0,1 13 0,-1 0 16,0-13-16,0 13 0,-13-13 0,14-1 16,-14 1-16,0 0 0,0 0 15,0 0-15,0-1 0,-14 1 16,1-13-16,0 26 0,0-14 16,-1 1-16,1 13 0,0 0 15,-13-13-15,12 13 16,1 13-16,0-13 0,0 13 15,26-13 17</inkml:trace>
  <inkml:trace contextRef="#ctx0" brushRef="#br0" timeOffset="67335.82">7474 10358 0,'14'0'16,"-1"27"-1,-13-14-15,0 0 0,13 1 16,-13-1-16,13 0 16,1 0-16,-1 1 15,0-1-15,0-13 0,14 13 0,-14-13 0,0 0 16,0 0-16,14 0 16,-14 0-16,0-13 0,1 13 0,-1 0 15,0-13-15,0-1 0,-13 1 16,14 0-16,-28 13 0,14-13 0,-13-1 15,13 1-15,-13 0 0,0 0 16,-14-1-16,14 14 0,0-13 0,-14 13 16,1 0-16,13 0 0,-27 0 0,0 13 15,0 14-15,1-14 0,-14 14 16,13-1-16,-13 1 0</inkml:trace>
  <inkml:trace contextRef="#ctx0" brushRef="#br0" timeOffset="71367.59">6271 10967 0,'-14'13'0,"14"14"16,0-14-1,14-13-15,-14 13 0,0 0 16,13 1-16,-13-1 16,13 0-16,-13 0 0,13 0 0,1 1 15,-1-14-15,-13 13 0,13 0 0,0 0 16,14-13-16,-14 14 0,0-14 15,0 13-15,1-13 0,-1 0 0,0 13 16,0-13-16,14 0 0,-14 0 0,0 0 16,0 0-16,14-13 0,-14 13 15,0 0-15,1 0 0,-1-13 0,13 13 16,-12 0-16,-1-14 0,0 14 16,13 0-16,-12-13 0,-1 13 15,0-13-15,0 13 0,1 0 0,-1-13 16,13 13-16,-13-14 0,1 14 0,12 0 15,1-13-15,-14 13 0,13-13 16,14 13-16,0-13 0,-1 0 0,1 13 16,0-14-16,-1 1 0,1 13 0,13 0 15,-27-13-15,14 13 0,0 0 16,-14-13-16,14 13 0,-14 0 16,1 0-16,13 0 0,-14-14 0,67 14 15,-54 0-15,14 0 16,-13-13-16,13 13 0,-13 0 0,13 0 15,-14 0-15,1 0 0,13-13 0,-14 13 16,14 0-16,-13 0 0,13 0 16,0 0-16,0 0 0,0 0 0,-14 0 15,14 0-15,0 0 0,-13 0 0,0 0 16,-1 0-16,14 0 0,-13 0 16,0 0-16,13 0 0,-1 0 0,-12 0 15,13-13-15,0 13 0,-13 0 0,13 0 16,-14 0-16,1 0 0,-14 0 15,14 0-15,0 0 0,-14 0 0,14 0 16,-14 0-16,14 0 0,-13 0 16,12 0-16,-12 13 0,12-13 0,-12 0 15,13 0-15,-1 0 0,41 0 16,-14 0-16,-40 0 16,14 0-16,-14 0 0,14 0 15,-14 0-15,14 13 0,-13-13 16,12 0-16,27 0 0,1 0 15,25 0-15,-39 0 16,0 0-16,-13 0 0,39 0 16,-26 0-16,-13 0 0,39 0 15,-26 0-15,-13 0 0,13 13 16,0-13-16,-14 0 0,14 0 0,-13 0 16,13 0-16,0 0 0,-14 0 15,14 0-15,0 0 0,-13 14 0,13-14 16,0 0-16,0 0 0,-14 0 15,14 0-15,0 0 0,0 0 0,13 0 16,-13 0-16,0 0 0,0 0 0,0 0 16,13 13-16,-13-13 0,13 0 15,-13 0-15,13 0 0,13 0 0,-12 0 16,12 13-16,-26-13 0,0 0 0,26 0 16,-26 0-16,13 13 0,-13-13 15,13 0-15,1 0 0,-15 14 16,1-14-16,0 13 0,13-13 0,-26 13 15,13-13-15,0 13 0,0-13 0,-13 13 16,-1 1-16,14-1 0,-13-13 16,-1 13-16,1 0 0,0 1 0,0-1 15,-1-13-15,-12 13 0,-1 0 0,1 1 16,-1-14-16,-13 13 0,14-13 16,-1 13-16,-13-13 0,1 13 0,-1-13 15,0 0-15,0 13 0,1-13 16,-1 0-16,0 0 0,-13 14 0,13-14 15,1 0-15,-1 13 16,0-13 0,0 0 15,0-13-15,1-1-1,-14 1-15,0 0 16,13 13-16,-13-13 0,13 0 0,-13-1 15,13 1-15,1 0 16,-1 0-16,-13-1 0,13 1 0,0 0 16,1 0-16,-1 13 0,0-14 15,0 1-15,0 0 16,1 13-16,-1-13 0,0 13 16,0-13-16,14 13 0,-14-14 0,0 14 15,14-13-15,-1 13 0,1-13 16,-1 13-16,1-13 0,-1 13 0,0 0 15,1-14-15,-1 14 0,1 0 0,13 0 16,-14-13-16,0 13 0,14 0 0,-13 0 16,12 0-16,1 0 0,0 0 15,-1 0-15,14 0 0,-13 0 16,0 0-16,-14 0 0,27 0 0,0 0 0,-13 0 16,13 0-16,-1 0 15,-12 0-15,13 0 0,0 0 0,0 0 16,0 0-16,-14 0 0,14 0 0,0 0 15,0 0-15,-13 0 0,13 0 16,0 0-16,0 0 0,0 0 0,-1 0 16,1 0-16,0 0 0,13 0 0,-13 0 15,0 0-15,13 0 0,-13 0 16,0 0-16,13-13 0,-13 13 0,14 0 16,-1 0-16,-13 0 0,26 0 0,-26 0 15,13 0-15,-13 0 0,13 0 16,-13 0-16,13 0 0,0 0 15,-13 0-15,27 0 0,-28 0 0,15 0 16,-14 0-16,13 0 0,-13 0 0,13 0 16,0 0-16,0 0 0,0 0 15,-13 0-15,13 0 0,-13 0 0,13 0 16,-13 0-16,13 0 0,-13 0 0,13 0 16,-13 0-16,0 0 15,13 0-15,-13 13 0,0-13 0,13 0 0,-13 0 16,0 0-16,0 0 0,0 0 15,-13 0-15,13 0 0,39 0 16,-39 13-16,-13-13 0,13-13 0,-14 13 16,1 0-16,0 0 0,13 0 0,-14 0 15,1 0-15,13 0 0,-26-13 16,12 13-16,-12 0 0,-1 0 16,14-13-16,-14 13 0,1-13 0,-1 13 15,-13-14-15,14 14 0,-1-13 16,1 13-16,-14-13 0,0 13 0,14-13 15,-14-1-15,0 14 0,14-13 0,-14 0 16,0 0-16,0-1 0,1 14 16,-1-13-16,0 0 0,0 0 0,0 13 15,1-13-15,-1-1 0,0 1 16,-39 13 15,12 0-31,1 0 0</inkml:trace>
  <inkml:trace contextRef="#ctx0" brushRef="#br0" timeOffset="72082.97">13626 11708 0,'13'-27'16,"-13"14"-16,13 13 15,1-13-15,-1 0 0,13 13 0,-12-14 16,-1 14-16,13-13 0,-12 13 0,-1 0 16,0-13-16,0 13 0,0 0 15,1 0-15,-1 0 0,-13 13 16,13-13-16,-13 13 0,13-13 0,-13 14 16,0-1-16,14 0 0,-14 0 15,0 1-15,0-1 0,0 0 0,0 0 16,0 14-16,-14-14 0,14 0 0,0 0 15,0 14-15,0-14 0,0 0 16,-13 1-16,13-1 0,0 0 16,0 0-16,-13 0 0,13 1 15,0-1 1</inkml:trace>
  <inkml:trace contextRef="#ctx0" brushRef="#br0" timeOffset="72286.8">13639 11880 0,'27'-13'32,"-14"-1"-32,13 14 0,-12-13 15,12 0-15,1 13 0,12-13 0,1-1 16,-14 1-16,14 13 0,-13-13 15,-1 13-15,0-13 0,1 13 0,-1-13 16,1 13-16,-1 0 0</inkml:trace>
  <inkml:trace contextRef="#ctx0" brushRef="#br0" timeOffset="72999.95">14420 11814 0,'-13'-27'0,"13"14"0,13 0 16,-13 0-16,0-1 16,0 1-16,-13 0 15,13 0-15,0-1 16,-27 28 15,27-1-31,0 0 16,-13 0-16,13 1 0,0-1 15,0 0-15,0 0 16,0 0-16,0 1 0,13-1 16,0-13-1,1 0-15,-1 0 16,0 0-16,0-13 0,0 13 15,1-27 1,12 14-16,-13 0 16,1 13-16,-1-13 0,0 13 31,0 0-31,1 0 16,-1 13-1,-13 0 1,13-13-16,-13 13 0,13 0 15,0-26 32,1 13-47,-14-13 16,13 13-16,0-13 16,0 13-1,1 0 1,-1 0-16,0 0 15,0 0 1,1 0-16,-1 0 16,0 0-16,0 0 15,0 0 1,1 0-16,-1-13 0,0 13 16,0-14-16,1 14 15,-1-13-15,-13 0 0,13 13 16</inkml:trace>
  <inkml:trace contextRef="#ctx0" brushRef="#br0" timeOffset="73398.89">15042 11483 0,'0'-13'0,"0"52"47,0-25-31,0-1-16,0 13 0,0-12 15,0 12-15,0 0 0,0 14 0,0-13 16,0-1-16,0 1 0,0-1 0,0 0 16,0 1-16,-14-1 0,14-12 0,0-1 15,0 0-15,0 0 0,0 0 16,0 1-16,0-41 31,0 14-31,14-13 16,-1-14-16,0 13 0,0-12 0,0 12 15,1 1-15,12-1 0,-26 14 0,13 0 16,1 0-16,-1-1 0,0 14 16,14 0-1,-41 14 1,14-1-16,0 0 0,-13 0 16,0 1-16,13 12 0,-13-13 15,-1 1-15,1-1 0,0 0 16,13 0-16,-13-13 0</inkml:trace>
  <inkml:trace contextRef="#ctx0" brushRef="#br0" timeOffset="74236.78">15425 11271 0,'0'27'0,"0"-14"16,-13 0-16,13 0 16,0 1-16,0 12 0,-13-13 0,13 14 15,0-14-15,0 13 0,0-12 0,0-1 16,0 0-16,0 0 0,0 1 16,13-14-16,-13 13 0,13-13 15,-13 13-15,13-26 0,14 13 16,-14-13-16,0-1 15,1 14 1,-1-13-16,-13 26 31,13 1-15,-13-1 0,13-26 15,1-1-16,-14 1 1,13 13 47,-13-13-48,13 13-15,0 0 16,0 0-16,1 0 0,-1 0 31,0 0-31,0 0 16,1 0-16,-14 13 0,0 0 15,13-13-15,-13 14 16,0-1-16,0 0 16,0 0-16,0 1 15,-13-1-15,13 0 0,0 0 31,26-26 1,-26 0-32,13 0 0,0-1 15,14 1-15,-14 0 0,0 0 0,1-1 16,-14 1-16,13 13 0,0-13 0,-13 0 16,13 13-16,1-14 15,-14 28 16,0-1-31,0 0 0,0 0 16,0 1-16,0-1 16,0 0-16,0 0 0,0 1 15,13-14-15,13-14 32,-13 14-32,1-13 0,-1 0 15,0 0-15</inkml:trace>
  <inkml:trace contextRef="#ctx0" brushRef="#br0" timeOffset="74370.92">16100 11417 0</inkml:trace>
  <inkml:trace contextRef="#ctx0" brushRef="#br0" timeOffset="76318.7">21736 9975 0,'-27'0'31,"14"0"-31,0 0 0,-1 0 16,1 0-16,0 0 0,0 0 0,-1 13 15,-12-13-15,13 13 0,0-13 16,-1 0-16,1 13 0,0-13 0,13 14 16,-13-14-16,-1 13 0,14 0 0,0 0 15,0 1 1,14-1-16,-1-13 0,-13 13 15,13-13-15,14 13 0,-14 1 0,0-14 16,0 13-16,0-13 0,14 13 0,-14-13 16,0 13-16,1-13 15,12 27 1,-26-14-16,-13 0 16,0 0-16,13 1 0,-14-14 15,-12 26-15,-1-26 0,14 13 16,-13 1-16,13-1 0,-14-13 0,1 13 15,12-13-15,1 0 0,-13 13 16,12-13-16,1 0 0,0 0 0,0 0 16,0 0-16,13-13 0,-14 13 0,14-13 15,-13 13-15</inkml:trace>
  <inkml:trace contextRef="#ctx0" brushRef="#br0" timeOffset="76588">21577 9750 0,'0'0'0,"0"-13"0,13 39 15,-13-13 1,0 1-16,0 12 0,0 14 16,0-1-16,-13 1 0,13 0 0,0 13 15,0 0-15,-13-14 0,-1 27 0,14-26 16,0 13-16,-13-13 0,13-1 15,-13 14-15,13-13 0,-13 26 16,13-39-16,0-1 0,-14 1 16,14-14-16,0 0 0,0 13 15,0-12-15,0-1 0,14 0 16</inkml:trace>
  <inkml:trace contextRef="#ctx0" brushRef="#br0" timeOffset="77928.52">22357 9948 0,'-13'27'15,"13"-14"-15,-13 0 16,13 0-16,0 14 0,-13-1 0,13-12 16,-14 25-16,1-12 0,13-14 15,-13 13-15,0 1 0,13-1 16,-14-12-16,14-1 0,-13 13 0,13-12 15,-13-1-15,13 0 0,-13 0 16,13 0 0</inkml:trace>
  <inkml:trace contextRef="#ctx0" brushRef="#br0" timeOffset="78299.8">22463 10067 0,'0'-13'0,"-13"40"15,0-14-15,-1 0 16,14 0-16,0 14 16,-13-14-16,13 0 0,0 0 0,0 1 15,0-1-15,13 0 0,1 0 16,-1 1-1,0-14-15,0 0 0,1 0 16,-1-14-16,0 14 0,0 0 16,0-13-16,-13 0 0,14 13 0,-14-13 15,13-1-15,-13 1 0,0 0 16,0 0-16,0 0 0,0-1 16,-13 1-16,-1 13 0,14-13 15,-13 13-15,0 0 0,0 0 0,0 0 16,-1 0-16,1 0 0,0 0 0,0 0 15,13 13-15,-14-13 0,1 0 16,13 13-16</inkml:trace>
  <inkml:trace contextRef="#ctx0" brushRef="#br0" timeOffset="78653.03">22688 10054 0,'0'0'0,"-13"27"47,13-14-47,0 0 0,-13-13 0,13 13 15,0 1-15,0-1 0,0 0 0,0 0 16,0 0-16,13 1 16,-13-1-16,13-13 0,0 13 15,0-13-15,1 0 16,-1 0-16,0 0 0,0-13 15,1 13-15,-1-13 0,0-1 16,-13 1-16,13 0 0,-13 0 16,0 0-16,0-1 15,0 1-15,-13 0 0,13 0 0,-13 13 16,13-14-16,-13 14 0,13-13 0,-14 13 16,1 0-16,0 0 15,0 0-15,-1 0 0,1 13 0,0 1 16,0-14-16,13 13 0</inkml:trace>
  <inkml:trace contextRef="#ctx0" brushRef="#br0" timeOffset="79012.05">22913 10028 0,'0'-14'0,"-13"28"47,13-1-47,0 0 16,-14 0-16,14 1 0,0-1 0,-13 0 15,13 0-15,0 1 0,0-1 0,0 0 16,0 0 0,13-13-16,-13 13 0,14 1 0,-1-14 15,0 0-15,0 0 0,1 13 16,-1-26-16,0 13 0,0 0 15,1 0-15,-1-14 0,0 14 0,0-13 16,0 13-16,1-13 0,-14 0 16,0 0-16,0-1 0,0 1 15,-14 0-15,14 0 0,-13 13 16,13-14-16,-13 14 0,-13-13 16,12 13-16,-25 13 15,25-13-15,-12 14 0,13-14 0,-1 13 16,1 0-16,0 0 0,0 1 15</inkml:trace>
  <inkml:trace contextRef="#ctx0" brushRef="#br0" timeOffset="82639.87">4696 10742 0,'-13'0'0,"13"-13"16,27 13-1,-1 0 1,-13 0-16,0-13 0,14 13 16,-14 0-16,14 0 0,-1 0 15,1 0-15,-14 0 0,13 0 0,1 0 16,-14 0-16,13 0 0,-12 0 0,-1 0 16,0 0-16,-13 13 15,-13 0 1,0-13-16,-1 13 0,1 1 0,0-14 15,-14 13-15,14 0 0,-13-13 16,13 13-16,-1 0 0,1-13 16,0 14-16,0-14 0,-1 0 0,14 13 15,-13-13-15,26 13 32,14-13-32,-14 0 0,0 0 15,1-13-15,-1 13 0,0 0 0,0 0 16,0 0-16,14 0 0,-14-13 15</inkml:trace>
  <inkml:trace contextRef="#ctx0" brushRef="#br0" timeOffset="83362.78">5292 13520 0,'66'0'15,"-40"0"1,-12-13-16,12 13 0,-13 0 0,0 0 16,14 0-16,-14 0 0,14 0 0,-14 0 15,0 0-15</inkml:trace>
  <inkml:trace contextRef="#ctx0" brushRef="#br0" timeOffset="83611.83">5212 13785 0,'40'0'16,"-27"0"-16,0 0 15,14 0-15,-1-13 0,1 13 16,-1 0-16,1-14 0,-1 14 0,1 0 16,-1-13-16,1 13 0,-14 0 15,13-13-15,-13 13 0,1 0 0,-1 0 16,0-13-16,0 13 0,1 0 16,-1 13-16</inkml:trace>
  <inkml:trace contextRef="#ctx0" brushRef="#br0" timeOffset="87167.81">3942 13388 0,'-13'0'0,"13"13"32,0 80-17,0-67-15,0 1 0,0-1 16,0 1-16,0-1 0,0 0 0,0 1 16,-13-1-16,13 1 0,0-1 0,0-12 15,0 12-15,0-13 0,0 14 16,0-14-16,0 0 0,-13 0 0,13 1 15,0-1-15,0 0 16</inkml:trace>
  <inkml:trace contextRef="#ctx0" brushRef="#br0" timeOffset="87535.57">3850 13441 0,'13'-27'0,"-26"54"0,39-67 0,-13 40 16,1 0-16,-1-13 0,0 13 0,0 0 15,1 0-15,-14 13 0,13-13 16,0 13-16,-13 1 0,13-1 0,-13 13 16,-13-12-16,13 12 0,-13 14 15,0-14-15,-1 1 0,1-1 0,0 0 16,0-12-16,13 12 0,-14-13 15,1 1-15,0-14 0,13 13 0,-13 0 16,-1 0-16,14 1 31,14-1-15,-1-13-16,0 0 0,0 0 16,14 0-1,-14 0-15,0-13 0,1 13 0,-1 0 16,0 0-16,0 0 0,0-14 0,1 14 15,-1 0-15,0 0 16</inkml:trace>
  <inkml:trace contextRef="#ctx0" brushRef="#br0" timeOffset="88788.83">4180 13573 0,'0'0'0,"-13"0"0,0 0 16,0 0-16,13 13 16,-13-13-16,-1 14 0,14-1 15,-13 0-15,13 0 0,-13 0 16,13 1-16,0-1 0,0 0 16,0 0-16,0 1 15,0-1-15,13-13 0,-13 13 16,13-13-1,1-13-15,-1 13 16,-13-13-16,13-1 0,-13 1 16,0 0-16,13 13 15,-13-13-15,0-1 0,0 1 16,0 0-16,0 0 31,13 26 16,-13 0-31,14-13-16,-14 13 15,13 1 1,0-14 15,0 0-15,1-14-1,-1 14-15,0 0 16,0 14 0,0-14-1,1 0 1,-14 13 0,13-13-16,-13 13 31,13-13 0,0-13-15,1 0-1,-1 13 1,-13-14-16,13 14 16,0 0-16,-13-13 0,14 0 15,-1 0-15,0 0 16,-13-1-1,13 1-15,-13 0 16,0 0 0,0-1-1,13 41 32,1-14-47,-14 0 16,0 1-16,13 12 0,-13-13 15,0 0-15,0 1 0,0-1 16,0 0-16,0 0 0,0 14 0,-13-1 16,-1-12-16,14-1 0,-13-13 15,13 13-15,0 0 0,-13-13 16,13 13 0,13-26 15,-13 0-16,13 0-15,1 0 0,-14-1 16,13 14-16,0-13 0,0 0 16,-13 0-16,14-14 0,-1 14 15,0 0-15,14-27 0,-27 14 16,13 12-16,0-12 0,0-14 16,-13 27-16,13-13 15,-13 12-15,0 1 0,0 0 16,0 0-16,0-1 15,-13 14 1,0 14-16,0-1 16,13 0-16,0 0 15,0 1-15,13-1 16,-13 0-16,13-13 16,0 13-16,1 0 0,-1 1 15,0-14-15,-13 13 0,13-13 16,1 0-16,-14 13 0,13-13 15,0 0-15,-13 13 16</inkml:trace>
  <inkml:trace contextRef="#ctx0" brushRef="#br0" timeOffset="89072.11">4061 14063 0,'40'-27'32,"-27"14"-32,40-14 0,-13 14 0,0 0 15,39-27-15,-26 14 16,-13 13-16,-1-1 0,1-12 15,13 13-15,-27-1 0,-12 14 16,-1-13-16,0 13 0,0 0 0,0 0 16,-13 13-1,-13 1-15</inkml:trace>
  <inkml:trace contextRef="#ctx0" brushRef="#br0" timeOffset="89303.81">4247 14116 0,'-40'26'0,"80"-52"0,-107 65 15,54-26-15,0-13 16,53 0 15,-27 0-31,0-13 0,14 13 16,-14-13-16,26 0 0,-12 0 0,13-1 16,26-12-16,-40 13 0,-13-1 15,14 1-15,-1 0 16,-12 13-16,-1-13 0,0 13 15,0 0-15,-13-14 0,14 14 16,-1 0-16</inkml:trace>
  <inkml:trace contextRef="#ctx0" brushRef="#br0" timeOffset="99932.79">19685 6694 0,'13'26'15,"-13"-12"1,0-1-16,0 0 0,0 14 0,0-1 0,0 0 16,0 1-16,0-1 0,0 1 0,0-1 15,-13 1-15,13-1 16,0-13-16,0 14 0,-13-14 0,13 0 15,0 1-15,0-1 0,0 0 0,0 0 16,0 1-16,13-14 16,0 0-16</inkml:trace>
  <inkml:trace contextRef="#ctx0" brushRef="#br0" timeOffset="100164.01">19950 6720 0,'0'-39'0,"0"78"0,13-91 0,-13 38 15,0 1-15,0 40 32,0-14-17,0 13-15,0-13 0,0 14 0,0-14 16,0 14-16,0-1 0,0 0 0,0 1 16,0-1-16,0-12 0,0 12 0,0-13 15,0 14-15,0-14 0,0 0 16,0 0-16,0 14 0,0-14 15,0 0-15,0 1 16</inkml:trace>
  <inkml:trace contextRef="#ctx0" brushRef="#br0" timeOffset="100383.6">19659 7011 0,'0'0'0,"26"-13"15,-13 13-15,0-13 16,1 13-16,-1 0 0,13-13 0,-12 13 16,12-13-16,-13 13 0,14-14 15,-14 14-15,13-13 0,1 13 0,-14 0 16,14-13-16,-14 13 0</inkml:trace>
  <inkml:trace contextRef="#ctx0" brushRef="#br0" timeOffset="100741.76">20320 6734 0,'13'26'15,"-13"-13"1,0 1-16,0-1 0,13 0 16,-13 0-16,0 0 0,0 1 0,0-1 15,14 0-15,-14 0 0,13 1 0,-13-1 16,13 0-16,-13 0 16,13-13-16,-13 14 0,14-14 15,-1-14 1,-13 1-1,13 0-15,-13 0 0,0-1 16,0 1-16,13 0 0,-13-14 16,14 14-16,-14-13 0,0 13 0,13-14 15,-13 14-15,13 0 0,-13-1 0,0 1 16,13 0-16,0 13 16,1 0-1</inkml:trace>
  <inkml:trace contextRef="#ctx0" brushRef="#br0" timeOffset="100991.37">20876 6760 0,'0'0'0,"26"-13"32,-13 13-32,14-13 15,-14 13-15,0 0 0,14 0 16,-1 0-16,-13 0 0,1 0 0,12 0 16,-13 0-16,1 0 0,-1 0 15,0 0-15,0 0 0</inkml:trace>
  <inkml:trace contextRef="#ctx0" brushRef="#br0" timeOffset="101212.26">20942 6879 0,'-13'0'15,"52"-13"32,-26 13-47,1 0 16,-1 0-16,0 0 0,0 0 15,1 0-15,-1-13 16,0 13-16,0 0 0,-13-14 0</inkml:trace>
  <inkml:trace contextRef="#ctx0" brushRef="#br0" timeOffset="102058.02">20995 6813 0,'39'-13'16,"-12"0"0,-14 13-16,0 0 0,14-14 0,-1 14 15,-13 0-15,14-13 0,-14 13 16,0 0-16,1-13 0,-54 13 31,27 0-31,-14 0 16,14 13-16,-13-13 0,-1 0 15,1 0-15,12 0 0,1 0 0,-13 0 16,12 0-16,1 13 0,0-13 16,0 0-16,52 0 31,-25 0-31,12 0 0,-13 0 15,14 0-15,-1 0 0,1 0 0,-1 0 16,-13 0-16,1 0 0,12 0 16,-13 0-16,-39 14 31,-1-14-31,14 0 16,-13 0-16,-1 0 0,1 0 0,13 0 15,-14 0-15,14 0 0,-14 13 16,14-13-16,0 0 0,0 0 15,0 0-15,39-13 32,0 13-32</inkml:trace>
  <inkml:trace contextRef="#ctx0" brushRef="#br0" timeOffset="102395.6">21775 6443 0,'0'0'0,"-13"26"31,13-13-31,-13 1 16,13-1-16,-13 0 0,-1 13 0,1 1 15,-13-1-15,12 1 0,1-1 0,13 1 16,-13-14-16,0 13 0,13-12 15,-14-1-15,14 0 0,0 0 0,0 1 16,0-1-16,-13 0 0,26 0 16,-13 0-16,14-13 15,-14 14-15,13-14 0,0 0 16,0 0-16,1 0 0,-1 0 16,0 0-16,14 0 0,-14 0 15,13 0-15,-13 0 0,14-14 16,-14 14-16,14-13 0,-14 0 0,13 13 15,14-26-15</inkml:trace>
  <inkml:trace contextRef="#ctx0" brushRef="#br0" timeOffset="102706.76">22238 6443 0,'-13'13'16,"0"-13"-1,13 13-15,-13 0 0,13 1 0,-14-1 16,14 0-16,0 0 0,-13 0 0,13 1 16,0-1-16,0 0 0,0 0 15,0 1-15,13-1 0,-13 0 16,14 0-16,-1 1 0,0-1 16,0 0-16,0-13 15,1 13-15,-1-13 0,0 0 0,0 0 16,1 0-16,-1 0 0,0 0 15,0-13-15,1 13 0,-1 0 16,0 0-16,0-13 0,0 13 0,1-13 16,-1 13-16,0 0 15,0 0 1</inkml:trace>
  <inkml:trace contextRef="#ctx0" brushRef="#br0" timeOffset="104872.79">19328 7660 0,'-13'0'0,"13"26"31,-14-13-31,14 1 0,0-1 16,-13 0-16,13 0 0,-13 1 0,13 12 16,0-13-16,0 0 0,-13 1 0,13 12 15,0-13-15,0 1 0,0-1 16,0 0-16,0 0 0,0 1 16,0-1-16,13 0 15</inkml:trace>
  <inkml:trace contextRef="#ctx0" brushRef="#br0" timeOffset="105215.99">19447 7726 0,'-13'-13'31,"-1"13"-31,14 13 0,-13 0 16,13 0-16,-13 1 15,13-1-15,0 0 0,0 0 0,13 0 16,-13 1-16,13-1 16,1 0-16,-1 0 15,0-13-15,0 0 0,1 0 0,-1 0 16,0 0-16,0 0 0,0 0 0,-13-13 16,14 13-16,-1-13 0,-13 0 15,0-1-15,13 14 0,-13-13 0,0 0 16,-13 0-16,13 0 0,0-1 0,0 1 15,0 0-15,-13 13 0,13-13 0,-14 13 16,14-14-16,-13 14 0,0 0 16,0 0-16,0 0 15</inkml:trace>
  <inkml:trace contextRef="#ctx0" brushRef="#br0" timeOffset="105548.67">19645 7699 0,'-26'27'31,"26"-14"-31,-13 0 0,13 1 16,0-1-16,13 0 0,-13 0 15,13 0-15,-13 1 16,13-14-16,1 13 0,-1-13 0,0 0 0,0 0 15,0 0-15,1 0 16,-1 0-16,0 0 0,0 0 0,1-13 16,-1 13-16,0-14 0,0 14 0,-13-13 15,0 0-15,0 0 0,0 0 16,0-1-16,0 1 0,0 0 16,-13 0-16,13-1 0,-13 14 0,13-13 15,-13 13-15,-1-13 16,1 13-16,0 0 0,0 13 15,-1-13-15,1 0 0,0 0 0,13 13 16,-13 1 0</inkml:trace>
  <inkml:trace contextRef="#ctx0" brushRef="#br0" timeOffset="105892.68">19976 7633 0,'0'13'0,"0"1"16,-13-1-16,13 0 0,0 0 15,0 1-15,0-1 0,0 0 0,0 0 16,0 1-16,13-1 0,-13 0 16,13 0-16,0 0 0,1-13 15,-1 14-15,0-14 0,0 0 16,1 0-16,-1 0 0,0 0 15,0 0-15,1 0 0,-14-14 0,13 14 16,-13-13-16,13 0 16,-13 0-16,-13 0 0,13-1 0,0 1 15,-13 0-15,-1 0 0,14-1 0,-13 1 16,0 0-16,0 0 0,-1 13 16,1 0-16,0-14 0,0 14 0,-1 0 15,1 0-15,0 14 0,0-14 16,13 13-16</inkml:trace>
  <inkml:trace contextRef="#ctx0" brushRef="#br0" timeOffset="106555.9">20995 7752 0,'13'-13'0,"40"0"16,-27 13-1,-12-13-15,12 13 0,-13 0 16,14 0-16,-14 0 0,0-14 0,0 14 15,1 0-15,-1 0 0,0 0 0,-39 0 47,12 0-47,1 14 16,-13-14-16,12 0 0,1 0 0,0 0 16,-13 13-16,12-13 0,1 0 0,0 0 15,0 0 1,39 13 15,-13-13-31,14-13 0,-14 13 0,0 0 16,14 0-16,-14 0 0,0 0 0,0 0 15,1 0-15,-1 0 0,0 0 16,0 0-16,-52 0 31,25 0-15,-12 0-16,13 0 0,-1 0 15,1 0-15,0 0 0,0 0 0,0 0 16,-1 0-16,1 0 16</inkml:trace>
  <inkml:trace contextRef="#ctx0" brushRef="#br0" timeOffset="109708.5">22027 7501 0,'-14'0'0,"28"0"0,-28-13 0,1 13 0,13-14 16,-13 14-16,0 0 0,-1 0 16,1 0-16,0 0 0,-13 0 0,12 14 15,-12-14-15,13 13 0,-14 0 0,14-13 16,0 13-16,-1 1 0,1-1 16,-13 0-16,26 0 15,-13-13-15,26 14 16,0-28-1,13 14-15,-12-13 0,-1 13 0,0-13 16,14 0-16,-14 13 0,0-14 16,14 14-16,-27-13 0,13 13 0,0-13 15,0 13-15,0 0 16,-13 13-16,14 0 0,-14 1 16,13-1-16,-13 0 0,0 0 0,0 1 15,0-1-15,0 0 0,0 13 16,0-12-16,0-1 0,0 0 0,-13 0 15,13 1-15,0-1 0,0 0 0,0 0 16,0 1 0,0-1-16,13-13 0,13 0 15,-12 0 1</inkml:trace>
  <inkml:trace contextRef="#ctx0" brushRef="#br0" timeOffset="110683.64">22542 7488 0,'14'0'0,"-14"-14"15,-14 1 16,1 13-31,-13 0 16,13 0-16,-1 0 16,1 0-16,0 13 0,0-13 15,-1 0-15,1 0 0,0 14 16,0-1 0,13 0-16,0 0 15,0 1-15,0-1 16,13 0-16,-13 0 0,0 1 15,0-1-15,-13 0 0,13 0 16,0 0-16,-13 1 0,13-1 0,-27 13 16,14-12-16,13-1 15,-13-13-15,-1 13 0,1-13 0,13 13 16,-13-13-16,0 14 16,-1-14-16,28-27 31,-1 14-31,0 0 15,0-1-15,1 14 16,-1-13-16,0 0 0,0 0 16,1-1-16,-14 1 0,13 0 0,0 13 15,-13-13-15,13 0 0,-13-1 0,0 1 16,0 0-16,0 0 16,0-1-16,-13 1 15,0 13-15,13-13 0,-13 13 0,-1 0 16,1 0-16,0 0 15,0 0-15,-1 0 0,1 13 0,0-13 16,0 13-16,-1 1 0</inkml:trace>
  <inkml:trace contextRef="#ctx0" brushRef="#br0" timeOffset="110956.69">22767 7541 0,'-26'26'31,"13"-26"-31,-1 13 0,1 1 15,-13 12-15,-1-13 0,1 14 0,-1-1 16,1-13-16,-1 14 0,1-1 0,0-12 16,-1-1-16,14 0 0,0 13 15,-1-26-15,14 14 0,-13-14 16</inkml:trace>
  <inkml:trace contextRef="#ctx0" brushRef="#br0" timeOffset="111141.23">22820 7594 0,'-13'39'31,"0"-26"-31,-14 27 0,1-13 16,-1-1-16,-12 14 0,-1-14 0,14 1 15,-14 12-15,0-12 0,1-1 16,-1 14-16,13-27 0,-12 27 0,-14-14 15</inkml:trace>
  <inkml:trace contextRef="#ctx0" brushRef="#br1" timeOffset="117548.71">11972 9790 0,'0'-14'0,"14"54"31,-14-27-31,0 14 0,0 12 0,0 1 16,0 13-16,0-13 0,0 13 0,0 0 15,-14-1-15,14-12 0,0 13 16,0 0-16,-13-13 0,13-1 0,0 14 16,-13-13-16,13-14 0,0 1 0,0-1 15,-13 1-15,13-1 0,0-13 16,0 1-16,-14-1 0,14 0 0,0 0 15,0 1-15</inkml:trace>
  <inkml:trace contextRef="#ctx0" brushRef="#br1" timeOffset="119656.78">11919 9723 0,'106'-13'31,"-79"13"-31,12 0 0,1 0 0,13 0 16,0 0-16,0 0 0,13 0 0,0 13 16,14-13-16,-28 0 0,28 0 0,-27 0 15,13 0-15,0 0 0,-13 0 16,26 0-16,1 0 0,-14 0 0,13 0 16,-26 0-16,0 0 0,0 0 15,13 0-15,-13 0 0,-13 0 16,13 0-16,0 0 0,-1 0 0,-12 14 15,13-28-15,-13 14 0,13 0 0,-14 0 16,-12 0-16,13 0 0,-14 0 16,14 0-16,-14 0 0,14 0 0,-14-13 15,1 13-15,-1 0 0,-13 0 0,14 0 16,-1 0-16,-12 0 0,-1-13 16,0 13-16,0 0 0,1 0 0,-1 0 15,0 0-15,0 0 16,0 0-1,1 0-15,-1 0 16,0 0 15,-13 13-15,0 0-16,0 1 16,13-1-16,-13 0 0,0 0 15,0 1-15,0-1 0,0 0 16,0 13-16,0-12 0,0-1 0,0 13 15,0-12-15,-13 12 0,13 1 0,0-1 16,0 0-16,-13 1 0,13-14 16,-13 14-16,13-1 0,0 1 0,-14-1 15,14 0-15,0 1 0,-13-14 16,13 14-16,-13-1 0,13 1 16,0-14-16,-13 13 0,13-13 0,0 14 15,0-14-15,-13 0 0,13 14 0,0-14 16,0 0-16,-14 1 0,14-1 15,0 13-15,0-13 0,0 1 0,-13-1 16,13 0-16,0 0 0,0 1 0,0-1 16,0 0-16,0 0 0,0 0 15,0 1-15,0-1 0,-13 0 16,13 0-16,0 1 0,0-1 16,0 0-1,13 0-15,-13 1 16,-13-1-16,13 0 15,0 0-15,0 0 0,0 1 16,0-1 0,0 0-1,-13 0-15,13 1 32,0-1-1,-14-13 16,14 13-16,-13-13 0,0 0-15,0 0-16,-1 0 15,1 0 1,0 0 0,0 0-16,0 0 15,-1 0-15,1 0 16,0 0-16,0 0 16,-1 0-16,1 0 0,0 0 0,0 0 15,-1 0-15,-12 0 0,13 0 0,0 0 16,-1 0-16,-12 0 0,13 0 15,-1 0-15,1 0 0,0 0 0,0 0 16,-1 0-16,1 0 0,-13 0 0,13 0 16,-1 0-16,1 0 0,0 0 0,0 0 15,-1 0-15,-12 13 0,-1-13 16,14 0-16,0 0 16,0 0-16,0 0 0,-14 0 0,14 0 15,0 0-15,-1 0 0,1 0 16,0 0-16,0 0 0,-14 0 0,14 0 15,0 0-15,0 0 0,-14 0 0,14 0 16,0 0-16,-14 0 0,14 0 16,0 0-16,-14 0 0,14 0 0,0 0 15,0 0-15,-14 0 0,14 0 16,-14 0-16,14 0 0,0 0 0,-13 0 16,12 0-16,1 0 0,-13 0 15,12 0-15,1 0 0,0 0 0,-13 0 16,12-13-16,1 13 0,0 0 0,0 0 15,-1 0-15,1 0 0,0 0 16,0 0-16,-1 0 0,1 0 0,0 0 16,0 0-16,0-13 0,-1 13 15,1 0-15,0 0 16,0 0-16,-1 0 0,1 0 0,0 0 16,0-13-16,-1 13 0,1 0 15,0 0-15,0 0 0,0 0 16,-1 0-16,1 0 15,0 0-15,0 0 0,-1-14 16,1 14-16,0 0 16,0 0-16,-1 0 15,1 0-15,0 0 16,0 0-16,0 0 0,-1 0 16,1 14-1,0-14-15,0 0 0,-1 0 16,1 0-16,-13-14 15,12 14-15,1 0 16,0 0-16,-13 0 16,-1 0-16,14-13 15,0 13 1,-1 0-16,1 0 0,0 0 16,0 0-16,0 0 15,-1 0-15,1 0 16,0 0-16,0 0 15,-1 0-15,1 0 0,0 0 16,0 0-16,-1 0 16,1 0-16,-13 0 15,13 0 1,-14 0-16,14 0 31,0 0-31,-1 13 16,1-13-1,0 0 1,0 0 31,-1 0-47,1-13 16,13 0-16,-13 13 15,13-27-15,0 14 16,0 0-16,0-13 0,0 12 0,0-12 15,13-14-15,0 14 0,14-1 0,-14-12 16</inkml:trace>
  <inkml:trace contextRef="#ctx0" brushRef="#br1" timeOffset="120720.74">21114 9723 0,'0'-13'0,"13"13"15,0 27 1,-13-14-16,0 13 16,0 1-16,0 12 0,0 14 0,0-13 15,-13 26-15,13 0 0,-13 1 0,13-15 16,-13 15-16,13-14 0,-14-1 15,14-12-15,-13 13 0,13-13 0,-13-1 16,13-12-16,0 13 0,-13-14 0,13-13 16,0 14-16,0-14 15,-14 0-15,14 0 0,0 1 16,14-41 0</inkml:trace>
  <inkml:trace contextRef="#ctx0" brushRef="#br1" timeOffset="121592.84">21339 9684 0,'53'-13'0,"145"-1"31,-145 14-31,0 0 16,26-13-16,-13 13 0,14 0 15,-1-13-15,0 13 0,14 0 16,0 0-16,-1 0 0,1 0 0,-1-13 16,14 13-16,-13 0 0,0 0 0,-14 0 15,14 0-15,-14 0 0,-26 0 16,13 0-16,-13 0 0,-13 0 0,-1 0 16,1 0-16,-14 0 0,1 0 0,-1 0 15,-12 0-15,-1 0 0,0 0 16,0 0-16,0 0 0,1 0 0,-1-14 15,0 14-15,0 0 16,1 0 0,-1 14-16,0-14 15,-13 13-15,0 0 0,13-13 16,-13 13-16,0 1 0,0 12 16,0-13-16,14 40 15,-14-26-15,0-1 0,0 0 0,0 1 16,0 13-16,0-1 0,0-12 0,0-1 15,0 14-15,13-14 0,-13 1 16,0-1-16,0 1 0,0-1 0,0-13 16,0 14-16,0-1 0,0-12 0,0-1 15,0 13-15,0-12 0,0 12 16,0-13-16,0 0 0,-13 1 16,13-1-16,0 0 0,0 0 15,-14 1-15,1-1 16,13 0-16,-13-13 0,0 0 15,-1 13-15,1-13 0,0 14 0,0-14 16,-14 0-16,14 13 0,-13-13 0,-14 13 16,0-13-16,0 0 0,-12 0 15,-1 13-15,0-13 0,-13 0 0,-14 0 16,1 0-16,-1 0 0,-12 13 0,-1-13 16,1 0-16,-1 0 15,0 0-15,14 14 0,-14-14 0,14 0 0,0 0 16,-1 13-16,14-13 0,13 13 15,0-13-15,0 0 0,1 13 16,12-13-16,-13 14 0,26-14 0,-12 0 16,26 13-16,-14-13 0,14 0 0,0 0 15,26-13 1,0 13 0</inkml:trace>
  <inkml:trace contextRef="#ctx0" brushRef="#br1" timeOffset="122044.69">24289 10120 0,'-53'0'15,"40"0"-15,-1 0 0,1 0 16,0 0-16,-14 14 0,14-14 0,0 0 16,-13 0-16,12 0 0,1 0 0,0 0 15,0 13-15,-1-13 0,1 0 16,0 0-16,0 0 0,-1 0 15,1 0-15</inkml:trace>
  <inkml:trace contextRef="#ctx0" brushRef="#br1" timeOffset="122331.58">24037 10028 0,'0'0'16,"-26"0"-16,13 13 16,-1-13-16,1 0 0,0 13 15,0-13-15,0 13 0,-1-13 16,1 14-16,0-14 0,0 13 16,-1 0-16,14 0 0,-13-13 15,13 14-15,-13-14 0,13 13 0,0 0 31,13 0-31,0 0 16,1-13-16,-1 0 16,0 0-16,0 0 0,1 0 15,-1 0-15,0 0 0,13 0 16,-12 0-16,-1-13 0</inkml:trace>
  <inkml:trace contextRef="#ctx0" brushRef="#br1" timeOffset="122548.7">24461 9975 0,'13'13'32,"-13"0"-17,0 0-15,0 1 0,0-1 16,-13 0-16,13 0 0,0 1 15,0-1-15,-13-13 0,13 13 0,0 0 16,0 1-16,0-1 0</inkml:trace>
  <inkml:trace contextRef="#ctx0" brushRef="#br1" timeOffset="122776.81">24659 9948 0,'13'0'0,"-26"0"0,26-13 16,-26 40 15,13-14-31,-13 0 0,13 0 16,0 0-16,-13 1 16,13-1-16,0 0 0,-14 0 0,14 1 15,0-1-15,0 0 0,0 0 0,-13 1 16,13-1-16,0 0 0,0 0 15,-13 0-15</inkml:trace>
  <inkml:trace contextRef="#ctx0" brushRef="#br1" timeOffset="123208.47">24368 10107 0,'13'-13'16,"1"13"0,-1 0-16,0 0 15,0 0-15,1 0 0,-1 0 0,0 0 16,0 0-16,0 0 0,1 0 16,-1 0-16,0-13 0,0 13 15,1 0-15,-1-14 0,0 14 16,0 0-16,0-13 0,1 13 0,-1 0 15,-13-13-15,13 13 16,0 0-16,1 0 16,-1 13-1,0 0-15,-13 1 16,13-14-16,-13 13 16,14-13-16,-14 13 0,13-13 15,-13 13 1,13-13-16,0-13 15,0 13-15,-13-13 16,14 13-16,-14-13 0,13 13 0,0-14 16,-13 1-16,13 0 0,1 13 15,-1-13-15,0-1 0,0 1 16</inkml:trace>
  <inkml:trace contextRef="#ctx0" brushRef="#br1" timeOffset="123959.66">12435 11046 0,'-39'14'0,"39"-1"15,-14 0-15,1 13 0,0-12 16,13 12-16,-13-13 15,0 14-15,-1-1 0,-12 1 0,13-1 16,-1 1-16,1-1 0,0-13 0,0 1 16,0-1-16,13 0 0,-14 0 15,14 1-15,-13-14 0,13 13 0</inkml:trace>
  <inkml:trace contextRef="#ctx0" brushRef="#br1" timeOffset="124297.73">12263 10967 0,'0'0'0,"14"-13"16,-1 13-1,0 13 1,0-13-16,1 0 16,-1-13-16,0 13 0,0 0 15,0 0-15,1 0 0,-1 0 0,0 0 0,0 0 16,1 13 0,-1 0-16,0-13 0,-13 13 15,13 1-15,-13-1 0,0 0 16,0 0-16,0 1 15,0-1-15,0 0 0,0 0 0,0 0 16,0 1-16,0-1 0,0 0 16</inkml:trace>
  <inkml:trace contextRef="#ctx0" brushRef="#br1" timeOffset="124731.93">11880 11827 0,'0'13'31,"-13"0"-15,13 1-16,0-1 0,-14 0 16,14 0-16,0 0 15,0 1 1,0-1-16,14 0 15,-1-13 1,0 0-16,13 0 16,-12 0-16,-1 0 15,0 0-15,0 0 0,1 0 16,-14-13-16,13 13 0,0 0 16,0 0-16,1-13 0,-1 13 15</inkml:trace>
  <inkml:trace contextRef="#ctx0" brushRef="#br1" timeOffset="125024.92">12171 11748 0,'0'-14'32,"0"54"-17,0-27 1,0 0-16,13 1 0,-13-1 15,13 0-15,-13 0 0,14-13 0,-14 14 16,13-1-16,0-13 0,0 0 16,0 0-16,1 13 0,-1-26 15,0 13-15,0 0 16,-13-13-16,14 13 0,-1-14 0,-13 1 16,13 0-1,0 0-15,-13-1 16,13 1-16,-13 0 15</inkml:trace>
  <inkml:trace contextRef="#ctx0" brushRef="#br1" timeOffset="130407.63">6575 13401 0,'13'0'0,"-13"-13"62,-13 0-46,13-1-1,-13 1-15,-1 13 16,14-13-16,-13 13 16,0 0-16,0 13 15,0-13-15,13 13 0,-14-13 0,1 14 16,0-1-16,0 0 0,-1 0 0,1 1 15,13 12-15,-13-13 0,13 1 0,-13-1 16,13 0-16,0 0 0,0 0 16,0 1-16,0-1 0,0 0 15,13-13-15,13 0 32,-12-13-32,-14 0 0,13 13 0,0-14 15,-13 1-15,13 0 0,1 0 0,-1 0 16,-13-1-1,13 14-15,0 0 16,-13 14-16,13-1 16,-13 0-16,0 0 0,14 14 15,-14-14-15,0 0 0,0 14 0,0-14 16,0 13-16,13-13 0,-13 14 0,0-14 16,0 0-16,0 1 15,0-1-15,0 0 0,0 0 0,0 1 16,13-14-16,0-14 31</inkml:trace>
  <inkml:trace contextRef="#ctx0" brushRef="#br1" timeOffset="130744.38">6734 13467 0,'-27'14'15,"27"-1"-15,0 0 16,0 0-16,0 0 0,0 1 16,0-1-16,0 13 0,0-12 0,13-1 15,-13 0-15,14 0 0,-14 0 16,13 1-16,0-14 0,0 13 0,1-13 16,-1 13-16,13-26 15,-13 13-15,-13-13 16,14 13-16,-14-14 0,0 1 0,13 0 15,-13 0-15,0 0 0,0-1 16,-13 1-16,13 0 0,0 0 0,-14-1 16,1 1-16,0 13 0,0-13 15,0 13-15,-1-13 16,1 13-16,0 0 16,0 13-16,-1-13 0,14 13 0,-13-13 15,0 0-15</inkml:trace>
  <inkml:trace contextRef="#ctx0" brushRef="#br1" timeOffset="131099.71">6998 13361 0,'13'0'0,"-26"0"0,40 0 0,-14 0 16,0 14-16,0-1 15,-13 0-15,0 0 16,0 14-16,0-14 0,0 14 0,-13-1 16,13-13-16,-13 14 0,13-14 15,-13 13-15,13-12 0,-14-1 0,14 0 16,0 0-16,-13 0 16,13 1-16,27-28 31,-14 14-16,0-13 1,0 13-16,1 0 0,-1-13 16,0 13-16,0-13 0,1 13 0,-1 0 15,0 0-15,0-13 0,0 13 16,1 0-16,-1 0 0,0 0 0,0 13 16,1-13-16</inkml:trace>
  <inkml:trace contextRef="#ctx0" brushRef="#br1" timeOffset="131352.78">7752 13533 0,'-26'0'0,"13"14"15,-1-1-15,1 0 0,0 0 16,-14 14-16,1-14 0,0 13 15,-1 1-15,-13 13 0,1-14 0,-1 1 16,0 12-16,1-12 0,12-1 16,1 1-16,-1-1 0,1-13 0,13 1 15,-1-1-15,1-13 0,13 13 0</inkml:trace>
  <inkml:trace contextRef="#ctx0" brushRef="#br1" timeOffset="131559.71">7739 13600 0,'-26'13'32,"12"0"-32,-12 0 0,13 14 15,-14-1-15,1 14 0,13-14 16,-14 1-16,1-1 0,-1 14 0,1-14 15,12 1-15,-12-1 0,0 1 16,12-14-16,1 13 0,0-26 16,13 14-16,-13-1 0,-1 0 15</inkml:trace>
  <inkml:trace contextRef="#ctx0" brushRef="#br1" timeOffset="132365.01">8070 13428 0,'13'0'15,"0"0"1,0 0-16,1 0 0,12 0 0,-13 0 15,14 0-15,-1 0 0,1 0 0,-1 0 16,1 13-16,-1-13 0,14 0 16,-14 0-16,1 0 0,-1 0 0,1 13 15,-14-13-15,0 0 0,14 0 0,-14 0 16,0 0-16,-13 13 0,13-13 16,0 0-16</inkml:trace>
  <inkml:trace contextRef="#ctx0" brushRef="#br1" timeOffset="132717">8440 13295 0,'13'14'31,"1"-14"-31,-1 0 0,0 13 16,0-13-16,1 13 0,-1-13 0,13 13 16,-13-13-16,14 13 0,-14 1 15,0-1-15,1-13 0,-1 13 0,0 0 16,0 1-16,-13-1 0,14 0 0,-14 0 15,0 1-15,0-1 16,0 0-16,-14 13 0,1 1 0,-13-1 16,12-12-16,-12 12 0,-1 0 0,14-12 15,0-1-15,0 0 0,0 0 0,-1 1 16</inkml:trace>
  <inkml:trace contextRef="#ctx0" brushRef="#br1" timeOffset="133381.69">9472 13176 0,'0'27'16,"0"-1"-16,-13-13 16,13 14-16,0-14 0,0 14 0,0 12 15,0-12-15,-13-1 0,13 1 0,0-1 16,0 1-16,0-1 16,0-13-16,0 14 0,0-14 0,0 0 15,0 0-15,0 1 0,0-1 0</inkml:trace>
  <inkml:trace contextRef="#ctx0" brushRef="#br1" timeOffset="133772.87">9432 13163 0,'14'-26'16,"39"-14"-1,-40 40 1,0 0-16,0 13 0,0-13 16,1 13-16,-1 1 0,-13-1 15,0 13-15,0-13 0,0 14 0,0-14 16,-13 14-16,-1 12 0,1-25 0,0 25 16,0-26-16,0 14 0,-1-14 15,1 0-15,0 1 0,0-1 0,13 0 16,-14-13-16,1 0 0,13 13 15,-13-13-15,0 14 16,26-1 0,0-13-1,0 0-15,1 0 0,-1 0 16,0 0-16,0 13 0,1-13 16,-1 0-16,0 0 0,0 0 0,0 0 15,1 0-15,-1 0 0,0 0 16,0 0-16,1 0 0,-1 0 0,0 0 15,0 0-15,1 0 0</inkml:trace>
  <inkml:trace contextRef="#ctx0" brushRef="#br1" timeOffset="134563.67">9948 13295 0,'-26'-13'16,"13"13"-16,-27 0 16,27 0-16,-1 13 15,1-13-15,0 14 0,0-1 16,0 0-16,-1 0 0,1 0 16,13 1-16,-13-1 0,13 0 15,0 0-15,-13-13 0,13 14 0,13-1 16,-13 0-16,0 0 15,13-13-15,0 14 16,14-14-16,-14-14 16,0 14-16,0-13 15,1 0-15,-1 0 16,-13-1-16,13 14 0,-13-13 0,0 0 16,13 0-16,-13-1 15,0 1-15,0 0 16,0 39 31,14-12-32,-14-1-15,0 0 16,13-13-16,-13 13 16,13 1-16,0-14 31,1 0-31,-1-14 15,0 14-15,0 0 16,0 0 0,1 0-16,-1 0 15,0 0 1,0 14-16,1-14 16,-14 13-1,13 0 1,0-13-1,-13-13 17,0 0-32,13 13 15,-13-14-15,14 1 16,-1 13 0,0 0-1,0 13 1,0 1 15,1-14-31,-1 13 16,0-13-16</inkml:trace>
  <inkml:trace contextRef="#ctx0" brushRef="#br1" timeOffset="135215.91">10464 13282 0,'-13'-13'16,"0"13"-16,-27 13 31,27-13-31,0 13 16,-1 1 0,14-1-1,14 0 1,-14 0-16,0 0 0,13 1 15,-13-1-15,0 0 0,0 0 0,13 1 16,-13-1-16,-13 0 0,13 0 16,0 1-16,0-1 0,-13 0 0,13 0 15,-14 0-15,1 1 0,13-1 16,-13-13-16,13 13 16,26-26 15,-12 0-31,-1 13 15,0-14-15,0 1 0,14 0 16,-14 0-16,0 0 0,1-14 0,-1 14 16,0 0-16,0-1 0,0 1 15,-13 0-15,14 0 0,-1-1 16,-13 1-16,-27 26 47,27 1-47,0-1 0,0 0 31,0 0-31,14 1 16,-1-14-16,-13 13 15,13-13-15,0 0 0,1 0 16,-1 0-16,0 0 16</inkml:trace>
  <inkml:trace contextRef="#ctx0" brushRef="#br1" timeOffset="135881.19">11086 13256 0,'-40'0'31,"40"13"-31,-13-13 0,0 26 16,13-12-16,0-1 0,-13-13 16,13 13-16,13 0 15,-13 0-15,13-13 0,0 0 16,14 0-1,-14 0-15,0-13 0,0 0 0,1 13 16,-1-13-16,0 0 0,-13-1 16,13 14-16,-13-13 0,0 0 0,0 0 15,0-1 1,-13 1 0,0 13-16,0 0 15,13 13 1,13 1-1,-13-1-15,13 0 0,0-13 16,1 13-16,-1 1 16,0-1-16,0 0 0,1 0 0,-14 0 15,13 14-15,0-14 0,-13 0 0,0 14 16,0-14-16,0 14 0,0-1 16,-13 0-16,0-12 0,13 12 0,-14-13 15,1 1-15,13-1 0,-13 0 0,0 0 16,-1 0-16,1-13 15,13-13 1,0-13-16,13 13 16,-13-1-16,14 1 0,-1 0 15,0-14-15,0 14 0,1 0 16,12-13-16,-13 12 0,14-12 0,-14 13 0,0-1 16,0 14-16,1-13 0,-1 0 15,0 13-15,0-13 0,1 13 16,-1-14-16</inkml:trace>
  <inkml:trace contextRef="#ctx0" brushRef="#br1" timeOffset="136336.2">12263 13084 0,'-52'13'31,"38"-13"-31,1 13 0,0 0 16,13 1-16,0-1 15,13 0-15,-13 0 0,13 0 16,1 1-16,-1-1 0,0 0 16,0 0-16,0 1 0,1-1 15,-1-13-15,0 13 0,-13 0 16,13-13-16,-13 14 0,14-14 0,-14 13 16,0 0-16,-14 0 15,1-13-15,13 13 0,-40 1 16,27-1-16,-13-13 0,-1 13 15,14-13-15,-13 13 0,-1-13 0,14 0 16,-14 0-16,14 14 0,0-14 16,0-14-16,0 14 0,26-13 15,0 13 1,-13-13-16</inkml:trace>
  <inkml:trace contextRef="#ctx0" brushRef="#br1" timeOffset="137803.07">12740 13242 0,'0'-13'0,"-14"0"16,1 13-1,0 0-15,0 0 0,0 0 16,-1 0-16,1 13 15,0-13-15,13 13 0,-13-13 16,-1 14-16,14-1 0,-13-13 0,13 13 16,-13 0-16,13 1 0,0 12 31,13-26-15,14-13-16,-14 13 15,0 0-15,0-13 0,1-1 16,-1 14-16,-13-13 15,13 13-15,0 13 32,0 1-17,1-1-15,-1 0 16,0-13 0,0 0-16,1 0 15,-1 0-15,0-13 0,0 0 16,1-1-1,-14 1-15,13-13 0,-13 12 0,13 1 16,-13-13-16,0-1 0,0 14 0,13-13 16,-13-1-16,0 1 0,0 12 15,0 1-15,0 0 0,0-13 16,0 12-16,0 41 31,0-14-31,0 0 16,0 14-16,0-14 0,0 13 15,0-12-15,0 12 0,0 0 0,13-12 16,-13 12-16,14-13 0,-14 1 16,13-1-16,0 0 0,0 0 0,1 1 15,-1-14-15,0 0 0,14 0 0,-14 0 16,0 0-16,0 0 0,14-14 16,-14 14-16,0-13 0,0 0 0,1 0 15,-1-1-15,-13 1 0,13 0 16,-13 0-16,0-1 15,0 1-15,-13 13 16,0 0-16,-1 0 16,1 0-1,13 13-15,-13-13 0,0 14 16,-1-1-16,14 0 16,-13 0-1,26 1 1,1-28-1,-1 14 1,0 0-16,0 0 16,14 0-16,-14 0 15,0 0-15,0 14 16,1-14-16,-14 13 0,13-13 16,-13 13-16,13-13 0,0 13 15,-13 1-15,14-1 0,-14 0 16,13 0-1,0-26 32,-13 0-47,13 13 0,-13-13 16,0-1-16,14 14 0,-14-13 0,0 0 16,13 13-16,-13-13 15,13-1-15,0 28 47,0-14-47,-13 13 16,14-13-1,-1 0-15,0 0 16,0 0 0,1 0-16,-1 13 15,0-13-15,0 13 0,1 1 16,-14-1-16,13 0 15,-13 0-15,13 0 0,-13 14 0,0-14 16,0 14-16,-13-14 0,13 13 0,-13 1 16,13-14-16,-14 0 0,1 0 15,13 1-15,-13-1 0,0 0 16,-1-26 15,14 0-31,0-1 0,14 1 0,-1-13 16,-13 13-16,26-14 0,-12-13 0,12 27 15,-13-13-15,0-1 0,14 14 16,-14 0-16,0-14 0,1 14 0,12 0 16,-13 0-16,14-1 0</inkml:trace>
  <inkml:trace contextRef="#ctx0" brushRef="#br1" timeOffset="138728.19">14380 12766 0,'0'0'0,"-13"13"0,13 1 16,-13-14-16,13 13 0,-14 13 0,14 1 16,-13-14-16,0 27 0,13-1 0,-13 1 15,13 0-15,0-1 0,0 1 16,0 13-16,0-13 0,0 13 0,0-14 16,13 1-16,0 0 0,-13-1 0,13 1 15,1-13-15,-1-14 0,-13 13 16,13-13-16,-13 1 0,0-1 15,-13-13 1,0 0 0,-1-13-16,1 13 0,0-14 0,0 14 15,0-13-15,-1 13 0,1-13 16,0 0-16,0 13 0,-1-13 16,1 13-16,0 0 0,0-14 0,-1 1 15,14 0-15,0 0 16,0-1-16,14 1 15,-1 0-15,0-14 0,14 14 16,-14 0-16,0 0 0,14 0 0,-1-14 16,-13 14-16,14 0 0,-14-1 15,0 14-15,0-13 0,-13 0 16,14 13-16,-1-13 0,0-1 0,0 14 16,-13 14-1,13-14 1,-13 13-16,0 0 15,0 0-15,0 1 0,14-1 16,-1 0 0,-13 0-16,13-13 15,0 0-15,1 0 0,-1 0 16,0-13 0,0 13-16,-13-13 0,14 13 0,-14-13 15,0-1-15,13 14 0,-13-13 0,0 0 16,13 13-1,-13-13-15,13 13 16,0 13 0,-13 0-16,14-13 15,-14 13-15,0 1 0,0-1 16,0 0-16,0 0 0,0 1 16,0-1-16,0 0 15,0 0 1,26-26-1,-26 0-15,13 13 16,-13-13-16,14-1 0,-1 1 0,-13 0 16,13 0-16,0-1 0,1 1 0,-1 0 15,0 13-15,0-13 0,14-1 16,-14 1-16,0 13 16,0 0-16,1-13 0,-1 13 0</inkml:trace>
  <inkml:trace contextRef="#ctx0" brushRef="#br1" timeOffset="139800.51">15782 12965 0,'-13'0'0,"26"0"0,-39 0 0,13 0 16,-1 0-1,1 13-15,0 0 0,0 0 16,0-13-16,-1 14 0,1 12 0,0-13 16,13 14-16,-13-14 0,13 0 0,-14 14 15,14-14-15,0 0 0,0 0 16,14-13-16,-14 13 0,13 1 0,0-1 15,0-13-15,1 0 0,-1 0 16,0 0-16,0-13 16,0 13-16,1-14 0,-1 14 0,-13-13 15,13 13-15,0-13 0,1 0 0,-1 13 16,-13-13 0,13 13-1,-13 13 1,0 13-1,0-13-15,0 1 16,13-14-16,-13 13 0,14 0 16,-1-13-16,0 0 15,0 0-15,0-13 16,1 0-16,-14-1 16,0 1-16,0 0 15,-14 0-15,1 0 16,0-1-16,0 1 15,0 0 1,-1 13-16,41 13 47,-14-13-31,0 0-16,0 0 15,-13 13-15,14-13 0,-1 0 0,0 14 16,0-14-16,1 13 15,-1-13-15,-13 13 16,13 0 0,-13 0-1,13-13 1,-13-13 15,14 13-31,-1 0 16,-13-13-16,13 13 15,0 0-15,0-13 32,1 13-32,-1 0 31,0 0-15,0 0-1,1 0 1,-1 0-1,0 0-15,0-13 16,0 13-16,-13-14 0,14 14 16</inkml:trace>
  <inkml:trace contextRef="#ctx0" brushRef="#br1" timeOffset="140175.96">16285 13044 0,'0'-26'31,"0"12"0,-13 41-15,13-14-16,0 0 0,0 14 0,0-14 16,0 13-16,0 1 0,0-1 0,0 1 15,0-1-15,0 1 0,13-1 16,-13 1-16,0-14 0,0 13 0,0-13 16,0 14-16,13-14 0,-13 0 15,0 1-15,0-1 16,-13-53-1,13 27 1,0-14-16,0 1 16,0 0-16,0-1 0,13 1 0,-13 12 15,0 1-15,0-13 0,14 12 0,-14 1 16,0 0-16,0 0 16,13 13-16,-13 26 31,13-13-16,-13 1-15,13-14 16,-13 13-16,13-13 0,1 0 16</inkml:trace>
  <inkml:trace contextRef="#ctx0" brushRef="#br1" timeOffset="140587.93">17132 12965 0,'-13'13'0,"-1"-13"15,14 13-15,-13 0 0,0 1 0,0-1 16,-1 0-16,-12 0 16,-1 14-16,14-1 0,-13-13 0,13 1 15,-1-1-15,1 13 0,0-13 0,0-13 16,-1 14-16,14-1 0</inkml:trace>
  <inkml:trace contextRef="#ctx0" brushRef="#br1" timeOffset="140788.74">16894 13057 0,'39'13'16,"-39"1"0,14-1-16,-1 0 15,0 0-15,0 1 0,0-1 16,1 0-16,-1-13 0,0 13 0,0-13 15,14 13-15,-14-13 0,0 14 16,14-14-16,-1 0 0</inkml:trace>
  <inkml:trace contextRef="#ctx0" brushRef="#br1" timeOffset="141100.96">18203 12951 0,'0'27'0,"0"-14"16,0 0 0,0 1-16,0-1 0,-13 0 15,13 0-15,0 0 0,0 14 16,0-14 0</inkml:trace>
  <inkml:trace contextRef="#ctx0" brushRef="#br1" timeOffset="141259.66">18190 12806 0,'-13'0'16</inkml:trace>
  <inkml:trace contextRef="#ctx0" brushRef="#br1" timeOffset="141592.73">18521 12885 0,'0'0'0,"-27"0"0,14 0 16,13 13-1,0 1-15,0-1 0,13 0 16,-13 0-16,14 1 16,-1-1-16,0-13 0,-13 13 15,13 0-15,-13 1 0,14-14 0,-14 13 16,0 0-16,13-13 0,-26 13 15,13 0-15,-14 1 0,1-14 16,0 0-16,0 0 0,13 13 0,-14-13 16,1 0-16,0 0 15,0 0-15,13-13 16</inkml:trace>
  <inkml:trace contextRef="#ctx0" brushRef="#br1" timeOffset="142074.72">19632 12779 0,'-13'0'0,"0"0"15,-1 0-15,-12 0 0,13 14 0,-1-14 16,1 13-16,-13 0 0,-1 14 0,-39 25 31,53-38-15,26-1-1,14-13 1,-14-13-16,0 13 0,0-14 16,1 14-16,-1-13 0,0 0 0,13 13 0,-12-13 15,-1 13-15,0-13 16,0 13-16,1 13 16,-14 0-16,0 0 15,0 0-15,0 1 16,-14-1-16,14 0 0,0 14 15,0-14-15,-13 0 0,13 0 0,0 1 16,0-1-16,-13 0 0,26 0 16,-13 0-16,0 1 0,0-1 15</inkml:trace>
  <inkml:trace contextRef="#ctx0" brushRef="#br1" timeOffset="142409.51">19791 12859 0,'0'0'0,"0"-13"0,-13 13 16,-1 0-1,14 13-15,-13 0 16,13 0-16,0 0 16,0 1-16,0-1 0,0 0 15,13 0-15,1 1 16,-1-14-16,0 13 0,0-13 15,1 0-15,-1 0 0,0 0 0,0 0 16,14 0-16,-14-13 0,0 13 0,-13-14 16,13 1-16,1 13 0,-14-13 15,0 0-15,13-1 0,-13 1 0,-13 13 16,13-13-16,0 0 0,-14 0 0,14-1 16,-13 14-16,0-13 0,0 13 15,-1 0-15,1-13 0,0 13 16,-13 0-16,12 13 15,1-13-15,13 13 0,-13-13 16</inkml:trace>
  <inkml:trace contextRef="#ctx0" brushRef="#br1" timeOffset="142799.54">20161 12793 0,'0'-14'0,"13"14"0,-13-13 16,53 26 0,-53 1-16,14-14 15,-14 13-15,0 0 0,0 0 16,-14 1-16,14-1 0,-13 0 0,0 0 15,0 14-15,-1-14 0,1 0 0,0 0 16,0 1-16,0-14 16,13 13-16,-14-13 0,14 13 0,-13-13 15,13 13-15,13-13 16,1 0 0,-1-13-16,0 13 0,13 0 15,-12 0-15,12-13 0,-13 13 0,14 0 16,-14-13-16,0 13 0,1 0 15,-1 0-15</inkml:trace>
  <inkml:trace contextRef="#ctx0" brushRef="#br1" timeOffset="143375.53">19169 12766 0,'-40'0'16,"27"0"-16,-93 40 31,93-27-31,0 0 0,13 1 16,-13-1-16,26 0 0,-13 0 16,13 0-16,0 1 15,14-1-15,-14-13 0,13 13 0,1 0 16,-14 1-16,27-1 15,-27 0-15,0-13 0,1 13 16,-14 1-16,13-14 0,-13 13 0,0 0 16,0 0-16,-13 0 15,13 1-15,-14-14 0,-12 13 0,13 0 16,-14 0-16,1 1 0,12-1 0,-12-13 16,0 13-16,12-13 0,1 0 15,0 0-15,0 0 0,-1 0 0,14-13 16</inkml:trace>
  <inkml:trace contextRef="#ctx0" brushRef="#br1" timeOffset="143583.44">19143 12581 0,'0'0'16,"0"40"-1,0-14-15,-14 14 16,1-1-16,13 1 0,-13 0 15,0 13-15,13 13 0,-14-26 16,14 26-16,0-27 0,0 14 0,0 0 16,0 13-16,14-26 0,-14 13 0,13-13 15,0-1-15,0 1 0,1 0 0,-14-14 16,13-13-16</inkml:trace>
  <inkml:trace contextRef="#ctx0" brushRef="#br1" timeOffset="146142.87">20995 12687 0,'0'-13'0,"0"-1"0,-14 14 16,-12 0 15,26 14-31,-13-1 0,0 0 0,-1 0 0,1 0 16,0 14-16,0-14 0,-1 14 15,14-14-15,-13 0 0,0 0 16,13 14-16,0-14 0,0 0 0,-13-13 16,13 13-16,13 1 0,-13-1 15,13-13 1,0-13-16,1 13 0,-1-14 0,0 1 16,0 0-16,1 0 0,-14 0 0,13-1 15,0 1-15,-13 0 0,13 0 16,-13-1-16,0 1 0,13 13 15,-13-13-15,14 26 32,-14 0-32,0 1 15,0-1-15,0 0 0,13 0 0,-13 1 16,0-1-16,0 0 16,13 0-16,-13 0 0,0 1 15,13-14-15,-13 13 0,14-13 16,-1 0-16,13 0 15</inkml:trace>
  <inkml:trace contextRef="#ctx0" brushRef="#br1" timeOffset="147420.12">21259 12607 0,'0'0'15,"-13"0"-15,0 14 16,13-1-16,-13 0 0,13 0 16,-14 1-16,14-1 0,0 0 15,-13 13-15,13-12 0,0-1 16,0 0-16,0 0 0,13 1 0,-13-1 0,0 0 16,14-13-16,-1 13 0,0 1 15,0-14-15,0 0 16,1 0-16,-1 0 0,0-14 15,0 14-15,1 0 0,-1-13 0,0 0 16,0 13-16,-13-13 0,14-1 16,-14 1-16,13 0 0,-13 0 15,13-1-15,-13 1 16,0 0-16,-26 26 31,26 0-15,-14 1-16,14-1 15,0 0-15,0 0 16,14 1 0,-14-1-16,13-13 0,0 0 15,13 0 1,-12 0-16,-1 0 16,0-13-16,0 13 0,1-14 0,-1 1 15,0 0-15,-13 0 0,13-1 16,1 14-16,-14-13 0,0 0 0,13 0 15,-13 0-15,0-1 0,0 1 16,13 0 0,-26 0-16,13-1 15,-13 28 17,-1-1-32,14 0 15,-13 0-15,13 1 16,0-1-16,0 0 0,0 0 15,0 0-15,0 1 16,0-1-16,0 0 0,13 0 16,-13 1-16,0-1 15,14 0-15,-14 0 16,13-13-16,-13 14 16,13-1-1,0-13 1,14 0-1,-14-13 1,0 13-16,0 0 16,1 0-1,-14-14-15,13 14 16,0 0 0,-13-13-1,0 0-15,13 13 0,-13-13 16,0-1-16,0 1 0,0 0 15,14 0-15,-14-1 0,0 1 16,0 0-16,0 0 0,0-14 16,0 14-16,0-13 0,0-1 0,0 14 15,0-14-15,0 14 0,0-13 0,0 13 16,0-1-16,0 1 0,0 0 16,0 39 15,0-12-31,0 12 15,-14 0-15,14 1 0,0 13 0,0-1 16,0 1-16,0 13 0,0-27 0,0 14 16,0 0-16,0-14 0,0 1 15,0-1-15,0 1 0,0-14 0,0 13 16,0-12-16,0-1 0,0 0 0,0 0 16,-13-13-16,13 13 15,0-39 1,0 0-1,0 12-15,13-65 0,1 39 16,12-26-16,0 40 16,-12 12-16,-1-12 0,0 13 0,0 13 15,1-14-15,-1 14 0,0 14 16,-13-1 0,-13 0-16,13 0 0,-13 14 15,-1-14-15,1 14 0,0-14 16,0 0-16,-14 0 0,14 0 15,0 1-15,0-1 0,-1 0 16,1-13-16</inkml:trace>
  <inkml:trace contextRef="#ctx0" brushRef="#br1" timeOffset="147657.13">22119 12316 0,'0'0'15,"0"-13"-15,0 40 16,0-14-16,0 0 16,0 0-16,-13 14 0,13-1 15,0 1-15,0-1 0,0 1 16,0-1-16,0 0 0,0 1 0,0-1 16,0 1-16,0-1 0,0 1 0,0-14 15,13 13-15,-13-12 0,0-1 16,0 0-16,0 0 0,0 1 15</inkml:trace>
  <inkml:trace contextRef="#ctx0" brushRef="#br1" timeOffset="149003.84">22000 12700 0,'0'-13'0,"13"0"31,1-1-15,-1 14-16,0 0 0,0-13 0,14 13 16,-14-13-16,13 13 0,1-13 15,-1-1-15,1 14 0,-1-13 0,1 13 16,-1-13-16,-13 13 0,14-13 16,-14 13-16,14-14 0,-14 14 15,0-13-15,0 0 0,0 13 0,1-13 16,-41 26 31,14-13-47,13 13 15,-13 0-15,0 1 16,13-1-16,-14 0 0,14 0 16,0 1-16,0-1 15,14-13-15,-14 13 16,13-26-16,0 13 15,0 0-15,-13-13 16,13 13-16,-13-14 0,14 1 16,-14 0-16,13 0 15,0 26 17,-13 0-17,0 0-15,0 1 0,0-1 16,0 0-16,13 0 15,-13 1-15,0-1 0,14-13 16,-1 0-16,0 0 16,0 0-1,0 0-15,-13-13 0,14-1 16,-1 1-16,-13 0 16,0 0-16,13-1 0,-13 1 15,0 0-15,13 0 0,-13-14 0,0 1 16,0 13-16,0-14 0,0 1 0,0 12 15,0-12-15,0 13 0,0-1 16,0 1-16,0 0 0,0 0 0,0 0 16,-26 26 15,26 0-31,0 0 16,-13-13-16,13 13 0,0 1 0,0-1 15,-14 0-15,14 0 0,0 1 16,0-1-16,0 13 15,0-12 1,0-1-16,14-13 47,-1 0-47,0 0 16,0 0-16,1 13 15,-1-13-15,-13 13 16,13-13-16,-13 13 15,-13 1-15,13-1 16,-13 0-16,-1-13 16,14 13-16,-13-13 0,0 14 0,0-1 15,-1 0 1,1-13-16,13 13 16,13 1-1,14-14 1,-14 0-1,0 0-15,1 0 0,-1-14 0,0 14 16,0 0-16,1-13 0,-1 13 16,0-13-16,0 0 0,0-1 0,1 1 15,-1 0-15,0-14 0,0 14 16,1-13-16,-1-1 0,0 1 16,-13-1-16,13-12 0,1 12 0,-14 1 15,0 13-15,13-14 0,-13 14 0,0 0 16,0-1-16,13 1 0,-39 26 31,26 1-15,0-1-16,-14 13 0,14-12 15,0-1-15,0 13 0,0-13 16,0 1-16,0-1 0,0 0 0,0 0 16,0 1-16,14-1 0,-14 0 15,13-13-15,0 13 0,0-13 16,0-13-1,1 13-15,-1 0 0,0 0 16,0 0 0,1 13-16,-1-13 15,0 0-15,-13 14 16,13-14-16,-13 13 16,-13 0-1,0 0 1</inkml:trace>
  <inkml:trace contextRef="#ctx0" brushRef="#br1" timeOffset="149666.78">20479 12197 0,'26'14'0,"-26"-1"0,0 13 15,13 14-15,-13 0 0,14 26 16,-14 13-16,13 0 0,-13 1 0,0 12 16,13 14-16,-13 0 0,13 13 15,1-13-15,-14 13 0,13-13 0,0-27 16,-13 1-16,13-1 0,1-13 16,-1 14-16,0-14 0,0-13 0,0 0 15,1-14-15,-14-12 0,13-1 0,-13 1 16,0-14-16,13-13 0,-13 13 15,13-53-15,-13 27 16,0-13-16</inkml:trace>
  <inkml:trace contextRef="#ctx0" brushRef="#br1" timeOffset="150415.75">20320 12290 0,'26'-27'0,"41"-12"0,-28 26 16,451-54 15,-358 54-31,14 0 0,-1 0 0,14-1 16,0 1-16,-1 0 0,186-13 15,-172-1-15,0 14 0,159-27 16,-185 27-16,12-14 0,-12 1 16,-1 0-16,-12 12 0,-14-12 0,13-1 15,-26 1-15,-14 13 0,1 0 16,-14-1-16,1 14 0,-1-13 0,-26 13 16,0 0-16,0-13 0,-13 13 0,-14 0 15,14 0-15,-14 0 0,1 13 16,-14-13-16,13 0 0,-12 0 0,12 13 15,-13-13-15,0 14 0,1-1 0,-14 13 16,13-13-16,0 14 0,-13-1 16,13 14-16,-13 0 0,0-1 15,0 1-15,0 0 0,0 13 0,0-14 16,0 14-16,0-13 0,0 66 16,0-40-16,-13-13 0,13 0 15,0 13-15,0-13 0,0 0 16,0 0-16,0-14 0,0 14 0,0 40 15,0-53-15,0 13 0,0-14 0,13-12 16,-13-1-16,0 1 16,0-1-16,0 0 0,0-12 0,0 12 0,0-13 15,0 1-15,0-1 0,0 0 16,0 0-16,0 1 0,0-1 16,-13 0-16,13 0 0,-13-13 0,13 13 15,-13 1-15,-14-14 0,14 13 0,-13 0 16,-14 0-16,0 1 0,0-1 15,-26 0-15,0 0 0,13 1 0,-26-1 16,13-13-16,-27 13 0,14 0 0,-14 14 16,-26-14-16,0 0 0,0 0 0,0 14 15,-13-14-15,13 13 0,0-12 16,-1 12-16,1-13 0,0 1 16,27-1-16,-1 13 0,14-12 0,-14-1 15,14-13-15,13 13 0,13-13 16,0 13-16,0-13 0,13 0 0,14 0 15,-1-13-15,1 13 0,13-13 0,-1 0 16,14-1-16,-13 1 0</inkml:trace>
  <inkml:trace contextRef="#ctx0" brushRef="#br0" timeOffset="155523.01">23019 11483 0,'-27'13'32,"14"0"-32,13 1 15,-26-1-15,12 0 16,1 0-16,-13 14 0,12-1 0,-12-13 15,0 14-15,12-14 0,1 14 0,-13-14 16,12 0-16,1 0 0,0 1 16,13-1-16,-13-13 0,-1 13 0,1 0 15,0 0-15,0 1 16,0-14 0,-1 0 15</inkml:trace>
  <inkml:trace contextRef="#ctx0" brushRef="#br0" timeOffset="155924.81">22701 11628 0,'-13'27'31,"0"-14"-31,13 0 0,-13 1 0,13-1 16,-14 0-16,14 14 0,-13-14 0,13 0 15,-13 0-15,13 14 16,0-14-16,0 0 16,13 0-16,0-13 15,-13 14-15,14-14 16,-1 0-16,0 0 0,0 0 0,0 0 16,1 0-16,-1 0 15,0 13-15,0-13 0,1 0 16,-1 0-16,0 0 15,0 0-15,1 0 16,-1 0 0</inkml:trace>
  <inkml:trace contextRef="#ctx0" brushRef="#br0" timeOffset="157795.76">5331 12144 0,'27'0'62,"-14"0"-62,0 0 0,14 0 16,-1 0-16,1-13 0,-1 13 0,14-13 16,13 13-16,-14-13 0,14 13 0,0-14 15,0 1-15,13 0 0,0 0 16,-13 13-16,13-27 0,-13 14 0,14 0 15,-15 0-15,1 13 0,14-27 0,-28 27 16,1-13-16,13 0 0,-13-1 16,-1 1-16,-12 13 0,12-13 0,-25 13 15,12-13-15,-13 13 0,1-13 16,-1 13-16,0 0 0,0 0 16,0 0-16,-13-14 0,14 14 15,-1 0-15,-13-13 16,-13 0 15</inkml:trace>
  <inkml:trace contextRef="#ctx0" brushRef="#br0" timeOffset="158220.76">6562 11681 0,'39'27'32,"-25"-14"-32,12-13 15,-13 0-15,1 13 0,12-13 16,-13 14-16,14-14 0,-14 0 0,13 13 16,-12-13-16,-1 13 0,0-13 15,0 13-15,0-13 0,-13 13 0,14-13 16,-1 14-16,-13-1 0,0 0 15,0 0-15,-13 1 0,-1 12 16,1 0-16,0 1 0,-13-1 0,-1 1 16,1-1-16,-1 14 0,1-14 15,-1 1-15,1-1 0,-1 1 0,1-14 16,13 14-16,13-14 0,-14 0 16</inkml:trace>
  <inkml:trace contextRef="#ctx0" brushRef="#br0" timeOffset="162264.56">3585 12303 0,'-13'27'0,"13"-14"0,0 0 16,0 13-16,0 1 0,0-14 16,-13 14-16,13-1 0,0 14 15,0-14-15,0 1 0,0-1 0,0 1 16,0-1-16,0 1 0,0-14 0,0 13 15</inkml:trace>
  <inkml:trace contextRef="#ctx0" brushRef="#br0" timeOffset="162663.71">3519 12250 0,'26'-26'0,"-52"52"0,52-65 15,-12 39-15,-1 0 0,0-14 0,0 14 16,1 14-16,-1-14 16,0 13-16,-13 0 0,13 13 15,-13-12-15,0 12 0,0-13 0,-13 14 16,13-1-16,-13 14 15,0-14-15,13-12 0,-14 12 0,1-13 0,13 14 16,-13-14-16,13 0 0,-13 0 0,13 1 16,-14-14-1,14 13-15,0 0 0,0 0 16,14-13-16,-1 0 16,0 0-16,0 0 15,1 0-15,-1 0 0,0 0 0,13-13 16,-12 13-16,12-13 0,-13 13 0,14-13 15,-14-1-15,14 14 0,-14-13 16,13 0-16,-13 0 0</inkml:trace>
  <inkml:trace contextRef="#ctx0" brushRef="#br0" timeOffset="163443.64">3956 12369 0,'-14'-13'0,"-25"26"31,25-13-31,14 13 0,-13-13 0,0 14 15,0-1-15,-1 0 0,1 0 16,0 1-16,13-1 0,0 0 16,-13 0-16,13 1 0,0-1 15,13 0 1,0-26 0,0 13-16,1 0 15,-14-13-15,13 13 0,0-14 16,0 14-16,-13-13 0,14 13 15,-1 0-15,0 0 16,0 0 0,-13 13-16,14-13 0,-14 14 15,13-14-15,0 0 16,-13 13-16,13-13 16,0-13-1,1 13-15,-1 0 0,-13-14 16,13 14-1,0 0-15,-13-13 0,14 13 16,-1 0-16,-13-13 0,13 13 0,-13-13 16,13 13-16,-13-14 15,14 14-15,-14-13 0,13 13 0,0-13 16,-13 0-16,13 13 0,-13-14 0,13 14 16,-13-13-1,14 13-15,-28 27 31,14-14-31,-13 0 16,13 0-16,0 1 0,-13-1 0,13 0 16,-13 0-16,13 1 0,-13-1 0,13 13 15,-14-13-15,14 1 0,-13-1 16,0 13-16,13-12 16,-13-14-16,13 13 0,13-40 31,0 14-16,0 0-15,1 0 0,-1-1 16,0-12-16,-13 13 0,13 13 16,0-13-16,1-1 0,-1 1 15,0 13-15,0 0 16,1 0 0,-14 13-1,13-13 1,-13 14-16,13-14 15,0 13 1,-13-26-16,13 13 16,1 0-16,-1-14 0,0 14 15,-13-13-15,13 13 0</inkml:trace>
  <inkml:trace contextRef="#ctx0" brushRef="#br0" timeOffset="163576.76">4471 12422 0,'-26'0'15,"13"0"1,13-13 15</inkml:trace>
  <inkml:trace contextRef="#ctx0" brushRef="#br0" timeOffset="171999.51">12039 926 0,'0'13'15,"13"0"1,-40-26 15,14 0-15,13 0-16,-13-14 0,0 1 0,-1-1 16,1 1-16,0-14 0,-14 14 0,14-14 15,13 0-15,-13 14 0,0-14 16,0 14-16,13-1 0,0 14 0,-14-13 15,14 12-15,0 1 0,0 0 0,0 0 32,14 13-32,-1 13 0,13-13 15,-13 13-15,14 14 0,-1-1 0,14-13 16,-13 14-16,-1-1 0,-13-12 16,14 12-16,-1-13 0,-13 14 0,1-14 15,-1 0-15,0-13 0,0 13 0,-13 1 16,14-14-16,-14 13 0,13-13 0,-13 13 15,-13 0 1,-1-13-16,1 0 0,0 0 16,0 14-16,-14-14 0,1 0 0,-1 0 15,1 13-15,-14-13 0,14 0 16,-1 0-16,1 0 0,-1 0 16,14-13-16,-13 13 0,12 0 0,-12-14 15,13 1-15,-1 0 16,14 0-16,0-14 0,14 14 15,-1-14-15,0 1 0,14 0 0,-1 12 16,0-12-16,14-1 0,-13 1 0,12-1 16,-12 14-16,12 0 0,-12-13 15,-1 12-15,1 1 0,-1 0 0,1 13 16,-14-13-16,0-1 0,0 14 16,1 0-16,-1 0 0,0 0 0,0 14 15,-13-1 1,0 0-16,0 14 0,-13-1 0,0 0 15,0 14-15,-1 0 0,1 0 16,-13-1-16,13-12 0,-14 12 0,14-12 16,-14 13-16,14-14 0,0 0 0,-14 1 15,14-14-15,0 14 0,13-14 16,-13 0-16,0 0 0,13 0 0,-14-13 16,1 0-16,13 14 0,-13-14 15,13 13 1</inkml:trace>
  <inkml:trace contextRef="#ctx0" brushRef="#br0" timeOffset="175450.8">5450 2381 0,'0'-13'0,"0"0"0,0 0 0,0-1 15,0 1-15,0-13 16,0 12-16,0 1 0,0 0 0,0 0 16,0-1-16,-13 1 0,13 0 0,0 0 15,0 0-15,-13-1 16,13 1-16,0 0 0,0 0 16,-13-1 15,13 1-16</inkml:trace>
  <inkml:trace contextRef="#ctx0" brushRef="#br0" timeOffset="176588.63">22132 10663 0,'-13'13'0</inkml:trace>
  <inkml:trace contextRef="#ctx0" brushRef="#br0" timeOffset="177491.21">5556 10769 0</inkml:trace>
  <inkml:trace contextRef="#ctx0" brushRef="#br0" timeOffset="178931.77">22622 10676 0,'0'-13'16,"-27"39"15,27-13-15,-13 1-16,0-1 0,0 13 0,-1-12 0,1-1 16,-13 13-16,13 1 0,-14-1 0,1 1 15,12-1-15,1-13 0,0 1 16,0-1-16,0 13 0,-1-13 15,1 1-15,0-1 0,0 0 16,13 0-16,-14-13 16</inkml:trace>
  <inkml:trace contextRef="#ctx0" brushRef="#br0" timeOffset="179272.63">22662 10649 0,'0'-13'16,"-14"0"-1,1 13-15,0 13 16,0-13-16,-1 0 0,1 13 0,0-13 16,0 14-16,-14-1 0,14-13 15,-13 13-15,12 0 0,1 1 0,-13-14 16,12 13-16,1 0 0,-13-13 16,13 13-16,-1-13 0,14 14 15,-13-14-15,0 0 0,13 13 0,-13-13 16</inkml:trace>
  <inkml:trace contextRef="#ctx0" brushRef="#br0" timeOffset="179480.54">22529 10636 0,'0'0'16,"13"-13"-16,1 13 15,-1 13 1,0 0-16,0 1 15,1-1-15,-14 0 16,13-13-16,0 13 0,0 1 16,-13-1-16,14 0 0,-1 0 15,0-13-15,-13 14 0,13-1 0,0 0 16,-13 0-16,14-13 0,-14 13 16,0 1-16</inkml:trace>
  <inkml:trace contextRef="#ctx0" brushRef="#br0" timeOffset="181560.57">21709 11258 0,'-40'13'31,"40"0"-31,-13-13 0,13 14 16,-13-1-16,13 13 0,-13-12 15,13-1-15,0 0 0,-14 0 0,14 1 16,0-1-16,0 0 0,14 0 0,-14 0 16,0 1-16,13-1 0,0 0 15,0-13-15,1 0 16,-1 0-16,0 0 16,-13-13-16,13 13 0,-13-13 0,14 13 15,-14-14-15,0 1 0,13 0 0,-13 0 16,0 0-16,0-1 0,0 1 0,0 0 15,0 0-15,0-1 16,-13 1-16,13 0 0,-14 0 0,14-1 16,-13 14-16,13-13 15,-13 13-15,0 0 0,-14 0 16,14 0 0,0 0-16,-1 13 0,1 1 15,13-1 1,0 0-16,0 0 15,13-13-15,-13 14 0,14-14 16,-1 0-16,0 13 16,0-13-16,1-13 0,-1 13 15,0 0-15,0-14 0,1 14 16,-1-13-16,0 13 16,-13-13-16,13 0 0,0 13 0,-13-14 15,14 14-15,-14-13 0,13 13 16,-13-13-16,13 0 15,0 39 17,-13-13-17,0 1-15,0-1 16,14 0-16,-14 0 16,13-13-16,-13 14 15,13-14-15,0 13 16,1-13-16,-1 0 15,-13-13-15,13 13 16,0-14-16,0 1 16,-13 0-16,14 13 15,-1-13 1,-13 39 15,0-13-31,13 1 16,-13-1-1,13 0-15,-13 0 16,14-13 0,-14 14-16,13-14 15,0-14 1,0 14-16,-13-13 0,13 0 16,-13 0-16,14-1 0,-14 1 15,13 0-15,0-14 0,-13 14 0,13-13 16,-13 13-16,14-14 0,-14 14 0,0 0 15,13-14-15,-13 14 0,0 0 16,13-1-16,-13 1 0,0 0 16,13 0-16,-13 0 15,-13 39 17,13-13-32,0 0 15,0 1-15,0-1 0,0 0 0,0 0 16,0 1-16,0-1 0,0 0 15,0 0-15,13 1 0,-13-1 0,0 0 16,0 0-16,14 0 0,-14 1 0,0-1 16,13-13-16,-13 13 0,0 0 15,13 1-15,-13-1 16,-13-13 31,0 0-47,-1 0 15,14-13-15,-13 13 0,0 0 0,13-14 16,-13 14-16,-1 0 0,1-13 16,0 13-16,0-13 15,-1 13-15,14-13 16,14-1 15,-1 14-31,0-13 16,0 13-16,1-13 0,-1 13 15,0 0-15,0-13 0,1 13 16,12-13-16,-13 13 16,0 0-1,1-14 1,-1 14 15,0 0 0,-13-13-15,13 13 0,-13-13-1,0 0 1,14-1-16,-14 1 16,0 40 46,0-14-62,0 0 0,0 0 16,0 1-16,0-1 0,-14 0 0,14 0 15,0 0-15,14 1 0,-14 12 16,0-13-16,13 1 16,-13-1-16,13-13 15,0 13 1,1-13-16,-1-13 15,0 13-15,-13-13 0,13 13 16,-13-14-16,13 1 0,1 13 16,-1-13-16,0 26 31,0 0-15,-13 1-1,0-1-15,0 0 16,0 0-16,14 1 15,-14-1-15</inkml:trace>
  <inkml:trace contextRef="#ctx0" brushRef="#br0" timeOffset="181691.77">22542 11192 0,'0'-13'0,"-13"-1"31</inkml:trace>
  <inkml:trace contextRef="#ctx0" brushRef="#br0" timeOffset="182320.68">22701 11298 0,'13'0'16,"1"-14"0,-14 1-16,0 0 15,0 0 1,0 0 0,-14 13-1,1 13 16,13 26-15,0-25 15,13-14-31,14-14 16,-14 14 0,0 0-16,1 0 15,-1 0 1,0 0-16,0 0 0,-13 14 15,14-1 1,-14 0 0,0 0-16,-14 1 15,28-1-15,-1-26 47,-13-1-47,13 14 0,-13-13 0,13 0 16,0 0-16,1-1 0,-14 1 15,13 13-15,-13-13 0,13 0 0,0 13 16,-13-13-16,-13 39 31</inkml:trace>
  <inkml:trace contextRef="#ctx0" brushRef="#br0" timeOffset="182595.28">22053 11589 0,'40'-13'16,"92"-27"-1,-92 27-15,13-1 16,-14 14-16,14-13 0,-13 13 15,13-13-15,-14 13 0,-12-13 0,-1 13 16,1 0-16,-1 0 0,-12-14 16,-1 14-16,0 0 0,0 0 0,0 0 15,1 0-15,-41 14 32,27-1-32</inkml:trace>
  <inkml:trace contextRef="#ctx0" brushRef="#br0" timeOffset="182892.11">22079 11668 0,'27'0'16,"-14"0"-16,14-13 0,-1 13 0,1 0 16,12-13-16,14 13 15,-13-14-15,0 14 0,12-13 0,-12 0 16,0 13-16,-14-13 0,1 13 0,-1-13 15,-13 13-15,14 0 0,-14 0 16,0-14-16,1 14 0,-1 0 0,0 0 16,0 0-16,0-13 0,1 13 15,-1 0 1,0 0-16</inkml:trace>
  <inkml:trace contextRef="#ctx0" brushRef="#br0" timeOffset="187336.51">23799 9869 0,'40'-13'16,"-27"-1"-16,0 14 0,14-13 0,13-13 16,-14 13-16,14-14 0,-1 1 0,1-1 15,13-12-15,-13 12 0,-1-13 16,14 1-16,-13-1 0,0 0 0,-1 1 15,1-1-15,-13 0 0,-1 14 0,0-1 16,-12 1-16,-1 13 0,0-1 16,0 1-16,-13 0 0,14 13 0,-14-13 15,-27 13 1</inkml:trace>
  <inkml:trace contextRef="#ctx0" brushRef="#br0" timeOffset="187636.96">24209 9274 0,'27'-14'0,"-1"1"0,-12 0 0,78-13 31,-65 26-31,-1 0 0,1-14 16,25 14-16,-25 14 0,-1-14 0,1 13 16,-1 13-16,-13 1 0,14 12 15,-27 1-15,13 0 0,-13-1 16,0 14-16,0-13 0,0 13 0,0-13 16,-13 13-16,0-1 0,13 1 0,-14 0 15,1-13-15,-13 13 0,13-13 16,-1-1-16,-12-12 0,13 12 0</inkml:trace>
  <inkml:trace contextRef="#ctx0" brushRef="#br0" timeOffset="191732.77">450 10993 0,'0'14'16,"0"-1"-1,0 0-15,0 0 0,0 1 16,13-1-16,-13 13 0,0-13 0,0 1 16,0 12-16,0-13 0,0 1 0,13-1 15,-13 0-15,0 0 0,0 1 16,0-1-16,0 0 0,13 0 16</inkml:trace>
  <inkml:trace contextRef="#ctx0" brushRef="#br0" timeOffset="192099.56">622 10941 0,'0'-14'0,"-13"54"31,13-27-31,0 0 15,0 1-15,0 12 0,0-13 0,13 1 16,-13 12-16,0-13 0,13 0 0,0 1 16,-13 12-16,13-26 0,1 13 15,-1 1-15,0-14 0,0 13 0,1-13 16,-1 0-16,0 0 0,0-13 16,1 13-16,-1 0 0,-13-14 15,13 1-15,-13 0 0,0 0 16,0-1-16,0 1 0,0 0 0,-13 0 15,13 0-15,-13-14 16,13 14-16,-14 0 0,1 13 0,0-14 0,0 1 16,13 0-16,-14 13 0,1 0 15,0-13-15,-14 13 16,14 13 0</inkml:trace>
  <inkml:trace contextRef="#ctx0" brushRef="#br0" timeOffset="192700.27">992 10888 0,'27'-27'32,"-54"40"-1,27 1-15,-13-1-16,0 0 0,-1 0 15,14 1-15,-13-14 0,13 13 0,-13-13 16,13 13-16,0 0 15,13 0 1,0-13-16,1 0 16,-1 14-16,0-14 15,0 0-15,1 13 16,-1-13-16,0 13 0,0 0 16,-13 1-1,0-1 1,-13 0-16,0 0 0,0 0 15,13 1-15,-14-14 0,1 13 16,0 0-16,0-13 0,-1 13 16,1-13-1</inkml:trace>
  <inkml:trace contextRef="#ctx0" brushRef="#br0" timeOffset="193867.83">1363 10888 0,'26'-14'31,"-13"14"-15,1-13-1,-1 13-15,0 0 16,0 0-16,0-13 0,1 13 16,-1 0-1,0-13-15,0 13 0,-13-14 16,14 14-16,-1-13 0,0 13 16,-13-13-16,13 13 0,1-13 15,-1 0-15</inkml:trace>
  <inkml:trace contextRef="#ctx0" brushRef="#br0" timeOffset="194414.03">1892 10544 0,'0'0'0,"0"-14"16,-13 14-16,-1 0 0,14-13 0,-13 13 15,0 0-15,0 0 16,-1 0-16,1 13 0,0 1 15,-14 12 1,14-13-16,13 1 16,-13-1-16,13 0 0,0 0 0,0 0 0,0 1 15,0-1-15,0 0 16,13 0 0,0-26-16,1 13 15,-1-13-15,0 13 16,0-13-16,-13-1 0,14 14 0,-14-13 15,13 0-15,0 13 0,-13-13 0,13 13 16,-13-13 0,14 13-16,-1 13 15,0-13-15,-13 13 0,0 0 0,13 0 16,-13 1-16,13-1 0,-13 0 16,0 0-16,14 1 0,-14-1 0,0 0 15,13 0-15,-13 1 0,0-1 0,0 0 16,0 0-16,13 0 15,-13 1-15,13-1 16</inkml:trace>
  <inkml:trace contextRef="#ctx0" brushRef="#br0" timeOffset="195140.5">2315 10478 0,'-26'-14'15,"12"28"1,1-14-16,0 0 16,0 13-16,-1-13 15,14 13-15,0 0 16,14 0-16,-14 1 16,13-14-16,-13 13 15,13 0-15,0 0 0,-13 1 0,14-1 16,-14 0-16,13 0 0,0 0 0,-13 1 15,0-1-15,0 0 0,0 0 16,0 1-16,0-1 0,0 0 0,0 0 16,-13-13-16,13 14 0,-13-1 0,13 0 15,-14-13-15,1 0 16,0-13 0,26-14-1,-13 14-15,13-13 16,-13 12-16,14 1 0,-14 0 0,13 0 15,0-1-15,-13 1 0,13-13 16,-13 13-16,14-1 0,-14 1 16,0 0-16,0 0 0,0-1 0,0 1 15,0 0-15,0 0 0,-14 13 0,14-13 16,-13-1-16,0 14 16,13-13-16,-13 13 0,-14 0 15,1 0 1,12 0-16</inkml:trace>
  <inkml:trace contextRef="#ctx0" brushRef="#br0" timeOffset="197463.62">529 11933 0,'27'-14'15,"-27"1"1,13 13-16,0-13 0,0 0 16,1 13-16,-1-13 0,0-1 15,0 14-15,0-13 0,1 13 16</inkml:trace>
  <inkml:trace contextRef="#ctx0" brushRef="#br0" timeOffset="197670.67">569 12012 0,'26'0'47,"-26"-13"-32,14 13-15,-1-13 0,0 13 16,0-14-16,0 14 16</inkml:trace>
  <inkml:trace contextRef="#ctx0" brushRef="#br0" timeOffset="212743.84">21325 9723 0,'-13'0'0,"26"0"0,-39 0 0</inkml:trace>
  <inkml:trace contextRef="#ctx0" brushRef="#br0" timeOffset="213324.89">21193 9710 0,'0'-13'16,"13"13"0,1 0-16,-1 0 15,0 0-15,0 0 0,0 0 0,14 0 16,-1-13-16,-12 13 0,12 0 15,1 0-15,-1 0 0,0 0 0,1-13 16,-14 13-16,14 0 0,-14 0 0,0 0 16,14 0-16,-14 0 15,0 0-15</inkml:trace>
  <inkml:trace contextRef="#ctx0" brushRef="#br0" timeOffset="214020.57">21087 10649 0,'0'0'0,"-13"0"0,53 0 46,-27-13-46,13 13 16,1 0-16,13 0 0,-14 0 0,14-13 16,13 13-16,-27 0 0,14-13 15,-14 13-15,1 0 0,-1-13 0,1 13 16,-1 0-16,1-14 0,-14 14 0,0 0 16,0 0-16,0-13 0,1 13 15,-1 0-15,0 0 16,-13-13-1</inkml:trace>
  <inkml:trace contextRef="#ctx0" brushRef="#br0" timeOffset="-212149.27">6032 2897 0,'-26'0'31,"52"0"-15,-12 13-16,-1-13 16,13 0-16,14 0 0,13 0 15,0 0-15,0 0 0,13 0 0,13 0 16,1-13-16,-1 13 0,1-13 16,12 13-16,-13-13 0,14 13 0,0-13 15,-1 13-15,1-14 0,-14 14 0,1 0 16,-1-13-16,-13 13 0,14 0 15,-28-13-15,15 13 0,-14 0 0,-14 0 16,1 0-16,0 0 0,-14 0 0,-13 0 16,14 0-16,-14 0 0,0 0 15,0 0-15,1 0 0,-1-13 16</inkml:trace>
  <inkml:trace contextRef="#ctx0" brushRef="#br0" timeOffset="-211735.82">6945 2990 0,'53'0'15,"-13"0"1,0 0-16,26-13 0,0 13 0,0-14 15,0 1-15,0 13 0,14-13 16,-14 13-16,13-13 0,1 13 16,-1-14-16,-13 14 0,0-13 0,-13 13 15,0 0-15,-13-13 0,13 13 16,-14 0-16,-12 0 0,13 0 0,-14-13 16,0 13-16,-12 0 0,12 0 0,-13 0 15,1 0-15,-1 0 0,0 0 16,0 0-16,1 0 0,-1 0 15,0 0-15,0 0 0,0 0 16,1 0 0,-1 0 15</inkml:trace>
  <inkml:trace contextRef="#ctx0" brushRef="#br0" timeOffset="-209597.46">20849 2196 0</inkml:trace>
  <inkml:trace contextRef="#ctx0" brushRef="#br0" timeOffset="-208482.09">23270 10702 0,'0'-13'0,"0"26"0,0-39 0,0 52 47,0-12-47,0 12 0,0-13 15,0 14-15,0-1 0,0 1 16,0-1-16,0 1 0,0-1 0,0 1 16,0-1-16,0-13 0,0 14 0,0-1 15,0-13-15,0 14 0,0-14 16,0 0-16,0 14 0,0-14 16,0 0-16,-13-13 15</inkml:trace>
  <inkml:trace contextRef="#ctx0" brushRef="#br0" timeOffset="-208261.08">23349 10742 0,'0'-26'0,"-13"26"0,-53 39 32,40-12-32,-1-14 15,1 0-15,-1 14 0,1-1 0,-1-13 16,14 1-16,-13-1 0,12 13 16,1-12-16,0-1 0,0 0 15</inkml:trace>
  <inkml:trace contextRef="#ctx0" brushRef="#br0" timeOffset="-208020.83">23323 10663 0,'26'13'0,"-26"0"0,14 0 16,-14 1-16,13 12 0,40 53 31,-40-65-31,-13-1 0,13 0 0,1 0 16,-14 1-16,13-1 0,-13 0 15,0 0-15,13 1 0,-13-1 0,0 0 16,0 0 0</inkml:trace>
  <inkml:trace contextRef="#ctx0" brushRef="#br0" timeOffset="-203163.27">14221 3717 0,'0'0'0,"0"-13"0,-13 40 47,13-14-47,0 0 15,0 0-15,0 1 0,0 12 16,13-13-16,-13 14 0,14-14 0,-14 13 15,13-12-15,-13 12 0,13-13 16,0 14-16,-13-14 0,14 0 0,-1 0 16,-13 1-16,13-1 0,0 0 0,0-13 15,-13 13-15,14-13 0,-1 14 16,0-14-16,0 0 0,1 0 0,-1 0 16,0 0-16,27 0 0,-27-14 15,0 14-15,14 0 16,-14-13-16,13 13 0,-12-13 0,12 0 15,-13-1-15,14 14 0,12-26 0,-12 13 16,-1 0-16,-12-1 16,12 14-16,0-13 0,1 0 0,-14 0 15,27-1-15,-14 1 0,1 13 0,39-26 16,-40 26-16,14-14 16,-14 1-16,1 13 0,13 0 0,13-13 15,-14 13-15,-12 0 0,39 0 16,-40 0-16,14 0 15,-14 0-15,14 0 0,0 13 0,-14-13 16,14 13-16,0 1 0,-14-14 0,14 13 16,13 0-16,-27 0 15,14 1-15,-14-1 0,-12 0 0,12 0 16,-13-13-16,14 14 0,-14-1 16,0 0-16,14 0 0,-14 0 15,0 1-15,0-1 16,1-13-16,-14 13 0,13 0 15,0 1-15,0-14 16,-13 13 0,13-13-1,-13-13 17,14-1-17,-14 1-15,0 0 16,13 13-16,-13-13 0,13-1 15,-13 1-15,13 0 0,1 0 16,-1-27-16,0 27 0,0 0 16,27-14-16,-27 14 0,14 0 15,-1-14-15,1 14 16,-1 0-16,-13 13 0,14-13 0,-1 13 16,1-14-16,26 14 0,-27-13 15,-13 13-15,40 0 0,-26 13 16,-1-13-16,1 0 0,-14 0 15,13 0-15,1 14 0,-1-14 16,14 13-16,-27-13 0,14 0 0,-1 13 16,0-13-16,1 0 0,-14 13 15,14-13-15,-1 0 0,-13 13 0,27-13 16,-14 14-16,-12-14 0,25 0 16,-12 0-16,-14 0 15,0 13-15,14-13 0,-14 0 0,13 0 16,1 0-16,-14 0 0,0 0 15,1-13-15,-1 13 0,0 0 16,0 0-16,0 0 0,1-14 0,-1 14 16,0-13-16,0 13 0,-13-13 15,14 13-15,-14-13 0,13 13 0,-13-13 16,13-1 0,0 1-16,-13 0 15,13 13-15,-13-13 0,14 13 16,-14-14-16,13 14 31,-13-13-15</inkml:trace>
  <inkml:trace contextRef="#ctx0" brushRef="#br0" timeOffset="-197799.95">14354 622 0,'0'26'0,"0"-13"0,0 14 0,0-14 16,0 14-16,0-1 0,0 1 15,0-14-15,0 13 0,0 1 0,0-1 16,0 1-16,0-14 0,0 13 0,0-13 16,0 1-16,0 12 0,0 1 15,0-14-15,0 0 0</inkml:trace>
  <inkml:trace contextRef="#ctx0" brushRef="#br0" timeOffset="-197345.25">14301 635 0,'26'-26'0,"-13"26"0,1 0 0,-1 0 16,79 26 15,-78-13-31,-14 0 0,0 1 0,0-1 16,0 13-16,-14 14 0,1-13 15,0-1-15,-13 14 0,12-14 0,-12 1 16,13-14-16,-14 13 0,14-13 0,0-13 15,0 14-15,-1-1 16,1 0-16,13 0 16,-13-13-16,26 14 15,0-14 1,1 0-16,-1 13 0,0-13 16,13 0-16,-12 0 0,12 0 0,-13 0 15,14-13-15,-14 13 0,13 0 16,-12 0-16,12 0 0,-13-14 0,1 14 15,-1 0-15,0 0 0</inkml:trace>
  <inkml:trace contextRef="#ctx0" brushRef="#br0" timeOffset="-196578.97">14856 741 0,'-13'-13'16,"26"26"-16,-39-13 15,13 13 1,-1 0-16,14 1 0,-13-1 16,13 0-16,0 0 0,-13 0 15,13 1-15,0-1 16,0 0-16,0 0 0,13 1 16,0-1-1,-13-26 1,14 13-16,-14-14 15,13 1-15,-13 0 0,0 0 16,0-1 0,0 1-16,13 13 0,-13-13 0,0 0 15,0 0 1,13 26 15,1 0-15,-14 0-1,13-13 1,-13 13 0,26-26 15,-13 13-15,14 0 15,-14 0 0,0 0-31,1 0 47,-1-13-31,0 13-1,0 0 1,-13-13-16,14 13 0,-1 0 15,-13-13-15,13 13 0,0 0 0,0 0 16,1-14-16,-1 14 0,0 0 0</inkml:trace>
  <inkml:trace contextRef="#ctx0" brushRef="#br0" timeOffset="-195965.28">15293 622 0,'-27'0'15,"14"0"1,13 13-16,0 0 16,0 0-1,0 1-15,0-1 0,0 0 0,0 0 16,0 1-16,-13-1 0,13 0 0,0 0 15,0 1-15,-13-1 0,13 0 16,-13 0-16,-1 0 0,14 1 16,-13-1-16,0 0 15,39-39 17,-12 12-32,-1 1 15,0 0-15,0 0 16,0-14-16,1 14 0,-1 0 0,0 0 15,0-1-15,1 1 0,-1 0 16,-13 0-16,13 13 0,-13-14 16,0 41 15,0-14-15,0 0-16,0 1 15,0-1-15,0 0 0,13 0 16,-13 1-1,14-14-15,-14 13 0</inkml:trace>
  <inkml:trace contextRef="#ctx0" brushRef="#br0" timeOffset="-195695.98">14565 1230 0,'-26'14'15,"79"-41"1,-14 1-16,1 12 16,0-12-16,13 13 0,0-14 0,13 1 15,-13 13-15,0-14 0,13 14 16,26-27-16,-52 40 0,0-13 15,-14 0-15,1 13 0,-14 0 0,0 0 16,0 0 0</inkml:trace>
  <inkml:trace contextRef="#ctx0" brushRef="#br0" timeOffset="-195495.75">14671 1323 0,'-26'0'0,"52"0"0,-66 13 15,67-13 17,-1 0-32,-12-13 0,12 13 15,1-13-15,12 13 0,1-14 0,0 1 16,-1 0-16,1 0 0,0 0 16,-14-1-16,14 1 0,-1 0 15,1-14-15,0 14 0,-14 0 0,1 0 16</inkml:trace>
  <inkml:trace contextRef="#ctx0" brushRef="#br0" timeOffset="-195214.2">15756 741 0,'0'0'0,"26"-13"16,-12 13-1,-1 0-15,13-14 0,-12 14 16,12 0-16,-13-13 0,14 13 0,-1-13 15,-13 13-15,1 0 0,12-13 16</inkml:trace>
  <inkml:trace contextRef="#ctx0" brushRef="#br0" timeOffset="-194960.25">15941 529 0,'0'0'0,"40"0"16,-27 13 0,0-13-16,1 0 0,12 14 0,-13-14 15,14 13-15,-14-13 0,13 13 0,-12 0 16,12-13-16,-13 14 0,14-1 16,-14 0-16,-13 0 0,13 0 15,-13 1-15,0-1 0,0 0 16,0 0-16,-13 1 15,0-1-15,-1 0 0,14 0 16,-13 1-16,-13-1 0</inkml:trace>
  <inkml:trace contextRef="#ctx0" brushRef="#br0" timeOffset="-190800.93">7660 13375 0,'13'0'0,"-13"-14"32,0 1-32,0 0 0,0 0 15,0 0-15,-13-14 0,13 14 0,0-14 16,-14 1-16,1-1 0,0-12 0,-13-1 15,-1 0-15,-13-12 0,-39-28 16,26 40-16,0 1 16,0 12-16,-13 1 0,13-1 0,-13 14 0,0 0 15,13 13-15,0 0 16,-26 0-16,13 13 0,-14 14 0,14-1 16,0 1-16,-27 25 0,14-12 0,13 13 15,0 13-15,-1 0 0,1 0 16,13 1-16,0 12 0,14-13 0,12 0 15,14 0-15,0 1 0,0-1 0,26 0 16,0 0-16,14 13 0,12-26 16,1 27-16,26-1 0,0-26 15,0 0-15,1-13 0,-1-1 0</inkml:trace>
  <inkml:trace contextRef="#ctx0" brushRef="#br0" timeOffset="-190581.13">6390 14274 0,'1151'-39'0,"-940"-94"15,-171 80-15,26-26 16,-39 26-16,-1 0 0,-13-13 16,-13 13-16,14-13 0,-14 0 0,-14-14 15,1 14-15,0 0 0,-14 0 0,-12 0 16,-1 13-16,0 0 0,1 0 16,-14 13-16,0 14 0,-13 0 0,-1-1 15,1 27-15,0-13 0,-13 26 0,13-13 16,-14 27-16,14-14 0,-13 13 15,13 1-15,-1-1 0,15 14 16,-1-14-16,0 14 0,0-14 0</inkml:trace>
</inkml:ink>
</file>

<file path=ppt/ink/ink14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07:51.959"/>
    </inkml:context>
    <inkml:brush xml:id="br0">
      <inkml:brushProperty name="width" value="0.05292" units="cm"/>
      <inkml:brushProperty name="height" value="0.05292" units="cm"/>
      <inkml:brushProperty name="color" value="#0070C0"/>
    </inkml:brush>
  </inkml:definitions>
  <inkml:trace contextRef="#ctx0" brushRef="#br0">10716 2394 0,'13'27'15,"-13"-14"-15,0 27 0,13 0 0,-13 26 16,0 0-16,13 0 0,-13 0 0,0 14 16,14-14-16,-14 0 0,0 0 0,13 0 15,-13 0-15,0 0 0,0-13 16,0-13-16,0 13 0,0-13 0,13-14 15,-13 0-15,0 1 0,0-14 0,0 14 16,0-14-16</inkml:trace>
  <inkml:trace contextRef="#ctx0" brushRef="#br0" timeOffset="1601.6">10755 2289 0,'27'0'0,"-14"0"0,119-14 16,-92 14-16,26 0 15,0 0-15,0 0 0,14-13 0,-1 13 16,14-13-16,-1 13 0,1 0 0,13-13 16,-14 13-16,41-14 0,-14 1 15,13 13-15,0-13 0,-13 13 0,14-13 16,-1 13-16,0-13 0,1-1 0,12 14 15,-13-13-15,14 0 16,-1 13-16,1-13 0,-1 13 0,1-14 16,13 14-16,-14-13 0,14 13 0,159-13 15,-173 0-15,14 13 16,0-13-16,-1 13 0,1-14 0,13 1 16,-13 13-16,0-13 0,-1 13 0,1-13 15,0 13-15,0-14 0,-1 14 0,1-13 16,-13 13-16,12 0 0,-12-13 15,-1 13-15,14 0 0,-13-13 0,-1 13 16,1 0-16,-1-14 0,1 14 16,-1 0-16,1 0 0,-14-13 15,14 13-15,-14 0 0,0 0 0,-13 0 16,-13 0-16,0 0 0,0 0 0,0 0 16,-1 0-16,1 13 15,0-13-15,-13 0 0,-1 0 0,-12 0 0,-1 14 16,-13-14-16,0 0 0,-13 0 0,0 0 15,-13 13-15,-1-13 0,-12 0 16,13 0-16,-27 0 0,13 0 0,1 13 16,-14-13-16,0 0 0,0 0 15,1 0-15,-1 0 0,0 0 16,0 0-16,-13 13 0,14-13 16,-14 14-16,13-14 15,-13 13-15,13 0 0,-13 0 0,0 14 16,0-1-16,13 14 0,-13 0 15,0-1-15,0 1 0,0 13 0,14-13 16,-14 12-16,0 1 0,0 0 0,0 0 16,0 0-16,0-13 0,0 13 15,0 0-15,0 0 0,13-14 0,-13 14 16,13-13-16,-13 0 0,13-1 0,-13 1 16,13-14-16,1 1 0,-14-1 15,13 1-15,-13-14 0,13 13 16,-13-12-16,13 12 0,-13-13 0,14 1 15,-14-1-15,0 0 0,0 0 16,13 1-16,-13-1 16,-13 0-16,-1 0 15,1-13-15,0 13 0,-14-13 16,1 14-16,0-14 0,-27 13 16,13-13-16,-13 0 0,0 13 0,0-13 15,-13 13-15,-13-13 0,13 0 0,-14 14 16,1-14-16,-1 0 0,1 13 15,0-13-15,-14 0 0,0 13 0,1-13 16,-1 13-16,-13-13 0,14 13 0,-41-13 16,14 14-16,-13-14 15,-609 53 1,622-53-16,-13 13 16,0-13-16,13 13 0,-14-13 0,27 13 15,-26-13-15,-13 14 0,12-14 16,1 13-16,0-13 0,-1 0 0,1 13 15,-13-13-15,12 13 0,1-13 0,0 0 16,-1 13-16,1-13 0,13 0 16,13 14-16,-26-14 0,0 13 15,26-13-15,-13 0 0,-13 13 0,26-13 16,-13 13-16,13-13 0,13 14 16,-13-14-16,1 13 0,12-13 0,-39 0 15,39 13-15,-13 0 0,14-13 0,-1 0 16,-13 14-16,14-14 0,-14 13 15,13-13-15,-13 13 0,14-13 0,-1 13 16,-13-13-16,14 13 0,-1-13 0,0 14 16,1-1-16,-1-13 0,1 13 0,-1-13 15,14 0-15,-14 13 0,14-13 16,-14 14-16,14-14 0,-14 13 0,14-13 16,-1 0-16,1 13 0,0-13 0,12 13 15,-12-13-15,0 0 0,13 14 16,-1-14-16,1 0 0,0 13 15,13-13-15,0 0 0,0 0 0,-13 13 16,13-13-16,0 0 0,0 0 16,1 13-16,-1-13 0,0 0 0,0 0 15,13 13-15,0-13 0,1 0 0,12 0 16,1 0-16,-14 0 0,14 0 16,12 0-16,-12 0 0,0 0 0,12 14 15,-12-14-15,13 0 0,-1 0 0,1 0 16,0 0-16,0 0 15,-1 0-15,1 0 16,0 0-16,0 0 16,0 0-1,-1 0 32,1-14-31</inkml:trace>
  <inkml:trace contextRef="#ctx0" brushRef="#br0" timeOffset="3205.84">17013 2408 0,'0'39'16,"0"1"-16,-14 0 15,14 26-15,0 13 0,0-13 0,0 14 16,0-1-16,-13-13 0,13 14 16,0-14-16,0 0 0,0 0 0,0-26 15,13 13-15,-13-14 0,0 1 0,0 0 16,0-14-16,0-13 0,14 14 16,-14-14-16,0 0 0,0 1 15</inkml:trace>
  <inkml:trace contextRef="#ctx0" brushRef="#br0" timeOffset="3821.46">16907 2421 0,'0'0'0,"53"-13"0,-14 13 16,1-14-16,13 14 0,0-13 16,26 0-16,1 13 0,-1-13 0,14 0 15,-1-1-15,41 1 0,-14 0 16,13 13-16,-13-13 0,0-1 0,-13 14 16,0-13-16,0 13 0,-1 0 0,-12-13 15,13 13-15,0 0 0,-27 0 0,14-13 16,-14 13-16,-13 0 0,0 0 15,-13 0-15,0 0 0,-13 0 0,-14 0 16,1 0-16,-1 13 0,1-13 0,-14 0 16,13 0-16,-12 13 15,-1-13-15,0 13 0,0 1 0,1-1 16,-14 0-16,13 0 0,0 14 0,-13-1 16,13 14-16,-13 0 0,13-1 15,-13 14-15,14-13 0,-1 13 0,-13 0 16,13 0-16,-13 13 0,13-13 0,-13 0 15,14 0-15,-14-14 0,13 14 16,-13-13-16,13 0 0,-13-1 16,13 1-16,-13 0 0,0-14 0,0 1 0,0-1 15,0 0-15,0 1 0,0-14 16,-13 14-16,13-14 0,-26 13 16,-1 1-16,1-1 0,-14-13 0,0 1 15,-13 12-15,0-13 0,-26 1 0,13-1 16,-13 0-16,-14 0 0,0-13 15,14 13-15,-27 1 0,14-14 0,-1 13 16,0-13-16,1 13 0,12-13 0,1 0 16,13 0-16,13 0 0,0 0 15,13 0-15,14 0 0,-1-13 0,14 13 16,0 0-16,13-13 0,0-1 16,13 1-16</inkml:trace>
  <inkml:trace contextRef="#ctx0" brushRef="#br0" timeOffset="4274.26">19791 2884 0,'238'-26'31,"-159"26"-31,1-14 0,12 1 16,1 13-16,0-13 0,-1 13 0,1-13 15,-1-1-15,14 14 0,-13-13 0,13 13 16,-14-13-16,14 0 16,-13 13-16,-1-14 0,1 1 0,-1 13 15,-12-13-15,-1 13 0,-13 0 0,-13-13 16,0 13-16,0 0 0,-26 0 0,-1 0 15,0-13-15,1 13 0,-14 0 16,0 0-16,1 0 0,-1-14 16</inkml:trace>
  <inkml:trace contextRef="#ctx0" brushRef="#br0" timeOffset="4533.64">21788 2514 0,'0'0'0,"14"0"0,12 0 15,-13 0-15,1 13 0,12-13 16,1 13-16,-14-13 0,13 13 0,-13 0 16,14 14-16,-1-1 0,1 1 15,-14-14-15,-13 14 0,13-14 0,-13 13 16,13 1-16,-13-14 0,-13 13 0,0 14 15,0-13-15,0 12 0,-14-12 16,1-1-16,-1-13 0,1 14 0,-1-14 16,14 13-16,0-26 0,0 14 0,-1-1 15,1-13-15</inkml:trace>
  <inkml:trace contextRef="#ctx0" brushRef="#br0" timeOffset="4889.79">22900 2606 0,'-14'27'15,"1"-14"-15,0 0 0,-27 0 0,14 14 16,-1-1-16,-12-13 0,12 14 15,-12-1-15,12-12 0,-13 12 0,27-13 16,0 1-16,-14-1 0,27 0 0,-13-13 16,13 13-16,0 0 0,0 1 15,13-1-15,-13 0 0,27-13 16,-14 0-16,14 13 0,-14-13 0,13 0 16,1 14-16,-1-14 0,1 0 15,-1 0-15,1-14 0,12 14 16,-12 0-16,-1-13 0,1 13 0,-14-13 15,13 13-15,1-13 0,-14-1 0,0 1 16,1 0-16,-1 0 0,0 0 16,-13-1-16,0 1 0</inkml:trace>
  <inkml:trace contextRef="#ctx0" brushRef="#br0" timeOffset="5073.63">22900 2606 0,'-14'0'0,"-38"53"16,52-26-1,-14-1-15,1 0 0,0 1 0,0 13 16,-1-1-16,1-12 0,0 12 16,0 1-16,-1-13 0,14-1 15,-13 0-15,13-12 0,-13 12 0,13-13 16,0 14-16,-13-14 0,13 0 0,0 1 16</inkml:trace>
  <inkml:trace contextRef="#ctx0" brushRef="#br0" timeOffset="5528.76">22688 2222 0,'-79'14'0,"39"-1"0,0 0 0,-13 14 15,0 12-15,1 1 0,12 13 16,0 0-16,0 0 0,1 13 0,12 0 16,14 0-16,0 0 0,13 1 15,26 52-15,173 132 16,-146-211 0,0-14-16,-1 14 0,1-14 15,0-13-15,-13 1 0,0-1 0,13-13 16,-14 0-16,1 0 0,13 0 0,0-13 15,0-14-15,0 14 0,0-13 16,0-1-16,-14-13 0,14 1 0,-13-1 16,-1-13-16,1 13 0,-13-13 0,-1 1 15,-13-15-15,1 15 0,-14 12 16,0-13-16,-14 0 0,1-13 16,-13 13-16,-14 13 0,-13-13 0,0 14 0,-13-1 15,0 0-15,0 14 16,0-1-16,-1 1 0,-12 13 0,13-1 0,0 1 15,13 13-15,13 0 0,-13 0 16,13 0-16,14 13 0,0-13 0,-1 14 16,14-14-16,-14 13 0,14 0 15,0 0-15</inkml:trace>
  <inkml:trace contextRef="#ctx0" brushRef="#br0" timeOffset="8295.84">11615 4128 0,'53'0'15,"-26"-14"1,-1 14-16,14-13 0,13 13 0,0-13 16,-1 0-16,1 13 0,-13-14 0,13 1 15,0 13-15,0-13 0,0 13 16,0-13-16,-14 13 0,1 0 0,0 0 16,-14 0-16,14 0 0,-14 13 0,1-13 15,-14 13-15,13 0 0,1 14 16,-1-14-16,-12 14 0,-1 12 15,0-12-15,0 12 0,1 14 0,-14 0 16,13 0-16,-13 13 0,13 0 0,-13 1 16,0 12-16,13 0 0,-13 1 15,13-1-15,1 27 0,-14-14 0,13 1 16,0 13-16,0 0 0,1 0 16,-1-1-16,0 1 0,14-13 0,-14 13 15,0-1-15,0 1 0,14-13 0,-14 13 16,0-14-16,14 14 0,-14-26 0,0-1 15,0 0-15,1 1 0,-1-1 16,0-13-16,0 14 0,0-1 0,-13-13 16,14 0-16,-1 0 0,-13-13 0,13 13 15,-13-13-15,0-13 0,0 13 16,0-13-16,0-1 0,0 1 0,0 0 16,0-14-16,-13 1 0,13-14 0,-13 13 15,13 1-15,-27-1 0,14 1 16,0-14-16,0 0 0,-14 0 15,1 1-15,-14-1 0,0 0 0,1-13 16,-14 13-16,-14 1 0,1-14 0,-13 0 16,-14 0-16,1-14 0,-1 14 15,-39-26-15,13 13 0,-14-1 0,1-12 16,-13 0-16,-1-1 0</inkml:trace>
  <inkml:trace contextRef="#ctx0" brushRef="#br0" timeOffset="9140.71">4326 5133 0,'26'0'0,"1"0"16,-14 0-16,40-13 16,0 13-16,0-14 0,13 14 0,13-13 15,14 0-15,0 13 0,39-13 0,-40 0 16,14 13-16,-13-14 0,39 1 16,-13 13-16,-13-13 0,-13 13 0,13-13 15,-14 13-15,1-14 0,-1 14 0,1 0 16,-14-13-16,1 0 0,-1 13 15,-13 0-15,0-13 0,-26 13 0,13 0 16,-13 0-16,-14 0 0,1 0 0,-14 0 16,0 0-16</inkml:trace>
  <inkml:trace contextRef="#ctx0" brushRef="#br0" timeOffset="9420.67">5186 5265 0,'-13'0'0,"105"-13"31,-52 13-31,13-13 0,13 13 16,13-13-16,1-1 0,12 14 0,1-13 15,0 0-15,12 13 0,-12-13 0,0-1 16,-1 14-16,-12 0 15,-1-13-15,-13 13 0,-13 0 0,0-13 16,-13 13-16,-1 0 0,-12 0 0,-1 0 16,-13 0-16,14 0 0,-14 0 15,14 0-15,-14 0 0,0 0 0,0 0 16,0 0-16,1 0 0</inkml:trace>
  <inkml:trace contextRef="#ctx0" brushRef="#br0" timeOffset="10068.79">8083 4260 0,'0'39'31,"0"-12"-31,13-1 0,-26 14 0,26 13 15,-26 0-15,13 0 0,0 0 16,0-14-16,0 14 0,0 0 16,13-13-16,-13 0 0,0-1 0,13-12 15,-13 12-15,14-25 0,-14 12 0,0 1 16,13-14-16,-13 0 0,13 0 16,0 1-16</inkml:trace>
  <inkml:trace contextRef="#ctx0" brushRef="#br0" timeOffset="10689.63">8295 4075 0,'0'0'0,"92"-27"0,-39 14 0,13 13 16,0-13-16,14-1 0,-1 14 0,1-13 15,12 0-15,1 13 0,-1 0 16,-12 0-16,12 0 0,1 0 0,-14 0 16,14 0-16,-14 0 0,1 0 0,-14 0 15,-13 13-15,13-13 0,-26 0 16,13 0-16,-14 13 0,1-13 15,-14 0-15,1 0 0,-1 0 0,-12 14 16,-1-14-16,13 0 0,-13 0 0,1 13 16,-1-13-16,0 13 15,0-13-15,-13 13 0,14-13 0,-1 14 16,-13-1-16,13 0 0,0 0 16,-13 1-16,14-1 0,-1 13 0,-13-13 15,13 14-15,0-1 0,0 1 0,14-1 16,-14 14-16,0-14 0,14 1 15,-14-1-15,0 1 0,1 12 0,12-12 16,-13-1-16,0 1 0,1-1 16,-1-12-16,0 12 0,0-13 0,1 14 15,-1-14-15,0 0 0,-13 0 16,13 14-16,0-14 0,-13 0 0,14-13 16,-1 13-16,-13 1 0,13-1 15,-13 0-15,-13 0 16,0 1-16,-1-14 15,-12 13-15,0-13 0,-14 13 0,-13 0 16,13-13-16,-26 14 0,0-1 16,-13-13-16,-1 13 0,1 0 15,-1-13-15,-12 13 0,-1 1 0,-26-1 16,27-13-16,-27 26 0,13-26 0,-13 27 16,0-14-16,0 0 0</inkml:trace>
  <inkml:trace contextRef="#ctx0" brushRef="#br0" timeOffset="11717.99">701 4498 0,'-13'0'0,"26"-13"47,0-1-47,1 1 16,-14 0-16,13 0 0,0 13 0,0-27 16,1 27-16,-14-13 0,13 13 15,-13-13 1,13 26-16,-13 0 15,13 1-15,-13-1 0,0 13 0,0-13 16,0 14-16,13-1 0,-13 1 16,0-1-16,0 1 0,14-1 15,-14 1-15,0-1 0,0 1 0,13-14 16,-13 13-16,0-13 0,0 1 16,13 12-16,-13-13 0,0 1 0,13-1 0,-26-13 15,26 13-15,-13 0 0,0 1 16</inkml:trace>
  <inkml:trace contextRef="#ctx0" brushRef="#br0" timeOffset="11917.07">688 5014 0,'0'-13'16,"13"-1"-1,0 1-15,1 0 0,-1 0 16,13-1-16,1-12 0,12 13 15,-12-14-15,13 14 0,-14 0 16,0-14-16,14 14 0,-13 0 0,-14 0 16,13-1-16,-12 14 0,12 0 0,-26-13 15,26 13-15,-12 0 0,-1 0 16</inkml:trace>
  <inkml:trace contextRef="#ctx0" brushRef="#br0" timeOffset="12754.8">212 6231 0,'13'-27'0,"27"1"31,-27 26-31,0 0 16,0 0-16,1 0 0,-1 13 15,-13 0-15,13 1 0,-13-1 16,0 0-16,-13 14 0,13-14 0,0 13 15,-13 1-15,13-14 0,-14 13 0,1 1 16,13-14-16,-13 0 0,13 1 16,-13-1-16,13 0 0,-14 0 15,14 1-15,27-14 32,-14-14-17,0 1-15,1 13 0,-1-13 0,0 0 16,13 13-16,-12-14 0,-1 1 0,0 13 15,0-13-15,1 13 0,-1 0 16,0-13-16,0 13 0,0 0 0</inkml:trace>
  <inkml:trace contextRef="#ctx0" brushRef="#br0" timeOffset="14262.88">7660 6707 0,'39'0'0,"-12"-13"16,26 13-16,0-13 0,13 13 16,13-13-16,14-1 0,-1 14 0,41-13 15,-1 0-15,13 0 0,1 13 0,0-14 16,-1 1-16,1 13 16,12-13-16,-12 13 0,-1-13 0,1 13 15,105-14-15,-145 14 0,-13 0 16,13 0-16,-14 0 0,-12-13 0,-14 13 15,0 0-15,-13 0 0,0 0 16,-14 0-16,-12 0 0,-1 0 0,-13 0 16</inkml:trace>
  <inkml:trace contextRef="#ctx0" brushRef="#br0" timeOffset="14679.94">8321 6747 0,'53'0'16,"-13"-13"-16,26 13 0,331-40 31,-278 27-31,13 0 0,0 13 0,14-14 0,-14 1 16,1 13-16,12-13 0,-26 13 15,13-13-15,-26 13 0,-13-14 0,13 14 16,-14 0-16,1-13 0,-14 13 0,-13 0 16,1 0-16,-15-13 0,1 13 15,-13 0-15,-13 0 0,-1 0 16,0 0-16,-12 0 0,12 0 0,-13 0 16,1 0-16,-1 0 0,0 0 15,0 0-15,0 0 16,1 0-16,-1 0 15,0 0 1,0 0 0,1 13-1,-1-13 1</inkml:trace>
  <inkml:trace contextRef="#ctx0" brushRef="#br0" timeOffset="17189.07">5622 7435 0,'-13'26'15,"13"1"-15,0-1 0,0 14 16,-13 0-16,13 26 0,0 0 15,0 0-15,0 0 0,-13 14 0,13-14 16,0 0-16,0 0 0,0 0 0,0-13 16,0-13-16,0 13 0,0-14 15,0-12-15,0 12 0,0-12 0,13-14 16,-13 0-16,0 1 0,0-1 16,0 0-16</inkml:trace>
  <inkml:trace contextRef="#ctx0" brushRef="#br0" timeOffset="17840.79">5464 7395 0,'26'-13'15,"-13"0"-15,93-1 16,-53 1-16,26 13 0,1-13 16,12 13-16,1-13 0,39-1 15,1 1-15,-1 0 0,13 0 0,14 0 16,0-14-16,0 14 0,-1-14 0,14 1 16,-13 13-16,13-14 0,-13 1 15,13 13-15,-13-1 0,-1-12 0,-12 13 16,-1-1-16,1 1 0,-14 0 0,1 0 15,-28 0-15,-12-1 0,0 14 16,-14-13-16,0 13 0,-13-13 16,1 13-16,-14 0 0,-1-13 0,-12 13 15,0 0-15,-14 0 0,1 0 16,-14 0-16,0 0 0,0 0 0,1 0 16,-1-14-16,0 14 0,0 14 15,1-14 1,-14 13-16,13 0 15,-13 0-15,0 1 0,13 12 0,-13 0 16,13 14-16,0 0 0,1 0 16,-1 12-16,0 1 0,14 13 0,-14-13 15,13 0-15,1 0 0,-14 0 0,13 13 16,1-13-16,-1 0 0,1 0 16,-1 0-16,1-13 0,-1-1 15,1 14-15,-14-26 0,0 12 0,14-12 16,-14-1-16,0 14 0,0-14 0,-13-12 15,14 12-15,-14-13 0,0 27 16,0-27-16,0 14 0,-14-14 16,-12 13-16,-1-12 0,1 12 0,-14-13 15,-13 14-15,0-14 0,-13 14 16,-13-14-16,-1 0 0,-12-13 0,-27 13 16,-13 0-16,-14 1 0,0-14 0,1 13 15,-14-13-15,0 0 0,-13 13 16,-13-13-16</inkml:trace>
  <inkml:trace contextRef="#ctx0" brushRef="#br0" timeOffset="18867.96">238 8281 0,'0'0'0,"13"-13"0,1 0 15,-1 0 1,0 0 0,0 13-16,1 0 15,-1 0-15,-13 13 16,0 0-16,13-13 0,-13 13 15,0 0-15,0 1 0,0-1 0,13 0 16,-13 0-16,0 1 16,13-1-16,-13 0 0,14-13 0,-14 13 15,13 1-15,-13-1 0,13 0 0,-13 0 16,13 0-16,-13 1 16,14-1-16,-14 0 0,0 0 0,0 1 15,-14-1-15,14 0 0,-13 0 0,13 0 16,-13 1-16,0-1 15,-1-13-15,1 13 0,0-13 0,0 13 16,-14-13-16</inkml:trace>
  <inkml:trace contextRef="#ctx0" brushRef="#br0" timeOffset="19126.78">251 7845 0,'67'0'0,"-134"0"0,173 0 16,-66 13-16,0 0 15,-1 14-15,1-1 0,0 14 0,-1 0 16,1-1-16,0 14 0,-14 0 0,1 0 16,-1 13-16,-13-13 0,1 0 15,-14-13-15,0 13 0,0 0 0,-14-1 16,1 15-16,-13-14 0,-1 13 0,-26-13 15,27 0-15,-14-1 0,0 1 16,1-13-16,-14 0 0</inkml:trace>
</inkml:ink>
</file>

<file path=ppt/ink/ink14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08:19.320"/>
    </inkml:context>
    <inkml:brush xml:id="br0">
      <inkml:brushProperty name="width" value="0.05292" units="cm"/>
      <inkml:brushProperty name="height" value="0.05292" units="cm"/>
      <inkml:brushProperty name="color" value="#0070C0"/>
    </inkml:brush>
  </inkml:definitions>
  <inkml:trace contextRef="#ctx0" brushRef="#br0">304 1495 0,'-13'106'16,"13"-53"-16,13 330 15,-13-303-15,0 12 16,0-12-16,0 12 0,0-12 0,0-1 16,0-13-16,0 0 0,14 0 0,-14-13 15,0-13-15,0 13 0,0-13 0,13-14 16,-13 1-16,0-14 0,0 0 15,0 0-15</inkml:trace>
  <inkml:trace contextRef="#ctx0" brushRef="#br0" timeOffset="990.07">278 1468 0,'0'0'0,"66"0"0,-26 0 0,-1-13 15,14 13-15,13-13 0,14 13 0,-1-13 16,1 13-16,12-13 0,14 13 0,13-14 16,13 1-16,1 0 0,-1 0 15,0-1-15,14 1 0,-14 0 0,14 0 16,-1-1-16,1 1 0,12 0 0,-12 13 16,-1-13-16,1 0 0,-1 13 15,1-14-15,-14 1 0,14 13 16,-1-13-16,1 0 0,-1 13 0,1-14 15,-14 1-15,14 13 0,-1-13 0,-13 13 16,1-13-16,12-1 0,-26 14 16,14-13-16,-41 0 0,1 13 0,13-13 15,-14 13-15,1-13 0,-1-1 0,1 14 16,-14-13-16,1 13 0,-14-13 16,-13 13-16,0-13 0,0 13 0,-27 0 15,1 0-15,-1-14 0,-13 14 0,14 0 16,-14 0-16,0 0 0,0 0 15,1 0-15,-1 0 16,0 0-16,0 0 16,1 0-16,-1 0 15,0 14-15,0-1 16,-13 0-16,14 0 0,-1 1 16,0 25-16,0-12 0,0 12 0,1 14 15,-1 0-15,13 0 0,-12 13 16,-1 0-16,0 1 0,0 12 15,1-13-15,12 13 0,-13-12 0,0-1 16,1 0-16,-14 0 0,13 0 16,0-13-16,-13-13 0,13 13 0,-13-14 0,14 1 15,-14 0-15,0-1 0,13-12 16,-13-1-16,0-12 0,0 12 0,0-13 16,-13 14-16,13-14 0,0 0 15,-14 14-15,1-14 0,-13 0 0,12 0 16,-25 1-16,12-14 0,-26 13 0,14-13 15,-27 13-15,13-13 0,-27 0 16,1 0-16,-14-13 0,14 13 0,-14 0 16,1-13-16,-14 13 0,-26-14 0,-1 14 15,1 0-15,0-13 0,-14 13 16,1 0-16,-14 0 0,0 0 0,0 0 16,1 13-16,-14-13 0,0 0 0,-14 14 15,14-14-15,-13 13 0,0 0 16,0 0-16,0 1 0,-1-1 15,1 0-15,26 0 0,-13 0 0,14 1 16,-1-1-16,13 0 0,1 0 0,13 1 16,-1-1-16,14 0 0,13 0 15,14 1-15,-1-1 0,1-13 0,12 13 16,1-13-16,0 13 0,12-13 0,-38 13 16,78-13-16,-13 0 15,27 0-15,-13 0 0,13 0 0,-1 0 16,1 0-16,13-13 0</inkml:trace>
  <inkml:trace contextRef="#ctx0" brushRef="#br0" timeOffset="4049.14">900 4167 0,'0'0'15,"13"-13"1,0 0-16,13 13 0,1-13 0,13 13 16,13-14-16,13 14 0,13-13 0,0 13 15,1-13-15,-1 13 0,1-13 0,12 13 16,1-14-16,-14 14 0,14-13 15,-14 13-15,1-13 0,-1 13 16,-13 0-16,-13-13 0,0 13 0,-13 0 16,-1 0-16,-12-14 0,-14 14 15,13 0-15,-12 0 0</inkml:trace>
  <inkml:trace contextRef="#ctx0" brushRef="#br0" timeOffset="4309.08">1296 4273 0,'67'0'0,"-41"0"15,1 0-15,25-13 0,-12 13 0,13 0 16,265-40 15,-226 27-31,-65 13 0,-1 0 0,1 0 16,-1-13-16,-13 13 0,14 0 15,-14-14-15,0 14 0,0 0 16,1 0-16</inkml:trace>
  <inkml:trace contextRef="#ctx0" brushRef="#br0" timeOffset="5387.65">53 3889 0,'13'-13'47,"0"0"-47,1 13 15,-1-13-15,13 13 0,-12-14 16,12 14-16,-13 0 0,0-13 16,14 13-16,-14-13 0,14 13 0,-14-13 15,0 13-15,0 0 0,1 0 16,-14-13-16,13 13 0,0 0 0,0 0 15,0 0 1</inkml:trace>
  <inkml:trace contextRef="#ctx0" brushRef="#br0" timeOffset="5847.12">79 3519 0,'14'-27'16,"-1"-12"0,-13 26-1,13 26 1,0 13-1,1-13-15,-14 14 16,13-14-16,-13 14 0,13-1 0,-13-13 16,13 27-16,0-14 0,-13-12 0,14 12 15,-14-13-15,13 14 0,-13-14 0,13 0 16,-13 14-16,13-14 0,-13 0 16,0 0-16,14-13 0,-14 14 15,0-1-15,13-13 0,-13 13 0</inkml:trace>
  <inkml:trace contextRef="#ctx0" brushRef="#br0" timeOffset="8940.79">10795 3519 0,'0'26'0,"0"-12"16,0-1-16,-13 0 0,13 0 15,0 1 1,0-1-16,0 0 0,0 0 15,0-39 17,13-1-32,-13 1 15,0-1-15,13 1 0,0-14 0,1 1 16,-14 12-16,13-13 0,0 14 16,0 0-16,1-1 0,-1 14 15,-13 0-15,13-1 0,0 1 0,1 13 16,-1 0-16,13 0 15,-13 13-15,1 1 0,-1-1 16,0 0-16,0 14 0,-13-14 0,14 13 16,-1 1-16,0-1 0,-13 1 0,0-14 15,13 0-15,-13 13 0,0-12 16,0-1-16,0 0 0,0 0 0</inkml:trace>
  <inkml:trace contextRef="#ctx0" brushRef="#br0" timeOffset="9325.44">10821 3532 0,'0'0'0,"14"-26"16,-1 26-16,0-14 16,0 1-16,27 0 0,-13 0 0,12 0 15,1-14-15,0 14 0,-1 0 0,-12-1 16,12 1-16,-12 0 0,-1 0 15,-12 0-15,-1 13 0,0-14 0,0 14 16,-13-13-16,13 0 16,-13 26 31,0 0-47,14 1 0,-14-1 15,0 0-15,0 0 0,0 0 0,13 1 16,-13-1-16,0 13 0,0-12 0,0-1 15,0 0-15,-13 0 0,13 0 16,-14 1-16,14-1 0,0 0 0,-13 0 16,13 1-16,40-41 31,-27 14-31,14-14 16</inkml:trace>
  <inkml:trace contextRef="#ctx0" brushRef="#br0" timeOffset="9477.42">11443 3400 0,'0'-13'0,"0"26"0,-13 0 31,13 0-31,-13-13 0,13 14 16,0-1-16,0 0 0,0 0 15,13-13-15,-13 13 0,13-13 16,0 0-16,-13 14 0,14-14 16,-1 0-16,0 0 0,0 0 15,1 0-15,-1 13 0</inkml:trace>
  <inkml:trace contextRef="#ctx0" brushRef="#br0" timeOffset="9666.12">10597 3863 0,'-14'0'31,"41"-13"-31,26 13 0,0-14 16,13 1-16,13 0 0,-13 0 0,27 0 15,-14-1-15,1 1 0,-1 0 16,-13 0-16,14-1 0,-14 14 0,-13-13 16,-14 13-16,-12 0 0,-14 0 0,0 13 15</inkml:trace>
  <inkml:trace contextRef="#ctx0" brushRef="#br0" timeOffset="9916.43">10636 3995 0,'53'-13'0,"-26"13"0,12-13 16,1 13-16,13-13 0,13-1 15,13 1-15,-12 13 0,12-13 0,0 0 16,1-1-16,-1 14 0,0-13 0,1 0 16,-14 0-16,0 13 15,-13-14-15,0 14 0,-27 0 0,14 0 16,-27-13-16,14 13 0,-14 0 0,0 0 15,0 0-15,-52 0 47</inkml:trace>
  <inkml:trace contextRef="#ctx0" brushRef="#br0" timeOffset="13604.25">8070 10372 0,'-13'79'32,"-1"-52"-32,1-1 0,13 14 0,-13-14 15,13 14-15,-13-14 0,13 14 16,-14-14-16,14-12 0,-13 12 0,0 1 16,13-14-16,-13 13 0,13-13 0,-13 1 15,13-1-15,-14-13 0,14 13 16</inkml:trace>
  <inkml:trace contextRef="#ctx0" brushRef="#br0" timeOffset="13819.23">8149 10372 0,'-53'13'31,"40"0"-31,0 0 0,-14 1 0,14 12 16,-27-13-16,14 14 0,0-1 0,-1 1 15,1-14-15,-1 13 0,1 1 16,-1-14-16,14 0 0,-13 0 0,12 1 0,1-1 16</inkml:trace>
  <inkml:trace contextRef="#ctx0" brushRef="#br0" timeOffset="14013.34">7871 10398 0,'119'119'16,"-105"-92"-1,12-1-15,-13-13 0,14 14 16,12 12-16,1 1 0,-27-27 15,1 1-15,12-1 0,-13 0 16,14 0-16</inkml:trace>
  <inkml:trace contextRef="#ctx0" brushRef="#br0" timeOffset="14864.98">10795 10041 0,'0'26'16,"0"1"0,0-1-16,0 1 0,0 12 0,-13 1 15,13 0-15,-13 0 0,13-1 16,0 1-16,-14 0 0,14-1 16,-13-12-16,13-1 0,-13 1 0,13-14 15,-13 13-15,13-12 0,-14-1 16,14 0-16,-13 0 0,13 0 0</inkml:trace>
  <inkml:trace contextRef="#ctx0" brushRef="#br0" timeOffset="15081.18">10821 10120 0,'0'0'0,"-13"0"0,0 14 16,0-14-16,0 13 0,-14 13 16,14-13-16,-14 14 0,1-1 0,-1 1 15,1-1-15,0 1 0,-1-1 0,14 1 16,-14-14-16,14 13 0,0-12 0,0-1 16,13 0-16</inkml:trace>
  <inkml:trace contextRef="#ctx0" brushRef="#br0" timeOffset="15295.23">10597 10081 0,'26'13'0,"-13"-13"0,53 40 31,-52-14-31,12-13 0,1 14 0,-1-14 0,0 13 15,-12-12-15,12-1 0,-13 0 16,14 0-16,-14 1 0,0-1 0,14 0 16,-14 0-16,0-13 0,0 13 15,1-13-15,-1 14 0</inkml:trace>
  <inkml:trace contextRef="#ctx0" brushRef="#br0" timeOffset="16287.16">13216 10160 0,'0'-13'0,"0"39"16,0-13-1,0 1-15,0 12 0,-13 1 0,13-1 16,13 1-16,-13 12 0,0 1 0,0-14 15,0 14-15,0 0 0,-13-1 16,13-12-16,0-1 0,0 1 0,0-1 16,0 1-16,-14-14 0,14 0 0,0 0 15</inkml:trace>
  <inkml:trace contextRef="#ctx0" brushRef="#br0" timeOffset="16644.32">13348 10120 0,'-53'27'0,"40"-14"0,0 0 16,-14 14-16,1-14 0,-1 13 15,1 1-15,0-1 0,-1 1 0,-13 12 16,1-12-16,12-1 0,1 1 0,-1-1 15,1 1-15,-1-14 0,14 0 16,0 0-16,0 1 0</inkml:trace>
  <inkml:trace contextRef="#ctx0" brushRef="#br0" timeOffset="16861.09">13189 10147 0,'27'39'16,"39"41"-1,-53-67-15,1 14 0,-1-14 16,-13 13-16,13-13 16,0 14-16,0-14 0,1 0 0,-14 1 15,13 12-15,-13-13 0,0 1 0,13-14 16,-13 13-16</inkml:trace>
  <inkml:trace contextRef="#ctx0" brushRef="#br0" timeOffset="20717.2">10663 9274 0,'13'0'0</inkml:trace>
  <inkml:trace contextRef="#ctx0" brushRef="#br0" timeOffset="21275.19">13163 9432 0</inkml:trace>
  <inkml:trace contextRef="#ctx0" brushRef="#br0" timeOffset="25376.86">8030 6006 0,'0'0'0,"13"66"0,-13-26 15,14 26-15,-1 13 0,-13 14 16,13 26-16,-13 0 0,0 13 0,0-13 15,0 14-15,0-1 0,-13 0 0</inkml:trace>
  <inkml:trace contextRef="#ctx0" brushRef="#br0" timeOffset="26639.47">10504 5384 0,'13'318'16,"-13"-212"-1,0 13-15,0 0 0,0 0 0,0 0 16,0 0-16,0-13 0,0-14 0,0-12 15,13 12-15,-13-12 0,0-14 16,0 13-16,14-13 0</inkml:trace>
  <inkml:trace contextRef="#ctx0" brushRef="#br0" timeOffset="27940.37">13044 5159 0,'26'40'16,"-26"0"-1,14 26-15,-14 0 0,0 13 16,13 1-16,-13 12 0,0 27 0,0 1 16,0 12-16,-13-13 0,13 13 0,0 0 15,0 1-15,0-14 0,0 0 16,0-40-16,0 14 0,0-14 0</inkml:trace>
  <inkml:trace contextRef="#ctx0" brushRef="#br0" timeOffset="29595.25">8731 5384 0,'0'-13'16,"0"26"-16,0 1 31,0 12-31,0 14 0,0 13 16,0 13-16,0 0 0,0 26 0,0-12 15,0 39-15,0 13 0,0-13 16,0 14-16,0 12 0,0 1 0,0-14 16,-13 27-16,13-27 0,0 13 15,0 1-15,0-14 0,13 1 0,-13-14 16,13 0-16,-13 0 0,14-13 0,-1-27 16,-13 14-16,13-14 0,-13 0 0,13-13 15,-13 1-15,14-1 0</inkml:trace>
  <inkml:trace contextRef="#ctx0" brushRef="#br0" timeOffset="30700.46">11073 5292 0,'13'238'15,"0"93"1,-13-212-16,0 13 16,0 0-16,0 14 0,0-14 0,13 0 0,-13 14 15,0-14-15,0 0 0,0 1 16,14-14-16,-14 0 0,13 0 16,-13-40-16,13 1 0</inkml:trace>
  <inkml:trace contextRef="#ctx0" brushRef="#br0" timeOffset="31315.4">13917 4815 0,'-13'291'0,"13"-171"0,0 12 16,0 0-16,0 27 0,-13 0 0,13-1 16,-14 28-16,14 38 0,-13-52 15,13 0-15,0 0 0,13 0 0,1-26 16,-1-1-16,0 1 0</inkml:trace>
</inkml:ink>
</file>

<file path=ppt/ink/ink14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42:29.150"/>
    </inkml:context>
    <inkml:brush xml:id="br0">
      <inkml:brushProperty name="width" value="0.05292" units="cm"/>
      <inkml:brushProperty name="height" value="0.05292" units="cm"/>
      <inkml:brushProperty name="color" value="#0070C0"/>
    </inkml:brush>
  </inkml:definitions>
  <inkml:trace contextRef="#ctx0" brushRef="#br0">2910 4723 0,'27'0'47,"13"13"-31,-1 27-1,41-27-15,39 0 16,79-13-16,1 27 15,-14-27-15,132 0 16,120 0-16,251 26 16,-186 1-16,-25-14 15,-14-13-15,119 26 16,-251-26-16,-107 27 16,-118-27-16,-53 0 15</inkml:trace>
</inkml:ink>
</file>

<file path=ppt/ink/ink14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10:13.086"/>
    </inkml:context>
    <inkml:brush xml:id="br0">
      <inkml:brushProperty name="width" value="0.05292" units="cm"/>
      <inkml:brushProperty name="height" value="0.05292" units="cm"/>
      <inkml:brushProperty name="color" value="#0070C0"/>
    </inkml:brush>
  </inkml:definitions>
  <inkml:trace contextRef="#ctx0" brushRef="#br0">2686 2950 0,'-14'40'15,"1"-27"-15,13 0 0,0 0 0,0 14 16,0-14-16,0 14 0,0-14 0,-13 27 15,13-14-15,0-13 16,0 0-16,0 1 0,0 25 16,0-25-16,0-1 15,13-40 17,-13 14-32,13-13 0,-13-1 15,27-39-15,-14 26 16,0 14-16,0-1 0,1 1 0,-1 13 15,13-14-15,1 14 16,-1 13-16,1 13 16,-14-13-16,0 14 15,0 12-15,1-13 0,-14 0 0,13 14 16,0-14-16,0 27 16,-13-14-16,14 1 15,-14-14-15,0 13 0,13 1 0,-13-14 16,0 0-16,0 1 15,0-1-15,13-13 16</inkml:trace>
  <inkml:trace contextRef="#ctx0" brushRef="#br0" timeOffset="228.49">3241 3043 0,'0'-14'16,"13"14"-16,14 0 15,-27-13-15,13 13 0,0 0 16,1 0-16,12 0 15,-13 0-15</inkml:trace>
  <inkml:trace contextRef="#ctx0" brushRef="#br0" timeOffset="439.97">3201 3241 0,'27'-13'31,"-14"13"-15,0-13-16,1 13 0,-1-14 15,13 14-15,-12-13 0,-1 13 0,0-13 16,13 13-16,-12-13 0,-1 13 16,0-13-16,14 13 0</inkml:trace>
  <inkml:trace contextRef="#ctx0" brushRef="#br0" timeOffset="1698.4">3863 3268 0,'13'-14'31,"0"1"-16,-13 0-15,14 0 16,-1-1-16,-13 1 0,0-26 16,0 25-16,0 1 0,0 0 0,0 0 15,0-1-15,0-12 16,-13 13-16,13-1 0,-14 14 16,14-13-16,-13 13 31,0 0-31,13 27 0,0-14 15,0 0-15,0 0 0,0 1 16,13-1-16,-13 0 16,27 14-16,-27-14 0,26 13 15,1-13-15,-14 1 16,0-14-16,0 13 16,27-26-1,-27 13-15,-13-14 16,13 14-16,-13-13 0,14 0 15,-14 0-15,13-14 16,-13 1-16,13-14 16,-13 0 31,13 27-47,1 26 15,-1-13 1,0 14-16,-13-1 0,13 0 15,14 14-15,-14-27 16,13 39 0,-12-25-1,-1-1-15,-13 0 0,13 0 32,0-13-17,-13-13 1,0 0-1,0 0-15,0-1 0,13 1 16,-13 0-16,0 0 16,0-1-16,14 14 15,-14-13-15,13 13 0,0-26 16,0 12-16,1-12 16,-1 26-16,0-26 15,0 26-15,1-14 0,-1 1 16,-13 0-1,13 13-15,-13-13 0,0 39 63,0-13-63,0 1 16,0-1-1,13-13 1,-13 13-16,13 0 15,1 0 1,-1 1 0,-13-1-16,0 0 15,13-13-15,-13 13 16,13-13-16,1 0 31,-1-13-15,0 13-16,-13-13 15,13 13-15,1 0 0,-1-13 16,0 13-16,0 0 16,0 0-16,1 0 15,-1 0-15,0 0 0,0 0 16,1 0 0,-14 13-16,13-13 0,-13 13 15</inkml:trace>
  <inkml:trace contextRef="#ctx0" brushRef="#br0" timeOffset="2010.17">3321 3492 0,'0'0'16,"39"-13"-16,-12 0 16,12 13-16,1-13 0,13 0 15,0-1-15,79-12 0,-66 13 16,0-1-16,1 1 0,-14 0 16,-1 13-16,41-26 0,-40 26 15,-13-14-15,26 1 0,-40 13 16,14 0-16,-27 0 15,0 0-15,1-13 0</inkml:trace>
  <inkml:trace contextRef="#ctx0" brushRef="#br0" timeOffset="2264.02">3387 3585 0,'0'0'16,"39"0"-16,-25 0 0,12 0 15,0 0-15,41-13 0,356-80 47,-357 67-31,-39 26-16,-1-13 0,14-1 15,-1 1-15,1 0 16,-13 0-16,-14-1 16,0 14-16</inkml:trace>
  <inkml:trace contextRef="#ctx0" brushRef="#br0" timeOffset="3024.35">4538 2990 0,'0'-13'16,"-14"39"-1,14-13 1,-13 0-16,13 1 0,-13-1 16,13 0-16,0 0 15,0 1-15,0-1 0,-13 0 16,13 0-16,0 1 0,13-1 16,0-13 15,0-13-16,1 13-15,-14-14 0,13 1 16,13 13-16,-26-13 0,27 13 0,-14-13 16,0 13-16,0 0 15,1 0-15,-1 0 0,0 0 0,0 0 16,1 13-16,-1-13 0,0 0 16,0 0-16,0 0 15,-13 13-15,14-13 0,-1 0 16,0 0-1,0 0 1,1 0-16,-1 0 16</inkml:trace>
  <inkml:trace contextRef="#ctx0" brushRef="#br0" timeOffset="4594.2">8361 2831 0,'-13'66'16,"13"-53"-16,0 14 16,-14-14-16,14 14 0,0-14 0,0 13 15,-13-13-15,13 14 0,0-14 16,0 0-16,-13 14 0,13-14 0</inkml:trace>
  <inkml:trace contextRef="#ctx0" brushRef="#br0" timeOffset="4807.22">8520 3096 0,'0'13'0,"0"0"15,0 0-15,0 1 16,-14-1-16,14 0 0,0 13 16,-13-12-16,0-1 0,13 0 15,-13 0-15,-1 1 0,14-1 0,-13 0 16,13 0-16,-13-13 0</inkml:trace>
  <inkml:trace contextRef="#ctx0" brushRef="#br0" timeOffset="5031.24">8797 2910 0,'14'27'31,"-28"-14"-31,14 0 0,0 1 0,0-1 15,-13 13-15,13-13 0,-13 14 0,13-14 16,-13 0-16,13 14 0,0-14 16,-14 0-16,14 1 0,0-1 0,0 0 15,0 0-15,-13-13 0</inkml:trace>
  <inkml:trace contextRef="#ctx0" brushRef="#br0" timeOffset="5250.41">8969 3175 0,'0'13'16,"0"0"-16,0 14 15,-13-14-15,13 0 0,-13 1 16,0-1-16,13 13 0,-14-12 0,1-1 15,13 0-15,-13 0 0,13 0 0,0 1 16</inkml:trace>
  <inkml:trace contextRef="#ctx0" brushRef="#br0" timeOffset="6101.27">9366 2937 0,'0'26'15,"0"-12"-15,0-1 0,0 0 0,0 0 16,0 0-16,-13 14 0,13-14 16,-13 14-16,13-14 0,0 13 15,-13-12-15,13-1 0,-14 13 0,14-13 16,0 1-16,0-1 0,0 0 15</inkml:trace>
  <inkml:trace contextRef="#ctx0" brushRef="#br0" timeOffset="6343.11">9644 3188 0,'0'13'0,"0"40"15,0-39 1,-13 12-16,13-13 0,-13 1 16,13 12-16,-14-13 0,1 0 0,13 1 15,-13-1-15,13 0 0,0 0 16,-13-13-16</inkml:trace>
  <inkml:trace contextRef="#ctx0" brushRef="#br0" timeOffset="6577.96">10028 2963 0,'13'14'0,"-13"-1"16,0 0-16,0 0 0,0 0 16,0 1-16,0-1 0,-13 13 15,13 1-15,0-14 0,-14 14 0,14-1 0,-13 0 16,0-12-16,13 12 0,-13-13 16,0 14-16,13-14 0,-14 14 15,1-14-15,13 0 0</inkml:trace>
  <inkml:trace contextRef="#ctx0" brushRef="#br0" timeOffset="6995.2">10451 3281 0,'13'13'0,"-13"53"16,-13-53-1,13 1-15,-13-1 0,13 13 0,-13-12 16,13-1-16,-14 0 0,1 0 15,13 0-15,0 1 0,-13-1 0</inkml:trace>
  <inkml:trace contextRef="#ctx0" brushRef="#br0" timeOffset="7463.9">10848 3043 0,'13'0'16,"27"39"-1,-40-25-15,0-1 16,0 0-16,0 0 0,-13 1 0,-1 12 16,1-13-16,0 14 0,0-14 0,-1 0 15,14 0-15,-13 1 16,0-1-16,13 0 0,-13-13 0,13 13 15,-13 1-15,13-1 0,13 0 32,0-13-32,0 0 15,0 0-15,1 0 0,12 0 16,-13 0-16,1 0 0,-1-13 16,0 13-16,0 0 0,1 0 15,-1 0-15,0 0 0,0 0 16</inkml:trace>
  <inkml:trace contextRef="#ctx0" brushRef="#br0" timeOffset="7657.89">11152 3254 0,'40'27'31,"-40"-14"-15,0 0-16,0 1 0,-13-14 0,13 26 15,0-13-15,-14 0 0,14 1 0,-13-1 16,13 13-16,-13-12 0,0-1 16,-1 0-16,14 0 0</inkml:trace>
  <inkml:trace contextRef="#ctx0" brushRef="#br0" timeOffset="8150.33">11655 3056 0,'26'0'0,"-52"0"0,66 0 15,-27 0-15,0 0 0,-13 13 16,13-13-16,1 13 0,-1 1 15,-13-1-15,0 0 0,-13 0 16,13 14-16,-14-14 0,1 0 16,-13 0-16,12 1 0,14-1 15,-13-13-15,0 13 0,0 0 0,-1 1 16,1-1 0,26 0 15,1-13-31,-1 0 15,0 0-15,0 0 0,1 0 0,-1 0 16,0 0-16,0 0 0,1 0 16,12 0-16,-13 0 0,0 0 15,1 0-15</inkml:trace>
  <inkml:trace contextRef="#ctx0" brushRef="#br0" timeOffset="8426.84">12078 3228 0,'0'0'0,"13"13"0,-13 0 16,0 1-16,14-1 15,-14 0-15,0 14 0,0-14 16,-14 0-16,14 13 0,-13-12 0,0 12 16,13-13-16,-13 14 0,-14-14 15,14 0-15,-13 14 0,12-14 0,1 0 16,0 0-16,13 1 0,-13-14 0</inkml:trace>
  <inkml:trace contextRef="#ctx0" brushRef="#br0" timeOffset="8946.28">12369 3029 0,'27'0'0,"-14"0"16,27 14-1,-27-1-15,-13 0 16,13 0-16,-26 1 0,13 12 16,-13-13-16,-1 1 0,1 12 15,13-13-15,-13 0 0,0 1 0,-1-1 16,1 0-16,13 0 15,-13-13-15,13 14 0,13-1 32,0-13-17,1 0-15,-1 0 0,0 0 0,0 0 16,1 0-16,12-13 0,-13 13 16,14 0-16,-14 0 0,13-14 0,-12 14 15,-1-13-15</inkml:trace>
  <inkml:trace contextRef="#ctx0" brushRef="#br0" timeOffset="9102.04">12846 3175 0,'13'0'0,"13"66"31,-26-53-15,-13 1-16,13 12 0,-13-13 0,-14 14 15,14-1-15,-13 1 0,-1-1 16,-13 1-16,27-1 0,-13-13 0,-1 14 15,14-14-15</inkml:trace>
  <inkml:trace contextRef="#ctx0" brushRef="#br0" timeOffset="9735.12">13666 2937 0,'53'13'0,"-40"-13"0,0 13 16,0 40 0,-13-40-16,-13-13 15,13 14-15,0-1 0,-13 0 16,13 0-16,13-13 31,0 0-31,1 14 0,-1-14 16,0 0-16,13 13 0,-12-13 0,-1 0 15,0 13-15,0 0 0,1-13 0,-1 14 16,0-14-16,0 13 0,-13 0 16,0 0-16,0 0 15,-13 1-15,0-1 0,0-13 0,-1 13 16,1 0-16,0-13 0,0 0 16,-1 14-16,1-14 0,0 0 0,0 0 15,0 0-15,-1 0 31</inkml:trace>
  <inkml:trace contextRef="#ctx0" brushRef="#br0" timeOffset="9999.98">14354 3188 0,'0'13'15,"13"1"-15,-13-1 16,-13 0-16,13 0 16,-14 14-16,14-14 0,-13 14 15,-13 12-15,13-26 0,-1 1 16,14-1-16,-13 13 0,0-12 15,0-1-15</inkml:trace>
  <inkml:trace contextRef="#ctx0" brushRef="#br0" timeOffset="10523.82">14777 2963 0,'13'0'16,"0"0"-16,1 27 31,-28-14-31,1 0 0,0 0 15,0 1-15,0-1 16,13 0-16,-14-13 16,14 13-16,0 1 15,14-1-15,-14 0 0,13 0 16,-13 1-16,0-1 0,13 0 0,-13 0 16,0 0-16,13 1 15,-13-1-15,0 0 0,-13-13 0,13 13 16,0 1-16,-13-14 0,0 13 0,13 0 15,-14-13-15,1 13 0,0-13 16,0 0-16,-1 14 16,1-14-16</inkml:trace>
  <inkml:trace contextRef="#ctx0" brushRef="#br0" timeOffset="10698.63">14896 3254 0,'26'14'0,"-12"-14"16,-14 13-16,13-13 0,-13 13 16,13-13-16,-13 13 0,0 1 0,-66 78 31,40-79-31,12 14 0,-12-14 16,13 0-16,-1 0 0,1 1 15,0-14-15</inkml:trace>
  <inkml:trace contextRef="#ctx0" brushRef="#br0" timeOffset="11813.78">15465 3003 0,'40'13'31,"-54"0"-15,14 1 0,0-1-16,0 0 15,0 0 1,14-13-16,-1 14 16,0-1-16,0 0 15,1 0-15,-1 1 16,-13-1-16,0 13 15,-13-13 1,-1 1-16,1-14 16,0 13-16,0-13 0,-1 13 15,1-13-15,-13 0 16</inkml:trace>
  <inkml:trace contextRef="#ctx0" brushRef="#br0" timeOffset="12213.2">16259 3016 0,'13'13'16,"-26"1"0,-1-1-16,1 0 15,0-13-15,0 13 0,-1 1 0,1-1 16,0 0-16,0 0 0,0 1 16,-1-1-16,14 0 15,-13-13-15,13 13 16,-13-13-16,13 13 0,13 1 15,0-1-15,1-13 16,-1 0-16,0 13 16,0-13-16,0 0 0,14 0 0,-14 0 15,0 0-15,1 0 0,12 0 0,-13 0 16,1 0-16,-1 0 0,0 0 16,0 0-16,0-13 0,1 13 15,-14-13-15,13 13 0,0 0 16,-13-14-16</inkml:trace>
  <inkml:trace contextRef="#ctx0" brushRef="#br0" timeOffset="12413.99">16298 3096 0,'-13'26'0,"26"-52"0,-26 65 15,13-25-15,-13-1 0,13 0 16,0 13-16,-13-12 0,13-1 0,0 13 15,-14-12-15,14 12 0,0-13 0,-13 14 16,13-14-16,0 0 0,0 14 16,-13-14-16,13 0 0,0 0 0,0 1 15,-13-1-15,13 0 0,0 0 16</inkml:trace>
  <inkml:trace contextRef="#ctx0" brushRef="#br0" timeOffset="14553.87">8427 2924 0</inkml:trace>
  <inkml:trace contextRef="#ctx0" brushRef="#br0" timeOffset="17137.04">13904 3096 0</inkml:trace>
  <inkml:trace contextRef="#ctx0" brushRef="#br0" timeOffset="19409.06">16867 3149 0,'0'13'15,"0"0"-15,13-13 16,-26 13-16,13 0 0,0 1 0,-13-1 15,13 13-15,-26 1 0,12-1 0,1 14 16,-13-14-16,12 1 0,1-14 0,-13 0 16,26 14-16,-14-14 0,1 0 15,0 0-15</inkml:trace>
  <inkml:trace contextRef="#ctx0" brushRef="#br0" timeOffset="20190.09">17462 3029 0,'-13'27'16,"0"-14"-16,0-13 15,0 13-15,-1 1 0,1-1 16,0-13-16,0 13 0,-1 0 0,1 1 16,0-14-16,13 13 0,-13-13 15,13 13-15,-13 0 16,13 0-16,13-13 15,0 0-15,0 14 0,14-14 16,-14 0-16,0 0 16,14 13-16,-14-13 0,13 0 0,1 0 15,-1 0-15,-13 0 0,14 0 0,-1-13 16,-12 13-16,12 0 0,-13 0 16,0 0-16,1-14 0,-1 14 0</inkml:trace>
  <inkml:trace contextRef="#ctx0" brushRef="#br0" timeOffset="20390.97">17515 3003 0,'-13'26'0,"26"-52"0,-26 66 16,13-27-16,-13 0 0,13 14 15,0-14-15,-13 13 0,13-12 0,-14 12 16,14 0-16,0 1 0,-13-1 0,13-12 15,-13 12-15,13 1 0,0-14 16,0 0-16,13 0 0,-13 14 0,13-27 16,1 13-16,-1-13 0</inkml:trace>
  <inkml:trace contextRef="#ctx0" brushRef="#br0" timeOffset="21581.28">20148 2910 0,'0'-13'0,"0"40"31,0-14-31,0 0 16,0 0-16,0 1 0,0-1 0,0 0 15,0 13-15,0-12 0,-13-1 0,13 0 16,0 14-16,0-14 0,0 0 0,0 0 16,-13-13-16,13 14 0,0-1 0,13 0 15</inkml:trace>
  <inkml:trace contextRef="#ctx0" brushRef="#br0" timeOffset="21959.25">20466 2884 0,'79'0'32,"-66"0"-32,-13 13 0,13-13 0,-13 13 15,14 1-15,-14-1 0,-14 0 16,14 0-16,-13 1 0,0-1 16,0 13-16,-1-13 0,14 1 0,-13-1 15,0 0-15,0 0 0,0 1 16,13-1-1,0 0 1,13-13-16,0 13 0,0-13 16,0 0-16,1 0 0,12 0 0,-13 0 15,1 0-15,12 0 16,-13 0-16,1 0 0,-1 0 0,0 0 16,0 0-16,0 0 0,1 0 15</inkml:trace>
  <inkml:trace contextRef="#ctx0" brushRef="#br0" timeOffset="22474.18">20069 3321 0,'39'13'0,"-25"-13"0,12 0 16,0 0-16,14 0 0,225-13 31,-212 13-31,0 0 0,0 0 0,13-14 16,-13 14-16,-1-13 0,15 0 0,-14 0 15,-14-1-15,14 1 16,-13 0-16,0 0 0,-14-1 0,14-12 0,-14 13 15,1-14-15,-1 1 0,-13 13 16,0-1-16,-13-12 0,14 13 16,-14-14-16,0 1 0,0-1 0,-14-12 15,1-1-15,0 14 0,0-14 0,-14 0 16,14 14-16,-27-14 0,14 14 16,-14-1-16,1 1 0,-1 12 0,0-12 15,-13 13-15,0 13 0,0-14 0,1 14 16,-28 0-16,14 14 0,-13-1 15,13 13-15,-1 1 0,14-1 0,-13 14 16,13-14-16,0 14 0,1 0 0,-1 13 16,0-14-16,13 1 0,0 0 15,14-1-15,-1 1 0,1-13 0,13-1 16,13 1-16,-13-1 0,26 0 16,-13-12-16,0-1 0,13 13 0,13-12 15,-12-1-15,25 0 0,-12 0 16,-1 1-16,14-14 0,-14 0 0,27 0 15</inkml:trace>
  <inkml:trace contextRef="#ctx0" brushRef="#br0" timeOffset="23079.98">22185 2831 0,'0'0'16,"0"13"-16,0 1 15,-13-1-15,13 0 16,-13 0-16,13 0 0,-13 1 15,13-1-15,0 0 0,0 0 16,-14 1-16,14-1 0,-13 0 16,40-26 15,-27 0-15,13-1-16,0 14 0,0-13 0,1-13 15,-1 26-15,0-14 0,0 1 0,0 0 16,1 13-16,-1-13 0,0 13 15,14 0-15,-14 13 16,-13 0-16,13-13 16,-13 13-16,0 1 15,13-1-15,-13 0 0,0 0 16,-13 1-16,13-1 0,0 0 16,-13 0-16,0 0 15,-1 1-15</inkml:trace>
  <inkml:trace contextRef="#ctx0" brushRef="#br0" timeOffset="23339.77">21669 2924 0,'27'0'15,"-14"0"-15,0 0 0,1 0 16,12 0-16,-13 0 0,14-14 0,-1 14 16,-13 0-16,14 0 0,-14 14 15,0-14-15,1 0 0,-1 0 0,0 0 16</inkml:trace>
  <inkml:trace contextRef="#ctx0" brushRef="#br0" timeOffset="23486.03">21696 3056 0,'-13'0'0,"39"0"31,-13 0-31,14 0 0,-14 0 0,13 0 15,1-13-15,-14 13 0</inkml:trace>
  <inkml:trace contextRef="#ctx0" brushRef="#br0" timeOffset="27542.15">2844 4855 0,'-13'27'16,"13"-14"-16,-13 0 16,13 0-16,-13 0 0,13 14 15,0-1-15,-14 1 0,14-14 0,0 14 16,-13-1-16,13-13 0,0 14 0,0-14 16,0 0-16,0 0 0,13 1 0,-13-1 15,14 13 1,-1-26-16,0 14 0,0-14 15,14-14-15,-14 14 0,13-13 0,-12 0 16,12 0-16,-13-1 16,1 1-16,-1 0 0,0-14 0,0 14 15,0-13-15,-13 13 0,14-14 0,-14 14 16,0-14-16,0 1 0,-14-1 16,14 14-16,-26-26 0,13 25 0,0-12 15,-1 13-15,1-1 0,0 1 0,0 0 16,-1 0-16,1 13 0,0-14 15,0 14-15,0 0 0,-14 14 16,14-1-16,13 0 16,0 0-16,0 1 15,0-1-15,0 13 0,13 1 0,-13-1 0,13 1 16,1 12-16,-1-12 0,0 13 16,0-14-16,0 0 0,1 14 15,12-13-15,-13-1 0,1 1 0,-14-14 16,13 13-16,0-13 0,-13 14 0,13-14 15,-13 0-15,0 1 0,13-14 0,-13 13 16,0 0-16,14 0 16,-14 1-16</inkml:trace>
  <inkml:trace contextRef="#ctx0" brushRef="#br0" timeOffset="27767.08">3307 5133 0,'14'40'31,"-14"-27"-31,0 13 0,0-12 16,0 12-16,0-13 0,0 14 0,-14-14 15,14 0-15,0 0 0,0 1 16,0-1-16,0 0 0,0 0 16,14-13-16</inkml:trace>
  <inkml:trace contextRef="#ctx0" brushRef="#br0" timeOffset="28110.28">3929 4961 0,'-13'0'0,"26"0"16,14-13 15,-14 13-31,0 0 16,0 0-16,0 0 0,1 0 0,12 0 15,-13 0-15,1 0 0,-1 0 16,0 0-16,0 0 0,1 13 15</inkml:trace>
  <inkml:trace contextRef="#ctx0" brushRef="#br0" timeOffset="28294.5">3863 5133 0,'0'0'0,"26"0"31,-12 0-31,-1 0 16,13 0-16,-12 0 0,-1-13 0,13 13 16,-13 0-16,1 0 0,12 0 15,-13-14-15,1 14 0,12 0 0,-13 0 16,1-13-16,-1 13 0</inkml:trace>
  <inkml:trace contextRef="#ctx0" brushRef="#br0" timeOffset="28978.04">4908 4802 0,'-13'27'0,"13"-14"16,0 0-16,0 0 0,-13 1 15,13-1-15,0 0 0,0 13 0,0-12 16,0-1-16,-14 0 0,14 0 0,0 1 15,0-1-15,0 0 16,0 0-16,0-39 47,14 13-47,-14-1 16,0 1-16,13 0 0,-13 0 0,13-1 15,0 1-15,-13 0 0,13 0 16,1 0-16,-1-1 0,0 14 0,-13-13 15,13 13-15,1 0 0,-1 0 0,0 13 16,0 1-16,1-14 16,-14 13-16,13-13 0,-13 13 0,13 0 15,-13 0-15,0 1 16,13-14-16,-13 13 0,0 0 16,0 0-16,0 1 15,13-14 16</inkml:trace>
  <inkml:trace contextRef="#ctx0" brushRef="#br0" timeOffset="29224.96">5278 4617 0,'14'26'31,"-14"-12"-31,0-1 16,0 0-16,0 14 16,-14-14-16,14 0 0,0 13 0,-13-12 15,13-1-15,0 0 0,-13 0 0,13 1 16,0-1-16,0 0 0</inkml:trace>
  <inkml:trace contextRef="#ctx0" brushRef="#br0" timeOffset="29579.02">5411 4617 0,'13'26'32,"-13"1"-17,0-14 1,0 0-16,-13 1 16,13-1-16,0 0 0,0 0 15,0 0 1,0 1-1,0-1 1,13-13 0,-13 13-16,13-13 0,0 13 15,1-13-15,-1 0 16,0 0-16,-13 14 16,13-28-1</inkml:trace>
  <inkml:trace contextRef="#ctx0" brushRef="#br0" timeOffset="29775.49">5212 4710 0,'53'0'31,"-40"0"-31,14 0 0,-14 0 15,14 0-15,-14 0 0,0 0 16,14 0-16,-14 0 0,0 0 0,0 0 16,0 0-16,14 13 0,-14-13 15</inkml:trace>
  <inkml:trace contextRef="#ctx0" brushRef="#br0" timeOffset="30142.17">4723 5318 0,'92'-40'16,"-39"40"-16,-13-13 0,13 0 16,66 0-16,-66 0 0,0-1 15,0 14-15,0-13 0,0 13 16,-14-13-16,1 13 0,13 0 0,-27-13 16,14 13-16,-14 0 0,1-14 15,-1 14-15,1 0 0,-14 0 16,0 0-16,1 0 0,-1 0 0,0 0 15,0 0-15,-13 14 16,-13-1 0,0 0-16,0-13 0</inkml:trace>
  <inkml:trace contextRef="#ctx0" brushRef="#br0" timeOffset="30478.86">5292 5450 0,'-27'27'16,"14"-27"-16,-13 13 0,12 0 0,1-13 16,0 14-16,-27 12 0,27-13 15,-27 27 1,27-40-16,13 13 0,-13 0 0,13 1 15,0-1-15,13 0 16,0 0 0,0-13-16,14 0 0,-14 0 15,14 0-15,-1 0 0,1 0 0,-1 0 16,14 0-16,-14-13 0,1 13 0,-1 0 16,1-13-16,-1 13 0,0-13 15,-12 13-15,-1 0 0,13-14 0,-12 1 16,-1 0-16,-13 0 15</inkml:trace>
  <inkml:trace contextRef="#ctx0" brushRef="#br0" timeOffset="30667.58">5305 5464 0,'-13'39'0,"13"-25"16,-14 52-1,28-40-15,-14 1 0,0-1 16,0 1-16,0-14 0,0 13 16,0 1-16,0-14 0,0 13 0,0-12 15,0-1-15,-14 13 0,14-12 16</inkml:trace>
  <inkml:trace contextRef="#ctx0" brushRef="#br0" timeOffset="31690.74">6099 4974 0,'-27'13'16,"27"1"-16,0-1 16,-13 0-16,13 0 0,0 1 0,0-1 15,0 0-15,13-13 0,-13 13 16,0 0-16,13-13 0,-13 14 0,14-14 15,-1 0-15,-13 13 16,13-13-16,0 0 0,1-13 0,-1 13 16,0-14-16,0 14 0,-13-13 15,13 0-15,-13 0 0,0 0 0,0-1 16,0 1-16,0 0 0,0 0 0,-13-1 16,13 1-16,-13 0 0,0 0 15,0 13-15,-1-14 16,1 14-16,0 14 0,0-14 0,-1 0 15,14 13-15,-13-13 0,0 13 16,0 0-16,13 14 16,13-27-16,0 13 15,0-13-15,1 0 16,-1 0-16,0 0 0,14 0 16,-14 0-16,0-13 0,0 13 0,0-13 15,1-1-15,-1 14 0,0-13 0,0 0 16,-13 0-16,14-14 0,-1 14 15,0-13-15,-13-1 0,13 14 16,-13 0-16,0-1 0,14-12 0,-14 13 0,0-1 16,0 1-16,13 13 15,-40 27 17,27-14-32,-13 0 0,13 0 0,-13 1 15,13-1-15,-13 0 0,13 0 16,0 1-16,-14-1 0,14 0 15,14-13 1,-1 0 0,0 0-16,0 13 0,1-13 15,12 0-15,-13 0 0,0 0 16,1 13 0,-1-13-16,0 14 0,0-14 15,-13 13-15,0 0 0,0 0 16,-13 1-1,0-1-15,0 0 0,-1-13 16,14 13-16,-13-13 0,0 14 0,0-14 16,0 0-16,-1 0 0,14 13 15,-13-13-15,0 0 0,0 0 16,13 13-16</inkml:trace>
  <inkml:trace contextRef="#ctx0" brushRef="#br0" timeOffset="31965.62">6522 4908 0,'-26'13'31,"26"0"-31,13 1 15,-13-1-15,0 0 0,13-13 0,-13 13 16,13 1-16,-13-1 0,0 0 16,0 0-1,0 1-15,0-1 0,-13 0 16,0 0-16,0-13 0,-14 13 16,14 1-16,0-14 15,-14 13-15,1-13 0,12 13 0,-12-13 16,0 0-16,-1 0 0</inkml:trace>
  <inkml:trace contextRef="#ctx0" brushRef="#br0" timeOffset="33957.97">2765 7501 0,'-40'26'16,"27"-12"-1,13-1-15,-13 0 0,13 0 0,-13 14 16,13-1-16,-14 1 0,14-1 0,0-13 15,0 14-15,0-1 0,0-12 16,0 12-16,0-13 0,14 0 0,-14 1 16,13-1-16,-13 0 0,13 0 0,0-13 15,0 14-15,1-14 0,-1 0 16,13-14-16,-12 14 16,-1-13-16,0 0 0,0-14 0,1 14 0,-1-13 15,0-1-15,-13 1 0,13-1 0,-13 1 16,0-14-16,-13 1 0,13-14 15,-13 13-15,13 13 0,-13-12 0,-1 12 16,1 1-16,0-1 0,0 14 16,-1 0-16,1 0 0,13-1 15,-13 14-15,13-13 0,-13 13 0,-1 13 16,14 1 0,0-1-16,0 0 0,0 0 15,0 14-15,0-1 0,14-12 0,-14 12 16,13 14-16,0-14 0,0 14 0,1-14 15,-1 14-15,0-14 0,0 14 16,1-13-16,-1 12 0,0-12 16,0 12-16,0-25 0,1 12 0,-14 1 15,13-14-15,-13 0 0,13 0 16,-13 1-16,0-1 0,13 0 0,-13 0 16,0 0-16,14 1 0,-14-1 15,13 0-15</inkml:trace>
  <inkml:trace contextRef="#ctx0" brushRef="#br0" timeOffset="34315.04">3228 7832 0,'13'0'16,"-26"0"-16,26 13 0,0-13 0,-13 13 16,0 0-16,0 1 15,-13-1-15,13 0 16,0 0 0,13 1-16,-13-1 15,14 0-15,-14 0 16,0 0-16,13-13 15,-13 14-15,0 12 16,-13-13 0,13 1-16,-14-1 0,1 0 15,0 0-15,0 0 0,-1-13 16,1 14 0</inkml:trace>
  <inkml:trace contextRef="#ctx0" brushRef="#br0" timeOffset="34497.15">3598 7686 0,'27'0'0,"-14"-13"16,40 26-1</inkml:trace>
  <inkml:trace contextRef="#ctx0" brushRef="#br0" timeOffset="34678.31">3572 7871 0,'40'0'16,"-27"0"0,0 0-16,0-13 15,0 13-15,1 0 0,-1 0 0,0 0 16,0-13-16,1 13 0,12 0 0,-13 0 16</inkml:trace>
  <inkml:trace contextRef="#ctx0" brushRef="#br0" timeOffset="35378.97">4868 7474 0,'0'0'0,"14"0"16,-1 14-16,-13-1 15,13-13-15,-13 13 0,0 0 0,-13 1 16,13-1-16,0 0 16,-13 0-16,-1 1 0,14-1 15,0 0-15,14 0 31,-1-13-31,0 0 16,0 0-16,0 0 0,1 13 16,-1-13-16,0 0 0,0 14 0,1-14 15,-1 13-15,0-13 0,-13 13 16,0 0-16,0 1 16,-13-1-16,13 0 0,-13-13 0,-1 13 15,1-13-15,0 14 0,0-1 16,-1-13-16,1 0 0,0 0 0,0 13 15,-14-13-15</inkml:trace>
  <inkml:trace contextRef="#ctx0" brushRef="#br0" timeOffset="35754.07">5186 7488 0,'0'0'16,"13"13"-16,-13 0 15,0 0-15,13 1 0,-13-1 16,0 0-16,0 0 16,0 1 15,27-28-16,-27 1-15,13 13 0,-13-13 0,13 0 16,0 13-16,1-14 0,-1 14 16,0-13-16,0 13 0,1 0 15,-1 0-15,0 0 16,0 13-16,1 1 16,-1-1-16,-13 0 15,0 0-15,13 1 0,-13-1 16,0 0-16,0 0 15,0 0-15,0 1 0,-13-14 16,13 13-16,0 0 0</inkml:trace>
  <inkml:trace contextRef="#ctx0" brushRef="#br0" timeOffset="36039.1">4670 7938 0,'0'0'0,"40"-14"0,-14 14 16,-13-13-16,27 13 0,0 0 16,13 0-16,13 0 0,-13 0 15,26-13-15,-26 13 0,13 0 0,-13 0 16,0 0-16,0 0 0,0 0 0,-14 0 15,-12 0-15,-1 0 0,1 0 16,-14 0-16,0 0 0,0 0 0,1 13 16,-1-13-16,-13 13 15,-13 1-15</inkml:trace>
  <inkml:trace contextRef="#ctx0" brushRef="#br0" timeOffset="36459.86">5054 8308 0,'-27'13'31,"1"0"-31,12-13 0,1 14 0,-13-1 16,-1 13-16,1-12 0,-1-1 0,14 0 16,0 0-16,0 0 0,-1-13 15,1 14-15,0-14 0,0 13 0,13 0 16,0 0-16,0 1 15,13-14-15,0 13 16,0-13-16,14 0 0,-14 13 0,27-13 16,-14 0-16,1 13 0,12-13 15,-12 0-15,13 0 0,-27 0 16,13 0-16,1 0 0,-1-13 0,-13 13 16,1 0-16,12-13 0,-13 13 15,1-13-15,-1-1 16</inkml:trace>
  <inkml:trace contextRef="#ctx0" brushRef="#br0" timeOffset="36636.81">5173 8334 0,'-14'0'15,"-25"40"17,39-27-32,-14 14 0,14-14 0,-13 13 15,13-12-15,-13 12 0,13 1 0,-13-14 16,0 13-16,13 1 0,0-14 15,-14 0-15,14 14 0,0-14 16,0 0-16,14-13 0,-14 13 0,13-13 16,0-13-16</inkml:trace>
  <inkml:trace contextRef="#ctx0" brushRef="#br0" timeOffset="36960.96">5609 7448 0,'0'-13'0,"0"39"31,0-13-15,0 1-16,0-1 0,0 0 0,-13 0 15,13 1-15,0-1 0,0 0 16</inkml:trace>
  <inkml:trace contextRef="#ctx0" brushRef="#br0" timeOffset="37157.99">5702 7422 0,'0'26'46,"0"-13"-46,0 0 16,0 1-16,0-1 0,-13 0 0,13 0 16,0 1-16,0-1 0,-14 0 0,14 0 15,-13 1-15</inkml:trace>
  <inkml:trace contextRef="#ctx0" brushRef="#br0" timeOffset="37284.92">5583 7607 0,'0'0'0,"-14"-13"0,28-1 31,-14 1-31,13 13 16,0 0-16,0-13 0,14 13 15,-14 0-15,0 0 0,1 0 0</inkml:trace>
  <inkml:trace contextRef="#ctx0" brushRef="#br0" timeOffset="37690.67">5927 7766 0,'-14'13'0,"28"-26"0,-41 26 0,27 0 16,0 0-16,0 0 16,0 1-16,0-1 0,13 0 0,-13 0 15,14-13-15,-1 14 0,0-1 0,0-13 16,14 13-16,-14-13 0,0 0 16,14 0-16,-14 0 0,13 0 15,-12-13-15,12 13 0,-13-13 0,1 13 16,-1-14-16,-13 1 0,13 0 15,-13 0-15,0-1 0,-13 1 16,13 0-16,-13 0 0,-1 13 0,1-13 16,0-1-16,-14 14 15,14-13-15,0 13 0,0 0 0,-1 0 16,1 0-16,0 0 0,0 0 16</inkml:trace>
  <inkml:trace contextRef="#ctx0" brushRef="#br0" timeOffset="38102.82">6297 7527 0,'13'14'16,"-13"-1"-16,14 0 0,-14 80 31,0-67-31,0 1 0,13-14 15,-13 13-15,0 1 0,0-14 0,0 0 16,0 0-16,0 1 0,0-1 0,0 0 16,0 0-1,13-13-15,0-13 16,0 13-16,1-13 16,-1 0-16,0-1 15,0 14-15,1-13 0,-1 13 0,0 0 16,0 0-16,14 0 15,-14 13-15,-13 1 16,13-14-16,-13 13 0,0 0 16,-13 0-16,13 1 15,0-1-15,-13-13 0,13 13 0,-13 0 16,-1-13-16,1 14 0,0-14 16,0 13-16,-1-13 0,1 0 0,0 0 15,0 0-15,-1 0 0,1 0 16,0 0-16,0-13 0,0 13 15,-1-14-15</inkml:trace>
  <inkml:trace contextRef="#ctx0" brushRef="#br0" timeOffset="38961.07">7051 5278 0,'27'0'31,"-14"0"-31,0 0 16,0 0-16,1 0 0,12 0 0,0-13 16,1 13-16,-14 0 0,0 13 15,14-13-15,-14 0 0,0 0 0,0 0 16</inkml:trace>
  <inkml:trace contextRef="#ctx0" brushRef="#br0" timeOffset="39149.87">6998 5437 0,'27'0'31,"-14"0"-31,0 0 15,0 0-15,1 0 0,-1 0 0,0 0 16,0 13-16,1-26 0,-1 26 16,0-13-16,0 0 0,14 0 0</inkml:trace>
  <inkml:trace contextRef="#ctx0" brushRef="#br0" timeOffset="40564.75">8652 5093 0,'0'40'31,"-13"-27"-31,13 14 16,0-14-16,0 0 0,-14 14 0,14-14 0,0 13 15,-13-13-15,13 1 0,0 12 16,0-13-16,-13 1 0,13-1 0,0 0 16,0 0-16,0 1 0</inkml:trace>
  <inkml:trace contextRef="#ctx0" brushRef="#br0" timeOffset="40909.04">8956 5106 0,'13'14'0,"-26"-28"0,40 28 0,-14-14 16,-13 13-16,13 0 0,0 0 15,-13 1-15,0-1 0,0 0 16,0 0-16,-13 14 0,13-14 0,-13 13 16,0-12-16,-1 12 0,1-13 15,0 1-15,0-1 0,13 0 16,-14-13-16,14 13 0,-13 1 0,13-1 16,0 0-1,13-13 1,1 0-16,-1 0 0,0 0 15,0 0-15,1 0 0,12 0 0,-13-13 16,14 13-16,-1 0 0,-13 0 16,1 0-16,-1 13 0,0-13 0,0 0 15,1 0-15</inkml:trace>
  <inkml:trace contextRef="#ctx0" brushRef="#br0" timeOffset="41171.21">8321 5622 0,'40'-13'32,"-14"13"-32,1 0 0,26 0 15,0-13-15,-1 13 0,-12 0 16,13-13-16,0 13 0,0 0 0,0 0 15,-13-14-15,12 14 0,-25 0 0,13 0 16,-14 0-16,14 0 0,-14 0 16,-13 0-16,14 0 0,-1 0 0,-12 0 15,-1 14-15,0-14 0,-13 13 16</inkml:trace>
  <inkml:trace contextRef="#ctx0" brushRef="#br0" timeOffset="41537.37">8850 5913 0,'-39'14'15,"-41"25"1,54-39-16,-14 14 0,14-1 16,12 0-16,-12 0 0,13-13 0,-1 13 15,1-13-15,0 14 0,0-14 0,13 13 16,-13-13-16,13 13 16,0 0-16,0 1 15,13-14-15,0 13 0,13-13 0,1 13 16,-1-13-16,1 0 0,-1 13 0,1-13 15,12 0-15,-12 0 0,-1 0 16,1-13-16,-1 13 0,1 0 0,-1 0 16,-13 0-16,14-13 0,-14 13 0,0-13 15,1 13-15,-1-14 0</inkml:trace>
  <inkml:trace contextRef="#ctx0" brushRef="#br0" timeOffset="41733.11">8916 5940 0,'-13'0'15,"26"0"-15,-39 13 0,13 0 0,0-13 16,13 14-16,-14-1 0,1 0 16,0 13-16,13-12 0,-13 12 0,-1 1 15,1 12-15,13-12 0,-13 12 0,0 1 16,-1-13-16,14-1 0,0 1 16,-13-1-16,13-13 0,0 14 0,0-14 15,0 0-15,0 0 0,13 1 0,1-14 16,-1 0-16,0 0 0,0-14 15,14 1-15</inkml:trace>
  <inkml:trace contextRef="#ctx0" brushRef="#br0" timeOffset="41999.04">9776 5477 0,'40'0'31,"-27"0"-31,0 0 0,14 0 0,-14 0 16,0 0-16,14 0 0,-14 0 15,0 0-15,1 0 0,-1 13 0,0-13 16</inkml:trace>
  <inkml:trace contextRef="#ctx0" brushRef="#br0" timeOffset="42163.23">9684 5649 0,'13'0'31,"0"0"-31,0 0 0,1 0 0,12 0 0,1 0 16,-14 0-16,13 0 0,1-13 0,-1 13 15,-13 0-15,14 0 0,-14-14 16</inkml:trace>
  <inkml:trace contextRef="#ctx0" brushRef="#br0" timeOffset="43921.16">10914 5358 0,'13'-13'0,"1"13"16,-1 0-1,0 0 1,0 0-16,0 13 0,1-13 16,-14 13-16,0 0 15,-14 1-15,14-1 16,-13-13-16,13 13 0,0 0 15,-13-13-15,13 13 16,13 1 0,0-14-1,-13 13-15,14 0 0,-1-13 16,-13 13-16,13 1 16,-26-1-1,13 0-15,-13-13 0,-1 13 16,1-13-16,0 13 0,0-13 15,0 0-15,-1 14 0,1-14 16,0 0-16,0 0 0,-1 13 0,1-13 16,0 0-16,0 0 0,-1 0 15,1 13-15,0-13 16</inkml:trace>
  <inkml:trace contextRef="#ctx0" brushRef="#br0" timeOffset="50825.02">9366 2858 0,'13'-14'16,"-13"1"15,-13 13 1,13-13-17,-13 0 16,0 13-31,13-14 16,-13 14-16,-1 0 16,1 0-1,0 0-15,0 0 16,-1 0-16,1 0 16,0 0-16,0 0 15,0 14-15,-1-14 0,1 13 16,0-13-16,0 13 0,-1 0 15,1 1-15,0-14 16,0 13-16,13 0 0,-14 0 16,1 0-16,0 14 0,13-14 0,-13 0 15,0 14-15,-1 12 16,14-25-16,-13 12 0,13 1 0,0-14 16,-13 13-16,13-12 0,0-1 0,0 13 15,0-13-15,0 14 0,0-14 16,0 0-16,0 14 0,13-14 0,-13 0 15,13 1-15,-13-1 0,14 0 0,-1 0 16,-13 0-16,13 1 16,0-1-16,0 0 0,1 0 0,-1-13 0,0 14 15,14-14-15,-14 0 0,0 13 16,0-13-16,14 0 0,-14 0 16,0 0-16,14 0 0,-14 0 0,0 0 15,0-13-15,14 13 0,-14 0 0,0-14 16,0 14-16,1 0 0,-1-13 15,0 13-15,0-13 0,1 13 0,-1-13 16,0 13-16,0-14 0,1 14 16,-14-13-16,13 0 0,0 13 15,-13-13-15,13 13 0,-13-13 0,13-1 16,1 14-16,-14-13 0,13 0 0,-13 0 16,13 13-16,-13-14 0,13 1 0,-13 0 15,0 0-15,14 13 16,-14-14-16,13 1 0,-13 0 0,13 0 15,-13 0-15,0-1 0,13 14 16,-13-13-16,0 0 0,0 0 16,0-1-16,14 1 0,-14 0 0,0 0 15,0-1-15,0 1 0,13 0 16,-13 0-16,0 0 16,-13-1-16,13 1 0,0 0 15,0 0-15,-14 13 0,14-14 0,-13 1 16,13 0-16,-13 13 0,0-13 15,-1 0-15,1-1 0,0 14 0,0-13 16,-1 0-16,1 13 0,-13-13 16,13 13-16,-14-14 0,14 14 0,0 0 15,-14 0-15,14 0 0,0 0 16,-1 0-16,-12 0 0,13 14 0,0-1 16,-1-13-16,1 26 0,0-12 0,0-1 15,-1 13-15</inkml:trace>
  <inkml:trace contextRef="#ctx0" brushRef="#br0" timeOffset="51324.11">9274 3559 0,'0'26'47,"0"-13"-47,0 1 0,-14-1 16,14 0-16,-13 13 0,0 14 0,0-13 16,0 12-16,-1-12 0,1 12 15,0 1-15,0 0 0,-1-14 0,1 14 16,0-14-16,13 1 0,-13-14 15,-1 27-15,14-27 16,-13 0-16,13 1 0,0-1 16,-13 0-16,13 0 0,13-39 47,-13 13-32</inkml:trace>
  <inkml:trace contextRef="#ctx0" brushRef="#br0" timeOffset="51623.6">9287 3559 0,'0'0'0,"-40"13"31,27 0-31,0 0 0,0-13 0,-1 14 16,1-1-16,0 0 0,0 0 0,-1 0 16,-12 14-16,13-14 0,-1 0 15,1 1-15,0-1 16,0 0-16,0 0 15</inkml:trace>
  <inkml:trace contextRef="#ctx0" brushRef="#br0" timeOffset="51841.81">9128 3545 0,'13'14'0,"1"-14"0,-14 13 0,13-13 16,27 53 0,-27-40-16,0 0 0,0 0 15,0 1-15,1-1 0,-1 0 0,0 0 16,-13 1-16,13-14 0,1 13 0,-1 0 16,-13 0-16,13-13 0,-13 14 15,0-1-15,13 0 0,-13 0 0,0 0 16,0 1-16</inkml:trace>
  <inkml:trace contextRef="#ctx0" brushRef="#br0" timeOffset="52638.57">8705 4419 0,'-13'0'0,"13"-14"31,-14 14-31,1 14 0,13-1 16,-13 0-16,13 0 0,-13 0 15,13 1-15,0-1 0,-14 13 16,1 1-16,13-14 0,0 14 16,0-14-16,0 0 0,0 0 0,13 0 15,-13 1-15,14-14 16,-14 13-16,13-13 0,0 0 0,0 0 16,1 0-16,-1 0 0,0 0 0,0 0 15,0-13-15,1 13 0,-1-14 16,0 1-16,0 13 0,1-13 0,-1 0 15,0 0-15,-13-1 0,13 1 0,-13 0 16,14-14-16,-14 14 0,0 0 16,0 0-16,-14-14 0,14 14 15,0 0-15,-13 0 0,13-1 0,-13 1 16,13 0-16,-13 0 0,-1 13 0,14-14 16,-13 1-16,-13 0 15,12 13 1,1 13-16,13 0 15,0 1 1,0-1-16,13 0 0,-13 0 16,14 1-16,-14-1 0,13 13 0,0-13 15,0 14-15,-13-14 0,14 14 16,-1-14-16,0 0 0,-13 14 16,13-14-16,-13 0 0,14 0 0,-14 0 15,13 1-15,-13-1 0,13 0 16,-13 0-16,0 1 0,13-14 15,-13 13-15,0 0 16,13-13-16</inkml:trace>
  <inkml:trace contextRef="#ctx0" brushRef="#br0" timeOffset="52881.8">9155 4524 0,'13'14'16,"-13"-1"-16,0 0 15,0 0-15,0 1 16,-13-1-16,13 0 0,0 0 16,0 0-16,-14 1 0,14-1 0,0 0 15,-13 0-15,13 1 16,0-1-1,13-13-15,14-13 16,-14 13-16,0-14 16</inkml:trace>
  <inkml:trace contextRef="#ctx0" brushRef="#br0" timeOffset="53257.66">9684 4538 0,'26'0'31,"-13"0"1</inkml:trace>
  <inkml:trace contextRef="#ctx0" brushRef="#br0" timeOffset="53456.01">9618 4643 0,'0'14'16,"13"-14"-16,0 0 15,0 13-15,1-13 16,-1 0-16,0 0 0,0 0 16,0-13-16,1 13 0,-1 0 0,0 0 0,0 0 15,1 0-15,-1 0 0</inkml:trace>
  <inkml:trace contextRef="#ctx0" brushRef="#br0" timeOffset="55057.98">9115 4591 0,'0'-14'0,"-13"28"47,13-1-47,-14 0 15,14 0-15,0 0 0,0 1 16,0-1-16,-13 0 0,13 0 16,0 1-16,0-1 0,0 0 0,0 0 15,0 0-15,-13 1 0,13-1 16,0 0-16,0 0 16,13-13-16,0-13 31,-13 0-16,0 0-15,0-1 0,14 1 16,-14 0-16,0-13 0,0 12 16,0 1-16,13 0 0,-13 0 0,0-1 15,0 1-15,0 0 16,0 53 15,0-27-31,-13 0 0,13 14 16,0-14-16,-14 13 0,14-13 0,0 1 15,-13 12-15,13-13 0,0 1 0,0-1 16,0 0-16,0 0 16,-13-13-16,13 14 15,13-41 17,-13 14-32,0 0 0,0-1 15,0 1-15,0-13 0,0 12 0,0-12 16,0 13-16,0-14 0,0 1 15,0-1-15,0 14 0,0-13 0,0-1 16,0 14-16,0 0 0,0 0 16,0-1-16,0 41 31,-13-27-15,13 13-16</inkml:trace>
  <inkml:trace contextRef="#ctx0" brushRef="#br0" timeOffset="55725.83">7131 7805 0,'13'-13'0,"-13"0"15,13 13-15,0 0 0,0 0 16,1 0-16,-1 0 0,0 0 16,0 0-16,1 0 0,-1-13 15,0 26-15,0-26 0,0 13 0,1 13 0,-1-13 16</inkml:trace>
  <inkml:trace contextRef="#ctx0" brushRef="#br0" timeOffset="55874.78">7078 7951 0,'-27'26'0,"54"-52"0,-67 52 16,66-26 15,-12 0-31,12 0 0,1-13 15,-1 13-15,14-13 0,-1 13 16,1-13-16,0-1 0</inkml:trace>
  <inkml:trace contextRef="#ctx0" brushRef="#br0" timeOffset="56452.63">8572 7620 0,'40'0'0,"-80"0"0,93 0 0,-39 0 15,-1 0-15,0 0 0,0 0 0,1 0 16,-1 0-16,-13 13 0,13-13 15,-13 13-15,0 1 0,-13-1 16,0 0-16,13 0 16,-14-13-16,14 14 0,-13-14 15,13 13-15,-13-13 0,13 13 16,0 0 0,13-13-16,0 14 15,1-14-15,-1 13 0,0-13 16,0 13-16,-13 0 15,0 0 1,0 1-16,-13-1 0,0 0 16,0 0-16,-1 1 0,-12-1 0,13 0 0,-14 0 15,14-13-15,0 14 0,-1-14 16,1 13-16,0-13 0,13-13 31,13-1-31</inkml:trace>
  <inkml:trace contextRef="#ctx0" brushRef="#br0" timeOffset="56635.02">8983 7607 0,'13'0'0,"-26"0"0,39 13 16,-26 0-16,-13-13 16,13 13-16,0 1 0,0-1 15,-13 13-15,13-12 0,-14 12 16,1-13-16,13 14 0,-13-1 0,0-13 15,13 14-15,-14-14 0,1 14 16,13-14-16,-13 0 0,13 0 0,-13 1 16</inkml:trace>
  <inkml:trace contextRef="#ctx0" brushRef="#br0" timeOffset="56813.81">8824 7818 0,'26'14'32,"-26"-1"-32,14-13 0,-1 13 15,0-13-15,0 13 0,0-13 0,-13 14 16,14-14-16,-1 0 0,0 13 16,0-13-16,1 0 0,-1 13 0</inkml:trace>
  <inkml:trace contextRef="#ctx0" brushRef="#br0" timeOffset="57064.03">9313 7620 0,'-13'13'16,"13"0"-16,-13 1 0,13-1 15,0 0-15,0 0 0,0 1 0,0-1 16,-13 13-16,13-12 0,0 12 16,0-13-16,0 14 0,0-14 0,0 0 15,0 0-15,13 1 0,-13-1 0,0 0 16,13-13-16,0 13 0,1 1 16</inkml:trace>
  <inkml:trace contextRef="#ctx0" brushRef="#br0" timeOffset="57422.34">9578 7660 0,'13'-14'0,"14"28"31,-14-1-31,0 0 0,-13 0 15,0 1-15,0-1 0,0 13 16,-13-12-16,-93 131 31,93-132-31,13 1 0,-13-14 0,13 13 16,-14 0-16,1-13 0,13 13 16,13 0-1,1-13-15,12-13 16,-13 13-16,0 0 15,1 0-15,-1 0 0,0 0 16,14 0-16,-14-13 0,0 13 0,0 0 16,1 0-16,-1 0 15,0 0-15,-13 13 16</inkml:trace>
  <inkml:trace contextRef="#ctx0" brushRef="#br0" timeOffset="57685.99">8612 8149 0,'146'-13'15,"-93"13"1,79-13-16,-53 13 0,67-14 15,-67 14-15,1 0 0,-14 0 16,0 0-16,-13-13 0,0 13 16,0 0-16,0 0 0,-14 0 0,1 0 15,-14 0-15,1 0 0,-1 0 0,1 0 16,-14 13-16,0-13 0,-13 14 16</inkml:trace>
  <inkml:trace contextRef="#ctx0" brushRef="#br0" timeOffset="58085.74">9115 8612 0,'-53'27'16,"53"-14"0,-13 0-16,-14 0 0,14 1 0,0-14 15,0 13-15,-1 0 0,1 0 0,13 0 16,-13-13-16,13 14 0,-13-1 15,26 0-15,-13 0 16,13 1-16,0-14 0,1 13 0,-1-13 16,13 0-16,1 13 0,-1-13 15,1 0-15,-1 0 0,1 0 0,-1 0 16,1 0-16,-1 0 0,-13 0 0,14 0 16,-14-13-16,13 13 0,-12-13 15,-1 13-15,0-14 0,0 14 0,-13-13 16</inkml:trace>
  <inkml:trace contextRef="#ctx0" brushRef="#br0" timeOffset="58281.75">9287 8639 0,'0'0'0,"-13"0"0,-1 0 16,1 13-16,0-13 0,13 13 16,-13 0-16,0 14 0,13-14 0,-14 13 15,1 1-15,0-1 0,13 14 16,-13 0-16,13-14 0,-14 14 15,14-14-15,0 1 0,0-1 0,0 1 16,0-1-16,0-13 0,0 14 0,14-14 0,-14 0 16,13 1-16,0-14 15,0 13-15,1-13 0,-1 0 0</inkml:trace>
  <inkml:trace contextRef="#ctx0" brushRef="#br0" timeOffset="59006.62">10147 7898 0,'13'13'0,"27"-26"31,-27 13-31,0 0 16,0 0-16,1 0 0,-1 0 16</inkml:trace>
  <inkml:trace contextRef="#ctx0" brushRef="#br0" timeOffset="59182.9">10094 8070 0,'26'13'16,"-12"-13"-16,-1-13 15,0 13-15,0 0 0,14 0 0,-14 0 16,13 0-16,1 0 0,-1 0 16,-12-13-16</inkml:trace>
  <inkml:trace contextRef="#ctx0" brushRef="#br0" timeOffset="59793.16">11602 7792 0,'-13'-13'0,"13"0"0,-13 13 15,-1 0-15,1-14 0,0 14 0,0 0 16,-1 0-16,-12 0 0,13 14 16,-14-14-16,1 0 0,13 13 0,-14-13 15,1 13-15,12 0 0,1-13 16,0 13-16,0 1 0,-1-14 15,14 13-15,-13 0 0,26-13 16,1 13-16,-1-13 0,0 0 16,0-13-16,14 13 0,-1 0 15,1-13-15,-1 13 0,-13-13 0,14 13 16,-14-14-16,14 14 0,-14 0 0,0 0 16,0 0-16,1 0 15,-14 14-15,13-14 0,-13 13 0,0 0 16,0 0-16,0 1 0,0-1 0,0 0 15,0 0-15,-13 14 0,13-14 16,0 0-16,0 14 0,-14-14 16,14 0-16,0 0 0,0 1 0,0-1 15,0 0-15,0 0 0,0 0 0,-13 1 16</inkml:trace>
  <inkml:trace contextRef="#ctx0" brushRef="#br0" timeOffset="67422.45">14883 2818 0,'-13'-27'31,"-1"14"-31,1 0 16,0 13 0,0 0-16,-1 13 15,-12-13-15,13 13 0,-14 1 0,14-1 16,-13 13-16,-1-12 0,14 12 0,-14 0 15,1 1-15,13-1 0,-14 14 16,14-14-16,0 14 0,0-13 16,-1 12-16,1-12 0,13 12 0,-13-12 0,13-1 15,0 1-15,0-1 0,0 1 16,0 12-16,0-12 0,13 13 0,-13-14 16,13 0-16,1 1 0,-1-1 0,0-12 15,0 12-15,1 1 16,12-14-16,-13 0 0,0 0 0,14-13 15,-14 13-15,14-13 0,-14 14 0,13-14 16,-12 0-16,12 0 0,0-14 16,1 14-16,-14 0 0,14-13 0,-1 0 15,0 0-15,14 0 0,-13-14 0,-1 14 16,-13-14-16,14 14 0,-1-13 0,1 12 16,-14-12-16,0 13 15,0-14-15,1 14 0,-1 0 0,0-14 0,0 14 16,1-13-16,-1 13 0,-13-1 15,13-12-15,-13 13 0,13-1 0,-13-12 16,13 13-16,-13-1 0,0-12 16,14 13-16,-14 0 0,0-1 0,0 1 15,0-13-15,0 12 0,0 1 0,-14 0 16,14-14-16,0 14 0,-13 0 16,13 0-16,-13 0 0,13-1 0,-13 1 15,0 0-15,-1-14 0,1 14 0,0 13 16,0-13-16,-14 0 0,14 13 15,0-13-15,-14-1 0,14 14 0,-13 0 16,-1-13-16,14 13 0,-14 13 0,1-13 16,13 0-16,-14 14 0,1-1 15,13 0-15,-1 0 0,1 14 16,0-14-16,13 13 0,-13 1 0</inkml:trace>
  <inkml:trace contextRef="#ctx0" brushRef="#br0" timeOffset="67933.77">14936 3903 0,'0'26'31,"0"1"-31,0-14 0,0 26 16,0 1-16,-14 0 0,14 26 0,-13 0 16,13-13-16,-13 26 0,13-12 15,-13-1-15,13 13 0,-13-13 0,-1 14 16,1-1-16,13-13 0,-13 0 0,0 0 16,13 1-16,-14-28 0,14 14 15,-13-13-15,13 0 0,-13-1 16,13-12-16,-13-14 0,13 13 0,0-12 0,0-1 15,-13 0-15,13-39 32,0 12-32,0 1 15,0 0-15,0-14 0,0 1 16,13 13-16,-13-14 0,0 1 16,0-1-16,0 1 0</inkml:trace>
  <inkml:trace contextRef="#ctx0" brushRef="#br0" timeOffset="68349.88">15055 3876 0,'-27'13'31,"14"1"-31,0-1 0,0 0 16,-1 14-16,1-1 0,-13 0 0,-1 1 16,14-1-16,0 1 0,-14-1 15,14 1-15,-13-1 0,12-13 0,14 14 16,-13-14-16,0 0 0,0 1 0,13-1 16,-13 0-16,-1-13 0,14 13 15,0 0-15,-13-13 0,13 14 16</inkml:trace>
  <inkml:trace contextRef="#ctx0" brushRef="#br0" timeOffset="68585.14">14883 3889 0,'0'0'0,"13"0"16,-13 14-16,13-1 0,0 0 0,1 0 15,-1 1-15,0 12 0,0 0 0,14 1 16,-14-1-16,14 14 0,-1-13 16,-13-1-16,14 0 0,-1 1 0,1-14 15,-14 14-15,13-14 0,-12 0 0,-1 13 16,0-12-16,0-14 0,0 13 16,1 0-16,-1-13 0,0 13 0,0-13 15,1 14-15</inkml:trace>
  <inkml:trace contextRef="#ctx0" brushRef="#br0" timeOffset="69607.92">14830 5808 0,'0'-14'16,"-13"1"-1,-1 26 1,1 1-16,0 12 0,0-13 16,0 27-16,-1-14 0,1 14 0,0 0 15,0-1-15,13 1 0,-14 0 0,14-14 16,0 1-16,0-1 0,0 1 0,0-1 15,14-13-15,-14 14 0,13-14 16,-13 0-16,13 1 0,0-1 16,1 0-16,-1-13 0,0 0 15,13-13-15,-12 13 0,12-13 16,-13-1-16,14 1 0,-1 0 0,1-14 16,-1 1-16,-13-14 0,1 14 0,-1-14 15,0 0-15,0 14 0,-13-27 0,14 13 16,-14 1-16,-14 12 0,14-12 15,0-1-15,-13 27 0,0-14 0,0 14 16,-1-14-16,1 14 0,0 0 0,0 0 16,-1 13-16,1-13 15,0 13-15,-53 13 16,53 0-16,-1 0 16,1 14-16,13-14 0,-13 13 0,13 1 15,0-1-15,0 1 0,0-1 16,0 14-16,13 0 0,0-1 0,-13 1 15,14-14-15,-1 14 0,0-13 0,-13 12 16,13-12-16,-13-1 0,14-13 16,-1 14-16,-13-1 0,0-12 0,13-1 15,-13 0-15,13 13 0,-13-12 0,13-14 16,-13 13-16,0 0 0,14 0 16,-1 1-1,0-14 1,0 0-16,1 0 0,-1 0 15</inkml:trace>
  <inkml:trace contextRef="#ctx0" brushRef="#br0" timeOffset="70243.56">15319 6231 0,'14'-13'16,"12"26"-1,-13-13-15,-13 13 0,14 0 16,-14 1-16,0-1 16,-14 0-16,14 0 0,-13 1 15,13-1 1,0 0-1,13 0-15,1-13 0,-14 13 16,13-13-16,0 0 0,0 14 16,0-14-16,1 13 0,-1 0 15,0-13-15,-13 13 0,0 1 16,0-1-16,0 0 0,-13-13 16,13 13-16,-13 1 0,-1-1 0,1-13 15,-13 13-15,13 0 0,-1 0 0,-12-13 16,-1 14-16,14-14 0,0 13 15,-14-13-15,14 0 0,0 0 0,-13 13 16</inkml:trace>
  <inkml:trace contextRef="#ctx0" brushRef="#br0" timeOffset="71418.97">3254 10808 0,'0'-13'15,"-26"39"17,13-12-32,-1-1 0,14 0 0,-13 14 0,13-1 15,-13-13-15,13 14 0,0-1 16,0 1-16,0-1 0,0 1 0,0-1 16,0 0-16,0-12 0,13 12 0,-13-13 15,13 1-15,1-1 0,-14 0 16,13 0-16,0-13 0,0 14 15,1-14-15,12-14 0,-13 14 0,1-13 16,12 13-16,-13-26 0,14 12 16,-1-12-16,27-133 15,-53 120 1,-13-1-16,13 0 0,-13 0 0,-1 1 16,1-1-16,-13 14 0,12-1 15,1 1-15,0 12 0,0 1 0,0 0 16,-1 0-16,1 13 0,0-13 0,0 13 15,-1 0-15,1 13 16,0 0-16,0-13 0,13 13 16,-14 14-16,14-14 0,0 13 0,0-12 15,0 12-15,14 14 0,-14-14 0,13 14 16,-13 0-16,13-14 0,0 14 16,1-14-16,-1 14 0,0-14 0,0 14 15,1-14-15,-1 1 0,0-1 0,0 1 16,0-14-16,-13 14 0,14-14 15,-1 13-15,-13-13 0,13 1 0,-13-1 16,0 0-16,13 0 0,-13 1 16,0-1-16,0 0 0,14 0 15,-1 1 1</inkml:trace>
  <inkml:trace contextRef="#ctx0" brushRef="#br0" timeOffset="71857.95">3731 11165 0,'13'-13'31,"0"13"-31,0 0 0,1 0 16,-1 0-16,0 0 16,0 0-16,0 13 15,1-13-15,-14 14 16,0-1-16,0 0 16,-14 0-16,14 1 15,-13-1-15,13 0 16,-13-13-16,13 13 0,-13-13 15,13 13-15,0 1 16,0-1 0,13 0-1,0-13 1,0 0-16,-13 13 0,14-13 16,-1 0-16,0 0 0,0-13 0,1 13 15,-1 0-15,0 0 0,14-13 16,-14 13-16,0-13 0,13-1 0,-12 1 15,12 13-15,1-13 0</inkml:trace>
  <inkml:trace contextRef="#ctx0" brushRef="#br0" timeOffset="72113.98">4352 10967 0,'27'13'32,"-14"-13"-17,0 0-15,14 0 0,-14 0 0,0 0 0,0 0 16,1 0-16,-1 0 15,0 0-15,0 0 0,1 13 0,-1-13 16</inkml:trace>
  <inkml:trace contextRef="#ctx0" brushRef="#br0" timeOffset="72309.42">4366 11152 0,'-14'0'0,"28"0"0,-28 13 16,41-13 15,-14 0-31,0 0 0,1 0 16,-1 0-16,13 0 0,-13 0 0,14 0 15,-14 0-15,14 0 0,-1 0 16,-13 0-16,14 0 0,-1-13 0,1 13 16,-1 0-16,-13 0 0</inkml:trace>
  <inkml:trace contextRef="#ctx0" brushRef="#br0" timeOffset="72962.14">5596 10967 0,'-13'13'0,"13"14"16,0-14-16,-14-13 0,14 13 16,0 0-16,0 1 0,0-1 15,0 0 1,0 0-1,14-39 17,-14 13-32,0-14 0,13 14 15,-13 0-15,0-14 0,13 14 0,-13 0 16,13 0-16,-13-1 0,0 1 16,14 0-16,-14 0 0,13 13 15,0 13 1,-13 0-16,13 0 15,-13 1-15,0-1 0,0 0 16,14 0-16,-14 0 16,0 1-16,13-14 15,0-14 1,0 1-16,0 0 16,-13 0-16,14 0 0,-1-1 0,0 1 15,0 0-15,1 13 16,-14-13-16,13 13 0,0 0 15,-13 13-15,13-13 0,-13 13 0,14-13 16,-14 13-16,0 1 0,13-1 16,-13 0-16,0 0 0,0 0 0,0 1 15,0-1-15,13 0 0,-13 0 16,0 1-16,13-1 0,0-13 16,-13 13-16,14-13 0,-1 0 15,13 0-15,-12 0 0,12 0 0,-13 0 16,14-13-16</inkml:trace>
  <inkml:trace contextRef="#ctx0" brushRef="#br0" timeOffset="73394.3">6271 11099 0,'39'-26'31,"-39"13"-31,14 13 0,-1-14 16,-13 1-16,13 0 0,-13-14 0,13 14 15,-13 0-15,0 0 0,0 0 16,0-1 0,-13 14-16,0 0 15,0 14-15,-1-14 16,14 13-16,-13 0 0,0 0 0,0 0 16,13 1-16,0-1 0,0 0 15,0 0-15,0 1 16,13-14-16,0 13 0,0-13 0,1 13 15,-1-13-15,0 0 0,13 0 0,-12 0 16,12 0-16,-13 0 0,14 0 16,-1-13-16,-12 13 0,12 0 0</inkml:trace>
  <inkml:trace contextRef="#ctx0" brushRef="#br0" timeOffset="73955.03">6760 10888 0,'-13'-14'31,"0"14"-31,-1 0 0,1 0 16,0 14-16,0-14 0,0 13 15,-1 0-15,1 0 0,0-13 0,13 14 16,-13-1-16,-1 13 0,1-13 0,13 1 16,-13-1-16,13 0 15,0 0-15,0 1 0,13-1 16,0 0-1,14-26 1,-14 13-16,-13-13 0,13-1 16,1 1-16,-1-13 0,0 12 0,0-12 15,0 0-15,1-14 0,-14 13 16,13-12-16,0-1 0,-13 14 16,0-14-16,13 13 0,-13 14 0,0 0 0,0 0 15,0-1-15,0 1 0,0 0 0,-13 26 47,13 0-47,-13 14 0,13-14 0,-13 14 16,13-1-16,-14 1 0,14-1 0,0 0 15,0 1-15,0-1 0,0-12 16,0 12-16,0-13 0,0 14 0,0-14 16,14-13-16,-14 13 0,13 0 0,0-13 15,14-13 1,-14 13-16,0-13 0,0 13 15,0 0-15,1 0 16,-1 0-16,-13 13 16,13-13-16,-13 13 0,0 1 15,0-1-15,0 0 16,13-13-16,-13 13 0,0 1 0,0-1 16,14-13-1,-1 0-15</inkml:trace>
  <inkml:trace contextRef="#ctx0" brushRef="#br0" timeOffset="74117.5">6998 10689 0,'-13'0'0,"-13"0"31,26 13-31,0 1 16</inkml:trace>
  <inkml:trace contextRef="#ctx0" brushRef="#br0" timeOffset="74974.92">7250 10914 0,'13'-13'0,"-13"0"0,-27-14 31,14 27-31,0 0 16,-14 0-16,14 0 0,0 13 16,0-13-16,0 14 0,-1-1 15,-12 0-15,13 0 0,-1 1 0,1-1 16,13 0-16,-13 0 0,13 0 16,-13-13-16,13 14 0,0-1 0,0 0 15,13-13-15,-13 13 0,13-13 0,-13 14 16,13-14-16,1 0 0,12 0 15,-13 0-15,1 0 0,-1 0 16,0-14-16,0 14 0,0-13 0,1 13 16,-14-13-16,13 0 0,0 13 15,-13-14-15,13 1 0,1 0 16,-14 0-16,13 13 0,-13-13 16,13 13-16,-13-14 15,0 28 32,0-1-31,13 0-16,-13 0 15,0 0-15,0 1 16,13-1 0,1-13-1,-1 0 1,-13-13-16,13 13 0,0 0 15,1-14-15,-1 14 16,0-13-16,0 13 16,1 0-16,-14 13 15,13-13-15,-13 14 16,13-14-16,-13 13 0,0 0 16,0 0-16,0 14 15,0-14 1,0 0-1,13 0 1,0-13 15,1 0-15,-1-13 0,0 13-16,0 0 15,1 0-15,-1 0 0,-13-13 0,13 13 16,0 0-16,1 0 0,-14-13 0</inkml:trace>
  <inkml:trace contextRef="#ctx0" brushRef="#br0" timeOffset="76109.32">7501 11086 0,'-13'13'16,"-1"0"-16,14 1 16,0-1-16,0 0 15,0 0-15,0 1 16,14-14 15,-1-14-15,0 1-16,0 13 15,1-13-15,-1 13 16,-13-13-16,13 13 0,0 0 16,1 0-16,-1 0 0,0 13 15,0-13-15,0 0 16,14 13-16,-14-13 16,0 13-16,1-13 0,-1 0 15,-13 14-15,13-14 0,0 0 16,1 0-16,-1 0 0,0 0 0,0 0 15,0-14-15,1 14 0,-1 0 0</inkml:trace>
  <inkml:trace contextRef="#ctx0" brushRef="#br0" timeOffset="85100.9">8308 2619 0,'-13'14'15</inkml:trace>
  <inkml:trace contextRef="#ctx0" brushRef="#br0" timeOffset="86777.01">8533 2355 0,'-40'13'16,"27"0"-16,0 0 0,-1 1 15,-12-1-15,0 13 0,12 1 16,-12-14-16,-1 14 0,1-14 15,-1 13-15,14-13 0,0 14 0,0-14 0,0 0 16,-1-13-16,1 14 16,13-1-16,-13 0 0,0 0 15</inkml:trace>
  <inkml:trace contextRef="#ctx0" brushRef="#br0" timeOffset="87209.97">9088 2328 0,'-52'27'31,"38"-1"-31,1-13 0,-13 14 0,-1-1 0,1 14 16,-14 0-16,14-1 0,-14 1 16,13-13-16,1 12 0,-1-12 0,1-1 15,13 1-15,0-14 0,-1 13 0</inkml:trace>
  <inkml:trace contextRef="#ctx0" brushRef="#br0" timeOffset="91869.81">9644 2421 0,'-26'13'16,"12"0"0,1 1-16,0-1 0,0-13 0,-1 13 15,1 14-15,-26-14 0,12 13 0,1-13 16,-1 14-16,1-14 0,-1 14 15,1-14-15,13 0 0,-1 0 0,1 1 16</inkml:trace>
  <inkml:trace contextRef="#ctx0" brushRef="#br0" timeOffset="92381.68">10226 2394 0,'-13'14'32,"0"-1"-17,-1 0-15,-12 14 0,13-14 16,-14 13-16,1-12 0,-1 12 0,1 0 15,13 1-15,-14-1 0,14-12 16,-13 12-16,12-13 0,1 1 16,0-1-16</inkml:trace>
  <inkml:trace contextRef="#ctx0" brushRef="#br0" timeOffset="95126.18">10782 2474 0,'-40'13'78,"27"0"-78,0-13 16,-1 14-16,1-1 0,0 0 0,-14 0 16,14 0-16,0 1 0,-13-1 0,12 13 15,-12-12-15,13-1 0,-1 0 16,1 0-16,0 1 0,0-1 0,0 0 15,13 0-15,-14-13 0,1 13 16,13 1 0,-13-14-1,0 13-15,-1-13 47,14 13 78</inkml:trace>
  <inkml:trace contextRef="#ctx0" brushRef="#br0" timeOffset="96502.3">14010 2553 0,'-27'27'0,"54"-54"0,-67 67 0,27-27 16,-14 0-16,14 1 0,0 12 15,0-13-15,-1 1 0,1-1 16,0 0-16,0 0 0,-1 0 0,1 1 15,0-14-15,13 13 0,-13 0 0,13 0 16</inkml:trace>
  <inkml:trace contextRef="#ctx0" brushRef="#br0" timeOffset="96874.7">14922 2408 0,'-26'13'0,"52"-26"0,-65 39 0,39-13 16,-13 1-16,-1-1 0,1-13 0,0 13 15,0 0-15,13 1 0,-14-1 16,1-13-16,0 13 0</inkml:trace>
  <inkml:trace contextRef="#ctx0" brushRef="#br0" timeOffset="97234.83">15663 2447 0,'-26'14'0,"52"-28"0,-65 41 0,25-27 0,1 13 16,13 0-16,-13 1 0,0-1 15,0 0-15,-1 0 0,1 0 16,0 1-16,0-1 0,-1 0 0,1 0 15,13 1-15,-13-1 0</inkml:trace>
  <inkml:trace contextRef="#ctx0" brushRef="#br0" timeOffset="97645.78">16338 2527 0,'-26'13'47,"12"0"-31,1-13-16,13 13 0,-13 1 0,0-1 15,-1-13-15,1 26 0,-13-12 0,12-1 16,1 0-16,0 0 0,0 1 16,13-1-16,-13 0 0,-1-13 0,14 13 15</inkml:trace>
  <inkml:trace contextRef="#ctx0" brushRef="#br0" timeOffset="98153.68">17396 2553 0,'-13'13'0,"0"1"0,0-1 0,-27 13 16,27 1-16,-14-14 16,1 14-16,-1-1 0,1 0 0,-1 1 15,14-14-15,0 0 0</inkml:trace>
  <inkml:trace contextRef="#ctx0" brushRef="#br0" timeOffset="99039.92">11430 2791 0,'0'-13'0,"0"26"0,-13 14 31,13-14-15,0 14-16,0-1 0,0 14 0,0-1 15,-13 1-15,13 0 0,0-1 16,-14 1-16,14-13 0,-13 12 0,13-12 15,0-1-15,0 1 0,-13-1 0,13 1 16,0-14-16,-13 13 0,13-13 16,0 1-16,0-1 0,-14 0 0,14 0 15</inkml:trace>
  <inkml:trace contextRef="#ctx0" brushRef="#br0" timeOffset="100258.18">11324 2738 0,'13'0'16,"14"-13"0,-14 13-16,0 0 0,1 0 15,12 0-15,-13 0 0,0 0 0,14 0 16,-1 0-16,1 0 0,-1 0 0,1 0 15,12 0-15,-12 0 0,26 0 16,-13-13-16,12 13 0,-12 0 0,13 0 16,0-13-16,0 13 0,-13 0 0,12-13 15,1 13-15,0 0 0,13 0 16,-13-14-16,0 14 0,0 0 16,0 0-16,0 0 0,-13 0 0,-1-13 15,1 13-15,-13 0 16,12 0-16,-12 0 0,131 0 15,-144 0 1,12 0-16,-13 0 0,1 0 16,-1 0-16,0 0 0,0 0 15,1 0-15,-1 0 16,0 0-16,0 0 31,0 0-31,-13 13 16,0 1-1,14-1-15,-14 0 0,0 0 0,0 14 16,0-14-16,0 13 0,0 1 0,0-1 16,-14 14-16,14 0 0,0-1 15,-13 1-15,13 0 0,0-1 0,-13 1 16,13 0-16,0-1 0,0 1 0,0 0 16,0-14-16,0 1 0,0 12 15,0-12-15,0-1 0,0 1 0,0-1 16,0 1-16,0-14 0,13 13 15,-13-12-15,0 12 0,0-13 0,0 1 16,0-1-16,0 0 0,0 0 16,0 0-16,0 1 15,0-1-15,0 0 16,-13-13 0,-13 0-1,12 0-15,1 0 0,0 0 16,0 0-16,-14-13 0,1 13 15,-1 0-15,1 0 0,-14 0 0,0-13 16,-13 13-16,14 0 0,-1 0 0,-13 0 16,13 0-16,-12 0 15,12 0-15,-13 0 0,0 0 0,0 0 16,0 0-16,14 0 0,-14 0 0,0 13 16,13-13-16,0 0 0,1 0 0,-1 0 15,0 0-15,14 13 0,-14-13 16,14 0-16,-14 0 0,14 0 0,-1 0 15,1 0-15,-1 0 0,1 0 16,12 0-16,-12 0 0,13 0 0,-14 13 16,14-13-16,0 0 0,0 0 0,-1 0 15,1 0-15,-13 0 16,12 0 0,1 0-16,0 0 15,0 0 1,0 0 31,13-13-16,0-13-31,0 12 16,13-12-16,-13 0 0,0-14 15,0 0-15,13 0 0,-13 1 16,0-1-16,0 0 0,0 14 15,13 0-15,-13 12 0,0-12 0,0-1 16,0 14-16,0 0 16,0 0-16</inkml:trace>
  <inkml:trace contextRef="#ctx0" brushRef="#br0" timeOffset="101550.81">8824 10941 0,'40'0'31,"-27"0"-15,0 0-16,0 0 0,0 0 0,1 0 0,-1 0 15,0 0-15,0 0 0,1 0 16,-1 0-16,0 0 0</inkml:trace>
  <inkml:trace contextRef="#ctx0" brushRef="#br0" timeOffset="101714.95">8811 11086 0,'0'13'0,"0"-26"0,13 26 16,0-13 0,0 0-16,1 0 0,-1 0 0,0 0 15,0 0-15,0 0 0,1 0 16,-1 0-16</inkml:trace>
  <inkml:trace contextRef="#ctx0" brushRef="#br0" timeOffset="108253.8">9988 10861 0,'0'0'0,"13"-13"0,0 13 0,1 0 16,-1 0-16,0 0 0,0 0 16,1 0-16,-1 0 0,0 13 15,0-13-15,1 13 0,-14 1 16,13-14-16,-13 13 0,13 0 0,-13 0 16,0 1-16,-13-1 0,13 0 0,-13 0 15,13 0-15,-14 1 16,-12-1-16,13 0 0,-1 0 0,1 1 15,0-1-15,0-13 0,-1 13 0,1-13 16,0 13-16,0-13 0,0 13 16,-1-13-16,54 0 47,-27 0-47,0 0 0,1 0 0,-1 0 15,0 0-15,14 0 0,-14-13 0,0 13 16,0 0-16,1 0 0,-1 0 15,0 0-15,0 0 0,0 0 16,1 0-16,-1 0 0,0 0 0</inkml:trace>
  <inkml:trace contextRef="#ctx0" brushRef="#br0" timeOffset="108676.65">10610 10795 0,'0'0'0,"-27"26"31,27-12-31,0-1 0,-13 0 0,13 0 16,0 1-16,0-1 0,-13 13 16,13-12-16,0 12 0,0-13 0,-13 0 15,13 1-15,0 12 0,0-13 0,-14 1 16,14-1-16,0 0 16</inkml:trace>
  <inkml:trace contextRef="#ctx0" brushRef="#br0" timeOffset="108925.45">10372 10993 0,'53'14'32,"-40"-14"-32,13 0 0,-12 0 15,12 0-15,0 0 0,1 0 0,-1 0 16,1 0-16,-1 0 0</inkml:trace>
  <inkml:trace contextRef="#ctx0" brushRef="#br0" timeOffset="110758.34">10914 10821 0,'53'-13'31,"-40"13"-31,0 0 0,1 0 16,12 13-16,-13-13 16,1 14-16,-1-14 0,-13 13 0,13-13 0,-13 13 15,0 0-15,-13 1 16,13-1-16,-13 13 0,-14-12 15,14-1-15,0 0 0,-1 0 0,-12 0 16,13 1-16,0-1 0,13 0 0,-14-13 16,1 13-16,0 1 15,13-1-15,13 0 16,0-13 0,1 13-16,-1-13 0,13 0 15,-13 13-15,14-13 0,-14 0 0,14 0 16,-14 14-16,13-14 0,-13 0 0,1 0 15,-1 13-15,0-13 16,0 0-16,1 0 0,-1 13 16</inkml:trace>
  <inkml:trace contextRef="#ctx0" brushRef="#br0" timeOffset="111992.8">10041 11351 0,'79'13'0,"133"-26"31,-146 13-31,14 0 0,-1 0 0,-13-14 16,13 14-16,-26 0 0,13 0 16,-13 0-16,0-13 0,0 13 0,-13 0 15,-14 0-15,1 0 0,-1 0 16,-13 0-16,1 0 0,-1 13 0,0-13 15,0 14-15,-26-1 16</inkml:trace>
  <inkml:trace contextRef="#ctx0" brushRef="#br0" timeOffset="112892.96">10491 11708 0,'0'0'0,"13"0"16,40 0 0,-40 0-16,0 0 0,1 13 15,-1 0-15,0-13 0,0 14 16,-13-1-16,0 0 0,0 0 0,-13 14 15,13-14-15,-13 13 0,0-12 16,-14 12-16,14-13 0,0 0 0,-1 14 16,1-14-16,0 0 0,0-13 0,0 14 15,-1-1-15,1 0 16,0-13-16,13 13 16,-13-13-16,26 14 15,0-14 1,14 0-16,-14 0 0,13 0 15,-13 0-15,27 0 0,-13-14 0,12 14 16,1-13-16,13 0 0,-13 0 0,-1-1 16,1 1-16,0 0 15</inkml:trace>
  <inkml:trace contextRef="#ctx0" brushRef="#br0" timeOffset="113254.84">11615 11245 0,'40'-13'31,"-27"13"-31,0 0 0,1 0 0,12 0 15,-13 0-15,1 13 0,-1-26 0,0 26 16,0-13-16,0 13 0</inkml:trace>
  <inkml:trace contextRef="#ctx0" brushRef="#br0" timeOffset="113430.75">11602 11456 0,'40'0'32,"-14"0"-32,-13 0 15,14 0-15,13 0 0,-14 0 0,27 0 16,-13-13-16,12 13 0,1 0 0,0 0 16</inkml:trace>
  <inkml:trace contextRef="#ctx0" brushRef="#br0" timeOffset="113866.62">12832 11126 0,'14'-14'15,"-1"14"1,0 14-16,0-14 0,0 13 16,-13 0-16,14-13 0,-14 13 15,0 1-15,0-1 0,-14 0 16,1 14-16,13-14 0,-13 13 0,0-13 15,0 1-15,-1-1 0,1 0 0,13 0 16,-13 1-16,13-1 16,0 0-1,0 0-15,13-13 0,-13 14 16,13-14-16,1 0 0,-1 0 0,0 0 16,13 0-16,-12 0 0,12 0 15,1 0-15,-1 0 0,-13-14 0,14 14 16,-1 0-16,-13 0 0,1-13 0,12 13 15,-13-13-15,1 0 0,-1 13 16</inkml:trace>
  <inkml:trace contextRef="#ctx0" brushRef="#br0" timeOffset="114321.69">12607 10941 0,'-39'52'0,"-107"279"32,146-265-32,-13 0 15,26 54-15,0-54 0,1-13 16,25-14-16,-12 14 0,12-13 15,14-14-15,-13 1 0,13-1 0,-13-13 16,13 1-16,-14-1 0,14-13 16,0 0-16,0-13 0,0-1 0,13 1 15,0-13-15,-13-1 0,0 1 16,0-1-16,0-12 0,26-54 16,-39 53-16,-14-12 0,14-41 15,-27 27-15,1 26 0,-14 0 0,0-13 16,-14 14-16,1-14 15,-27 0-15,1 13 0,-14 14 0,-13-1 16,-14 1-16,1-1 0,-14 14 0,1 0 16,-27 0-16,13 13 0,0 0 15,-92 0-15,92 13 0,13 0 16,14 0-16,-1 1 0,27-1 16,1 0-16,-1 0 0,39 1 0</inkml:trace>
  <inkml:trace contextRef="#ctx0" brushRef="#br0" timeOffset="114465.99">13904 11060 0,'13'0'15,"-26"0"-15</inkml:trace>
  <inkml:trace contextRef="#ctx0" brushRef="#br0" timeOffset="116113.99">12237 3717 0,'-13'27'31,"0"-14"-31,13 14 0,0 12 0,0 14 0,-14-13 16,14 13-16,0 0 0,0 0 16,0-14-16,0 14 0,0 0 0,0-13 15,0 13-15,0-14 0,0-12 0,0 13 16,0-14-16,0 0 15,0-12-15,0-1 0,0 0 0,0 0 16</inkml:trace>
  <inkml:trace contextRef="#ctx0" brushRef="#br0" timeOffset="116342.92">12316 3823 0,'-26'0'0,"-67"80"15,67-67 1,-14 27-16,14-14 0,-14 0 16,14 1-16,-1 13 0,1-14 0,-1 1 15,14-1-15,0-13 0,-1 0 0,1 1 16,0-14-16</inkml:trace>
  <inkml:trace contextRef="#ctx0" brushRef="#br0" timeOffset="116506.35">11986 3863 0,'0'0'0,"26"-27"0,-13 27 0,1 0 16,-1 0-16,13 0 0,-13 14 15,14-14-15,-1 13 0,14 0 0,-13 14 16,12-14-16,-12 0 0,12 14 0,1-14 15,0 0-15,-14 13 0,14-12 16,0 12-16,-14-13 0,14 14 0,-14-14 16</inkml:trace>
  <inkml:trace contextRef="#ctx0" brushRef="#br0" timeOffset="117202.9">12171 4789 0,'-27'0'16,"14"0"-16,0 13 16,0 0-16,-1 14 0,14-14 15,-13 27-15,0-14 0,0 14 0,0 0 16,13-1-16,0 1 0,0 0 16,0-14-16,13 1 0,-13-1 15,13 1-15,0-1 0,0-13 0,1 14 0,-1-14 16,0-13-16,0 13 0,1-13 15,-1 0-15,13 0 0,-12-13 0,-1 0 16,13-1-16,1-12 0,-14-14 0,0 14 16,0-14-16,1 0 0,-14 1 0,13-1 15,-26-13-15,13 13 0,0 1 16,-14-14-16,1 26 0,0-12 16,13 12-16,-13 1 0,-1 13 0,1-14 15,0 14-15,0 13 0,0-13 16,-1 13-16,1 0 0,0 13 0,0 0 15,-1 0-15,1 1 0,13 12 0,-13 0 16,13 1-16,-13-1 0,26 1 16,-13 13-16,0-1 0,13-12 0,0 12 15,1 1-15,-1-13 0,0 12 0,0-12 16,1-1-16,-1 1 0,13-14 0,-13 0 16,1 14-16,-1-14 15,0 0-15,-13 0 0,13 0 0</inkml:trace>
  <inkml:trace contextRef="#ctx0" brushRef="#br0" timeOffset="117506.05">12568 5054 0,'26'0'15,"-52"0"-15,65 0 16,-25 13-16,-14 0 0,0 0 15,-14 0-15,14 14 0,-13-1 0,0 14 16,-14-13-16,14 12 0,0-12 16,-13-1-16,26 1 0,-14-14 0,1 0 15,13 0-15,0 1 0,0-1 16,0 0-16,0 0 16,13 0-16,1-13 0,-1 0 15,0 0-15,0-13 0,14 13 0,-14 0 16,13-13-16,-12 0 0,-1 13 15,13-13-15,-12-1 0,-1 1 0,-13 0 16,13 13-16,-13-13 0,0-1 0</inkml:trace>
  <inkml:trace contextRef="#ctx0" brushRef="#br0" timeOffset="117794.32">11893 4643 0,'-13'14'0,"26"-28"0,-26 54 0,13-27 16,0 27-16,-13 0 0,13-1 0,0 28 16,0-1-16,0 0 0,0 13 15,0-13-15,13 14 0,-13-1 0,0-13 16,13 14-16,-13-14 0,13 0 0,0-13 15,1 13-15,-1-13 0,0-13 16,0-14-16,1 14 0,-14-14 16,13-13-16,0 1 0,14-28 15,-27-12 1,0-14-16</inkml:trace>
  <inkml:trace contextRef="#ctx0" brushRef="#br0" timeOffset="118305.58">11867 4643 0,'105'-39'16,"-52"26"-16,13-1 15,1-12-15,-1 13 0,13-1 0,0 14 16,1-13-16,12 0 0,-12 13 0,-1-13 15,1 13-15,-1-14 0,0 14 0,-26 0 16,13 0-16,-13 0 0,0 0 16,-26 0-16,12 14 0,-12-14 0,-1 0 15,14 26-15,-27-13 0,14 1 16,-27-1-16,13 13 0,0-12 0,-13 12 16,0 0-16,13 14 0,-13 13 15,0-13-15,0-1 0,14 1 0,-14 13 16,13 0-16,-13 0 0,13 0 15,0 0-15,-13-14 0,14 14 16,-1-13-16,-13 0 0,13-1 0,0 1 16,0 0-16,1-14 0,-1 14 0,-13-14 15,13 1-15,-13-14 0,13 13 16,-13-12-16,0-1 0,14 13 0,-14-12 16,0-1-16,-14 0 0,14 0 15,-13 1-15,-13-1 0,12 0 16,-25 0-16,-1 0 0,0 1 15,-13-1-15,-13 0 0,0 14 0,0-14 16,-13 0-16,-1 0 0,-12 14 0,12-14 0,-26 13 16,1 1-16,12-14 0,14 14 15,-27-1-15,26-13 0,14 14 16,-13-14-16,13 13 0,13-12 0,-13-1 16,13 0-16</inkml:trace>
  <inkml:trace contextRef="#ctx0" brushRef="#br0" timeOffset="124382.96">1720 2249 0,'-27'53'32,"27"39"-17,-13-25-15,13 38 16,0-12-16,0 0 0,0-27 16,0 26-16,0-39 15,0 0-15,13 13 16,1 1-1,-1 12-15,0-26 16,-13-13-16,13-14 16,-13 14-16</inkml:trace>
  <inkml:trace contextRef="#ctx0" brushRef="#br0" timeOffset="126215.92">1707 2275 0,'-14'0'31,"14"27"-15,40-14 0,53 14-16,39-1 0,-26-13 15,66-13-15,53 13 16,145 27-16,-13-40 15,14 0 1,198 0-16,-93 27 16,26-27-16,-105 0 15,-145 0-15,-80 0 16,39 0-16,14 0 16,-119 0-16,-40 0 15,-39 0-15,-14 0 16,-13 26 124,0 53-140,-13-26 16,-1 27-16,1-14 16,13 27-16,-13 52 0,0-26 15,-14-26-15,1-1 16,13 1 0,-14-1-16,27-39 15,0-13-15,0 0 16,0-27-16,0 13 15,0-12-15,0-1 32,-26-13 15,-1 13-32,-26 14 1,-13-14-16,-79 0 15,-14-13-15,13 0 16,-118 0-16,79 0 16,-27 0-16,-53 0 15,40-13 1,-251 0-16,304-1 16,13 1-16,-13-13 15,27 26-15,-1 0 0,67 0 16,-27 0-16,27 0 15,-14 0-15,-26-27 16,27 14 0,-14 13-16,40 0 15,-27 0-15,14 0 16,26 0-16,-13 0 16,13 0-16,-14 0 15,15 0-15,25 0 16,1 0-16,-1 0 15,-12 0-15,25 0 16,-12 0-16,13 0 16,-1 0-16,1 0 15,0 0-15,0 0 16,-1 0 0,1 0 62,13-26-31,-13 26-32,13-14-15,0-25 16,0-1-16,0-13 15,0 40-15,0 0 16,-13 13-16,13-14 16,0 1-1</inkml:trace>
</inkml:ink>
</file>

<file path=ppt/ink/ink1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32:25.088"/>
    </inkml:context>
    <inkml:brush xml:id="br0">
      <inkml:brushProperty name="width" value="0.05292" units="cm"/>
      <inkml:brushProperty name="height" value="0.05292" units="cm"/>
      <inkml:brushProperty name="color" value="#FFFFFF"/>
    </inkml:brush>
    <inkml:brush xml:id="br1">
      <inkml:brushProperty name="width" value="0.05292" units="cm"/>
      <inkml:brushProperty name="height" value="0.05292" units="cm"/>
      <inkml:brushProperty name="color" value="#0070C0"/>
    </inkml:brush>
  </inkml:definitions>
  <inkml:trace contextRef="#ctx0" brushRef="#br0">12171 4458 0,'0'0'0,"-13"27"32,39-54-17,-13 14-15,1-13 0,12-1 0,-13-13 16,14 14-16,-14-14 0,13 1 0,1-1 15,-1 13-15,-13 1 0,1 13 16,-1 0-16,0 13 0,0 0 0,1 13 16,-14 0-16,0 0 0,0 14 15,0-1-15,-14 14 0,14-1 0,-13 1 16,0 0-16,0-14 0,13 1 16,-14-1-16,14-13 0,0 1 15,0-1-15,0 0 0,14-13 16,-1-13-1,0 0-15,14-1 0,-1-12 0,1-14 16,-1 14-16,0-1 0,1 1 0,-1 13 16,1-14-16,-1 27 0,1-13 0,-14 13 15,0 0-15,0 13 0,1 0 16,-1 1-16,-13-1 0,13 0 0,-13 14 16,0-14-16,13 0 0,-13 0 0,14 1 15,-14-1-15,0 0 0,13 0 16,0 0-16,14-26 15,-14 0-15,13 0 16,1-14-16,-1 1 0,1-14 0,12 0 16,-12 1-16,-1-1 0,1-13 15,12 14-15,-12-1 0,-1 0 0,14 0 16,0 1-16,-14 26 0,14-14 0</inkml:trace>
  <inkml:trace contextRef="#ctx0" brushRef="#br0" timeOffset="815.69">18005 4749 0,'-79'106'16,"65"-93"-16,14 1 0,-13-14 0,26 0 15,27-14-15,-14-12 16,27-1-16,0-12 0,13-1 0,-13 0 16,0 1-16,13 12 0,-26 1 15,0 13-15,-14 13 0,1 13 0,-14 0 16,0 0-16,-13 14 0,0-1 16,-13 14-16,0 13 0,-1 0 0,1 0 15,-13-1-15,13-12 0,-1 13 16,1-13-16,26-27 15,14-26 1,-1 0-16,1-14 0,-1 14 0,1-14 16,-1 27-16,-13-13 0,14 13 0,-14 13 15,0-13-15,0 27 0,1 13 16,-14-1-16,0 1 0,0 26 0,-14 0 16,14 0-16,-13-13 0,-13 13 15,13 1-15,-1-15 0,-12 1 0,13-13 16,-1 0-16,-12-14 0,13 1 15,13-14-15,-14 0 0,14 0 0,-13-13 16</inkml:trace>
  <inkml:trace contextRef="#ctx0" brushRef="#br1" timeOffset="20324.21">11020 4379 0,'-27'79'0,"27"-66"15,-13 27 1,0-27-16,13 1 0,0-1 0,0 0 15,0 0-15,0 1 16,0-1-16</inkml:trace>
  <inkml:trace contextRef="#ctx0" brushRef="#br1" timeOffset="20880.59">11205 4379 0,'-13'26'16,"13"-12"-1,-13-1-15,13 0 0,0 0 16,0 0-16,0 1 0,0-1 15,0 0-15,0 0 0,0 1 0,0-1 16,13 0-16,0 0 0,0-13 16,1 0-16,-1 0 15,0 0-15,0 0 0,0-13 16,1 0-16,-1 13 0,0-13 0,0-1 16,-13 1-16,14 0 0,-14 0 15,0-1-15,0 1 0,0 0 16,0 0-16,0 0 0,0-1 0,0 1 15,-14 0-15,14 0 0,-13-1 16,13 1-16,-13 13 0,0-13 16,-1 0-16,1 13 15,0 13 1,0-13-16</inkml:trace>
  <inkml:trace contextRef="#ctx0" brushRef="#br1" timeOffset="21366.1">11708 4247 0,'-13'0'0,"-1"0"0,1 13 16,13 0-16,-26 0 0,12 14 0,1-1 16,-13 14-16,-1-14 0,14 14 15,-13 0-15,-1-1 0,14 1 16,-14-13-16,1 12 0,13-12 0,-14-1 15,14 14-15,0-14 0,0 1 0,-1-14 16,1 13-16,0-12 0,13-1 16,-13 0-16,13 0 0,-14-13 0,14 14 15,0-1-15,0 0 16</inkml:trace>
  <inkml:trace contextRef="#ctx0" brushRef="#br1" timeOffset="21743.57">11800 4617 0,'40'13'31,"-40"0"-31,0 1 0,0-1 15,0 0-15,-13 0 0,0 14 0,-1-14 16,1 13-16,-13 1 0,13-1 16,-1-12-16,-12-1 0,13 0 0,-1 0 15,14 1-15,-13-1 0,0 0 16,0 0-16,13 0 0,-14-13 16,14 14-1,14-1-15,-1 0 16,0-13-16,0 13 0,1-13 15,-1 0-15,0 0 0,0 0 16,1 0-16,-1 0 0,0 0 0,0 0 16,0-13-16,1 13 0,-1 0 0,0-13 15,0 13-15,1 0 0,-1-13 16</inkml:trace>
  <inkml:trace contextRef="#ctx0" brushRef="#br1" timeOffset="22043.42">12621 4524 0,'26'-13'31,"-13"26"-31,1-13 0,12 0 0,-13 0 16,0 0-16,1 0 0,-1 0 0,0 0 15,0 0-15,1 0 0,-1 14 0,0-14 16</inkml:trace>
  <inkml:trace contextRef="#ctx0" brushRef="#br1" timeOffset="22261.06">12594 4723 0,'27'0'31,"-14"0"-31,13 0 0,-12-13 0,-1 13 15,13 0-15,-13 0 0,14 0 16,-14-14-16,14 14 0,-14 0 0,0 0 16,14 0-16,-14 0 0,0 0 15,0-13-15,0 13 16,1 0-16,-14 13 16</inkml:trace>
  <inkml:trace contextRef="#ctx0" brushRef="#br1" timeOffset="28020.27">14539 4379 0,'13'-13'0,"0"-1"16,1 14-16,-1-13 15,-40 26 32,14 1-47,-13-14 0,12 13 16,-12 0-16,13 0 0,-14 1 0,14-14 15,0 13-15,-14 0 0,14-13 16,13 13-16,-13 0 0,0-13 0,13 14 16,-14-14-16,14 13 0,14-13 15,-14 13-15,13-13 16,0 13-16,0-13 16,1 14-16,-1-14 0,0 13 15,0 0 1,-13 0-16,-13 1 15,0-1-15,0 0 16,-14 0-16,14-13 0,0 13 16,-14 1-16,14-14 0,-13 13 15,12-13-15,1 0 0,0 0 0,0 13 16,-1-13-16,1 0 0,0 0 16</inkml:trace>
  <inkml:trace contextRef="#ctx0" brushRef="#br1" timeOffset="28288.28">14896 4524 0,'-26'14'16,"12"-1"-16,1 0 0,0-13 0,0 13 16,-14 14-16,1-14 0,-1 13 15,-12 1-15,12-14 0,1 14 0,-1-14 16,1 13-16,-1-13 0,14 1 0,-13-1 16,12 0-16,1 0 15,0-13-15,0 14 0,-1-1 0,1-13 16</inkml:trace>
  <inkml:trace contextRef="#ctx0" brushRef="#br1" timeOffset="28505.1">15028 4551 0,'-119'92'16,"80"-65"0,-1 13-16,-13-14 0,13 0 0,1 14 15,-1-13-15,0 12 0,1-12 0,12-1 16,1 1-16,-1-14 0,1 13 0</inkml:trace>
  <inkml:trace contextRef="#ctx0" brushRef="#br1" timeOffset="29896.29">7355 5027 0,'27'13'15,"-1"-13"-15,-12 0 16,12 0-16,14 0 0,-14 0 0,27 0 16,0 0-16,0 0 0,0 0 0,0 0 15,-14 0-15,14 0 0,-13 0 16,0 0-16,-14 0 0,1 0 0,12-13 16,-25 13-16,12 0 0,-13 0 15,14 0-15</inkml:trace>
  <inkml:trace contextRef="#ctx0" brushRef="#br1" timeOffset="30208.23">7514 5186 0,'40'0'31,"-27"0"-31,14-13 0,-1 13 0,0 0 15,14-14-15,13 14 0,-13 0 16,-1-13-16,1 13 0,-13 0 0,12-13 16,-12 13-16,-1 0 0,1 0 15,-1 0-15,1 0 0,-14-13 16,0 13-16,0 0 0,0 0 0,1 0 16,12 0-16,-13 0 15,1 0 1,-14-14-1,26 28 17</inkml:trace>
  <inkml:trace contextRef="#ctx0" brushRef="#br1" timeOffset="31936.64">6271 6813 0,'53'-13'16,"-27"13"-16,0 0 0,27 0 15,-13-13-15,26 13 0,-13 0 0,13 0 16,0 0-16,14 0 0,-1 0 0,1 0 16,-14 0-16,0 0 0,-13 0 15,0 0-15,0 0 0,-1 0 0,-25 0 16,-1 0-16,1 13 0,-14-13 15,0 0-15,1 0 0</inkml:trace>
  <inkml:trace contextRef="#ctx0" brushRef="#br1" timeOffset="32171.52">6310 6919 0,'0'0'0,"27"0"15,-1 0-15,1 0 0,-1 0 0,27 0 16,0 0-16,13 0 0,-13 0 0,26 0 16,1 0-16,-27 0 15,13 0-15,-13 0 0,0 0 0,0 0 0,-14 0 16,-12 0-16,-1 0 0,1 0 16,-1 13-16,-13-13 0,14 0 15,-14 0-15,0 0 0,0 0 16,-13 13-16</inkml:trace>
  <inkml:trace contextRef="#ctx0" brushRef="#br1" timeOffset="33044.44">11681 7527 0,'14'0'0,"-1"14"15,0-14-15,0 13 0,1-13 16,-14 13-16,13-13 0,-13 13 16,-13 1-16,13-1 15,0 0-15,-14-13 0,14 13 16,-13-13-16,13 13 16,0 1-1,13-14-15,1 13 16,-1-13-1,0 13-15,0 0 16,-13 1-16,0-1 16,0 0-16,-13 0 15,0-13-15,0 14 0,-1-1 0,1-13 16,0 13-16,0-13 0,-14 13 0,14-13 16,0 13-16,-1-13 15,1-13 1,26 0-16</inkml:trace>
  <inkml:trace contextRef="#ctx0" brushRef="#br1" timeOffset="33245.25">11986 7474 0,'0'0'0,"13"0"0,0 0 16,-13 14-1,13-14-15,-13 13 0,0 0 16,0 0-16,0 1 0,0-1 0,0 0 15,0 14-15,0-14 0,0 0 0,0 0 16,0 0-16,0 14 0,0-14 16,0 0-16,0 1 0,0-1 0,-13-13 15,13 13-15,13 0 0,-13 1 16</inkml:trace>
  <inkml:trace contextRef="#ctx0" brushRef="#br1" timeOffset="33463.83">11906 7633 0,'0'0'0,"27"0"16,-14 0-1,0 0-15,0 0 0,1 0 16,-1 0-16,0 0 0,0 0 0,14 0 15,-14 0-15,0-13 0,14 26 16,-14-26-16,0 13 0,0 0 16,1 0-16,-1 0 0</inkml:trace>
  <inkml:trace contextRef="#ctx0" brushRef="#br1" timeOffset="33768.28">12343 7514 0,'0'-13'0,"26"13"31,-13 0-31,1 13 0,-1 0 16,0 1-16,-13-1 15,13 0-15,-13 0 0,0 1 0,0-1 16,0 0-16,0 0 0,0 0 16,0 1-16,0 12 0,-13-13 0,13 1 15,0-1-15,0 0 0,-13-13 0,13 13 16,0 1-16,-13-1 0,13 0 16</inkml:trace>
  <inkml:trace contextRef="#ctx0" brushRef="#br1" timeOffset="33955.33">12250 7726 0,'40'-13'32,"-27"13"-17,0 0-15,1 0 0,-1 0 0,13 0 16,-13 0-16,1-14 0,12 14 15,-13 0-15,1 0 0,-1 0 0,0 0 16,14-13-16,-14 13 0,0 0 0</inkml:trace>
  <inkml:trace contextRef="#ctx0" brushRef="#br1" timeOffset="34171.37">12766 7514 0,'13'0'0,"-26"0"0,40 13 47,-14 1-47,-13-1 0,0 0 16,13 0-16,-13 1 0,13 65 15,-13-66 1,14 0-16,-14 1 0,0-1 0,0 0 16,0 0-16,13 1 0,-13-1 0,0 0 15,0 0-15,0 0 16</inkml:trace>
  <inkml:trace contextRef="#ctx0" brushRef="#br1" timeOffset="34383.55">12674 7726 0,'0'-13'16,"26"13"-1,-13 0 1,0 0-16,1-14 0,-1 14 0,0 0 16,0 0-16,1 0 0,-1 0 0,13 0 15,-12 0-15,-1 0 0,0-13 16,0 13-16,0 0 0,1 0 16,-1 0-16</inkml:trace>
  <inkml:trace contextRef="#ctx0" brushRef="#br1" timeOffset="34835.87">13203 7501 0,'0'0'0,"0"13"0,0 0 16,13 1-16,-13-1 0,0 0 16,13 14-16,-13-14 0,13 13 0,-13-13 15,0 1-15,14 12 16,-28-13-16,14 1 0,0-1 0,-13 13 16,0-12-16,13-1 0,-13 0 15,-1 0-15,1-13 16,26-26 15,1 13-31,-1-1 0,0 1 16,0 0-16,14 0 0,-14-14 0,0 14 15,1 0-15,-1-14 0,-13 14 0,13 0 16,-13-14-16,0 14 0,0 0 0,0 0 16,0-1-16,0 1 15,-13 0-15,0 0 0,13-1 16,-14 14-16,1-13 0,0 13 15,-14 0-15,14 13 16,-13-13-16,-1 14 0,1-1 0,-14 0 16,14 0-16</inkml:trace>
  <inkml:trace contextRef="#ctx0" brushRef="#br1" timeOffset="35144.25">11589 8004 0,'0'0'0,"53"-14"0,-27 14 16,14-13-16,13 13 0,13-13 0,13 0 16,1 13-16,12-13 0,1-1 0,-1 14 15,1 0-15,13-13 0,-14 13 0,1-13 16,-14 13-16,14 0 0,-14-13 15,1 13-15,-14-14 0,13 14 0,-26 0 16,0 0-16,-13-13 0,0 13 0,-14 0 16,-13 0-16,14 0 15,-14 0-15,0 0 0,0 0 16,-13 13-16,-26 1 16,13-14-16,-14 13 15</inkml:trace>
  <inkml:trace contextRef="#ctx0" brushRef="#br1" timeOffset="35736.4">12488 8123 0,'14'13'31,"-1"0"-31,-26 0 16,13 1-16,-14-1 16,14 0-1,0 0 1,14-13-16,-1 14 0,0-14 16,0 13-16,0-13 0,-13 13 0,14 0 15,-1-13-15,-13 13 0,0 1 16,0-1-16,0 0 15,-13-13-15,13 13 0,-14-13 0,1 14 16,0-14-16,-13 13 0,12-13 16,1-13-16,-13 26 0,-1-13 15,14 0-15,-14 0 0,-12-13 0,-1 13 0</inkml:trace>
  <inkml:trace contextRef="#ctx0" brushRef="#br1" timeOffset="36895.4">9221 7514 0,'13'-26'31,"0"26"-31,0-14 16,1 14-16,-1 0 0,0-13 15,0 13-15,1 0 0,12 0 0,-13 0 16,0 0-16,1 0 0,-1 0 0,0 13 16,0-13-16,1 14 15,-14-1-15,13-13 0,-13 13 0,0 0 16,0 1-16,-13-1 0,13 0 15,-14 0-15,1 1 0,0-1 16,0 0-16,-1 0 0,-12 0 0,13 1 16,-14-1-16,14-13 0,-13 13 15,-1 0-15,1 1 0,13-14 16,-14 13-16,14-13 0,0 13 0,-1-13 16,1 0-16,0 0 0,0 13 0,-1-13 15,1 0 1,40 14-1,-1-14 1,-13 0-16,14 0 0,-1 13 0,1-13 16,12 0-16,-12 13 0,-1-13 15,1 0-15,-1 13 0,1-13 0,-14 13 16,0-13-16,0 0 0,1 14 16,-1-1-16,-13 0 15,0 0-15,-13 1 0,-1-1 16,1 0-16,0 0 0,-14 1 0,1-1 15,-14 0-15,14 0 0,13 0 16,-14 1-16,1-14 0,13 13 0,-14-13 16,14 13-16,-14-13 0,14 0 0,0 0 15,0 13-15,-1-13 0,1 0 16,0 0-16,0 0 16</inkml:trace>
  <inkml:trace contextRef="#ctx0" brushRef="#br1" timeOffset="37748.83">13930 7752 0,'66'-13'32,"-52"13"-32,12 0 0,1-13 15,-14 13-15,13 0 0,-12 0 16,12 0-16,-13 0 0,0 0 0</inkml:trace>
  <inkml:trace contextRef="#ctx0" brushRef="#br1" timeOffset="37927.32">13944 7951 0,'0'13'15,"13"-13"1,0 0-16,0 0 0,0-13 0,1 13 16,12 0-16,1 0 0,-14-13 0,13 13 15,-12 0-15,12-14 0,-13 14 16,14 0-16,-14 0 0,0-13 0,0 13 15</inkml:trace>
  <inkml:trace contextRef="#ctx0" brushRef="#br1" timeOffset="42330.67">4233 5014 0,'186'-13'32,"-120"13"-32,13-14 0,0 14 15,1 0-15,12-13 0,-12 13 0,12-13 16,1 13-16,-14 0 0,1-13 0,-1 13 15,-13-14-15,-13 14 0,53 0 16,-80-13-16,1 13 16</inkml:trace>
  <inkml:trace contextRef="#ctx0" brushRef="#br1" timeOffset="42543.21">4405 5318 0,'106'-13'16,"-53"13"-16,0 0 15,26-13-15,-13-1 0,14 14 0,12-13 16,-12 13-16,12-13 0,-12 13 0,-1-13 16,-13 13-16,14 0 0,-27 0 15,0-13-15,-14 13 0,1 0 0,0 0 16,-14 0-16</inkml:trace>
  <inkml:trace contextRef="#ctx0" brushRef="#br1" timeOffset="42884.59">4696 4141 0,'0'0'0,"318"-80"32,-239 67-32,1 0 0,-1 0 15,0-1-15,1 14 0,12-13 0,-12 13 16,-14 0-16,0 0 0,-13-13 0,0 13 16</inkml:trace>
  <inkml:trace contextRef="#ctx0" brushRef="#br1" timeOffset="43060.18">5067 4379 0,'264'-40'31,"-197"27"-31,12 0 0,0-1 0,1 1 16,12 13-16,-12-13 0,-1 13 15,0 0-15,1-13 0</inkml:trace>
  <inkml:trace contextRef="#ctx0" brushRef="#br1" timeOffset="46123.62">16536 2897 0,'40'-13'31,"-27"26"-31,1-13 16,-14 13-16,13 1 0,-13-1 16,13 0-16,-13 0 15,13 1-15,-13-1 16,14-13-16,-14 13 0,13 0 0,0 0 16,0 1-16,-13-1 15,13-13-15,-13 13 16,0 0-1,0 1-15,-13-14 0,0 13 16,0-13-16,0 0 16,-1 13-16,1-13 15</inkml:trace>
  <inkml:trace contextRef="#ctx0" brushRef="#br1" timeOffset="46739.66">18018 3082 0,'-53'-39'15,"40"25"1,0 1-16,0 0 0,-1 0 0,1 0 16,0-1-16,13-12 0,-13 13 0,13-14 15,0 1-15,13 13 0,-13-14 16,13 14-16,-13 0 0,13-14 0,1 27 15,-1-13-15,-13 0 0,13 13 0,0 0 16,0 0-16,1 0 0,-14 13 16,0 0-1,0 0-15,-14 14 0,1-14 0,0 14 16,0-14-16,0 13 0,-1-13 0,1 1 16,0-1-16,0 0 0,13 0 15,-14-13-15,14 14 0,-13-14 0,13 13 16,0 0-16,13-13 15,1 0-15,-1 0 0,13 0 16,1 0-16,-1-13 0,1 13 0,26-13 16,-14 13-16,1-14 0,0 14 0,-1-13 15,1 13-15,0 0 0,-1-13 16</inkml:trace>
  <inkml:trace contextRef="#ctx0" brushRef="#br1" timeOffset="47059.43">19116 2752 0,'13'-14'0,"14"1"15,-14 13 1,0 0-16,1 13 16,-14 1-16,13-1 0,-13 0 15,0 0-15,0 1 0,0-1 16,0 0-16,0 0 0,-13 1 0,13-1 16,0 13-16,0-13 0,0 1 0,-14-1 15,14 0-15,0 0 0,0 1 16,0-1-16,0 0 15,0 0-15</inkml:trace>
  <inkml:trace contextRef="#ctx0" brushRef="#br1" timeOffset="47215.43">18957 2990 0,'0'-13'0,"14"-1"15,-1 14-15,0-13 0,0 13 0,14 0 16,12-13-16,1 0 0,0 13 15,0-14-15,-1 14 0,-12-13 0,-1 13 16,1 0-16,-1 0 0,-13 0 0,1 0 16,-1-13-16</inkml:trace>
  <inkml:trace contextRef="#ctx0" brushRef="#br1" timeOffset="47755.05">17701 3321 0,'489'13'32,"-396"-13"-32,13 0 0,26 0 15,-26 0-15,26-13 0,-26 13 0,0 0 16,-14-14-16,14 1 0,-13 13 15,26-26-15,-40 12 0,14 1 16,-14-13-16,0-1 0,1 1 0,-14-1 0,13 1 16,-13-14-16,-13 14 0,14-14 15,-15 0-15,-12 1 0,0-1 16,-14-13-16,1 27 0,-27-27 0,0 13 16,0 0-16,-27-13 0,1 0 0,-14 1 15,-26-1-15,-13-14 0,-14 15 0,0-1 16,-26 0-16,0 0 0,0 13 15,-26-13-15,-1 14 0,-13-1 0,1 13 16,-14 1-16,-13-1 0,-1 14 0,-12 13 16,-1 0-16,1 27 15,-53-1-15,-1 14 0,14 13 0,13 0 16,0 13-16,27 13 0,13 1 0,13 12 16,53-12-16,0-14 0,26 13 15,27-13-15,0 14 0,39-27 0,14-1 16,13-12-16,13 13 0,27 0 0,26-13 15,27-1-15,26 1 0,13-14 0,27 1 16,0-1-16,26-12 0,0-14 16,0 13-16,14-13 0,-14-13 0,185-1 15,-198 1-15,0 13 16,-26-13-16,-14 0 0,-39-1 0</inkml:trace>
  <inkml:trace contextRef="#ctx0" brushRef="#br1" timeOffset="49879.32">18084 4313 0,'27'0'32,"-14"0"-32,0 0 0,0 0 0,1 0 15,-1 13-15,0-13 0,0 13 16,-13 0-16,0 1 15,0-1-15,-13-13 0,0 13 16,13 0-16,-13-13 0,13 14 0,-14-1 16,14 0-1,14 0-15,-1 0 16,0 1-16,0-1 0,1-13 16,-14 13-16,13-13 0,-13 13 15,13-13-15,-13 14 0,-13-1 16,13 0-16,-13 0 15,-1 1-15,-12-1 0,-1-13 16,14 13-16,0-13 0,0 0 16,0 13-16,-1-13 0,1 0 0,0 0 15</inkml:trace>
  <inkml:trace contextRef="#ctx0" brushRef="#br1" timeOffset="50453.02">19182 4352 0,'0'0'0,"-26"0"15,13 14-15,-1-14 0,-12 13 16,13-13-16,-14 13 0,14 0 15,-13 1-15,-1-1 0,14 0 0,0-13 16,-1 13-16,1 0 0,0 1 0,0-1 16,-1 0-16,14 0 15,14 1-15,-14-1 16,13-13-16,0 13 0,0-13 0,14 0 16,-14 13-16,14-13 0,-1 0 0,0 0 15,-12 0-15,12 0 0,1 0 16,-14 0-16,13-13 0,-12 13 15,-1 0-15,0 0 0,0-13 0,0 13 16,1-13-16</inkml:trace>
  <inkml:trace contextRef="#ctx0" brushRef="#br1" timeOffset="50648.38">19169 4352 0,'-13'14'31,"26"12"-16,-13-13-15,0 1 0,0-1 0,0 0 16,0 13-16,0-12 0,0 12 0,0-13 16,0 14-16,0-14 0,0 0 15,0 14-15,0-14 0,0 0 16,0 0-16,0 1 0,0-1 16,13 0-16</inkml:trace>
  <inkml:trace contextRef="#ctx0" brushRef="#br1" timeOffset="51055.9">20055 4419 0,'-26'-14'31,"-1"14"-31,14 0 0,0 14 16,0-14-16,0 0 0,-1 0 15,14 13-15,-13-13 16,26 13-16,-13 0 15,14 0-15,-14 1 0,13-14 16,-13 13-16,13 0 0,0 0 16,-13 1-16,0-1 15,0 0-15,-13-13 0,13 13 0,-13 1 16,0-14-16,-1 13 0,1 0 0,0-13 16,0 0-16,-1 13 0,1-13 15,0 0-15,13 13 0,-13-13 0</inkml:trace>
  <inkml:trace contextRef="#ctx0" brushRef="#br1" timeOffset="51412.71">20558 4299 0,'-26'14'32,"26"-1"-32,-14 0 0,14 0 15,-13 1-15,13 12 0,0-13 0,0 14 16,0-14-16,0 0 0,13 14 0,-13-14 16,14 0-16,-1 14 15,0-14-15,0 0 0,1 0 16,-1-13-16,-13 14 0,13-14 15,0 0-15,-13-14 16,-13 1 0,0 0-1,0 13-15,-1-13 16,1 13-16,13-14 0,-13 14 16,13-13-1</inkml:trace>
  <inkml:trace contextRef="#ctx0" brushRef="#br1" timeOffset="51776.52">21206 4247 0,'27'-14'0,"-54"28"0,67-28 0,-27 14 0,14 0 15,-14 14 1,0-14-16,-13 13 0,13-13 15,1 13-15,-14 0 0,13 0 0,-13 1 16,0-1-16,13 0 0,-13 0 0,0 1 16,0-1-16,0 0 0,0 0 15,0 1-15,0-1 0,0 0 0,0 0 16,-13 0-16,13 1 0,0-1 16,0 0-1,-13-13-15</inkml:trace>
  <inkml:trace contextRef="#ctx0" brushRef="#br1" timeOffset="51977.57">21193 4419 0,'27'0'0,"-54"0"0,67-14 0,-27 14 16,0 0-16,14 0 0,-14 0 0,27 0 0,-14 0 15,1 0-15,12-13 0,-12 13 16,12 0-16,-12 0 0,13 0 0,-14 0 15,0 0-15,1 0 0,-14-13 16,14 13-16,-14 0 0,0 0 0,0 13 16</inkml:trace>
  <inkml:trace contextRef="#ctx0" brushRef="#br1" timeOffset="53828.62">19751 4643 0,'0'-13'15,"-13"40"17,13-14-17,0 0-15,-13 0 0,13 1 0,0 12 16,0-13-16,-14 0 0,14 14 0,-13-14 15,13 14-15,0-1 16,-13-13-16,13 14 0,0-14 0,0 13 16,0-12-16,-13-1 0,13 13 0,0-12 15,0-1-15,0 0 0,0 0 0,-13 1 16,13-1-16,0 0 16,0 0-1,13-39 16,-13 13-31,0-1 0,13 1 16,-13-13-16,13 12 0,-13-12 0,13 13 16,-13-14-16,14 14 15,-14-13-15,0 12 0,13 1 0,-13 0 16,0 0-16,13-1 0,-13 1 0,0 0 16,13 0-16,-13-1 0,0 1 31,0 40-16,0-14-15,0 0 0,0 14 16,0-14-16,0 0 0,-13 14 16,13-1-16,-13 0 0,13 1 0,0-14 15,-13 14-15,13-1 0,0-13 0,-14 14 16,14-14-16,0 0 0,-13 0 16,13 1-16,0-1 0,0 0 15,-13 0-15,13-26 31,-13 0-15,13 0-16,0-1 0</inkml:trace>
  <inkml:trace contextRef="#ctx0" brushRef="#br1" timeOffset="54518.38">19778 4617 0,'-27'26'47,"14"-12"-47,0-1 15,-1 0-15,14 0 0,-26 14 16,13-14-16,0 0 0,-1 0 15,14 1-15,-13-1 0,-13 13 16,26-12-16,-14-14 0,1 13 16,13 0-16,-13 0 15,0 1 1,39-41 15,-13 14-15,1 0-16,-1-1 15,0 1-15,0 0 0,1 0 16,-14-14-16,13 14 0,0 0 16,-13 0-16,13-1 0,0 1 15,-13 0-15,14 0 0,-14-1 16,13 14 0,-13-13-16,13 26 15,0 1-15,1-1 16,-14 0-16,13 0 15,0-13-15,0 14 0,-13-1 16,14 0-16,-1 0 0,0 0 0,0-13 16,0 14-16,-13-1 0,14-13 0,-1 13 15,0 0-15,0-13 16,-13 14-16,14-14 0,-14 13 16,13 0-16</inkml:trace>
  <inkml:trace contextRef="#ctx0" brushRef="#br1" timeOffset="55135.15">19698 5517 0,'-13'13'16,"0"-13"0,13 13-16,-13 0 0,-1-13 0,1 13 15,13 1-15,-13-1 0,0 0 0,-1-13 16,1 13-16,13 1 0,-13-1 16,0 0-16,13 0 0,-14 1 15,14-1-15,0 0 16,14 0-16,-1-13 15,0 0-15,0 0 16,1 0-16,-1 0 0,0 0 0,0 0 16,1 0-16,-1 0 0,13-13 0,-13 13 15,1 0 1,-1-13-16,0 13 0,-13-13 16</inkml:trace>
  <inkml:trace contextRef="#ctx0" brushRef="#br1" timeOffset="55344.15">19764 5569 0,'0'-13'31,"0"40"-15,0-14-16,-13 0 0,13 14 16,0-14-16,0 0 0,-13 14 0,13-14 15,0 13-15,-13-13 0,13 14 0,-14-14 16,14 0-16,0 1 15,-13-1-15,13 0 0,0 0 16,0 1-16,0-1 16</inkml:trace>
  <inkml:trace contextRef="#ctx0" brushRef="#br1" timeOffset="55511.34">19936 5662 0,'0'-13'0</inkml:trace>
  <inkml:trace contextRef="#ctx0" brushRef="#br1" timeOffset="55864.32">19950 5556 0,'26'-13'31,"-13"13"-31,0 0 0,1 13 16,-1-13-16,-13 13 15,13-13-15,0 14 16,-13-1-16,0 0 0,0 0 16,0 1-16,0-1 0,0 0 0,0 0 15,0 1-15,0-1 16,0 0-16,0 0 0,0 0 0,0 1 15,0-1-15,0 0 16,0 0 0,0 1-16</inkml:trace>
  <inkml:trace contextRef="#ctx0" brushRef="#br1" timeOffset="56092.73">20042 5741 0,'13'-13'31,"-13"0"-31,14 13 16,-1 0-16,-13-13 0,13 13 15,0 0-15,14-13 16,-14 13-16,0 0 16</inkml:trace>
  <inkml:trace contextRef="#ctx0" brushRef="#br1" timeOffset="56382.42">20386 5596 0,'-13'0'0,"0"0"0,-1 0 15,1 0-15,0 0 16,13 13 0,0 0-16,0 1 0,0-1 15,0 0 1,0 0-16,0 1 0,13-1 15,-13 0-15,0 0 16,0 0-16,0 1 0,-13-1 16,0 0-16,0 0 0,-1 1 15,1-1-15,-13 0 16,12 0-16,-12 1 0,13-1 0,-14 0 16</inkml:trace>
  <inkml:trace contextRef="#ctx0" brushRef="#br1" timeOffset="56615.85">19659 6072 0,'66'-13'16,"-53"13"-16,119-13 15,-105-1-15,-1 14 0,14 0 16,-1-13-16,-12 13 0,13 0 15,-14-13-15,1 13 0,-1 0 0,0 0 16,-12 0-16,-1 0 0,0 0 0,0 0 16,-13 13-1</inkml:trace>
  <inkml:trace contextRef="#ctx0" brushRef="#br1" timeOffset="56853.5">19553 6178 0,'0'0'0,"-14"13"0,1-13 0,40 0 31,-14 0-31,13 0 0,1-13 16,26 13-16,-14 0 0,14 0 16,-13-13-16,13 13 0,0 0 0,-13-13 15,12 13-15,-12 0 0,-13 0 0,-1 0 16,-13 0-16,14 0 0,-14 0 15,0 0-15,0 0 0,1 0 0,-1 0 16,0 0-16,0 0 16</inkml:trace>
  <inkml:trace contextRef="#ctx0" brushRef="#br1" timeOffset="60749.28">19963 4286 0,'0'-13'0,"-13"0"15,-1 26-15,1-13 16,0 13-16,0 0 16,-1 1-16,14-1 0,-13 0 15,0 0-15,0 1 0,13 12 16,-13-13-16,-1 14 0,14-1 0,-13-13 16,13 14-16,0-1 0,0-12 0,0 12 15,0-13-15,0 14 0,0-14 16,13 0-16,-13 14 0,27-1 15,-27-13-15,13 1 0,0-1 16,0-13-16,1 13 0,-1 0 16,0-13-16,0 0 0,1 0 15,-1 0-15,0 0 0,0 0 16,0 0-16,1-13 0,-1 13 16,0 0-16,-13-13 0,13 13 0,1-13 15,-1-1-15,0 1 0,0 0 16,1 0-16,-14-1 0,13 1 15,-13 0-15,13 0 16,-13 0-16,13 13 0,-13-14 0,0 1 16,13 0-16,-13 0 0,0-1 0,0 1 15,14 13-15,-14-13 0,0 0 16,0-1-16,0 1 0,0 0 16,0-13-16,0 12 15,0 1-15,0 0 16,0 0-16,-14-1 15,14 1-15,-13 0 16,13 0-16,-13 13 0,13-14 16,-13 1-1,0 0-15,-1 13 16,14-13-16,-13 13 0,0 0 16,0-13-16,-1 13 15,1 0-15,0 0 0,0 0 16,-1 0-16,1 0 0,0 0 15,0 0-15,0 0 0,-1 13 16,1-13-16,0 0 0,0 13 0,-1-13 16,1 0-16,13 13 0,-13 0 0,0-13 15,13 14-15,-13-1 0,13 0 16,-14-13-16,14 13 0</inkml:trace>
  <inkml:trace contextRef="#ctx0" brushRef="#br1" timeOffset="61512.61">20095 3823 0,'-13'27'15,"13"-14"-15,-13 13 0,13-12 16,0 12-16,0 1 0,-14-14 15,14 13-15,0 1 0,0-1 16,0 1-16,0-14 0,-13 13 0,13-12 16,0 12-16,0-13 0,0 0 15,0 1-15,0-1 0,-13 0 0,13 0 16,0 1-16,0-1 0,0 0 16</inkml:trace>
  <inkml:trace contextRef="#ctx0" brushRef="#br1" timeOffset="61860.65">19963 4154 0,'13'40'16,"-13"-27"0,0 0-16,13-13 0,-13 13 15,13 1-15,1-1 16,-1 0-16,0-13 16,0 0-1,1 0-15,-1 0 16,-13-13-16,13 13 15,0-13 1,1 13 0,-1 0-16</inkml:trace>
  <inkml:trace contextRef="#ctx0" brushRef="#br1" timeOffset="63320.5">18111 4789 0,'13'26'0,"159"41"15,-119-41 1,13-13-16,0 0 0,0 1 0,14-1 16,-14-13-16,13 13 0,1-13 15,-1 0-15,0 0 0,-13-13 0,-13 13 16,14-13-16,-28 13 0,14-14 0,0 1 15,-13-13-15,-1 13 0,1-1 16,26-39-16,0 0 16,-39 14-16,-1-1 0,-12 0 0,12 1 15,-13-14-15,-13 13 0,13 0 16,-13-12-16,0 12 0,-13-26 16,-13 13-16,13 0 0,-27 0 0,13 0 15,-12 0-15,-14 0 0,0 14 0,-13-1 16,-14 0-16,1 14 0,0-1 15,-1 14-15,-12 0 0,-1 13 0,0 0 16,1 0-16,-40 26 0,26 1 0,-13-1 16,13 27-16,-13 0 0,13 0 15,0 13-15,13 0 0,1 0 0,-1 14 16,14-1-16,-1 0 0,14 1 0,13-1 16,1 1-16,25-14 0,14 0 0,0 0 15,13-13-15,13 13 16,13-13-16,14 0 0,0 0 0,13-13 15,26-14-15,14 14 0,-1-27 0,1-13 16</inkml:trace>
  <inkml:trace contextRef="#ctx0" brushRef="#br1" timeOffset="64216.28">21471 3982 0,'0'-13'15,"-27"-53"1,14 66-16,0-14 15,-13 1-15,12 0 0,-25 0 0,-1-1 16,0 14-16,-13-13 0,0 13 0,14 0 16,-27 13-16,13-13 0,-27 14 15,14-1-15,0 13 0,0-12 0,-13 12 16,12 1-16,1 12 0,0 1 0,13-14 16,0 14-16,14 0 0,-14-1 15,26 14-15,-13-13 0,14 13 0,13-13 16,0-1-16,13 1 0,-14 0 0,28-1 15,-1 1-15,0 13 0,13-13 16,14 13-16,0-14 0,26 1 16,-13 0-16,26-14 0,-13 14 0,40-14 15,-26-13-15,12 14 0,1-14 0,-14 0 16,27-13-16,-13 0 0,-14 0 16,14 0-16,-1 0 0,1-13 0,-14 0 15,1-14-15,-1 14 0,-13-13 0,0-1 16,0 1-16,1-1 0,-1-12 15,0-1-15,-13 0 0,13 1 16,-13-1-16,0 0 0,-14 1 0,1-14 16,-13 13-16,-1-13 0,-13 0 0,-13 13 15,-13-26-15,0 13 0,-14 1 0,-12-1 16,-1 0-16,-13 0 0,0 13 16,-26-13-16,-14 13 0,1 1 0,-1 26 15,14-1-15,-107-12 16,94 13-16,-80 13 0,92 13 15,1 0-15,13 0 0,-13 1 0,26 12 16,-14-13-16,15 27 0,-1-14 16,0 1-16,13-1 0</inkml:trace>
  <inkml:trace contextRef="#ctx0" brushRef="#br1" timeOffset="69707.38">17912 8017 0,'66'-13'0,"-52"26"0,-1-13 0,0 0 0,0 13 15,1-13-15,-1 0 0,-13 13 16,0 1-16,13-14 0,-26 13 0,13 0 16,0 0-16,-13 0 0,-1-13 0,1 14 15,0-1-15,0 0 0,13 0 16,-14-13-16,14 14 0,-13-14 15,13 13-15,13 0 0,1 0 16,-1-13-16,-13 14 16,13-1-16,0-13 0,1 13 0,-14 0 15,13 0-15,0 1 0,-13-1 16,0 0-16,0 0 0,-13 1 16,0-1-16,-1 0 15,1 0-15,-13-13 0,12 14 16,-38-1-16,25 0 0,-13 0 15,27-13-15,0 13 0,0-13 16,-1 0-16,1 0 0</inkml:trace>
  <inkml:trace contextRef="#ctx0" brushRef="#br1" timeOffset="70553.32">19169 8057 0,'-26'13'31,"12"-13"-31,-12 13 0,13 0 0,-14 0 16,14-13-16,-13 14 0,12-1 0,-12 0 16,13 0-16,-1 1 15,1-1-15,0 0 0,0 0 0,-1-13 16,14 14-16,-13-1 0,13 0 0,0 0 15,13 0 1,1-13-16,-1 0 0,0 0 16,0 14-16,14-14 0,-14 0 0,14 0 15,-1 0-15,0 0 0,1 0 16,-1 0-16,-12-14 0,12 14 0,1 0 16,-14 0-16,0 0 0,0-13 0,0 13 15,1 0-15,-14-13 0,13 13 0,-13-13 16</inkml:trace>
  <inkml:trace contextRef="#ctx0" brushRef="#br1" timeOffset="70751.42">19143 8083 0,'-14'26'0,"28"-52"0,-28 66 16,1-27-16,13 13 0,0-12 0,-13 12 15,13-13-15,0 14 0,-13 26 16,-1 13-16,1-13 16,13-40-16,0 0 15,-13 14-15,13-14 0,0 0 0,0 0 16,13-13-16,-13 14 0,13-14 0</inkml:trace>
  <inkml:trace contextRef="#ctx0" brushRef="#br1" timeOffset="71496.8">20413 8043 0,'26'0'0,"1"0"15,-14 0 1,-40 0 15,14 14-15,-13-14-16,-1 13 0,-13-13 15,27 13-15,0-13 0,0 13 16,13 0 0,13 1-1,0-14-15,0 13 0,1 0 0,12 0 16,-13-13-16,1 14 0,12-1 0,-13-13 16,1 13-16,-14 0 0,13-13 15,-13 14-15,0-1 0,0 0 16,-13 0-16,-1-13 0,-12 13 15,-1 1-15,1-1 0,-14 0 16,14 0-16,-1-13 0,1 14 0,13-14 16,-1 13-16,1-13 0,0 0 0</inkml:trace>
  <inkml:trace contextRef="#ctx0" brushRef="#br1" timeOffset="72331.98">21775 7990 0,'-39'0'31,"25"14"-31,1-1 0,0 0 16,0 14-16,-14 12 0,14 1 15,0-14-15,-1 1 0,14-1 16,-13-12-16,26 12 0,-13-13 0,0 14 15,14-14-15,-1 0 0,-13 0 0,13 1 16,0-1-16,1-13 0,-1 13 16,0-13-16,0 0 0,1 0 0,-14-13 31,-14 0-31,1-1 16,0 14-16,-14-13 0,14 13 15,0-13-15,-14 13 16,1-13-16,13 13 0,0 0 15,-1 0-15</inkml:trace>
  <inkml:trace contextRef="#ctx0" brushRef="#br1" timeOffset="72968.28">22688 7885 0,'-13'0'16,"39"0"15,-13 13-15,1-13-16,-1 0 0,13 0 16,-12 0-16,-1 0 0,0 0 15,0 0-15,1 0 0,-1 0 0,0 0 16,0 0-16,-13 13 15,13-13-15,1 13 16,-14 1-16,0-1 16,-14 0-16,14 0 0,0 0 0,0 1 15,0 12-15,-13-13 0,13 14 16,0-14-16,0 0 0,-13 14 0,13-14 16,0 13-16,0-12 0,0 12 0,0-13 15,0 1-15,0-1 0,0 0 16,0 0-16,0 0 0,0 1 15,13-14-15,-13 13 0,13 0 16</inkml:trace>
  <inkml:trace contextRef="#ctx0" brushRef="#br1" timeOffset="73152.88">22635 8202 0,'53'0'16,"-27"0"-16,-12 0 0,12 0 0,54-13 15,-41 13 1,1 0-16,-14 0 0,14 0 0,-13 0 16,-1 0-16,0 0 0,1-13 0,-14 13 15,0 0-15</inkml:trace>
  <inkml:trace contextRef="#ctx0" brushRef="#br1" timeOffset="74104.23">19870 8440 0,'-13'13'15,"26"14"1,-13-14-16,0 0 0,0 14 16,0-1-16,-13 27 0,13-13 0,0 0 15,0 12-15,0 1 0,-13 0 0,13 0 16,0-13-16,-13 0 0,13 13 16,0-14-16,-14-12 0,14-1 0,0 1 15,0-1-15,-13-13 0,13 1 0,0-1 16,0 0-16,0 0 0,-13-13 15,0-13 1,13 0 0,-14 0-16,14-1 0,0 1 15</inkml:trace>
  <inkml:trace contextRef="#ctx0" brushRef="#br1" timeOffset="74853.5">19910 8427 0,'-13'0'16,"-1"13"0,1 0-1,0 1-15,13-1 0,-13 0 0,0-13 16,-1 13-16,1 1 0,13-1 0,-13 0 15,0 0-15,-1 0 0,14 1 16,-13-14-16,0 13 0,13 0 0,-13 0 16,13 1-1</inkml:trace>
  <inkml:trace contextRef="#ctx0" brushRef="#br1" timeOffset="75056.14">19831 8453 0,'39'53'31,"-39"-39"-31,13-14 0,-13 13 16,14 0-16,-14 0 0,13 0 0,0-13 15,0 14-15,-13-1 0,14 0 0,-1-13 16,0 13-16,0 1 0,0-1 15,1-13-15</inkml:trace>
  <inkml:trace contextRef="#ctx0" brushRef="#br1" timeOffset="75707.3">19420 9882 0,'0'0'15,"14"-13"-15,-41 39 32,14-12-17,0-14-15,13 13 16,-13 0-16,-1-13 0,14 13 0,-13 1 15,0-1-15,0 0 16,-1 0-16,14 0 31,0 1-15,14-14-16,-1 0 16,0 0-16,0 0 0,1 0 15,-1 0-15,0 0 0,0 0 0,0 0 16,1 0-16,-1 0 0,0 0 0,0 0 15,1-14-15,-1 14 16</inkml:trace>
  <inkml:trace contextRef="#ctx0" brushRef="#br1" timeOffset="75947.36">19473 9856 0,'-13'53'32,"13"-40"-17,0 0-15,0 0 0,0 1 0,0 12 16,0-13-16,0 0 0,0 14 0,-13-14 16,13 0-16,0 1 15,0-1-15,0 0 0,0 0 0,0 1 16,0-1-16,0 0 0,0 0 15</inkml:trace>
  <inkml:trace contextRef="#ctx0" brushRef="#br1" timeOffset="76116.67">19632 10014 0,'0'-13'0</inkml:trace>
  <inkml:trace contextRef="#ctx0" brushRef="#br1" timeOffset="76571.89">19725 9882 0,'13'0'0,"0"0"0,14 0 31,-14 13-31,0-13 15,0 0-15,-13 14 16,14-1-16,-14 0 16,0 0-1,0 1-15,0-1 0,0 0 16,0 0-16,-14 0 0,14 1 0,0-1 16,0 0-16,0 0 15,0 1-15,0-1 0,0 0 16,0 0-16,0 1 15,14-14 1</inkml:trace>
  <inkml:trace contextRef="#ctx0" brushRef="#br1" timeOffset="76820.62">19751 10028 0,'40'0'32,"-40"-14"-32,26 14 0,-12 0 15,-1 0-15,0 0 16,13 0-1,-12-13-15,-1 13 16</inkml:trace>
  <inkml:trace contextRef="#ctx0" brushRef="#br1" timeOffset="77188.8">20135 9922 0,'-27'13'32,"14"-13"-32,0 13 0,0-13 15,-1 0-15,14 14 16,-13-14-16,13 13 0,-13-13 15,13 13-15,13 0 16,-13 0 0,13 1-1,-13-1-15,14 0 16,-14 0 0,-14 1-16,1-1 15,0 0-15,0-13 16,-1 0-16,1 13 0,0-13 15,0 0-15,0 14 0,-1-14 0</inkml:trace>
  <inkml:trace contextRef="#ctx0" brushRef="#br1" timeOffset="77752.63">19275 9842 0,'-27'27'16,"-12"132"-1,39-133 1,13 14-16,-13-14 0,13 1 16,0 12-16,1-12 0,12-1 0,-13-12 15,14 12-15,-1-26 0,1 13 0,12-13 16,-12 14-16,13-14 0</inkml:trace>
  <inkml:trace contextRef="#ctx0" brushRef="#br1" timeOffset="78077.28">20161 9790 0,'13'13'0,"-13"0"0,27 13 16,-27-12-16,13 12 0,-13-13 16,0 14-16,0-14 0,0 14 15,-13 12-15,0-12 0,-1 12 0,1-12 16,0-1-16,0 1 0,-14-1 0,1 1 15,13-14-15,-1 13 0,1-12 16,0-1-16,-14 0 0</inkml:trace>
  <inkml:trace contextRef="#ctx0" brushRef="#br1" timeOffset="78984.16">19566 10623 0,'0'0'0,"-27"13"0,14 0 16,0-13-16,0 14 0,0-1 16,-1 0-16,1 0 0,13 1 0,-13-1 15,0 0-15,13 0 0,-14 14 16,1-14-16,13 0 0,0 0 15,0 1-15,0 12 16,0-13-16,13-13 16,1 14-16,-1-14 15,0 0-15,0 0 16,1 0-16,-1 0 16,0 0-16,0-14 0,0 14 15,1-13-15,-1 13 0,-13-13 16,13 13-16,0-13 0,-13-1 15,14 1-15,-14 0 16,13 13-16,-13-13 16,-13 26 46,13 0-46,13 0-16,0-13 15,0 14 1,1-14 0,-1 0-16,0 0 15,0 0-15,0 0 16,1 0-16,-1 13 16,0-13-1,0 13-15,1-13 16,-1 0-16,0 0 31,14 0-31,-14 0 16,0-13-16,13 13 15,-12 0-15,-1 0 0</inkml:trace>
  <inkml:trace contextRef="#ctx0" brushRef="#br1" timeOffset="79087.31">19989 10861 0,'13'0'16</inkml:trace>
  <inkml:trace contextRef="#ctx0" brushRef="#br1" timeOffset="80430.27">20585 7938 0,'0'-14'31,"-14"1"-31,1 13 0,13-13 0,-13 13 16,0-13-16,-1 13 16,1 0-16,-13 0 0,13 0 15,-1 0-15,1 0 0,-13 13 16,-1-13-16,1 13 0,-1 0 0,-12 1 15,12 12-15,1 0 0,-1-12 0,14 12 16,-14 1-16,14-1 0,-13 0 16,13 14-16,-1-13 0,1-1 0,13 1 15,-13-1-15,13 0 0,0-12 16,0 12-16,0 1 0,13-1 0,-13-13 16,13 14-16,1-1 0,-1 1 15,13-14-15,-13 0 0,14 0 0,-14 1 16,14-1-16,12 0 0,-12 0 0,12-13 15,-12 13-15,-1-13 0,14 0 16,-13 0-16,-14 0 0,26 0 0,-12-13 16,-1 13-16,-12-13 0,12 13 0,1-13 15,-14 0-15,13 13 16,-13-14-16,14 1 0,-14-13 0,0 12 0,1 1 16,-1-13-16,-13 13 0,13-14 15,0 14-15,-13-14 0,13 1 0,-13 13 16,0-14-16,0 14 0,0-13 15,0 12-15,0-12 0,-13 13 0,13-14 16,-13 1-16,0 12 0,0-12 0,-14 0 16,1-1-16,-1 14 0,1-14 15,-1 14-15,1-13 0,-14 13 0,14 13 16,-1-14-16,1 14 0,-1-13 0,1 13 16,-1 0-16,1 13 0,-1-13 15,1 14-15,0-1 0,-14 13 0,13 1 16,14-1-16,-13 1 0,12-14 0,1 26 15</inkml:trace>
  <inkml:trace contextRef="#ctx0" brushRef="#br1" timeOffset="81587.47">17926 8705 0,'39'0'15,"186"-27"1,-159 14-16,14 13 16,-14-13-16,0 13 0,0-13 0,0-1 15,0 14-15,-13-13 0,13 13 16,-13 0-16,-13-13 0,13 13 0,-27 0 16,1-13-16,-1 13 0,-12 0 0,-1 0 15,0 0-15,-53 13 31,14-13-31,-1 0 16,-26 13-16,14-13 0,-14 0 0,-13 13 16,-14 1-16,14-14 0,-13 13 15,-1 0-15,1-13 0,0 13 0,-1 1 16,1-1-16,13 0 0,0-13 0,13 13 16,0-13-16,26 13 0,1-13 0,13 0 15,13 14-15,26-14 16,14 0-16,0 0 15,26 13-15,13-13 0,0-13 16,1 13-16,-1 0 0,1 0 16,-14 0-16,13-14 0,-26 14 0,0 0 15,0-13-15,0 13 0,-27 0 0,14 0 16,-27 0-16,14-13 0,-14 13 16,13 0-16,-13 0 0,-52 0 31,26 0-31,-14 0 15,14 0-15,-14 0 0,1 0 0,-1 13 16,1-13-16,13 0 0,0 0 0</inkml:trace>
  <inkml:trace contextRef="#ctx0" brushRef="#br1" timeOffset="82326.98">21894 8572 0,'80'-13'0,"-160"26"0,213-26 16,-67 13-16,26 0 0,-12 0 0,12-13 15,14 13-15,-13 0 0,13-13 0,-1 13 16,-12-13-16,0 13 0,12 0 15,-25-14-15,-1 14 0,1-13 0,-28 13 16,1 0-16,-26 0 0,-1-13 0,-12 13 16,-67 13-1,0-13-15,-13 13 16,-27 1-16,0-1 0,-26 0 0,-13 0 16,-14 0-16,14 14 0,-13-14 0,12 0 15,-12 14-15,13-14 0,13 0 16,26 1-16,14-14 0,-1 13 0,14 0 15,26 0-15,14-13 0,13 13 0,-1-13 16,54 0-16,13 0 16,26-13-16,14 13 0,39-13 15,1 0-15,12 13 0,-13-13 0,14 13 16,-14-14-16,14 14 0,-54-13 16,14 13-16,-13 0 0,-14-13 15,1 13-15,-28 0 0,1 0 0,-26 0 16,-1 0-16,-13 13 0,1-13 0,-41 13 15,1-13 1,-14 0-16</inkml:trace>
  <inkml:trace contextRef="#ctx0" brushRef="#br1" timeOffset="83208.05">20426 8612 0,'0'0'16,"0"13"-16</inkml:trace>
  <inkml:trace contextRef="#ctx0" brushRef="#br1" timeOffset="101272.49">6218 2368 0,'344'-66'0,"-252"53"0,14-1 0,13 1 16,-13-13-16,13 12 0,-26 1 15,-1 0-15,27-13 0,-26 12 0,13 1 16,-14 0-16,1 0 0,-14-1 0,1 14 16,-1-13-16,-26 0 0,-13 13 15</inkml:trace>
  <inkml:trace contextRef="#ctx0" brushRef="#br1" timeOffset="101532.57">6191 2633 0,'119'-27'0,"-238"54"0,318-80 15,-120 39-15,27-12 0,0 0 0,13-1 16,0 14-16,-13-14 0,-14 14 0,1 0 16,-1 0-16,1-1 0,0 1 15,13 0-15,-27 0 0,14 0 0,-14-1 16,0 14-16,1-13 0,-14 0 0,0 13 16,-13-13-16,0 13 0,-14 0 15,1-14-15,-13 14 0,-1 0 0</inkml:trace>
</inkml:ink>
</file>

<file path=ppt/ink/ink15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42:43.357"/>
    </inkml:context>
    <inkml:brush xml:id="br0">
      <inkml:brushProperty name="width" value="0.05292" units="cm"/>
      <inkml:brushProperty name="height" value="0.05292" units="cm"/>
      <inkml:brushProperty name="color" value="#0070C0"/>
    </inkml:brush>
  </inkml:definitions>
  <inkml:trace contextRef="#ctx0" brushRef="#br0">15769 1892 0,'0'-40'0,"0"27"31,0 0-31,27 39 16,-27 1-16,13 12 15,-13 1-15,0 0 0,13 13 0,-13 13 16,0 0-16,0 13 0,0-13 0,-13 0 16,13 1-16,0-1 0,-13 0 15,13 0-15,0-13 0,0-13 0,-14 13 16,14-14-16,0-12 0,0-1 0,0 1 15,0-14-15,0 13 0,0-12 16,0-1-16,0 0 0,0 0 0,-13-13 16</inkml:trace>
  <inkml:trace contextRef="#ctx0" brushRef="#br0" timeOffset="2094.48">15822 1812 0,'13'0'15,"1"0"1,-1 0-16,0 0 0,13 0 0,1 0 16,-1 0-16,1 0 0,13 0 15,12 0-15,1 0 0,0 0 0,0 0 16,27 0-16,-1 0 0,-13-13 0,13 13 15,-12 0-15,12 0 0,0-13 16,1 13-16,12 0 0,-12-13 0,-1 13 16,14-14-16,-14 14 0,14-13 15,-1 13-15,1-13 0,-1 13 0,1-13 16,0 0-16,-1 13 0,1-14 16,13 14-16,-14-13 0,1 13 0,0 0 15,-1-13-15,14 13 0,-13 0 16,12 0-16,-12-13 0,0 13 0,-1 0 15,1 0-15,-1-14 0,1 14 0,13 0 16,-14 0-16,1 0 0,0 0 16,-1-13-16,1 13 0,-1 0 15,1 0-15,0 0 0,-1 0 0,-12 0 0,12 0 16,1 0-16,0 0 0,-14 0 0,13 0 16,1 0-16,0 0 15,-1 0-15,1 0 0,-1 13 0,-12-13 0,26 0 16,-14 0-16,1 0 0,0 0 15,-14 14-15,14-14 0,-1 0 16,1 13-16,-1-13 0,1 13 0,0-13 16,-14 0-16,0 13 0,14-13 0,-14 0 15,14 14-15,-14-14 0,1 0 16,-1 13-16,0-13 0,1 0 0,-14 0 16,13 0-16,-26 13 0,27-13 0,-28 0 15,15 0-15,-14 0 0,-1 0 0,1 0 16,0 0-16,-13 0 0,0 0 15,-1 0-15,1 0 0,-14 0 0,14 0 16,-13 0-16,-1 0 0,1 0 16,-14 0-16,13 0 0,-13-13 0,1 13 15,-1 0-15,0 0 0,0 0 16,1 0-16,-1 0 0,0 0 16,0 0-16,1 0 15,-14 13-15,13-13 16,0 0-16,0 13 15,-13 0-15,13 1 16,-13-1-16,0 0 0,14 14 0,-14-1 16,0 1-16,13-1 0,-13 0 15,13 14-15,-13 0 0,13 0 16,1-1-16,-14-12 0,13 12 0,-13 1 16,13 0-16,0-14 0,-13 14 0,14 0 15,-14-14-15,13 14 0,-13-14 16,13 1-16,-13 12 0,13-12 0,0 12 15,-13-12-15,14-1 0,-14 1 0,13-1 16,-13 1-16,0-14 0,13 13 16,-13 1-16,13-14 0,-13 14 15,14-14-15,-14 13 0,0-12 0,13 25 16,0-26-16,-13 1 0,0-1 16,13 0-16,-13 0 0,0 1 15,13-1-15,-13 0 16,-13 13-1,0-26 1,0 14-16,0-14 0,-1 0 16,-12 13-16,13-13 0,-14 0 0,1 0 15,-1 0-15,-12 13 0,12-13 0,-26 0 16,14 13-16,-14-13 0,13 0 16,-13 0-16,0 0 0,0 0 0,0 0 15,-13 0-15,13 14 0,-13-14 16,0 0-16,-13 0 0,-1 0 0,1 0 15,-1 0-15,1 0 0,0 0 16,-1 0-16,1 13 0,-80-13 16,80 0-16,-14 0 0,14 0 0,-1 0 15,-12 0-15,12 0 0,1 0 16,0-13-16,-14 13 0,14 0 0,-1 13 16,-12-13-16,12 0 0,1-13 0,-14 13 15,14 0-15,0 0 0,-1 0 16,-12 0-16,12 0 0,14 0 0,-13 0 15,-1 0-15,14 0 0,-13 0 0,-1 0 16,1 0-16,13 0 0,0 0 16,-14 0-16,28 0 0,-15 0 15,14-14-15,-13 14 0,13 0 0,-13 0 16,13 0-16,-13 0 0,13 0 0,-13 0 16,0 0-16,13 0 0,-13 14 15,13-14-15,-13 0 0,-14 0 0,28 0 16,-28 0-16,27 0 0,-13 0 15,-13 0-15,26 0 0,-13 0 0,13 0 16,-13 0-16,13 0 0,-13 0 0,13 13 16,-14-13-16,1 0 0,0 0 15,0 0-15,13 0 0,-13 0 0,13 0 16,-13 0-16,13 0 0,-13 0 16,13 0-16,-13 0 0,13 0 0,0 0 15,0 0-15,0 0 0,13 0 0,1 0 16,12-13-16,-12 13 0,12 0 15,1 0-15,-1 0 0,1 0 0,-1 0 16,14 0-16,-13-14 0,-1 14 0,14 0 16,-14 0-16,1 0 0,0 0 15,-1 0-15,1 0 0,-1 0 16,1 0-16,-40 0 0,39 0 0,1 0 16,-1 0-16,1 0 0,-1 0 15,-12 0-15,12 0 0,1 0 0,-1 14 16,14-14-16,-13 0 0,-1-14 15,1 14-15,-1 0 0,1 0 0,13 0 16,-14 0-16,1 0 0,-1 0 16,1 0-16,-1 0 0,1 0 0,-1 0 15,14 0-15,-13 0 0,-1 0 0,14-13 16,-14 13-16,14 0 0,-13 0 16,13 0-16,-1 0 0,1 0 0,-13 0 15,12 0-15,1-13 0,0 13 0,0 0 16,-1 0-16,1 0 0,-26 0 15,25 0-15,1-13 0,0 13 16,0 0-16,-1 0 0,1 0 0,-13 0 16,12 0-16,1 0 15,0 0-15,0 0 0,0 13 16,-1-13-16,1 0 0,0 0 0,-14 0 16,14 13-16,-13-13 0,13 0 0,-14 0 15,14 13-15,-14-13 0,1 0 16,13 0-16,-1 0 0,1 0 0,0 0 15,13-13-15</inkml:trace>
  <inkml:trace contextRef="#ctx0" brushRef="#br0" timeOffset="3368.54">18481 1733 0,'-13'-13'0,"13"-27"31,0 14-31,0 12 0,-13-12 0,13-14 16,0 1-16,-14-1 0,14 0 0,-13 1 0,13-1 16,-13 0-16,13 0 0,0 14 15,0 13-15,-13-14 0,13 14 16,0-13-16,0 12 0,0 1 0,0 0 15,0 0-15,13-1 16,0 28 0,0-1-16,1 0 0,12 14 15,1-1-15,-1 1 0,1-1 0,-14 0 16,40 27-16,-27-26 16,1-1-16,-14 1 0,13-1 15,-13-13-15,1 14 0,-1-14 0,0 0 16,-13 1-16,13-1 0,-13 0 15,0 0-15,-13-13 16,0 0-16,0 0 16,-1 14-16,1-14 0,-13 0 15,-1 0-15,1 0 0,-1 0 0,-12 0 16,12 0-16,-12-14 0,12 14 0,-13 0 16,14 0-16,0 0 0,-1 0 0,14 0 15,-14 0-15,14 0 0,0-13 0,0 13 16,-1 0-16,14-13 15,0 0 1,14-1-16,-1 1 0,13 13 16,-12-26-16,25 12 15,-12-12-15,-1 13 0,1-14 0,12 1 16,1-1-16,-13 1 0,12-1 0,-12 1 16,-1 0-16,1 12 0,-1-12 15,0-1-15,-12 14 0,-1 0 0,0 0 16,0-1-16,1 14 0,-1-13 0,-13 0 15,13 13-15,-13-13 0,13 13 0,-13-13 16,14 13 0,-14 13-1,-14 13 1,14-13-16,0 1 16,-13-1-16,0 0 0,0 14 15,-1-1-15,1 1 0,0-1 0,-14 27 16,14-27-16,0 1 0,-13 13 15,12-27-15,1 13 16,13 1-16,-13-14 0,0 0 0,-1 14 16,14-14-16,-13 0 0,0 0 0,13 1 15,-13-1-15,0 0 0,13 0 16,0 0-16,-14 1 0,14-1 0,-13 0 16,13 0-16,-13 1 0,13-1 15,0 0-15,-13 0 16,13 0-16,0 1 15,0-1 1</inkml:trace>
  <inkml:trace contextRef="#ctx0" brushRef="#br0" timeOffset="10248.67">24090 3069 0,'-13'0'0,"0"40"31,26-27-31,-13 14 0,13-14 16,-13 13-16,14 1 0,12-1 0,-13 14 15,0-14-15,14 14 0,-14 0 16,14-14-16,-1 14 0,-13-14 0,14 14 16,-14 0-16,13-1 0,-12 1 0,-1 0 15,13-1-15,-26 1 0,14 13 0,-1-13 16,-13 13-16,0-14 0,13 1 16,-13 13-16,0-13 0,0 13 0,0-14 15,0 14-15,13-13 0,-13 13 0,0-14 16,14 14-16,-14 0 0,13 0 15,-13-13-15,13 13 0,-13-14 0,0 14 16,0-13-16,0 13 0,0-13 16,0 13-16,-13-1 0,0 15 15,-1-14-15,14 13 0,-26-13 0,13 0 16,-1 13-16,1-13 0,0 0 0,0-1 16,-1 1-16,-12 13 0,13-13 0,0-13 15,-1 13-15,1 0 0,0-13 16,0 13-16,-1-14 0,1 14 0,0 0 15,0-13-15,-1-1 0,1 1 0,0 0 16,0-1-16,0 14 0,13-13 16,-14 0-16,1-1 0,0-12 0,0 13 15,-14-1-15,14-12 0,0 12 16,-1-12-16,-12-1 0,13 14 16,-14-13-16,14-1 0,-13 0 0,-1 1 15,1-14-15,-1 14 0,1-1 0,-1 0 16,1-12-16,-14 12 0,14 1 15,-14-14-15,0 13 0,-13 1 0,14-1 16,-14-13-16,0 14 0,-13-1 0,13 1 16,-13-14-16,0 14 0,13-1 0,-13-13 15,-1 14-15,1-1 0,-13-13 16,13 14-16,-14-14 0,1 13 16,13-12-16,-14 12 0,1-13 0,0 1 15,-1 12-15,1-13 0,-14 14 16,14-14-16,-14 0 0,1 14 0,12-14 15,-12 0-15,-1 0 0,1 14 0,-1-14 16,14 0-16,-14 1 0,14-1 0,-1 0 16,-12 0-16,12 0 0,1 1 15,0-1-15,-1 0 0,1 0 0,-1 1 16,14-1-16,-13 0 0,13 0 0,-14 1 16,1-1-16,0 0 0,12 0 15,-12 0-15,0 1 0,13-1 0,-14 0 16,14 14-16,-13-27 0,13 13 0,-1 0 15,1 0-15,13 1 0,0-14 0,0 13 16,1 0-16,12-13 0,-13 13 16,13 0-16,1-13 0,-1 14 15,-13-14-15,13 13 0,14-13 0,-1 13 16,1-13-16,-14 0 0,14 13 16,-1-13-16,14 0 0,-13 14 0,12-14 15,-12 0-15,13 0 0,-1 13 0,1-13 16,0 0-16,0 0 0,0 0 0,-1 0 15,1 13 1,0-13-16,0 0 16,-1 0-16,14 13 0,-13-13 15,0 0 1,13 13-16,-13-13 0,-1 0 16,14 14-16,-13-14 15,0 0-15,0 13 16,0-13-1,-1 0-15,1 13 16,0-13 0,0 13-1,-1-13 1,1 0 15,0 0 0</inkml:trace>
  <inkml:trace contextRef="#ctx0" brushRef="#br0" timeOffset="10799.44">18137 7938 0,'-13'0'47,"0"13"-47,0 0 16,-1-13-16,14 13 0,-13 0 15,0 1-15,0-1 0,13 0 0,-14 0 16,1 1-16,0-1 0,13 0 0,-13 0 16,-1 0-16,14 1 0,-13-1 15,13 0-15,-13 14 0,0-14 16,13 0-16,0 0 15,-13 1-15,13-1 16,0 0-16,0 0 16,0 0-1,13-13-15,-13 14 16,13-14-16,-13 13 0,13-13 16,0 13-16,1 0 15,-1-13-15,0 14 0,0-1 16,14-13-16,-14 13 0,0-13 15,14 13-15,-1-13 0,1 14 0,-1-1 16,1-13-16,-1 13 0,0-13 16,1 13-16,-1-13 0,1 13 0,-1-13 15,-12 0-15,12 14 0,-13-1 0,0-13 16,-13 13-16,14-13 0,-14 27 16,-14-14-16</inkml:trace>
  <inkml:trace contextRef="#ctx0" brushRef="#br0" timeOffset="16412.48">19315 9816 0,'13'0'0,"-53"13"16,27-13 0,0 0-16,-1 0 15,1 0-15,-13 0 0,-1 13 0,1-13 16,-1 0-16,1 0 0,-14 0 0,-13 0 16,14 0-16,-14 14 0,13-14 15,-13 0-15,13 13 0,1-13 0,-1 0 16,0 13-16,14-13 0,-1 0 0,1 13 15,0-13-15,-1 0 0,14 14 0,-14-14 16,14 0-16,0 13 0,0-13 16,-1 0-16,1 13 0,0-13 15,0 0-15,0 13 0</inkml:trace>
  <inkml:trace contextRef="#ctx0" brushRef="#br0" timeOffset="16696.39">18468 9684 0,'-40'0'0,"80"0"0,-106 13 15,53-13-15,-1 13 0,-12 0 16,-1 1-16,1-1 0,-1 13 0,1-12 15,13-1-15,0 0 0,-1 0 0,14 0 16,-13 1-16,13-1 0,-13 0 16,13 0-16,0 1 0,13-1 0,-13 0 15,13 0-15,14 1 0,-14-1 16,0 0-16,14-13 0,-1 0 0,14 13 16,-14-13-16,1 0 0,12 0 15,14 0-15,-13 0 0,13 0 0,-13-13 16</inkml:trace>
  <inkml:trace contextRef="#ctx0" brushRef="#br0" timeOffset="16925.41">19844 9671 0,'13'-14'31,"-39"41"-31,12-14 0,14 0 0,-13 0 0,0 1 16,0-1-16,13 13 15,-14-12-15,1 12 0,13-13 0,-13 14 16,13-14-16,0 0 0,0 0 0,0 1 16,0-1-16,0 0 0</inkml:trace>
  <inkml:trace contextRef="#ctx0" brushRef="#br0" timeOffset="17233.25">20069 9684 0,'0'0'0,"-14"0"0,1 0 0,0 0 16,13 13-16,-13 0 0,-1 0 0,1 1 15,13-1-15,-13 0 0,13 0 16,0 1-16,13-1 0,-13 13 0,13-13 15,1 1-15,12-14 0,-13 13 0,14 0 16,-1-13-16,-12 0 0,12 13 0,-13-26 16,14 13-16,-14 0 0,0-13 15,0 13-15,1-13 0,-14-1 0,0 1 16,0 0-16,0 0 0,0 0 0,-14-1 16,14 1-16,-13 0 0,0 13 15,0-13-15,-1-1 0,1 14 0,0 0 16,0 0-16,0 0 0,-1 0 15,1 0-15,0 0 0,0 0 16</inkml:trace>
  <inkml:trace contextRef="#ctx0" brushRef="#br0" timeOffset="17452.54">20717 9591 0,'-40'53'16,"27"-26"-1,0-14-15,-14 13 0,1 1 16,13-1-16,-14 14 0,1-14 0,-14 14 16,27-14-16,0-12 0,-1-1 15,1 0-15,0 0 0,13 1 0,-13-1 16,13 0-16</inkml:trace>
  <inkml:trace contextRef="#ctx0" brushRef="#br0" timeOffset="18076.5">20545 9671 0,'0'0'16,"-13"-14"-16,-1 14 15,1 14-15,0-14 16,0 0-16,0 13 0,-1 0 0,1 0 16,0 0-16,0 1 0,-1-1 15,1 0-15,0 0 0,0 1 0,13-1 16,-14 0-16,14 0 0,14 0 16,-14 1-16,13-14 15,0 0-15,0 13 0,1-13 16,-1-13-16,0 13 0,0 0 0,1-14 15,-1 1-15,0 13 16,-13-13-16,13 0 0,-13 0 0,0-1 16,0 1-16,0 0 15,-13 0-15,13-1 16,-13 14-16,13-13 0,-13 13 0,13-13 16,-14 13-16,1 0 0,0 0 15,0 0-15,-1 0 16</inkml:trace>
  <inkml:trace contextRef="#ctx0" brushRef="#br0" timeOffset="18372.5">20677 9842 0,'0'14'15,"-13"-14"1</inkml:trace>
  <inkml:trace contextRef="#ctx0" brushRef="#br0" timeOffset="20104.55">7752 10530 0,'-39'14'16,"25"-14"-16,1 13 15,0-13-15,0 13 0,-14 0 16,1 14-16,-1-14 0,-12 13 16,12 1-16,-13-1 0,-12 1 0,12-1 0,0-12 15,0 12-15,14 0 0,-14-12 16,14 12-16,-1-13 0,1 14 15,13-14-15,0 0 0,-1-13 0,1 14 16,0-14-16</inkml:trace>
  <inkml:trace contextRef="#ctx0" brushRef="#br0" timeOffset="20652.57">7078 10821 0,'-27'53'0,"54"-106"0,-67 120 16,27-28-16,-1-12 0,1 12 15,0 1-15,0-13 0,0 25 0,-1-25 16,14 13-16,0-14 0,-13 1 0,26-1 16,-13 0-16,14-12 0,-1-1 15,13 0-15,14 14 0,0-27 0,-1 13 16,14-13-16</inkml:trace>
  <inkml:trace contextRef="#ctx0" brushRef="#br0" timeOffset="21295.57">15862 10504 0,'26'13'0,"40"27"31,-52-40-31,12 13 0,1 0 16,-14 1-16,13-1 0,-13 0 0,14 0 15,-14 0-15,14 1 0,-14-1 0,0 0 16,0 0-16,0-13 0,1 14 0,-1-1 16</inkml:trace>
  <inkml:trace contextRef="#ctx0" brushRef="#br0" timeOffset="21515.46">16351 10544 0,'13'0'15,"-26"0"-15,40 0 16,-14 13-16,0 0 16,-13 0-16,13 1 15,1 12-15,-14-13 0,13 14 16,-13-14-16,13 13 0,-13-12 0,0 12 15,13-13-15,-13 14 0,0-14 0,0 0 16,-13 14-16,13-14 0,0 0 16,-13 0-16,0 14 0,-1-14 15,-12 0-15,13 1 0,-14-1 0</inkml:trace>
  <inkml:trace contextRef="#ctx0" brushRef="#br0" timeOffset="23316.29">14724 6773 0,'-13'-26'31,"13"52"-15,0-12-1,0-1-15,-13 0 0,13 0 16,0 14-16,0-14 0,0 13 0,0-12 16,-14 12-16,14 1 0,0-14 0,0 13 15,0-13-15,0 14 0,0-14 16,0 0-16,0 1 0,0-1 0,0 0 16,-13 0-16,13 1 0,0-1 0,0 0 15</inkml:trace>
  <inkml:trace contextRef="#ctx0" brushRef="#br0" timeOffset="23648.28">14592 7025 0,'0'0'0,"0"13"46,0 0-30,0 0-16,13 1 0,-13-1 0,0 0 16,0 0-16,0 1 15,13-1-15,-13 0 0,0 0 16,13-13-16,-13 13 0,0 1 16,14-14-1,-1 13-15,0-13 16,0-13-16,1 13 15,-1 0-15,0-14 0,0 14 16,1-13-16,-1 13 0,0-13 0,0 0 16,0 13-16,14-13 0,-14 13 15,0 0-15,1-14 0,-1 14 0</inkml:trace>
  <inkml:trace contextRef="#ctx0" brushRef="#br0" timeOffset="24629.45">9459 6892 0,'0'-13'16,"0"0"-16,13 13 15,-13 26 17,0-12-32,0 25 15,-13-12-15,13-14 16,0 13-16,0 1 0,0-1 16,-13-12-16,13 12 0,0-13 0,0 14 15,0-14-15,0 0 0,0 0 0,-14 1 16,14-1-16,0 0 0,0 0 0,0 1 15,0-1 1</inkml:trace>
  <inkml:trace contextRef="#ctx0" brushRef="#br0" timeOffset="25056.7">9379 7091 0,'0'0'0,"-13"26"31,13-12-31,0-1 16,13 0-16,-13 0 15,0 0-15,0 1 0,0-1 16,0 0-16,0 0 16,14-13-16,-14 14 15,0-1-15,0 0 16,13-13 0,13-13-16,-12 0 15,-1 13-15,0-14 16,0 14-16,1-13 15,-1 13-15,0-13 0,0 13 16,-13-13-16,13 13 0,1-14 16,-1 14-1,-13-13 1,13 13 0</inkml:trace>
  <inkml:trace contextRef="#ctx0" brushRef="#br0" timeOffset="26238.48">11112 13189 0,'-26'0'0,"52"0"0,-65 0 0,65 0 47,1 0-47,-1 0 0,27 0 0,0 0 16,26 0-16,-12-13 0,12 13 15,0 0-15,14 0 0,-14 0 0,14-13 16,-14 13-16,14 0 0,-14-13 0,14 13 16,-14 0-16,1 0 0,-1 0 15,-13-13-15,-13 13 0,0 0 0,0 0 16,-13 0-16,-14 0 0,0 0 16,-12 0-16,12 0 0,-13 0 0,1 0 15,-54 0 16,13 0-31,1 0 0,-27 0 16,0 0-16,0 13 0</inkml:trace>
  <inkml:trace contextRef="#ctx0" brushRef="#br0" timeOffset="26528.51">10967 13361 0,'26'14'0,"-12"-14"0,12 0 0,159-14 16,-105 14-1,-1 0-15,14-13 0,13 13 0,-1-13 16,-12 13-16,13 0 0,26-13 0,-26 13 16,-13-13-16,12 13 0,-12 0 15,0-14-15,-1 14 0,-12 0 0,-14 0 16,0 0-16,-13 0 0,0 0 0,-14 0 15,-12 0-15,13-13 0,-14 26 16,-13-13-16,14-13 0,-14 13 0,0 0 16,0 0-16,-13-13 15,-13 0-15,0-14 16,-14 14-16</inkml:trace>
  <inkml:trace contextRef="#ctx0" brushRef="#br0" timeOffset="27140.44">11271 12091 0,'53'-13'0,"-106"26"0,146-26 15,-53 0-15,12 13 0,15-13 0,-1 0 16,26 13-16,-12-14 0,12 1 0,1 13 16,0-13-16,-1 0 0,1 13 15,13-14-15,-14 14 0,1 0 0,-14 0 16,14-13-16,-14 13 0,1 0 16,-14 0-16,-13 0 0,13 0 0,-13 0 15,0 0-15,-1 0 0,-12 0 16,-13 0-16,-1 0 0,1 0 0,-1 0 15,-13 0-15,0 0 0,-39 13 32,0-13-32,-1 0 15,1 0-15,-14 14 0</inkml:trace>
  <inkml:trace contextRef="#ctx0" brushRef="#br0" timeOffset="27431.78">11946 12078 0,'93'0'0,"-67"0"16,0 0-16,1 0 0,26 0 0,0 0 16,26-13-16,-13 13 0,14 0 15,-1 0-15,0-13 0,1 13 0,-1 0 16,14-13-16,-14 13 0,1 0 15,-1-14-15,-13 14 0,13 0 0,-26 0 16,0-13-16,-13 13 0,0 0 0,-1 0 16,-12 0-16,-1 0 0,-13 0 15,1 0-15,12 0 0,-13 0 16,1 13-16,-1-13 0,-13 14 16,13-14-16,-13 13 0,13 0 15</inkml:trace>
  <inkml:trace contextRef="#ctx0" brushRef="#br0" timeOffset="27720.57">14129 12105 0,'0'66'31,"0"-53"-31,-13 14 0,13-1 0,0 14 16,0-1-16,-14 1 0,14 0 0,0-14 16,-13 14-16,13 0 0,0-27 0,-13 13 15,13 1-15,0-14 16,-13 13-16,13-12 0,0-1 0,0 0 15</inkml:trace>
  <inkml:trace contextRef="#ctx0" brushRef="#br0" timeOffset="27904.27">14235 12277 0,'0'0'0,"0"-27"0,13 27 0,-13 27 15,0-14 1,0 13-16,0-12 0,-13 12 15,13 0-15,0 14 0,0 0 16,-14 0-16,14-1 0,-13-12 0,13-1 0,0 1 16,-13-1-16,13 1 15,-13-14-15,13 13 0,-14-13 0,1 1 16,0-1-16</inkml:trace>
  <inkml:trace contextRef="#ctx0" brushRef="#br0" timeOffset="28464.6">10941 12343 0,'-14'66'15,"14"-40"1,-13 14-16,13 53 0,0-54 16,0 1-16,0 13 0,-13-13 0,13-1 15,0 1-15,0 0 0,0-1 16,-13-12-16,13-1 0,0 14 15,0-27-15</inkml:trace>
  <inkml:trace contextRef="#ctx0" brushRef="#br0" timeOffset="28711.53">11060 12356 0,'0'26'16,"-14"1"-16,14-1 16,0 1-16,0 13 0,-13 12 0,13-12 15,-13 26-15,13-13 0,-13-13 16,13 13-16,0-13 0,-14-1 16,14 14-16,0-13 0,0-14 0,0 14 0,0-14 15,0 1-15,14-14 0,-14 14 16,0-14-16,0 0 0,13 0 15</inkml:trace>
  <inkml:trace contextRef="#ctx0" brushRef="#br0" timeOffset="37721.54">13348 4392 0,'53'0'15,"-40"0"-15,27-13 0,-13 13 16,12 0-16,1 0 0,13-13 16,-14 13-16,14 0 0,0 0 0,-13 0 15,13-14-15,-13 14 0,-1 0 16,-12-13-16,12 13 0,-12 0 15,-14 0-15,14 0 0,-14 0 0</inkml:trace>
  <inkml:trace contextRef="#ctx0" brushRef="#br0" timeOffset="37951.68">13414 4511 0,'0'0'0,"-13"0"0,40 13 32,-14-13-32,0 0 0,0 0 0,1 0 15,-1 0-15,13 0 0,-13 0 16,1 0-16,12 0 0,-13 0 0,14 0 16,-1 0-16,1 0 0,-1 0 0,1 0 15,-1-13-15,14 13 0,-14 0 16,1 0-16,-1 0 0</inkml:trace>
  <inkml:trace contextRef="#ctx0" brushRef="#br0" timeOffset="39428.48">19288 4432 0,'-13'0'0,"0"0"31,52 13-15,-25-13-16,12 0 0,1 0 15,12 0-15,1 0 0,13 0 0,0 0 0,0 0 16,0 0-16,-1 0 0,1 0 16,0 0-16,0 0 0,0 0 15,-13 0-15,-1 0 0,1 0 0,-13 0 16,-1 0-16,-13 0 0,14 0 0,-14 0 16,0 0-16</inkml:trace>
  <inkml:trace contextRef="#ctx0" brushRef="#br0" timeOffset="39567.44">19857 4458 0,'-40'13'0,"80"-26"0,-53 26 31,39-13-15,-13 0-16,14 0 0,-14 0 0,14-13 15,-1 13-15,0 0 0,1-13 16</inkml:trace>
  <inkml:trace contextRef="#ctx0" brushRef="#br0" timeOffset="40692.49">8930 4392 0,'-14'-13'32,"54"13"-32,-27 0 15,14 0-15,13 0 0,-1 0 0,27 0 16,-13 0-16,0 0 0,13 0 15,-13 0-15,13 0 0,1-13 0,-1 13 16,-13 0-16,13 0 0,-13 0 0,0 0 16,-1 0-16,1-14 0,-13 14 0,-13 0 15,-1 0-15,0 0 0,1 0 16,-14 0-16,0 0 0,1-13 16,-1 13-16,0 0 0,-53 13 15</inkml:trace>
  <inkml:trace contextRef="#ctx0" brushRef="#br0" timeOffset="40949.92">9049 4511 0,'0'0'0,"39"0"15,-12 0-15,13-13 0,13 13 0,-1 0 16,1 0-16,0 0 0,13 0 15,1-13-15,12 13 0,-13 0 16,0 0-16,0-14 0,0 14 0,-13 0 16,0 0-16,0 0 0,0-13 15,0 13-15,-13 0 0,-14 0 0,14 0 16,-27 0-16,14-13 0,-14 13 0,0 0 16,0 0-16,1 0 0,-14-13 15,13 13-15,-13-13 0,-13-1 16</inkml:trace>
  <inkml:trace contextRef="#ctx0" brushRef="#br0" timeOffset="41425.11">8943 3717 0,'-13'0'15,"52"-13"1,-12 13 0,13-13-16,12 13 0,1-13 15,14 13-15,12-14 0,-13 14 16,0-13-16,14 13 0,-14-13 0,13 13 0,0 0 15,-12-13-15,-1 13 0,-13 0 16,0 0-16,-1 0 0,-12-13 0,-13 13 16,12 0-16,-12 0 0,-1 0 15,-13 0-15,1 0 0,-1 0 0,0 0 16,-53 13 0</inkml:trace>
  <inkml:trace contextRef="#ctx0" brushRef="#br0" timeOffset="41900.55">9141 3784 0,'172'-14'31,"-119"14"-31,0 0 16,27-13-16,-1 13 0,0-13 0,1 13 15,-1-13-15,-13 13 0,14-14 0,-28 14 16,15 0-16,-14 0 0,-1 0 16,1-13-16,-13 13 0,0 0 0,-14 0 15,1 0-15,-1 0 0,1 0 0,-1 0 16,-13 0-16,1 0 16,-1 0-16,0 0 0,0 0 0,0 0 15,1 0-15,-1 0 16,0 0-1,0 0-15,1 0 16,-1 0 0,0 0 15,0 0 31</inkml:trace>
  <inkml:trace contextRef="#ctx0" brushRef="#br0" timeOffset="53868.68">701 7157 0,'0'26'0,"0"-12"16,0 12-16,0-13 0,0 1 16,0 12-16,13 14 0,-13-27 15,14 13-15,-14-12 0,13-1 0,-13 13 16,26 1-16,-12-1 15,-1-13 1,0 1-16,0-14 0,0 0 16,1 0-1,-1-14-15,0 14 0,-13-13 0,13 0 16,1 0-16,-14-14 0,13 14 0,-13 0 16,13 0-16,-13-14 0,0 14 15,0 0-15,13-14 0,-13 14 0,-13-27 16,13 27-16,-13-13 0,13 12 15,-13 1-15,-1 0 0,1 0 16,0 0-16,0-1 0,-1 1 16,1 0-16,0 13 0,13-13 0,-13 13 15,0 0-15,-1-14 0,1 14 16,0 0-16,0 14 16,13-1-16,-14 0 0,14 0 15,0 14-15,0-14 16,0 0-16,14 27 0,-14-14 15,13-12-15,0 25 0,0-12 16,1 12-16,-1 1 16,13-13-1,-26-14-15,66 79 32,-66-78-17,14-1-15,-1-13 31</inkml:trace>
  <inkml:trace contextRef="#ctx0" brushRef="#br0" timeOffset="54170.81">1098 7382 0,'13'66'31,"-13"-53"-31,0 0 0,0 1 0,13 12 16,-13 1-16,0-14 16,0 0-16,0 0 15,0 14-15,0-14 0,0 0 16,0 0-16,14-13 16</inkml:trace>
  <inkml:trace contextRef="#ctx0" brushRef="#br0" timeOffset="54521.78">1244 7289 0,'0'0'16,"13"0"-16,0-13 0,0 13 15,0 0-15,1 0 0,-1-13 16,0 13-16,0 0 0,14 0 0,-14 0 16,0-13-16,1 13 0,-1 0 0,0 0 15,0 0-15,0 0 0</inkml:trace>
  <inkml:trace contextRef="#ctx0" brushRef="#br0" timeOffset="54716.74">1296 7448 0,'0'0'0,"27"-13"47,-14 13-31,0 0-16,1-13 0,-1-1 15,0 14-15,0 0 16,-13-13-16,14 13 0,-1-13 15,0 13-15</inkml:trace>
  <inkml:trace contextRef="#ctx0" brushRef="#br0" timeOffset="56448.45">2077 7091 0,'0'26'15,"0"-12"-15,0-1 0,0 0 16,0 0-16,0 0 16,0 1-16,0-1 0,0 0 15,0 0-15,0 1 0,0-1 16,0 0-16,13-13 0,-13 13 16,0 0-16,13 1 15,1-14-15</inkml:trace>
  <inkml:trace contextRef="#ctx0" brushRef="#br0" timeOffset="56721.63">2394 7223 0,'14'13'16,"-1"-13"-16,-13 14 15,0-1-15,0 0 0,13 0 16,-13 0-16,0 1 16,0-1-16,-13 0 0,13 0 15,0 1-15,0-1 0,0 0 16,0 0-1</inkml:trace>
  <inkml:trace contextRef="#ctx0" brushRef="#br0" timeOffset="57183.44">2765 7117 0,'13'-13'16,"0"13"-16,1 0 16,-1 0-16,0 0 15,-13 13 1,0 1-16,0-1 0,0 0 16,-13 0-16,0 14 15,-1-14-15,14 0 0,-13 0 16,13 1-16,-13-1 15,13 0 1,13-13 0,0 0-16,1 0 15,-1 0-15,0 0 0,0-13 16,1 13-16,-1 0 0,0 0 0,0 0 16,0 0-16,1-13 0,-1 13 15,0 0-15</inkml:trace>
  <inkml:trace contextRef="#ctx0" brushRef="#br0" timeOffset="57399.41">3149 7131 0,'13'0'0,"-26"0"0,39 0 15,-26 13-15,13 0 0,-13 0 16,0 0-16,13 1 15,-26-1-15,13 0 16,0 0-16,-13 1 0,13-1 0,0 0 16,0 0-16,-13 0 0,13 1 0</inkml:trace>
  <inkml:trace contextRef="#ctx0" brushRef="#br0" timeOffset="57830.57">3413 7011 0,'13'0'0,"1"14"31,-14-1-31,0 0 16,13-13-16,-13 13 0,0 1 15,13-14-15,0 13 0,0 0 16,1-13 0,-14 13-16,13-13 0,-13 14 0,13-14 15,-13 13-15,0 0 16,0 0-16,-13 0 16,0 1-16,13-1 15,-14 0-15,1 0 0,0-13 0,13 14 16,-13-14-16,13 13 0</inkml:trace>
  <inkml:trace contextRef="#ctx0" brushRef="#br0" timeOffset="58021.33">3638 7117 0,'13'0'15,"-26"0"-15,39 14 0,-26-1 16,0 0-16,0 0 15,0 0-15,0 1 16,-13-1-16,13 0 0,-13 0 16,13 1-16,0-1 0,0 0 15,0 0 1</inkml:trace>
  <inkml:trace contextRef="#ctx0" brushRef="#br0" timeOffset="58322.67">4141 6959 0,'-66'52'31,"52"-38"-31,1-1 0,0 0 16,0-13-16,13 13 0,-14 1 0,1 12 15,13-13 1,0 1-16,13-14 16,-13 13-16,14-13 0,-1 0 15,0 0-15,0 0 0,1 13 16,-1-13-16,0-13 0,14 13 16,-14 0-16,13 0 15,-13 0-15,1-13 0,-1 13 0,0-14 16</inkml:trace>
  <inkml:trace contextRef="#ctx0" brushRef="#br0" timeOffset="58544.23">4207 6998 0,'-13'40'16,"26"-80"-16,-26 93 0,13-40 15,0 1-15,0 12 0,0-13 16,-14 14-16,14-14 16,0 0-16,0 14 15,0-14 1</inkml:trace>
  <inkml:trace contextRef="#ctx0" brushRef="#br0" timeOffset="58752.7">4617 7051 0,'26'13'16,"-26"1"0,0-1-16,0 0 15,0 0-15,0 1 0,0 12 16,0 0-16,0 1 15,0-14-15,0 0 0,0 1 0,-13-14 16,13 26-16,-13-13 16</inkml:trace>
  <inkml:trace contextRef="#ctx0" brushRef="#br0" timeOffset="59112.46">5120 6853 0,'-27'13'31,"14"-13"-31,0 13 16,13 0-16,0 1 15,13-14 1,-13 13-16,13-13 16,-13 13-16,13 0 0,-13 1 15,14-14-15,-14 13 0,0 0 16,0 0-16,-14-13 0,1 27 16,-13-1-16,-1 1 15,14-27-15,-27 26 16,14-13-1,13-13-15,-1 14 16</inkml:trace>
  <inkml:trace contextRef="#ctx0" brushRef="#br0" timeOffset="59377.28">5556 6919 0,'0'13'15,"13"0"-15,-26 1 0,13-1 16,0 13-16,0-13 0,-13 40 15,0-39-15,0 12 0,-1 1 16,1-1-16,-13 0 0,12-12 16,1-1-16,-13 13 0</inkml:trace>
  <inkml:trace contextRef="#ctx0" brushRef="#br0" timeOffset="60109.77">6006 6694 0,'-13'-13'16,"0"39"-1,13-13-15,-14 1 0,14-1 16,0 13-16,-13-12 0,13 12 16,13 14-16,-13-27 15,0 13-15,14 1 0,-1-14 0,0 0 16,0 1-1,0-14-15,-13 13 0,14-13 0,-1 0 16,0 0 0,-13-13-1,-13-14-15,-53-26 47,39 66-31,14-13-16,0 14 15</inkml:trace>
  <inkml:trace contextRef="#ctx0" brushRef="#br0" timeOffset="60284.89">6231 6800 0,'26'0'0,"1"26"16,-14-13-1,-13 14-15,13-1 16,-13-12-16,-79-120 0,158 225 0,-79-93 0,0-12 16,0 12-16,0 0 15,0 1 1,14-14-16</inkml:trace>
  <inkml:trace contextRef="#ctx0" brushRef="#br0" timeOffset="60585.61">6575 6562 0,'13'-14'0,"0"1"0,14 26 15,-14-13 1,0 14-16,1-1 0,-1 0 16,0 0-16,0 1 0,-13-1 0,13 0 15,-13 14-15,14-14 0,-14 0 16,0 13-16,13-12 0,-13-1 0,0 0 16,0 14-16,0-14 0,13 0 15,-13 0-15,0 0 0,0 1 16,0-1-16,0 0 15</inkml:trace>
  <inkml:trace contextRef="#ctx0" brushRef="#br0" timeOffset="60765.74">6496 6839 0,'0'-13'16,"13"0"-1,0 13-15,0 0 0,0-13 16,14 13-16,-14-13 0,14 13 0,-14-14 16,40 1-16,-40 13 15,13 0-15,-12-13 0</inkml:trace>
  <inkml:trace contextRef="#ctx0" brushRef="#br0" timeOffset="60983.43">7144 6694 0,'13'26'15,"-13"-12"1,0-1-16,0 0 16,0 0-16,0 14 0,0-14 15,0 13-15,-13-12 0,0 12 16,13-13-16,-27 27 0,14-13 15,0-14-15,-1 13 0,1-13 16,0 14-16</inkml:trace>
  <inkml:trace contextRef="#ctx0" brushRef="#br0" timeOffset="61471.18">7382 6575 0,'13'13'15,"0"0"1,1 1-16,-14-1 0,13 0 0,0 27 16,-13-27-16,0 27 15,-13-1 1,0-25-16,13-1 0,-27 13 0,14 1 16,0-27-16,13 13 15,39-291 95,-52 265-110,0 13 0,0 0 15,-1-13-15,-12 26 0,-1-13 16,14 0-16,0 13 15</inkml:trace>
  <inkml:trace contextRef="#ctx0" brushRef="#br0" timeOffset="61594.89">7607 6601 0</inkml:trace>
  <inkml:trace contextRef="#ctx0" brushRef="#br0" timeOffset="63797.78">1495 6800 0,'13'-13'31,"-26"39"47,13-13-78,13 0 16,-13 1 15,27-28-15,-1 1-1,-13 0-15,14 0 0,-1 0 0,14-14 16,0 1-16,-1-1 0,14 1 16,0-1-16,0 1 0,0-1 0,0 14 15,-13 0-15,-1-14 0,1 14 0,0 0 16,-14 0-16,-13 13 0,14-13 15,-14 13-15,0-14 0,14 14 16,-27-13-16,13 13 0,0 0 0,0 0 0,1-13 16,-1 13-1,-13-13-15,13 13 16,0 0-16,0-14 62</inkml:trace>
  <inkml:trace contextRef="#ctx0" brushRef="#br0" timeOffset="64701.61">1270 8797 0,'13'-13'31,"0"13"-31,1-13 0,-1 13 16,0-13-16,0 13 16,1 0-16,-1-14 0,0 14 0,0 0 15,1 0-15,-1 0 0,0 0 16</inkml:trace>
  <inkml:trace contextRef="#ctx0" brushRef="#br0" timeOffset="64904.45">1283 8916 0,'0'14'16,"13"-14"-1,14-14 1,-14 14-16,0 0 16,1 0-1,-1 0-15,-13-13 0,13 13 16,0 0-16</inkml:trace>
  <inkml:trace contextRef="#ctx0" brushRef="#br0" timeOffset="65777.37">2249 8520 0,'-13'0'0,"39"-14"31,-13 14-31,1 0 16,-1-13 0,0 26-1,0-13-15,1 14 16,-14-1-16,0 0 16,13 0-16,-13 0 0,0 1 15,0-1-15,0 0 0,13 0 0,-13 14 16,0-14-16,0 0 0,13 1 15,-13-1-15,0 0 0,0 0 0,13 0 16,-13 1-16,0-1 0,0 0 16,14 0-16,-14 1 15,0-1 1</inkml:trace>
  <inkml:trace contextRef="#ctx0" brushRef="#br0" timeOffset="65969.48">2262 8771 0,'0'0'15,"0"-13"-15,13-1 16,1 14 0,-1 0-16,0-13 0,0 13 15,1-13-15,12 13 16,-13 0-16,0-13 0,1 13 0,12-13 15,-13 13-15,14-14 0</inkml:trace>
  <inkml:trace contextRef="#ctx0" brushRef="#br0" timeOffset="66280.5">2765 8453 0,'0'-13'16,"-13"13"-1,-1 13 1,14 1-16,-13-1 16,13 0-16,13 0 0,-13 1 15,0-1-15,14-13 0,-1 13 0,-13 0 16,13 0-16,0 1 0,1-14 0,-1 13 16,0-13-16,0 13 15,1-13-15,-1 0 0,0 0 16,-13-13 15,-13 0-31,0 13 16,-1 0-1,1 0-15,0 0 0,0 13 16,-1-13-16,-12 13 0</inkml:trace>
  <inkml:trace contextRef="#ctx0" brushRef="#br0" timeOffset="66513.53">2566 8718 0,'-13'13'0,"26"0"16,1-13 0,-14 14-16,13-1 0,0 0 15,-13 0-15,13 1 0,-13-1 16,14 0-16,-14 0 0,0 1 0,0-1 15,0 0-15,0 0 0,0 0 16,0 1-16,-14-1 0,14 0 16,0 0-16</inkml:trace>
  <inkml:trace contextRef="#ctx0" brushRef="#br0" timeOffset="66732.89">3096 8546 0,'0'13'16,"0"0"-16,0 67 31,0-67-31,0 14 0,-14-14 0,14 0 15,0 13-15,0-12 0,0-1 0,0 0 16</inkml:trace>
  <inkml:trace contextRef="#ctx0" brushRef="#br0" timeOffset="67349.61">3479 8374 0,'13'-13'0,"-26"26"0,26-39 16,-39 39 15,13-13-31,-14 13 16,14 0-16,-13 1 0,12-1 16,1-13-16,-13 26 0,13-26 15,-1 13-15,1 1 16,40-1-1,-14-13-15,0 0 16,0 0-16,0 13 0,14-13 0,-1 0 16,1 13-16,-14-13 0,0 0 15,0 14-15,1-1 16,-14 0 0,-14 0-16,1 0 0,0 1 15,0-1-15,0-13 0,-1 13 0,1 0 16,0 1-16,0-14 0,-1 13 15,1-13-15</inkml:trace>
  <inkml:trace contextRef="#ctx0" brushRef="#br0" timeOffset="67540.3">3744 8414 0,'0'0'0,"13"0"15,-13 13-15,0 0 0,13-13 0,-13 13 16,0 14-16,0-14 0,0 0 0,0 14 16,0-14-16,-13 13 0,13 1 15,-13-1-15,13-12 0,-13 12 16,13-13-16,0 1 0,0-1 0,0 0 16</inkml:trace>
  <inkml:trace contextRef="#ctx0" brushRef="#br0" timeOffset="67878.42">4339 8281 0,'-40'14'16,"27"-1"-1,0 0-15,0 0 0,0 1 0,-14 12 16,14 1-16,0-14 0,-14 0 16,27 0-16,-13 0 0,0 1 0,13-1 15,0 0-15,-13 0 0,13 1 16,13-1-16,-13 0 16,13-13-16,0 0 0,0 0 15,1 13-15,-1-13 0,0 0 16,0 0-16,1-13 0,-1 13 15,0 0-15,0 0 0,14-13 0,-14 13 16,0-13-16,0-1 0,1 14 16,-14-13-16,0 0 0</inkml:trace>
  <inkml:trace contextRef="#ctx0" brushRef="#br0" timeOffset="68069.64">4326 8229 0,'0'0'0,"-13"13"15,13 0-15,0 0 0,0 0 16,0 1-16,0 12 0,0-13 0,-14 14 16,14-1-16,0-12 0,0 12 15,0 0-15,0-12 0,0 12 16,14 1-16,-14-14 0,0 13 0,0-13 16,0 1-16,13-1 0,-13 13 15,13-26-15,0 14 0,1-1 0</inkml:trace>
  <inkml:trace contextRef="#ctx0" brushRef="#br0" timeOffset="68440.69">4868 8387 0,'14'14'0,"-14"210"125,-14-462-125</inkml:trace>
  <inkml:trace contextRef="#ctx0" brushRef="#br0" timeOffset="68573.61">5067 8123 0,'0'53'32,"0"-40"-17,13 13-15,-13-12 0,0 12 0,-13-158 16,26 277-16,-13-118 0,0-1 0,0 1 16,0-1-16,0-13 0,0 14 0,13-1 15,-13-13-15,0 1 0,13-1 0,-13 0 16,14 0-16</inkml:trace>
  <inkml:trace contextRef="#ctx0" brushRef="#br0" timeOffset="68826.45">5371 8334 0,'13'0'0,"-26"0"0,40 14 16,-14-1-16,-13 0 16,0 0-16,0 14 15,0-14-15,0 0 0,-13 14 0,13-1 16,-14-13-16,14 14 0,-13-14 0,0 13 16,13-12-16,0-1 15,13 0-15</inkml:trace>
  <inkml:trace contextRef="#ctx0" brushRef="#br0" timeOffset="69228.17">5741 8096 0,'14'0'0,"12"27"31,-26-14-31,0 0 0,0 0 15,0 1-15,0-1 0,-13 13 0,13-12 16,0-1-16,-13 0 0,13 0 16,0 0-16,0 1 0,0-1 0,-14-13 15,14 13-15,14 0 16,-1-13-16,0 0 16,0 0-16,14 0 15,-27-13-15,13 13 0,0 0 16,1-13-16,-1 13 0,0 0 15,0-13-15,0 13 0,1-14 16</inkml:trace>
  <inkml:trace contextRef="#ctx0" brushRef="#br0" timeOffset="69406.42">6112 8189 0,'-27'13'16,"14"0"-16,0 1 15,13-1-15,0 0 0,-13 0 16,13 0-16,-14 1 0,14-1 0,-13 13 16,13-12-16,-13 12 0,13-13 15,0 1-15,13-1 16,0-13-16</inkml:trace>
  <inkml:trace contextRef="#ctx0" brushRef="#br0" timeOffset="69748.57">6350 7990 0,'0'0'0,"13"14"31,-13-1-31,0 0 16,0 0-16,0 1 16,13-1-16,1 0 15,-14 0-15,13-13 0,-13 13 0,13 1 16,0-1-16,-13 0 0,0 0 16,0 1-16,0-1 15,0 0-15,-13 0 0,0 1 16,13-1-16,-13 0 0,-1 0 0,1 0 15,0 1-15,-13-1 0,12-13 0,1 13 16,13 0-16,-13-13 0,0 14 16,-1-14-16</inkml:trace>
  <inkml:trace contextRef="#ctx0" brushRef="#br0" timeOffset="71485.67">1111 10319 0,'0'26'47,"0"-13"-32,13 1-15,-13-1 0,0 0 0,0 0 16,0 1-16,0-1 0,0 0 16,0 0-16,14-13 0,-14 14 15,0-1-15,0 0 16,13-39 31,-13 12-47,0 1 0,0 0 15,0 0-15,0-1 16,0 1-16,13 0 16,-13 0-16,13 13 15,1 0 1,-1 0-16,-13 13 16,13 0-16,-13 0 15,13-13-15,-13 14 0,14-1 16,-14 0-16,13 0 15</inkml:trace>
  <inkml:trace contextRef="#ctx0" brushRef="#br0" timeOffset="71709.75">1323 10107 0,'0'-13'0,"13"26"47,-13 0-47,0 1 0,13-14 0,-13 13 16,0 0-16,0 0 15,0 0-15,0 1 0,0-1 0,14-13 16,-14 13-16,0 0 0,13 1 15</inkml:trace>
  <inkml:trace contextRef="#ctx0" brushRef="#br0" timeOffset="71900.75">1442 10028 0,'0'0'15,"0"-14"-15,-13 41 31,13-14-31,0 0 16,13 1-16,-13-1 0,0 0 0,0 14 16,13-14-16,-13 0 0,0 0 15,13 0-15,-13 1 0,0-1 0</inkml:trace>
  <inkml:trace contextRef="#ctx0" brushRef="#br0" timeOffset="72049.42">1336 10226 0,'0'-13'16,"13"0"-1,1-1-15,-1 14 0,0-13 16,0 13-16,14-13 0,-1 0 16,1 13-16,-14 0 0</inkml:trace>
  <inkml:trace contextRef="#ctx0" brushRef="#br0" timeOffset="73336.36">212 10729 0,'-14'40'31,"14"-27"-31,0 0 0,0 0 0,0 0 16,0 14-16,14-14 0,-14 0 0,13 1 16,-13-1-16,13 0 0,0 0 15,-13 1-15,14-14 0,-1 13 0,0-13 16,0 0-16,1 0 0,-1 0 0,0 0 15,0-13-15,0 13 0,1-14 16,-14 1-16,13 0 0,0 0 0,-13-1 16,0-12-16,0-1 0,0 14 15,0-13-15,0-1 0,-13 14 0,0-13 16,-1 12-16,1 1 0,13 0 16,-13 0-16,0-1 0,13 1 0,-13 13 15,-1-13-15,14 26 31,0 0-31,0 1 0,14-1 16,-14 0-16,13 0 0,0 1 16,0-1-16,0 0 0,1 14 0,-1-14 15,-13 0-15,13 0 0,0 14 0,1-14 16,-14 13-16,13-12 0,0-1 16,-13 0-16,13 0 0,-13 1 0,13-1 15,-13 0-15,0 0 0,14 0 0,-14 1 16,0-1-16,13 0 15</inkml:trace>
  <inkml:trace contextRef="#ctx0" brushRef="#br0" timeOffset="73540.8">688 10755 0,'0'27'0,"0"-14"16,13 0-16,-13 0 15,0 1-15,0-1 0,13 0 16,-13 0-16,0 1 0,0-1 16</inkml:trace>
  <inkml:trace contextRef="#ctx0" brushRef="#br0" timeOffset="74105.66">1667 10306 0,'26'0'31,"-12"-14"-16,-1 14-15,0 0 0</inkml:trace>
  <inkml:trace contextRef="#ctx0" brushRef="#br0" timeOffset="74282.8">1640 10385 0,'0'13'0,"14"-13"32,-1 0-32,0 0 0,-13-13 0,13 13 15,14 0-15,-14 0 0,0-13 16,14 13-16,-14-14 0,0 14 0</inkml:trace>
  <inkml:trace contextRef="#ctx0" brushRef="#br0" timeOffset="76309.37">2236 10134 0,'13'0'0,"-26"0"0,39 0 0,-13 0 15,-13 13-15,14-13 16,-14 13-16,0 0 16,0 0-16,0 1 0,0-1 31,0 0-31,13 0 16,0-13-16,0 14 15,1-14 1,-14 13-16,13-13 0,-13 13 15,13 0-15,-13 1 16,-13-14-16,13 13 0,0 0 16,0 0-16,-13 0 0,-1 1 15,14-1-15,-13 0 0,0 0 16,0-13 0,-1 0-1</inkml:trace>
  <inkml:trace contextRef="#ctx0" brushRef="#br0" timeOffset="76787.85">2342 9948 0,'13'14'31,"0"-1"-31,-13 0 16,0 0 0,13 0-1,-13-39 32,-13 13-31,26 0-16,-13-1 15,0 1-15,13 0 16,-13 0-16,14 13 16</inkml:trace>
  <inkml:trace contextRef="#ctx0" brushRef="#br0" timeOffset="77147.36">2487 9829 0,'-26'0'15,"12"13"-15,14 1 16,0-1 0,0 0-16,0 0 15,14-13 1,-1 0-16,0 0 15,0-13-15,1 0 16,-14 0-16,0-1 16,13 14-16,-13-13 0,-13 0 0,13-13 15,-14 12-15,14 1 16,-13 0-16,13 0 0,0-1 0,-13 1 16,13 0-16,0 0 0,-13 13 15,13-13-15,-14 39 16,14-13-1,14 0-15,-14 1 0,0 12 0,0-13 16,13 14-16,-13-14 0,13 13 16,-13-12-16,13 12 0,1-13 0,-1 27 15,-13-27-15,13 1 16</inkml:trace>
  <inkml:trace contextRef="#ctx0" brushRef="#br0" timeOffset="78904.67">3387 8149 0,'-14'-13'0,"1"13"15,0 0 1,-13 13-16,12 0 16,1 1-16,13-1 15,-13 13-15,0 1 0,-1 12 16,1-12-16,13 13 0,-13-1 0,13-12 15,-13 12-15,13-12 0,0-1 0,0 1 16,0-1-16,0 1 0,0-1 16,0 1-16,13-1 0,-13-13 0,13 14 15,-13-14-15,13 13 0,1-12 0,-1-1 16,0 0-16,0 0 0,14 1 16,-14-1-16,13-13 0,-12 13 15,25-13-15,-12 0 0,-14 0 0,13-13 16,-12 13-16,12-13 0,-13 13 0,14-14 15,-14 1-15,0 0 16,1 0-16,-1-1 0,0 1 0,0 0 16,0 0-16,1-14 0,-14 14 0,13 0 15,-13-14-15,13 14 0,-13-13 16,0 12-16,0-12 0,0 0 0,0-1 16,-13 1-16,13 12 0,-13-38 15,13 25-15,-14 14 16,14-14-16,-13 14 0,0-13 0,0 12 15,0-12-15,-1 13 0,1 0 0,-13-14 16,12 14-16,-12 0 16,13 13-16,-1 0 0,1-14 15,0 28-15,0-14 0,0 13 16,-1 0-16</inkml:trace>
  <inkml:trace contextRef="#ctx0" brushRef="#br0" timeOffset="79545.07">3651 8943 0,'0'40'31,"13"-14"-31,-13-13 16,14 27-16,-1 0 0,13 13 0,-12 0 16,12-1-16,-13 1 0,1 0 15,-1 0-15,13 13 0,-13-13 0,1 0 16,12 27-16,-26-41 15,13 1-15,1-14 0,-1 14 16,-13-14-16,13-12 0,0 25 0,-13-25 16,14-1-16,-14 0 0,13 0 15,-13 1-15,13-14 16,-13 13 0</inkml:trace>
  <inkml:trace contextRef="#ctx0" brushRef="#br0" timeOffset="79860.95">3784 9922 0,'0'13'0,"0"0"15,13 14-15,0-14 16,13 40-16,14-13 15,-27-27 1,1-13-16,-1 13 0,0-13 0,0 0 16,1 13-16,-1-13 0,0-13 15,0 13-15,0 0 16,-13-13-16,27-14 0,-27 14 16,13-13-16,0-14 0,1 14 15,-14-1-15,13 14 0,0-14 16,-13 14-16,13 0 0,-13 0 15,14 13-15</inkml:trace>
  <inkml:trace contextRef="#ctx0" brushRef="#br0" timeOffset="80569.64">3321 10861 0,'-27'0'16,"27"13"-16,0 1 0,-13-1 0,0 0 15,13 27-15,0-14 0,0 1 16,-14-1-16,28 1 0,-14-1 15,0 0-15,0 1 0,13-14 16,0 14-16,-13-14 0,13 0 0,1 0 0,-1 1 16,0-14-16,0 0 0,0 13 15,1-13-15,-1-13 0,0 13 16,0 0-16,1-14 0,12-12 0,-13 13 16,-13-1-16,13 1 0,-13 0 15,0-14-15,0 1 0,0-14 16,0 14-16,-13-1 0,0-12 15,0 12-15,0 1 0,-1-1 0,1 14 16,0-13-16,0 12 0,-1 1 16,14 0-16,-13 13 0,13-13 15,-13 13-15,13 13 32,0 13-32,13-12 0,-13-1 15,13 0-15,1 14 0,-1-14 0,0 13 16,0 1-16,14 26 15,-14-27-15,13 27 0,1-13 16,-14-14-16,0 14 16,1 0-1,-1-27-15,0 13 0,0 1 16,-13-14 0,14 0-16,-14 0 15,13-13-15</inkml:trace>
  <inkml:trace contextRef="#ctx0" brushRef="#br0" timeOffset="80796.64">3704 11046 0,'0'40'15,"0"-27"1,0 0-16,0 1 16,0-1-16,13 13 0,-13-12 15,0-1-15,0 0 0,0 0 0,14-13 16,-14 14-16,0-1 16</inkml:trace>
  <inkml:trace contextRef="#ctx0" brushRef="#br0" timeOffset="81040.56">3797 10861 0,'0'-13'0,"13"13"0,27-27 31,-27 27-31,0 0 16</inkml:trace>
  <inkml:trace contextRef="#ctx0" brushRef="#br0" timeOffset="81232.52">3850 10954 0,'26'-27'31,"-13"27"-31,-13-13 16,14 13-16,-1-13 15,0 13 1</inkml:trace>
  <inkml:trace contextRef="#ctx0" brushRef="#br0" timeOffset="81600.73">4247 10623 0,'-14'-13'16,"-12"39"-1,13-13-15,-1-13 16,1 14-16,0-1 0,0 0 16,0 0-16,13 1 15,0-1-15,13-13 16,0 0-16,0 13 15,0-13-15,1 0 0,-1 0 16,0 0-16,0 0 0,1 13 16,-1-13-16,0 0 15,0 14-15,-13-1 16,0 0 0,-13 0-16,0 0 15,13 1-15,-13-14 0,-1 13 16,1-13-16,0 13 0,-14-13 0,14 13 15,-13-13-15,13 0 0,-14 0 16</inkml:trace>
  <inkml:trace contextRef="#ctx0" brushRef="#br0" timeOffset="85508.46">3400 6866 0,'-13'-13'47,"-1"13"-32,-12 13 1,13-13-16,0 0 16,13 13-16,-14-13 0,1 13 15,0 1-15,0-1 16,-1 0-16,14 0 0,0 1 16,-13-1-16,13 0 0,0 0 0,-13 0 15,13 1-15,0 12 0,0-13 16,0 1-16,0 12 0,0-13 0,0 14 15,13-14-15,-13 40 0,13-27 16,-13-12-16,14 25 16,-1-12-16,-13-14 0,0 0 15,13 0-15,0 1 0,-13-1 0,14 0 16,-1 0-16,0 1 0,0-1 0,0-13 16,-13 13-16,14-13 0,12 13 15,-13-13-15,1 0 0,-1-13 16,0 13-16,13 0 0,-12-13 0,-1 13 15,0-13-15,0 13 0,1-14 16,-1 1-16,0 0 0,0 0 0,1 13 16,-1-14-16,0 1 0,-13 0 0,13 0 15,0-1-15,-13 1 0,14 0 16,-14 0-16,0 0 0,0-1 16,13 1-16,-13 0 0,0 0 0,0-1 15,0 1-15,0 0 0,0-13 0,0 12 0,0 1 16,-13 0-16,13 0 15,0-1-15,0 1 0,-14 0 0,14 0 16,0-1-16,-13-12 0,0 13 16,13 0-16,-13 13 0,0-14 15,-1 1-15,14 0 0,-26 0 16,-1-1-16,1-12 16,13 26-16,-1-13 0,-12-1 15,13 14-15,0-13 16,-14 13-16,14 0 15,0 0-15,-1-13 0,1 13 0,0 0 16,0 0-16,13-13 16</inkml:trace>
  <inkml:trace contextRef="#ctx0" brushRef="#br0" timeOffset="86124.06">3876 6416 0,'53'-13'16,"-40"26"-16,1-13 16,-14 13-16,0 1 15,0-1-15,-14 0 0,1 0 16,13 1-16,0-1 15,-13 0-15,26 0 32,0 0-32,1 1 15,-1-1 1,-13 0 0,0 0-1,-13 1 1,13-1-16,-14-13 15,1 13-15,0-13 16,13 13-16,-13-13 0</inkml:trace>
  <inkml:trace contextRef="#ctx0" brushRef="#br0" timeOffset="86680.88">3625 6324 0,'-27'26'16,"14"0"-16,13-12 0,-13-1 0,13 13 15,-13-12-15,13 12 0,0 1 0,-14-1 16,14 0-16,14 1 0,-14-1 15,13 14-15,0 13 0,14-27 16,-14 1-16,0-14 0,0 0 16,14 1-16,-14-1 0,13 0 0,-12 0 15,12-13-15,14 13 0,-14-13 16,1 0-16,-1 0 0,1 0 16,-1-13-16,14 0 0,26-13 15,-26 12-15,-14 1 0,1 0 16,12-27-16,-12 27 0,-14-13 15,0 12-15,0-12 0,-13 13 0,14-14 16,-1 14-16,-13-14 0,13 14 0,-13-13 16,0 13-16,0-14 0,0 14 15,0-14-15,0 1 16,-13 13-16,0-14 0,13 14 0,-27-13 0,14-1 16,0 14-16,-14-14 0,14 14 0,-13 0 15,-1 0-15,1 13 0,-1-14 16,-13 14-16,-26-13 0,40 13 15,-14 0-15,-26 13 0,13 1 16,-26 12-16,52-13 16,-79 40-1,53-13-15</inkml:trace>
  <inkml:trace contextRef="#ctx0" brushRef="#br0" timeOffset="95180.08">3942 5358 0,'40'0'0,"106"-27"16,-80 14 0,13 0-16,0 0 0,14-1 0,0 1 15,12 13-15,14-13 0,1 0 0,-15 0 16,-12 13-16,-14 0 0,14-14 15,-14 14-15,-12 0 0,-1 0 0,-13 0 16,-1 0-16,1 0 0,-13 0 0,0 0 16,-14 0-16,1 0 0,-1 0 15,-13 0-15,14 0 0,-14 0 0,0 0 16,-52 14 15</inkml:trace>
  <inkml:trace contextRef="#ctx0" brushRef="#br0" timeOffset="95496.47">4604 5411 0,'0'0'0,"13"13"16,13-13-16,1 0 0,-1 0 0,27 0 15,27 0-15,-1 0 0,0-13 16,14 13-16,0-13 0,-1 13 0,-12-14 15,12 14-15,1-13 0,-14 0 0,14 13 16,-14-13-16,1-1 0,-14 14 16,0-13-16,0 0 0,-26 13 15,13 0-15,-14-13 0,1 13 0,-14 0 16,1-14-16,-14 14 0,14 0 16,-14 0-16,0 0 0,0 0 15,0 0-15,1 0 0,-41 0 47,14 14-47,0-14 16</inkml:trace>
  <inkml:trace contextRef="#ctx0" brushRef="#br0" timeOffset="97566.85">9684 7104 0,'0'13'31,"0"-39"0,13 13-31,0-1 16,-13 1-16,13 0 0,1 0 0,-1-1 16,0 1-16,0 0 0,1 0 15,12 0-15,0-14 0,1 14 0,-1 0 16,1-1-16,-14 1 0,14 0 0,-1 0 16,-13-1-16,14 14 0,-14-13 15,13 13-15,-12-13 0,12 13 0,1-13 16,-14 13-16,13 0 0,1 0 15,-14 0-15,13 0 0,-12 0 16,12 0-16,1 0 0,-1 0 0,-13 0 16,14 13-16,-1-13 0,1 13 0,-14-13 15,13 13-15,1-13 0,-1 14 0,1-14 16,-14 13-16,13-13 0,1 13 16,-1-13-16,-13 13 0,14-13 0,-1 14 15,1-1-15,-1-13 0,1 13 16,-1-13-16,1 0 0,-1 13 0,1-13 15,-1 14-15,1-14 0,-1 0 0,0 0 16,1 13-16,-1-13 0,1 0 0,-1 0 16,1 0-16,-1 0 15,1 0-15,-1 0 0,-13-13 0,14 13 16,-1 0-16,-13 0 0,14 0 0,-14 0 16,27-14-16,-27 14 15,0-13-15,1 13 0,-1-13 0,0 0 16,0 13-16,0-14 0,1 1 0,-14 0 15,13 0-15,0-1 0,-13 1 16,13 0-16,-13 0 0,14 0 0,-14-1 16,0 1-16,13 0 0,-13 0 0,0-1 15,13 1-15,-13 0 0,0 0 16,0 0 0,13-1-1,1 14 16,-1 14-15,0-14-16,0 13 0,0-13 16,1 13-16,-1-13 0,0 13 0,0-13 15,14 13-15,-14-13 0,14 14 16,-14-1-16,13-13 0,1 13 0,-1 0 16,14-13-16,-1 14 0,1-1 15,0-13-15,-14 13 0,14-13 16,0 13-16,-14-13 0,14 0 0,-14 0 15,14 13-15,-14-13 0,14 0 0,0 0 16,-1 0-16,1 0 0,0 0 0,13 0 16,-14 0-16,-12 0 0,13-13 15,-1 13-15,-12 0 0,26 0 0,-27 0 16,14 0-16,0 0 0,-1-13 0,1 13 16,13 0-16,-13-13 15,-1 13-15,1 0 0,0 0 0,-1-13 16,-12 13-16,12 0 0,-12 0 0,39 0 15,-40 0-15,14 0 0,-13 0 16,-1 0-16,14 0 0,-14 0 16,1 13-16,12-13 0,1 0 0,-14 13 15,14 0-15,0-13 0,-14 13 0,14-13 16,-14 14-16,1-1 0,-1-13 16,1 13-16,-14-13 0,14 13 0,-14-13 15,13 14-15,-13-14 0,1 13 0,-1-13 16,0 0-16,0 13 0,1-13 15,-1 13-15,0-13 16,-13 14-16,13-14 0,-13 13 16,14-13-16,-14 13 15,13 0 1,0 0 15</inkml:trace>
  <inkml:trace contextRef="#ctx0" brushRef="#br0" timeOffset="97698.63">14446 7131 0</inkml:trace>
  <inkml:trace contextRef="#ctx0" brushRef="#br0" timeOffset="103341.85">21881 8043 0,'0'-13'0,"-13"40"31,13-14-31,0 0 16,-13 0-16,13 14 0,-14-14 0,1 13 15,13-12-15,0 12 0,-13-13 16,13 1-16,-13 12 0,13-13 0,0 0 16,0 1-16,13-1 0,-13 0 15,13 0-15,0-13 0,1 14 16,-1-14-16,0 0 0,0 0 0,1 0 16,-1 0-16,13 0 0,-13 0 0,1 0 15,-1-14-15,0 14 0,0 0 16,1-13-16,-1 13 0,-13-13 15</inkml:trace>
  <inkml:trace contextRef="#ctx0" brushRef="#br0" timeOffset="103633.47">21762 8242 0,'-13'0'15,"39"-13"1,-13 13-1,1 0-15,-1-14 0,13 14 0,1 0 16,-14 0-16,14-13 0,-1 13 0,-13 0 16,14 0-16,-1-13 0,-13 13 15,14 0-15,-14 0 0,0 0 16,0 0-16,1 0 0,-1 0 0,0 0 16,0 0-1,-13 13-15,0 0 16,0 1-1,0-1-15,0 0 16,0 0-16,0 0 16</inkml:trace>
  <inkml:trace contextRef="#ctx0" brushRef="#br0" timeOffset="104077.74">22344 7977 0,'0'0'0,"0"27"16,0-14-1,-13 0-15,13 0 0,0 1 16,-13-1-16,13 0 0,-14 13 0,1 1 16,13-14-16,-13 14 0,13-14 0,-13 0 15,13 0-15,-14 1 0,14-1 16,-13 0-16,0-26 62,26 0-62,0-1 16,1 14-16,-1 0 0,-13-13 16,13 13-16,0 0 15,1 0-15,-1 0 0,0 0 0,0 0 16</inkml:trace>
  <inkml:trace contextRef="#ctx0" brushRef="#br0" timeOffset="104257.49">22648 8136 0,'0'-13'15,"-13"39"32,0-26-31,0 13-1</inkml:trace>
  <inkml:trace contextRef="#ctx0" brushRef="#br0" timeOffset="107224.68">9009 6668 0,'0'39'31,"13"-26"-31,-13 1 16,0-1-16,0 0 0,0 0 16,0 1-16,0-1 15,0 0-15,0 0 16,0 0-16,0 1 15</inkml:trace>
  <inkml:trace contextRef="#ctx0" brushRef="#br0" timeOffset="108029.74">9221 6615 0,'13'0'15,"-26"0"-15,39-14 0,-13 14 16,-13-13 0,-13 26-1,0 1-15,0-14 0,0 13 16,-1-13-16,1 13 15,13 0-15,-13-13 0,0 0 0,13 14 16,-14-1-16,28 0 31,-1-13-31,0 0 16,0 13-16,1-13 0,-1 0 16,0 0-16,0 0 0,0 0 15,1 0-15,-14 13 0,13-13 0,-13 14 16,-13-1-1,-1 0-15,1-13 16,-13 13-16,13 1 0,-14-1 16,1 0-16,12-13 0,-12 13 0,-1 0 15,14 1-15,-13-14 0,13 13 16,-1-13-16</inkml:trace>
  <inkml:trace contextRef="#ctx0" brushRef="#br0" timeOffset="110420.77">14631 6456 0,'14'-13'0,"-28"26"78,1 0-78,0 0 0,0-13 0,13 14 16,-13-1-16,-1 0 0,1-13 0,13 13 15,-13 0-15,0 1 16,-1-1-16,14 0 16,-13-13-16,26 13 31,1-13-31,12 0 15,-13 0-15,1 0 0,-1 0 16,0 0-16,0 0 0,0-13 16,1 13-16,-1 0 0,0 0 15,0 0-15,1-13 0,-1 13 16,0-13-16</inkml:trace>
  <inkml:trace contextRef="#ctx0" brushRef="#br0" timeOffset="110623.56">14684 6429 0,'0'-13'15,"-13"40"1,13-14-16,0 0 16,-13-13-16,13 13 0,0 1 0,0-1 15,-13 0-15,13 0 0,0 0 16,0 1-16,0-1 0,-14 0 0,14 0 15,0 1-15,0-1 0,0 0 16,14 0 0</inkml:trace>
  <inkml:trace contextRef="#ctx0" brushRef="#br0" timeOffset="110984.74">14922 6429 0,'-13'0'0,"26"0"0,-39 0 16,13 14-16,0-14 0,-1 0 15,-12 13-15,13 0 16,-1-13-16,1 13 0,13 1 15,0-1 1,13 0-16,1-13 0,-14 13 16,13-13-16,13 13 15,-12 1-15,-1-1 16,0-13-16,-13 13 0,13-13 0,-13 13 16,0 1-1,-13-1-15,0-13 0,0 13 16,-14 0-16,14-13 0,-27 14 15,14-1-15,13-13 0,-14 13 16,14-13-16,0 0 0</inkml:trace>
  <inkml:trace contextRef="#ctx0" brushRef="#br0" timeOffset="111932.51">6800 7422 0,'0'0'0,"0"-14"0,-13 41 31,13-14-31,0 0 16,0 0-16,0 1 0,0-1 16,0 0-16,0 0 15,0 14-15,0-14 0,0 0 0,0 1 16,0-1-16,0 0 0,0 0 0,0 0 16,0 1-16,0-1 15</inkml:trace>
  <inkml:trace contextRef="#ctx0" brushRef="#br0" timeOffset="112269.43">6734 7607 0,'0'0'0,"-14"26"31,14 1-15,0-14-16,0 0 0,0 0 15,14 1-15,-14-1 16,0 0-16,0 0 16,13 1-16,-13-1 15,13-13 1,0 0-1,1-13-15,-14-1 16,13 14-16,0-13 16,0 13-16,-13-13 0,13 0 15,-13-1-15</inkml:trace>
  <inkml:trace contextRef="#ctx0" brushRef="#br0" timeOffset="112922.5">6588 7263 0,'0'-13'31,"-13"39"0,13-13-15,0 0-16,0 1 15,-13-1-15,13 0 0,0 0 16,0 1-16</inkml:trace>
  <inkml:trace contextRef="#ctx0" brushRef="#br0" timeOffset="113217.58">6668 7263 0,'13'13'47,"0"-13"-47,13 0 15,-12-13-15,-1 13 16,0-13-16,0-1 16,-13 1-1,0 0-15,-13 0 16,0 13-16,0 0 16,-14 0-16,14 0 15,0 13-15,0-13 0,-1 13 16,1-13-16,13 13 0,0 1 15</inkml:trace>
  <inkml:trace contextRef="#ctx0" brushRef="#br0" timeOffset="114050.66">17185 7382 0,'0'26'31,"0"-12"-15,0-1-16,0 0 0,0 0 16,0 0-16,0 1 0,0-1 15,0 0-15,0 0 0,0 1 0,0-1 16,0 13-16,0-12 0,0-1 0,0 0 16,13 0-16</inkml:trace>
  <inkml:trace contextRef="#ctx0" brushRef="#br0" timeOffset="114397.45">17079 7567 0,'-13'13'31,"13"1"-15,0-1-16,0 0 0,0 0 15,13 0-15,-13 1 0,0-1 16,13-13-16,-13 13 0,13 0 16,1-13-16,-14 14 15,26-14-15,0 0 16,-26-14-16,14 14 15,-1 0-15,0-13 0,0 13 16,1-13-16,-1 13 0,0-13 16,0 13-16,1 0 15,-1 0-15,0-14 16</inkml:trace>
  <inkml:trace contextRef="#ctx0" brushRef="#br0" timeOffset="116070.71">17119 6919 0,'0'13'47,"13"0"-47,-13 1 15,0-1-15,0 0 0,0 0 16,0 0-16,0 1 15,0-1-15,-13 0 0,13 0 16,-14 1-16,1-1 0,0 0 16,0-13-1,13 13-15,-14-26 16,28-13 0,-1 26-1,-13-14-15,13 1 0,0 13 0,-13-13 16,14 0-16,-1 13 0,0-14 0,-13 1 15,13 13-15,-13-13 0,13 13 16,-13-13-16,0 0 0,0-1 16,0 1-16,-13 13 0,13-13 15,-13 13-15,13-13 16,-13 13-16,0 0 16,-1 0-16,1 0 0,0 0 15</inkml:trace>
  <inkml:trace contextRef="#ctx0" brushRef="#br0" timeOffset="116353.52">17264 6919 0,'-13'26'62,"26"-12"-62,-13-1 16,13-13-16,-13 13 0,14 0 15,-14 0-15,13-13 16,-13 14-16,0-1 16,-13 0-16,-14 0 15,14-13-15,0 14 16,-14-1-16,1-13 0,12 13 0,-12 0 15,0-13-15,-1 14 0,1-14 16</inkml:trace>
  <inkml:trace contextRef="#ctx0" brushRef="#br0" timeOffset="121396.79">9657 6496 0,'0'-14'15,"0"1"1,-13 13 15,13-13-31,-13 13 16,13-13-16,-13 13 15,-1-14-15,1 1 16,0 13-16,0-13 16,-1 13-16,1 0 0,13-13 15,-13 13-15,0 0 0,0-14 16,-1 14-16,1 0 0,0 0 0,0-13 15,-1 13-15,1 0 0,0 0 0,0 0 16,-14 0-16,14 0 0,0 0 16,0 0-16,-1 0 0,-12 0 0,13 0 15,-1 0-15,1 0 0,-13 13 0,13-13 16,-1 0-16,-12 0 0,13 0 16,-1 14-16,-12-14 0,13 0 0,-14 13 15,14-13-15,0 0 0,-14 13 0,14-13 16,0 13-16,-14-13 0,14 14 15,-13-14-15,12 13 0,1-13 16,0 13-16,-13 0 0,12-13 0,1 14 16,0-1-16,0 0 0,-1-13 0,1 13 15,0 0-15,0 1 0,-1-1 16,1-13-16,0 13 0,0 0 16,0 1-16,-1-1 0,14 13 0,-13-12 15,0-1-15,13 0 0,-13 13 16,-1-12-16,14-1 0,0 13 0,-13 14 15,13-27-15,-13 0 0,13 1 16,0-1-16,0 13 0,13-12 16,-13-1-16,0 13 0,13-12 0,-13-1 15,14 0-15,-14 0 0,13 0 0,0 1 16,0-14-16,1 13 0,-14 0 16,13-13-16,0 13 0,0-13 0,0 14 15,14-1-15,-14-13 0,0 0 16,1 0-16,-1 13 0,0-13 15,0 0-15,1 0 0,-1 0 0,0 0 16,13 0-16,-12 0 0,-1 0 16,0 0-16,0 0 0,1 0 15,-1-13-15,0 13 0,14 0 0,-14 0 16,0 0-16,0 0 0,0 0 0,1 0 16,-1 0-16,0-13 0,0 13 15,1 0-15,12 0 0,1-14 16,-1 14-16,-13 0 0,40-13 15,-40 13-15,14-13 0,-1 13 16,14-13-16,-14 13 0,1 0 16,-14-14-16,14 14 0,-14 0 15,40-13-15,-40 13 0,13 0 16,-12-13-16,12 13 0,1 0 16,-14-13-16,13 13 0,1 0 0,-14 0 15,13-13-15,1 13 0,-1 0 0,1-14 16,26 14-16,-40-13 15,53 13-15,-53-13 0,14 13 16,26-13-16,-27 13 0,1 0 16,-1 0-16,0-14 0,1 14 15,-1 0-15,27-13 0,-26 13 16,-1 0-16,27 0 0,-26-13 16,-1 13-16,1 0 0,-14 0 15,13 0-15,1 0 0,-1-13 16,1 13-16,-1 0 0,0 0 0,1 0 15,-1 0-15,-12 0 0,12 0 0,1 0 16,-1 0-16,0 0 0,-12-14 16,12 14-16,1 0 0,-1 0 0,14 0 15,-14 0-15,-13 0 0,14 0 16,-1 0-16,-12 0 0,12 0 16,0 0-16,-12 0 0,12 0 0,-13 0 15,14 0-15,-1 0 0,1 0 0,-14 0 16,13 0-16,1 0 0,-14 14 15,14-14-15,-1 0 0,1 0 0,-14 0 16,13 0-16,1 0 0,-1 0 16,1 0-16,-1 0 0,1 13 15,-1-13-15,0 0 0,14 0 0,-13 0 16,-1 0-16,1 13 0,12-13 0,-12 0 16,-1 0-16,14 0 0,-14 0 15,14 0-15,-14 13 0,41-13 16,-41 0-16,0 0 0,27 0 15,-26 0-15,-1 0 0,1 0 16,-1 0-16,1 0 0,-1 0 16,1 0-16,12 0 0,-12 0 0,12 0 0,14 0 15,-13 0-15,-14 0 16,1-13-16,13 13 0,-14 0 16,1 0-16,-1 0 0,0 0 0,1-13 15,26 13-15,-27 0 0,14 0 16,-14 0-16,1 0 0,-1 0 15,1 0-15,-14 0 0,14 0 16,-1 0-16,0-13 0,1 13 0,-1 0 16,-12 0-16,12 0 0,0 0 15,1 0-15,-1 0 0,1-14 16,-1 14-16,1 0 0,12 0 0,-12 0 16,-1 0-16,-12-13 0,12 13 15,-13 0-15,14 0 0,-14 0 16,0 0-16,14 0 0,-14 0 0,13 0 15,-12 0-15,-1 0 0,13 0 0,27-13 16,-40 13-16,14 0 16,-1 0-16,1 0 0,-14 0 0,13 0 15,-12 0-15,12 0 0,-13 0 0,27 0 16,-13 0-16,-1 0 16,-13 0-16,14 0 0,-14 0 0,13 0 15,1 0-15,-14 0 0,14-13 0,-14 13 16,26 0-16,-12 0 0,-14 0 15,14 0-15,-14 0 0,13 0 16,-12 0-16,12 0 0,-13 0 16,14 0-16,-14 0 0,13-13 0,-12 13 0,12 0 15,0 0-15,14 0 16,-13 0-16,12-14 16,-12 14-16,79-13 15,-67 13 1,-12 0-16,-14 0 15,27-13-15,-1 13 16,-12 0-16,-14 0 0,13 0 16,-12 0-16,12 0 0,1 0 15,12 0 1,-25 0-16,12 0 0,0 0 16,1 0-16,13 0 15,-14 0-15,14 0 16,-14-13-16,1 13 15,-14 0-15,13-14 16,-12 14-16,12-13 16,-13 13-16,1-13 15,-1 0-15,-13 0 0,13 13 16,-13-14-16,13-12 16,-13 13-16,13-14 15,-13 14-15,0 0 0,0-14 16,0 14-16,0 0 0,0 0 15,0-1-15,0 1 0,-13 0 16,13 0-16,0-1 0,-13 14 16,13-13-16,-13 0 0,0 0 0,-14-1 15,14 1-15,0 13 0,-14-13 16,1 0-16,-1 0 16,14 13-16,0 0 0,0 0 15,-1-14-15,1 14 0,0 0 16,-14 0-16,14-13 0,-13 13 15,-1 0-15,1 0 0,13-13 16,-14 13-16,14 0 16,-14 0-16,-26 0 0,27 0 15,0 0-15,-1-13 0,-13 13 0,14 0 16,0 0-16,-1 0 0,-13 0 16,14-14-16,-1 14 0,-12 0 15,12 0-15,-12 0 0,12-13 0,-52 13 16,39 0-16,-13-13 0,0 13 15,14 0-15,-14 0 0,-53-13 16,53 13-16,13-14 0,-52 14 16,52-13-16,13 13 0,-25 0 15,25-13-15,1 13 16,-14 0-16,13 0 0,1 0 0,0 0 16,-1 0-16,-13 0 0,14 0 15,-40 0-15,39 0 16,-12-13-16,-1 26 0,14-13 0,-14 0 15,-26 0-15,39 0 0,1 0 16,-27 0-16,26 0 0,1 0 16,13 0-16,-14 0 0,1 0 15,13 0-15,-27 0 0,13 0 16,1 0-16,-27 0 0,27 13 16,-27-13-16,26 0 15,-12 0-15,12 0 0,1 0 16,-1 13-16,1-13 0,-27 0 0,40 0 15,-14 0-15,1 0 16,12 0-16,-12 14 0,-1-14 0,14 0 16,-13 0-16,-1 0 0,1 0 0,-27 0 15,13 0-15,14 0 0,-14 0 16,14 0-16,-14 0 0,14 0 16,-1 0-16,-13 0 0,14 0 0,-14 0 15,14 0-15,-14 0 0,0 0 0,14 0 16,0 13-16,-14-13 0,13 0 15,-12 0-15,12 0 0,-12 0 0,12 0 16,-39 0-16,26 0 0,1 0 16,-14 13-16,13-13 15,0 0-15,1 0 0,-1 0 0,13 0 16,-12 13-16,12-13 0,-52 0 16,39 0-16,-52 14 0,52-14 15,-13 0-15,-13 0 16,26 0-16,14 0 0,-40 0 15,39 0-15,-13-14 0,-12 14 16,12 0-16,13 0 0,1 0 16,-14 14-16,14-14 0,-40 0 15,26 0-15,13 0 0,-12 0 0,12 0 16,1 0-16,-1 0 0,1 0 16,-1 0-16,1 0 0,0 0 0,12 0 15,-12 0-15,13 0 0,-1 0 16,-25 0-16,25 13 0,1-13 15,0 0-15,0 0 0,0 0 16,-1 0-16,1 0 0,0 0 16,0 13-16,-1-13 0,1 0 0,0 0 15,0 0-15,0 0 16,-1 13-16,1-13 0,0 0 0,-14 0 0,14 0 16,0 14-16,-27-14 0,27 0 15,0 13-15,0-13 16,-14 0-16,14 0 0,-27 13 15,27-13-15,0 0 0,-1 0 0,1 0 16,0 0-16,0 0 0,0 13 16,-1-13-16,1 0 15</inkml:trace>
  <inkml:trace contextRef="#ctx0" brushRef="#br0" timeOffset="159516.51">11456 767 0,'14'53'0,"-14"27"31,0-54-31,0-13 0,0 0 0,13 1 15,-13-1-15,0 13 0,0-12 0,0-1 16,0 0-16,0 0 0,0 14 0,0-14 16,0 0-16,13 0 15,-13 1-15,0-1 0</inkml:trace>
  <inkml:trace contextRef="#ctx0" brushRef="#br0" timeOffset="160019.75">11351 781 0,'26'-27'0,"-52"54"0,65-54 15,-25 14-15,-1 13 0,0-13 16,0 13-16,0 0 0,14 0 0,-14 13 16,0-13-16,1 0 0,-1 13 0,0-13 15,0 13-15,-13 1 0,14-1 16,-14 0-16,0 0 0,0 0 0,-14 14 15,14-14-15,-13 0 0,0 14 16,0-14-16,13 0 0,-14 0 0,1-13 16,0 14-16,0-1 0,13 0 15,-14-13-15,14 13 0,-13-13 0,13 14 16,-13-1-16,13 0 16,13-13-1,0 0-15,1 0 16,-1 0-16,0 13 0,0-13 0,1 0 15,-1 0-15,0 0 16,0 0-16,1-13 0,-1 13 0,0 0 16,0 0-16,0 0 0,1 0 15,-14-13-15,13 13 0</inkml:trace>
  <inkml:trace contextRef="#ctx0" brushRef="#br0" timeOffset="160816.44">11853 847 0,'-13'-14'15,"0"14"1,-14 0-16,14 14 15,0-1-15,0 0 16,0 0 0,13 1-16,-14-1 15,14 0-15,0 0 0,0 0 32,14-13-32,-1 0 15,0 0 1,0 0-1,-13-13-15,13 0 0,-13 0 16,0 0-16,14-1 16,-14 1-16,0 0 15,13 0 17,0 26-1,-13 0-31,13 0 15,-13 1 1,14-1 0,-1-13 31,0-13-32,0 13-15,-13-14 16,13 14-16,1 0 31,-1 0-31,0 14 16,-13-1-1,13-13 1,-13 13-16,0 0 31,14-39 0,-1 13-15,0-1 0,0 14-1,-13-13-15,14 13 16,-1 0-16,0 0 16,0 0-1,-13-13-15,13 13 0,1 0 0</inkml:trace>
  <inkml:trace contextRef="#ctx0" brushRef="#br0" timeOffset="161253.47">12197 728 0,'-13'0'0,"13"13"31,0 0-31,0 0 0,13 1 16,-13-1-16,0 0 16,14 0-16,-14 0 15,0 1-15,13-1 0,-26 0 16,13 0-16,0 1 0,0-1 15,-14 0-15,14 0 0,-13 0 16,0-13-16,0 14 16,13-28 31,13 14-47,0-13 0,0 0 15,1 13-15,-14-13 0,13 0 16,0-1-16,0 14 15,0-13-15,-13 0 0,14 13 0,-1-13 16,0-1-16,0 1 16,-13 0-16</inkml:trace>
  <inkml:trace contextRef="#ctx0" brushRef="#br0" timeOffset="161484.51">12488 714 0,'0'14'0,"14"-28"31,-1 14-31,0-13 0,0 13 16,0-13-16,1 13 15,-1-13-15,0 13 16</inkml:trace>
  <inkml:trace contextRef="#ctx0" brushRef="#br0" timeOffset="161719.76">12581 542 0,'40'14'32,"-27"-1"-17,0-13-15,14 13 0,-14 0 0,0-13 16,-13 14-16,13-1 0,0 13 16,1-26-16,-14 13 0,0 1 15,13-1-15,-26-13 0,13 26 16,-14-12-16,14-1 15,-13 0-15</inkml:trace>
  <inkml:trace contextRef="#ctx0" brushRef="#br0" timeOffset="162316.57">13097 529 0,'-13'0'31,"13"13"-15,0 1-16,0-1 15,0 0-15,0 0 0,0 1 16,13-1-1,-13 0-15,13-13 16,0 13 0,1-13-16,-1 0 15,0-13-15,0 13 16,14 0 0,-27 13-16,13-13 0,0 0 15,0 0 1,1 0-16,-1 0 15,0 0-15,0-13 16,1 13 0,-14-13-16,0 0 0,13-1 15,-13 1 1,-13 0-16,13 0 0,0-1 16,0 1-16,-14 0 15</inkml:trace>
  <inkml:trace contextRef="#ctx0" brushRef="#br0" timeOffset="162787.96">13388 410 0,'0'13'32,"0"1"-17,0-1-15,13 0 16,-13 0-16,0 0 0,0 1 15,13-1 1,-13 0-16,0 0 16,14-13-1,-1 0 1,0 0-16,0 0 31,1 0-31,-1 0 16,-13-13-1,13 13-15,0 0 16,0 13 0,1-13-1,-14 14 1,0-1-16,0 0 16,0 0-1,26-26 48,-13 0-48,-13 0 1,14 13-16,-1-14 16</inkml:trace>
  <inkml:trace contextRef="#ctx0" brushRef="#br0" timeOffset="162913.6">13666 503 0,'-14'13'0,"28"-26"0,-1 13 16,-13-14 0</inkml:trace>
  <inkml:trace contextRef="#ctx0" brushRef="#br0" timeOffset="163886.06">12144 1654 0,'14'26'15,"-14"-13"1,0 1-16,13-1 0,-13 0 15,0 0-15,0 0 0,0 1 0,13-14 16,-13 13-16,0 0 0,0 0 16,0 1-16,0-1 0,13-13 15</inkml:trace>
  <inkml:trace contextRef="#ctx0" brushRef="#br0" timeOffset="164137.17">12039 1733 0,'-14'-13'15,"28"0"1,-1-1-16,0 1 0,0 13 15,0-13-15,1 0 0,12-1 16,-13 14-16,1-13 0,-1 13 16,0-13-16,0 13 0,14-13 0,-14 13 15</inkml:trace>
  <inkml:trace contextRef="#ctx0" brushRef="#br0" timeOffset="164331.51">12091 1865 0,'-13'14'31,"26"-1"-15,1-26-16,-1 13 16,0 0-16,0 0 0,14 0 15,-14-14-15,0 14 0,14-13 0,-14 13 16,13-13-16,-12 13 0</inkml:trace>
  <inkml:trace contextRef="#ctx0" brushRef="#br0" timeOffset="164840.94">12515 1601 0,'-13'-13'0,"-14"13"31,27 13-31,0 0 0,-13 0 0,13 0 16,0 1-16,0-1 0,0 0 0,0 0 15,0 14-15,0-14 16,13 0-16,-13 0 0,0 1 0,13-1 16,1 0-16,-1 0 15,0-13-15,0 14 0,0-14 0,1 0 16,-1 0-16,0-14 0,0 14 15,1-13-15,-1 13 0,-13-13 0,13 0 16,0-1-16,-13-12 0,14 13 0,-14-14 16,0 1-16,-14 13 0,14-14 15,-13 1-15,0-1 0,-14 1 16,14 13-16,0-1 0,-14 1 0,14 13 16,0-13-16,0 0 0,0 13 0,-14 0 15,14 0-15,0 0 16,-1 0-16,1 13 0,0-13 15,13 13-15,0 0 0,0 1 16,13-1-16,-13 0 0,13 0 16,1 1-16,-1 12 0,0-13 0,14 0 15,-14 1-15,0-1 0,0 0 0,14 0 16,-14 14-16,0-27 0,14 13 0,-14 0 16,0 0-16,0-13 0,1 14 15,-1-1-15,0 0 0,0-13 16,0 0-16,1 0 15</inkml:trace>
  <inkml:trace contextRef="#ctx0" brushRef="#br0" timeOffset="165357.5">12872 1548 0,'0'-13'16,"0"39"15,13-13-31,-13 1 0,0-1 16,13 13-16,-13-13 0,0 1 0,14 12 15,-14-13-15,0 1 0,13-1 0,-13 13 16,0-13-16,0 1 0,13-14 16,-13 13-16,0 0 0,0 0 15,0-52 16,0 25-31,0-12 16,0 0-16,0-1 0,0-13 16,0 1-16,0 12 0,0 1 0,13-27 15,-13 40-15,0-14 0,14 14 16,-14 0-16,13 13 0,0-13 0,0 13 16,1 0-1,-14 26 1,-14-13-16,14 14 0,-13-1 0,0 1 15,0-1-15,-1 1 0,1-14 16,0 13-16,13-13 0,0 1 0,-13-1 16,13 0-16,0 0 15,0 1-15,13-14 0,-13 13 0,13-13 16,0 0-16,1 0 0,-1 0 16,13 0-16,-12 0 0,12-13 15,-13 13-15,0 0 16,1-14-16,-1 14 0,0-13 0,0 0 15,1 13-15,-1-13 0,0 13 0,0-14 16,0 14-16</inkml:trace>
  <inkml:trace contextRef="#ctx0" brushRef="#br0" timeOffset="166276.6">13295 1455 0,'53'0'31,"-40"0"-31,1-13 0,12 13 0,-13 0 15,14-13-15,-14 13 0,14 0 0,-14-13 16,0 13-16,13 0 0,-12-14 16,-1 14-16,0-13 0,0 13 0,1 0 15,-1-13-15,0 13 16,-13-13-16</inkml:trace>
  <inkml:trace contextRef="#ctx0" brushRef="#br0" timeOffset="166529.69">13507 1257 0,'26'0'16,"-12"0"-16,78 39 15,-79-25 1,14-1-16,-14 0 0,14 0 0,-14 1 15,0-1-15,0 0 0,1 0 0,-1 1 16,-13-1-16,0 0 0,0 13 16,0-12-16,-13-1 0,-1 13 0,14-12 15,-13 12-15,0-13 0,0 1 0,-1 12 16,1-13-16</inkml:trace>
  <inkml:trace contextRef="#ctx0" brushRef="#br0" timeOffset="167477.31">14261 833 0,'-13'14'15,"13"-1"-15,-13 0 0,13 0 16,0 1-16,0 12 0,0-13 0,0 0 15,0 14-15,0-14 0,13 14 16,-13-14-16,13 0 0,-13 14 0,13-14 16,1 0-16,-1 0 0,0 0 15,0-13-15,0 0 0,1 0 0,-1 0 16,0 0-16,0 0 0,1-13 0,-1 0 16,0 0-16,0 0 0,0-14 15,-13 14-15,14-14 0,-14 1 0,0-1 16,-14 14-16,1-26 0,0 12 15,0 1-15,0-14 0,-14 27 0,14 0 16,0-14-16,-1 27 0,1-13 16,13 0-16,-13 13 0,0 0 0,0 0 15,-1 13-15,14 0 16,0 0-16,0 1 0,0-1 16,0 13-16,14 1 0,-1-14 0,0 27 15,-13-14-15,26 0 0,-12-12 0,-1 12 16,0-13-16,0 14 0,14-14 15,-14 14-15,0-14 0,0-13 0,1 13 16</inkml:trace>
  <inkml:trace contextRef="#ctx0" brushRef="#br0" timeOffset="167672.14">14711 847 0,'13'26'31,"-13"-13"-31,0 1 16,0 12-16,0-13 0,0 0 0,0 14 15,0-1-15,0 1 0,0 13 16,0-14-16,0 0 0,0 1 16,0-14-16,0 14 0</inkml:trace>
  <inkml:trace contextRef="#ctx0" brushRef="#br0" timeOffset="168173.06">14499 1416 0,'0'0'0,"-13"13"16,13 0-16,0 0 15,0 0-15,-13 1 0,13 12 16,0-13-16,0 14 0,13-14 15,-13 0-15,0 1 0,13-1 0,0 0 16,1 0-16,-1-13 16,0 0-16,0 0 0,1 0 0,-14-13 15,13 13-15,0-13 16,-13 0-16,0-1 0,13-12 0,-13 13 16,0-1-16,-13-12 0,13-1 0,-13 14 15,13-13-15,0 13 0,-13-1 16,13 1-16,-14 13 0,14-13 0,-13 26 31,13 0-31,0 1 0,0-1 16,0 0-16,0 13 0,0-12 15,0-1-15,13 13 0,-13-12 0,14-1 16,-14 0-16,13 14 0,0-14 16,0 0-16</inkml:trace>
  <inkml:trace contextRef="#ctx0" brushRef="#br0" timeOffset="168429.28">14790 1508 0,'13'0'0,"-26"0"0,40-13 0,-14 13 16,0 13 0,0-13-16,-13 13 0,0 1 15,0-1-15,0 0 16,0 0-16,0 1 0,-13-1 0,13 0 15,0 0-15,0 0 16,13-13 0,1 0-16,-1 0 15,0 0-15,0 0 16,0 0-16,1 0 0,-1 0 0,0 0 16</inkml:trace>
  <inkml:trace contextRef="#ctx0" brushRef="#br0" timeOffset="168884.67">14658 1905 0,'-13'26'16,"26"-52"-16,-40 66 0,27-27 0,0 0 0,0 0 15,0 1-15,14-1 16,-14 0-16,13-13 0,-13 13 16,13 1-16,0-14 0,1 0 0,-1 0 15,0 0-15,0-14 0,1 14 16,-1-13-16,0 0 0,0 0 15,-13-14-15,13 14 0,-13-14 16,0 1-16,-13 13 0,13-14 0,-13 14 16,13-13-16,-13 12 0,0 1 0,-1 0 15,1 0-15,0 13 16,0 0-16,-1 0 16,14 13-16,0 0 0,-13 0 15,13 1-15,0-1 0,13 0 16,-13 14-16,0-14 0,14 0 0,-14 0 15,13 0-15,0 1 0,0-1 16,-13 0-16,14 0 0,-1 1 0,0-1 16,0-13-16,-13 13 0,13-13 15,1 0-15</inkml:trace>
  <inkml:trace contextRef="#ctx0" brushRef="#br0" timeOffset="169177.6">14962 1905 0,'0'13'47,"13"0"-47,-13 1 0,14-14 15,-14 13-15,13-13 0,0 13 16,0 0-16,1-13 0,-14 14 15,13-14-15,-13 13 0,13-13 0,-13 13 16,0 0-16,0 1 16,0-1-1,-13 0 1,0-26 0,13 0-16,-14-1 15</inkml:trace>
  <inkml:trace contextRef="#ctx0" brushRef="#br0" timeOffset="169616.77">14737 569 0,'53'0'0,"-40"13"0,14-13 0,-14 0 15,14 13-15,-1-13 0,0 14 0,-12-1 16,25 0-16,-25 0 0,12 14 16,1-14-16,-14 13 0,13 1 0,-13-1 15,1 1-15,-1 12 0,0-12 0,-13 13 16,13-1-16,1-12 0,-1 12 15,0 1-15,14 13 0,-14 0 0,13 0 16,-13-13-16,14 12 0,-1-12 0,-12 13 16,12 0-16,-13-13 0,14-1 0,-27 1 15,13 0-15,0-1 0,0 14 16,1-26-16,-14 12 0,13 1 0,-13 0 16,0-14-16,-13 1 0,13-1 0,-14 1 15,1-1-15,0 1 0,-13-1 16,12 1-16,-12-1 0,-1-13 15,1-13-15,-1 13 0,14-13 0,-26 0 16,12 0-16,-26-13 0,0 0 0,-13-13 16</inkml:trace>
  <inkml:trace contextRef="#ctx0" brushRef="#br0" timeOffset="170084.93">13970 648 0,'-40'40'16,"27"-27"-16,13 0 0,-13 1 16,13 12-16,-13 1 0,13-1 0,0 14 15,13-1-15,0 1 0,0-14 16,1 27-16,12 0 0,-13 0 0,14 0 16,-1-13-16,-13 13 0,14 0 15,-1 0-15,1 0 0,-14-1 16,13 15-16,1-14 0,-14 13 0,27 39 15,-14-52-15,1 53 16,-1-66-16,-13 0 0,1-1 0,-1-12 16,13-1-16,-12 1 0,25 26 15,-26-40-15,14 0 0,-14 0 16,0-13-16,14 13 0,-14-13 0,0 0 16,14 0-16,-14 0 0,13 0 15,-12-13-15,12 13 0,-13-13 0,14 13 16,-14-13-16,0 13 0,1-13 15</inkml:trace>
</inkml:ink>
</file>

<file path=ppt/ink/ink15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45:42.922"/>
    </inkml:context>
    <inkml:brush xml:id="br0">
      <inkml:brushProperty name="width" value="0.05292" units="cm"/>
      <inkml:brushProperty name="height" value="0.05292" units="cm"/>
      <inkml:brushProperty name="color" value="#0070C0"/>
    </inkml:brush>
  </inkml:definitions>
  <inkml:trace contextRef="#ctx0" brushRef="#br0">4842 3625 0,'-27'13'63,"27"159"-63,0 13 15,0-39-15,-13 12 0,13-25 16,-26 12-1,12-65-15,1-14 16,13 13-16,0-39 16,0-27-16</inkml:trace>
  <inkml:trace contextRef="#ctx0" brushRef="#br0" timeOffset="1935.42">5001 3731 0,'26'0'78,"40"39"-62,53-25-16,40 12 0,39-13 15,80 27-15,93-27 16,277 14-16,-40-1 15,107-26-15,79 0 16,-40 0 0,278 0-16,-146 0 15,53 0-15,-52 0 16,-28 0-16,292 27 16,-330-27-16,-67 0 15,-40 0-15,-66 26 16,212 0-16,-251-26 15,-67 0-15,0 27 16,107-27-16,-186 0 16,-66 0-16,39 0 15,-224 0-15,357 0 16,-199 0-16,-52 0 16,-27 0-16,-40 0 15,146 0-15,-344 0 16,-53-27 15,0 41 188,0 78-219,0-12 15,0 25-15,-13 41 16,-27-53-16,-13 52 16,13-13-16,1-26 15,-28 13-15,14-13 16,14-26 0,26-54-16,-14 14 15,14-40 110,-40 13-125,-53-13 16,-39 13-16,-160 14 15,-25-14-15,-186 40 16,-53-53-16,-106 0 16,-330 26-16,211 1 15,-106-1-15,1 1 16,-40 25-16,-212 1 16,330 0-16,-12 0 15,79-26-15,0-27 16,-80 26-16,226-26 15,65 27-15,147-1 16,-41-13 0,133 14-16,132-1 15,13-13-15,27-13 0,13 14 16,-27-14-16,40 13 16,0-13-16,1 13 15,-1-13 1,-53 13-16,14-13 15,12 0-15,-52 0 16,53 0-16,-67 0 0,80 0 16,-39-13-1,52 0-15,-53 0 16,13 13-16,54 0 16,-67-27-16,0 14 15,-13-27-15,14 27 16,-1 0-16,13-14 15,-12 14-15,-28-27 16,28-12-16,-41 12 16,40 27-16,14-40 15,-14 39-15,-26-25 16,66 26-16,-13-1 16,26 1-1,-13 0-15,26 0 16,14 13-16,-1 0 0,1-14 15,13 14-15,26 0 16,-13-13-16,27 13 16,-27 0-16,26 0 15,14-26 48,13 13-48,-13-107-15,13-12 16,0 0-16,0 26 16,26-66-16,27 27 15,-26 52-15,-1 0 16,-26 54-16,13-14 16,1 39-16,-14 1 15</inkml:trace>
  <inkml:trace contextRef="#ctx0" brushRef="#br0" timeOffset="6287.31">12766 6416 0,'-13'-13'0,"0"53"16,-1-27-16,1 27 15,13-14-15,0 0 16,-13 1-16,13 13 0,0-14 16,0 1-16,0-1 0,0 0 0,0 1 15,0-1-15,13 1 0,-13-14 0,13 13 16,-13-12-16,14-1 0,-1 0 15,0-13-15,0 13 0,1-13 0,-1 0 16,0 0-16,0 0 0,14-13 0,-1 0 16,1 0-16,-14-14 0,13 1 0,1-1 15,-14 1-15,0-1 0,1-12 16,-1 12-16,-13-12 0,0 12 0,0-13 16,-13 14-16,13-14 0,-40-26 15,27 40-15,-14-1 0,1 1 16,12 13-16,-12-1 0,13 1 0,-14 13 15,14 0-15,-13 0 0,12 0 16,-12 0-16,13 13 0,-1 1 0,-12-1 16,13 0-16,13 13 0,-13 1 0,13-1 15,0 1-15,0-1 0,0 14 16,13 0-16,-13-1 0,13-12 0,0 13 16,14-1-16,-14-12 0,0-1 0,0 1 15,1-1-15,12-13 0,-13 0 0,1 14 16,-1-14-16,0 0 15,0-13-15,0 14 0,1-14 0</inkml:trace>
  <inkml:trace contextRef="#ctx0" brushRef="#br0" timeOffset="6660.09">13189 6747 0,'14'0'16,"-28"0"-16,41 0 0,-27 13 0,0 0 15,0 1-15,0-1 16,0 0-16,0 0 15,13 0-15,-13 1 0,13-1 16,1 0-16,-14 0 0,13-13 16,0 14-16,0-1 0,-13 0 15,14-13-15,-14 13 0,13 1 16,-13-1-16,0 0 0,0 0 16,0 0-16,-13 1 0,13-1 15,-14-13-15,1 0 16,13 13-16,-13-13 0,0 0 0,-1 0 15,1 0-15,13-13 16</inkml:trace>
  <inkml:trace contextRef="#ctx0" brushRef="#br0" timeOffset="6915.23">13679 6456 0,'26'13'31,"-26"0"-31,14-13 0,-14 14 0,13-1 16,-13 0-16,13 0 0,-13 14 0,13-14 15,-13 0-15,0 14 0,0-14 0,0 13 16,0-12-16,-13 12 0,13-13 15,0 14-15,0-14 0,0 13 0,-13-12 16,13-1-16</inkml:trace>
  <inkml:trace contextRef="#ctx0" brushRef="#br0" timeOffset="7072.44">13745 6932 0</inkml:trace>
  <inkml:trace contextRef="#ctx0" brushRef="#br0" timeOffset="7387.57">13454 6720 0</inkml:trace>
  <inkml:trace contextRef="#ctx0" brushRef="#br0" timeOffset="7515.87">13454 6839 0,'0'14'16,"27"-14"-1,-14-14 1,0 14-16,0 0 0</inkml:trace>
  <inkml:trace contextRef="#ctx0" brushRef="#br0" timeOffset="8235.48">12793 7938 0,'-27'66'31,"14"-40"-31,13-13 0,0 14 0,0-1 16,13 1-16,-13-1 0,13 1 0,1 12 15,-14-12-15,13-14 0,0 13 0,0-12 16,1-1-16,12 0 0,-13 0 16,0-13-16,1 0 0,-1 0 0,13 0 15,-12 0-15,-1-13 0,13 13 0,-12-13 16,-1 0-16,0-14 15,0 14-15,-13-13 0,13-1 0,-13 1 16,0-1-16,-13-13 0,13 1 0,-13-1 16,0 14-16,0-14 0,-1 0 0,1 14 15,0-1-15,0 1 0,-1 13 16,1-1-16,0 1 0,0 13 0,13-13 16,-14 13-16,1 0 0,0 0 15,13 13-15,-13 0 0,13 1 16,0 12-16,0-13 0,0 14 15,0-1-15,0 14 0,13 0 0,-13-1 16,13 1-16,0-14 0,1 14 0,-1-13 16,0 12-16,0-12 0,1-14 15,-1 13-15,0-12 0,0-1 0,1 0 16,-1 0-16,0 1 0,-13-1 0,13-13 16,0 13-16,1-13 0</inkml:trace>
  <inkml:trace contextRef="#ctx0" brushRef="#br0" timeOffset="8539.69">13361 8162 0,'0'14'15,"0"-28"-15,0 41 0,14-14 0,-14 0 16,0 1-16,13 12 0,-13-13 16,0 0-16,13 14 0,-13-14 15,0 14-15,0-14 0,13 0 0,-13 14 16,0-14-16,14 0 0,-14 0 15,13-13-15,-13 13 0,13-13 16</inkml:trace>
  <inkml:trace contextRef="#ctx0" brushRef="#br0" timeOffset="8768.24">13626 8004 0,'40'-14'16,"-27"1"-16,0 13 16,0 0-16,1 0 0,-1 0 15,0 0-15,-13 13 16,0 1-16</inkml:trace>
  <inkml:trace contextRef="#ctx0" brushRef="#br0" timeOffset="8904.04">13719 8057 0,'-27'26'0,"54"-52"0,-67 65 16,27-26-1,26 1 17,0-28-17,0 14-15,1-13 0,-1 13 0,13-13 16,-12 0-16,12 13 0,-13-13 15,14-1-15,-1 1 0</inkml:trace>
  <inkml:trace contextRef="#ctx0" brushRef="#br0" timeOffset="9237.27">14288 7739 0,'26'-13'31,"-13"13"-16,-13 13-15,13-13 0,-13 13 0,27 27 16,-27-27-16,0 14 0,13 26 16,0-27-16,-13-13 15,0 14-15,0-1 0,14-13 0,-14 14 16,0-14-16,13 0 0,-13 1 0,13-1 16,-13 0-16,13 0 0</inkml:trace>
  <inkml:trace contextRef="#ctx0" brushRef="#br0" timeOffset="9414.44">14473 8361 0</inkml:trace>
  <inkml:trace contextRef="#ctx0" brushRef="#br0" timeOffset="12782.79">18084 6694 0,'-26'79'32,"26"-65"-32,0 12 0,0-13 0,0 14 15,0-1-15,0 1 0,0-1 16,13 1-16,-13-1 0,0 0 0,13-12 16,1 12-16,-14-13 0,13 1 15,0-1-15,0 0 0,0-13 0,1 13 16,-1-13-16,0 0 0,0 0 0,1-13 15,12 0-15,-13 13 0,0-27 0,14 14 16,-14-13-16,0-14 0,1 14 16,-1-14-16,-13 13 0,0-12 0,0-1 15,-13 0-15,-1 1 0,1-1 0,0 0 16,-14 14-16,1-1 0,0 1 16,12-1-16,-12 14 0,-1 0 15,14 0-15,0 13 0,-13 0 0,12 0 16,1 13-16,0 13 15,0-12-15,13 12 0,0 1 16,0-1-16,13 14 0,-13-1 0,13 1 16,0-13-16,1 12 0,-1 1 0,26 26 15,-25-26-15,12-14 0,-13 1 16,1 12-16,12-25 0,-13 12 16,0-13-16,1 14 0,-1-14 0,0 0 15,0 0-15,1 1 0,-1-1 16,0-13-16,-13 13 0,13-13 0,14 0 15</inkml:trace>
  <inkml:trace contextRef="#ctx0" brushRef="#br0" timeOffset="13124.98">18666 6945 0,'27'14'31,"-27"-1"-31,0 0 16,0 0-16,0 0 0,0 14 0,-13-14 15,13 0-15,0 1 0,-14-1 0,14 0 16,0 0-16,0 1 0,0-1 15,0 0-15,0 0 16,0 0-16,14 1 16,-1-14-1,0 0-15,0-14 0,0 14 16,1 0-16,-1-13 0,0 0 16,0 13-16,-13-13 0,14 13 15,-1-13-15,-13-1 0</inkml:trace>
  <inkml:trace contextRef="#ctx0" brushRef="#br0" timeOffset="13324.38">19050 6800 0,'13'-13'0,"0"13"0,1-14 15,-1 14-15,0-13 16,0 13-16,1 0 16,-1 13-16,-13 1 15</inkml:trace>
  <inkml:trace contextRef="#ctx0" brushRef="#br0" timeOffset="13512.82">19063 6932 0,'-13'13'16,"26"-26"-16,-26 40 0,0-27 15,39 0 1,-13 0 0,1 0-16,-1-14 15,0 14-15,0 0 0,1-13 16,-1 13-16,0 0 0,-13-13 16,13 13-16,1 0 0,-1 0 0,-13-13 15,13 13-15,0 0 16,0-14-16</inkml:trace>
  <inkml:trace contextRef="#ctx0" brushRef="#br0" timeOffset="14202.99">19778 6747 0,'-14'26'0,"14"40"31,0-52-31,0-1 16,0 0-16,0 0 0,14 1 15,-14-1-15,0 0 16,0 0-16,-14-52 47,14 25-47,0 1 0,0-13 15,0-1-15,-13 1 0,13-1 0,0 14 0,0-13 16,0 12-16,0 1 0,0 0 16,0 0-16,0 0 0,13 13 15,1 13 1,-14 0 0,13 0-16,-13 0 0,13 1 15,0-1-15,1 0 0,-14 0 16,13-13-16,-13 14 0,13-14 0,0 0 15,0 0-15,1-14 16,-1 1-16,0 0 0,0 0 16,-13-1-16,14 1 0,-1 0 0,-13 0 15,26 0-15,-26-1 16,13 14-16,-13-13 0,14 13 16,-1 13-16,-13 1 0,13-1 15,-13 0-15,0 0 16,0 14-16,0-14 0,13 0 15,-13 0-15,0 1 0,0-1 0,0 0 16,14 0-16,-14 0 0,13-13 16,-13 14-16,13-14 15</inkml:trace>
  <inkml:trace contextRef="#ctx0" brushRef="#br0" timeOffset="15004.01">20294 6773 0,'13'-26'0,"-26"52"0,26-65 16,-13 25 15,-27 28-15,27-1-16,-13-13 0,13 13 15,0 0-15,-13 1 0,13-1 16,0 0-16,0 0 0,13 0 16,0 1-16,1-14 15,-1 0-15,0 0 0,13 0 16,-12 0-16,25-14 0,-12 14 0,13-13 16,-1 0-16,-12 13 0,12-13 0,41-14 15,-54 14-15,-13 0 16,14 13-16,-1-13 0,-12-1 0,-1 1 15,0 13-15,0-13 0,0 13 0,1-13 16,-1 13-16,-13-13 16,-27 13-1,14 13-15,0-13 16,0 13-16,0 0 0,-1-13 0,1 13 16,0 1-16,0-1 0,-1 0 15,14 0-15,-13-13 0,13 14 16,0-1-16,0 0 0,13-13 15,-13 13-15,14-13 0,12 0 16,-26-13-16,13 13 16,14-13-16,-14 13 0,0-13 0,14-14 15,-14 14-15,0-14 0,0 14 16,1-26-16,-14 12 0,13-13 16,-13 14-16,13-1 0,-13 1 15,0 0-15,0 12 0,13-12 0,-13 13 16,0-14-16,0 14 0,0 0 15,-26 39 1,26 1 0,-13-14-16,13 0 15,-14 14-15,14-14 0,0 13 0,0-13 16,0 14-16,0-14 0,0 0 16,14 14-16,-14-14 0,13 0 15,0-13-15,-13 14 0,13-14 0,1 0 16,-1 0-16,13 0 15,-13 0-15,14 0 16,-14 0-16,0 13 0,1 0 16,-1 0-16,-13 0 15,13 1-15,-13-1 16,13-13-16,-13 13 0,14-13 16,-1 0-1,0-13 1</inkml:trace>
  <inkml:trace contextRef="#ctx0" brushRef="#br0" timeOffset="15107.59">21140 6496 0</inkml:trace>
  <inkml:trace contextRef="#ctx0" brushRef="#br0" timeOffset="15868.33">21392 6443 0,'-14'0'0,"-12"0"15,13 0 1,-1 13-16,1-13 0,0 13 0,0 0 16,-1 1-16,1-1 0,0 0 15,0 13-15,0 1 0,-1-14 16,14 0-16,0 1 0,0-1 0,0 0 16,0 0-16,14-13 15,-14 14-15,13-14 0,0 0 16,13-14-16,-12 14 15,-1 0-15,0-13 0,-13 0 16,13 13-16,1-13 16,-1-1-16,-13 1 0,13 0 15,0 0 1,-13-1-16,14 14 16,-14-13-16,13 13 31,0 13-16,0 1 1,-13-1 0,13-13-16,-13 13 15,14 0 1,-1-13 0,0-13-1,0 13 1,-13-13-16,14 13 15,-1-13-15,0 13 16,0 0 0,1 0-1,-14 13-15,13-13 16,0 13-16,0-13 16,-13 13-1,13-13-15,-13 14 16,14-28-1,-1 14-15,93-79 94</inkml:trace>
  <inkml:trace contextRef="#ctx0" brushRef="#br0" timeOffset="16107.9">22304 6363 0,'-39'13'15,"25"1"-15,-25 12 0,-14 14 16,13 0-16,-13-14 0,-39 53 15,52-26-15,-53 27 16,40-41-16,27 14 0,-53 27 16,52-54-16,14 1 0,-14-1 15,14 0-15,0-12 0,39-14 32,-12-14-32</inkml:trace>
  <inkml:trace contextRef="#ctx0" brushRef="#br0" timeOffset="16319.12">22371 6403 0,'-14'26'16,"1"-12"-16,-13 12 0,-41 40 16,28-26-16,-1 0 0,0 13 15,-13-14-15,1 14 0,12 0 16,-66 53-16,66-53 0,1-14 15,-27 54-15,26-40 0,27-27 16,-14 14-16,14-13 0,0-1 16,-1-13-16,14 0 0,-13 1 0,13-1 15</inkml:trace>
</inkml:ink>
</file>

<file path=ppt/ink/ink15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46:26.194"/>
    </inkml:context>
    <inkml:brush xml:id="br0">
      <inkml:brushProperty name="width" value="0.05292" units="cm"/>
      <inkml:brushProperty name="height" value="0.05292" units="cm"/>
      <inkml:brushProperty name="color" value="#0070C0"/>
    </inkml:brush>
  </inkml:definitions>
  <inkml:trace contextRef="#ctx0" brushRef="#br0">3757 3532 0,'0'0'0,"0"13"62,0 54-62,-13 52 16,13 39-16,0 28 15,0 131-15,53 93 16,-27 133-16,14 39 16,-14 39-16,-26 160 15,0-199-15,0-79 16,0-146-1,14-66-15,12 13 16,-26-119-16,13-39 16,-13-67-16,14-13 15,-14-39-15,0-14 0</inkml:trace>
  <inkml:trace contextRef="#ctx0" brushRef="#br0" timeOffset="2508.73">3770 3691 0,'27'0'110,"52"13"-110,14 0 0,39 1 15,40 12 1,-40-26-16,120 13 15,12 1-15,14-14 16,92 26-16,239-26 16,79 0-16,-119 0 15,79 26-15,66-26 16,186 0-16,-146 0 16,-40 0-16,-65 27 15,-41-1-15,186 1 16,-238 13-16,-54-14 15,-25 0-15,-41-26 16,1 40-16,52 0 16,67 39-16,-54-52 15,-25 12 1,144-12-16,-144-1 0,-94-26 16,-52 0-16,-27 13 15,-52-13-15,-120 0 16,-53 14-16,-39-14 15,-13 0-15,-14 13 16,0-13 0,-13 66 77,53 80-77,-27 12-16,-12 1 16,-1 13-16,40 212 15,13-1-15,0 27 16,27 80-16,39 145 16,-39-132-16,26-40 15,-53-53-15,-13-27 16,39 67-1,-52-106-15,0-159 0,-27-66 16,13-26-16,-26-27 16,27 14-16,-27-54 15,0 14-15,13-27 16,-13 0 0,0 0-1,-13 1 48,-40 25-48,-27-12-15,-65-14 16,13 13-16,-67 14 16,-92-40-16,-53 13 15,-26 27-15,-67-13 16,-26-27-16,-13 0 15,-27 0-15,-171 0 16,158-40-16,-66 13 16,-27 27-16,0 0 15,-145 0-15,225 0 16,-26-39 0,-1099 12-1,1138 1-15,53 26 16,-146 0-16,41 0 15,171 0-15,26 0 16,120 0-16,-80-13 16,-171-14-1,171 14-15,40 13 0,-40 0 16,106-27-16,-106 14 16,146 0-1,66 0-15,-26-14 16,26 14-16,-53-27 15,0 1-15,13 25 16,0-12-16,53 13 16,27 0-16,26 13 15,-40 0-15,27-14 16,-40 14-16,67 0 16,26 0-16,-14 0 15,14 0 1,-14 0-1,14 0 17,0 0-1,0 0-15,-1-53 93,1 14-93,13-14-16,-26-13 15,26 13-15,-27 13 16,14-39-16,0 26 15,0 0-15,-14-13 16,27 39-16,0 1 16,-13-1-16</inkml:trace>
  <inkml:trace contextRef="#ctx0" brushRef="#br0" timeOffset="6190.51">9499 4683 0,'-14'79'0,"14"-65"16,-13 65-1,13-66-15,-13 14 0,13-14 16,0 0-16,0 14 0,0-14 0,0 0 16,0 0-16,0 1 0,-13-1 15,13 0-15</inkml:trace>
  <inkml:trace contextRef="#ctx0" brushRef="#br0" timeOffset="6676.58">9379 4868 0,'0'40'31,"0"-27"-15,14 0-16,-14 1 0,0-1 0,0 0 15,13 0-15,-13 1 0,0-1 16,13 0-16,-13 0 16,13 1-16,1-14 15,-1 0-15,0 0 16,0 0 0,1-14-16,-1 14 15,0-13-15,0 13 0,-13-13 16,13 13-16,-13-13 0,14 13 15,-14-14-15,13 14 0</inkml:trace>
  <inkml:trace contextRef="#ctx0" brushRef="#br0" timeOffset="7468.36">10676 4683 0,'13'40'31,"-13"-27"-31,0 0 15,0 0-15,0 1 0,0 12 0,0-13 16,0 14-16,0-14 0,0 0 0,13 14 16,-13-14-16,0 0 0,0 0 15,0 1-15,0-1 0,0 0 0,0 0 16,0 1-16,0-1 16</inkml:trace>
  <inkml:trace contextRef="#ctx0" brushRef="#br0" timeOffset="7943.54">10597 4934 0,'13'27'47,"-13"-14"-47,13-13 15,-13 13-15,0 1 0,13-1 16,-13 0-16,0 0 0,13-13 16,-13 14-16,14-1 15,-1-13 1,0 0 0,0 0-1,1 0-15,-14-13 0,13-1 16,0 1-16,0 0 15,1 0-15,-14-1 16,13 14-16,-13-13 16,13 0-16,0 0 15,0 13 1</inkml:trace>
  <inkml:trace contextRef="#ctx0" brushRef="#br0" timeOffset="8751.16">12846 4643 0,'0'40'16,"0"-27"-1,0 1-15,0-1 0,0 0 0,0 0 16,0 0-16,0 14 0,-14-14 0,14 0 16,0 14-16,0-14 15,0 0-15,0 1 0,0-1 0,0 0 16,0 0-16,0 0 0,0 1 0,0-1 15</inkml:trace>
  <inkml:trace contextRef="#ctx0" brushRef="#br0" timeOffset="9135.39">12753 4895 0,'0'13'15,"0"0"-15,0 0 16,0 1-16,13-1 15,-13 0-15,0 0 16,13-13-16,-13 14 0,14-1 16,-1-13-16,0 13 15,0-26 1,1 13-16,-1 0 16,0 0-16,-13-13 0,13 13 15,0 0-15,-13-14 0,14 14 16,-1 0-16,0-13 0,0 13 15,-13-13-15,14 13 0</inkml:trace>
  <inkml:trace contextRef="#ctx0" brushRef="#br0" timeOffset="14132.66">7210 6191 0,'-27'13'47,"14"-13"-47,13 14 16,-13-14-16,0 13 0,0 0 0,13 0 15,-14 1-15,1-1 0,0 0 0,0 0 16,-1 1-16,1-1 0,0 0 15,13 0-15,-13 0 0,-1 1 0,1-1 16,0 0-16,0 0 16,13 1-1,-13-14-15,13 13 0,-14-13 16,14 13-16,-13-13 31</inkml:trace>
  <inkml:trace contextRef="#ctx0" brushRef="#br0" timeOffset="14444.46">6945 6337 0,'-13'0'32,"0"13"-32,0-13 0,13 13 0,-14-13 15,14 13-15,0 1 0,-13-1 0,13 0 16,-13 0-16,13 14 0,-13-14 16,13 0-16,0 1 0,0-1 0,0 0 15,0 0-15,0 0 0,0 1 16,0-1-1,13-13-15,0 0 0,0 13 16,1-26 0,-1 13-16,0 0 15,-13-13-15,13 13 0,1 0 0,-14-14 16,13 14-16</inkml:trace>
  <inkml:trace contextRef="#ctx0" brushRef="#br0" timeOffset="15243.26">6125 6535 0,'0'0'15,"-13"13"-15,13 1 0,-13-1 0,13 13 16,0-12-16,0-1 15,0 0-15,0 0 0,0 1 0,13-1 16,-13 0-16,0 13 0,13-12 16,-13-1-16,13-13 0,-13 13 15,14 0-15,-14 1 0,13-14 0,0 13 16,0-13-16,0 0 0,1 0 16,-1 0-16,0 0 15,0-13-15,1-1 0,-1 1 16,-13 0-16,0 0 0,13-1 0,-13-12 15,0 13-15,-13-14 0,13 14 16,0-13-16,-13 12 0,-1-12 16,14 13-16,-13-14 0,0 14 0,13 0 0,-13 0 15,13-1-15,-14 1 0,14 0 16,-13 0-16,0-1 0,13 1 16,-13 13-1,26 27 16,-13-14-31,13 0 0,0 14 16,-13-14-16,14 0 0,-1 0 16,0 14-16,0-14 0,-13 13 0,14-12 15,-1-1-15,0 13 0,-13-12 0,13-1 16,1 0-16,-14 0 0,13 0 16,-13 1-16,13-1 0,0 0 15,-13 0-15,13-13 16,-13 14-16,14-14 0</inkml:trace>
  <inkml:trace contextRef="#ctx0" brushRef="#br0" timeOffset="15568.28">6456 6628 0,'-13'26'31,"13"-12"-31,13 12 15,-13-13 1,13 0-16,-13 1 16,13-14-16,-13 13 0,14-13 0,-1 0 15,0 0-15,0-13 16,0 13-16,-13-14 16,0 1-16,14 0 0,-28 0 15,14 0-15,0-1 16,-13 1-16,13 0 0,-13 13 0,13-13 15,-13 13-15,0 0 0,13-14 16,-14 14-16,-12 0 16,13 0-16,13 14 0,-14-14 15,14 13-15,-13-13 0,0 13 16</inkml:trace>
  <inkml:trace contextRef="#ctx0" brushRef="#br0" timeOffset="17296.36">14076 6218 0,'0'13'62,"0"0"-62,13 0 0,-13 1 16,0-1-16,13 0 0,-13 0 16,14 1-16,-1-1 0,-13 0 15,13 13-15,0-12 0,0-1 0,-13 0 16,14 0-16,-14 1 0,13-1 0,0 0 15,-13 0-15,13-13 0,-13 14 16,14-1-16,-14 0 16,13-13-16</inkml:trace>
  <inkml:trace contextRef="#ctx0" brushRef="#br0" timeOffset="17647.95">14116 6509 0,'26'66'15,"-26"-53"1,13 0-16,0 1 0,-13-1 15,14-13-15,-14 13 0,13 0 0,0-13 16,0 0-16,-13 14 0,14-14 0,-1 0 16,0 0-16,14 0 15,-14-14-15,0 1 16,0 0-16,-13 0 16,0-1-16,0 1 0,0 0 15,0 0-15,0-1 16,0 1-16,0 0 0,-13 0 15</inkml:trace>
  <inkml:trace contextRef="#ctx0" brushRef="#br0" timeOffset="18141.86">14499 6443 0,'0'26'31,"0"-13"-31,0 1 0,0 12 0,-13-13 16,13 0-16,0 1 0,13 12 0,-13-13 16,0 14-16,0-14 0,13 0 0,-13 1 15,14-1-15,-14 0 0,13 0 16,0 0-16,0-13 0,1 0 15,-1 14-15,-13-28 0,13 14 16,0 0-16,0-13 0,1 13 0,-1-13 16,0-13-16,0 12 0,1 1 15,-14-13-15,13 12 0,-13-12 0,0 13 16,0-14-16,0 14 0,0-13 0,-13 12 16,13 1-16,-14 0 0,14-14 15,-13 27-15,0-13 0,0 0 0,-1 13 16,1-13-16,0 13 0,0 0 15,-14 13-15,14-13 16,0 13-16,13 0 16,-13 1-16,13-1 0,0 0 0,0 0 15,0 1-15,0-1 0,13 0 0,-13 13 16,13-12-16,0-1 0,-13 0 16,14 14-16,-1-14 0,-13 0 0,13 0 15,13 1-15,-26-1 0,14 0 16,-14 0-16,13-13 0,0 13 0,0 1 15,-13-1 1</inkml:trace>
  <inkml:trace contextRef="#ctx0" brushRef="#br0" timeOffset="18476.7">14975 6588 0,'0'0'0,"-26"13"31,26 1-31,-13-1 16,-1 0-16,14 0 0,-13 1 16,0-1-16,13 0 15,-13 0-15,13 0 16,0 1-16,13-1 15,0-13 1,0 0 0,-13 13-16,14-13 0,-1 0 15,0 0-15,0-13 0,1 13 16,-1 0-16,0-13 16,0-1-16,1 1 15,-1 0-15</inkml:trace>
  <inkml:trace contextRef="#ctx0" brushRef="#br0" timeOffset="18694.8">15015 6615 0,'0'26'16,"0"-52"-16,0 65 0,0-25 0,0-1 15,0 0-15,0 0 0,0 0 16,0 1-16,13-1 0,-13 0 0,0 0 15,0 1-15,14-1 0,-14 0 0,0 0 16,13-13-16,-13 13 0,13 1 16,-13-1-1,13-13-15,-13 13 16</inkml:trace>
  <inkml:trace contextRef="#ctx0" brushRef="#br0" timeOffset="19959">6694 6945 0,'-13'0'0,"26"27"31,-13-14-16,0 0 1,13-13-16,-13 13 16,0 1-16,13-41 47,-13 14-32,0 0 16,14 13-31,-1 13 32,0-13-32,-13 13 15,13-13 1,1-13 15,-14 0-15,13 13-16,-13-13 15,0-1 1,13 14-16,0 0 16,-13 14-1,13-14 1,1 0-16,-14 13 0,13-13 16,0 0-16</inkml:trace>
  <inkml:trace contextRef="#ctx0" brushRef="#br0" timeOffset="20151.28">6959 6866 0,'13'26'31,"-13"-12"-31,0-1 16,13 0-1,-13 0-15,0 1 0,13-14 16,-13 13-16</inkml:trace>
  <inkml:trace contextRef="#ctx0" brushRef="#br0" timeOffset="20326.66">6879 6747 0,'-26'13'32</inkml:trace>
  <inkml:trace contextRef="#ctx0" brushRef="#br0" timeOffset="20730.58">7038 6813 0,'13'40'31,"-13"-27"-31,13 0 0,-13 0 16,14 1 0,-14-1-16,13-13 15,0-13 1,0-1-1,1 1 1,-1 13 0,0 0-1,0 0-15,0 13 16,1-13 0,-14 14-16,13-14 0,0 13 15,0-13 1</inkml:trace>
  <inkml:trace contextRef="#ctx0" brushRef="#br0" timeOffset="21640.58">15333 6257 0,'-14'0'15,"1"14"-15,0 12 16,13-13-16,-13 1 16,13-1-16,0 13 0,0-13 0,0 14 15,0-14-15,0 14 0,13-14 0,-13 13 16,13-12-16,-13 12 0,13-13 16,1 0-16,-14 1 0,13-1 0,0 0 15,0 0-15,1 1 0,-1-14 16,0 0-16,-13 13 0,13-13 15,0 0-15,1-13 0,-1 13 16</inkml:trace>
  <inkml:trace contextRef="#ctx0" brushRef="#br0" timeOffset="22175.5">15571 6429 0,'0'0'0,"0"14"31,0-1-15,0 0-16,0 0 15,0 1-15,0-1 16,13-13-16,-13 13 16,0 0-1,13-39 16,-13 13-15,13 13-16,-13-14 16,14 1-16,-1 13 31,0 0-15,-13 13-16,13 1 15,-13-1 16,14-26 1,-1-1-32,-13 1 15,13 13-15,-13-13 16,13 13-16,0 0 31,1 13-31,-1 0 16,-13 1-1,13-14-15,-13 13 16,13-13 0,1 0-1</inkml:trace>
  <inkml:trace contextRef="#ctx0" brushRef="#br0" timeOffset="22556.6">15954 6376 0,'0'0'0,"-26"0"32,13 0-32,-1 0 15,14 14-15,-13-14 0,13 13 0,-13-13 16,13 13-16,-13-13 0,13 13 0,0 1 16,-13-14-16,13 13 0,0 0 15,0 0 1,13 1-1,0-28 1,0 14-16,0-13 16,1 0-1,-1 0 1,0 13 0,0 0-1,-13 13 1,0 0-1,14 0-15,-14 1 16,13-14-16,0 0 31</inkml:trace>
  <inkml:trace contextRef="#ctx0" brushRef="#br0" timeOffset="22754.03">16192 6324 0,'0'0'0,"-13"26"16,13-13-1,0 0-15,-13-13 0,13 14 0,0-1 16,-13 0-16,13 0 16,-13-13-16,13 14 0,0-1 0,-14 0 15,14 0-15,-13 1 16</inkml:trace>
  <inkml:trace contextRef="#ctx0" brushRef="#br0" timeOffset="22946.64">16073 6416 0,'0'27'47,"14"-27"-47,-14 13 15,13-13-15,-13 13 16,13-13-16,0 0 16,1 0-16,-1 0 0,0 0 15,0 0-15,0-13 16,1 13-16,-1 0 0</inkml:trace>
  <inkml:trace contextRef="#ctx0" brushRef="#br0" timeOffset="23217.05">16153 6072 0,'13'-13'0,"0"26"15,172 67 16,-158-54-31,-1 0 0,1-12 0,-1 12 16,-12 1-16,-1-14 0,-13 13 16,13 1-16,-13-14 0,-13 13 0,13 1 15,-13 13-15,-1-1 0,1 1 0,0-14 16,0 14-16,-14 0 0,1 0 0,12-14 16,-12 14-16,0-14 15</inkml:trace>
  <inkml:trace contextRef="#ctx0" brushRef="#br0" timeOffset="30418.55">9459 6707 0,'0'13'344,"0"1"-344,0-1 15,13 0 1,-13 0-16,0 1 0,0-1 15,13-13-15,-13 13 16,14 0-16,-1 0 16,0 1-16,0-14 15,-13 13-15,13-13 0,1 0 16,-14 13-16,13-13 0,0 0 0,0 13 16,1-13-16,-1 0 15,0 0-15,0 0 16,1 0-16,-1 0 0,0 0 15,0 0-15,0 0 16,1 0-16,-1 0 0,0-13 16,0 13-16,1 0 0,-1-13 0,13 13 15,-13-13-15,1 13 0,-1 0 16,0-14-16,0 14 16,1 0-16,-1-13 0,0 13 0,0 0 15,1-13-15,-1 13 0,0 0 0,0 0 16,-13-13-16,13 13 0,1 0 15,-1 0-15,0 0 0,0-13 0,1 13 16,-1 0-16,0 0 0,0 0 0,1-14 16,-1 14-16,0 0 0,0 0 15,0 0-15,14 0 0,-14-13 0,0 13 16,1 0-16,-1 0 0,13 0 16,-12 0-16,12-13 0,-13 13 0,14 0 15,-14 0-15,13 0 0,1 0 16,-14-13-16,14 13 0,-1 0 15,0 0-15,-12 0 0,12 0 0,-13 0 0,14 0 16,-14 0-16,0 0 0,14 0 16,-14 0-16,0 0 0,0 0 0,14 0 15,-14 0-15,0 0 0,1 0 16,-1 13-16,0-13 0,13 0 0,-12 0 16,-1 13-16,0-13 0,0 0 15,1 13-15,-1 1 0,0-14 16,0 13-16,1 0 15,-1-13-15,-13 13 0,13-13 0,-13 13 16,13-13-16,-13 14 0,13-14 0,-13 13 16,14 0-16,-14 0 15,13-13-15,-13 14 16,13-1 0,-13 0-1,0 0 1,13-13-16,-13 14 31,0-41 16,14 27-47,-14-13 16,13 0-1,-13-1-15,13 14 16,-13-13-16,13 13 0,-13-13 15,13 13-15,-13-13 16,14 13-16,-1-14 0,0 14 16,0-13-16,1 13 15,-1-13 1,0 13-16,0 0 0,14 0 0,-14 0 16,0-13-16,0 13 0,14 0 0,-14 0 15,0 0-15,14-13 0,-14 13 0,14 0 16,-14 0-16,0 0 15,13 0-15,-12 0 0,-1 0 0,13 0 0,-12 0 16,-1 0-16,13 0 0,-12 0 0,-1 0 16,0 0-16,13 0 0,-12 0 15,-1 0-15,0 0 0,0 0 0,27 0 16,-27 0-16,14 0 16,-1 0-16,-13 0 15,1 13-15,-1-13 0,0 0 0,0 0 16,1 0-16,-1 0 0,0 0 15,13 0-15,-12 0 0,-1-13 0,0 13 16,0 0-16,1 0 0,12 0 16,-13 0-16,1 0 0,-1 0 0,0 0 15,0 0-15,0 0 0,1 0 0,-1 0 16,0 0-16,0 0 0,1 0 16,-1 0-16,0 0 0,0 0 0,1 0 15,-1 0-15,0 0 0,0 0 16,0 0-16,1 0 0,12 0 15,-13 0 1,1 0-16,-1 13 16,0-13-16,0 0 15,0 0-15,1 0 16,-1 0-16,0 0 16,0 0-16,1-13 15,-1 13-15,0 0 16,0 0-16,1 0 15,-1 0-15,0 0 16,0 0-16,-13-14 0,13 14 16,1 0-16,-1-13 15,0 13-15,0 0 0,-13-13 16,14 13-16,-1-13 16,0-1-1,-13 1 1,13 13-16,-13-13 15,14 13-15,-14-13 16,0 0 15,13 13-15,-13-14 93,-13 28-15,-1-14-94,14 13 16</inkml:trace>
  <inkml:trace contextRef="#ctx0" brushRef="#br0" timeOffset="36479.43">21458 5980 0,'-40'13'15,"27"0"-15,0 0 0,-1 0 16,-12 1-16,13-1 0,-14 0 0,1 14 15,-1-14-15,1 13 0,-1-12 16,1 12-16,13-13 0,-14 0 16,14 1-16,0-1 0,0 0 0,-1 0 15,1-13-15,13 14 0,-13-1 0,0-13 16,13 13-16,-14-13 16</inkml:trace>
  <inkml:trace contextRef="#ctx0" brushRef="#br0" timeOffset="36763.68">21140 6112 0,'-66'53'31,"66"-40"-31,-13 0 0,0 14 0,-1-14 16,14 13-16,-13-12 0,13-1 0,0 13 16,-13-12-16,13-1 0,0 0 0,13 0 15,-13 0-15,0 1 0,13-1 16,1 0-16,-1-13 0,0 13 0,0-13 16,14 0-16,-14 0 0,0 0 0,14 0 15,-14 0-15,13 0 16,-12 0-16,12 0 0,-13 0 0,14-13 15,-14 13-15,13 0 0,1-13 0,-14 13 16</inkml:trace>
  <inkml:trace contextRef="#ctx0" brushRef="#br0" timeOffset="38621.28">21868 5503 0,'0'0'0,"-27"14"32,27-1-32,-13 0 0,13 13 0,-13-12 15,13-1-15,0 13 0,-13-12 0,13 12 16,0-13-16,0 14 0,0-14 16,0 0-16,0 0 0,13 1 15,-13-1-15,13 0 0,-13 0 0,13-13 16,-13 14-16,14-14 0,-1 13 0,0-13 15,0 0-15,1 0 0,-1-13 16,0 13-16,0 0 0,0-14 0,1 1 16,-1 0-16,0-14 0,0 14 0,-13-13 15,14 13-15,-14-14 0,13 1 16,-13 12-16,0-12 0,0-1 0,0 14 16,0-13-16,-13-1 0,13 14 15,-14-13-15,14 12 0,-13 1 0,0 0 16,13 0-16,-13 0 0,-1-1 15,1 14-15,0 0 0,0 0 16,0 0-16,-1 14 16,1-1-16,13 0 0,-13 0 15,13 0-15,-13 14 0,13-14 16,0 0-16,0 14 0,0-14 16,0 0-16,0 0 0,0 14 0,13-14 15,-13 0-15,13 1 0,-13-1 0,13 0 16,-13 0-16,14 1 0,-1-14 15,-13 13-15,13-13 0,0 13 0,0-13 16,1 0-16,-1 0 16,0-13-16,0 13 0,1 0 0,-14-13 15,13 13-15,0-14 16,-13 1-16,13 13 0,-13-13 0,13 13 16,-13-13-16,14 13 0,-1-14 15,0 1 1,-13 26 15,0 1-31,0-1 16,0 0-16,13-13 0,-13 13 15,0 1-15,14-14 0,-14 13 16,13-13-16,0 0 16,0 0-1,1-13-15,-1 13 0,0-14 0,0 1 16,0 13-16,-13-13 0,14 0 15,-1 13-15,-13-14 16,13 14 0,0 0-1,-13 14-15,0-1 16,14 0 0,-14 0-16,13-13 15,-13 14-15,13-14 16,0 0-16,1-14 15,-1 14-15,0-13 0,0 13 16,-13-13-16,13 0 0,1-1 0,-1 14 16,-13-26-16,13 13 0,0-1 15,-13-12-15,14 13 0,-14-14 16,13 1-16,-13-1 0,13 14 0,-13-13 16,0-1-16,13 1 0,-13-1 15,0 1-15,0-1 0,0 14 0,0 0 16,0 0-16,0 0 0,13-1 0,-13 1 15,0 0-15,-13 26 32,13 0-32,-13 14 15,13-14-15,0 13 0,0 1 16,0-1-16,-13 1 0,13-1 16,0 1-16,0-14 0,0 13 0,0 1 15,0-14-15,0 14 0,13-14 0,-13 0 16,0 13-16,13-12 15,-13-1-15,0 0 0,13 0 0,1 1 16,-28-41 31,1 14-47,0 13 0,13-13 16,-13 13-16,0 0 0,-1 0 15,14-14-15,-13 14 0,0 0 0,-14 0 16,27-13-16,-13 13 15,26-13 17,1 0-17,-1 13-15,0-13 0,0-1 0,1 14 16,-1-13-16,0 0 0,0 13 16,0-13-16,1-1 0,-1 14 0,0-13 15,0 13-15,1-13 0,-1 13 16,0 0-1,-13 13 1,13-13-16,-13 13 0,0 1 16,0-1-16,0 0 0,0 0 15,0 1-15,0-1 16,14 0-16,-14 13 16,0-12-1</inkml:trace>
  <inkml:trace contextRef="#ctx0" brushRef="#br0" timeOffset="38925.58">22847 5212 0,'0'0'0,"0"-13"0,-13 40 31,-1-14-15,14 0-16,0 0 0,0 14 0,0-14 16,-13 13-16,13-12 0,0 12 15,0-13-15,0 14 0,0-14 0,0 13 16,0-12-16,0-1 0,0 13 0,0-12 16,0-1-16,0 0 0,-13 0 0,13 0 15,0 1-15,0-1 16,0 0-16,0 0 0,0 1 15,0-1 1,13-13 0</inkml:trace>
  <inkml:trace contextRef="#ctx0" brushRef="#br0" timeOffset="39384.04">22701 5569 0,'0'-92'31,"0"65"-31,0 1 0,0 0 16,0-1-16,0-13 0,-13 14 0,13-14 15,0 14-15,0-1 0,0 1 16,0 13-16,0-1 0,0-12 0,0 13 16,0-1-16,0 1 15,0 0-15,0 0 0</inkml:trace>
  <inkml:trace contextRef="#ctx0" brushRef="#br0" timeOffset="39555.94">22807 5040 0,'0'-13'0,"13"26"31</inkml:trace>
  <inkml:trace contextRef="#ctx0" brushRef="#br0" timeOffset="40183.32">23058 5411 0,'0'-13'0,"0"-1"16,0-25-1,0 25-15,0 1 16,-13 13 0,0 0-16,0 0 15,13 13-15,-13 1 0,13-1 16,-14 0-16,14 0 16,0 1-16,-13-14 0,13 13 0,0 0 15,0 0-15,0 0 0,13-13 16,-13 14-16,0-1 0,14 0 15,-1-13 1,0 0-16,0 0 16,-13-13-16,13 13 15,-13-13-15,14 13 0,-14-14 0,13 1 16,0 0-16,0 0 0,1 0 16,-1-1-16,0 14 15,0-13-15,1 26 16,-1 1-1,-13-1-15,0 0 0,0 0 16,0 0-16,0 1 16,13-1-1,-13 0 1,13-39 0,0 26-1,1-14-15,-1 1 0,0-13 0,0 13 16,1-1-16,-1 1 0,0 0 15,0 0-15,0-1 0,1 1 16,-1 13-16,0-13 0,0 26 16,-13 0-16,-13 14 15,13-14-15</inkml:trace>
  <inkml:trace contextRef="#ctx0" brushRef="#br0" timeOffset="40435.3">22212 5953 0,'185'-92'31,"-132"78"-31,0-12 0,0 13 0,13-14 15,-13 14-15,0 0 0,13-14 0,-26 27 16,12-13-16,-12 0 0,-13 0 16,-1 13-16,1 0 0,-14 0 0,0 0 15,0 0-15,0 0 0</inkml:trace>
  <inkml:trace contextRef="#ctx0" brushRef="#br0" timeOffset="40663.57">22291 6046 0,'27'-14'0,"145"-52"32,-133 53-32,14 13 0,-13-13 0,39-14 15,-39 14-15,0 0 0,-1 13 16,-12-13-16,-14 13 0,13 0 0,-12-13 15,-1 13-15,0 0 0,0 0 16,1 0-16,-1 0 0,0 0 0,0 0 16</inkml:trace>
  <inkml:trace contextRef="#ctx0" brushRef="#br0" timeOffset="41143.41">22900 6178 0,'13'53'16,"-13"-40"-1,0 0-15,13 14 0,-13-1 16,0 1-16,13-1 0,-13-13 0,14 14 16,-14-1-16,0-12 0,13 12 15,-13-13-15,0 14 0,0-14 0,0 0 16,13-13-16,-13 13 0,0 1 0,0-1 15</inkml:trace>
  <inkml:trace contextRef="#ctx0" brushRef="#br0" timeOffset="41373.46">22992 6178 0,'-13'-13'0,"-13"39"32,12-26-32,1 13 0,-13 14 0,12-14 15,-12 14-15,0-1 0,-1 1 0,1-1 16,12 0-16,-12-12 0,-1 12 16,14-13-16,0 1 0,0-1 0,0 0 15,-1-13-15</inkml:trace>
  <inkml:trace contextRef="#ctx0" brushRef="#br0" timeOffset="41527.57">22939 6191 0,'14'27'0,"-1"-27"0,0 13 15,-13 0-15,13-13 0,-13 13 16,14-13-16,-14 14 0,52 25 31,-38-39-31,-14 14 0,13-14 16</inkml:trace>
</inkml:ink>
</file>

<file path=ppt/ink/ink15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47:40.450"/>
    </inkml:context>
    <inkml:brush xml:id="br0">
      <inkml:brushProperty name="width" value="0.05292" units="cm"/>
      <inkml:brushProperty name="height" value="0.05292" units="cm"/>
      <inkml:brushProperty name="color" value="#0070C0"/>
    </inkml:brush>
  </inkml:definitions>
  <inkml:trace contextRef="#ctx0" brushRef="#br0">18336 2514 0,'0'39'0,"0"-12"0,0-14 0,0 0 16,0 0-16,0 14 16,13-14-16,-13 0 0,0 14 0,0-14 15,13 0-15,-13 0 0,0 14 0,13-14 16,1-13-16,-14 13 0,13 1 16,0-14-16,-13 13 0,13-13 0,0 0 15,1 0-15,-1 0 0,0 0 0,0-13 16,1-1-16,-1 1 0,0 0 15,14 0-15,-27-14 0,13 1 0,0-1 16,0-12-16,-13 12 0,0 1 0,0-1 16,0-12-16,-13-1 0,0 13 15,0 1-15,-1-1 0,1 1 0,-13 0 16,12 12-16,1 1 0,0 0 16,-14 13-16,14-13 0,0 13 15,0-14-15,0 14 0,-1 0 0,1 14 16,0-14-16,0 13 0,-1 0 0,1 0 15,0 1-15,13 12 0,-13 0 16,13 1-16,0-1 0,0 1 0,13 13 16,-13-14-16,13 14 0,0-1 0,-13-12 15,14-1-15,-1 1 0,0-1 16,0 1-16,1-14 0,-1 13 16,-13-12-16,13-1 0,0 0 0,0 0 15,-13 1-15,14-1 0,-14 0 0,13-13 16,-13 13-16,13-13 0,0 0 15,1 0-15</inkml:trace>
  <inkml:trace contextRef="#ctx0" brushRef="#br0" timeOffset="683.99">18838 2619 0,'-26'14'0,"13"52"31,-1-53-31,14 0 0,0 0 0,14 1 16,-14-1-16,0 0 0,0 0 0,13 1 15,-13-1-15,13-13 0,0 13 16,1-13 0,-1-13-16,0 13 15,-13-13-15,13-1 0,-26 1 16,13 0-16,0-14 15,0 14-15,-13 0 0,13 0 0,0 0 0,-13-14 16,-1 27-16,14-13 0,-13 0 16,0-1-16,0 14 0,-1 0 15,1 14-15,0-14 16,13 13-16</inkml:trace>
  <inkml:trace contextRef="#ctx0" brushRef="#br0" timeOffset="1417.4">18455 3294 0,'0'0'0,"-14"27"0,1-14 0,13 0 16,0 13-16,0-12 0,0 12 15,0-13-15,0 14 0,0-1 0,0 1 16,13-1-16,-13-13 0,14 14 0,-14-14 15,13 14-15,0-14 0,-13 0 16,13 0-16,1 0 0,-1-13 16,0 14-16,0-14 0,1 0 0,-1 0 15,0 0-15,0-14 0,0 14 0,1-13 16,-1 0-16,0-13 16,0-1-16,-13-13 0,14 14 0,-1-14 0,-13 14 15,0-1-15,-13-12 0,13-1 0,-14 0 16,14 14-16,-13-14 0,0 14 15,0 12-15,-1-12 0,14 13 0,-13 13 16,0-13-16,13-1 0,-13 14 0,0-13 16,-1 26-1,1-13-15,13 14 0,-13-1 16,13 0-16,0 13 0,0-12 0,0 12 16,0 1-16,13-1 0,-13 14 0,13-14 15,-13 14-15,14-14 0,-1 1 16,-13-1-16,13 1 0,0-1 15,-13-13-15,13 14 0,-13-14 0,14 0 0,-14 1 16,13-1-16,-13 0 0,13 0 16,0 0-16</inkml:trace>
  <inkml:trace contextRef="#ctx0" brushRef="#br0" timeOffset="1605.84">18865 3440 0,'0'52'16,"0"-38"-16,0-1 15,0 0-15,0 0 0,0 14 16,0-14-16,-13 0 0,13 1 16,0-1-16,0 0 0,13 0 0,-13 0 15,0 1-15,13-1 16</inkml:trace>
  <inkml:trace contextRef="#ctx0" brushRef="#br0" timeOffset="2480.23">18534 4114 0,'-26'27'16,"26"-14"-16,-14 132 31,28-118-31,-14-1 16,13 1-16,-13-14 0,13 14 15,0-1-15,-13-13 0,14 14 0,-1-14 16,0-13-16,0 13 0,0 0 0,1-13 16,-1 0-16,0 0 0,0 0 0,1 0 15,-1-13-15,0 0 0,0 13 16,0-27-16,1 14 0,-14-13 0,13-1 15,-13-12-15,0-1 0,0 13 0,0-12 16,0-1-16,-13 0 0,-1 14 16,1-14-16,0 14 0,13 13 15,-13-14-15,0 14 0,-1 0 0,1-1 0,0 14 16,0-13-16,-1 0 16,1 13-16,0 0 15,13 13-15,-13 0 0,13 1 0,-13-1 16,13 13-16,0-12 0,0 12 15,0 1-15,0 12 0,0-12 0,0 12 16,0-12-16,13 12 0,-13-12 16,13-1-16,-13 1 0,13-14 0,-13 14 15,13-1-15,-13-13 0,14 0 16,-1 1-16,-13 12 0,13-13 0,0 1 16,-13-1-16,14-13 0,-14 13 15,13 0-15,0-13 0,-13 14 0,13-14 16,0 0-16</inkml:trace>
  <inkml:trace contextRef="#ctx0" brushRef="#br0" timeOffset="2838.29">18971 4326 0,'26'0'0,"-52"0"0,65 13 15,-39 0-15,0 1 16,0-1-16,-13 13 0,13-12 16,-13-1-16,13 13 0,-13-13 0,13 1 15,-14 12-15,14-13 16,-13 1-16,13-1 0,0 0 15,0 0-15,13-13 16,1 0 0,-1 0-16,0-13 0,0 13 15,1 0-15,-1-13 0,0 13 16,0-13-16,0 13 0,1 0 0,-1 0 16,0-14-16</inkml:trace>
  <inkml:trace contextRef="#ctx0" brushRef="#br0" timeOffset="3608.11">18719 4961 0,'-26'13'16,"26"0"-16,-40 93 31,40-79-31,0-1 0,0 1 0,0 12 15,0-12-15,0-1 0,0 1 16,13-1-16,-13 1 0,14-14 0,-14 13 16,13-12-16,0-1 0,0 0 15,0 0-15,1-13 0,-1 13 0,0-13 16,0 0-16,1 0 0,-1-13 0,0 13 16,0-13-16,1 0 0,-1-14 15,0 14-15,0-13 0,-13-1 0,13-13 16,-13-39-16,-13 39 0,13 1 15,-13-1-15,0-26 0,0 26 16,-1 14-16,1-1 0,0 14 16,0 0-16,-1 0 0,1-1 15,0 14-15,0 0 0,-1-13 0,-12 26 16,13-13 0,13 14-16,-13-1 0,13 0 0,0 13 15,0-12-15,0-1 0,0 13 0,0 1 16,13 13-16,0-1 0,-13-12 15,13 12-15,0-12 0,1 13 0,-1-14 16,0 14-16,0-14 0,1 1 0,-1-14 16,0 13-16,0-12 0,-13 12 0,14-13 15,-1 14-15,0-14 0,-13 0 16,13 0-16,-13 1 0,13-1 16,1 0-16,-1 0 15,0-13-15,0 0 16</inkml:trace>
  <inkml:trace contextRef="#ctx0" brushRef="#br0" timeOffset="3944.18">19129 5252 0,'14'13'31,"-14"0"-31,0 1 16,0-1-16,-14-13 15,14 13-15,0 0 0,14 1 16,-14-1-16,13 0 16,-13 0-16,13-13 0,0 14 0,-13-1 15,14-13-15,-1 13 0,-13 0 0,26 0 16,-26 1-1,0-1-15,0 0 16,0 0-16,-13 1 0,0-1 16,0-13-16,-1 13 15,1-13-15,0 13 0,0 0 16,-1-13-16,1 0 16</inkml:trace>
  <inkml:trace contextRef="#ctx0" brushRef="#br0" timeOffset="4888.81">18838 6085 0,'-13'27'31,"13"-14"-31,0 0 0,-13 14 0,13-14 16,0 13-16,0 14 0,0-13 0,0-1 15,0 1-15,0-1 0,13 27 16,-13-27-16,13 1 0,-13-14 16,14 0-16,-1 1 0,0-1 0,13 0 15,-12-13-15,-1 0 0,0 0 16,0 0-16,14 0 0,-14-13 15,0 0-15,1-1 0,12-12 0,-13-1 16,0 1-16,1-53 0,-14 39 16,0 0-16,0-13 0,-14 14 15,1-1-15,-13-26 0,13 39 16,-14 1-16,-13-14 0,27 27 16,-13 13-16,12-13 0,1 13 15,0-14-15,0 14 0,0 0 0,-1 14 16,1-14-16,0 13 0,13 0 15,-13 0-15,13 1 0,-14 12 0,14-13 16,14 14-16,-14 12 0,13-12 16,0 13-16,0-14 0,14 14 0,-14-14 15,0 1-15,14-1 0,-14 1 0,40 39 16,-40-40 0,14 1-16,-14-14 0,13 13 15,-13-12-15,1-1 16,-1 0-16,0 0 0,-13 0 15,13-13-15,-13 14 0,14-14 16</inkml:trace>
  <inkml:trace contextRef="#ctx0" brushRef="#br0" timeOffset="5245.96">19434 6363 0,'-14'27'31,"1"-27"-31,13 13 0,-13 0 0,0 0 16,0 14-16,-1-14 0,1 0 15,0 1-15,13-1 0,-13 0 16,-1 0-16,14 0 0,-13 1 0,0-1 15,13 0 1,0 0-16,13 1 16,0-14-16,1 0 0,12 0 15,1 0-15,-1 0 16,0 0-16,-12 0 0,12-14 16,1 14-16,12-13 15,-26 13-15,1-13 0,25 0 16,-39-1-16,14 1 15</inkml:trace>
  <inkml:trace contextRef="#ctx0" brushRef="#br0" timeOffset="5473.92">19526 6324 0,'-39'52'15,"39"-38"1,0 12-16,0 27 15,0 26 1,0 27-16,13-53 16,-13 0-1,0-40-15,13 27 0,-13-14 16,0 14 0,13-13-16,-13-1 15</inkml:trace>
  <inkml:trace contextRef="#ctx0" brushRef="#br0" timeOffset="6754.1">19725 3453 0,'13'0'0,"0"0"0,0-13 15,1 13-15,-1 0 0</inkml:trace>
  <inkml:trace contextRef="#ctx0" brushRef="#br0" timeOffset="6904.68">19791 3678 0,'53'-14'32</inkml:trace>
  <inkml:trace contextRef="#ctx0" brushRef="#br0" timeOffset="7218.35">19976 4432 0,'13'0'16,"0"0"-16,1 0 15</inkml:trace>
  <inkml:trace contextRef="#ctx0" brushRef="#br0" timeOffset="7391.25">19936 4670 0,'27'0'46,"-14"0"-30</inkml:trace>
  <inkml:trace contextRef="#ctx0" brushRef="#br0" timeOffset="7592.02">19989 5186 0,'13'13'0,"1"-13"0,-1-13 16,0 13-16,0 0 0,1 0 0,12-13 15</inkml:trace>
  <inkml:trace contextRef="#ctx0" brushRef="#br0" timeOffset="8336.42">14274 5199 0,'53'-26'15,"-26"26"1,-1-14-16,14 1 0,-1 0 16,1 0-16,0-1 0,0 1 0,-1 0 15,-12 0-15,12-14 0,-12 27 16,-1-13-16,1 0 0,-14 13 0,0-13 16,0-1-16,1 14 0</inkml:trace>
  <inkml:trace contextRef="#ctx0" brushRef="#br0" timeOffset="8649.9">14605 4987 0,'-40'14'0,"-26"39"16,66-27-1,-13-13-15,13 14 0,-13-1 16,13 1-16,0-1 0,0 1 16,0-1-16,-14 0 0,14 1 0,0-1 15,-13 1-15,13-1 0,0 1 0,-13-14 16,13 0-16,-13 0 0,13 1 15,-13-1-15,13 0 0,-14-13 0,14 13 16,-13-13-16,13 14 0,-13-14 16,0 0-16,39-14 47,-13 14-47,1-13 0,-1 13 0,0 0 15,13 0-15,-12-13 0,-1 13 16,13 0-16,-12-13 0,12 13 15,-13 0-15,1 0 0,12-14 0,-13 14 16,0-13-16,14 13 0,-14-13 0</inkml:trace>
  <inkml:trace contextRef="#ctx0" brushRef="#br0" timeOffset="9224.94">14949 5001 0,'-13'0'0,"26"0"0,-26-14 15,-14 28 1,14-1-16,13 0 0,-13 0 15,13 1-15,0 12 0,-13 0 0,13 1 16,0-14-16,0 14 0,0-1 0,13 1 16,-13-1-16,0-13 0,13 14 15,0-14-15,-13 0 0,13 0 0,1 1 16,-1-1-16,0-13 0,0 13 16,1-13-16,12 0 0,-13-13 0,1 13 15,-1 0-15,13-13 0,-13-1 16,14 1-16,-14-13 0,0-1 0,-13 1 15,14-1-15,-14 1 0,0-1 0,0-12 16,0-1-16,-14 14 16,1-14-16,0 13 0,0 14 0,-1 0 0,14-14 15,-13 27-15,0-13 0,0 0 0,0 13 16,-1 0-16,1 0 16,0 13-16,13 0 0,-13-13 0,13 14 15,0 12-15,-14-13 0,14 14 0,14-14 16,-14 14-16,13 12 0,0-12 15,-13 12-15,13-12 0,1-1 16,12 14-16,-13-14 0,0-12 0,-13 12 16,27 14-16,-14-14 0,0-12 15,-13 12-15,14-13 0,-14 0 16,13 1-16,-13-1 0,13 0 0,-13 0 16,13-13-16,-13 14 0,14-14 15</inkml:trace>
  <inkml:trace contextRef="#ctx0" brushRef="#br0" timeOffset="9751.24">15293 5080 0,'0'-13'0,"0"26"0,0 0 31,0 0-15,0 14-16,0-14 0,0 14 0,0 12 16,0-12-16,0-1 15,0-13-15,0 14 0,0-14 0,0 0 16,0 1-16,0-1 0,-13 0 16,13-39 15,0 12-31,0-12 0,13-14 15,0 14-15,-13-14 0,13 14 0,1-1 16,-1 1-16,0-1 0,0 14 16,-13 0-16,14 0 0,-1-1 15,0 1-15,0 13 0,-13 13 16,0 14 0,0-14-16,-13 0 0,0 14 15,0-1-15,-1 1 0,1-1 16,0 1-16,0-14 0,13 0 0,-14 0 15,14 0-15,-13 1 0,13-1 16,0 0-16,0 0 0,0 1 16,0-1-16,13 0 15,1-13-15,-1 0 16,0 0-16,0 0 16,1-13-16,12 13 0,-26-13 15,13 13-15,0-14 0,1 14 16,-1-13-16,0 0 0,0 0 15</inkml:trace>
  <inkml:trace contextRef="#ctx0" brushRef="#br0" timeOffset="10324.15">15835 4908 0,'-26'26'32,"26"-12"-32,-13-1 0,13 13 15,0 1-15,-14 26 0,14-27 16,0 1-16,0-1 0,0-13 0,14 14 15,-14-1-15,0-12 0,13-1 16,-13 0-16,13 0 0,0 0 0,1-13 16,-14 14-16,13-14 0,0 0 15,0 0-15,0 0 0,1-14 0,-1 14 16,0-13-16,0 0 0,14-27 16,-27 27-16,13-13 0,0-27 15,-13 13-15,0 0 0,0-39 16,-13 39-16,13 1 15,-13-1-15,0 13 0,-1-12 0,1-1 16,0 40-16,13-13 16,-13 0-16,-1 13 15,1 0-15,13 13 16,0 0-16,0 0 0,-13 0 0,13 1 16,0 12-16,0-13 0,0 14 0,13-1 15,-13 14-15,0-14 0,13 1 0,1 13 16,-14-14-16,13-13 0,-13 14 15,13-1-15,-13-13 0,13 14 0,1-14 16,-14 0-16,26 14 0,-13-14 16,-13 0-16,14-13 15,-1 0-15,0 0 0,0 0 0,0 0 16,1 0-16,12 0 16</inkml:trace>
  <inkml:trace contextRef="#ctx0" brushRef="#br0" timeOffset="10655.84">16192 5027 0,'0'0'0,"14"13"31,-14 1-31,0-1 15,-14 0-15,14 0 0,0 0 16,0 1-16,14-14 0,-14 13 16,13 0-16,-13 0 0,13-13 0,-13 14 15,13-1-15,-13 0 0,14-13 16,-14 13-16,13 1 0,-13-1 16,13 0-16,-13 0 15,-13 0-15,13 1 0,-13-1 16,-1 0-16,1-13 0,0 13 15,13 1-15,-27-14 0,14 0 0,0 0 16,0 13-16,0-13 0,-1 0 0,1 0 16,-13 0-16</inkml:trace>
  <inkml:trace contextRef="#ctx0" brushRef="#br0" timeOffset="11015.87">15544 5173 0,'27'-14'0,"-54"28"0</inkml:trace>
  <inkml:trace contextRef="#ctx0" brushRef="#br0" timeOffset="11189.08">15491 5305 0,'0'0'0,"-13"0"16,53 0 15,-27-13-31,0 13 16,14-14-16,-14 14 0</inkml:trace>
  <inkml:trace contextRef="#ctx0" brushRef="#br0" timeOffset="11480.84">16364 4908 0,'27'-26'32,"-14"26"-32,0 0 15,1-14-15,-1 14 0,0 0 0,0-13 16</inkml:trace>
  <inkml:trace contextRef="#ctx0" brushRef="#br0" timeOffset="11964.41">16722 4710 0,'-14'-14'0,"28"28"0,-41-28 16,14 28-16,0-1 15,13 0 1,-13 0-16,13 0 0,-14 14 0,14-14 16,-13 14-16,13-14 0,-13 13 0,13 1 15,13-14-15,-13 0 16,0 0-16,13 1 0,1-1 16,-1-13-16,-13 13 0,13-13 0,0 0 15,14 0-15,-14-13 16,27 0-16,-27 13 0,0-14 15,0-12-15,1 13 0,-1 0 0,-13-1 16,0-12-16,0-1 0,0 1 16,0-1-16,0 1 0,0 0 15,-13-1-15,13-13 0,-14 27 16,14 0-16,-13 0 0,13-14 16,-13 14-16,-14 26 31,27 1-31,0-1 15,0 0-15,14 13 0,-14-12 0,0 12 16,13-13-16,0 14 0,0 26 16,1-27-16,-1-13 15,0 14-15,0-14 0,-13 0 0,13 14 16,1-14-16,-14 0 0,13-13 16,-13 13-16,13 1 0</inkml:trace>
  <inkml:trace contextRef="#ctx0" brushRef="#br0" timeOffset="12164.89">17105 4762 0,'0'27'16,"0"-14"-16,0 0 15,0 1-15,0-1 0,0 0 16,0 0-16,0 1 0,0-1 0,0 0 15,0 0-15,0 0 0,0 1 0,0-1 16,0 0-16,0 0 0,0 1 16,14-14-16,-14 13 0</inkml:trace>
  <inkml:trace contextRef="#ctx0" brushRef="#br0" timeOffset="13481.96">19606 7170 0,'0'0'0,"-14"27"16,-25 26-1,12-14-15,1 14 0,-1-13 16,-12 13-16,-1 0 0,0 0 0,14 0 15,-14 13-15,0-27 0,14 14 16,0 0-16,-27 40 0,39-67 16,-12 1-16,13 12 0,-1-12 0,14-14 15,-13 0-15,0 14 0,13-14 16,-13 0-16,13 0 0,0 1 16,-13-14-1</inkml:trace>
  <inkml:trace contextRef="#ctx0" brushRef="#br0" timeOffset="13866.91">19076 7752 0,'-105'159'31,"78"-119"-31,14 13 16,-14-14-16,1 1 0,13-14 0,0 14 15,-14 13-15,27 0 0,0-40 16,13 0-16,-13 14 16,14-14-16,38 14 0,28-14 15,12-13-15,-39-13 16,80-1-16,555-131 47</inkml:trace>
  <inkml:trace contextRef="#ctx0" brushRef="#br0" timeOffset="18226.5">13917 12356 0,'0'-13'0,"13"13"16,-13-13-16,0 39 46,-13-13-30,13 14-16,0-14 0,0 27 16,0-14-16,0-13 0,0 14 15,0-1-15,0-13 0,0 14 0,-13-14 16,13 0-16,0 1 0,0-1 0,0 0 16,0 0-16</inkml:trace>
  <inkml:trace contextRef="#ctx0" brushRef="#br0" timeOffset="19311.91">13785 11893 0,'0'-13'0,"-13"0"31,-1 26-31,1 0 15,0 0-15,13 0 16,-13 1-16,13-1 0,-14 13 16,14-12-16,0-1 0,0 0 0,0 0 15,0 1-15,0-1 0,0 0 0,0 0 16,14-13-16,-14 13 0,0 1 16,26-14-16,-13 0 15,14 0-15,-27-14 0,13 14 16,0-13-16,0 0 15,1 0-15,-1 0 0,-13-14 0,13 14 16,-13-14-16,13 1 0,-13-1 0,0 14 16,0-13-16,0 13 0,0-14 15,-13 14-15,13 0 0,-13-14 16,13 14-16,0 0 0,-13 13 0,-14 0 31,27 13-31,0 0 16,-13 0-16,13 1 0,0-1 0,0 0 15,0 0-15,0 14 0,0-14 16,0 0-16,0 14 0,0-14 0,13 13 16,-13-12-16,0-1 0,0 0 15,0 0-15,13 14 0,-13-14 16,14 0-16</inkml:trace>
  <inkml:trace contextRef="#ctx0" brushRef="#br0" timeOffset="19524.78">14089 11906 0,'0'27'0,"0"-14"16,0 0-16,0 0 16,0 1-16,0-1 0,0 0 15,0 0-15,0 1 0,0 12 0,0-13 16,13 0-16,-13 1 15,0-1-15,14 0 0,-14 0 16,13-13-16,0 0 0</inkml:trace>
  <inkml:trace contextRef="#ctx0" brushRef="#br0" timeOffset="20890.89">15597 12382 0,'0'-13'16,"13"13"-16,-13 13 31,0 1-31,0-1 16,0 13-16,0-12 0,0 12 0,0 1 16,0-1-16,0 0 0,0-12 15,0 39-15,0-40 0,0 0 16,0 14-16,0-14 0,0 0 15,14 0 1</inkml:trace>
  <inkml:trace contextRef="#ctx0" brushRef="#br0" timeOffset="21501.5">15597 11853 0,'-26'14'16,"13"-1"-1,13 0-15,-14 0 0,14 0 16,-13 14-16,13-1 0,-13 1 16,13-1-16,0-12 0,0 25 15,0-12-15,0-14 0,13 0 16,-13 14-16,13-27 0,1 13 15,-14 0-15,13-13 0,0 0 0,0 13 16,0-13-16,1-13 0,12 0 16,-13 0-16,1-1 15,-1-39-15,0 27 16,-13 0-16,0-1 0,0 1 0,0-41 16,-13 54-16,13-13 15,-13-14-15,13 27 0,-14 13 16,14-13-16,-13 13 0,13-14 0,-13 14 15,0 14 1,13-1-16,-14 0 0,14 0 16,-13 1-16,13-1 0,0 13 15,0-13-15,0 1 0,0 12 16,13-13-16,-13 14 0,0-14 0,14 14 16,-1-1-16,-13-13 0,13 14 15,0-1-15,-13-13 0,14 1 16,-1-1-16,-13 0 0,13 0 15,0-13-15,-13 14 0,13-14 0</inkml:trace>
  <inkml:trace contextRef="#ctx0" brushRef="#br0" timeOffset="21853.18">15915 12039 0,'13'0'16,"-26"0"-16,39 0 0,-13 0 16,-13 13-16,0 0 15,0 0-15,-13 0 0,13 1 16,-13 12-16,13-13 0,-13 1 16,13-1-16,0 0 0,-14-13 15,14 13-15,0 1 16,-13-14-16,26 13 15,1-13 1,-1 0-16,0 0 16,0 0-16,1 0 15,-1 0-15,0 0 16,0 0-16,1 0 0,-1-13 16,13 13-16,-13-14 15,14 14-15,-14 0 0,14 0 16</inkml:trace>
  <inkml:trace contextRef="#ctx0" brushRef="#br0" timeOffset="22511.96">16060 12184 0,'13'-13'0,"-26"26"0,40-26 0,-14 13 16,-13 13-16,13-13 15,0 13-15,1 1 16,-14-1-16,0 0 16,0 0-16,-14 0 15,14 1-15,-13-1 0,0 0 16,13 0-16,-13-13 0,13 14 0,-14-1 15</inkml:trace>
  <inkml:trace contextRef="#ctx0" brushRef="#br0" timeOffset="23348.07">19500 12449 0,'0'-14'0,"-13"14"16,-1 14-16,1-14 16,13 13-16,-13-13 0,0 13 0,13 0 15,-14 1-15,1 12 0,13-13 16,-13 0-16,13 1 0,-13-1 0,13 13 16,-13-12-16,13-1 0,0 0 0,0 0 15,0 1-15,0-1 16,0 0-16,13-13 0,-13 13 15,0 0-15,13 1 0,-13-1 16,13-13 0,14 0-1,-14 0 1,0-13-16,0 13 16,1 0-16,-1 0 31,0-14-16,-39 41 48</inkml:trace>
  <inkml:trace contextRef="#ctx0" brushRef="#br0" timeOffset="23804.17">19050 12554 0,'-13'14'0,"13"-1"0,0 0 15,0 0-15,-13 27 16,13-27-16,0 1 0,0 12 15,-14-13-15,14 0 0,0 1 0,0 12 0,0-13 16,-13 1-16,13-1 0,0 0 16,0 0-16,0 1 15</inkml:trace>
  <inkml:trace contextRef="#ctx0" brushRef="#br0" timeOffset="24905.62">19434 12581 0,'-14'0'16,"1"13"-16,13 0 0,-13 1 15,13-1-15,-13 0 16,13 0-16,0 1 0,-13-1 0,13 0 16,0 0-16,0 0 0,-14 1 0,14-1 15,0 0-15,0 0 0,14 1 16,-14-1-16,13-13 15,13 0 1,-13-13-16,1 13 16,-1-14-16,0 1 0,0 0 0,1 0 15,-1-14-15,0 14 0,0-13 0,0-1 16,-13 1-16,14-1 0,-14 1 16,13 12-16,-13-12 0,0 13 0,0-14 15,-13 14-15,13 0 0,0 0 0,-14-1 16,14 1-16,0 0 0,-13 13 15,13-13-15,-13 13 0,0 13 16,0-13 0,13 13-16,0 0 0,0 1 15,0-1-15,-14 0 0,14 0 16,0 1-16,0-1 0,14 13 0,-14-13 16,0 1-16,0-1 0,13 0 15,-13 0-15,0 14 0,13-14 0,0-13 16,-13 13-16,13 1 0,1-1 0,-1-13 15,-13 13-15,13-13 0,0 0 16,1 0 0</inkml:trace>
  <inkml:trace contextRef="#ctx0" brushRef="#br0" timeOffset="25088.81">19738 12594 0,'26'-13'15,"-52"26"-15,52-39 0,-12 26 0,12 0 16,-26 13-1,13-13-15,-13 13 0,14-13 0,-14 13 16,0 1-16,13-1 0,-13 0 16,0 0-16,0 1 0,0-1 0,0 0 15,0 0-15,0 0 0,0 1 16,-13-14-16,13 13 0,-14-13 0,1 0 16,0 0-16,0 13 0,-1-13 15</inkml:trace>
  <inkml:trace contextRef="#ctx0" brushRef="#br0" timeOffset="26600.41">14129 12422 0,'26'0'0,"-13"0"0,93 0 15,-66 0 1,-14 0-16,14 0 0,13 0 15,0 0-15,-13 0 0,13 0 0,-1 0 16,-12 13-16,13-13 0,-13 0 0,-1 0 16,1 0-16,13 0 15,-13 0-15,-14 0 0,14 0 0,0 0 16,-14 0-16,14 0 0,-14 0 0,14 0 16,0-13-16,-14 13 0,0 0 15,14 0-15,-13 0 0,12 0 0,-12-13 16,-1 13-16,1 0 0,12 0 0,-12 0 15,-14 0-15,40-13 16,-27 13-16,1 0 0,-14 0 0,14-14 16,-14 14-16,13 0 0,-13 0 15,14 0-15,-14 0 0,14-13 0,-14 13 16,13 0-16,-12 0 0,-1 0 0,13 0 16,-13 0-16,14 0 15,-14-13-15,0 13 0,1 0 0,12 0 16,14 0-16,-27 0 0,0 0 15,14 0-15,-1 0 0,-13 0 16,14 0-16,-1 0 0,-13 0 0,14 0 16,-1 0-16,1 0 0,-1 0 15,-12 0-15,12 0 0,14 0 0,-14 13 16,1-13-16,-1 0 0,1 0 0,-1 0 16,0 0-16,27 0 0,-26 0 15,-1 0-15,1 0 0,-1 0 16,1 0-16,-14-13 0,13 13 0,1 0 15,-1 0-15,1 0 0,-1 0 16,1 0-16,12 0 0,-12 0 0,-1-13 16,1 13-16,12 0 0,-12 0 0,-1 0 15,1 0-15,12 0 0,-12 0 16,-1 0-16,1 0 0,-14 0 16,14 0-16,-1 0 0,14 0 0,-14 0 15,1 0-15,-1 0 0,0 0 0,14 13 16,-13-13-16,12 0 0,1 0 15,-14 0-15,14 0 0,0 0 0,-14 0 16,54 0-16,-54 0 0,27 0 16,-13 0-16,-1 0 0,-12 0 15,13 0-15,13 0 0,-14 0 16,-12 0-16,12 0 0,-12 0 0,12 13 16,1-13-16,-13 0 0,12 0 0,-12 0 15,12 0-15,-12 0 0,13 13 16,-14-13-16,1 0 0,12 14 0,-12-14 15,-1 0-15,-13 0 0,14 0 16,-1 13-16,1-13 0,-14 0 0,13 0 16,1 0-16,-14 0 0,0 0 0,14 0 15,-14 0-15,0 0 0,0-13 16,1 13-16,-1 0 16,-13-14-16,-13 14 15,-1-13-15</inkml:trace>
  <inkml:trace contextRef="#ctx0" brushRef="#br0" timeOffset="29304.99">13891 12740 0,'39'13'0,"-78"-26"0,92 26 0,-27 0 0,-13-13 16,14 0-16,-1 0 0,1 13 16,52-13-16,-39 14 0,13-14 15,-14 0-15,14 0 0,0 0 16,0 0-16,0 13 0,0-13 16,0 0-16,0 0 0,0 0 0,-14 0 0,14 0 15,0 0-15,-13 0 16,13 13-16,-14-13 0,1 0 0,13 0 15,-13 0-15,-1 0 0,-12 0 0,13 0 16,-1 0-16,1 0 0,13 0 16,-13 0-16,12 0 0,-12 0 0,26 0 15,-13 0-15,-13 0 0,26 0 16,-13 0-16,26 0 16,-13 0-1,1 0-15,12 0 16,-39 0-16,-14 0 0,14 0 15,-14 0-15,14 0 0,-14 0 0,14 0 16,-13 0-16,12 0 0,-12 0 0,-1 0 16,1 0-16,-1 0 0,1 0 15,-1 0-15,0 0 0,1 0 0,-1 0 16,-12-13-16,12 13 0,1 0 0,-14 0 16,0 0-16,13 0 0,-12 0 15,12 0-15,-13 0 0,1 0 0,12 0 16,-13 0-16,1 0 0,12 0 0,-13 0 15,0 0-15,14 0 0,-14 0 16,0 0-16,14 0 0,-14 13 0,13-13 16,-12 0-16,12 0 0,14 0 15,-14 0-15,1 0 0,-1 0 16,-13 0-16,14 0 0,-1 0 16,1 0-16,-14 0 0,14 0 0,12 13 15,-12-13-15,-14 0 16,13 0-16,1 0 0,-14 0 0,13 0 15,-12 0-15,12 0 0,-13 0 0,14 0 16,-1 0-16,-12 0 0,12 0 16,0 0-16,1 0 0,-14 0 15,40 0-15,-40 0 0,14 0 16,-1 0-16,-13 0 0,14 0 0,-14 0 16,27 14-16,-14-28 15,-12 14-15,12 0 0,-13 0 0,14 14 16,-14-28-16,0 28 0,14-14 0,-14-14 15,0 28-15,14-14 0,-14 0 16,0 0-16,0 0 0,0 0 0,14 0 16,-14 0-16,0 0 0,1 0 0,-1 0 15,13 0-15,1 0 16,-1 0-16,1 0 16,-1 0-16,-13 0 0,1 0 15,-1 0-15,0 0 0,13 0 0,-12-14 16,-1 14-16,0 0 0,14 0 15,-14 0-15,0 0 0,0 0 0,1 0 16,-1 0-16,13 0 0,-13 0 16,1 0-16,-1 0 0,0 0 15,0 0-15,1 0 0,-1-13 0,0 13 16,0 0-16,0 0 0,1 0 16,-1 0-16,0 0 0,0 0 15,1 0-15,-1-13 16,0 13-16,0 0 15,1 0-15,-1 0 16,0 0-16,0 0 0,0-13 16,1 13-1,-1 0-15,0 0 16,0 0-16,1 0 16,-1 0-1,0 0-15,0 0 16,1 0-16,-1 0 15,0 0-15,0 0 16,0-14 0,1 14-1,-1 0 17,0 0 14,0 0 189,-13 14 62,14-14-157,-1 0-108,-40-14 61</inkml:trace>
  <inkml:trace contextRef="#ctx0" brushRef="#br0" timeOffset="29939.99">18878 12382 0,'26'0'0,"-12"0"16,-1 0-16,0 0 16,-13-13-16,13 13 0,1 0 15,-1 0-15,0 0 0,0 0 16,1 13 0,-14 1-1,-14-1-15,14 0 0,0 0 16,0 1-16,0-1 0,-13 13 15,13-12-15,0-1 0,0 0 16,0 0-16,0 0 0,0 1 16,0-1-16,13 0 0,1 0 15,-1 1 1</inkml:trace>
  <inkml:trace contextRef="#ctx0" brushRef="#br0" timeOffset="30731.4">14195 12382 0,'-13'-13'47,"-1"13"-31,1 0-16,0 0 0,-13 0 16,12 0-16,-12 0 0,-1 0 0,1 0 15,-1 0-15,1 0 0,0 0 0,-1 0 16</inkml:trace>
  <inkml:trace contextRef="#ctx0" brushRef="#br0" timeOffset="32221.24">11959 12515 0,'-13'-13'15,"13"39"1,-13-13 0,13 0-1,0 1 17,0-41 14,0 14-14,-14 26 30,14-26 16,40 13 469,-27 0-547</inkml:trace>
  <inkml:trace contextRef="#ctx0" brushRef="#br0" timeOffset="33581.49">23072 12475 0,'-14'27'47,"14"-14"-31,14-13 15,-1 0-15,0-13 15,0 13-15,-39 0 31,13 0-47</inkml:trace>
  <inkml:trace contextRef="#ctx0" brushRef="#br0" timeOffset="34866.71">13851 12634 0,'-27'0'0,"-12"0"31,26 0-31,-1 0 16,1 0-16,0 0 0,-14 0 0,14 0 15,-13 0-15,12 0 0,-12 0 16,0 0-16,-14 0 0,13 0 15,1 13-15,-14-13 0,14 0 0,-14-13 16,14 13-16,-14 0 0,14 0 0,-1 0 16,-13 0-16,1 0 0,12 0 15,-12 0-15,12 0 0,-13 0 0,1 0 16,12 0-16,-12 0 0,12 0 0,1 0 16,-14 0-16,27 0 0,-14 0 15,1 0-15,-1 0 0,1 0 16,13 0-16,-14 0 0,1 0 0,13 0 15,-1 0-15,-12 13 0,13-13 16,-1 0-16,1 0 0,0 0 0,0 0 16,-1 0-16,1 0 0,13 13 0,-13-13 15,0 0-15,0 0 16,-1 0 0,1 0-16,0 0 15,0 14 1,-1-14-16,1 0 15,0 0-15,0 0 16,-14 0 0,14 0-16,0-14 15,0 14-15,-1 0 0,1 0 16,-13-13 0,12 13-16,-12 0 15,13 0-15,0 0 0,-1 13 16,1-13-16,0 0 15</inkml:trace>
  <inkml:trace contextRef="#ctx0" brushRef="#br0" timeOffset="36927.71">19090 12607 0,'26'0'0,"-13"0"0,1 0 15,-1 0-15,13 0 16,-12 0-16,-1 0 0,0 0 16,0 0-16,14 0 0,-14 0 0,13 0 15,1 0-15,-1 0 0,1 0 0,-1 0 16,14 0-16,13 0 0,-14-13 15,14 13-15,0 0 0,-13 0 0,13 0 16,0 0-16,0 0 0,0 0 16,-14 0-16,14 0 0,0-13 0,0 13 15,0 0-15,0 0 0,0 0 0,0 0 16,0 0-16,0-13 0,0 13 16,-1 0-16,-12 0 0,13 0 15,0-14-15,0 14 0,-13 0 0,12 0 16,1 0-16,-13 0 0,13-13 15,0 13-15,-13 0 0,13 0 0,-14 0 16,1 0-16,0 0 0,-14-13 0,27 13 16,-13 0-16,-14 0 0,14 0 15,-1 0-15,-12 0 0,13 0 0,-14 0 16,14 0-16,-14 0 0,14 0 0,-14-13 16,14 13-16,0 13 15,-14-26-15,14 26 0,-14-26 0,14 13 16,-13 13-16,-1-13 0,0 0 0,1 0 15,-1 0-15,1 0 0,-1 0 16,1 0-16,-1 0 0,1 0 0,-1 0 16,-13 0-16,14 0 0,-1 0 0,1 0 15,-14 13-15,13-13 0,-12 0 16,12 0-16,-13 0 0,1 0 0,-1 0 16,0 0-16,13 0 0,-12 0 15,-1 0-15,0 0 0,0 0 16,1 0-16,-1 0 0,0 0 15,0 0-15,0 0 0,1 13 16,-1-13-16,0 0 16,14 0-16,-14 0 15,0 0 1,0 0-16,1 0 16,-1 0-16,0 0 15,0 0-15,0 0 16,1 0-1,-1 0 1,0 0-16,0 0 16,1 0 31,-1 0-16,0 0-16,0 0 1,1 0 15,-1 0-31,0 0 16,0 0-16,0 0 16,1 0-1,-1 0 1,0-13-1,0 13-15,1 0 16,-1 0 15,0 0-15,0 0 15,1 0 125</inkml:trace>
</inkml:ink>
</file>

<file path=ppt/ink/ink15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48:33.406"/>
    </inkml:context>
    <inkml:brush xml:id="br0">
      <inkml:brushProperty name="width" value="0.05292" units="cm"/>
      <inkml:brushProperty name="height" value="0.05292" units="cm"/>
      <inkml:brushProperty name="color" value="#0070C0"/>
    </inkml:brush>
  </inkml:definitions>
  <inkml:trace contextRef="#ctx0" brushRef="#br0">5622 4247 0,'-13'0'0,"0"13"0,0-13 16,-1 0-16,1 0 15,40 0 32,-14 0-47,0 0 0,14 0 0,12 0 16,1-13-16,0-1 0,-1 14 15,14-13-15,-13 0 0,0 13 0,13-13 16,-27-1-16,0 14 0,1-13 0,-1 13 16,1-13-16,-14 13 0,0 0 15,1 0-15,-1-13 0,0 13 16,0 0-16,0 0 0,1-13 15,-28 13 48</inkml:trace>
  <inkml:trace contextRef="#ctx0" brushRef="#br0" timeOffset="1775.07">6363 5159 0,'-26'0'31,"52"-13"1,-13 0-17,14 0-15,-14-1 0,27 1 0,0 0 16,-1 0-16,-12 0 0,12-1 15,1 1-15,0-13 0,-1 12 16,1 1-16,-13 0 0,65-14 16,-65 27-16,-1-13 0,-13 0 15,14 13-15,-14 0 0,-13-13 16,13 13-16,0 0 0,1 0 0,-1-13 16,0 13-16,0 0 15,1-14 1,-1 14-1,0 0 1,-13 14 47,-13-1-48,13 0-15,0 0 16</inkml:trace>
  <inkml:trace contextRef="#ctx0" brushRef="#br0" timeOffset="2614.51">5834 5980 0,'27'-14'15,"-14"14"1,0 0-16,13-13 0,1 0 16,-1 13-16,14-13 0,0-1 0,-1 1 15,1 0-15,0 0 0,-1 0 16,1 13-16,0-14 0,0 1 0,-1 0 15,-12 0-15,-1-1 0,1 14 0,-1-13 16,-13 13-16,14-13 0,-14 13 16,0-13-16,0 13 0,1 0 0,-1-14 15,0 14-15,0 0 0,1-13 16,-1 13 0,0 0 15,0-13 0</inkml:trace>
  <inkml:trace contextRef="#ctx0" brushRef="#br0" timeOffset="3592.75">6257 6694 0,'14'-13'31,"12"0"-31,-13-1 16,14 1-16,-1 0 0,14 0 0,-14-1 15,14 1-15,-13 0 16,12 0-16,-12-1 0,-1 1 0,27 0 15,-40 0-15,14 0 0,-14 13 0,0-14 16,0 14-16,1 0 0,-1-13 16,0 13-16,0 0 0,1 0 15,-14-13-15,13 13 16,0 0-16,-13 13 94,0 0-79,-13 1-15</inkml:trace>
  <inkml:trace contextRef="#ctx0" brushRef="#br0" timeOffset="4457.95">6257 7488 0,'27'0'16,"-14"-14"-16,0 14 0,1 0 15,-1-13-15,13 0 0,14 0 0,-14 0 16,14-1-16,0 1 0,-14 0 0,14 0 15,-14-1-15,1 1 0,-1 0 16,14 0-16,-27-1 0,14 1 0,-14 13 16,13-13-16,-12 13 0,-1-13 0,0 13 15,0 0-15,0-13 0,1 13 16,-1 0-16,0 0 0,-13-14 16,13 14-16,1 0 0,-1-13 15,0 13 1</inkml:trace>
  <inkml:trace contextRef="#ctx0" brushRef="#br0" timeOffset="167132.63">3135 5292 0,'0'13'78,"0"0"-63,27-13 1,-14 0 0,80 27-1,-14-27 1,27 13-16,0-13 0,52 13 16,81 0-16,-94 1 15,-26-1-15,-13-13 16,-27 0-16,14 0 15,-40 0-15,-13 0 16,26 0-16,0 0 16,-40 0-16,27 0 15,0 0-15,13 0 16,14 0-16,-1 0 16,-26 0-1,13 0-15,-26 0 16,26 0-16,-26 0 15,-1 0-15,-12 0 16,12 0-16,-12 0 16,-1 0-16,-12-27 15,38 1-15,-12-1 16,-13 1-16,12-1 0,-25-12 16,12 12-1,14 1-15,-1-27 16,14 40-16,-53-14 15,27 14 1,-27 0-16,13 13 0,0-13 16,-13-1-16,0-12 15,0 13 17,0-1-32,0 1 15,0 0-15,0-14 16,-13 14-1,13-13-15,-13 13 16,0-1 0,-1 1-1,-12-13-15,26 12 16,-27 1-16,-12 0 16,12-14-16,-12 14 15,-1 0-15,-13-13 16,-13-1-16,26 14 15,-26 0-15,13-1 16,0-12-16,-13 13 16,-27-14-16,40 27 15,-39-13-15,12 13 16,14 0-16,-26 0 16,26 0-16,26-13 15,-13 13-15,-13 0 16,-14 0-16,28 0 15,-15 0-15,54 0 16,-27 0-16,1 0 16,12 0-1,1 0-15,-14 13 0,-13-13 16,27 13-16,13-13 16,-1 0-16,1 0 15,-13 0-15,-27 0 16,13 0-16,-13 14 15,0-1 1,-26-13-16,26 0 16,-13 0-16,0 0 15,-1 0-15,15 13 16,12-13-16,0 0 16,-13 0-16,14 0 0,-28 13 15,1-13 1,27 13-16,-14-13 15,13 0-15,0 27 16,14-14 0,-14-13-16,27 0 0,13 13 15,-13 1-15,0-14 16,-1 0 0,1 13-1,13 13-15,-13-13 16,13 14-16,0 13 15,0-1-15,0-25 16,0 25-16,0-12 16,0 26-1,13-40-15,0 13 16,-13 14-16,14-27 16,12 27-16,-26-14 15,13-12-15,0 25 16,-13-25-16,14-1 15,-14 0 1,13 0-16,-13 0 16,0 1-1,0-1 1,0 0 0,13 0-1,0 1-15,1 12 16,12-13-16,14 14 0,-27-14 15,13-13 1,1 0-16,26 0 16,0 0-16,-14 0 15,-12 0 1,13 0-16,-27 0 16</inkml:trace>
  <inkml:trace contextRef="#ctx0" brushRef="#br0" timeOffset="168789.52">15386 3903 0,'0'-14'0,"0"1"31,-14 13-31,28 27 31,-14-14-31,0 0 0,0 14 0,13-1 16,-13 0-16,0 1 0,0-1 0,13 1 16,-13-1-16,0 1 0,0-1 15,0 1-15,0-1 0,13 1 16,-13-1-16,0-13 0,0 0 0,0 14 16,0-14-16,0 0 0,0 1 0,0-1 15,0 0-15,0 0 16</inkml:trace>
  <inkml:trace contextRef="#ctx0" brushRef="#br0" timeOffset="169187.56">15266 3942 0,'0'-26'0,"0"52"16,14-65-16,-14 25 0,0 1 0,13 0 15,0 0-15,0-1 0,1 14 16,-1-13-16,0 0 0,0 13 0,14 0 0,-14 0 15,0 0-15,14 0 0,-14 13 16,13 0-16,-12-13 0,-1 14 16,0-1-16,0 13 0,1-12 0,-14-1 15,13 0-15,-13 0 0,0 14 0,0-14 16,-13 0-16,13 14 0,-14-14 16,14 0-16,-13 0 0,0 1 0,0-1 15,-1 0-15,14 0 0,-26 14 16,13-14-16,-1-13 15,1 0-15</inkml:trace>
  <inkml:trace contextRef="#ctx0" brushRef="#br0" timeOffset="169936.34">15624 4366 0,'-14'13'0,"28"-40"47,-1 27-47,-13-13 0,0 0 0,0 0 15,13-1-15,-13 1 16,0 0-16,0 0 0,0 0 15,-13-1-15,13 1 16,-27 26 15,27 1-15,0-1-16,0 0 0,0 0 16,0 0-16,14 1 0,-1-1 15,-13 0-15,13-13 0,-13 13 16,13-13-16,-13 14 0,14-14 15,-1 0-15,0 0 0,0-14 16,0 14-16,1 0 16,-14-13-16,13 13 0,-13-13 15,13 0-15,0 13 0,1-14 16,-1 14-16,0-13 0,0 13 16,1 13-16,-1-13 15,0 0-15,0 14 0,0-14 16,-13 13-16,14-13 0,-14 13 15,13 0-15,-13 1 0,13-14 16,-13 13-16,13 0 16,1-39 15,-14 12-15,0 1-16,0 0 15,13 0-15,-13-1 0,0 1 0,13 13 16,-13-13-16,13 13 0,-13-13 0,14 13 15,-14-13-15,13 13 16,0 0-16</inkml:trace>
  <inkml:trace contextRef="#ctx0" brushRef="#br0" timeOffset="171205.73">16192 4154 0,'-13'0'16,"0"13"-16,13 0 16,-13 1-16,13-1 0,-13 0 0,13 0 15,-14 1-15,14-1 0,-13 13 16,13-13-16,0 1 0,0-1 0,-13 13 16,13-12-16,13-1 0,-13 0 0,0 0 15,13 1-15,-13-1 0,14-13 16,-1 13-16,0-13 0,0 0 15,0 13-15,1-26 0,12 13 16,-13 0-16,14 0 0,-14-13 0,14 0 16,-14 13-16,13-14 0,1-12 15,-14 13-15,0-1 0,0 1 16,-13 0-16,14 0 0,-14-1 16,0 1-16,0 0 0,0 0 15,0 0-15,0-1 16,-14 14-16,-12 14 31,26-1-31,-13 0 16,13 0-16,0 0 15,0 1 1,13-14-16,-13 13 16,13 0-16,0-13 15,1 0 1,-1 0-1,0-13-15,0 13 0,1 0 16,12 0 0,-13 0-16,0 0 15,1 13-15,-1-13 16,-13 13 0,13-13-16,-13 14 0,0-1 15,13-13 1,-13 13-1,14-26 17,-14 0-32,13 13 0,-13-14 0,13 14 15,-13-13-15,13 13 0,1-13 16,-1 13 0,0 0-1,0 13-15,0-13 16,-13 13-16,14-13 0,-1 0 15,0 0 1,0 0 0,1-13-16</inkml:trace>
  <inkml:trace contextRef="#ctx0" brushRef="#br0" timeOffset="171466.66">16854 4207 0,'13'-66'16,"-26"132"-16,26-159 0,0 80 0,-13 0 15,0-14-15,0 14 0,0 0 16,0 0-16,0-1 0,0 1 15,0 0-15,0 53 32,0-27-17,0 0-15,0 0 0,0 1 16,0 25-16,0-12 0,0-14 16,14 13-16,-14-12 0,0 12 15,13-13-15,-13 1 0,13-1 0,-13 0 16,13 0-16,-13 0 0,14 14 15,-1-14-15,-13 0 16,13-13-16</inkml:trace>
  <inkml:trace contextRef="#ctx0" brushRef="#br0" timeOffset="171788.92">16761 4286 0,'-13'-13'0,"26"0"32,1 0-17,-1 13-15,0-14 16,14 14-16,-14 0 0,0-13 0,0 13 16,0 0-16,1-13 0,12 13 15,1 0-15,-14 0 0,0 0 16,0 0-16,0 13 0,1-13 15,-1 0-15,-13 13 0,13-13 16,-13 14-16,13-14 0,1 13 16,-14 0-16,13-13 15,-13 13-15,0 0 0,0 1 16,13-14-16,-13 13 16,0 0-1,13-13-15,-13 13 16</inkml:trace>
  <inkml:trace contextRef="#ctx0" brushRef="#br0" timeOffset="171973.71">17119 4154 0,'-14'-13'0</inkml:trace>
  <inkml:trace contextRef="#ctx0" brushRef="#br0" timeOffset="172449.15">17238 3810 0,'0'26'31,"0"-12"-31,0 12 16,0 1-16,0-1 0,0 1 15,0 12-15,0-12 0,0-1 16,0 1-16,0-1 0,0 1 0,13-1 16,-13 0-16,13-12 0,-13-1 15,13 0-15,1 14 0,-1-14 16,0 0-16,0-13 0,0 0 0,1 13 16,-1-13-16,0-13 0,14 13 15,-14-13-15,0 0 0,0-1 16,0 1-16,-13 0 0,14-14 0,-14 14 15,0 0-15,13 0 0,-13 0 0,0-1 16,-27 41 15,27-14-31,0 0 16,0 0-16,0 1 0,0-1 16,14-13-1,-14 13-15,13-13 0,-13 13 0,13-13 16,14 14-16,-14-14 15,0 0-15,0 0 0,1 0 16,-1-14-16</inkml:trace>
  <inkml:trace contextRef="#ctx0" brushRef="#br0" timeOffset="173243.68">19672 4075 0,'-66'-27'31,"52"14"-31,1 0 0,0-1 0,0 1 16,-1-13-16,1-1 0,0-12 0,0 12 15,13 14-15,0-27 0,0 27 0,0-13 16,0-1-16,0 14 0,0 0 16,13-14-16,-13 14 0,0 0 15,13 13-15,0-14 0,1 1 0,12 26 31,-26 1-31,0-1 16,-13 0-16,13 0 0,-13 14 0,-14-1 16,14 1-16,-13-1 0,-1 1 0,1-1 15,-1 1-15,1-1 0,-1 1 16,14-14-16,0 0 0,0 0 0,-1 0 16,1 1-16,0-1 0,26 0 31,0-26-31,1 13 0,12 0 0,1 0 15,-1-13-15,14 13 0,-14-14 16,14 14-16,-14-13 0,1 13 0,12-13 16,-12 13-16,-1-13 0,1 13 15,-14-13-15,13 13 0,-12-14 0,12 14 16,-13 0-16,1 0 0,-1-13 0,0 13 16,14 0-16</inkml:trace>
  <inkml:trace contextRef="#ctx0" brushRef="#br0" timeOffset="173732.42">21603 3559 0,'0'-14'0,"0"81"31,0-54-15,0 26-16,0-12 0,-13-1 15,13 14-15,0 0 0,0-1 0,-13-12 16,13-1-16,0-12 0,0 12 0,0 1 15,-13-14-15,13 0 16,0 0-16,0 14 0,0-14 16,13-13-1,0 0 1,-13-13-16</inkml:trace>
  <inkml:trace contextRef="#ctx0" brushRef="#br0" timeOffset="174043.65">21497 3506 0,'0'0'0,"0"-40"16,14 40-16,-14-13 0,0 0 0,13 13 15,0 0-15,0 0 0,1 0 16,-1 0-16,0 13 0,13 0 15,-12-13-15,-1 26 0,0-12 0,0-1 16,1 0-16,-14 0 0,0 14 0,0-14 16,0 0-16,0 1 0,0 12 0,-14-13 15,14 0-15,-13 1 0,0 12 16,0-13-16,-1 1 0,14-1 0,-13 0 16,0-13-16,13 13 0,-13-13 15,13 14-15,-13-14 0,-1 0 16,28 13-16,-14 0 15</inkml:trace>
  <inkml:trace contextRef="#ctx0" brushRef="#br0" timeOffset="174616.56">21736 4022 0,'52'-53'15,"-52"40"1,0-1-16,14 1 0,-14 0 0,0 0 16,0-1-16,13 1 0,-13 0 15,0 0-15,-13 26 31,-1-13-15,14 13-16,0 0 0,0 1 16,0-1-16,0 0 0,0 0 15,14-13-15,-14 14 0,13-1 16,0-13-16,0 0 16,1 0-16,-1 0 15,0 0-15,0 0 0,1-13 0,-1 13 16,0 0-16,0 0 15,-13-14-15,13 14 0,14 14 16,-14-1 0,-13 0-1,0 0 1,13 0-16,-13-39 47,0 13-47,14 13 15,-14-13-15,0-1 0,13 1 0,-13 0 16,13 0-16,0-1 16,-13 1-16,13 0 0,1 13 15,-1 0 1</inkml:trace>
  <inkml:trace contextRef="#ctx0" brushRef="#br0" timeOffset="175631.74">22318 3810 0,'-14'0'0,"28"0"0,-54 0 16,40 13-16,-13-13 15,-1 13-15,14 1 0,-13-14 16,13 13-16,-13 0 0,0 0 16,13 1-16,-13-1 15,13 13-15,0-12 0,0-1 16,13 0-16,0 0 15,0-13-15,-13 13 0,13-13 16,1 0-16,-1 0 0,0 0 0,0 0 16,1-13-16,-1 13 0,0 0 0,0-13 15,1 0-15,-1 13 0,13-13 0,-26-1 16,13 1-16,1 0 0,-1 0 16,0-1-16,-13 1 0,13 0 15,-13 0-15,14-1 16,-14 1-1,0 0 1,-14 39 31,14-12-31,0-1-16,0 0 31,14 0-31,-14 1 15,0-1-15,13 0 32,-13 0-17,13-26 48,0 0-63,0 0 15,-13-1 1,14 14-16,-1-13 16,0 13-1,0 13 1,1-13 0,-14 14-16,0-1 15,13-13 1,-13 13-16,0 0 15,0 1-15,0-1 16,13-40 15,0 27-15,-13-13-16,14 13 0,-14-13 16,13 0-16,0-1 0,0 1 15,0 13 1,-13-13-16,14 13 0,-1 13 15,0-13-15,0 0 16,-13 13-16,14-13 16,-14 14-16,13-14 0,-13 13 15,13-13-15,0 13 16,1-13 0,-1 0-1</inkml:trace>
  <inkml:trace contextRef="#ctx0" brushRef="#br0" timeOffset="175913.68">23032 3506 0,'-13'-27'15,"13"40"1,0 1-16,0-1 15,0 0-15,0 14 0,0-14 16,0 13-16,0-12 0,0 12 16,0 0-16,0 1 0,0-1 0,13 14 15,-13-13-15,0-14 16,13 13-16,-13-13 0,0 1 0,13-1 16,-13 0-16,0 0 0,14 1 0,-14-1 15,0 0-15</inkml:trace>
  <inkml:trace contextRef="#ctx0" brushRef="#br0" timeOffset="176159.79">22820 3810 0,'0'0'0,"27"-13"31,-14 13-15,0-13-16,0 13 0,14 0 0,-1-14 16,-12 14-16,25-13 0,14 0 15,-26 13-15,-1 0 0,1-13 16,-1 13-16,1-14 0,-14 14 16,26-13-16,-25 13 0,12 0 15,-13 0 1</inkml:trace>
  <inkml:trace contextRef="#ctx0" brushRef="#br0" timeOffset="176657.58">23363 3757 0,'0'-13'31,"-14"0"-15,1 26 0,0 0-16,0 0 0,0 1 15,-1-1-15,1 0 16,0 0-16,13 0 0,0 1 15,0-1 1,13-13-16,0 13 16,1-26-16,-1 13 15,0 0-15,0-13 0,-13-1 16,13 14-16,1-13 0,-14 0 0,13 0 16,0 0-16,-13-1 0,13 1 15,-13 26 32,0 1-31,0-1-16,0 0 0,0 0 15,0 0-15,0 1 0,0-1 16,0 0-16,14 0 16,-1 1-1,0-14-15,0 0 16,1 0-16,-1 0 0</inkml:trace>
  <inkml:trace contextRef="#ctx0" brushRef="#br0" timeOffset="177321.37">23720 3757 0,'-27'-13'0,"14"13"0,0-13 16,0 13-16,0 0 0,-1 0 15,1 0-15,0 0 16,0 13 0,13 0-1,13 0 1,-13 1-16,13-1 0,0 0 16,1 0-16,-14 0 0,13 1 15,-13-1-15,0 0 0,13-13 16,-13 13-16,-13 1 0,13-1 15,-13 0-15,13 0 0,-14-13 16,14 14-16,-13-14 0,13 13 0,-13-13 16,0 13-1,-1 0-15,41-26 47,-14 0-47,14 13 16,-14-13-16,0 13 0,13-14 15,-12 1-15,25 0 0,-12-14 0,-14 14 16,13 0-16,-12 0 0,12-1 16,-13-12-16,1 13 0,-1 0 0,0-1 15,-13 1-15,13 0 0,-13 0 16,0-1-16,0 1 16,-13 13-16,13-13 15,-13 13-15,0 0 0,-1 13 16,1-13-16,13 13 15,-13-13-15,13 14 0,0-1 16,-13-13-16,13 13 0,0 0 16,13 1-16,-13-1 0,0 0 15,13-13 1,-13 13-16,13-13 0,-13 13 0,14-13 16,-1 0-16,0 14 0,0-14 15,1 0-15,-1 0 0,0 0 0,0 0 16,0 0-16,1 0 15,-1 0-15,0 0 0,0 0 16</inkml:trace>
  <inkml:trace contextRef="#ctx0" brushRef="#br0" timeOffset="178197.05">17846 3916 0,'0'0'0,"-13"0"0,13-13 32,13-1-32,0 14 15,1 0 1,-1 0-16,0 0 0,0 0 15,1 14-15,-1-14 16,0 13-16,-13 0 16,0 0-16,13 1 0,-13-1 0,0 0 15,0 0-15,0 0 0,0 1 0,0-1 16,-13 0-16,13 0 0,0 1 0,0-1 16,-13 0-16,13 0 15,0 1-15,0-1 0,0 0 0,-13-13 16,13 13-16,0 0 0,13 1 15,-13-1-15,13 0 16,-13 0 0</inkml:trace>
  <inkml:trace contextRef="#ctx0" brushRef="#br0" timeOffset="178417.37">18005 4366 0</inkml:trace>
  <inkml:trace contextRef="#ctx0" brushRef="#br0" timeOffset="179516.66">24368 3532 0,'-13'0'0,"26"-26"31,0 26-31,1 0 15,-1 0 1,0 0-16,0 0 0,1 13 16,-1-13-16,0 13 15,0 0-15,0 1 0,-13-1 16,0 0-16,0 0 16,0 1-16,0-1 0,0 0 15,0 0-15,0 0 0,0 1 0,-13-1 16,13 0-16,0 0 0,-13 14 15,13-14-15,0 0 16,0 1-16,0-1 0,0 0 16,13 0-16,-13 0 15,13-13-15,-13 14 0,14-14 0,-1 0 16,-13 13-16,13-13 0,0 0 0,1 13 16,-1-13-16,0 13 15</inkml:trace>
  <inkml:trace contextRef="#ctx0" brushRef="#br0" timeOffset="179652">24567 4048 0</inkml:trace>
  <inkml:trace contextRef="#ctx0" brushRef="#br0" timeOffset="194531.69">15478 5001 0,'13'0'16,"1"13"-1,-1 0-15,0 0 16,0 1-16,-13-1 0,14 13 15,-1-13-15,-13 14 0,0-1 0,13-12 0,-13 12 16,0-13-16,0 14 0,0-14 0,0 0 16,0 14-16,-13-14 0,13 0 15,0 0-15,0 1 0,-13-1 0,13 0 16,-14-13 0,1-13-1,13 0 1,0-1-16,0 1 0,13-13 0,-13 12 15,0 1-15,14-13 0,-1 13 0,-13-1 16,13 1-16,-13 0 0,13 0 16,0-1-16,-13 1 0,14 0 0,-1 13 15,-13-13-15,13-1 0,0 1 16,1 13-16,-14-13 0,13 13 0,0 0 16,0 0-16,0 0 15,1-13-15,12 13 16</inkml:trace>
  <inkml:trace contextRef="#ctx0" brushRef="#br0" timeOffset="195303.47">15968 5067 0,'0'-13'0,"0"26"0,0-40 15,-14 27-15,1 0 16,0 0 0,13 14-16,-13-14 0,-1 13 0,1 0 15,0 0-15,0 0 0,13 1 16,-13-1-16,-1 0 0,14 0 16,-13 1-16,13-1 0,-13 0 0,13 0 15,0 1-15,0-1 0,0 0 16,0 0-1,13-13-15,0 0 16,1-13-16,-1 13 0,0-13 16,-13 0-16,13-1 0,0 14 0,-13-13 15,14 0-15,-14 0 0,13-1 16,-13 1-16,13 0 0,-13 0 16,13 13-16,-13-14 0,0 1 15,14 40 32,-14-14-47,0 0 16,0 0-16,0 1 15,0-1-15,13 0 32,0-26-17,-13 0 1,13 13-16,1-14 0,-1 14 15,0 0-15,-13-13 16,26 26 0,-12-13-1,-14 14-15,0-1 16,13 0 0,0-26 15,0 0-16,-13-1-15,14 14 0,-1-13 16,0 0-16,0 13 16,0 0-16,1-13 0,-1 13 0,13 13 15,-12-13 1,-14 13-16,13-13 0,-13 13 16,0 1-16,0-1 0,0 0 15,0 0-15,0 1 16,0-1-1</inkml:trace>
  <inkml:trace contextRef="#ctx0" brushRef="#br0" timeOffset="195535.78">16497 4882 0,'13'-14'31,"-13"41"-15,0-14 0,0 0-16,0 0 0,0 14 0,0-14 15,-13 14-15,13-14 0,-13 0 16,13 14-16,0-14 0,-14 0 16,14 13-16,0-12 0,-13-1 0,13 0 0,0 0 15,0 1-15,-13-1 0,13 0 16,0 0-16</inkml:trace>
  <inkml:trace contextRef="#ctx0" brushRef="#br0" timeOffset="195903.64">16748 4974 0,'-26'13'47,"12"-13"-47,-12 14 0,13-1 16,0 0-16,-14 0 0,14-13 16,0 14-16,-27 12 0,40-13 15,-13-13-15,-14 13 0,27 1 16,-13-14-16,13 13 0,-13 0 15,26 0 1,0-13 0,14 0-1,-14 0-15,0 0 16,0 0-16,1-13 0,-1 13 0,0-13 16,0 13-16,1 0 0,-1-13 0,0 13 0,0 0 15,14 0-15,-14-14 16,0 14-16</inkml:trace>
  <inkml:trace contextRef="#ctx0" brushRef="#br0" timeOffset="196581.87">17198 5014 0,'0'0'0,"-13"-13"0,-14 13 31,27 13-31,-13-13 0,13 13 16,-13 0-16,13 1 0,-13-1 16,13 0-16,-14-13 0,14 13 15,0 14-15,0-14 16,14 0-16,-1-13 15,0 0-15,0 0 0,0 0 16,14 0-16,-14-13 0,14 0 0,-14-1 16,13 14-16,1-39 0,-14 26 15,0-1-15,0-12 0,-13-1 16,14 1-16,-14 13 16,0-1-16,0 1 0,-14 13 15,1-13-15,-13 13 16,13 0-1,-1 13 1,28 0 0,-1-13-1,0 14-15,0-14 16,0 0-16,-13 13 0,14-13 0,-1 13 16,0 0-16,-13 1 15,13-1-15,-13 0 0,0 0 0,0 14 16,0-14-16,-13 53 15,0-53 1,13 14-16,-27-1 16,1 27-16,26-40 0,-13-13 15,26-26 1,0 0 0,0 12-16,1-25 0,-1 12 15,13 1-15,1-1 0,-14 1 0,40-27 16,-40 40-1,0-1 1,-13 1-16,-26 40 16</inkml:trace>
  <inkml:trace contextRef="#ctx0" brushRef="#br0" timeOffset="198088.79">15703 5834 0,'13'27'31,"-13"-14"-31,0 0 0,0 0 16,0 0-16,0 1 0,0-1 16,0 0-16,0 0 0,0 1 0,13-14 15,-13 13-15,0 0 16,14-39 0,-14 12-1,13 1-15,-13 0 0,13 0 16,-13-1-16,13 1 0,-13 0 0,14 0 15,-1 0-15,0 13 16,0 0-16,1 0 16,-14 13-16,13-13 15,-13 13-15,13-13 0,-13 13 16,13 0-16,0 1 16,1-1-16,-1-13 15,0 0-15,0 0 16,1 0-16,-14-13 0,13-1 15,0 1-15,0 0 0,-13 0 16,14 0-16,-14-1 0,13 1 16,-13 0-16,13 0 0,-13-1 15,0 1 1,0 40 15,0-14-15,0 0-16,0 0 15,0 1-15,13-1 16,-13 0-16,0 0 16,13-13-16,1 0 15,-1 0 1,-13-13 0,26-13-1,-12 12 1,-14 1-1,13 0-15,0 26 63,0-13-47,-13 13-16,0 1 15,13-1 16,-13 0-31,14-13 16,-1 0 31,0-13-47,0 0 31,1 26 16,-1-13-31,-13 13-16,0 0 15,13-13 1,0-13 31,1 0-32,-1 13 1,0 0 0,0-13-16,0 26 31,1-13-31,-1 0 16,0 0 15,0-13 0,1-1-15,-1 14 15,0 14-15,0-14-1,-13 13 1,14-13-16,-1 0 31,0-13-31,0-1 31</inkml:trace>
  <inkml:trace contextRef="#ctx0" brushRef="#br0" timeOffset="198597.58">16708 5503 0,'0'0'0,"0"27"31,0-14-31,0 0 15,0 0-15,0 1 0,0-1 0,0 13 16,0-12-16,0-1 0,0 13 16,0-12-16,0-1 15,0 0-15,0 0 0,0 0 16,14-39 15,-14 13-15,13 13-16,0-13 0,0-1 15,1 14-15,-1 0 0,0-13 16,0 13-16,1 13 16,-14 1-1,0-1-15,-14 0 16,14 0-16,-13 0 16,0-13-16,13 14 0,-13-14 15,13 13-15,-14-13 16,14 13-16,0 0 47,14-13-32,-1 0-15</inkml:trace>
  <inkml:trace contextRef="#ctx0" brushRef="#br0" timeOffset="198952.37">16814 5794 0,'0'-13'0,"0"26"0,14-26 15,-1 13-15,-13-13 0,13 13 16,0-13-16,0 13 15,-13-14-15,14 14 0,-14-13 0,13 0 0,-13 0 16,13 13-16,-13-13 16,0-1-16,0 1 15,0 0 1,27 26 31,-27 0-47,13-13 15,0 14-15,0-1 16,0 0-16,1-13 16,-14 13-16,13 0 15,-13 1 1,0-54 31,0 27-32,13 0-15,0-1 0,-13 1 16,14 13-16,-1-13 0,0 13 16,0-13-16</inkml:trace>
  <inkml:trace contextRef="#ctx0" brushRef="#br0" timeOffset="199083.2">17343 5569 0,'14'0'0,"-14"-13"31,-14 13 1</inkml:trace>
  <inkml:trace contextRef="#ctx0" brushRef="#br0" timeOffset="206730.75">16126 5027 0,'-39'27'16,"25"-14"-16,1 13 0,-13 1 0,13-1 15,-27 14-15,13 13 0,1 0 0,-14 0 16,14-14-16,-1 14 0,-12 0 15,12 0-15,-26 26 16,27-39-16,13-13 0,-1 12 0,1-12 16,0-14-16,0 13 0,13-12 0,0-1 15,0 0-15,0 0 16</inkml:trace>
  <inkml:trace contextRef="#ctx0" brushRef="#br0" timeOffset="207003.87">16775 5014 0,'-27'66'15,"1"-40"1,-1 27-16,1-13 0,-1 13 0,-12 0 15,12-13-15,-13 13 0,14-1 0,0 1 16,-14 0-16,13-13 0,1 13 16,-1-13-16,14-1 0,-13-12 0,13-1 15,-1 1-15,1-1 0,0-13 0,0 1 16,13-1-16,-14 0 0</inkml:trace>
  <inkml:trace contextRef="#ctx0" brushRef="#br0" timeOffset="207233.02">17158 4974 0,'-79'159'31,"52"-119"-31,1 13 16,-14-1-16,14 1 0,-40 40 16,26-40-16,14-13 0,-1 12 0,1-12 15,-1 0-15,1-14 0,-1 1 16,14-1-16,-13 1 0</inkml:trace>
  <inkml:trace contextRef="#ctx0" brushRef="#br0" timeOffset="214107.54">17952 6072 0,'0'-13'16,"-13"39"15,13-12-31,0-1 16,0 0-16,0 14 0,-13-14 0,13 0 15,0 13-15,0-12 0,0-1 0,0 0 16,0 0-16,0 1 0,0-1 15,0 0-15,0 0 16,0 1-16,0-1 16,13-53 15,-13 27-31,0 0 0,0-1 0,0 1 16,0 0-16,0 0 0,0-1 0,0 1 15,0 0-15,0 0 0,0 0 16,0-1-16,0 1 0,0 0 15,-13 39 17,13-12-32,0-1 0,0 0 0,-14 0 15,14 0-15,0 1 0,0-1 16,0 13-16,0-12 0,0-1 0,0 0 16,0 0-16,0 1 15,0-1-15,0 0 16,0-53 15,0 27-31,0 0 0,0 0 16,0-14-16,0 14 0,0 0 0,0-14 15,0 14-15,0 0 0,0 0 16,0-1-16,0 1 0,0 0 16,0 53 15,-13-27-31,13 0 0,0 13 15,0-12-15,0 12 0,0-13 0,0 14 16,-13-14-16,13 14 0,0-14 0,0 0 16,0 0-16,0 0 0,0 1 0,13-1 15,-13 0 1,0-39 0,0 12-16,0 1 15,0 0-15,13 0 0,-13-14 16,0 14-16,0-13 0,0 12 15,0 1-15,0 0 0,14 0 0,-14-1 16,0 1-16,0 0 16,-14 0-16</inkml:trace>
  <inkml:trace contextRef="#ctx0" brushRef="#br0" timeOffset="214539.02">17926 5649 0,'-14'13'0,"14"0"16,-13 1-16,13-1 15,0 0-15,-13 13 0,13-12 0,0-1 16,-13 13-16,13-12 0,0-1 0,0 13 16,0-12-16,-14 12 0,14-13 0,0 0 15,0 1-15,0-1 16,14 0-16,-14 0 0</inkml:trace>
  <inkml:trace contextRef="#ctx0" brushRef="#br0" timeOffset="-214607.9">18045 5649 0,'13'-13'15,"-13"52"16,0-25-31,0-1 0,0 0 16,0 0-16,0 14 0,0-14 0,-13 13 16,13-12-16,0 12 0,0-13 15,0 1-15,-14 12 0,14-13 16,0 0-16,-13-13 0,13 14 0,-13-1 16,13 0-16,-13-13 0,-1 0 15,1 0-15,0 0 0,0 0 16,0 0-16,13-13 0,-14 13 15,14-13 1,0-1-16,14 1 16,-1 13-16,0-13 0,13 13 15,-12-13-15,-1 13 0,0-13 16,14 13-16,-14 0 0,0 0 0,0-14 16,1 14-16,-1 0 0,-13 14 0,13-14 15</inkml:trace>
  <inkml:trace contextRef="#ctx0" brushRef="#br0" timeOffset="-214087.62">17608 6363 0,'-40'0'31,"27"0"-15,0 0-16,-14 0 0,1 0 0,-1 13 15,1-13-15,-14 0 0,-13 14 16,14-14-16,-14 13 0,0-13 16,13 0-16,-13 13 0,0-13 0,14 0 15,-14 13-15,0-13 0,0 0 0,0 14 16,0-14-16,0 0 0,14 0 15,-1 13-15,0-13 0,14 0 0,-1 0 16,1 0-16,13 0 0,-14 0 0,14 0 16,0 0-16,-1 0 0,1 0 0,0 0 15,0 13-15,-1-13 16,1 0-16</inkml:trace>
  <inkml:trace contextRef="#ctx0" brushRef="#br0" timeOffset="-213637.04">16603 6324 0,'-14'0'0,"1"0"15,0 0-15,-14 0 0,14 0 16,0 0-16,0 13 0,0-13 16,-1 0-16,1 13 0,0-13 0,0 13 15,-1 0-15,-12-13 0,13 14 0,-1-14 16,14 13-16,-13 0 0,0-13 15,13 13-15,-13 1 0,0-1 16,13 0-16,0 0 0,0 1 16,13-1-16,0 0 15,0-13-15,0 13 16,1-13-16,-1 13 0,0-13 0,0 0 16,1 14-16,-1-14 0,0 0 0,0 13 15,1-13-15,-1 0 0,0 0 16,0 0-16,0 13 0,1-13 15,-1 0 1,0 13-16,0-13 31,-13 14-31,14-1 16</inkml:trace>
  <inkml:trace contextRef="#ctx0" brushRef="#br0" timeOffset="-206903.88">22384 5450 0,'13'-13'16,"0"26"15,-13 1-31,0-1 0,0 0 16,0 0-16,0 14 0,0-14 16,0 13-16,0-12 0,0 12 0,0 1 0,0-14 15,0 13-15,0-12 0,0-1 16,0 0-16,0 13 0,0-12 0,0-1 15,0 0-15,0 0 16,13 1-16,-13-1 16,14-13-1</inkml:trace>
  <inkml:trace contextRef="#ctx0" brushRef="#br0" timeOffset="-206500.72">22648 5556 0,'0'0'0,"0"-13"0,0 0 0,-13 13 16,0 13 0,0 0-16,13 0 15,-14 1-15,14-1 0,-13 13 16,13-12-16,0-1 0,0 13 0,0-12 15,0-1-15,13 0 0,-13 0 0,14 0 16,-1 1-16,0-1 16,0 0-16,1-13 0,-1 0 0,0 0 15,0 0-15,0 0 0,1-13 16,-1 13-16,0-13 0,0-1 16,-13 1-16,14 0 0,-14 0 0,0 0 15,0-1-15,0 1 0,0-13 0,-14 12 16,14 1-16,-13 0 0,13 0 15,-13 13-15,13-14 0,-13 1 0,-1 13 16,1 0-16,0 0 0,0 0 0,0 0 16,-1 0-16,1 0 0,13 13 15,-13-13-15,39 0 16</inkml:trace>
  <inkml:trace contextRef="#ctx0" brushRef="#br0" timeOffset="-206179.68">22860 5517 0,'13'0'0,"-26"0"0,13 26 47,-13-13-47,13 0 0,-13 14 16,13-14-16,-14 0 0,14 14 16,0-14-16,0 0 0,0 1 0,0-1 15,0 0-15,0 0 0,27 0 16,39 14-1,-53-27 1,0 0-16,1 0 0,-1 0 0,0-13 0,0-1 16,1-12-16,-14 13 15,0 0-15,13-1 0,-13 1 16,0 0-16,-13 0 0,13-1 0,0 1 16,-14 0-16,14 0 0,-13-1 0,13 1 15,-13 13-15,0-13 0,-1 13 16,1 0-16,0 0 0,0 0 15,-1 0-15,1 13 16</inkml:trace>
  <inkml:trace contextRef="#ctx0" brushRef="#br0" timeOffset="-205911.84">23508 5384 0,'13'0'0,"-26"0"0,13 14 32,-13-1-32,13 0 0,-13 13 15,0-12-15,-1-1 0,1 13 0,0 1 16,0-1-16,-1 1 0,-12 12 0,13-25 16,-1 12-16,14-13 0,-13 14 0,0-14 15,0 0-15,13 0 16,-13 1-16,13-1 0,0 0 0,-14 0 0,14 1 15,-13-1 1</inkml:trace>
  <inkml:trace contextRef="#ctx0" brushRef="#br0" timeOffset="-205570.45">22278 6046 0,'40'0'15,"-1"0"1,14-14-16,0 14 0,0-13 0,13 13 16,0-13-16,0 0 0,1 13 0,-1-13 15,0 13-15,0 0 16,-13-14-16,0 14 0,26 0 16,-39 0-16,-14 0 0,-12 0 0,12 0 15,-13 0-15,1 0 0,-1 0 16,-13 14-16,-13-1 15,-14-13-15,-13 13 0</inkml:trace>
  <inkml:trace contextRef="#ctx0" brushRef="#br0" timeOffset="-205281.65">22225 6191 0,'-66'13'0,"132"-26"0,-159 40 16,80-27-16,0 13 0,0-13 15,39 0 1,1 0-16,12 0 0,14 0 15,13-13-15,1-1 0,-1 14 16,0-13-16,13 0 0,-13 13 0,0-13 16,1 0-16,-14 13 0,-1 0 0,1-14 15,0 14-15,0 0 0,-26-13 16,12 13-16,-12 0 0,-1 0 0,-12 0 16,12 0-16,-13 0 0,0 0 0,1 0 15,-1 0-15,0-13 0,0 13 16,1 0-16,-1 0 15,-40-13 17,14 13-32,0 0 15,0-14-15</inkml:trace>
  <inkml:trace contextRef="#ctx0" brushRef="#br0" timeOffset="-189875.72">23283 5530 0,'-13'13'0,"13"0"16,-13 0 0,0-26 46,13 0-46,-14 26 15,14 0-15</inkml:trace>
  <inkml:trace contextRef="#ctx0" brushRef="#br0" timeOffset="-189619.64">23521 5768 0,'0'-13'16,"0"-1"0,-13 1-16,13 0 31</inkml:trace>
  <inkml:trace contextRef="#ctx0" brushRef="#br0" timeOffset="-186763.81">23905 5503 0,'0'-13'62,"0"0"-46,0 0 0,0-14-1,0 14-15,0 0 0,-13 13 16,13-13-16,0-1 0,-13 1 15,13 0-15,-14 0 0,14-1 0,-13 14 16,0-13-16,0 0 0,-1 0 0,1-1 16,0 1-16,0 0 0,0 13 15,-1-13-15,1 0 0,0 13 16,0-14-16,-1 14 0,1-13 0,0 13 16,13-13-16,-13 13 0,0 0 15,-1 0-15,1-13 0,0 13 0,0 0 16,-1 0-16,1 0 0,0 0 0,0 0 15,-1 0-15,1 0 0,13 13 16,-13-13-16,0 0 0,0 0 0,-1 0 16,1 13-16,0-13 0,-14 0 15,27 13 1,-13-13-16,0 0 0,13 14 16,-13-1-16,-1-13 15,14 13 1,-13-13-16,0 13 15,0 0 1,13 1 0,-13-14-16,13 13 15,-14 0 1,14 0-16,-13 1 16,13-1-1,0 0-15,-13-13 0,13 13 16,0 1-16,-13-14 15,13 13-15,0 0 0,0 0 16,-14 0-16,14 1 16,0-1-1,-13 0 1,13 0-16,0 1 16,0-1-16,0 0 0,0 0 15,0 0 1,0 1-16,-13-1 15,13 0-15,0 0 0,0 1 16,0-1-16,0 0 16,0 0-16,0 1 15,13-1 1,-13 0-16,0 0 16,0 0-1,0 1-15,0-1 16,13 0-1,-13 0-15,0 1 16,0-1-16,14 0 16,-14 0-16,0 1 15,13-1-15,-13 0 0,13 0 16,0 0-16,-13 1 16,14-14-16,-14 13 0,13-13 15,-13 13-15,13-13 0,0 0 16,-13 13-16,13-13 0,1 0 0,-1 0 15,-13 14-15,26-14 0,-12 0 0,-1 0 16,0 0-16,0 0 16,1 0-16,-1 0 0,0 0 0,0 0 15,0 0-15,1 0 0,12-14 0,-13 14 16,1 0-16,-1 0 0,0 0 16,0 0-16,1-13 0,-1 13 0,0 0 15,0 0-15,0-13 0,1 13 0,-1 0 16,0-13-16,0 13 0,1-14 0,-1 14 15,0-13-15,0 13 0,0-13 16,1 0-16,-1 0 0,0-1 16,0 1-16,1 0 0,-14 0 15,13-1-15,-13-12 0,13 13 0,-13-1 16,0 1-16,0 0 0,13 0 16,-13 0-16,0-1 0,-13 1 15,13 0-15,0 0 0,0-1 0,-13 14 16,13-13-16,0 0 0,-13 0 15,13-1-15,-14 14 0,14-13 16,-13 13-16,0-13 16,0 13-16,-1 13 15,1-13 1,0 0-16</inkml:trace>
  <inkml:trace contextRef="#ctx0" brushRef="#br0" timeOffset="-182971.23">16470 6879 0,'14'-13'16,"-1"13"0,0 0-16,0 13 0,0-13 15,-13 13-15,14 1 16,-28 12 0,14-13-16,-26 14 15,13-14-15,0 0 16,13 0-16,-14-13 15,14 14-15,14-14 32,-1 13-32,0-13 15,0 0-15,0 0 16,1 13-16,-1-13 0,0 0 0,0 13 16,1 1-16,-1-1 15,-13 0 1,-13 0-16,-1 1 15,1-14-15,13 13 0,-13 0 16,0-13-16,-1 13 0,1-13 0,0 0 16,0 13-16,0-13 0,-1 14 15,1-14-15,0 0 0,0 0 16,-1 0-16,1 13 16</inkml:trace>
  <inkml:trace contextRef="#ctx0" brushRef="#br0" timeOffset="-182471.85">16735 6919 0,'-13'0'0,"-14"26"31,27-12-31,0-1 0,-13 0 16,13 0-16,0 0 0,-13 1 0,13-1 16,0 0-16,0 0 0,13 1 0,-13-1 15,0 0-15,13 0 0,0 1 16,1-14-16,-1 0 16,0 0-16,0 0 0,1-14 15,-1 14-15,0-13 16,-13 0-16,0 0 15,13-1-15,-26 1 0,13 0 16,0 0-16,0-1 0,-13 14 0,13-13 16,0 0-16,-13 0 0,-1 0 15,1 13 1,-13 0-16,12 0 16,14 13-16,-13-13 15</inkml:trace>
  <inkml:trace contextRef="#ctx0" brushRef="#br0" timeOffset="-182259.79">16947 6760 0,'13'-13'0,"-26"39"47,13-12-47,0-1 16,0 0-16,-14 0 0,14 0 0,0 1 15,0-1-15,0 0 0,0 0 16,0 1-16,0-1 0,0 0 0</inkml:trace>
  <inkml:trace contextRef="#ctx0" brushRef="#br0" timeOffset="-182049.19">17079 6747 0,'0'-27'0,"0"1"15,0 52 32,0-12-47,0-1 0,0 0 0,0 0 16,0 1-16,0-1 0,0 0 15,0 0-15,0 0 0,0 1 16,0-1-16</inkml:trace>
  <inkml:trace contextRef="#ctx0" brushRef="#br0" timeOffset="-181809.87">16880 6853 0,'0'0'0,"-13"-14"0,0 14 15,53 0 17,-27-13-32,0 13 15,0 0-15,14 0 0,-14-13 0,13 13 16,-12 0-16,12-13 0,1 13 16,-14 0-16,13-13 0,-12 13 0,12 0 15,0 0-15,-12-14 0,-1 14 0,0 0 16,0 0-16,1 0 0,-1 0 15,0 0-15,0 0 0</inkml:trace>
  <inkml:trace contextRef="#ctx0" brushRef="#br0" timeOffset="-181423.72">17119 6879 0,'-14'-13'16,"14"0"-1,14-1-15,-1 14 16,0 0 0,0 0-16,0 14 15,-13-1-15,14-13 16,-1 13-16,-13 0 15,13 1 1,-13-1 0</inkml:trace>
  <inkml:trace contextRef="#ctx0" brushRef="#br0" timeOffset="-176652.57">16457 7329 0,'106'13'31,"-80"-13"-31,1 0 16,13 0-16,12 13 0,1-13 0,-13 0 16,13 0-16,0 0 0,0 0 15,0 0-15,0-13 0,0 13 0,-14-13 0,14 13 16,0-13-16,-13-1 16,13 14-16,-14-13 0,1 0 0,0 0 15,-1 0-15,28-14 0,-41 14 16,-13 0-16,14-1 0,-14 1 15,13 0-15,-12 0 0,-1 13 0,0-13 16,0-1-16,-13 1 0,14 0 0,-14 0 16,13-1-16,-13 1 0,0 0 15,0 0-15,0-1 0,0 1 0,0 0 16,0-13-16,-13 12 0,13 1 0,-14-13 16,1 12-16,0-12 0,0 13 15,-14-14-15,14 14 0,-14-13 16,1 12-16,0 1 0,-1 0 0,1 0 15,-14-14-15,13 27 0,-12-13 0,-1 0 16,0 0-16,1-1 0,-1 14 16,0-13-16,1 13 0,-1-13 0,0 13 15,1-13-15,-1 13 0,13 0 0,-12 0 16,12 0-16,-12 0 0,-14 0 16,13 0-16,-13 0 0,0 13 0,0-13 15,0 13-15,0 0 0,14 1 0,-14 12 16,0-13-16,13 14 0,-13-14 15,14 13-15,-14 1 0,13 12 16,0-12-16,1-1 0,12-12 0,1 12 16,-14 14-16,27-14 0,-14 1 0,1-1 15,13 1-15,-1-1 0,14-13 0,-13 1 16,13 12-16,0-13 0,0 14 16,13-14-16,-13 0 0,14 14 0,-1-14 15,13 13-15,-12-13 0,12 14 0,14-14 16,-14 0-16,14-13 0,0 14 15,-14-1-15,14-13 0,-14 0 0,40 0 16,-39 0-16,12 0 16,-12 0-16,-1 0 0,1 0 0,-1 0 15,-12 0-15,12 0 0,-13 0 16,0 0-16,1 0 0,-1 0 0,0 0 16,0 0-16,1 0 0,-1-13 15,0 13 1,0 0-1,1-14 1,-1 14-16,-13-13 16,13 13-1</inkml:trace>
  <inkml:trace contextRef="#ctx0" brushRef="#br0" timeOffset="-175779.81">14896 7263 0,'40'-13'16,"-14"-1"0,1 14-16,12-13 0,1 0 0,13 13 15,-13-13-15,-1 13 0,1-14 0,0 14 16,-1-13-16,-12 13 0,-1 0 15,14-13-15,-14 13 0,1 0 0,-14 0 16,14-13-16,-1 13 0,-13 0 0,14 0 16,-14-13-16,0 13 0,0 0 0,-13-14 15</inkml:trace>
  <inkml:trace contextRef="#ctx0" brushRef="#br0" timeOffset="-175521.75">15412 6972 0,'66'0'15,"-39"13"1,-14-13-16,13 13 0,-12 0 0,12 1 16,-13-1-16,0 0 0,14 0 0,-14 1 15,0 12-15,1-13 0,-14 1 16,0-1-16,13 0 0,-13 0 0,0 0 15,0 1-15,-13-1 0,13 0 16,-14 14-16,14-14 0,-13-13 0,0 13 16,13 0-16,-13 0 0,-1 1 0,1-1 15,0-13 1</inkml:trace>
  <inkml:trace contextRef="#ctx0" brushRef="#br0" timeOffset="-172579.99">18150 6839 0,'0'-13'16,"-13"40"0,0-14-1,13 0-15,-13 14 0,0-14 16,-1 0-16,1 14 0,13-1 0,-13-13 16,0 14-16,-1-14 0,1 0 0,0 14 15,13-14-15,-13 0 0,13 0 16,-14 1-16,14-1 0,-13-13 15,13 13-15</inkml:trace>
  <inkml:trace contextRef="#ctx0" brushRef="#br0" timeOffset="-172364.89">17926 6919 0,'0'0'0,"13"-13"0,0 26 31,0-13-31,-13 13 16,13-13-16,1 13 0,-14 1 0,13-14 15,-13 13-15,13 0 0,0 0 16,-13 0-16,14 1 16,-1-14-16,0 13 0</inkml:trace>
  <inkml:trace contextRef="#ctx0" brushRef="#br0" timeOffset="-172111.66">18296 6615 0,'0'0'16,"0"26"0,0-13-16,0 1 15,0 12-15,0-13 0,0 0 0,-13 14 16,13-14-16,0 0 0,0 14 0,-14-14 16,14 0-16,0 0 15,0 1-15</inkml:trace>
  <inkml:trace contextRef="#ctx0" brushRef="#br0" timeOffset="-171828.78">18521 6562 0,'0'-14'0,"-13"41"31,13-14-15,0 0-16,0 1 0,0-1 15,0 0-15,0 0 0,0 1 0,0-1 16,0 0-16,0 0 0,0 0 16,0 1-16,0-1 0,0 0 15,13-13-15,-13 13 16,13-13-1</inkml:trace>
  <inkml:trace contextRef="#ctx0" brushRef="#br0" timeOffset="-171628.73">18217 6694 0,'13'-13'15,"79"-27"1,-65 27 0,-1 13-16,-12 0 0,12-13 15,-13 13-15,0 0 0,1 0 0,12 0 16,-13 0-16,1 0 16</inkml:trace>
  <inkml:trace contextRef="#ctx0" brushRef="#br0" timeOffset="-171293.88">18508 6773 0,'0'-26'31,"53"-53"48,-27 79-33,119 92-14</inkml:trace>
  <inkml:trace contextRef="#ctx0" brushRef="#br0" timeOffset="-150827.72">23191 6628 0,'0'26'62,"0"-12"-62,-13-1 16,13 13-16,0 14 0,-14 0 15,14-1-15,-13 1 0,13 0 0,0-1 0,-13 1 16,13 0-16,-13-14 16,13 1-16,0-1 0,0 1 0,0-1 15,-14 0-15,28-12 0,-28 12 0,14-13 16,0 1-16,0 12 0,0-13 16,0 0-16,0 1 0,0-1 15</inkml:trace>
  <inkml:trace contextRef="#ctx0" brushRef="#br0" timeOffset="-150540.95">23230 6707 0,'-13'0'0,"26"0"0,-52 13 16,26-13-16,-1 14 0,1-1 16,-13-13-16,-1 26 0,1 1 0,-1-1 15,14 1-15,-13-1 0,-1-13 16,14 14-16,-14-1 0,14 1 15,0-14-15,0 13 0,13-12 0,-14-1 16,1 0-16,13 0 0,0 1 16,-13-14-16</inkml:trace>
  <inkml:trace contextRef="#ctx0" brushRef="#br0" timeOffset="-150295.8">23032 6694 0,'0'0'0,"26"0"0,-12 0 15,-1 0-15,0 13 0,14-13 0,-14 13 16,13-13-16,1 14 0,-14-1 16,13 0-16,1 0 0,-14 1 0,14-1 15,-14 0-15,13 0 0,-13 0 0,1 1 16,-1-14-16,0 13 0,0 0 15,1 0-15,-1-13 0,0 14 0,0-1 16,1-13-16,-1 0 16</inkml:trace>
  <inkml:trace contextRef="#ctx0" brushRef="#br0" timeOffset="-148512.72">17542 7686 0,'0'-13'0,"0"0"31,0 52-15,0-25-16,-13 12 15,13 1-15,0-1 0,0 14 16,-14-14-16,14 14 0,0-14 0,0 1 15,-13-1-15,13 1 0,0-1 16,0 1-16,0-14 0,0 13 0,0-13 16,0 14-16,0-14 0,0 0 0,0 1 15</inkml:trace>
  <inkml:trace contextRef="#ctx0" brushRef="#br0" timeOffset="-148257.46">17648 7646 0,'-119'80'15,"92"-54"-15,1 1 16,-1-14-16,-12 13 0,12 1 0,1-1 16,12-12-16,-12 12 0,13-13 15,0 1-15,-1-1 0,1-13 16,13 13-16</inkml:trace>
  <inkml:trace contextRef="#ctx0" brushRef="#br0" timeOffset="-148065.18">17648 7739 0,'0'0'0,"66"13"0,-40 1 0,-12-1 15,12-13-15,0 26 0,1-13 0,13 1 16,-14-1-16,1 0 0,-14 0 15,13 1-15,-13-1 0,14 0 0,-14 0 16,0-13-16</inkml:trace>
  <inkml:trace contextRef="#ctx0" brushRef="#br0" timeOffset="-89211.86">15663 4630 0,'53'0'78,"80"0"-62,39 0-16,-1 0 16,107-13-16,-13-13 15,-93 26-15,92-14 16,-12 14-16,12 0 15,-105 0 1,-93 0-16,-26 0 0</inkml:trace>
  <inkml:trace contextRef="#ctx0" brushRef="#br0" timeOffset="-88351.63">21749 4114 0,'66'0'109,"66"0"-109,27 0 16,26 0-16,27 0 16,39 0-16,40 0 15,0 0-15,-66 0 16,-40 0-16,-79 0 16,-40 0-16</inkml:trace>
  <inkml:trace contextRef="#ctx0" brushRef="#br0" timeOffset="-85069.15">8731 6244 0,'0'-26'0,"0"52"31,0-13-15,0 14-16,0-1 0,0 1 0,0-1 16,0 14-16,0-14 0,0 14 0,13-13 15,-13 12-15,0-12 16,0-1-16,0-13 0,0 14 0,14-14 0,-14 14 16,0-14-16,0 0 0,0 0 0,0 0 15,0 1-15,13-1 0</inkml:trace>
  <inkml:trace contextRef="#ctx0" brushRef="#br0" timeOffset="-84689.69">8546 6284 0,'13'-66'15,"0"52"1,1-12-16,-1 13 0,27 0 0,-14-1 16,14 14-16,-14 0 0,14 0 0,-14 0 15,14 14-15,0-14 0,-1 26 16,1-13-16,-13 14 0,-1-1 0,1 1 15,-14-1-15,0 1 0,0-1 0,0 0 16,-13-12-16,-13 12 0,13 1 0,-13 12 16,0-12-16,0-1 0,-1 14 15,-12-14-15,-1 1 0,14-1 0,-13 1 16,-1-1-16,1-13 0,-1 1 16,1-1-16,13 0 0,-14-13 15,14 13-15,0-13 0,-1 0 0,1 0 16,0 0-16,0 0 15,13-13-15</inkml:trace>
  <inkml:trace contextRef="#ctx0" brushRef="#br0" timeOffset="-83663.58">9247 6628 0,'0'0'0,"13"-13"0,-13-1 15,14 1-15,-14 0 16,0 0-16,0-1 16,0 1-16,-14 13 0,14-13 0,-13 0 15,0 0 1,0 13-16,0 0 15,-1 0-15,1 13 0,13 0 16,-13-13-16,13 13 0,-13 0 16,13 14-16,0-14 0,-14 0 15,14 1-15,0-1 0,14 0 0,-14 0 16,0 1-16,13-1 0,0 0 16,0-13-16,1 13 0,-1-13 15,0 0-15,0 13 0,0-13 0,1-13 16,12 13-16,-13 0 0,1 0 15,-1-13-15,13 13 0,-13-13 0,1 0 16,-1-1-16,0 14 0,0-13 0,1 0 16,-1 0-16,0-1 0,0 1 0,-13 0 15,14 13-15,-1-13 0,-13-1 0,13 14 16,-13-13-16,13 0 16,0 0-1,1 0 1,-41 39 15,27-13-15,0 0-16,-13-13 0,13 14 15,0-1-15,0 0 16,0 0-16,0 1 16,0-1-16,0 0 0,13-13 15,0 13 1,1-13-1,-1-13-15,0 13 16,0 0-16,1 0 0,-14-13 16,13 13-16,0 0 15,-13-13-15,13 13 16,1-14-16,-1 14 16,-13-13-16,13 0 31,0 13 0,-13-13 0,13 13 1,-13-14-17,0 1 16,0 0-31,0 0 32,0 52 15,0-25-47,14-14 15,-14 13-15,0 0 0,0 0 16,0 1-16,13-1 31</inkml:trace>
  <inkml:trace contextRef="#ctx0" brushRef="#br0" timeOffset="-83492.52">9723 6257 0,'-13'-13'32,"0"26"-32</inkml:trace>
  <inkml:trace contextRef="#ctx0" brushRef="#br0" timeOffset="-83049.4">9842 6165 0,'0'0'0,"14"26"16,-14-13-16,13 1 15,-13-1-15,0 13 0,0 1 16,13-1-16,-13 1 0,13-1 0,-13-13 16,14 14-16,-1-1 0,0-12 0,-13-1 15,13 13-15,1-26 0,-1 14 0,0-1 16,0-13 0,0 13-16,1-13 0,-1 0 0,0 0 0,0 0 15,1 0-15,-1-13 0,0 13 0,0-13 16,1-1-16,-14 1 0,13 0 15,-13 0-15,13-1 0,-13 1 16,-26 26 15,26 1-31,-14-1 16,14 0-16,14 0 16,-14 1-16,0-1 15,13-13-15,0 13 16,0-13-1,-13 13-15,13-13 0</inkml:trace>
  <inkml:trace contextRef="#ctx0" brushRef="#br0" timeOffset="-82723.98">8784 7038 0,'0'0'16,"27"-13"-16,-14 13 0,13-14 16,14 1-16,0 0 0,13-13 15,13 12-15,0-12 0,0 13 0,0-1 16,0-12-16,0 13 0,1-14 0,-1 14 15,-13 0-15,13-14 0,40 1 16,-67 26-16,1-13 16,-14-1-16,1 14 0,-1-13 0,-12 13 0,-1 0 15,0-13-15,0 13 0,1 0 0,-41 13 47,14 0-47,-14-13 0,-12 14 0</inkml:trace>
  <inkml:trace contextRef="#ctx0" brushRef="#br0" timeOffset="-82474.4">8956 7104 0,'53'-13'31,"-40"0"-31,27-1 0,0 1 0,13 0 15,0 0-15,-1-14 0,1 14 0,0 0 16,-13 0-16,0-1 0,-1 1 16,1 0-16,-14 0 0,1-1 0,-1 1 15,-12 13-15,-1-13 0,0 13 0,0 0 16,1-13-16,-28-1 31,1 14-31,0-13 0</inkml:trace>
  <inkml:trace contextRef="#ctx0" brushRef="#br0" timeOffset="-81193.44">8453 4577 0,'-13'40'31,"13"-27"-31,0 0 16,0 14-16,0-14 0,0 14 0,0-1 15,13 0-15,-13 14 0,14-13 16,-14-1-16,13 1 0,-13-14 0,13 13 16,0-13-16,1 1 0,-1-1 0,0 0 15,0 0-15,14-13 0,-14 14 16,0-14-16,0 0 0,14 0 0,-14-14 16,14 14-16,-14-13 0,13 0 0,-13 0 15,14-14-15,-14 1 0,14-1 0,-14 1 16,-13 13-16,13-14 0,-13 1 15,0-14-15,-13 0 0,13 1 16,-13-1-16,-1 0 0,1 1 0,-13 12 0,-1-13 16,1 14-16,-1 0 15,1-1-15,-1 1 0,14 12 0,-13 1 16,-1 0-16,14 0 0,0 13 0,0 0 16,-1 0-16,1 0 0,13 13 0,-13-13 15,0 13-15,13 14 0,0-14 16,-14 0-16,28 14 0,-14 12 0,0-12 15,13 12-15,0 1 0,0 0 0,1-1 16,12-12-16,-13 13 16,0-1-16,14-12 0,-14-1 0,0 1 15,1-1-15,-1 1 0,0-14 0,0 13 16,-13-13-16,14 1 0,-14-1 16,13 0-16,-13 0 0,13-13 15,-13 14-15,13-14 0,0 0 16,1 0-1,-1 0-15</inkml:trace>
  <inkml:trace contextRef="#ctx0" brushRef="#br0" timeOffset="-80721.28">9075 4630 0,'-13'13'32,"0"1"-32,13-1 15,0 0-15,0 0 0,0 1 16,0-1-16,0 0 0,13 0 15,-13 0-15,0 1 0,13-14 16,-13 13-16,13-13 0,1 13 16,-1-26-16,0 13 15,0-13-15,1-1 16,-1 1-16,-13 0 0,13 0 0,-13 0 16,13-1-16,-13 1 0,14-13 15,-1 12-15,-13 1 16,13 26-1,0 1 1,-13-1-16,13 0 16,-13 0-16,0 1 0,14-1 15,-14 0-15,13 0 0,0 0 16,0 1-16,-13-1 0,14-13 0,-1 0 16,0 13-16,0-13 0,0 0 15,14 0-15,-14 0 0,0-13 16</inkml:trace>
  <inkml:trace contextRef="#ctx0" brushRef="#br0" timeOffset="-80241.24">9618 4657 0,'-14'-40'32,"1"40"-32,0 13 15,0-13 1,-1 13-16,1-13 0,13 14 15,-13-14-15,13 13 0,0 0 0,-13-13 16,13 13-16,0 1 16,-13-1-16,26-13 15,0-13 17,0 13-32,-13-14 0,13 14 15,1-13-15,-1 13 16,0-13-16,0 13 15,1 13-15,-1-13 16,-13 13-16,13-13 0,-13 14 16,13-14-16,-13 13 0,0 0 15,14-13-15,-14 13 0,0 0 16,0 1 0,13-14-1,-13-14 1,0 1-16,0 0 15,13 13-15,-13-13 0,13 0 0,-13-1 16,13 1-16,-13 0 0,14 13 0,-14-13 16,13-1-16,0 1 15,0 13-15,-13-13 16,14 13-16,-14-13 0,13 13 16,0-13-16</inkml:trace>
  <inkml:trace contextRef="#ctx0" brushRef="#br0" timeOffset="-80033.64">9975 4339 0,'0'-13'31,"13"39"-31,-13-12 16,13-1-16,0 0 0,-13 14 0,14-14 15,-1 13-15,-13-13 0,13 14 0,0-14 16,1 14-16,-1-1 15,-13-13-15,13 1 0,0 12 0,-13-13 16,0 0-16,14 1 0,-14-1 0,0 0 16,0 0-16,0 1 15</inkml:trace>
  <inkml:trace contextRef="#ctx0" brushRef="#br0" timeOffset="-79753.3">9922 4683 0,'40'-40'16,"-27"40"-1,0-13-15,0 0 0,0 13 0,1-13 16,12 13-16,-13-13 0,1 13 16,-1 0-16,0-14 0,0 14 0,1 0 15,-1 0-15,0 0 0,0 0 16,-13 14-16,13-14 0,1 13 15,-1 0-15,0 0 16,0 0-16,-13 1 16,0-1-16,14-13 0,-14 13 15,0 0-15,13-13 16,-13 14-16</inkml:trace>
  <inkml:trace contextRef="#ctx0" brushRef="#br0" timeOffset="-79617.73">10306 4419 0,'-14'0'16</inkml:trace>
  <inkml:trace contextRef="#ctx0" brushRef="#br0" timeOffset="-79088.75">10583 4207 0,'0'0'0,"0"-13"15,-13 39 1,13-13-16,0 14 16,0-1-16,0 1 0,0-1 15,0 1-15,0-1 0,0 1 0,0-1 16,0 0-16,13 1 0,-13-14 0,14 14 15,-14-14-15,13 0 0,0 0 16,0-13-16,0 14 0,1-14 0,-1 0 16,0 0-16,0 0 0,1-14 15,-1 14-15,0-13 0,0 0 0,1 0 16,-14-1-16,13 1 0,-13 0 16,0 0-16,13-1 0,-13 1 0,0 0 15,-26 39 1,12-12-1,14-1-15,0 0 16,0 0-16,0 1 0,0-1 16,0 0-16,14 0 0,-1-13 0,-13 14 15,13-14-15,0 13 0,0-13 16,1 0-16,-1 0 0,0 0 0,0 0 16,1 13-16,-1-13 0,0 0 0,0-13 15,1 26-15</inkml:trace>
  <inkml:trace contextRef="#ctx0" brushRef="#br0" timeOffset="-78778.63">9221 4987 0,'39'0'15,"-12"0"-15,13-13 16,-1 13-16,27-13 0,1-14 0,12 14 16,0 0-16,1 0 0,-1 0 15,14-1-15,-14-12 0,0 13 0,-12-1 16,12 1-16,-13 0 0,-13 13 0,0-13 15,-13-1-15,-1 14 0,1-13 0,-27 13 16,14 0-16,-14-13 0,0 13 16</inkml:trace>
  <inkml:trace contextRef="#ctx0" brushRef="#br0" timeOffset="-78553.58">9432 5133 0,'0'0'16,"14"13"-16,-1-13 15,0 0-15,0 0 0,14 0 0,-1-13 16,14 13-16,13-13 0,13-1 0,0 1 16,0 0-16,0 0 0,1 0 15,-1-1-15,0-12 0,0 13 0,0-1 16,-13 1-16,13-13 0,-13 12 0,0 1 15,0-13-15,-13 13 0,-1-1 16,1-12-16,0 13 0,-14-14 16</inkml:trace>
  <inkml:trace contextRef="#ctx0" brushRef="#br0" timeOffset="-78228.69">10967 4207 0,'0'-13'16,"13"13"-16,0 0 0,1 13 15,-1-13-15,0 13 0,0 0 0,1 1 16,-1-1-16,0 0 0,0 0 16,0 14-16,-13-14 0,14 13 0,-1-12 15,-13 12-15,13-13 0,-13 14 0,13-14 16,-13 0-16,0 14 0,0-14 0,14 0 16,-14 0-16,0 1 15,0-1-15,0 0 0,0 0 0</inkml:trace>
  <inkml:trace contextRef="#ctx0" brushRef="#br0" timeOffset="-78056.72">11179 4815 0,'-14'0'15,"14"-13"16,14 0-15,-1 0-16,0-1 0</inkml:trace>
  <inkml:trace contextRef="#ctx0" brushRef="#br0" timeOffset="-77778.56">11642 4419 0,'13'-14'15,"0"14"1,-13-13-16,13 13 0,14 0 0,-14 0 15,0-13-15,1 13 0,-1 0 0,0 0 16,0 0-16,0 0 16,1 0-16,-1-13 0,0 13 0,0 0 15</inkml:trace>
  <inkml:trace contextRef="#ctx0" brushRef="#br0" timeOffset="-77536.66">11734 4313 0,'-13'0'0,"40"13"31,-14-13-31,0 0 16,13 13-16,-12-13 0,-1 13 0,0-13 15,14 14-15,-14-14 0,0 13 16,0-13-16,0 0 0,-13 13 15,14-13-15,-14 13 0,0 1 0,0 12 16,-14-26 0,14 13-16,0 0 0,-13-13 0,13 14 15</inkml:trace>
  <inkml:trace contextRef="#ctx0" brushRef="#br0" timeOffset="-77041.04">12951 4128 0,'-39'26'31,"25"-13"-31,1 0 0,0-13 15,0 14-15,-14-1 0,14 0 16,0 0-16,0 1 0,-1-1 16,1 0-16,13 0 15,0 0-15,13 1 16,1-14-16,-1 13 16,0-13-16,0 0 0,14 0 0,-14 0 15,0 0-15,0 0 0,14 0 16,-14 0-16,0 0 0,1 0 15,-1 0-15,0 0 0,0 0 16,1-13-16,-14-1 0,13 14 16</inkml:trace>
  <inkml:trace contextRef="#ctx0" brushRef="#br0" timeOffset="-76827.76">12951 4128 0,'0'0'0,"-13"0"15,0 13-15,13 0 16,0 0-16,-13 0 16,13 14-16,0-14 0,0 14 0,0-14 15,0 13-15,-14 1 0,14-1 0,0-13 16,0 14-16,0-1 0,0-12 16,0-1-16,0 13 0,0-13 0,0 1 15,0-1-15,0 0 0,0 0 16,14-13-16</inkml:trace>
  <inkml:trace contextRef="#ctx0" brushRef="#br0" timeOffset="-76313.53">12660 3625 0,'-185'119'31,"159"-79"-31,12-1 0,-12 14 0,13 53 16,-1-40-16,14-26 0,0 13 16,0 13-16,14 0 0,-1-13 15,0 0-15,14 0 0,12 0 0,1-14 16,0 1-16,13 0 0,-14-1 15,14-12-15,0-14 0,-13 14 0,0-14 16,12-13-16,-12 13 0,0-13 16,0 0-16,-1 0 0,14-13 0,-13 0 15,-1-1-15,1 1 0,0 0 0,-14 0 16,14-14-16,-14 1 0,-12 13 16,12-14-16,-13-13 0,14 14 15,-14-1-15,-13-12 0,13-1 0,-13 0 0,0 1 16,0-1-16,-13-13 0,0 0 15,0 0-15,-14 0 0,-26-39 16,27 52-16,-1 0 0,-12 1 16,12 12-16,1 1 0,-1 13 0,1-14 15,-14 1-15,14 12 0,12 1 0,-12 0 16,13 13-16,-14-13 0,1 13 16,13-14-16,-14 14 0,14 14 0,-14-14 15,-12 13-15,-1 0 0,0 14 0,1-1 16,-1 14-16,0-14 0,1 27 15,-1-13-15,13 0 0,-12 12 0,-1-12 16</inkml:trace>
  <inkml:trace contextRef="#ctx0" brushRef="#br0" timeOffset="-75808.58">10967 5913 0,'26'0'16,"-12"0"-16,-1 0 15,13 0-15,1-13 0,-1 13 0,14-13 16,0 0-16,-1 13 0,1-13 16,-14 13-16,1 0 0,-1-14 0,1 14 15,-1-13-15,-12 13 0,12 0 0,-13-13 16,0 13-16,1 0 0,-1-13 15,0 13-15,-13-14 0,13 14 0,-13-13 16,14 13-16</inkml:trace>
  <inkml:trace contextRef="#ctx0" brushRef="#br0" timeOffset="-75511.5">11218 5596 0,'0'-13'16,"27"13"0,-14 13-16,0-13 0,0 0 0,14 13 15,-14-13-15,14 13 0,-1 1 0,1-1 16,-1 0-16,0 0 0,1 1 16,-1 12-16,1-13 0,-14 0 0,0 14 15,1-14-15,-1 0 0,0 1 0,-13 12 16,0-13-16,0 1 15,0 12-15,0-13 0,-13 14 0,0-14 16,-1 13-16,1-12 0,0 12 0,0 0 16,-1-12-16,1-1 0,0 0 0,0 0 15,13 1-15,-14-14 16</inkml:trace>
  <inkml:trace contextRef="#ctx0" brushRef="#br0" timeOffset="-64154.98">12475 5636 0,'-13'-14'32,"26"41"-17,-13-1 1,0-12-16,13 12 0,-13-13 16,14 14-16,-14-1 0,0 1 0,13-1 15,-13-13-15,0 14 0,0-14 0,13 13 16,-13-12-16,0-1 0,0 0 15,0 0-15,0 1 0,13-1 16,-13 0 0</inkml:trace>
  <inkml:trace contextRef="#ctx0" brushRef="#br0" timeOffset="-63816.7">12726 5781 0,'0'0'0,"0"-13"16,-13 13 0,13 26-1,0-12-15,0-1 16,13 0-16,-13 0 0,14 1 16,-14-1-16,13 0 0,0 0 0,0 0 15,1-13-15,-1 14 0,0-14 16,0 0-16,1 0 0,-1 0 15,0-14-15,0 1 0,0 0 16,-13 0-16,14 0 0,-14-1 16,0 1-16,0 0 0,-14 0 15,14-1-15,0 1 0,0 0 16,-13 0-16,13-1 0,-13 1 0,0 0 16,0 0-16,-1 13 0,1-13 15,0 13-15,0 0 16,-1 0-16,1 0 0,0-14 15,0 1-15,13 0 16</inkml:trace>
  <inkml:trace contextRef="#ctx0" brushRef="#br0" timeOffset="-63367.58">12475 5265 0,'-66'0'0,"39"13"16,1-13-16,0 0 0,-14 27 0,13-14 15,-12 0-15,-1 14 0,14 13 16,-27 26-16,39-27 0,1 1 16,0 13-16,13-13 0,0 13 0,13 13 15,0-13-15,14 13 0,-1-13 16,1 0-16,13-1 0,-1 1 0,14-13 16,-13 0-16,79 39 0,-66-52 15,13-14-15,-13 13 0,0-12 16,-14-1-16,1-13 0,0 0 15,0 0-15,-14 0 0,67-27 16,-54 14-16,1-13 0,13-1 0,-13-13 16,-1 14-16,-12-14 0,12 1 15,-12-1-15,-1 0 0,-12 1 0,-1-1 16,0-13-16,-13 13 0,0 1 0,0-1 16,-13-13-16,0 13 0,-14 1 15,14-1-15,-14 0 0,1 14 0,-1-1 16,1 1-16,0-1 0,-14 14 15,0-13-15,14 13 0,-14 13 0,-13-14 16,13 1-16,-12 13 0,12 0 16,0 0-16,-13 0 0,14 0 0,-14 13 15,13-13-15,0 14 0,1-1 0,12 0 16,1 0-16,-1 0 0,1-13 16,12 14-16,-12-1 0,13 0 15</inkml:trace>
  <inkml:trace contextRef="#ctx0" brushRef="#br0" timeOffset="-60981.58">9022 10438 0,'80'13'16,"-27"0"-16,-14-13 15,14 0-15,0 0 0,0 14 16,0-14-16,0 0 0,0 0 0,0 13 15,13-13-15,-13 0 0,0 0 16,0 13-16,-14-13 0,1 0 0,-14 0 16,1 0-16,-1 0 0,1 0 0,-14 0 15,13 13-15,-12-13 0,-1 0 0,0 0 16,0 0 0,-26 13-1,0 1-15,0-14 0</inkml:trace>
  <inkml:trace contextRef="#ctx0" brushRef="#br0" timeOffset="-60617.48">9141 11060 0,'146'0'32,"-120"0"-32,27 0 15,0 0-15,-13 0 0,13 0 16,0 0-16,-14 0 0,14 0 0,0 0 15,-13 0-15,13 0 0,-14 0 0,-12 0 16,-1 0-16,1 0 0,-1 0 0,1 0 16,-14 0-16,0 0 0,0 0 15,1 0-15,-1 0 16,-40 13-16,14 0 16,-13 0-16,-14 0 0</inkml:trace>
  <inkml:trace contextRef="#ctx0" brushRef="#br0" timeOffset="-60309.09">9128 11734 0,'40'0'0,"-80"0"0,106 0 0,-39 0 16,-14 0-16,13-13 0,14 13 16,-13 0-16,-1 0 0,14 0 0,-1-13 15,14 13-15,0 0 0,0 0 16,0 0-16,0 0 0,0 0 0,0-13 16,-14 13-16,1 0 0,0 13 0,0-13 15,-14 0-15,0 0 0,-12 0 16,12 0-16,-13 0 0,-13 13 0,14-13 15,-1 0-15,-13 13 0,0 1 16</inkml:trace>
  <inkml:trace contextRef="#ctx0" brushRef="#br0" timeOffset="-59972.52">8890 12422 0,'26'0'0,"-52"0"0,79 0 0,-40 13 15,0-13-15,1 0 0,12 0 16,1 0-16,12 0 0,1 14 0,13-14 15,0 0-15,0 0 0,0 0 0,-1 13 16,1-13-16,0 0 0,13 0 16,-13 0-16,14 0 0,-15 0 0,15 0 15,-15 0-15,1-13 0,-13 13 0,0 0 16,-1 0-16,-12 13 0,-1-13 0,-12 0 16,12 0-16,-13 0 0,1 0 15,-14 13-15,13-13 0</inkml:trace>
  <inkml:trace contextRef="#ctx0" brushRef="#br0" timeOffset="-59655.49">8639 13097 0,'0'0'0,"39"13"0,-25-13 15,-1 0-15,13 0 0,-13 13 16,14-13-16,-14 0 0,14 0 0,-1 14 16,14-14-16,-1 0 0,1 0 0,0 13 15,13-13-15,-14 0 0,14 0 16,-13 0-16,0 0 0,-1 0 0,-12 0 15,13 0-15,-14-13 0,0 13 0,1 0 16,-1 0-16,-12 0 0,-1 0 0,0 0 16,0 0-16,1 13 0</inkml:trace>
  <inkml:trace contextRef="#ctx0" brushRef="#br0" timeOffset="-59384.66">8202 13666 0,'0'0'0,"40"0"0,-27 0 16,13 0-16,1 13 0,-14-13 0,27 0 15,-14 0-15,27 0 0,0 0 0,0 0 16,0 0-16,0 0 0,0 0 0,0 0 16,13 0-16,-13 0 15,-14 0-15,14 0 0,0 0 0,-13 0 16,-14 0-16,1 0 0,-1 0 0</inkml:trace>
  <inkml:trace contextRef="#ctx0" brushRef="#br0" timeOffset="-54507.63">8136 10266 0,'-13'26'31,"13"-12"-31,0-1 15,0 0-15,-14 0 0,14 0 16,0 1-16,0-1 0,0 13 0,0-12 16,-13-1-16,13 0 0,0 0 15,0 1-15,0-1 0,0 0 16,0 0-16</inkml:trace>
  <inkml:trace contextRef="#ctx0" brushRef="#br0" timeOffset="-54124.1">8308 10292 0,'0'0'16,"-27"0"-16,27 14 0,-13-1 16,0 0-1,26-13-15,-13 13 16,13 0-16,1 1 16,-1-14-1,-13 13-15,13-13 16,-13 13-16,0 0 15,0 1 1,0-1-16,-13-13 0,13 13 16,-13-13-16,-1 13 0,1 1 15,0-14 1</inkml:trace>
  <inkml:trace contextRef="#ctx0" brushRef="#br0" timeOffset="-53920.08">8401 10213 0,'0'-13'0,"13"13"32,-13 13-17,0 0-15,0 0 0,0 1 16,0-1-16,0 13 0,0-12 0,0-1 15,0 13-15,0-13 0,0 14 0,0-14 16,0 0-16,0 1 0,0-1 16,0 0-16</inkml:trace>
  <inkml:trace contextRef="#ctx0" brushRef="#br0" timeOffset="-53708.15">8334 10425 0,'0'-14'15,"14"14"-15,-14-13 0,13 13 16,0 0-16,0-13 16,1 13-16,-1 0 0,0 0 15,0-13-15,0 13 0,1 0 0,-1 0 16,0 0-16,0 0 0</inkml:trace>
  <inkml:trace contextRef="#ctx0" brushRef="#br0" timeOffset="-51682.51">8771 10173 0,'0'0'0,"0"-13"0,0 39 47,13-12-47,-13-1 0,0 0 0,-13 0 15,13 1-15,0-1 0,0 13 16,0-12-16,0-1 0,13 0 0,-13 0 15,0 0-15,0 1 0,0-1 16,0 0 0,-26-39 15,12 26-31,1 0 0,0-14 16,0 14-16,0 0 15,-1 0-15,1 0 0,0 0 0,0 0 16,-1 14-16,1-1 0,0-13 15,0 13-15,13 0 16,-14-13-16,28 14 0,-14-1 16,13-13-16,0 13 15,0-13-15,1 0 0,-1-13 16,13 13-16,-12 0 0,12-13 0,-13 13 16,14-14-16,-14 14 0,13-13 0,-12 0 15,-1 13-15,0-13 0,0-1 16,1 14-16,-14-13 0,13 13 15,-13-13-15,13 0 16,-26 39 31,13-13-31,13 1-16,0-14 15,0 0 1,1 0-16,-1-14 15,0 14-15,0-13 0,1 13 16,-14-13-16,13 13 16,0-13-16,0 0 15,-13 26 17,0 0-17,14 0-15,-1 0 31,13-26-15,-26 0-16,13 13 0,-13-13 16,14 0-16,-1 13 0,-13-14 15,13 1-15,-13 0 16,13 13-16,-13 13 31,0 0-15,0 1-16,0-1 0,-13 0 15,13 0-15,0 0 16</inkml:trace>
  <inkml:trace contextRef="#ctx0" brushRef="#br0" timeOffset="-51546.65">9102 10014 0</inkml:trace>
  <inkml:trace contextRef="#ctx0" brushRef="#br0" timeOffset="-51036.41">10821 10253 0,'0'-14'0,"0"41"31,-13-14-15,13 0-16,0 1 0,0-1 0,0 13 15,0-13-15,-13 1 0,13 12 16,0 1-16,-13-14 0,13 0 16,0 0-16,0 1 0,0-1 0</inkml:trace>
  <inkml:trace contextRef="#ctx0" brushRef="#br0" timeOffset="-50691.67">10927 10332 0,'-13'13'15,"0"0"1,13 1-16,0-1 16,-13-13-16,13 13 0,0 0 0,13 14 15,-13-14-15,13 0 16,0 1-16,1-14 15,-1 0-15,0 0 0,0 0 16,0 0-16,1-14 0,-1 14 16,-13-13-16,0 0 15,13 0-15,-26-1 16,13 1-16,-13 13 16,13-13-16,-14 0 0,1 13 15,0 0-15,0-14 16,0 14-16,-1 14 15</inkml:trace>
  <inkml:trace contextRef="#ctx0" brushRef="#br0" timeOffset="-50468.44">11126 10160 0,'0'0'16,"13"13"15,-13 0-15,0 1-16,0-1 0,-13 0 15,13 14 1,0-14-16,0 0 0,0 0 16,0 1-16,-14-1 0,14 0 15,0 0-15,0 0 16</inkml:trace>
  <inkml:trace contextRef="#ctx0" brushRef="#br0" timeOffset="-50284.2">11271 10186 0,'0'-13'0,"0"40"47,-13-14-47,13 0 0,0 0 15,-13 1-15,13-1 0,0 0 16,0 0-16,-13 1 0,13-1 16,0 0-16</inkml:trace>
  <inkml:trace contextRef="#ctx0" brushRef="#br0" timeOffset="-50131.47">11126 10319 0,'-14'-13'0,"1"13"31,40-14-15,-14 14-1,0 0-15,14 0 16,-14 0-16</inkml:trace>
  <inkml:trace contextRef="#ctx0" brushRef="#br0" timeOffset="-49464.55">11827 10253 0,'-13'-14'15,"-1"94"1,14-67 0,0 13-16,0-12 0,0 12 15,0-13-15,0 14 0,0-1 0,14 1 16,-14-1-16,0-13 15,0 1-15,0-1 0,0 0 16,0 0-16,0-52 31,0 25-15,0-12-16,0 0 0,0-1 16,13-13-16,0 14 0,0-14 0,1 14 0,-1 13 15,0-14-15,0 14 0,0 13 16,1-13-16,-1-1 0,0 14 15,0 0-15,1 0 0,-1 14 16,-13 12 0,-13-26-16,13 13 15,-14 1-15,14-1 0,-13 0 0,0-13 16,13 13-16,-13 0 0,-1 1 0,14-1 16,-13-13-16,13 13 15,13 0 1,1-13-16</inkml:trace>
  <inkml:trace contextRef="#ctx0" brushRef="#br0" timeOffset="-49111.33">12144 10411 0,'14'-13'0,"-1"13"0,-13-13 0,13 0 15,-13-14 1,13 14-1,-39 26 17,13 27-17,13-27 1,0 0-16,0 1 0,13-14 16,-13 13-16,13 0 15,0-13-15,-13 13 16,14-13-16,-14 14 0,13-14 15,0 0-15,0 13 16,0-13 0,1 0-16,-1 0 15,0 0 1</inkml:trace>
  <inkml:trace contextRef="#ctx0" brushRef="#br0" timeOffset="-48427.47">8057 11073 0,'0'-13'0,"13"13"0,13 0 31,-13 0-31,-13 13 16,0 0-16,0 13 15,-13-12 1,13-1-16,0 0 16,-13-13-16,13 13 0,-13 1 15,13-1 1,13-13 0,0 13-1,0-13-15,1 0 16,-1 0-16,13 0 15,-12 0-15,-1 0 16,-13-13-16,13 13 0,0 0 0,1 0 16</inkml:trace>
  <inkml:trace contextRef="#ctx0" brushRef="#br0" timeOffset="-48108.64">8308 10980 0,'0'-13'0,"0"39"16,0-12-1,0-1-15,0 0 16,0 0 0,0 1-1,13-14 63,0-14-62,14 14 0,-14-13-16,0 13 0,1-13 15,-1 13-15</inkml:trace>
  <inkml:trace contextRef="#ctx0" brushRef="#br0" timeOffset="-47784.36">8599 10861 0,'-13'-13'0,"-1"13"15,-12 13 1,13-13-16,13 13 16,-13 1-16,13-1 15,-14-13-15,14 13 16,14-13-1,-1 0-15,0-13 16,0 13-16,0-13 0,1-1 0,-14 1 16,13-13-1,0 26-15,-13-14 0,13-12 16,-13 13-16,0 39 31,0-13-15,0 1-16,0-1 0,0 0 0,0 0 15,0 1-15,0-1 0,0 13 16,14-12-16,-14-1 0,13 0 0,0 0 16,-13 0-16,13 1 0,1-14 0,-1 13 15</inkml:trace>
  <inkml:trace contextRef="#ctx0" brushRef="#br0" timeOffset="-46519.34">10861 10993 0,'27'-13'31,"-14"13"-31,0 0 16,-13 13-1,13 1-15,-13-1 16,0 0-16,0 0 16,0 1-16,-13-1 15,13 0 1,-13-13 0,13 13-16,0 0 46,26-13-30,-12-13-16,-1 13 0,0 0 16,13 0-16,-12-13 0,-1 13 0,0-13 15,14 13-15,-14-13 0,0 13 16,0-14-16,0 14 16,1 0-16,-41 14 46,27-1-30,0 0 0,13-13-16,1 0 15,-1 13-15,-13-26 0,13 13 16,0 0-16,1 0 0,-1 0 0,0 0 16,0-13-16,1 0 0,-14-1 15,13 14-15,-26-13 16,13 0-16,0 0 15,-14 13-15,1-14 16,-13 14-16,12 0 16,1-13-1</inkml:trace>
  <inkml:trace contextRef="#ctx0" brushRef="#br0" timeOffset="-46337.41">11364 10808 0,'0'0'0,"0"13"31,0 14-15,0-14-16,-13-13 0,13 13 16,0 1-16,-14 12 0,14-13 15,0 1-15,0-1 0,0 0 16,0 0-16</inkml:trace>
  <inkml:trace contextRef="#ctx0" brushRef="#br0" timeOffset="-45999.98">11496 10821 0,'0'0'16,"0"-13"-16,-13 40 31,13-14-16,-13 0-15,13 0 0,0 1 16,-14-1-16,14 0 0,0 0 16,0 1-16,-13-14 0,13 13 0,0 0 15,-13-13-15,13 13 0,-13-13 16,0 13 0,-1-13-16,1 0 0,0-13 15,0 13-15,-1 0 16,1 0-16,0-13 15,26 0 17,0 13-32,1 0 0,-1-13 15,13 13-15,-12 0 0,-1-14 0,13 14 16,1 0-16,-1-13 0,1 13 0,-1 0 16,1 0-16</inkml:trace>
  <inkml:trace contextRef="#ctx0" brushRef="#br0" timeOffset="-45394.42">11827 10888 0,'0'0'16,"0"13"-16,0 13 15,0-12 1,-13-1-16,13 0 0,0 0 16,0 0-1,0 1-15,0-1 16,0 0-16,0 0 0,-14-13 15,28-26 17,-14 13-32,0-1 15,13 1-15,-13 0 0,13-13 16,-13 12-16,13 1 16,1 0-16,-14 0 0,13 13 15,0 0-15,-13 13 31,0 13-15,-13-12 0,13-1-1,0 0 1,-13-13-16,13 13 16,13-13-1,0 13 1,0 1-1,-13-1 1,0 0 0,0 0-1</inkml:trace>
  <inkml:trace contextRef="#ctx0" brushRef="#br0" timeOffset="-44659.63">8202 11787 0,'0'0'15,"0"27"16,0-14-31,0 0 16,0 0-16,13 1 16,-13-1-16,14-13 15,-14 13-15,0 0 16,13-13-16,-13 13 16,0 1-16,0-1 15,-13 0 1,-1 0-16,1 1 15,0-14 32</inkml:trace>
  <inkml:trace contextRef="#ctx0" brushRef="#br0" timeOffset="-44441.63">8361 11787 0,'13'0'0,"-13"13"15,13-26 32,1 0-31,-1 13-16,0 0 15,13-13-15,14 0 0</inkml:trace>
  <inkml:trace contextRef="#ctx0" brushRef="#br0" timeOffset="-43855.63">10901 11417 0,'-13'0'16,"39"0"15,-13 0-31,14 0 16,-14 0-1,0 0-15,0 0 0,14 0 0,-14 0 0,0 0 16,1 0-16,-1 0 15,0 0-15,0 0 0,0 0 16,1 0-16,-1 0 16,0 0 15</inkml:trace>
  <inkml:trace contextRef="#ctx0" brushRef="#br0" timeOffset="-43070.21">7554 13666 0,'-13'26'32,"13"-13"-17,0 1-15,0-1 0,0 0 16,0 0-16,0 1 0,0-1 15,0 0-15,0 0 0</inkml:trace>
  <inkml:trace contextRef="#ctx0" brushRef="#br0" timeOffset="-42798.11">7646 13732 0,'0'13'15,"0"0"-15,14 1 16,-1-14 0,0 0-16,0-14 15,1 14-15,-1-13 16,-13 0 0,0 0-16,0-1 15,-13 1-15,13 0 16,-14 0-16,1 13 15,0 0-15,0 0 16</inkml:trace>
  <inkml:trace contextRef="#ctx0" brushRef="#br0" timeOffset="-42343">7739 13441 0,'13'13'47,"-13"0"-47,0 1 0,0-1 16,0 0-16,14 0 16,-1-13-1,0 0-15,0-13 16,-13 0-16,13 13 0,1-66 31,-1 52-15,13 14 31,-12 14-47,-14-1 31,0 0-31,0 14 31,-14-27-31,1 13 16,0-13 46,53 0-62,13-13 16</inkml:trace>
  <inkml:trace contextRef="#ctx0" brushRef="#br0" timeOffset="-41588.56">10306 13481 0,'0'0'0,"-14"26"31,14-13-31,0 0 16,0 1-16,0-1 0,0 13 16,14 1-16,-14-14 0,0 0 0,-14 0 15,28 1-15,-14-1 0,0 0 16,13 0-16</inkml:trace>
  <inkml:trace contextRef="#ctx0" brushRef="#br0" timeOffset="-41162.92">10438 13573 0,'0'27'16,"13"-14"-16,-13 0 15,13 0-15,1 0 16,-1 1-16,0-14 15,0 0 1,14 0-16,-14 0 16,-13-14-16,13 1 15,-13 0 1,-13 0-16,13 0 16,-13-1-16,-1 1 0,1 13 15,13-13-15,-13 13 16,0 0-1,-14 13 17</inkml:trace>
  <inkml:trace contextRef="#ctx0" brushRef="#br0" timeOffset="-40860.25">10636 13666 0,'40'39'31,"-27"-25"-31,14-14 16,-107-53-16,173 106 16,-67-53-16,-12-14 15,-14 1-15,0 0 16,0 0-1,-14-14 1,1 27-16,0-13 0,0 0 16,-1 13-16,-12 0 15,13 0 1,-1 13-16,14 0 0,-13-13 16,13 13-16</inkml:trace>
  <inkml:trace contextRef="#ctx0" brushRef="#br0" timeOffset="-40531.44">10980 13467 0,'13'27'31,"-13"-14"-31,0 0 15,0 0 1,0 1-16,14-1 0,-14 0 0,0 0 16,13 1-16,-13-1 0</inkml:trace>
  <inkml:trace contextRef="#ctx0" brushRef="#br0" timeOffset="-40330.43">11046 13494 0,'14'13'62,"-14"0"-62,0 0 0,0 1 16</inkml:trace>
  <inkml:trace contextRef="#ctx0" brushRef="#br0" timeOffset="-40172.18">11020 13586 0,'-27'-26'94,"41"26"-94,78-27 31,-52 27-15,-14 0-16</inkml:trace>
  <inkml:trace contextRef="#ctx0" brushRef="#br0" timeOffset="-39596.12">11298 13613 0,'0'26'32,"0"-13"-17,0 1-15,0-1 0,0 13 16,0 1-16,0-1 0,0 1 15,13 65 1,-13-78 0,0-1-16,0 0 15,0-53 17,0 27-32,0 0 15,0 0-15,0-1 16,13-12-16,-13 13 15,0 0-15,13-1 16,-13 41 15,0-1-15,-13-13-16,13 1 16,0-1-16,0 0 15,0 0 1</inkml:trace>
  <inkml:trace contextRef="#ctx0" brushRef="#br0" timeOffset="-39222.52">11390 13838 0,'0'-40'31,"0"80"-31,14-67 47,-1 40-31,0-13-1,-13 14-15,13-14 16,0 0 15,1 0-15,-1 0-1,0 0 1,14 26 15,-14-26-15,13 0 31</inkml:trace>
  <inkml:trace contextRef="#ctx0" brushRef="#br0" timeOffset="-36519.47">12674 10160 0,'13'-26'16,"0"12"-16,13 1 16,-12 13-16,25-13 15,1 0-15,0-1 16,-1 1-16,-25 13 15,12 0-15,1 0 16,-14 0-16,13 0 16,-12 27-16,-1-1 15,-13 27-15,0-13 16,0 66-16,0 13 16,-13 92-16,13-131 15,13-14-15,-13 13 0,0 1 16,13-1-16,0 93 0,14 13 15,-14-26 1,13 0-16,-12-80 16,12 66-16,133 676 62,-146-729-46,-13-78-16,13 38 0,-13 120 47,0-158-32,0-1-15,0 0 0,0 0 16,-159 120 31,120-120-32,-54 27-15,-26-1 16,-26 1-16,-14 0 16,40-27-16,-119 13 15,105-12-15,1-14 16</inkml:trace>
  <inkml:trace contextRef="#ctx0" brushRef="#br0" timeOffset="-35578.13">7660 10200 0,'13'-14'16,"-13"1"0,-13 0-1,-14 13 1,14 0-16,-13 0 0,-41 13 15,28 0-15,-41 14 16,27-14-16,-26 14 16,0-1-16,-1 14 15,27-1-15,0 1 16,14 13 0,12 40-16,14-14 15,0 67 1,13-80-16,26 622 47,-12-437-32,-28-172-15,1 133 0,-172 820 63,172-926-63,-1-67 0,14 1 15,0 53 1,0-67-16,80 120 16,-54-120-1,40 14-15,14-14 16,12-13 0,41 14-16,-1-1 15,-79-12 1,26-1-1</inkml:trace>
  <inkml:trace contextRef="#ctx0" brushRef="#br0" timeOffset="-17220.11">14909 11033 0,'66'27'32,"-52"-27"-32,-1 0 0,13 13 15,-12-13-15,-1 0 0,0 0 16,0 0-16,0 0 0,1 0 16,-1 0-16,-13-13 0,13 13 15,0 0-15,1-14 0,-1 14 16,0-13-16</inkml:trace>
  <inkml:trace contextRef="#ctx0" brushRef="#br0" timeOffset="-16944.3">15134 10901 0,'0'0'16,"27"13"15,-14-13-31,0 13 0,0-13 16,14 14-16,-14-1 0,13-13 15,-12 13-15,-1 0 0,0 0 0,14 14 16,-14-14-16,-13 0 0,0 1 0,13-1 16,-13 0-16,-13 13 15,13-12-15,0-1 0,-13 0 0,-1 14 16,14-14-16,-13-13 0,13 13 0</inkml:trace>
  <inkml:trace contextRef="#ctx0" brushRef="#br0" timeOffset="-16371.3">16589 10716 0,'0'13'32,"0"0"-32,0 0 0,0 1 0,0-1 15,0 13-15,0-13 0,0 14 16,14-14-16,-14 0 0,0 1 0,0-1 15,0 0-15,0 0 0,0 1 16,0-1-16,13 0 16,0-26-1,0 0 1,1-1-16,-1 1 0,0-13 16,0 26-16,-13-14 0,13 14 0,-13-13 15,14 13-15,-1 0 0,0 0 16,-13 13-16,13-13 0,1 14 15,-1-14-15,-13 13 0,0 0 16,13-13-16,-13 13 0,13 1 16,1-1-16,-14 0 15,13-13-15,0 13 16,0-13-16,0 0 16</inkml:trace>
  <inkml:trace contextRef="#ctx0" brushRef="#br0" timeOffset="-15678.33">17185 10610 0,'-14'-13'31,"14"39"-31,0 0 16,0-12-16,0-1 0,0 13 15,0 1-15,0-1 0,0 1 0,14-14 16,-14 13-16,0 1 0,13-14 0,-13 14 15,0-14-15,13 13 0,-13-12 16,13-1-16,-13 0 0</inkml:trace>
  <inkml:trace contextRef="#ctx0" brushRef="#br0" timeOffset="-15347.52">16999 10927 0,'-13'0'0,"13"-13"32,13 13-32,1-13 15,12 13-15,1-13 16,-1 13-16,1-14 0,-1 1 0,0 13 16,1-13-16,-1 13 0,1-13 15,-1-1-15,-12 14 0,-1 0 16,0 0-16,0 0 0,0 0 15,1 0-15,-14 14 16,13-14-16,-13 13 0,0 0 16,13 0-16,-13 1 0,0-1 15,0 0-15,0 0 16,13 1-16,-13-1 16,0 0-16,14 0 15</inkml:trace>
  <inkml:trace contextRef="#ctx0" brushRef="#br0" timeOffset="-15207.33">17410 10623 0,'-27'0'16,"54"0"-16,-67 0 0,27 0 15</inkml:trace>
  <inkml:trace contextRef="#ctx0" brushRef="#br0" timeOffset="-14827.47">17542 10398 0,'-13'40'31,"13"-27"-31,0 0 16,0 1-16,0 12 0,0 0 0,0 1 16,13-1-16,-13 1 0,13-1 0,0 1 15,1-1-15,-1-13 0,0 14 16,0-14-16,14 0 0,-14 1 0,0-14 16,0 0-16,14 13 0,-14-13 15,0-13-15,14 13 0,-14-14 0,13 1 16,-12 0-16,-1 0 0,0-1 15,-13 1-15,13 0 0,-13 0 0,14-1 16,-14 28 15,0-1-31,0 0 16,13 0-16,-13 1 0,13-1 16,0 0-16,-13 0 0,14-13 15,-1 0-15,-13 14 0,13-14 16,0 0-16</inkml:trace>
  <inkml:trace contextRef="#ctx0" brushRef="#br0" timeOffset="-13372.43">16603 11311 0,'13'-13'0,"13"-1"31,-12 14-15,-1 0 0,0 14-1,0-1 17,0-13 30,1 0 188,-14-13-219,0-1 1,-14 14-1,1 14-16,0-1-15,0-13 16,0 13-16,-1 0 0,1 1 16,0-1-16,-14 0 0,14 0 15,0 1-15,0-1 0,-1-13 0,14 13 16,-13 0-16,0 0 16,13 1-16,13-1 15,0-13-15,1 0 16,-1 0-16,0 0 0,0 0 0,14 0 15,-1 0-15,-12 0 0,12 0 16,-13-13-16,0 13 0,14 0 0,-14 0 16,0-14-16,1 14 0,-1 0 15,0-13-15,0 13 16,-13-13-16,0 0 16</inkml:trace>
  <inkml:trace contextRef="#ctx0" brushRef="#br0" timeOffset="-13191.62">16775 11245 0,'0'13'16,"0"-26"-16,-14 0 0,1 39 16,13-13-1,0 0-15,-13 14 16,13-14-16,0 14 0,0-1 16,-13-13-16,13 14 0,0 26 15,0-27-15,0-13 0,-14 27 16,14-13-16,0-1 0,0-13 15,0 0-15,0 1 0,-13 25 16</inkml:trace>
  <inkml:trace contextRef="#ctx0" brushRef="#br0" timeOffset="-12676.19">16497 11972 0,'0'0'0,"0"27"15,0-14 1,0 14-16,0-14 16,0 0-16,0 0 0,0 40 15,0-40-15,0 14 0,0-14 16,0 14-16,0-14 0,0 13 0,0-13 15,0 1-15,13-1 0,0 0 16,0-13-16,1 0 0</inkml:trace>
  <inkml:trace contextRef="#ctx0" brushRef="#br0" timeOffset="-12397.47">16695 12144 0,'13'53'62,"1"-39"-46,12-1-1,-79-93-15,119 147 0,-52-67 16,-14-14-16,13 1 0,0-13 16,-26-1-1,13 14-15,-27-14 16,14 14-16,0 0 0,-14 13 15,14 0-15,0 0 0,0 0 16,0 0-16,-1 0 0,1 13 0,0 0 16,26 1-1</inkml:trace>
  <inkml:trace contextRef="#ctx0" brushRef="#br0" timeOffset="-10492.3">18230 11562 0,'92'-39'31,"-65"39"-31,13 0 16,-27-14-16,13 14 15,-13 0-15,1 0 0,-1 0 0,0 14 16,0-14-16,-13 13 0,14 0 0,-1 0 15,-13 1-15,13 12 0,-13-13 16,0 27-16,0-14 0,0 1 16,0-1-16,-13 1 0,13-14 0,0 13 15,0-12-15,0 12 0,-13-13 0,13 1 16,0-1-16,0 0 0,0 0 16,0 0-16</inkml:trace>
  <inkml:trace contextRef="#ctx0" brushRef="#br0" timeOffset="-10260.23">18283 11800 0,'-14'0'16,"41"0"-1,-1 0-15,-12-13 16,12 13-16,-13 0 0,14 0 0,12 0 15,-12-13-15,-14 13 0,27 0 16,-27 0-16,14-13 0,-1 13 0,-13 0 16,14 0-16,-1-13 0,-13 13 15,1 0-15,12 0 0,0-14 16,-12 14-16</inkml:trace>
  <inkml:trace contextRef="#ctx0" brushRef="#br0" timeOffset="-9058.3">18759 12449 0,'53'39'15,"-40"-25"-15,0-1 0,1 0 16,-1 13-16,0-12 16,-13-1-16,0 0 0,0 0 15,0 1-15,0 12 0,-13-13 16,13 1-16,-13-1 0,13 0 16,-14-13-16,14-13 31,0 0-31,0-1 0,14 1 0,-14-13 15,13 12-15,0-12 0,13-27 16,-26 40-16,14-40 16,-1 40-16,-13-27 15,-53-39 17,40 79-32,0 0 0,-1 0 15,-12 13-15,13-13 0,13 13 16,-14 27 15</inkml:trace>
  <inkml:trace contextRef="#ctx0" brushRef="#br0" timeOffset="-8500.32">20174 11999 0,'14'-13'0,"-14"39"47,13-13-47,-13 1 0,0-1 15,13 0-15,-13 0 0,0 0 16,0 1-16,13-1 0,-13 0 16,0 0-16,0 1 0,0-1 15,0 0-15,14 0 16</inkml:trace>
  <inkml:trace contextRef="#ctx0" brushRef="#br0" timeOffset="-7514.76">20148 12025 0,'26'-26'16,"-12"26"-16,-1 13 16,0-13-16,-13 13 15,13-13-15,-13 14 0,14-14 0,-14 13 16,0 0-16,0 0 0,-14 14 16,14-14-16,-13 13 0,13-12 15,-13-1-15,0 13 16,-1-12-16,14-1 0,-13 0 15,13 0-15,-13 0 16,39-13 0,133-92 31,-132 79-47,12-27 15,-12 27-15,-14 26 63,0 0-63,-13 0 15,14-13-15,-1 14 16,0-14-16,53-14 31,-66 1-31,13 13 16,-13-13-16,-13-14 15,0 14-15,0 0 16,-14 13-16,27-13 16,-13 13-16,0 0 15,-14 13-15,14-13 16</inkml:trace>
  <inkml:trace contextRef="#ctx0" brushRef="#br0" timeOffset="-7290.33">20809 11695 0,'0'0'16,"0"26"-1,0 1 1,0-14-16,0 13 15,0-13-15,0 14 0,0-14 16,0 14-16,0-14 16</inkml:trace>
  <inkml:trace contextRef="#ctx0" brushRef="#br0" timeOffset="-6991.33">20836 11708 0,'0'-13'16,"-13"26"0,13 0-1,-14-13-15,14 13 16,-13 14-16,0-14 16,13 0-16,-13 0 0,0 1 0,13-1 15,-14-13-15,14 13 0,-13-13 16,13 13-16,-13-13 15,13 14-15,13-28 32,0 1-32,14 0 15,-14 13-15,0-13 0,0 13 16,14-14-16,-1 14 16,-12-13-16,-1 0 0</inkml:trace>
  <inkml:trace contextRef="#ctx0" brushRef="#br0" timeOffset="-6248.06">19672 11417 0,'13'13'32,"-13"0"-17,0 14 1,0-14-16,0 13 16,0-12-16,0 52 31,13-53-16,-26 27 1,13-27 0,-13 0-16,0 0 47,39-26-47,0-13 15,14-1 1,0-12-1,-27 39-15,-13-14 0,13 14 0,-13-13 16,14 26 0,-1-13-16,-13 14 15,13-14-15,-13 13 0,13-13 16,0 13-16,1-13 0,-1 0 16,0 0-1,0 0-15,-13-13 16,0 0-1,0-1-15,0 1 16,-13 0-16,13 0 0,-13-1 0,13 1 16,-13-13-1,13 12-15,0 1 16,0 0-16,13-13 0,-13 12 16</inkml:trace>
  <inkml:trace contextRef="#ctx0" brushRef="#br0" timeOffset="-5927.43">19804 11139 0,'-423'119'47,"277"66"-31,133-145-16,13 0 16,582-424-16,-1164 807 0,608-357 15,-12-26-15,25 0 0,1-14 0,39 40 16,40-26-16,-66-27 15,0-13-15,13 14 0,-13-28 16,66 1-16,-52 0 0,38-27 16,-12-26-16,-53 40 15,13-54-15,-40 41 16,0-1-16,-13-53 0,-26 14 16,12 39-16,1 0 15,-13 14-15,-1 0 0,1-1 0,-1 1 16,1 12-16,-14 1 0,0 0 0,-39 0 15,-27 13 1,0 0-16,54 13 16</inkml:trace>
  <inkml:trace contextRef="#ctx0" brushRef="#br0" timeOffset="-4863.63">16722 11112 0,'13'0'15,"0"0"1,0 0-16,14 0 15,-27-13-15,13 13 16,0-13-16,1 0 16,12 0-16,0-14 15,-12 14-15,-1-14 16,40-105 31,-53 79-32,-66-106 17,39 133-17,-26-14 1,-172-26 31,199 66-47,13 0 15,-1 0-15,1 13 0,-26 1 16,25-14 0,1 13-16,-13 13 0,26-12 15,-27 12-15,14-13 16,-14 53-16,14-52 16,13-1-16,-13 27 0,13-14 15,0 0 1,0-12-16,0-1 0,13 13 15,-13-12-15,13-14 0,1 26 16,-1-13-16,13-13 16,1 14-16,-14-1 15,14 0-15,-1-13 16,-13 13-16,0-13 16</inkml:trace>
  <inkml:trace contextRef="#ctx0" brushRef="#br0" timeOffset="-4128.25">16642 10517 0,'0'-26'16,"0"13"-16,14-1 15,-14 1-15,13-13 0,-13 12 16,13-12-16,27-40 0,26 0 16,-26 26-16,52-39 15,-39 39-15,0 13 0,79-39 16,1 13-1,12 14-15,14 12 16,-80 14-16,1 0 0,-1 13 0,14-14 16,65 14-16,1 27 15,-80-14-15,-12 0 0,-1 14 16,119 65-16,-132-52 16,-14 0-16,41 39 15,105 318 32,-185-384-47,13 14 16,1-1-1,12-26 1</inkml:trace>
  <inkml:trace contextRef="#ctx0" brushRef="#br0" timeOffset="-3800.77">19063 10147 0,'40'26'15,"-27"14"-15,14-14 16,12 54-16,-25-67 16,12 53-1,-13-13-15,-26-26 16,0 12-16,-40 14 16,13-26-1,0-1-15,1 0 0,-14 1 0,-66 26 16,0 0-16,-93 39 15,67-39-15,78-26 16,1-1 0</inkml:trace>
  <inkml:trace contextRef="#ctx0" brushRef="#br0" timeOffset="7421.11">14896 3691 0,'172'582'31,"-26"-66"-15,-67-265 0,-39-79-16,-14-26 15,1 65 1,-27-171-16,0-27 16</inkml:trace>
  <inkml:trace contextRef="#ctx0" brushRef="#br0" timeOffset="8740.63">14658 3810 0,'0'0'32,"40"-26"-32,13 26 15,52-40-15,41 27 16,26-1-16,212-25 15,-173 39 1,80 0 0,-119 0-16,-40 0 0,1 0 15,-27 0-15,-14 0 16,-12 0-16,-1 0 16,0 0-16,-13 0 15,40 0-15,-13 0 16,-27 0-16,27 0 15,26 0-15,-27 0 16,54 0-16,-93-14 16,-40 14-1,13-13-15,-12 13 16,-1 0-16,13-26 0,-12 26 16,-1-13-1,0 13 1,40 0-16,66-14 15,53 14-15,-53 0 16,0 0-16,-13 0 16,-13 0-16,-1 0 15,-52 0-15,-27 0 16,-13 40 31,0 0-47,0 13 15,0 0 1,0-1-16,0 94 16,13-27-16,14 27 15,-27-27 1,26 26-16,-13 1 0,-13-41 16,14-38-16,-1-1 15,-13-40-15,0-13 16,0 1-16,-93-14 156,-79 0-156,-105 0 16,-226-40-16,172 40 15,-105-13-15,-107 13 16,1-27-16,-106 1 16,65-27-16,213 53 15,92 0-15,119 0 16,-26 0-16,119 0 15,0 0 1,39 0-16,14 0 16,0 0-16,0 13 15,-14-13 1,-12 0-16,12 0 16,-12 0-1,12 0-15,1 0 16,12 0-1</inkml:trace>
  <inkml:trace contextRef="#ctx0" brushRef="#br0" timeOffset="13398.6">8546 5715 0,'53'0'94,"-13"0"-94,26 0 16,40 0-1,39 0-15,14-40 16,66 1-16,225-28 0,-186 54 16,40-13-16,-198 26 15,0 0-15,-66 0 16,-27 0-1,0 0 32,-13 13-47,27 13 16,-14 1-16,-13 13 16,0-1-16,0 14 15,0-13-15,0 0 16,0 26-16,0-40 15,0 27-15,0 106 16,0 26-16,13-13 16,27-53-1,-14 27-15,-26-107 0,14 1 16,-14-27-16</inkml:trace>
  <inkml:trace contextRef="#ctx0" brushRef="#br0" timeOffset="14382.51">7938 3942 0,'26'66'15,"0"80"1,-12 13-16,-14-14 0,39 67 15,-39-53 1,27-1-16,-27 1 0,13 0 16,-13 13-1,13-66-15,0 0 16,-13-14-16,0-39 16,0 0-16,0-27 15,0-12-15,0-1 16</inkml:trace>
  <inkml:trace contextRef="#ctx0" brushRef="#br0" timeOffset="15458.53">15637 11324 0,'26'-40'94,"27"-12"-79,13-1-15,1-27 16,-1 27-16,-27 14 15,-12 12-15,-1 1 16,1-1-16,-27 14 16,13 0-16</inkml:trace>
  <inkml:trace contextRef="#ctx0" brushRef="#br0" timeOffset="16250.66">15928 10769 0,'13'0'125,"14"0"-125,-1 0 0,-13 13 16,14-13-16,-14 0 15,0 0-15,0 0 16,1 0 78,-1 13-79,0 13-15,27 27 0,-27 0 16,13-13 0,-26 0-16,14-14 15,-14 1-15,0-1 16,0-13-16,0 0 16</inkml:trace>
</inkml:ink>
</file>

<file path=ppt/ink/ink15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51:16.950"/>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92D050"/>
    </inkml:brush>
  </inkml:definitions>
  <inkml:trace contextRef="#ctx0" brushRef="#br0">2222 1349 0,'67'14'109,"25"-1"-93,41 13-1,25-12-15,-25 12 16,52-13-16,13 0 0,120-13 16,-14 14-16,-53-14 15,40 0 1,-39 0-16,78 0 15,-184 0-15,13 0 16,-53 0-16,-40 0 16,-40 0-16</inkml:trace>
  <inkml:trace contextRef="#ctx0" brushRef="#br1" timeOffset="-127657.5">794 2937 0,'106'13'31,"-67"-13"-31,1 0 0,13 0 0,0 0 16,0-13-16,13 13 0,-13 0 0,0 0 16,13 0-16,-13 0 0,-14 0 0,14 0 15,-13 0-15,0 0 0,-14 0 16,1 0-16,-1 0 0,-13 0 0,1 0 16,12 0-16,-13-13 0,0 13 15</inkml:trace>
  <inkml:trace contextRef="#ctx0" brushRef="#br1" timeOffset="-127369.3">754 3109 0,'0'13'0,"79"-26"31,-39 13-31,0 0 0,-1-13 0,14 13 16,0-14-16,0 14 0,0-13 16,0 13-16,0-13 0,0 13 0,0 0 0,-13-13 15,-1 13-15,-12 0 16,-1 0-16,1 0 0,-1 0 0,-13-14 16,1 14-16,-1 0 0,0 0 0,0 0 15,14 14 1,-14-14-16,0 0 15</inkml:trace>
  <inkml:trace contextRef="#ctx0" brushRef="#br1" timeOffset="-126615.83">2646 2196 0,'0'0'0,"-13"0"16,13 13-1,0 0-15,13 14 0,-13-1 16,0 14-16,0 0 0,0-1 16,13 1-16,-13 13 0,0-13 0,13-1 15,-13 1-15,14-13 0,-14 12 0,0-25 16,13 12-16,-13 0 0,0 1 0,0-14 16,13 0-16,-13 14 15,0-14-15,13 0 0,-13 1 16,0-41-1</inkml:trace>
  <inkml:trace contextRef="#ctx0" brushRef="#br1" timeOffset="-125967.41">2593 1998 0,'40'-40'0,"-80"80"0,106-80 16,-53 27-16,27-1 0,0 1 16,13 0-16,0 13 0,13-13 0,13 0 15,0-1-15,1 14 0,12-13 16,-12 13-16,12-13 0,14 0 0,13-1 16,-26 1-16,-1 13 0,14-13 0,-13 0 15,0-1-15,-14 1 0,13 0 16,-12 13-16,-1-13 0,-13 0 15,1-1-15,-15 14 0,1-13 0,-13 13 16,0-13-16,-1 13 0,-12-13 0,-14 13 16,14 0-16,-14 0 0,0 0 0,0-14 15,0 14-15,1 0 0,-1 0 16,0 0-16,0 0 16,1 14-16,-1-1 15,0-13-15,-13 13 0,13 14 16,1-14-16,-14 13 0,13 1 0,0 12 15,0-12-15,0 13 0,1-14 16,-1 14-16,0-14 0,0 14 0,-13-14 16,14 14-16,-14-14 0,13 1 0,-13 13 15,13-1-15,-13 1 16,13-14-16,-13 14 0,14 0 0,-1-1 0,-13 1 16,13-13-16,0 12 0,0 1 0,-13-14 15,14 1-15,-1 13 16,0-14-16,0-13 0,1 14 0,-14-14 15,13 0-15,0 14 0,-13-14 0,13 0 16,-13 0-16,14 1 0,-14-1 16,13 0-16,-26 0 15,13 1-15,-14-1 0,-12 0 16,13-13-16,-14 0 16,-26 13-16,14 0 0,-1-13 0,-13 14 15,-26-1-15,12-13 0,-12 13 0,0 0 16,-1 1-16,1-1 0,0 0 15,-1 0-15,1-13 0,13 13 0,-1 1 16,15-14-16,12 13 0,13-13 16,1 0-16</inkml:trace>
  <inkml:trace contextRef="#ctx0" brushRef="#br1" timeOffset="-124947.68">6337 1984 0,'26'106'16,"-26"251"15,0-290-31,0-1 0,0 0 0,0-13 16,0 0-16,0-14 0,0 14 15,0-13-15,0 0 0,0-14 0,-13 1 16,26-1-16,-13-13 0,-13 0 0,13 1 16,0-1-16</inkml:trace>
  <inkml:trace contextRef="#ctx0" brushRef="#br1" timeOffset="-123964.77">6257 1958 0,'27'-13'0,"-54"26"0,80-26 0,-39-1 16,12 14-16,14 0 0,-1 0 15,14-13-15,27 13 0,-14-13 0,13 0 16,14 13-16,-1-13 0,27-1 0,1 1 16,-1 0-16,0 0 0,13-14 15,0 14-15,14-14 0,-1 14 0,14 0 16,0-13-16,13 12 0,0-12 0,13 13 16,0-1-16,-13 1 0,13 0 15,1 0-15,-14 0 0,-1-1 16,1 14-16,0-13 0,-13 13 0,0-13 15,-27 13-15,14 0 0,-14-13 0,-39 13 16,12 0-16,-12 0 0,-14 0 16,14-14-16,-14 14 0,80 0 15,-93 0-15,1-13 0,-1 13 0,0-13 16,-13 13-16,0 0 0,0-13 16,-1-1-16,-12 14 0,13-13 0,-13 13 15,13-13-15,0 13 0,-1 0 0,1-13 16,0 13-16,0 0 0,0 0 0,0-13 15,0 13-15,0 0 0,13 0 16,-13 0-16,0 0 0,0 0 0,0 0 16,13 0-16,-13 0 0,0 0 15,0 13-15,0-13 0,-1 0 16,1 0-16,0 0 0,0 13 0,-13-13 16,0 0-16,12 0 0,-12 13 0,0-13 15,-14 0-15,14 13 0,-14-13 0,1 0 16,-1 14-16,1-14 0,-1 13 15,1-13-15,-14 0 0,0 13 0,14-13 16,-14 13-16,0-13 0,14 14 0,-14-14 16,0 13-16,0-13 0,1 13 15,-1 0-15,0 1 0,0-1 0,0 13 16,-13-13-16,14 14 0,-1 13 0,0-14 16,0 14-16,1-1 15,-14-12-15,13 13 0,-13-1 0,0-12 16,13 12-16,-13 1 0,13-13 0,-13 12 15,14 1-15,-14 0 0,0-1 0,13 1 16,-13 0-16,0-1 0,0-12 16,0 12-16,0-12 0,0-1 0,0 1 15,0 26-15,0-14 0,0-12 0,-13-1 16,13 1-16,0-1 0,-14 1 16,14-1-16,0 1 0,-13-1 0,13-13 15,-13 14-15,0-14 0,-1 14 16,14-14-16,-26 0 0,13 13 15,-1-12-15,-12-1 0,-14 0 0,14 0 16,-14 1-16,-13-1 0,14-13 0,-14 13 16,-14-13-16,1 0 0,-26 0 15,12 0-15,-12 0 0,-1 0 0,-13-13 16,0 13-16,1 0 0,-1 0 16,0 0-16,-13 0 0,-13 0 0,-1 0 0,1 13 15,26-13-15,-13 13 0,27-13 16,-14 13-16,13-13 0,1 0 15,-1 0-15,0 0 0,14 0 0,-14 0 0,14 0 16,13 0-16,13 0 16,0 0-16,0-13 0</inkml:trace>
  <inkml:trace contextRef="#ctx0" brushRef="#br1" timeOffset="-123067.89">14208 2633 0,'-13'0'32,"13"13"-17,26 0-15,-12 0 0,12 1 16,1-1-16,12 0 0,14 13 0,0 1 15,0-1-15,13-12 0,-13 12 16,13 1-16,0-1 0,0-13 0,1 0 16,12 14-16,-13-14 0,13 0 0,1-13 15,-14 14-15,13-1 0,-12-13 0,-1 0 16,13 13-16,-26-13 0,13 0 16,-13 0-16,13 0 0,-13-13 0,0 13 15,-13 0-15,13 0 0,-14-13 16,-12 13-16,-1 0 0,1 0 15,-14-14-15,13 14 0,-12 0 0,-1-13 16,0 13-16,0 0 0,-13-13 0,13 13 16,1-13-16</inkml:trace>
  <inkml:trace contextRef="#ctx0" brushRef="#br1" timeOffset="-122699.54">15915 2699 0,'13'13'31,"0"-13"-31,14 13 0,-14 0 16,13 1-16,14-1 0,-14 0 15,1 14-15,13-14 0,-14 0 0,0 0 16,14 14-16,-13-14 0,-1 13 0,1-12 16,-14 12-16,0-13 0,0 1 0,-13-1 15,0 0-15,0 13 0,0-12 16,-13 12-16,0 1 0,-14-14 15,1 13-15,-14 1 0,0-1 0,-12-13 16,12 14-16,0-14 0,1 0 0,-1 1 16,0-1-16,14 0 0,-1-13 15,14 0-15</inkml:trace>
  <inkml:trace contextRef="#ctx0" brushRef="#br1" timeOffset="-121686.71">17370 2871 0,'0'-13'0,"-13"26"32,13 0-32,0 0 15,-14 0-15,14 1 0,0-1 0,0 0 16,0 0-16,0 1 0,0-1 16,0 0-16,0 0 0,0 0 0,0 1 15,14-14-15,-14 13 0,0 0 16,-14-39 15,14-1-15,0 14-16,0 0 0,0 0 15,14-14-15,-14 14 0,0 0 16,0-14-16,0 14 0,13 0 0,-13 0 0,0-1 16,13 1-16,-13 0 15,13 13-15,1 0 16,-1 0-16,0 13 0,0 0 15,0 1 1,-13-1-16,14 0 16,-14 0-16,13 0 0,-13 1 15,13-1 1,0-26 15,14-1-15,-14 1-16,0 13 15,-13-13-15,14 13 0,-1-13 16,0 13-16,0 0 0,0 0 16,1 0-16,-14 13 0,13-13 15,0 13-15,0 0 16,1 1-16,-1-1 0,-13 0 16,13-13-16,-13 13 0,13 1 0,-13-1 15,14 0-15,-14 0 16,13 0-16,-13 1 15,13-14 1,0 0 0,0 0-1,1-14-15,-1 28 32,0-14-17,-13 13-15,13-13 16,-13 13-16,0 0 15,14 1 1,-14-1-16,0 0 16,0 0-1</inkml:trace>
  <inkml:trace contextRef="#ctx0" brushRef="#br1" timeOffset="-121520.58">17912 2897 0,'0'-13'32</inkml:trace>
  <inkml:trace contextRef="#ctx0" brushRef="#br1" timeOffset="-121050.96">18256 2672 0,'13'14'15,"-26"-1"-15,13 0 0,0 0 16,0 14-16,0-1 0,0 1 16,-13-1-16,13 1 0,0-1 15,0 0-15,0 1 0,0-14 0,13 14 16,-13-1-16,13-13 0,-13 0 0,0 14 16,14-14-16,-14 0 15,0 1-15,13-1 16,-53-26 15,40-1-31,-13 14 0,0-13 0,0 0 16,-1 13-16,-12-13 0,13 13 0,-1 0 15,1 0-15,-13 0 0,13 0 0,-14 0 16,14 0-16,-14 0 0,14 13 16,0-13-16,-14 13 0,14 0 0,0 1 15,0-14-15,13 13 16,0 0-16,0 0 15,13 1-15,0-1 16,0-13-16,14 0 0,-14 0 0,27 0 16,-14 0-16,1 0 0,-1 0 15,-13-13-15,14 13 0,-1-14 16,1 1-16,-1 13 0,1-26 16</inkml:trace>
  <inkml:trace contextRef="#ctx0" brushRef="#br1" timeOffset="-120232.92">18653 2646 0,'13'0'0,"-26"0"0,26-13 0,-13 39 31,0-13-31,0 14 16,0-1-16,-13 1 0,13 12 0,0 1 15,-13 0-15,13-14 0,0 1 0,0-1 16,0 1-16,0-1 0,0 0 15,0-12-15,0-1 0,0 13 0,13-26 16,-13 14-16,0-1 0,0 0 0,13 0 16,-26-39 15,0 13-31,0 13 0,13-14 16,-14 1-16,1 0 0,-13 13 15,13 0-15,-1-13 0,1 13 16,0 0-16,-14 0 0,14 13 0,0-13 15,-14 13-15,14-13 0,0 13 0,0 1 16,0-14-16,-1 13 0,14 0 16,0 0-16,-13 1 0,26-1 15,-13 0-15,14-13 0,-1 0 0,0 13 16,27-13-16,-27 13 0,0-13 16,14-13-16,-1 13 15,-13 0-15,14-13 0,-1 13 0,1-13 16,-14 0-16,40-27 0,-27 27 15,1-27-15,-1 13 16,-13 1-16,1 0 0,12-27 16,-13 26-16,1-39 0,-1 53 15,0-27-15,-13 14 16,13 12-16,-13 1 0,0 0 16,13 0-16,-13 0 15,0 39 1,0-13-1,-13 14-15,13-14 0,0 13 16,-13 27-16,13-13 0,-13-14 16,13 1-16,0-1 0,0 1 0,0-14 15,0 13-15,0-12 0,0-1 16,13 13-16,-13-12 0,13-1 16,14-13-1,-14-13-15,0-1 0,0 1 16,1 13-16,-1-13 15,0 0-15,0 13 16,1 13 0,-14 0-1,0 0-15,13 1 16,-13-1-16,13 0 0,0-13 16,-13 13-16,13-13 0,14 14 15,13-28 1,-14 14-1,-13-13-15,14 0 0,-14 13 0</inkml:trace>
  <inkml:trace contextRef="#ctx0" brushRef="#br1" timeOffset="-119944.95">19725 2858 0,'53'-40'16,"-40"27"-16,40-1 0,0 1 16,-27 13-1,1-13-15,-1 13 0,0 0 0,14-13 16,-13 13-16,-14 0 0,13 0 15,1 0-15,-27-14 0,13 14 16,0 0-16,0 0 16</inkml:trace>
  <inkml:trace contextRef="#ctx0" brushRef="#br1" timeOffset="-119655.85">19804 2844 0,'27'14'16,"-27"-1"-1,26 0-15,0 0 0,-12 0 0,12 27 16,1-27-16,12 27 15,-12-14-15,-14 1 0,13-1 16,14 1-16,-27-14 16,-13 0-16,27 14 15,-14-27-15,-13 13 0,13-13 0,-13 13 16,13-13-16,1 13 16</inkml:trace>
  <inkml:trace contextRef="#ctx0" brushRef="#br1" timeOffset="-119309.42">19857 2831 0,'13'13'0,"-13"1"0,13 12 16,-13 0-16,0-12 0,14 25 0,-1 1 16,-13 0-16,13-1 0,0 1 15,1 53-15,-1-40 16,0 26-16,0 0 0,0-52 15,1 26-15,-14-27 16,0-13-16,0 14 0,13-14 16,-13 0-16,0 1 0,0-1 0,0 0 15,13-13-15</inkml:trace>
  <inkml:trace contextRef="#ctx0" brushRef="#br1" timeOffset="-117984.75">20479 2593 0,'0'13'47,"0"0"-47,0 1 0,13-14 16,-13 13-16,0 0 15,13-13-15,-13 13 16,13 1 0,1-41-1,-14 14 1,0 0-16,0-1 0,13 1 16,-13 0-16,0 0 0,0-1 15,0 1-15,0 0 0,13 0 16,-13 0-16,0-1 15,13 28 17,-13-1-32,14-13 15,-14 13 1,13-13-16,0 0 16,-13-13-1,13 0-15,1-1 0,-1 1 16,-13 0-1,13 13-15,-13-13 16,13 13-16,-13 13 16,13 0-16,-13 0 15,0 1-15,14-1 0,-14 0 16,0 0-16,0 0 0,13 1 0,-13-1 16,0 0-16,13 0 15,-13 1-15,0-1 0,13 0 16,1 0-16,-1-13 15,0-13 1</inkml:trace>
  <inkml:trace contextRef="#ctx0" brushRef="#br1" timeOffset="-117185.58">20942 2606 0,'0'-13'16,"-13"0"0,13-1-16,-14 14 15,1 0 1,0 14-16,13-1 16,0 0-1,0 0-15,0 1 16,0-1-16,0 0 0,13 0 15,0 1 1,1-14-16,-1 0 0,13 0 16,-13 0-16,1 0 0,12 0 15,-13 0-15,1-14 0,-1 14 16,0 0-16,0-13 0,1 13 0,-1-13 16,0 0-16,0 13 15,-13-14-15,27-12 31,-27 13-15,-14 13 15,1 13-31,0 0 16,13 0-16,0 1 16,0-1-1,0 0 1,13-13-16,-13 13 15,13-13-15,1-13 16,-1 13 0,0-13-16,0 13 15,-13-13-15,14 13 0,-14-14 16,13 14-16,0-13 16,0 13 15,0 13-16,-13 1 1,14-14-16,-1 13 31,0-13 1,0 0-17,1 0-15,-1 0 16,0 0-1,0 0-15,1 0 16,-14-13 0,13 13-16</inkml:trace>
  <inkml:trace contextRef="#ctx0" brushRef="#br1" timeOffset="-116341.55">20664 3215 0,'-13'26'62,"13"-13"-46,0 1-1,13-41 32,-13 14-31,0 0-16,0-1 0,13 1 0,-13 0 15,0 0-15,13 0 16,-13-1-16,0 1 16,14 26 15,-14 1-31,13-1 16,0 0-1,-13 0-15,13-13 16,1 0-1,-1 0 1,0-13-16,0 13 0,0-13 16,1 13-16,-14-13 0,13 13 15,0 0 1,0 0-16,-13 13 16,14-13-16,-14 13 0,13-13 15,-13 13-15,0 0 16,13-13-16,-13 14 15,13-1-15,1-13 16</inkml:trace>
  <inkml:trace contextRef="#ctx0" brushRef="#br1" timeOffset="-116040.39">21087 3215 0,'14'-14'0,"-14"1"47,-14 0-47,1 26 31,13 0-31,-13-13 16,13 14-16,-13-1 15,13 0-15,13 0 16,0-13 0,-13 14-16,13-14 15,1 0-15,-1 0 0,0 0 16,0 0-16,14-14 0,-14 14 16,0 0-16</inkml:trace>
  <inkml:trace contextRef="#ctx0" brushRef="#br1" timeOffset="-115647.88">21339 3201 0,'-14'-13'47,"1"26"-31,0-13-16,0 14 0,-1-1 16,1 0-1,13 0 1,13-13-16,-13 14 15,14-14-15,-1 0 16,0-14-16,0 1 16,1 13-16,-14-13 15,13 0-15,0-1 0,-13 1 0,13-13 16,1 13-16,-14-14 0,0 14 0,13-14 16,-13 14-16,0 0 0,0 0 15,0-1-15,0 1 0,-13 26 31,13 14-15,-14-14-16,14 0 16,0 1-16,0-1 0,0 0 0,14 0 15,-14 1-15,0-1 0,13 13 16,0-13-16,0 1 16,0-1-16,1 0 0,-1 0 15,-13 1-15,13-14 0</inkml:trace>
  <inkml:trace contextRef="#ctx0" brushRef="#br1" timeOffset="-114676.21">20611 3770 0,'0'27'31,"0"-14"-31,0 0 16,0 0-16,0 1 0,0-1 15,0 0-15,13 0 16,-13 1-1,14-28 1,-14 1 0,13 13-16,-13-13 0,0 0 0,0-1 15,0 1-15,13 13 0,-13-13 0,0 0 16,0 0-16,0-1 16,13 14-1,-13 27 1,13-14-1,-13 0 1,14-13-16,-14 13 16,13-13-1,0 0 1,0-13 0,1 26 15,-1-13-16,-13 14-15,13-14 16,0 0 0,0 0-16,1 0 0,-1 0 15,0 0-15,0 0 0,1-14 16,-1 14-16,0 0 0,0-13 0,1 0 16,-1 13-16,0-13 15,-13 26 16,0 0-15,0 0-16,13 1 16,0-14-1,-13 13-15,14-13 16,-1 0-16,13-13 0,-12 13 16,-1-14-16,0 1 15,0 0 1,-13 0-16,0 0 15,0-1-15,0 1 16,-13 13-16,0-13 16,0 13-1,-1 0-15</inkml:trace>
  <inkml:trace contextRef="#ctx0" brushRef="#br1" timeOffset="-114099.74">21418 3545 0,'13'14'15,"-26"-1"1,13 0-16,0 0 0,0 1 0,0-1 16,-13 0-16,13 0 0,0 0 0,0 14 15,0-14-15,13 0 0,-13 1 16,0-1-16,13 0 0,-13 0 15,13 1-15,-26-41 47,0 27-47,0-13 16,0 13-16,-1 0 16,1 0-16,0 13 0,0-13 15,-14 13-15,14-13 0,0 14 0,-1-14 16,1 13-16,0 0 0,13 0 0,-13-13 15,13 13-15,-13 1 0,26-1 16,0-13-16,0 0 16,0 13-16,1-13 0,12-13 15,1 13-15,26 0 0,-27-13 0,0-1 16,14 1-16,-27 0 16,14 0-16,-14 13 0,0-13 0,14-1 15,-27 1-15,13 13 0,0-13 0,0 13 16,-13-13-1,-13 39 1,13-13 0,-13 1-16,13-1 15,0 0-15,13-13 16,-13 13-16,0 0 0,13-13 16,1 14-16,-1-14 15,13-14 1,-12 14-1,-1-13-15,0 13 16,-13-26-16</inkml:trace>
  <inkml:trace contextRef="#ctx0" brushRef="#br1" timeOffset="-112959.68">15677 4696 0,'0'14'16,"0"-1"-16,0 0 16,0 0-16,0 0 0,0 1 0,0-1 15,0 0-15,-14 0 0,14 1 0,0-1 16,0 0-16,0 0 0,0 1 15,0-1-15,0 0 16,14 0-16</inkml:trace>
  <inkml:trace contextRef="#ctx0" brushRef="#br1" timeOffset="-112483.72">15796 4762 0,'0'40'31,"0"-27"-31,13 1 0,-13-1 16,0 0-16,13 0 0,-13 1 0,13-14 15,-13 13-15,14 0 0,-1-13 16,0 13-16,0-13 15,0 0-15,1 0 0,-1 0 0,0 0 16,0-13-16,1 0 16,-14 0-16,13 13 15,-13-14-15,0 1 0,0 0 0,-13 13 16,13-13-16,0-1 0,-14 1 16,14 0-16,-13 13 0,13-13 15,-13 13-15,0-14 0,-1 14 0,1-13 16,0 13-16,0 0 15,0 0-15,-1-13 0</inkml:trace>
  <inkml:trace contextRef="#ctx0" brushRef="#br1" timeOffset="-111829.64">15584 4511 0,'-40'13'0,"80"-26"0,-106 40 0,53-14 16,-1 0-16,-12 14 0,13-1 0,-1 0 15,-12 14-15,13 0 0,13-14 16,-13 14-16,13 0 0,-14-1 0,28 1 16,-14 0-16,13-1 0,-13 1 15,13 0-15,13-1 0,-12-12 0,12-1 16,-13 1-16,14-1 0,-1 1 15,1-14-15,12 13 0,-12-12 0,13-1 16,-1-13-16,-12 13 0,12-13 0,-12 0 16,13 0-16,-14 0 15,0 0-15,14 0 0,106-40 16,-120 27-16,1 0 0,-1 0 16,0 0-16,-12 13 0,12-14 15,-13 1-15,1 0 0,12 0 0,-13-1 16,1 1-16,-14-13 0,13 12 0,0 1 15,0 0-15,-13-13 0,0 12 16,13-12-16,-13 13 0,0-14 16,0 14-16,0-14 0,0 14 0,0-13 15,0-1-15,0 14 0,0-13 0,-13 12 16,13-12-16,0-1 0,0 14 16,-13 0-16,13-13 0,-13 12 0,13 1 15,0 0-15,-13 0 0,13-1 0,-14 1 16,1 0-16,13 0 0,-13 0 15,13-1-15,-13 1 0,-1 13 0,1-13 16,0 0-16,0-1 0,-1 14 0,1-13 16,0 0-16,0 13 0,-14 0 15,14-13-15,-13 13 0,-1 0 16,1-14-16,-1 14 0,-12 0 0,12 0 16,-13 0-16,14 0 0,-14 0 0,-26 14 15,40-14-15,-1 0 16,1 13-16,-1-13 0,14 13 0,0 0 15,-14 1-15,14-14 0,13 13 0,-13 13 16,13-12-16,-13-1 0,13 0 16,13 0-16,-13 14 0,0-14 0</inkml:trace>
  <inkml:trace contextRef="#ctx0" brushRef="#br1" timeOffset="-111124.85">15214 4194 0,'-14'13'0,"1"-13"15,13 13-15,-13-13 0,0 13 0,13 14 16,-14-14-16,1 0 0,0 14 0,0-14 16,-1 13-16,14-12 0,-13-1 15,0 13-15,13-12 0,-13-1 0,13 0 16,-13 0-16,13 0 0,-14 1 0</inkml:trace>
  <inkml:trace contextRef="#ctx0" brushRef="#br1" timeOffset="-110868.68">15002 4260 0,'13'13'32,"-13"0"-32,13 0 0,1 1 0,-1-1 0,0-13 15,0 13-15,-13 0 0,13 1 16,1-1-16,-1 0 0,0-13 16,0 13-16,1 1 0,-1-1 15,0-13-15,-13 13 0,13-13 0,1 0 16,-14 13-16,13-13 0,0 0 15</inkml:trace>
  <inkml:trace contextRef="#ctx0" brushRef="#br1" timeOffset="-110319.89">14962 4564 0,'40'0'31,"-27"0"-31,0 0 0,1 0 16,-1-13-16,0 13 0,13 0 0,-12 0 15,12-13-15,-13 13 0,1 0 0,12 0 16,-13 0-16,1 0 0,-1 0 16,0 0-16,0 0 0,0 0 15</inkml:trace>
  <inkml:trace contextRef="#ctx0" brushRef="#br1" timeOffset="-110068.7">14896 4670 0,'-13'13'0,"26"-26"0,-39 26 16,52-13 15,-13 0-31,0 0 16,1 0-16,-1 0 0,13 0 16,-12 0-16,12 0 0,1 0 0,-1-13 0,0 13 15,1 0-15,13 0 0,-27 0 16,13-13-16,1 13 0,-14 0 0,13 0 15,-12-14-15,-1 14 0,0 0 16,0 0-16,1 0 16,-1-13-16,0 13 15,-13-13-15</inkml:trace>
  <inkml:trace contextRef="#ctx0" brushRef="#br1" timeOffset="-108803.83">18746 4591 0,'-27'13'31,"27"0"-31,0 0 16,-13-13-1,13 13 1,0-39 15,13 13-31,-13 0 16,0-1-16,0 1 0,0 0 15,13 0-15,-13-1 0,0 1 16,14 13 0,-1 13-1,0 1 1,-13-1-16,13-13 15,-13 13-15,14-13 0,-1 13 16,0-26 15,0 13-31,-13-13 16,14 13-16,-1 0 47,-13 13-47,13-13 0,-13 13 15,13 1-15,-13-1 0,13-13 16,-13 13-16,14-13 16,-1 0-16,0 0 15,0 13-15,1-13 0,-1 0 16</inkml:trace>
  <inkml:trace contextRef="#ctx0" brushRef="#br1" timeOffset="-108531.91">19116 4591 0,'-13'-27'31,"0"40"-15,-1 1-1,14-1-15,-13 0 16,13 0-16,0 0 15,0 1-15,13-14 16,-13 13-16,14 0 16,-1-13-16,0 0 15,0 0-15,1 0 0,-1 0 16,0 0-16,0 0 0,1-13 16,-1 13-16,0 0 0,0 0 15</inkml:trace>
  <inkml:trace contextRef="#ctx0" brushRef="#br1" timeOffset="-107947.7">19632 4551 0,'13'0'15,"1"-13"1,-41 26 15,14 0-15,0-13-16,13 13 15,-14-13-15,1 14 16,13-1-16,13 0 16,1-13-1,-14 13-15,13 0 16,0 1-16,-13-1 16,0 0-1,-13-13-15,13 13 0,-13-13 16,13 14-16,-14-14 0,1 0 15,0 13-15,0-13 16,-1 0-16,1 0 0,0 0 16,0 0-1</inkml:trace>
  <inkml:trace contextRef="#ctx0" brushRef="#br1" timeOffset="-107492.74">19526 4366 0,'-26'13'0,"52"-26"0,-65 26 0,25 0 16,14 0-16,-13 1 0,0-1 15,0 26-15,-1-12 0,14-14 16,-13 14-16,13-1 0,0 1 0,-13-1 15,26 0-15,-13 1 0,0-1 16,13 14-16,1-14 0,12 1 0,1-1 16,-1 1-16,14-14 0,-14 0 0,14 1 15,-14-1-15,14-13 0,-14 0 16,1 0-16,13 0 0,-14 0 0,1 0 16,12-13-16,1-1 0,39-25 15,-39 12-15,-27 1 16,0-1-16,1 1 15,-1 13-15,-13-14 0,0 1 0,0-14 16,0 14-16,-13-1 0,-1-13 16,1 14-16,0-1 0,-14 1 15,1 13-15,0-14 0,-1 14 0,1 0 16,-1 0-16,1-1 0,-1 14 0,1-13 16,-1 13-16,1-13 0,-1 13 15,1 0-15,0 0 0,12 13 16,-25-13-16,25 13 0,-12 1 0,13-1 0,-14-13 15,14 13-15,0 0 0</inkml:trace>
  <inkml:trace contextRef="#ctx0" brushRef="#br1" timeOffset="-105768.89">19711 4934 0,'-39'-13'32,"-1"26"-17,27-13 1,-14 14-16,14-14 0,0 0 0,-14 0 16,14 0-16,-13 13 0,13-13 0,-14 0 15,14 13-15,-14-13 0,1 0 16,13 13-16,-14-13 0,14 0 0,0 0 15,-14 14-15,14-14 0,0 0 0,0 0 16,-1 13-16,-12-13 0,13 0 16,0 0-16,-1 0 0,1 0 0,0 13 15,-14-13-15,14 0 0,-13 0 16,12 0-16,1 0 0,-13 13 16,13-13-16,-14 0 0,14 0 0,0 0 15,-14 0-15,14 0 0,0 0 0,-1 0 16,-12 0-16,13 14 0,-14-14 0,14 0 15,0 0-15,-14 0 0,1 0 16,13 0-16,-14 0 0,-12 0 0,12 0 16,1 13-16,-14-13 0,0 0 0,1 0 15,-1 0-15,0 0 0,1 0 16,12 0-16,-13 0 0,1 0 0,12-13 16,-12 13-16,-1 0 0,13 0 15,-12 0-15,12 0 0,-12 0 16,12 0-16,1 0 0,-14 0 0,14-14 15,-1 14-15,1 0 0,-1 0 0,1 0 16,-1 0-16,1 0 0,13 0 0,-14 0 16,1 0-16,12 0 0,-12 0 15,13 0-15,-1 0 0,-12 0 16,13 0-16,0 0 0,-1 0 0,-12 0 0,13 0 16,-1 0-16,1 0 0,0 0 15,-14 0-15,14 0 0,0 0 16,0 0-16,0 0 0,-14 0 0,14 0 15,0 0-15,-1 0 0,-12 0 16,13 0-16,0 0 0,-1 0 0,-12 0 16,13 0-16,-1 0 0,1 0 0,-13 0 15,12 0-15,1 0 0,-13 0 16,13 0-16,-1 0 16,1 0-16,0 0 0,0 0 0,-1 0 15,1 0-15,0 0 0,0 0 0,-1 14 16,1-14-16,0 0 0,0 0 15,0 0-15,-1 0 0,1 0 16,0 0-16,0 0 0,-1 0 16,1 0-16,0 0 15,0 13-15,0-13 16,-1 0-16,1 0 16,0 0-16,0 0 0,-1 0 15,1 0 1,0 0-16,0 0 0,-1 0 15,1 0 1,0 0-16,0 0 16,0 13-1,-1-26 1,14 0 15</inkml:trace>
  <inkml:trace contextRef="#ctx0" brushRef="#br1" timeOffset="-105067.84">16933 4895 0,'-26'0'32,"13"13"-32,-1-13 15,1 13-15,0-13 0,0 13 16,0 1-16,-1-14 15,1 13-15,0-13 0,0 13 0,-1 0 16,1-13-16,0 14 0,0-14 16,13 13-16,-14-13 0,1 13 0,0-13 15,13 13-15,-13-13 0,13 14 16,-13-14-16,13 13 16,-14 0-1,28 13 1,-14-12-16,13-1 15,0 0-15,-13 0 0,13 1 16,0-14-16,1 13 0,-1 0 0,0-13 16,0 13-16,1-13 0,-1 14 0,0-14 15,-13 13-15,13-13 0,1 0 16,-14 13-16,13-13 0,0 0 0,0 13 16,0-13-1,1 13 1,-1-13 15,0 14-31,0-14 16,1 13-16,-1-13 0,0 0 0,0 0 15,0 13-15,14-13 0</inkml:trace>
  <inkml:trace contextRef="#ctx0" brushRef="#br1" timeOffset="-104792.53">17661 5226 0,'0'13'15,"0"13"-15,0-13 16,0 1-16,0 12 15,0-13-15,0 1 0,0-1 0,0 0 16,0 14-16,13-14 0,-13 0 0,0 0 16,0 0-16,0 1 0,0-1 0,13 0 15,-13 0-15,14 1 16,-1-1 0</inkml:trace>
  <inkml:trace contextRef="#ctx0" brushRef="#br1" timeOffset="-104479.83">17595 5411 0,'0'0'0,"-13"0"0,13-13 15,13 13 1,-13-14-16,13 14 0,0 0 0,0 0 16,1-13-16,-1 13 15,0 0-15,0 0 0,1-13 16,-1 13-16,0 0 0,0 0 15,1 0-15,-1 0 16</inkml:trace>
  <inkml:trace contextRef="#ctx0" brushRef="#br1" timeOffset="-104089.23">18045 5265 0,'-14'0'15,"1"0"1,0 0-16,0 13 16,-1-13-16,1 0 0,0 14 15,0-14 1,13 13-16,13 0 15,-13 0-15,13-13 0,-13 14 16,13-14-16,1 13 0,-1-13 16,-13 13-16,13-13 0,0 13 0,1-13 15,-14 14-15,13-14 0,-13 13 0,13 0 16,-26 0-16,13 0 16,-13-13-16,13 14 15,-14-14-15,1 13 0,0-13 16,0 0-16,-1 13 0,-12-13 0,13 13 15,0-13-15,-1 14 0,-12-14 16,13 13-16,-14-13 0,14 13 0,0-13 16,-14 0-16,14 13 0</inkml:trace>
  <inkml:trace contextRef="#ctx0" brushRef="#br1" timeOffset="-103436.92">17674 5675 0,'93'27'32,"-80"-27"-32,13 0 0,-12 0 0,12 0 15,1 0-15,-1 0 0,1-13 16,12 13-16,1 0 0,0-14 0,-1 1 16,-12 13-16,12-13 0,-12 0 15,-1 13-15,-12-14 0,12 1 0,0 0 16,-12 0-16,-1-1 0,13 1 0,-12-13 15,-1 13-15,0-1 0,0-12 16,-13 13-16,14-1 0,-1-12 16,-13 13-16,0-14 0,13 14 0,-13-13 0,0 12 15,0-12-15,-13-1 0,13 1 16,-13 13-16,-1-27 0,1 14 16,0-1-16,-14 14 0,1-14 0,-1 1 15,1 13-15,0 0 0,-14-14 0,13 14 16,-12 0-16,-1 13 0,0-14 15,1 14-15,12 0 0,-12 0 0,-1 0 16,0 0-16,-13 0 0,14 0 0,-14 14 16,13-1-16,0 0 0,1 0 15,-1 1-15,-13 12 0,13-13 0,1 14 16,-14 12-16,13-12 0,0 13 0,14-1 16,-1-12-16,-12 12 15,25 1-15,-12 0 0,13-14 0,0 14 0,-1 0 16,14-14-16,0 14 0,0-14 15,0 1-15,14-1 0,-1 1 0,0-1 16,13 0-16,1 1 0,13-1 16,-14-12-16,14 12 0,-1-13 0,1 1 15,0-1-15,-1 0 0,14 0 0,-13-13 16,-13 13-16,12-13 0,-12 0 16,-1 14-16,1-14 0,-14 0 0,13 0 15,-12 0-15,12 0 0,-13 0 0,0 0 16,1-14-16,-1 14 0,0 0 0,0 0 15,1-13-15,-1 0 16,0 13-16,0-13 0,-13 0 16,14 13-16,-14-14 15,0 1-15,0 0 16,13 0-16</inkml:trace>
  <inkml:trace contextRef="#ctx0" brushRef="#br1" timeOffset="-102409.64">7951 595 0,'-27'14'31,"14"-14"-31,0 0 0,0 0 0,-14 13 16,14-13-16,-14 0 0,14 13 0,-13-13 15,-1 0-15,1 13 0,-1-13 0,1 0 16,-1 13-16,1-13 16,13 0-16,-14 14 0,14-14 0,-13 0 0,12 0 15,1 0-15,0 13 0,0-13 16,-1 0-16,-12 0 16,26-13-1</inkml:trace>
  <inkml:trace contextRef="#ctx0" brushRef="#br1" timeOffset="-102136.48">7395 503 0,'-79'92'31,"79"-78"-31,-14 12 0,14-13 0,0 0 16,0 1-16,14-1 0,-14 0 16,0 0-16,13 1 0,0-1 0,0 0 15,1 0-15,-1 1 0,13-1 0,-12 13 16,12-13-16,-13 1 0,14-1 0,-14-13 16,13 13-16,1 14 0,-14-27 15,14 13-15,-14 0 0,0 0 16</inkml:trace>
  <inkml:trace contextRef="#ctx0" brushRef="#br1" timeOffset="-96472.81">1905 4392 0,'-13'0'0,"26"0"0,-39 0 16,12 0-16,67 0 31,-13-13-31,0 13 16,26-13-16,0-1 0,13 1 0,14 0 15,-14 0-15,14-1 0,-1 1 0,1 0 16,0 0-16,-1 0 0,1-1 16,-1 1-16,1 13 0,-14-13 15,1 0-15,-14-1 0,0 14 0,-13 0 16,0-13-16,-13 13 0,26 0 15,-53 0-15,0 0 0,0 0 0,1 0 16</inkml:trace>
  <inkml:trace contextRef="#ctx0" brushRef="#br1" timeOffset="-96174.68">2183 4551 0,'0'0'16,"39"0"-16,-25-13 15,25 13-15,14-14 0,0 1 16,27 13-16,-14-13 0,13 0 16,1-1-16,-1 1 0,14 0 0,-14 0 15,0 0-15,14-1 0,-14 1 0,1 0 16,-1 13-16,-13-13 0,0-1 15,-13 14-15,-13-13 0,0 13 0,-14 0 16,0 0-16,1-13 0,-14 13 0,0 0 16,1 0-16,-1 0 0,0-13 15</inkml:trace>
  <inkml:trace contextRef="#ctx0" brushRef="#br1" timeOffset="-82012.81">1601 5993 0,'-13'13'0,"26"0"31,0-13-15,13 0-16,-12 13 15,12-13-15,14 0 0,-1 0 0,14 0 16,14 0-16,-15 0 0,28 0 0,-1 0 16,1 0-16,-1-13 0,14 13 15,-14 0-15,14-13 0,-1 13 0,1 0 16,-14-13-16,14 13 0,-1 0 15,1 0-15,0-13 0,12 13 16,-12 0-16,13 0 0,-14 0 0,14 0 16,0 13-16,0-13 0,26 0 0,-26 13 15,13-13-15,-13 13 0,-13 0 0,-1-13 16,14 14-16,-13-1 0,26 0 16,-27 0-16,1 1 0,-1-14 0,1 13 15,-14 0-15,14-13 0,-14 13 0,14-13 16,-14 14-16,14-14 0,-14 13 15,1-13-15,12 0 0,-12 13 0,12-13 16,-12 0-16,-1 13 0,-13-13 0,14 0 16,-1 0-16,-13 13 15,0-13-15,-13 0 0,13 0 0,-13 0 16,13 0-16,-13 0 0,13 14 0,-13-14 16,0 0-16,0 0 0,0 0 0,0 0 15,-13 0-15,13 0 0,-14 0 16,14 0-16,-13 0 0,-14 0 0,27 0 15,-13-14-15,0 14 0,13 0 16,-14 0-16,14 0 0,-13 0 0,-14-13 16,14 13-16,-13 0 0,-1 0 15,14-13-15,-14 13 0,14 0 0,-14-13 16,1 13-16,12-13 0,-12 13 0,-1-14 16,1 14-16,12 0 0,-12-13 0,-1 13 15,14-13-15,-13 0 0,12 13 16,-12-14-16,12 1 0,1 13 0,-14-13 15,14 13-15,-13-13 0,12-1 16,-12 14-16,-1-13 0,1 13 0,-1-13 16,1 13-16,-1-13 0,1 0 0,-1 13 15,-13-14-15,14 14 0,-1-13 16,14 0-16,-14 0 0,-12-1 0,25 1 16,-12 0-16,-1 0 0,1-14 0,-1 14 15,1 0-15,-1 0 0,-13-1 16,14-12-16,-14 13 0,0-1 15,0 1-15,1-13 0,-1 13 0,0-1 16,-13-12-16,13 13 0,-13-1 0,0-12 16,13 13-16,-13-1 0,0-12 15,0 13-15,0-14 0,0 1 0,-13 13 16,13-14-16,0 1 0,-13-1 0,13 1 16,-13-1-16,13 14 0,-13-27 0,-1 14 15,1 0-15,0-1 0,0 1 16,-14-41-16,1 41 0,13 13 15,-14-14-15,1 1 0,12-1 0,-12 1 16,-1 13-16,1-14 0,0 14 16,-1-13-16,-13 12 0,14 1 15,-1-13-15,-12 12 0,-1 1 0,0 0 16,1 0-16,-1-1 0,-13 14 0,0-13 16,0 0-16,0 13 0,-13-13 15,0 13-15,-13-13 0,-1 13 0,1 0 16,13-14-16,-14 14 0,1 0 0,26-13 15,-26 13-15,26 0 0,-13 0 16,-14 0-16,14 0 0,0-13 16,0 13-16,-14 0 0,28 0 0,-15 0 15,1-13-15,0 13 0,-13 0 0,13-14 16,13 14-16,-27 0 0,14-13 16,-13 13-16,-1 0 0,14-13 0,-13 13 0,13-13 15,-14 13-15,14 0 0,-13-13 16,26 13-16,0 0 0,0-14 15,0 14-15,0 0 0,0 0 0,0-13 16,1 13-16,-1 0 0,-14 0 0,15 0 16,-1-13-16,-13 13 0,13 0 15,-14 0-15,15 0 0,-15 0 0,14 0 16,1 0-16,-1 0 0,-14 0 0,15 0 16,-1 0-16,0 0 0,0 0 15,0 0-15,13 0 0,-13 0 0,0 0 16,14 0-16,-14 0 0,0 0 0,0 0 15,-13 13-15,13-13 0,-26 0 16,26 0-16,0 0 0,-27 13 16,27-13-16,-13 0 0,0 0 0,13 14 15,-13-14-15,13 0 0,0 13 0,0-13 16,0 0-16,0 0 0,14 0 0,-14 0 16,0 13-16,13-13 0,-13 0 15,0 0-15,14 13 0,-14-13 16,13 0-16,-13 13 0,0-13 0,14 14 0,-14-14 15,13 13-15,-13-13 16,13 13-16,14-13 0,-14 13 0,14-13 16,-14 14-16,14-14 0,-14 13 0,13 0 15,-12-13-15,12 13 0,-12 0 0,12-13 16,-13 14-16,14-1 0,0-13 16,-1 13-16,1-13 0,-1 13 0,1-13 15,-1 14-15,1-1 0,-1-13 0,14 13 16,-13-13-16,12 13 15,-12-13-15,13 0 0,-14 14 0,14-1 0,-13-13 16,-1 13-16,14-13 0,-14 13 16,14-13-16,-13 13 0,13-13 0,-14 14 15,1-1-15,-1-13 0,1 13 16,-1 0-16,14-13 0,-13 14 0,-27-1 16,39 0-16,-12-13 0,13 13 15,-14 1-15,1-14 0,13 13 16,-14 0-16,1-13 0,12 13 0,-12 0 15,13-13-15,-14 14 0,14-1 0,0 0 16,-14 0-16,14 1 0,-13-1 0,-1 13 16,14-12-16,-13 12 0,12-13 15,-12 14-15,-1-14 0,14 13 0,-13 1 16,12-1-16,1-12 0,-13 12 0,13 0 16,-14 27-16,14-13 15,0-14-15,-1 14 0,1-13 16,13-1-16,-13 1 0,13-1 0,0 0 0,0 1 15,13-1-15,0 14 0,1-13 16,-1-1-16,13 0 0,1 1 16,-1-1-16,14-12 0,0-1 0,-1 13 15,14-13-15,13 1 0,67-1 16,-80-13-16,13 13 0,0-13 0,0 0 16,13 0-16,1 0 0,-1-13 15,1 13-15,12 0 0,-12-13 0,12 13 16,1-14-16</inkml:trace>
  <inkml:trace contextRef="#ctx0" brushRef="#br1" timeOffset="-81297.61">9366 5411 0,'13'-13'0,"120"-14"31,-80 27-31,-14-13 0,1 13 0,0 0 15,13-13-15,-14 13 0,1 0 16,0-14-16,-14 14 0,1 0 0,-1 0 16,1-13-16,-1 13 0,-13 0 15,0 0-15,1 0 0,-1 0 16,0-13-16,0 13 0,1-13 16</inkml:trace>
  <inkml:trace contextRef="#ctx0" brushRef="#br1" timeOffset="-81007.99">9763 5093 0,'0'0'0,"13"0"0,1-13 16,-1 13-16,13 0 0,-13 0 15,14 0-15,13 13 0,-14-13 0,1 0 16,12 13-16,-12 1 15,-1-14-15,1 13 0,-1 0 0,1 0 16,-1 1-16,-13-14 0,0 13 0,14 0 16,-14 0-16,0 1 0,-13-1 0,14 0 15,-14 0-15,0 0 0,0 1 16,0-1-16,-14 0 0,14 0 0,-26 1 16,-1 12-16,1 1 0,0-14 0,-14 13 15,13-13-15,-12 1 0,12-1 16,-12 0-16,12 0 0</inkml:trace>
  <inkml:trace contextRef="#ctx0" brushRef="#br1" timeOffset="-73524.79">10478 7355 0,'0'14'0,"0"-28"0,13 28 16,13-14-16,-13 0 16,27 0-16,13 0 0,0 0 0,0 0 15,26 0-15,1 0 0,12 0 16,-12 0-16,12 0 0,1 0 0,-1 0 0,1 0 15,0 0-15,-1-14 16,-12 14-16,12 0 0,-12 0 0,-14 0 16,0 0-16,-13 0 0,0 0 0,0 0 15,-14-13-15,-12 13 0,-1 0 0,-13 0 16,1 0-16,-1 0 0,0 0 16,0 0-16,-39 13 15</inkml:trace>
  <inkml:trace contextRef="#ctx0" brushRef="#br1" timeOffset="-73225.58">10795 7646 0,'-13'14'0,"26"-28"0,0 28 15,14-14 1,-1 0-16,1 0 0,26 0 0,13 0 15,13 0-15,0 0 0,1 0 0,-1-14 16,1 14-16,-1 0 0,0 0 16,14 0-16,-27 0 0,13 0 15,-12 0-15,-15 0 0,15 0 0,-28 0 0,14 0 16,-13 0-16,0 0 0,-14 0 16,1 0-16,-14 0 0,13 0 0,-13 0 15,1 0-15,-1 0 0,0 0 16,0 14-16,1-14 0,-1 0 0,0 0 15,0 0-15,0 13 16</inkml:trace>
  <inkml:trace contextRef="#ctx0" brushRef="#br1" timeOffset="-72123.4">14049 6628 0,'0'-13'0,"-13"13"31,0-14-31,26 1 16,0 0-16,1 0 16,12-1-16,1 1 15,-14 0-15,13 0 0,1 0 0,12-1 16,1 1-16,39-27 15,-39 27-15,0 0 0,13 0 16,39-14-16,-52 14 0,13 0 16,0 0-16,0-14 0,0 14 0,52-14 15,-52 1-15,0 13 16,0-1-16,27-12 0,25-14 16,-65 27-16,0 0 0,13 0 15,-14-1-15,1 1 0,0-13 16,0 12-16,-1 1 0,1 0 15,0 0-15,12 0 0,28-14 0,-40 14 16,-1 0-16,-12-1 0,12 1 16,28 0-16,-41 0 15,0 13-15,27-27 0,-39 27 16,12-13-16,0 13 0,14-13 16,-27 0-16,1 13 15,12 0-15,-26-14 16,13 14-16,1 0 0,-1 0 15,0-13 1,0 13 93</inkml:trace>
  <inkml:trace contextRef="#ctx0" brushRef="#br1" timeOffset="-71365.16">16153 5636 0,'26'0'31,"-13"0"-16,1 0 1,-1 0-16,13 0 0,-12 0 16,-1 0-16,0 0 0,0 0 15,1 0-15,-1 0 0,13 0 16,-13 13-16,1-13 16,-1 0-16,0 0 15,0 0-15,1 0 16,-1 0-1,0 0 17,-13 13 15,-13 0-47,0 1 15,13-1-15,-14 0 16,14 0-16,-13 0 0,0 1 0,0 12 15,13-13-15,-14 1 16,14-1-16,-13 0 0,13 14 16,-13-1-16,13-13 15,-13 14-15,13-14 16,-13 0-16,13 14 0,-14-14 16,14 0-16,-13 0 0,13 0 15,0 1-15,-13-14 16,13 13-16,0 0 15,0 0 1,-13-13 15,13 14-15,13-41 46</inkml:trace>
  <inkml:trace contextRef="#ctx0" brushRef="#br1" timeOffset="-69729.19">20002 5014 0,'14'26'15,"-1"-12"-15,-13-1 16,13-13-16,-13 13 0,13-13 0,-13 13 16,14 0-16,-14 1 15,0-1-15,13-13 16,-13 13 15</inkml:trace>
  <inkml:trace contextRef="#ctx0" brushRef="#br1" timeOffset="-69368.44">19936 5001 0,'0'0'16,"-13"26"-1,0-13 1,13 1-16,-13-1 16,13 0-16,0 0 0,-14 0 15,14 1-15,0-1 0,-13 0 16,13 0-16,0 1 15</inkml:trace>
  <inkml:trace contextRef="#ctx0" brushRef="#br1" timeOffset="-69178.61">19976 4987 0,'13'0'32,"0"0"-32,1 14 15,-1-14-15,0 13 16</inkml:trace>
  <inkml:trace contextRef="#ctx0" brushRef="#br1" timeOffset="-68294.58">15597 5212 0,'0'14'16</inkml:trace>
  <inkml:trace contextRef="#ctx0" brushRef="#br1" timeOffset="-64948.91">15425 7594 0,'66'0'0,"-26"-14"0,13 14 15,26-13-15,-13 13 0,27-13 0,-14 13 16,14 0-16,13-13 0,529-14 31,-503 27-31,0 0 0,-26 0 0,159-13 16,-159 13-16,0 0 0,-1 0 16,-12 0-16,13 0 0,0 0 0,-14 0 15,1 0-15,-14 0 0,1 0 16,-1 0-16,-26 0 0,0 0 0,0 0 15,-14 0-15,-12 0 0,13 0 0,-14 0 16,0 0-16,-12 0 0,-1-13 0,0 13 16,0 0-16,1 0 0,-1 0 15</inkml:trace>
  <inkml:trace contextRef="#ctx0" brushRef="#br1" timeOffset="-63598.44">1124 8361 0,'0'0'0,"40"-13"32,-27 13-32,14 0 15,-14 0-15,14 0 0,-1 0 0,0 0 16,14-14-16,-13 14 0,-1 0 0,1 0 16,-1 0-16,-13 0 0,14 0 15,-1-13-15,1 13 0,-14 0 0,0 0 16,14 0-16,-14-13 0,0 13 0,0 0 15,0 0-15,14 0 16,-14 0-16,-13-13 0,13 13 0</inkml:trace>
  <inkml:trace contextRef="#ctx0" brushRef="#br1" timeOffset="-62944.91">1945 7461 0,'0'0'0,"0"27"16,13-1 0,-13-13-16,0 27 0,0 0 0,0-1 15,0 14-15,-13 0 0,13-13 0,0 13 16,0-13-16,0-1 0,0 1 15,0-14-15,-14 1 0,14-1 16,14 14-16,-14-14 0,0-12 0,0-1 16,0 0-16,0 0 15,13 1-15</inkml:trace>
  <inkml:trace contextRef="#ctx0" brushRef="#br1" timeOffset="-60168.66">1852 7369 0,'0'-14'31,"27"28"0,-14-14-31,0 13 0,0-13 16,0 0-16,14 0 0,-1 0 0,1 0 15,26-13-15,-14 13 0,1-14 16,13 14-16,-13 0 0,13-13 0,0 0 16,-14 0-16,14 13 0,53-27 15,-66 27-15,13-13 0,-14 13 16,14-13-16,0 13 0,-13-13 0,13 13 16,0-14-16,-14 14 0,14 0 0,-13-13 15,13 13-15,-13 0 0,12-13 16,1 13-16,-13 0 0,13-13 0,-13 13 15,13 0-15,-27-14 0,27 14 16,-27 0-16,27 0 0,-26-13 0,12 13 16,-12 0-16,-1-13 0,14 13 15,-13 0-15,12 0 0,1-13 0,0 13 16,-1-13-16,1 13 0,0-14 0,-1 14 16,1 0-16,-13-13 0,12 13 15,-12 0-15,12-13 0,1 13 0,0 0 16,-1-13-16,-12 13 0,13 0 0,-14 0 15,14 0-15,-1 0 16,1-14-16,0 14 0,-14 0 0,14 0 0,-14 0 16,27 0-16,-13 0 0,0-13 0,13 13 15,-14 0-15,14 0 0,-13 0 16,0 0-16,-1 0 0,-12 0 16,12 0-16,1 0 0,-13 0 0,12 0 15,-12 0-15,12 0 0,-12 0 0,13 0 16,-14 13-16,0-13 0,14 0 15,-13 0-15,12 0 0,-12 0 0,12 0 16,-12 0-16,13 0 0,-14 0 0,27 0 16,-13 0-16,-14 0 0,14 14 15,-1-14-15,-12 0 0,13 0 0,-14 0 16,14 0-16,-1 0 0,1 0 0,-13 13 16,12-13-16,1 0 0,0 0 15,-14 0-15,14 0 0,-14 13 16,1-13-16,12 0 0,-12 0 0,-1 0 0,14 0 15,-14 0-15,14 0 16,-13 0-16,-1 0 0,14 13 0,-14-13 16,1 0-16,-1 0 0,14 0 0,-14 0 15,-13 0-15,14 0 0,-1 0 0,1 0 16,-1 0-16,1 0 0,-1 14 16,1-14-16,-1 0 0,1 0 0,-1 0 15,1 0-15,-14 0 0,13 0 0,1 13 16,-1-13-16,-13 0 0,14 0 15,-1 0-15,-13 0 0,14 0 0,-14 0 16,0 0-16,14 13 0,-14-13 0,0 0 16,1 0-16,-1 0 15,0 0-15,0 0 0,0 0 0,1 0 16,-1 0-16,0 0 16,0 13-16,1-13 15,-1 0 1,0 0-1,0 0-15,1 13 32,-1-13-32,-13 14 15,13-14-15,-13 13 16,13-13-16,-13 13 16,0 0-16,13-13 0,-13 14 15,14-1-15,-14 0 0,0 0 16,0 0-16,13 1 15,-13-1-15,0 0 0,0 0 16,13 1-16,-13-1 0,0 0 0,0 0 16,0 1-16,0-1 0,0 0 0,0 0 15,0 0-15,0 1 0,0 12 16,0-13-16,0 14 0,0-14 0,0 0 16,0 14-16,0-14 0,0 13 15,0 1-15,-13-14 0,13 14 0,0-14 16,0 13-16,0 1 0,0-14 15,0 13-15,0 1 0,-13-14 0,13 14 16,0-14-16,0 13 0,0-12 16,0 12-16,0-13 0,0 0 0,0 1 15,0-1-15,0 0 0,0 14 16,0-14-16,0 0 0,0 0 0,0 0 16,0 1-16,0-1 15,0 0-15,0 0 0,0 1 16,0-1-1,0 0 1,-14 0 0,14 1-1,-13-1 1,0-13 0,0 13-1,0-13-15,-1 0 16,1 0-16,0 0 0,0 0 15,-1 0-15,-25 13 0,25-13 16,-12 0-16,13 0 0,-14 0 16,1 0-16,-1 0 0,-39 0 15,40 0-15,-14 0 0,14 13 16,-14-13-16,14 0 0,-27 0 0,13 0 16,-13 0-16,13 0 0,-13 14 0,14-14 15,-14 0-15,13 0 0,0 0 16,-12 13-16,12-13 0,0 0 0,-13 0 15,14 0-15,12 0 0,-26 0 0,0 13 16,14-13-16,-14 0 0,13 0 0,-13 0 16,0 13-16,13-13 0,-13 0 15,14 0-15,-14 0 0,13 0 0,-13 0 16,14 14-16,-14-14 0,0 0 16,13 0-16,-13 0 0,13 0 15,-52 0-15,65 0 0,-25 0 16,12 0-16,13 0 0,-52 0 0,53 0 15,-27-14-15,13 14 0,13 0 16,-12 0-16,-1 0 0,0 0 16,1 0-16,-14 0 0,0 0 0,13 0 15,-13 0-15,14 0 0,-28 0 16,41 0-16,0 0 0,-1 0 16,1 0-16,-1 0 0,-26 0 15,27-13-15,-1 13 0,1 0 16,-1 0-16,1 0 0,-1 0 0,1 0 15,0 0-15,-14 0 0,13-13 0,-39 13 16,27 0-16,12 0 0,-13 0 16,1 0-16,12 0 0,-12 0 15,-1 0-15,13 0 0,-12 0 16,-27 0-16,26-13 0,0 13 16,1 0-16,-1 0 0,13 13 15,-12-13-15,-1 0 0,14 0 0,-27 0 16,13 0-16,14 0 0,-14 0 0,13 0 15,1 0-15,-27 0 16,27 0-16,-1 0 0,1 0 0,-1 0 16,-13 0-16,-52 0 31,52 0-31,27 0 16,0 0-16,0 0 0,-14 0 15,14 0-15,0 0 16,-1 0-16,1-13 15,0 13-15,0 0 16,-1 0 0,1 0-16,0 0 15,0 0-15,0 0 16,-1 0-16,-12 0 16,13 0-16,-1 0 0,1 0 15,0 0-15,0 0 0,-27 0 16,27 13-16,0-13 15,-1 0-15,1 0 0,0 0 0,-27 0 16,27 0-16,-14 13 16,14-13-16,-13 0 0,13 0 15,-1 0-15,-12 0 16,13 0-16,-1 0 16,14-13-16,-13 13 0,0 0 15,0 0 1,-1 0-16,1 0 15,0 0 17,0 0 15,-14 0 46,27-13-93,-13 13 32,0 0-32,0 0 0,-1-14 15,1 14 1,0-13-16,0 13 0,0 0 15,13-13-15,-14 13 0,1-13 16,0 13-16,13-13 0,-13 13 0,-1-14 16,1 1-16,13 0 15,0 0-15,13-14 16,14 14-16,13-14 0,-14 1 0,27 0 16</inkml:trace>
  <inkml:trace contextRef="#ctx0" brushRef="#br1" timeOffset="-59202.93">7554 8083 0,'26'0'15,"-12"0"1,12 0-16,0 13 0,1-13 16,-1 0-16,41 0 15,-28 13-15,1-13 0,39 0 0,-52 0 16,12 0-16,-12 14 0,-1-14 16,-12 0-16,12 0 0,14 0 15,-27 0-15,0 0 0,14 0 16,-14 0-1,0 0-15,0 0 16,-13-14 0</inkml:trace>
  <inkml:trace contextRef="#ctx0" brushRef="#br1" timeOffset="-58896.59">8096 7951 0,'0'0'0,"13"0"32,14 0-32,-14 13 0,0-13 15,1 13-15,12-13 0,14 27 16,-27-27-16,13 13 0,1 0 15,-14 0-15,0-13 0,14 14 16,-14-1-16,0 0 0,1 0 0,-1 0 16,-13 1-16,0-1 0,0 13 15,-13-12-15,-1 12 0,-12 1 16,-1-1-16,-26 27 0,14-27 16,-1 1-16,0-1 0,1 1 0,-1-14 15,0 0-15,1 0 0</inkml:trace>
  <inkml:trace contextRef="#ctx0" brushRef="#br1" timeOffset="-57688.68">9551 8109 0,'0'0'0,"-13"-13"0,0 26 15,0 1 1,13-1-16,-13-13 0,13 13 16,0 0-16,-14 1 0,14-1 15,0 0-15,0 0 0,0 1 16,0-1-16,0 0 15,14-26 32,-14 0-47,0-1 0,0 1 16,0 0-16,0 0 0,0-14 16,0 14-16,0 0 0,0-1 0,13 14 15,-13-13-15,0 0 0,0 0 0,0 0 16,13 13-1,-13-14-15,13 14 16,0 14-16,-13-1 16,14-13-16,-1 13 15,-13 0-15,13 0 16,0 1 0,1-14-1,-1 0 1,0 0-16,-13-14 0,0 1 15,13 13-15,-13-13 0,14 13 0,-14-13 16,13 13-16,-13-13 16,13-1-16,-13 1 15,13 26 1,0-13 0,-13 14-16,14-1 0,-14 0 15,13 0-15,-13 0 0,0 1 16,13-1-16,-13 0 15,0 0-15,13-13 0,-13 14 16,14-1-16,-1-13 16,0 0-16,0 0 15,0 0 1</inkml:trace>
  <inkml:trace contextRef="#ctx0" brushRef="#br1" timeOffset="-57385.82">9948 8070 0,'0'26'32,"14"-26"-32,-14 13 15,13 1-15,0-1 0,-13 0 16,13-13-16,0 13 16,1 1-16,-1-14 0,13 0 15,-12 0-15,-1 0 16,0 0-16,-13-14 15,13 14-15,-13-13 0,-13 0 16,13 0-16,-13-1 16,13 1-16,-13 13 0,13-13 15,-14 13-15,14-13 0,-13 13 16,-13-13-16,12 26 16,1-13-16,0 0 15,13 13-15,-13-13 0,13 13 16</inkml:trace>
  <inkml:trace contextRef="#ctx0" brushRef="#br1" timeOffset="-57163.71">10213 8004 0,'13'13'16,"-13"0"-1,0 0-15,0 1 16,13-1-16,-13 0 0,0 0 0,0 0 16,0 1-16,0-1 0,0 0 15,0 0-15,0 1 0,14-1 16,-14 0-16,0 0 16</inkml:trace>
  <inkml:trace contextRef="#ctx0" brushRef="#br1" timeOffset="-56822.76">10186 8030 0,'14'-26'16,"-28"52"-16,41-52 0,-14 26 0,0 0 16,1 0-1,-1 13-15,0-13 0,-13 13 16,13 0-16,1 1 0,-14-1 16,0 0-16,0 0 15,0 0-15,-14 1 0,14-1 0,0 0 16,-13 0-16,0 1 0,13-1 15,-13-13-15,-1 26 0,1-12 16,0-14-16,0 13 0,-1 0 16,1 0-16,0-13 0,0 13 15,0-13-15,-1 14 0</inkml:trace>
  <inkml:trace contextRef="#ctx0" brushRef="#br1" timeOffset="-56024.32">9485 8453 0,'40'0'31,"-27"0"-31,14 0 16,-1 0-16,1 0 0,12-13 0,14 13 15,0 0-15,-13-13 0,13 13 0,0-13 16,0 13-16,-1-13 0,-12 13 16,13-14-16,26 1 0,-26 0 15,-13 13-15,0-13 0,-1-1 0,1 1 16,-13 13-16,-1-13 0,1 13 16,-1-13-16,-13-1 0,14 14 15,-14-13-15,13 0 0,-12 0 0,25-14 16,-26 14-16,1 0 0,12-14 15,-26 14-15,13-13 16,1 12-16,-14 1 0,0 0 16,0 0-16,0 0 0,-14-1 0,14 1 15,-13 0-15,0 0 0,0-1 16,-1-12-16,1 13 0,-13 0 0,13-14 16,-14 14-16,1 0 0,-1-14 0,1 14 15,-1 0-15,1-1 0,-1 1 0,1 0 16,-1 0-16,1 0 0,-14 13 15,1-14-15,-1 1 0,0 13 0,1-13 16,-54 13-16,53-13 0,-13 13 16,27 0-16,-14 0 15,-13 0-15,14 13 0,-14-13 0,13 0 16,-13 13-16,0-13 0,13 13 0,-12 1 16,-1-14-16,13 13 0,-13 0 0,0 0 15,13 0-15,1 1 0,-14 12 16,13-13-16,0 1 0,1 12 0,12-13 15,-12 14-15,-14 12 0,26-25 16,1 12-16,-1 1 0,14-1 16,0-13-16,13 14 0,-13-14 0,-1 13 15,14 1-15,0-14 0,0 14 16,14 25-16,-14-38 0,13 25 0,0-12 16,14-1-16,-14 1 15,40 12-15,-27-25 0,1-1 16,12 0-16,-12 0 0,12 1 0,1-14 15,0 13-15,0-13 0,-14 0 16,14 0-16,-14 0 0,1 0 0,-1 0 16,14-13-16,-27 13 0,13 0 0,1-14 15,-14 14-15,14-13 0,-14 13 16,0 0-16,-13-13 16,13 13-16</inkml:trace>
  <inkml:trace contextRef="#ctx0" brushRef="#br1" timeOffset="-55546.72">8903 8453 0,'-13'0'16,"0"0"-16,0 0 16,-1 0-16,-12 0 0,13 0 15,-14 14-15,1-14 0,-1 0 0,-26 0 16,14 0-16,-14 13 0,-27-13 16,54 0-16,-1 13 15,-12-13-15,12 0 0,1 13 0,-1-13 16,1 0-16,-27 14 0,40-14 15,0 0-15,-1 0 0,1 13 16,0-13-16,0 0 0,-1 0 0,14 13 16,-13-13-16,0 0 0,13 13 15</inkml:trace>
  <inkml:trace contextRef="#ctx0" brushRef="#br1" timeOffset="-55235.95">8229 8401 0,'-53'13'31,"39"0"-31,14 0 0,-13-13 16,0 13-16,0 1 0,-1-1 16,14 0-16,-13 0 0,0 1 15,13-1-15,0 0 16,0 0-16,0 0 0,0 1 16,13-14-16,-13 13 0,13 0 15,1-13-15,-14 13 0,132 1 47</inkml:trace>
  <inkml:trace contextRef="#ctx0" brushRef="#br1" timeOffset="-46559.27">741 8916 0,'13'-13'31,"0"26"-15,-13 1-16,0-1 15,14 13-15,-1 14 0,0 0 0,-13-1 16,13 14-16,0 14 0,1-1 0,-1 0 16,-13 0-16,13-13 0,0 13 15,1-13-15,-14-13 0,13 13 16,-13-27-16,13 14 0,0-1 0,-13-12 15,13-1-15,-13-13 0,0 14 0,14-14 16,-14 0-16,0 1 0,0-1 16,13 0-16,-13 0 0,0 1 15</inkml:trace>
  <inkml:trace contextRef="#ctx0" brushRef="#br1" timeOffset="-43828.4">9274 9671 0,'-14'0'0,"28"0"0,12 0 31,-13 0-31,1 0 0,12 0 16,14-14-16,-1 14 0,1-13 16,13 13-16,13-13 0,0 0 0,14-1 15,-14 1-15,13 13 0,-13-13 0,0 0 16,14-1-16,-14 14 0,0-13 15,0 0-15,-13 13 0,0 0 16,0-13-16,-13 13 0,13-13 0,-27 13 0,1 0 16,-1 0-16,0 0 0,-12 0 15,12 0-15,-13 0 0,1 0 16,-14-14-16,13 14 0,0 0 16,-39 14 15,-1-14-31,14 13 0,-14-13 15,1 13-15,0-13 0,-14 13 0,-13-13 16,13 13-16,1 1 0,-14-1 16,13-13-16,-13 13 0,13 0 0,-13 1 0,-13-14 15,13 13-15,14 0 0,-14 0 0,0-13 16,13 14-16,-13-1 0,14-13 16,-1 13-16,0 0 0,14-13 15,-14 13-15,14-13 0,12 0 0,-12 0 16,13 14-16,-14-14 0,14 0 15,0 0-15,0 0 16,52-14 0,-26 14-1,14 0-15,-1 0 0,14-13 0,13 13 16,-13-13-16,13 13 0,-1-13 16,1 13-16,0 0 0,0 0 0,0-13 15,13 13-15,-13 0 0,0-14 16,0 14-16,-13 0 0,13 0 0,0 0 15,-27-13-15,14 13 0,-14 0 0,1 0 16,-1 0-16,1 0 0,-14 0 16,13-13-16,-13 13 0,1 0 0,-1 0 15,0 0-15,0 0 0,1 0 16,-1 0 0,0 0-16,0 0 15,1 0 1,-1 0 15,0 0 32,0-13-1,0 13-31</inkml:trace>
</inkml:ink>
</file>

<file path=ppt/ink/ink15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57:56.111"/>
    </inkml:context>
    <inkml:brush xml:id="br0">
      <inkml:brushProperty name="width" value="0.05292" units="cm"/>
      <inkml:brushProperty name="height" value="0.05292" units="cm"/>
      <inkml:brushProperty name="color" value="#92D050"/>
    </inkml:brush>
    <inkml:brush xml:id="br1">
      <inkml:brushProperty name="width" value="0.05292" units="cm"/>
      <inkml:brushProperty name="height" value="0.05292" units="cm"/>
      <inkml:brushProperty name="color" value="#0070C0"/>
    </inkml:brush>
  </inkml:definitions>
  <inkml:trace contextRef="#ctx0" brushRef="#br0">10014 2686 0,'0'-14'31</inkml:trace>
  <inkml:trace contextRef="#ctx0" brushRef="#br0" timeOffset="341.02">10636 2540 0</inkml:trace>
  <inkml:trace contextRef="#ctx0" brushRef="#br0" timeOffset="667.92">11192 2447 0</inkml:trace>
  <inkml:trace contextRef="#ctx0" brushRef="#br0" timeOffset="1235.99">13018 2342 0</inkml:trace>
  <inkml:trace contextRef="#ctx0" brushRef="#br0" timeOffset="1923.78">15094 2302 0</inkml:trace>
  <inkml:trace contextRef="#ctx0" brushRef="#br0" timeOffset="9491.4">9684 1879 0,'0'26'31,"0"14"-15,13-14-16,-13 14 0,0 0 15,13 12-15,-13-12 0,13 26 16,1-26-16,-14 13 0,13 0 0,-13-14 16,13 1-16,0 13 0,-13-13 0,14-1 15,-14-12-15,13-1 0,-13 1 16,13-1-16,-13-12 0,0 12 0,13-13 15,-13 0-15,0 1 0,0-1 16</inkml:trace>
  <inkml:trace contextRef="#ctx0" brushRef="#br0" timeOffset="11568.89">9657 1892 0,'40'-13'31,"-27"13"-31,14 0 0,-14-14 16,13 14-16,1 0 0,12-13 16,1 13-16,0-13 0,13 0 0,-14 13 15,14-14-15,14 1 0,-1 0 0,0 0 16,0-14-16,13 14 0,-12 0 16,12 0-16,0-14 0,1 14 0,-1 0 15,14-1-15,-1 1 0,-12-13 0,12 13 16,1-1-16,-1 1 0,1 13 15,0-13-15,-1 0 0,27-1 0,-26 1 16,-1 0-16,1 0 0,26-14 0,-26 27 16,26-26-16,-27 26 15,1-13-15,13-1 0,0 1 0,0 0 16,-1-14-16,-12 27 0,0-13 0,-1 0 16,1 0-16,-14-1 0,14 1 15,-1 13-15,1-13 0,-14 0 0,1 13 16,-1-13-16,0 13 0,1 0 0,-1-14 15,-13 14-15,14-13 0,-14 13 0,-13 0 16,13-13-16,-13 13 0,0 0 16,13 0-16,-13 0 0,0 0 0,0 0 15,0 0-15,13 0 0,-13 0 16,0 13-16,-1-13 0,1 0 0,-13 0 16,13 0-16,-13 0 0,-1 0 0,1 0 15,13 13-15,-13-13 0,-14 0 16,27 0-16,-13 0 0,13-13 15,-14 13-15,14 0 0,-13 0 0,-14 0 16,27 0-16,-13 0 0,-14 0 0,14 0 16,-13 0-16,12-13 0,-12 13 0,-1 0 15,14 0-15,-14 0 0,-12 0 16,12 0-16,0-13 0,1 13 0,-14 0 16,14 0-16,-1 0 0,-13-14 0,1 14 15,12 0-15,-13 0 0,14 0 16,-14 0-16,0 0 0,0 0 0,14 0 15,-14 0-15,0-13 0,-13 26 0,14-13 16,-1 0-16,0 0 16,0 0-16,0 14 0,1-14 15,-1 13-15,0 0 0,-13 0 16,13 1-16,-13-1 0,14 0 0,-14 13 16,13-12-16,-13 12 0,13 1 15,-13-1-15,0 14 0,0-1 0,13 1 16,-13 13-16,-13-13 0,13-1 0,0 14 15,0-13-15,0 0 0,13-1 16,-13 1-16,0 0 0,14-1 0,-14 1 16,13 0-16,-13-14 0,0 14 0,13-14 15,-13 1-15,13-1 16,-13 1-16,0-1 0,13 1 0,-13-1 16,0-13-16,14 14 0,-14-1 0,0 1 15,13-1-15,-13-13 0,0 14 16,0-14-16,0 14 0,13-14 0,-13 0 15,0 0-15,0 1 0,0-1 0,0 0 16,0 0-16,0 0 0,0 1 16,0-1-16,-13 0 0,13 0 15,-13 1-15,-1-1 16,1 0-16,0-13 16,13 13-16,-26-13 0,-1 14 15,14-1-15,-14-13 0,1 13 16,13 0-16,-14-13 0,1 13 0,-14-13 15,-13 14-15,13-14 0,-12 13 16,-1-13-16,0 0 0,0 13 0,13-13 16,-13 13-16,14-13 0,-14 0 0,13 14 15,0-14-15,1 0 0,-1 0 16,0 13-16,0-13 0,1 0 0,-14 0 16,0 0-16,-13 0 0,0 0 0,-14 0 15,14 0-15,-13 13 0,-14-13 0,14 0 16,-1 0-16,14 0 15,0 0-15,13 0 0,0 0 0,0 0 0,14 0 16,-1 0-16,0 0 0,1 0 16,12 0-16,-13 0 0,1 13 15,-1-13-15,0 0 0,-12 0 0,-1 0 16,0 0-16,0 0 0,0 14 0,0-14 16,0 0-16,0 0 0,0 13 15,27-13-15,-14 0 0,14 0 0,-1 0 16,-13 13-16,14-13 0,-1 0 0,1 0 15,0 0-15,-1 0 0,1 0 16,-14 0-16,14 0 0,-1 13 0,-13-13 16,14 0-16,-14 0 0,-13 0 15,14 0-15,-14 0 0,0 0 0,0 0 16,0 0-16,0 0 0,0 0 16,-13 13-16,13-13 0,0 0 0,0 0 15,0 0-15,14 0 0,-14 0 0,0 0 16,13 0-16,-13 0 0,0 0 15,0 0-15,0 0 0,14 14 0,-14-14 16,0 0-16,0 0 0,13 0 0,-13 0 16,0 0-16,1 13 0,12-13 15,0 0-15,1 0 0,-1 0 16,13 0-16,1 0 0,-1 0 0,1 0 16,0 0-16,-1 0 0,1 0 0,-1 0 15,1 0-15,12 0 0,-12 0 16,0 0-16,-1-13 0,1 13 0,-1 0 15,14 0-15,-14 0 0,1 0 0,0 0 16,-1 0-16,14-14 0,-14 14 16,1 0-16,13 0 0,-1 0 0,-12 0 15,13-13-15,0 13 0,-1 0 0,-12 0 16,13 0-16,-1 0 0,1 0 16,-13 0-16,13 0 0,-1 0 0,-12-13 15,13 13-15,-14 0 0,14 0 0,-14 0 16,14 0-16,-13 0 0,-1 0 15,-12 0-15,25 0 16,-12 0-16,13-13 0,-14 13 0,14 0 16,0 0-16,0 0 0,-14 0 0,14 0 15,-14 0-15,14 0 0,0 0 16,-13 0-16,12 0 0,1 0 0,0 0 16,0 0-16,-1 0 0,1 0 15,0 0-15,0 0 0,-1-13 0,1 13 16,0 0-16,0 0 0,0 0 15,-1 0-15,1 0 0,0 0 16,0 0 0,-1 0-16,1-14 15,0 14 1,0 0-16,-1 0 16,1-13-16,0 13 15,0 0 1,0 0-16,-1 0 0,1 0 15,0-13 1,0 13-16,-1 0 16,1 0-16,0 0 0,-14 0 15,1 0-15,13 0 0,0 0 0,-1 0 16,-12 0-16,13-13 0,-1 13 16,1 0-16,-13 0 0,12 0 0,1 0 15,0-14-15,-27 1 0,14-13 16</inkml:trace>
  <inkml:trace contextRef="#ctx0" brushRef="#br0" timeOffset="30549.22">7871 3598 0,'-13'0'16,"53"0"15,-27-13-31,0 13 15,14 0-15,-14 0 0,0 0 0,14 0 16,-14-13-16,0 13 0,14 0 0,-14 0 16,0 0-16,0 0 0,0 0 15,1 0 1,-14 13-16,13-13 0,-13 13 0,13 1 16,-13-1-16,0 0 0,0 0 15,0 0-15,0 1 0,0 12 16,-13 1-16,13-14 0,0 13 0,0-12 15,0 12-15,-13 0 0,13 1 0,0-14 16,-14 14-16,14-14 0,0 0 16,0 0-16,0 1 0,0-1 15,0 0-15,0 0 0,0 0 0</inkml:trace>
  <inkml:trace contextRef="#ctx0" brushRef="#br0" timeOffset="30755.96">7858 3956 0,'0'0'16,"13"-14"15,1 14-31,-1 0 0,0 0 16,0 0-16,14-13 0,-14 13 15,13 0-15,-12 0 0,12-13 0,-13 13 0,14 0 16,-14 0-16,13 0 16,-12-13-16,-1 13 0,0 0 0,14 0 15</inkml:trace>
  <inkml:trace contextRef="#ctx0" brushRef="#br0" timeOffset="30911.98">8387 3850 0,'0'-14'63,"14"14"-63,-1 0 16</inkml:trace>
  <inkml:trace contextRef="#ctx0" brushRef="#br0" timeOffset="31324.12">8493 3651 0,'-13'-13'0,"26"26"0,0-26 16,14 13-16,-14 0 15,0 0-15,14-13 0,-14 26 16,13-13-16,-12 0 0,12 0 0,-13 0 16,14 13-16,-14-13 0,0 0 0,0 13 15,1 1-15,-1-1 0,0 0 16,0 0-16,-13 1 0,14-1 0,-14 0 15,0 0-15,13 1 0,-13 12 16,0-13-16,0 0 0,0 14 0,0-14 16,0 0-16,0 1 0,0 12 15,0-13-15,0 1 0,0-1 0,0 0 16,0 0-16,0 0 0,13-13 0,-13 14 16,0-1-16,13-13 0</inkml:trace>
  <inkml:trace contextRef="#ctx0" brushRef="#br0" timeOffset="31540.66">8625 3916 0,'27'-27'31,"-14"27"-31,0 0 0,1 0 0,-1-13 16,0 13-16,13-13 0,-12 13 0,12 0 15,-13-13-15,1 13 16,12 0-16,-13-14 0,1 14 0,12-13 16,-13 13-16</inkml:trace>
  <inkml:trace contextRef="#ctx0" brushRef="#br0" timeOffset="31856.57">9247 3664 0,'0'0'16,"-26"0"-16,13 0 0,-14 0 16,14 0-1,13 14-15,-13-14 0,26 13 16,-13 0-16,0 0 15,13 1-15,0-1 0,1 0 16,-1 0-16,-13 1 0,13-1 16,0 0-16,0 0 0,-13 0 15,14 1-15,-14-1 0,0 0 0,0 0 16,-14 1-16,1-1 0,0 13 0,-13-12 16,-1 12-16,-13-13 0,14 14 0,-14-14 15,1 0-15,-1 0 0,-13 14 16,0-14-16,13 0 0,-13 1 0,0-14 15,1 13-15,-1-13 0,0 0 16,13-13-16</inkml:trace>
  <inkml:trace contextRef="#ctx0" brushRef="#br0" timeOffset="54345.89">8943 3387 0,'-40'13'16,"27"0"-16,-13 14 0,-14-1 0,0 14 15,0-1-15,-12 1 0,12 0 16,-13 13-16,13-14 0,-13 1 0,14 13 16,-1-13-16,0 13 0,-13-14 0,27 14 15,-14-13-15,1-14 0,-1 14 16,0-13-16,14-1 0,-1 0 0,1 1 16,-1-1-16,1-12 0,13-1 0,-1 0 15,-12 0-15,13-13 0,0 13 16,-1-13-16,1 14 0,0-28 15,0 14-15</inkml:trace>
  <inkml:trace contextRef="#ctx0" brushRef="#br0" timeOffset="54740.43">7673 3400 0,'13'0'0,"0"0"0,1 0 16,-1 0-16,304 159 16,-237-120-1,12 14-15,1 0 0,0 0 16,-1 0-16,1 0 0,-1-13 0,1 13 15,-14-14-15,1-12 0,-14-1 0,0 1 16,0-1-16,0 1 0,-13-1 0,-13-13 16,0 0-16,-1 1 0,-12-14 15,-1 13-15,-13 0 0,1-13 0,-1 0 16,0 13-16,0-13 0,1 0 0,-1 0 16,0 0-1,-13-13 1,13 13-16,-13-13 0,13 13 15,-13-13-15,14-1 0,-1 1 16,0 0 0</inkml:trace>
  <inkml:trace contextRef="#ctx0" brushRef="#br0" timeOffset="55485.33">11192 3612 0,'13'-14'0,"-13"1"15,0 0-15,0 0 16,-13 13-16,13-14 0,0 1 0,-13 13 16,-1-13-16,1 13 15,0-13-15,0 26 0,-1-13 0,-25 13 16,12 0-16,1 1 0,-1 12 16,1 1-16,13-14 0,-14 13 15,14-13-15,13 1 0,-13-1 0,0 13 16,13-12-16,0-1 0,0 0 15,0 0-15,13-13 16,0 0-16,0 0 0,1 0 16,12 0-16,0-13 0,-12 0 0,12 0 15,1-14-15,-1 14 0,0-14 16,-12 1-16,12 0 0,-13-1 0,1 1 16,-1 12-16,0 1 0,-13 0 0,13 0 15,-13-1-15,14 14 0,-14-13 16,13 26-1,-13 1-15,0 12 0,0-13 0,0 14 16,0-1-16,0 1 0,-13 12 0,13 1 16,0-13-16,-14 12 15,14-12-15,0-1 0,0 1 0,-13-1 16,13 1-16,0-14 0,-13 0 0,13 14 16,0-14-16,0 0 0,0 0 15,0 0-15,-13 1 0,13-1 16,13 0-1</inkml:trace>
  <inkml:trace contextRef="#ctx0" brushRef="#br0" timeOffset="55741.13">11628 3823 0,'-26'13'16,"13"1"0,-14 12-16,14 1 0,-13-14 0,-1 13 15,1 1-15,-1-1 0,1 1 16,-1-1-16,1-13 0,-1 1 15,14 12-15,0-26 0,13 13 0,-13 1 16</inkml:trace>
  <inkml:trace contextRef="#ctx0" brushRef="#br0" timeOffset="55920">11774 3797 0,'13'0'0,"-26"0"0,26 13 15,-26 13 1,0-12-16,-14 12 0,1 14 16,-14 0-16,0-1 0,-12 14 0,-1-13 15,-14 26-15,1-13 16,13-13-16,0 12 0,-26 1 0,26-13 16,0 0-16,-13-1 0</inkml:trace>
  <inkml:trace contextRef="#ctx0" brushRef="#br1" timeOffset="62692.57">11589 3334 0,'-27'-13'63,"14"13"-63,0 0 15,-14-14-15,14 14 0,-13 0 16,-14 0-16,14 0 0,-27-13 16,26 13-16,-13 0 0,-12 0 0,12 0 15,0-13-15,0 13 0,1 0 0,-1 0 16,14 0-16,-14 0 0,14 0 15,-14 0-15,13 0 0,14 0 0,-13 0 16,-1 0-16,1 0 0,13 13 0,-14-13 16,14 0-16,0 13 0,-1 1 0,-12-14 15,13 26-15,-1 0 0,1 1 16,0-1-16,0 14 0,0 0 0,13-1 16,-14 1-16,14 13 0,-13 13 15,13 0-15,0 0 0,0 1 0,0-1 16,0 0-16,0 13 0,0-13 15,-13 1-15,13-1 0,0-13 0,0 0 16,0-1-16,0-12 0,0 0 0,0 0 16,0-14-16,0 0 0,0-12 15,0 12-15,0-13 0,0 1 0,0-1 16,13-13-16,0-27 16,-13 1-1,0-14-15,14 1 0,-1-1 0</inkml:trace>
  <inkml:trace contextRef="#ctx0" brushRef="#br1" timeOffset="63696.97">11192 3334 0,'40'0'32,"-27"0"-32,13 0 0,-13 0 15,27 0-15,13 0 0,-13 0 0,13-13 16,0 13-16,0 0 0,13-14 16,-13 14-16,13-13 0,-13 13 15,0 0-15,-1-13 0,1 13 0,-13 0 16,-13 0-16,12 0 0,-12 0 0,-1 0 15,1 0-15,-14 0 0,0 0 0,14 0 16,-14 13-16,0-13 0,0 13 16,0-13-16,-13 14 0,14-1 0,-1 0 15,-13 0-15,13 14 0,-13-1 16,13 1-16,-13-1 0,14 0 0,-14 14 16,13 0-16,0 0 0,-13-1 0,13 1 15,-13 13-15,13-13 0,1 12 16,-1-12-16,-13 0 0,13 13 0,0-14 15,1 1-15,-1 0 0,-13 0 0,13-1 16,0 1-16,1-14 0,-14 1 16,13-1-16,-13 1 0,13-14 0,-13 13 15,0-12-15,0-1 0,0 0 0,13 0 16,-13 1-16,-13-1 16,13 0-16,-13 0 15,0-13-15,-1 0 16,-12 0-16,13 0 0,-14 0 15,1 0-15,-1 0 0,-26 0 16,0 0-16,1 0 0,-1 0 0,-14 0 16,1 0-16,-13 0 0,0 13 0,-1-13 15,1 14-15,-1-14 0,1 13 0,0 0 16,-1 0-16,-12 1 0,12-1 16,1 0-16,0 0 0,-1 1 0,14-1 15,-13 0-15,13 0 0,13 0 16,0 1-16,13-14 0,0 13 15,1-13-15,-1 13 0,14-13 16,12 13-16,1-13 0,0 0 0,0 0 16,-1 0-16,1 14 0,0-14 15,0 0 1</inkml:trace>
  <inkml:trace contextRef="#ctx0" brushRef="#br1" timeOffset="65410.28">21934 2011 0,'-13'0'0,"13"13"31,-13-13-15,13 13-16,13 14 0,-13-1 0,0 1 16,0 12-16,0 1 0,0 13 0,0 53 15,0-40-15,0 0 16,0 0-16,0-13 0,-13 13 0,13-13 16,0-13-16,0 13 0,-14-13 0,14-1 15,0 1-15,0-14 0,0 1 0,0-14 16,0 13-16,0-12 0,0-1 15,0 0-15,0 0 0,0 1 16,14-54 0,-1 13-1,-13 14-15,0-13 0,13-1 16,-13 1-16,0-1 0</inkml:trace>
  <inkml:trace contextRef="#ctx0" brushRef="#br1" timeOffset="66105.28">21908 1826 0,'13'0'0,"-26"0"0,39 0 0,0 0 0,1 0 16,-1 0-16,27 0 0,0-14 15,13 14-15,27 0 0,-14 0 0,1-13 16,12 13-16,1-13 0,-1 13 0,14 0 16,0-13-16,-13 13 0,13 0 15,-14 0-15,14 0 0,-13-14 16,-14 14-16,0 0 0,1 0 0,-14 0 15,-13 0-15,0 0 0,-14 0 0,1 0 16,0 0-16,-14 14 0,1-14 16,-14 0-16,13 0 0,-12 0 0,-1 0 15,0 0-15,0 0 0,1 0 0,-1 0 16,0 13-16,0 0 16,-13 0-16,13 1 0,-13-1 15,14 0-15,-14 0 0,13 14 0,-13-14 16,0 13-16,13-12 0,-13 12 15,0 1-15,13 12 0,-13 1 0,0-14 16,14 14-16,-14 0 0,0-1 0,13 14 16,0-13-16,0 0 15,1 13-15,-1 0 0,0-14 0,13 14 16,-12-13-16,-1-14 0,13 14 0,-12 0 16,12-14-16,-13 1 0,1-1 0,-1-13 15,0 14-15,-13-14 0,13 0 16,-13 1-16,0-1 0,13 0 0,-26 0 15,13 0-15,-13-13 0,-13 14 16,-14-1-16,-13-13 0,-13 13 16,-14 0-16,1-13 0,-27 14 0,-13-14 15,-13 13-15,0 0 0,-14-13 0,14 13 16,-1-13-16,-12 13 0,13 1 16,-1-14-16,41 0 0,-14 13 0,26-13 15,1 13-15,0-13 0,26 0 16,0 0-16,13 0 0,1 0 0,12 0 15,1 0-15,12 0 0,-12 0 16,13 0-16</inkml:trace>
  <inkml:trace contextRef="#ctx0" brushRef="#br1" timeOffset="67076.82">23336 2818 0,'-26'13'31,"26"0"-31,-13 1 0,-1-14 16,1 13-16,-13 0 0,12 0 16,-12 0-16,13 1 0,-14-1 0,14 0 15,0-13-15,0 13 0,-1 1 16</inkml:trace>
  <inkml:trace contextRef="#ctx0" brushRef="#br1" timeOffset="67231.92">23416 2805 0,'13'13'16,"-13"0"-16,-13 0 15,13 1-15,-14-1 0,-12 26 0,-1-12 0,1 13 16,-14-1-16,14 1 0,-14 0 15,1-1-15,-1-12 0,0 12 16,0 1-16,14-13 0</inkml:trace>
  <inkml:trace contextRef="#ctx0" brushRef="#br1" timeOffset="70876.03">20929 3532 0,'26'0'47,"0"0"-31,-12 0-16,-1-13 0,0 13 15,0 0-15,1 0 16,-1-13-16,0 13 0,0 0 15,1 0-15,-1-14 0,0 14 16,0 0-16,0-13 16</inkml:trace>
  <inkml:trace contextRef="#ctx0" brushRef="#br1" timeOffset="71302.3">21484 3360 0,'0'-26'31,"-13"13"-31,0 13 0,-14 0 16,14 13-1,0 0-15,0 0 16,-1 0-16,14 1 16,-13-14-16,13 13 0,0 0 15,0 0-15,13-13 16,1 0 0,-1-13-16,0 13 0,0 0 15,0 0-15,1-13 16,-1 26-1,0-13-15,-13 13 16,0 1-16,13-1 0,-13 0 16,14 0-16,-14 0 0,0 1 15,13-1-15,-13 0 16,0 0-16,0 1 0,0-1 16,0 0-16,0 0 0</inkml:trace>
  <inkml:trace contextRef="#ctx0" brushRef="#br1" timeOffset="71848.56">20929 4141 0,'0'-13'16,"13"13"15,0 0-31,0 0 0,-13-14 16,13 14-16,1 0 0,-1 0 15,13 0-15,-12 0 0,-1-13 0,0 13 16,0 0-16,14 0 0,-14 0 0,0 0 15,0 0-15,14-13 0</inkml:trace>
  <inkml:trace contextRef="#ctx0" brushRef="#br1" timeOffset="72223.13">21497 3969 0,'-13'-27'0,"-13"27"32,12 0-32,1 0 0,0 14 0,0-1 15,0-13-15,13 13 0,-14 0 16,14 0 0,0 1-1,27-14 1,-14-14-16,0 1 15,0 13-15,1-13 16,-1 26 0,-13 0-1,0 1-15,0-1 0,0 0 16,0 0-16,0 1 0,0-1 16,13 0-16,-13 0 0,0 1 0,0-1 15,0 0-15,0 0 16,13-13-16,-13 13 0,0 1 15,0-1-15,0 0 0</inkml:trace>
  <inkml:trace contextRef="#ctx0" brushRef="#br1" timeOffset="72818.8">21061 4749 0,'13'-13'16,"0"13"-16,1 0 0,-1 0 0,0 0 16,0 0-16,0 0 0,1-13 15,-1 13-15,0 0 16,0 0-16,1 0 16,-1 0-16,0 0 15,0-13-15</inkml:trace>
  <inkml:trace contextRef="#ctx0" brushRef="#br1" timeOffset="73213.08">21550 4617 0,'0'-26'31,"-13"26"-31,-13 0 16,12 13-16,1-13 15,0 13-15,0-13 0,-1 13 0,14 0 16,-13-13-16,13 14 0,-13-14 16,13 13-16,0 0 0,13-13 31,14 0-31,-14-13 15,0 13-15,-13-13 0,13 13 0,1 0 16,-14-14-16,13 14 0,0-13 16,0 26-1,-13 1-15,0-1 16,0 0-16,0 0 16,0 1-16,0-1 15,-13 13-15,13 1 0,0-14 16,0 0-16,0 0 0,0 1 0,0-1 15</inkml:trace>
  <inkml:trace contextRef="#ctx0" brushRef="#br1" timeOffset="73707.89">21034 5345 0,'40'0'63,"-27"0"-63,1 0 0,-1 0 15,0 0-15,0-14 0,0 14 0,14 0 16,-14 0-16,0 0 0</inkml:trace>
  <inkml:trace contextRef="#ctx0" brushRef="#br1" timeOffset="74100.37">21550 5239 0,'-13'-13'16,"0"13"0,0 0-16,-1 0 0,1 0 15,0 13-15,0-13 16,13 13-16,-14-13 0,1 13 16,13 0-16,-13-13 0,13 14 0,0-1 15,26-13 16,-12 0-31,-1-13 0,0 13 16,0 0-16,1-14 0,-1 14 0,0-13 16,0 13-1,1 0 1,-14 13-16,0 1 16,0-1-16,0 0 0,0 0 15,0 1-15,0-1 0,0 13 16,-14-12-16,28-1 0,-14 0 15,0 0-15,0 0 0,0 1 16</inkml:trace>
  <inkml:trace contextRef="#ctx0" brushRef="#br1" timeOffset="74712.56">21008 6072 0,'40'13'31,"-27"-26"-15,0 13-16,0 0 15,1 0-15,-1 0 0,0 0 16,0 0-16,0 0 0,1 0 15,-1-13-15</inkml:trace>
  <inkml:trace contextRef="#ctx0" brushRef="#br1" timeOffset="75079.17">21537 5927 0,'-53'0'31,"40"13"-15,0-13-16,13 13 0,-14-13 15,14 13-15,-13-13 0,13 14 0,-13-1 16,26-13 0,0 0-1,14 0-15,-14-13 16,0 13-16,1-14 0,-1 14 15,0-13-15,0 13 16,1-13-16,-1 26 16,-13 0-1,0 1-15,-13-14 0,13 13 0,0 0 16,0 0-16,0 0 0,0 1 16,0-1-16,0 0 15,0 14-15,0-14 0,0 0 0,0 0 16,0 1-16</inkml:trace>
  <inkml:trace contextRef="#ctx0" brushRef="#br1" timeOffset="75584.06">21114 6628 0,'39'0'47,"-25"-13"-47,-1 13 0,0 0 16,0 0-16,1 0 0,-1 0 15,0-14-15,13 14 0,-12 0 16,-1 0-16,0 0 0,14 0 0,-14-13 15</inkml:trace>
  <inkml:trace contextRef="#ctx0" brushRef="#br1" timeOffset="75940.09">21656 6469 0,'-13'0'0,"26"0"0,-39 0 0,-1 0 16,14 13-16,0-13 16,0 14-16,-1-14 15,14 13-15,-13-13 0,13 13 16,13 0 0,1-13-1,12-13-15,-13 13 16,0-13-16,1 13 0,-1-13 15,0 13-15,0 13 32,-13 0-32,0 0 15,0 0-15,0 1 0,0-1 16,-13 0-16,13 0 0,0 1 16,0-1-16,0 13 0,13-12 0,-13-1 15,0 0-15,0 0 0,0 0 0</inkml:trace>
  <inkml:trace contextRef="#ctx0" brushRef="#br1" timeOffset="76391.98">21127 7342 0,'13'-13'31,"14"13"-16,-14-13-15,0 13 16,0 0-16,14 0 0,-14-14 0,0 14 16,14 0-16,-14-13 0,13 13 0,-12 0 15,12-13-15</inkml:trace>
  <inkml:trace contextRef="#ctx0" brushRef="#br1" timeOffset="76716.19">21577 7170 0,'-66'13'31,"52"1"-31,1-14 0,13 13 0,-13 0 16,0-13-16,13 13 0,-14-13 16,14 14-16,0-1 15,14 0-15,-1-13 16,0-13-16,0 13 15,1-13-15,-1 13 0,-13-14 16,13 14-16,0 0 0,-13-13 0,14 13 16,-1 13-1,-26 1 1,13-1-16,0 0 16,0 0-16,-14 14 0,14-14 0,0 0 15,0 0-15,-13 14 0,13-14 0,0 0 16,0 1-16,0-1 0,0 13 15,0-13-15</inkml:trace>
  <inkml:trace contextRef="#ctx0" brushRef="#br1" timeOffset="77100.55">21048 7911 0,'26'-13'31,"-13"13"-15,-13-13-16,14 13 0,-1 0 0,0 0 15,0 0-15,0-14 0,1 14 16,-1 0-16,0 0 0,0-13 0,1 13 15,12 0-15,-13 0 0,0 0 0,1 0 16</inkml:trace>
  <inkml:trace contextRef="#ctx0" brushRef="#br1" timeOffset="77447.95">21511 7752 0,'-27'0'15,"1"0"1,26 14-16,-14-14 0,1 13 16,0-13-16,13 13 0,-13-13 15,13 13-15,-13 0 16,26 1 0,0-1-16,13-26 15,-12 13-15,-1 0 16,0-14-16,0 14 0,1 0 0,-1 0 15,-13-13-15,13 13 0,0 0 16,1 13-16,-1 1 16,-13-1-16,0 0 0,0 0 15,13 14-15,-13-1 0,0 1 0,0-1 16,13 1-16,-13-1 0,0 1 16,13-14-16,-13 13 0,14 1 15,-14-14-15,13 13 0,-13-12 0,13-1 16,-13 0-16</inkml:trace>
  <inkml:trace contextRef="#ctx0" brushRef="#br1" timeOffset="79228.45">20346 3347 0,'0'-13'0,"-13"26"63,13 0-63,-13 0 0,13 1 0,0-1 16,0 13-16,-13-12 0,13 12 0,0-13 15,0 0-15,0 14 0,0-14 16,0 14-16,0-14 0,13 0 0,-13 0 15,13 1-15,-13-1 0,13 0 16,1-13-16</inkml:trace>
  <inkml:trace contextRef="#ctx0" brushRef="#br1" timeOffset="79741.5">21603 3281 0,'-13'40'31,"13"-27"-31,0 0 0,13 27 15,-13-14-15,0-13 16,0 14-16,0-14 0,0 13 16</inkml:trace>
  <inkml:trace contextRef="#ctx0" brushRef="#br1" timeOffset="80349.05">20426 3929 0,'0'-13'15,"0"39"1,0-12-16,0-1 0,0 0 0,0 13 16,0-12-16,0 12 0,0 1 15,0-1-15,0 1 0,0-1 0,0 0 16,0 1-16,0-14 0,13 14 0,0-14 15,1 0-15,-1 0 0</inkml:trace>
  <inkml:trace contextRef="#ctx0" brushRef="#br1" timeOffset="80848.08">21696 3876 0,'-13'13'16,"13"1"-16,-14 12 16,14-13-16,0 14 0,0-1 15,0 1-15,0-1 0,0 1 0,0-1 16,0 14-16,0-1 0,0-12 0,0-1 15,14 1-15,-14-1 0</inkml:trace>
  <inkml:trace contextRef="#ctx0" brushRef="#br1" timeOffset="81364.14">20413 4591 0,'13'26'16,"-13"-13"-16,0 0 0,0 133 31,0-120-31,0 1 15,0-1-15,0 1 0,13-1 0,-13-13 16,13 1-16,-13-1 16</inkml:trace>
  <inkml:trace contextRef="#ctx0" brushRef="#br1" timeOffset="81832.13">21656 4604 0,'0'39'16,"0"-25"-16,-13 39 16,26-27-16,-13-13 0,0 14 15,0-1-15,0 1 0,0-1 0,13 1 16,-13-1-16,0 0 0</inkml:trace>
  <inkml:trace contextRef="#ctx0" brushRef="#br1" timeOffset="82448.03">20333 5159 0,'13'14'16,"-13"-1"-16,0 0 0,0 0 0,0 14 16,0-14-16,0 27 0,0-14 0,0 14 15,0-14-15,0 14 0,14 0 16,-14-1-16,0 1 0,0-14 16,13 1-16,0-1 0,0-12 0,1-1 15,-1 0-15,0 0 0,0-13 0,14 0 16</inkml:trace>
  <inkml:trace contextRef="#ctx0" brushRef="#br1" timeOffset="82908.03">21669 5120 0,'0'66'31,"0"-26"-31,0-14 0,14 0 16,-14 14-16,0-27 0,0 14 0,0-1 15,13 1-15,-13-1 0,0 1 16,0-1-16,0-13 0,0 14 0</inkml:trace>
  <inkml:trace contextRef="#ctx0" brushRef="#br1" timeOffset="83496.13">20439 5821 0,'0'26'16,"0"-12"0,-13-1-16,13 13 0,0-13 0,-13 14 15,13-1-15,0 1 0,-14-1 16,14 1-16,0-1 0,-13-13 0,13 14 15,13-14-15,-13 14 0,0-14 0,14 0 16,-1 0-16,0-13 0,0 13 16,1-13-16</inkml:trace>
  <inkml:trace contextRef="#ctx0" brushRef="#br1" timeOffset="83997.06">21722 5781 0,'0'66'31,"0"-52"-31,0-1 16,0 13-16,0-13 0,0 14 0,0-1 15,-13 1-15,13-1 0,0-13 0,-13 14 16,13-1-16,0 1 0,-13-1 16,-1-12-16</inkml:trace>
  <inkml:trace contextRef="#ctx0" brushRef="#br1" timeOffset="84496.03">20254 6469 0,'0'27'15,"0"-14"-15,0 0 0,0 0 16,0 0-16,0 14 0,0-14 0,0 14 15,0-1-15,0 1 0,0-1 0,13 0 16,-13 1-16,13-14 0,1 14 0,-1-14 16</inkml:trace>
  <inkml:trace contextRef="#ctx0" brushRef="#br1" timeOffset="84980.16">21802 6403 0,'0'13'0,"-14"53"31,14-39-31,0-1 0,0 1 16,-13 12-16,13 1 0,-13-13 0,13 12 15,0-12-15,-13-1 0,13 1 0,0-1 16</inkml:trace>
  <inkml:trace contextRef="#ctx0" brushRef="#br1" timeOffset="85540.08">20280 7117 0,'14'14'31,"-14"-1"-31,0 0 0,0 0 0,0 14 16,0-1-16,0 1 0,0-1 0,0 0 16,0 14-16,0-13 0,0 12 15,13-12-15,-13-1 0,13 1 0,0-1 16,0-13-16,14 1 0,-14-14 16,14 0-16</inkml:trace>
  <inkml:trace contextRef="#ctx0" brushRef="#br1" timeOffset="85981.04">21683 6985 0,'13'0'0,"-13"13"0,0 53 32,0-39-32,0-1 0,-13 14 0,13 0 15,0-1-15,0-12 0,-14-1 16,14 14-16,0-14 0,0 1 0,0-1 15,0-12-15,0 12 0,0-13 0,-13 14 16</inkml:trace>
  <inkml:trace contextRef="#ctx0" brushRef="#br1" timeOffset="86425.86">20267 7858 0,'0'40'0,"0"-80"0,0 93 16,0-40-16,0 14 0,0-14 15,13 13-15,-13 1 0,0-1 0,0 1 16,0-1-16,14 1 0,-14-14 0,13 13 16,-13-12-16,13-1 0</inkml:trace>
  <inkml:trace contextRef="#ctx0" brushRef="#br1" timeOffset="86876.16">21736 7726 0,'13'40'0,"-13"-27"0,0 13 15,0 1-15,0-1 0,0 133 31,0-119-31,-13 65 0,13-52 16,0-13-16,-14 13 0,14 0 0,-13-13 16,13 12-16,-13-12 0</inkml:trace>
  <inkml:trace contextRef="#ctx0" brushRef="#br1" timeOffset="91224.93">8625 5080 0,'14'40'16,"-14"-27"-16,13 106 16,-13-79-16,0-1 15,0 1-15,0 0 0,0-1 0,0 14 16,0-26-16,0-1 0,13 1 16,-13-1-16,0 1 0,0-1 15,0 1-15,0-14 0,0 0 0,0 0 0,0 0 16,0 1-16,13-1 15</inkml:trace>
  <inkml:trace contextRef="#ctx0" brushRef="#br1" timeOffset="92403.93">8586 4961 0,'26'0'47,"-13"0"-47,1 0 0,-1 0 15,13 13-15,-12-13 0,12 0 16,0 0-16,1 13 0,-1-13 16,1 0-16,-1 0 0,14 14 0,0-14 15,13 0-15,-14 0 0,14 13 0,53-13 16,-53 0-16,0 0 15,0 0-15,0 13 0,0-13 0,0 0 16,-1 0-16,1 0 0,0 0 0,13 0 16,-13 0-16,0 0 0,0 0 15,0 0-15,0 0 0,0-13 0,0 13 16,0 0-16,0 0 0,0 0 0,0 0 16,-14 0-16,14 0 0,0 0 15,-13 0-15,13-13 0,-14 13 0,-12 0 16,12 0-16,-12 0 0,13 0 15,-14 0-15,1 0 0,12 0 0,-26 0 16,14-14-16,-1 14 0,1 0 16,-1 0-16,1 0 0,-14 0 15,13-13-15,1 13 0,-14 0 0,14 0 16,-1 0-16,-13 0 0,0 0 0,14-13 16,-14 13-16,0 0 0,1 0 0,-1 0 15,0 0-15,0 0 0,1 0 0,-1 0 16,0 0-16,13 0 15,-12 0-15,12-13 16,-13 13 0,1 0-16,-1 0 15,0 0-15,14 0 16,-27-14-16,13 14 0,0 0 16,0 0-16,0 0 15,1 0-15,-1 0 16,0 0-1,0 0 1,1 0 0,-14 14 15,-14-1-15,14 0-16,0 0 15,0 1 1,0-1-16,0 0 0,0 0 0,0 14 15,0-14-15,0 13 0,0-12 0,0 12 16,0 1-16,14-1 0,-14 1 0,0-1 16,13 0-16,-13 1 0,13-1 15,-13 1-15,13-1 0,-13 1 0,14-1 16,-14 1-16,13 26 0,0-27 16,-13 0-16,13 1 0,-13-1 15,13 14-15,-13-13 0,0-1 16,0-13-16,0 0 0,0 14 15,14-14-15,-14 0 0,0 1 16,0-1-16,0 0 0,0 0 0,0 1 16,0-1-16,0 0 0,0 0 15,-14-13-15,14 13 0,-13 1 16,0-14 0,0 13-16,-14-13 0,14 0 15,-53 0-15,13 13 0,0-13 16,-13 0-16,0 13 0,-14-13 15,1 14-15,-93-1 0,79 0 16,1 0-16,-1 0 0,1 1 0,-1-1 16,14 0-16,13 0 0,13-13 15,13 14-15,13-1 0,1-13 16,13 0-16</inkml:trace>
  <inkml:trace contextRef="#ctx0" brushRef="#br1" timeOffset="93400.57">14023 5239 0,'-13'-27'46,"13"14"-30,-14 13-16,14-13 0,-13 0 16,0-1-16,0 1 0,-14 0 0,14-14 15,-13 14-15,-1-13 0,1-1 0,-1 1 16,1-1-16,-1 1 16,1-14-16,-14 1 0,14 12 0,-14-13 0,0 1 15,-26-27-15,40 39 0,-14 1 16,-13-14-16,27 14 15,-40-14-15,39 13 16,14 14-16,-14 0 0,14 0 0,-13 13 16,12-14-16,1 1 0,0 0 0,0 0 15,0 13-15,13-13 0,-14-1 16,1 14-16,13-13 0,-13 13 0,0-13 16,-1 13-16,14-13 15,-13 13-15,0-14 16,0 14-1,13 14 17,0-1-17,13 0 1</inkml:trace>
  <inkml:trace contextRef="#ctx0" brushRef="#br1" timeOffset="93905.21">13044 4604 0,'0'-27'31,"0"14"-15,-13 0-16,13 0 0,0-1 16,0 1-16,-13 0 0,-1 0 0,14-14 15,-13 14-15,0-13 0,0 12 16,-1-12-16,1 13 0,0-1 15,0-12-15,-1 13 0,1-1 0,0 1 16,0-13-16,0 13 16,13-1-16,-14 14 0,28-13 31,-1 13-31,0 0 16,13 0-16,-12 13 0,12-13 0,1 14 15,-1-14-15,1 13 0,-1-13 0,14 13 16,-14 0-16,1 0 0,12 1 15,-12-14-15,-14 13 0,0-13 16,0 13-16,1-13 0,-1 0 0,0 13 16,0-13-16,-13 14 0,14-14 15</inkml:trace>
  <inkml:trace contextRef="#ctx0" brushRef="#br1" timeOffset="108625.18">23006 8493 0,'13'40'0,"-13"39"31,13-52-31,-13-1 0,0 1 0,0 12 15,0 1-15,0 0 0,0-1 16,13 1-16,-13 0 0,0-14 0,0 14 16,13-14-16,-13 1 0,0-1 0,0 1 15,0-14-15,0 13 0,0-12 16,0-1-16,14 13 0,-14-12 0,0-1 16,0 0-16,0 0 0,0 0 15,0-39 32,0 13-31,0 0-16,0-1 0</inkml:trace>
  <inkml:trace contextRef="#ctx0" brushRef="#br1" timeOffset="109079.67">23085 8546 0,'-13'-13'0,"-1"13"31,1 13-31,0-13 15,13 13-15,-13-13 0,0 13 16,13 1-16,-14-14 0,1 13 0,0 0 16,0 0-16,13 1 0,-14-1 0,1 0 15,0 0-15,13 1 0,-13-1 16,-1-13-16,14 13 0,-13 0 0,13 0 16,-13 1-16,13-1 15,-13-13 1</inkml:trace>
  <inkml:trace contextRef="#ctx0" brushRef="#br1" timeOffset="109372.86">22966 8506 0,'26'14'16,"-12"-1"-1,-1 0-15,0 0 0,0 0 16,0 1-16,1-1 0,-1 0 0,13 0 16,-12 1-16,-1-14 0,0 13 15,0 0-15,1 0 0,-1-13 0,-13 14 16,13-1-16,0-13 0,0 13 15,1-13-15,-14 13 0,13-13 16,-13 13-16,13 1 16</inkml:trace>
  <inkml:trace contextRef="#ctx0" brushRef="#br1" timeOffset="110184.49">22767 9697 0,'0'26'47,"0"-12"-31,0-1-16,0 0 16,0 0-16,14-13 15,-14-13 16,0 0-15,13 13-16,-13-13 0,0-1 16,13 14-16,-13-13 15,13 13-15,-13-13 0,14 26 16,-1-13 0,0 13-16,0 1 15,-13-1 1,13-13-16,-13 13 0,14 0 15,-1-26 17,0 13-17,-13-13-15,13 0 0,1-1 0,-1 1 16,0 0-16,0 0 16,1 13-16,-1 0 15,0 0-15,0 0 0,0 0 16,1 13-16,-1-13 15,-13 13-15,13-13 16,-13 13-16,13 1 16,-13-1-1,14 0 1,-1 0 0</inkml:trace>
  <inkml:trace contextRef="#ctx0" brushRef="#br1" timeOffset="110485.47">23217 9750 0,'40'-53'32,"-40"40"-32,0 0 0,13 13 0,-13-14 15,0 1-15,0 0 16,-13 13-1,0 13 1,-1-13-16,14 13 0,-13 1 16,0-1-16,13 0 15,0 0-15,0 0 0,-13-13 0,13 14 16,0-1-16,0 0 0,13 0 16,-13 1-1,40-1 1,-27-13-16,0 0 0,0 0 0,1 0 15,-1 0-15,13-13 0,-13 13 16,1-14-16,12 14 0</inkml:trace>
  <inkml:trace contextRef="#ctx0" brushRef="#br1" timeOffset="111226.93">23548 9657 0,'0'-13'0,"-13"0"16,-1 13 0,1 0-1,0 0 1,0 13 0,0-13-16,13 13 15,-14 1-15,14-1 16,-13-13-16,13 13 0,0 0 15,0 0 1,0 1-16,0-1 16,13 0-1,1-13 1,-1-13 0,0 13-16,0-13 15,0 13 1,-13-14-16,14 14 0,-1-13 15,0 0 1,0 13 0,-13-13-1,14 13-15,-1 13 16,0-13 0,-13 13-16,13 0 15,1 1 1,-14-1-1,13-13-15,-13 13 16,13-26 0,0 13-1,0 0-15,-13-13 16,14 13 0,-14-14-16,13 14 15,0 0 1,0-13-1,1 13-15,-1 0 32,0-13-32,0 26 31,0-13-15,-13 13-1,-13-13 1,13 14-1,-13-1-15,0 0 0</inkml:trace>
  <inkml:trace contextRef="#ctx0" brushRef="#br1" timeOffset="111549.16">22781 10028 0,'0'0'0,"39"-14"31,-25 14-31,12 0 0,27-13 16,-13 0-16,13 13 0,-1-13 0,1 13 15,14-13-15,-1-1 0,-13 1 16,-1 13-16,1-13 0,0 0 0,-13 13 15,13-14-15,-13 14 0,-14-13 0,1 13 16,-1 0-16,-13 0 0,0-13 16,1 13-16,-1 0 0,0 0 0,0 0 15,-52 26 17,12-26-32,1 14 0</inkml:trace>
  <inkml:trace contextRef="#ctx0" brushRef="#br1" timeOffset="111816.98">22886 10081 0,'0'0'16,"-39"13"-16,26-13 0,13 13 15,13 0 1,0-13-16,0 0 0,14 0 16,-1 0-16,1 0 0,26 0 15,-14 0-15,14 0 0,0-13 0,0 13 16,-13 0-16,13-13 0,-1 13 15,-12 0-15,0-13 0,-14 13 0,1 0 0,-14 0 16,13 0-16,-12 0 16,-1-14-16,0 14 0,0 0 0,1 14 15,-41-1 17,14 0-32,0-13 0,-1 0 15,1 0-15,0 0 0</inkml:trace>
  <inkml:trace contextRef="#ctx0" brushRef="#br1" timeOffset="114798.1">23349 3413 0,'14'13'0,"-14"14"16,0-14-1,0 0-15,0 0 0,0 1 16,0-1-16,0 0 0,0 14 0,0-14 16,13 13-16,-13-12 0,0 12 0,0 0 15,13 1-15,-13-1 0,0-12 16,13 12-16,-13 1 0,0-1 16,0 0-16,0 1 0,14-1 0,-14 1 15,0-1-15,0 1 0,0-1 0,0-13 16,0 14-16,13-1 0,-13 1 15,0-14-15,0 14 0,0-14 0,13 13 16,-13-13-16,0 14 0,13-14 0,-13 14 16,0-14-16,0 0 0,14 13 15,-14-12-15,13-1 0,-13 13 0,0-12 16,13-1-16,-13 0 0,0 0 0,13 14 16,-13-14-16,0 0 0,0 0 15,13 14-15,-13-14 0,0 0 0,14 14 16,-14-14-16,0 0 0,13 14 0,-13-14 15,0 0-15,13 0 0,-13 14 16,0-14-16,13 0 0,-13 14 16,0-14-16,14 0 0,-14 0 0,13 14 15,-13-14-15,13 0 0,-13 1 0,0 12 16,13-13-16,-13 1 0,0-1 16,14 13-16,-14-13 0,0 14 0,0-14 15,13 0-15,-13 14 0,0-14 0,0 14 16,0-1-16,13-13 0,-13 14 31,0 12-31,0 1 0,0-13 0,0-14 0,0 13 0,13 1 16,-13-1-16,0-13 0,0 14 15,0-1-15,0 1 0,0-14 0,0 13 16,0 1-16,0-1 0,0 1 16,0-1-16,0-13 0,0 14 0,0-1 15,0 1-15,0-1 0,0 1 16,0-1-16,0-13 0,0 14 0,0-1 15,0 1-15,0-1 0,0 1 0,0-1 16,0 1-16,0-14 0,13 13 16,-13 1-16,0-1 0,0-13 0,0 14 15,0-14-15,0 14 0,0-1 0,14 1 16,-14-1-16,0 0 0,0-12 0,0 12 16,13 1-16,-13-1 15,0 1-15,0-1 0,0 0 0,13 1 16,-13-1-16,0 1 0,0-1 0,13 14 15,-13 0-15,14-14 0,-14 14 16,13-14-16,-13 1 0,13-1 0,-13 14 16,0-14-16,13 1 0,-13-1 0,13 14 15,-13 0-15,14-1 0,-14 1 16,13-14-16,-13 14 0,0 0 0,0 0 16,13-1-16,-13 1 0,0 0 0,0-1 15,13 1-15,-13 0 0,0 13 0,0-14 16,0 14-16,14 0 15,-14-13-15,0 13 0,0 0 0,13-14 16,-13 1-16,0 0 0,0-1 0,0-12 16,0-1-16,0-12 0,0-1 15,0 0-15,0 0 0,-13-52 16,13-1 0,-14-26-16,1 0 0</inkml:trace>
  <inkml:trace contextRef="#ctx0" brushRef="#br1" timeOffset="116149.11">22490 3559 0,'0'39'47,"0"-25"-32,0 12-15,-14 0 0,14 14 0,0 0 16,0 13-16,-13-14 0,13 14 15,0-13-15,0 13 0,-13 0 0,13-13 16,0 13-16,0-1 0,0-12 0,0 13 16,0 0-16,0-13 0,0 13 15,13-14-15,-13 14 0,0 0 0,0-13 16,13 13-16,-13-14 0,0 14 0,14-13 16,-14 13-16,0 0 0,0 0 15,0 0-15,0-14 0,0 14 16,13 0-16,-13-13 0,0 13 0,0-14 15,13 1-15,-13 0 0,0 0 0,0-1 16,13 1-16,-13 0 0,0-1 16,0 1-16,13 0 0,-13-14 0,0 1 15,0-1-15,14 0 0,-14 14 0,0-13 16,0-1-16,0 1 0,0-1 16,0 0-16,0 14 0,-14-13 0,14-1 15,0 14-15,0-14 0,-13 1 0,13-1 16,0 1-16,0-1 0,-13 0 15,13 1-15,0-1 0,0-12 0,0 12 16,0 1-16,0-14 0,0 13 16,-13 1-16,13-1 0,0 1 15,0-1-15,0 1 0,-13-14 0,13 13 16,0 1-16,0-1 0,0 1 0,-14-1 16,14 1-16,0-1 0,0 0 15,-13 1-15,13-1 0,0 1 0,-13-1 16,13 1-16,0-1 0,0 1 15,-13-1-15,13 1 0,0-1 0,0-13 16,0 0-16,0 14 0,-14-14 16,14 0-16,0 1 0,0 12 0,0-13 15,0 1-15,0-1 0,0 0 16,0 0-16,0 0 0,0 1 16,0-1-16,0 0 0,0 0 0,0 1 15,0-1-15,0 0 0,0 0 0,0 14 16,0-14-16,0 0 0,0 0 15,0 1-15,0-1 0,0 0 0,0 0 16,0 1-16,0-1 0,0 0 16,0 0-16,-13 0 15,13 1-15,0 12 0,0-13 16,0 1-16,0-1 0,0 0 0,0 0 0,0 1 16,0-1-16,0 0 0,0 0 15,0 0-15,0 1 0,0-1 16,0 0-16,0 0 0,0 1 15,0-1-15,0 0 16,0 0 0,13-39-1,-13 13-15</inkml:trace>
  <inkml:trace contextRef="#ctx0" brushRef="#br1" timeOffset="117449.07">19883 11060 0,'0'0'0,"0"-14"0,14 14 16,-28 27 15,14-14-31,-13 13 15,13-12-15,-13 25 0,13 1 16,-13-13-16,13 12 0,-13-12 16,13-1-16,0 1 0,0-1 0,0-13 15,13 14-15,-13-14 0,0 13 16,13-12-16,-13-1 0,13 0 0,0 0 16,1-13-16,-1 14 0,0-14 15,0 0-15,1 0 0,-1 0 16,0-14-16,0 1 15,-13 0-15,0 0 0,0-1 16,0 1-16,0 0 16,-13 13-16,13-13 0,-13 13 0,0-13 15,-1 13-15,1 0 0,13-14 16,-26 14-16,12 0 16,14 14-16,-26-14 15</inkml:trace>
  <inkml:trace contextRef="#ctx0" brushRef="#br1" timeOffset="117659.97">20148 11099 0,'0'-13'0,"13"0"31,-13 39-15,13-13-16,-13 1 15,0 12-15,0-13 0,0 1 16,0 12-16,0-13 0,0 14 0,0-14 16,0 0-16,0 0 0,0 14 15,0-14-15,0 0 0,0 1 0,14-1 16,-14 0-16</inkml:trace>
  <inkml:trace contextRef="#ctx0" brushRef="#br1" timeOffset="117847.97">20029 11271 0,'-13'0'0,"26"0"0,-13-13 32,13 13-32,0 0 0,1-13 15,12 13-15,-13 0 0,1 0 16,12-13-16,0 13 0,1 0 15,-1 0-15,-12-14 0,12 14 0,1 0 16</inkml:trace>
  <inkml:trace contextRef="#ctx0" brushRef="#br1" timeOffset="118276.6">20532 11139 0,'13'0'0,"0"0"15,-13 26 1,-13-12-1,13-1-15,0 0 16,0 0 0,13-13-16,0 0 0,1 14 15,-1-1-15,0-13 0,0 0 16,1 13-16,-1-13 16,0 13-16,0 0 0,-13 1 15,-13-1 1,13 0-16,-13 0 0,0-13 15,13 14-15,-14-14 0,1 13 16,0-13-16,0 13 0,-1-13 16,1 0-16,0 0 15</inkml:trace>
  <inkml:trace contextRef="#ctx0" brushRef="#br1" timeOffset="118527.71">20889 11086 0,'13'13'15,"-13"0"1,0 1-16,0-1 0,-13 0 15,26 0-15,-26 1 0,26 12 16,-13-13-16,-13 1 0,26-1 0,-13 0 16,0 0-16,0 0 0,0 1 0,0-1 15,0 0 1</inkml:trace>
  <inkml:trace contextRef="#ctx0" brushRef="#br1" timeOffset="118712.36">20757 11232 0,'0'0'0,"13"-14"16,0 14-16,0-13 16,0 13-16,14-13 0,-14 13 0,14-13 15,-1 13-15,1-14 0,-1 14 0,14 0 16,-14-13-16,1 13 0,12 0 15</inkml:trace>
</inkml:ink>
</file>

<file path=ppt/ink/ink15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3:00:02.083"/>
    </inkml:context>
    <inkml:brush xml:id="br0">
      <inkml:brushProperty name="width" value="0.05292" units="cm"/>
      <inkml:brushProperty name="height" value="0.05292" units="cm"/>
      <inkml:brushProperty name="color" value="#0070C0"/>
    </inkml:brush>
  </inkml:definitions>
  <inkml:trace contextRef="#ctx0" brushRef="#br0">16589 3823 0,'0'40'141,"40"92"-141,-13 14 16,-14-27-16,0-27 15,0 1-15,-13 13 16,13 0 0,-13-40-16,0 13 0,0-13 15,0-39-15,0-1 16,0-13-1,0 1 1</inkml:trace>
  <inkml:trace contextRef="#ctx0" brushRef="#br0" timeOffset="1343.73">16484 3784 0,'39'0'157,"14"0"-157,27 0 15,52 0-15,-26 0 16,13 13-16,13-13 0,-13 0 16,79 0-1,-92-13-15,13-1 16,14 1-16,-27 0 15,-14 0-15,-26 13 16,14-14-16,-41 14 16,27-13-16,27 0 15,-40 13-15,0-13 16,-27 13-16,1 0 16,-1 79 124,-12-13-124,-1 14-16,13-27 15,-13 39-15,27 54 16,-13-41-16,-1-12 16,0-14-16,-12-39 15,12 13-15,-26-26 16,27 12-16,-14-12 16,-13-1-1,26 1-15,-26-14 0,0 0 16,14-13-1,-14 13-15,-14 0 141,-65 14-141,0-1 0,-14-12 16,0-1-1,-26 13-15,-132-26 16,66 0-16,-14 0 16,27 0-16,-13 0 15,-27 0-15,54 0 16,-27 0-16,52 0 15,1 0-15,26 0 16,53 0-16,40 0 16,0 0-16</inkml:trace>
  <inkml:trace contextRef="#ctx0" brushRef="#br0" timeOffset="4080.57">15531 3850 0,'0'26'79,"0"-13"-64,0 1 1,0-1-1,0 0 1,0 0 0,0 1-16,-13-1 15,13 0-15,0 0 16,13-13 0,-13 13-16,-13 1 15,13-1-15,0 0 16,0 0-1,0 1-15,13-14 16,-13 13-16,0 0 16,0 0-16,0 1 31,0-1-15,0 0-1,0 0 1,0 0-1,0 1 1,0-1 0,0 0-1,0 0 17,0 1-17,0-1 32,13-13-31,-13 13-1,0 0 1,0 0 15,0 1 0,0-1 16,0 0-31,0 0 31,0 1-32,0-1 17,0 0-17,0 0-15,0 1 32,0-1-32,0 0 15,0 0-15,0 0 16,0 1-16,0-1 0,0 0 15,14 14-15,-14-1 0,0 14 0,0-1 16,0 1-16,0 13 0,-14 0 0,14 13 16,0 0-16,0 0 0,0 14 15,-13-1-15,13-13 0,0 0 0,-13 14 16,13-1-16,0 1 0,-13-14 16,13 13-16,-14 0 0,14-12 0,0-1 0</inkml:trace>
  <inkml:trace contextRef="#ctx0" brushRef="#br0" timeOffset="9199.85">2990 6403 0,'13'13'32,"0"0"-32,14-13 0,-1 0 0,27 14 15,0-14-15,13 13 0,0-13 16,-13 0-16,27 13 0,-28-13 15,15 0-15,-1 0 0,0 0 0,13 0 16,-26 0-16,0 0 0,0 0 0,0-13 16,-13 13-16,-1 0 0,-12 0 0,-14 0 15,14 0-15,-14 0 0,0 0 16,0 0-16</inkml:trace>
  <inkml:trace contextRef="#ctx0" brushRef="#br0" timeOffset="9476.7">3096 6668 0,'-40'13'0,"80"-26"0,-93 39 16,92-26 0,-12 0-16,-1 0 15,27-13-15,13 13 0,14-13 0,-1-1 16,14 14-16,-14-13 0,14 0 15,-1 0-15,1 13 0,-14-14 0,1 14 16,-1-13-16,0 13 0,-26 0 0,0-13 16,0 13-16,-13 0 0,-14 0 0,1 0 15,-1 0-15,-13 0 16,1 0-16,-1 0 0,0 0 0,0 0 16,1 13-16</inkml:trace>
  <inkml:trace contextRef="#ctx0" brushRef="#br0" timeOffset="11005.63">6694 5675 0,'-13'-13'15,"26"26"-15,-39-26 0,39 40 16,-13-14 0,0 26-16,0 1 0,0 26 0,13 0 15,-13 1-15,0 12 0,0 0 0,0-13 16,0 14-16,-13-1 16,13-13-16,0 1 0,0-15 0,0 1 15,13-13-15,-13 0 0,0-1 0,13 1 16,-13-13-16,0-14 0,13 13 15,-13-13-15,0 1 0</inkml:trace>
  <inkml:trace contextRef="#ctx0" brushRef="#br0" timeOffset="11976.34">6853 5398 0,'39'0'0,"-12"0"0,145 13 31,-93-13-31,-13 13 0,14-13 0,12 0 15,1 0-15,13 0 0,39 0 0,1 0 16,-1 0-16,14 0 0,0-13 16,13 13-16,0-13 0,13 13 0,-13 0 15,13-14-15,0 14 0,1-13 0,12 13 16,-13 0-16,0-13 0,-13 13 16,14 0-16,-14 0 0,0 13 0,-14-13 15,14 0-15,-13 13 0,0 1 0,-14-1 16,14 0-16,-13 0 0,-14-13 15,13 13-15,-12 1 0,-1-1 0,-39-13 16,12 13-16,1-13 0,-13 0 0,0 13 16,-1-13-16,-13 0 0,14 0 0,-27 14 15,0-14-15,-13 0 0,0 0 16,0 0-16,-13 0 0,-14 0 0,14 0 16,-14 0-16,1 0 0,-1 0 15,1 0-15,-1 0 0,-13-14 16,14 14-16,-14 0 0,0 0 0,1 0 15,-1-13-15,13 13 0,-12 0 0,-1 0 16,13-13-16,-13 13 0,1 0 16,-1 0-16,0 0 0,0-13 15,14 13-15,-14 0 16,0 0-16,1 0 16,-1 0-1,0 0-15,0 13 0,0-13 16,1 13-16,-1 0 15,0 1-15,-13-1 16,13 0-16,1 0 0,-1 14 0,13-14 16,-12 0-16,-1 14 0,13-14 0,-13 13 15,1-12-15,-1-1 0,0 13 0,0-13 16,14 1-16,-14-1 0,0 0 16,0 14-16,-13-14 0,14 0 0,-1 27 15,0-14-15,-13-13 0,0 14 16,13-1-16,-13 1 0,0-1 15,0 1-15,-13-1 0,13 1 0,0-1 16,0 1-16,-13-1 0,13 0 16,0-12-16,0 12 0,-13 1 0,13-14 15,-14 0-15,14 14 0,0-14 16,-13 0-16,0 0 0,13 0 0,-13 1 16,0-1-16,-1-13 0,1 13 0,-13 0 15,12-13-15,-12 14 0,-14-14 16,1 0-16,-28 13 0,15-13 15,-28 0-15,1 0 0,-14 0 0,-13 0 16,-26-13-16,-13 13 0,-14 0 0,0 0 16,-13 0-16,0 0 0,-26 0 0,-1 0 15,-12 13-15,-67 0 0,0 14 16,0-14-16,-13 13 0,13 1 0,0 12 16,1-12-16,-1 13 0,-13-1 15,0 1-15,0 0 0,13-1 0,-13 1 16,13 0-16</inkml:trace>
  <inkml:trace contextRef="#ctx0" brushRef="#br0" timeOffset="21598.78">9842 9631 0,'0'-27'16,"-13"27"-16,13-13 0,-13 26 47,13 1-47,0 12 0,0 1 0,0 12 15,0 1-15,0 13 0,0 0 16,0 0-16,0 0 0,0-1 0,0-12 16,0 13-16,0-13 0,0-1 0,0 1 15,13 0-15,-13-14 0,0 1 16,0-14-16,13 13 0,-13-12 0,0-1 16,14-13-16,-14-13 31</inkml:trace>
  <inkml:trace contextRef="#ctx0" brushRef="#br0" timeOffset="23532.83">9684 9485 0,'13'0'16,"-26"0"-16,39-13 0,-13 13 0,1 0 0,-1 0 15,13-13-15,1 13 0,12 0 16,1 0-16,0-13 0,13 13 0,0 0 16,0-14-16,13 14 0,0-13 15,13 13-15,1-13 0,-1 13 0,0-13 16,14 13-16,0-14 0,-1 1 0,1 13 15,-1-13-15,14 13 0,-13-13 16,238 0-16,-199 13 16,-26-14-16,26 14 0,-26 0 0,26-13 15,0 13-15,-13 0 0,-13 0 16,27-13-16,-1 13 0,0 0 16,1-13-16,-28 13 0,1 0 0,0 0 15,26-14-15,1 14 0,-14 0 0,0 0 16,-13-13-16,-1 13 0,28 0 15,-1-13-15,-26 13 0,0 0 0,26-13 16,-26 13-16,0 0 0,-1 0 0,1 0 16,0-13-16,13 13 0,-13 0 15,0 0-15,0-14 0,-1 14 0,-12 0 16,13 0-16,-13 0 0,12-13 0,-12 13 16,0 0-16,12 0 0,-12 0 15,0-13-15,-1 13 0,1 0 0,-14 0 16,14-13-16,-1 13 0,-12 0 15,-1 0-15,14 0 0,-14 0 16,0 0-16,-12 0 0,12 0 0,-13 0 16,0 0-16,-13 0 0,27 0 0,-27 0 15,13 0-15,-13 0 0,13 0 0,-13 0 16,13 0-16,-13 0 0,13 0 16,-13 0-16,0 0 0,0 0 0,0 0 15,-1 0-15,1 0 0,13 0 0,-13 0 16,-13 0-16,13 0 0,0 0 15,0 0-15,-13 0 0,-1 0 16,-12 0-16,12 0 0,-12 0 0,13 0 16,-14 0-16,0 0 0,-12 0 15,-1 0-15,13 0 0,-12 0 0,-1 0 16,0 0-16,0 0 0,1 0 16,-1 0-16,0 0 15,0 0-15,-13 13 16,13-13-16,-13 13 15,0 0-15,0 1 0,0-1 16,0 13-16,0-13 0,0 14 16,0-1-16,0 14 0,0 0 0,0-1 15,0-12-15,0-1 0,0 14 16,0 0-16,0-14 0,0 1 16,0 12-16,0-12 0,14-1 0,-14 1 15,0-1-15,0 1 0,0-1 0,13 0 16,-13-12-16,0 12 0,0-13 15,0 14-15,13-14 0,-13 0 0,0 1 16,0-1-16,0 0 0,0 0 0,13 0 16,-13 1-16,0-1 15,0 13 1,-13-26-16,13 14 0,-13-1 16,0 0-16,-1-13 15,1 13-15,0-13 0,-13 14 16,-1-14-16,-13 13 0,1 0 0,-1 0 15,-13-13-15,13 13 0,-13-13 0,1 14 16,-1-1-16,0-13 0,-13 13 16,-1 0-16,1-13 0,-13 14 0,13-14 15,-14 13-15,1 0 0,0-13 0,-1 13 16,-12-13-16,12 14 0,-12-14 16,12 13-16,-12-13 0,-1 13 15,14-13-15,-27 13 0,13-13 0,1 0 0,-1 13 16,0-13-16,1 0 15,-14 0-15,13 14 0,-12-14 0,12 0 16,0 0-16,-12 13 0,12-13 0,-13 0 0,0 0 16,14 0-16,-14 13 0,13-13 15,1 0-15,-14 0 0,13 0 16,-13 13-16,14-13 0,-1 0 0,1 0 16,-1 14-16,-13-14 0,13 0 0,1 0 15,-1 0-15,14 0 0,-14 0 16,14 0-16,0 13 0,-14-13 0,0 0 15,14 0-15,0 0 0,-1 0 0,-12 0 16,25 0-16,-25 0 0,26 0 16,-27 0-16,14 0 0,13 0 15,-14 0-15,14 0 0,0 0 0,0 0 0,0 0 16,-14 0-16,14 0 0,0 0 0,0 0 16,13 0-16,-13 0 15,0 0-15,13 0 0,0 0 0,0-13 16,-13 13-16,13 0 0,0 0 0,0 0 15,-13 0-15,13 0 0,13 0 16,-13-14-16,0 14 0,0 0 0,1 0 16,12 0-16,-13 0 0,13 0 0,1 0 15,-1 0-15,-13 0 0,13 0 16,14 0-16,-27 0 0,13 0 0,1-13 16,-1 13-16,0 0 0,14 0 0,-14 0 15,-13 0-15,27 0 0,-14 0 0,13 0 16,-12 0-16,-1 0 15,14 0-15,-27 0 0,13 0 0,14 0 16,-27 0-16,13 0 0,0 0 0,-13 13 16,14-13-16,-1 0 0,14 0 15,-1 14-15,-13-14 0,14 0 0,0 0 16,-14 0-16,13 0 0,1 13 16,-1-13-16,1 0 0,13 0 0,-14 0 15,1 0-15,-1 0 0,1 0 0,13 13 16,-14-13-16,1 0 0,-1 0 0,14 0 15,-13 0-15,-1 0 0,14 0 16,0 0-16,-1 0 0,-12 0 16,13 13-16,0-13 0,-1 0 0,1 0 15,0 0-15,0 0 0,-1 0 16,-12 0-16,13 0 16,-1 0-1,1 0-15,0 0 16,0 0-1,0 0-15,-1 0 16,1 0 15,0 0-15,0 0 15,-1-13 0,14 0-31,14 0 16,-14-1-16,0 1 0,13 0 16,-13 0-16,13-1 0,0 1 0</inkml:trace>
  <inkml:trace contextRef="#ctx0" brushRef="#br0" timeOffset="26573.58">21471 2686 0,'13'-14'31,"0"14"-31,1-13 15,-1 13-15,0 0 16,0-13-16,1 13 16,-41 13 15,14 0-31,0-13 0,-1 14 16,1-14-16,-13 13 0,12-13 0,1 13 15,0-13-15,0 13 0,0-13 16,-1 13-16,14 1 15,14-1 1,-1 0-16,0-13 16,0 0-16,0 13 0,1-13 15,-1 0-15,0 0 0,0 14 16,1-14-16,-1 13 0,0 0 16,-13 0-1,-13 1 1,0-14-16,13 13 0,-14-13 0,1 13 15,0 0-15,0-13 0,-1 13 16,1 1-16,0-14 16,0 0-16,0 13 15</inkml:trace>
  <inkml:trace contextRef="#ctx0" brushRef="#br0" timeOffset="26876.79">21590 2778 0,'13'-13'0,"-13"39"31,0-12-31,13-14 16,-13 13-16,14-13 0,-1 13 15,0-13-15,0 0 0,1 13 0,-1-13 16,0 0-16,0 0 0,1 0 15,-1-13-15,0 13 0,0 0 16,0 0-16,1-13 0,-1 0 16,-13-1-16,0 1 15,-13 0-15,-1-14 16,1 14-16,0 0 0,0 13 16,13-13-16,-13 13 0,-1 0 0,1 0 15,0 0-15,0 0 16,-1 13-16,-12 0 0,13 0 0,-1 1 15,1-1-15,-13 0 0,13 14 16</inkml:trace>
  <inkml:trace contextRef="#ctx0" brushRef="#br0" timeOffset="27068.94">21365 3069 0,'13'0'15,"14"0"-15,-14 0 16,13-13-16,-12 13 0,12 0 16,1 0-16,-14-13 0,13 13 15,14 0-15,-14-14 0,-12 14 0,39 0 16,-40 0-16,0 0 0,14 0 16</inkml:trace>
  <inkml:trace contextRef="#ctx0" brushRef="#br0" timeOffset="27619.81">21392 3201 0,'52'0'31,"-25"0"-31,-1-13 0,-12 13 0,25-13 16,-12 13-16,12-13 0,1 0 15,0-1-15,0 1 0,-1 0 0,1 0 16,-14-1-16,14 1 0,-13 0 0,-14 0 16,13-1-16,-13 1 0,14 0 15,-14 0-15,0 0 0,14-27 16,-14 13-16,0 14 0,-13-13 16,13 13-16,-13-14 0,14 14 0,-14-14 15,0 14-15,0-13 0,0 12 0,-14-12 16,1 0-16,0-1 0,0 1 15,-14-1-15,14 1 0,-13-1 0,-40-26 16,39 40-16,-13-13 16,1 12-16,12 1 0,-12 0 15,-14 0-15,-27-1 0,41 14 0,-14 14 16,13-14-16,-13 13 0,13 0 16,-26 14-16,26-14 0,-12 13 15,-41 40-15,53-39 0,1 13 16,-1-1-16,0 1 0,14 0 0,-1-1 15,1 1-15,13 0 0,-1-14 16,1 14-16,13 0 0,-13-14 16,13 14-16,13-14 0,-13 1 0,0 12 15,13-12-15,14-1 0,-14 1 0,14-1 16,-1 1-16,-13-14 0,27 13 0,-27-12 16,14-14-16,-1 13 0,-13-13 15,14 0-15,-1 0 0,1 0 0,-14 0 16,13 0-16,1-13 0,39-1 15</inkml:trace>
  <inkml:trace contextRef="#ctx0" brushRef="#br0" timeOffset="28220.74">22132 2897 0,'27'0'31,"-14"0"-16,0 0-15,1 0 0,-1 0 0,13 0 16,-13-13-16,14 13 0,-1 0 0,-12 0 16,12 0-16,-13 0 0,14-13 15,-14 13-15,13 0 0,-12 0 0,-1 0 16,0-13-16,0 13 0,1 0 16,-1-14-16,0 14 0,0-13 15</inkml:trace>
  <inkml:trace contextRef="#ctx0" brushRef="#br0" timeOffset="28480.96">22344 2738 0,'27'0'15,"12"14"1,-26-14-16,14 0 0,-14 13 0,14-13 15,-14 13-15,13 0 0,-13-13 16,14 14-16,-14-1 0,0 0 0,1-13 16,-1 13-16,0 1 0,0-1 0,-13 0 15,14 0-15,-14 0 16,0 1-16,0-1 0,0 0 16,0 0-16,0 1 15,-14-14-15</inkml:trace>
  <inkml:trace contextRef="#ctx0" brushRef="#br0" timeOffset="29960.72">23006 2196 0,'0'13'31,"0"0"-16,0 1-15,0-1 0,-14 0 16,14 0 0,0 1-16,0-1 0,0 0 15,0 0 1,-13-39 31,13-1-32,13 14-15,-13 0 16,0 0-16,0-1 16,0 1-16,0 0 15,14 39 32,-1-12-31,0-14-16,0 0 31,0 0-31,1 0 16,-1 0-16,0 0 15,0-14 1,1 14 0,-1 0-16,0 0 31,0 0-16,-13 14-15,14-14 16,-14 13 0,13-13-16,0 0 15,0 13 1,0-13-16,1 0 16,-1 0-16</inkml:trace>
  <inkml:trace contextRef="#ctx0" brushRef="#br0" timeOffset="30756.79">23429 2183 0,'-13'-13'0,"-14"26"31,14 0-31,0 0 16,13 0-1,0 1 1,13-1 0,0-13-16,0-13 31,1 13-31,-14-14 15,13 1-15,-13 0 32,13 26 15,0 0-32,1-13-15,-1 0 16,0 14-16,0-28 15,0 14-15,1 0 16,-1 0-16,-13-13 0,13 13 0,0-13 16,1 0-16,-14 0 0,0-1 15,13 14-15,-13-13 0,0 0 16,0 0-16,13-1 0,-13 1 16,0 0-16,0 0 15,0 0 1,13 39 15,-13-13-15,14-13-16,-14 13 0,13-13 15,-13 14-15,13-14 0,-13 13 16,13-13-16,0 0 31,1-13-15,-14-1-16,0 1 15,13 13-15,-13-13 16,0 0 0,13 39-1,-13-13 1,0 1-16,13-1 16,-13 0-16,14 0 15,-14 1-15,0-1 0,0 0 31,0 0-31</inkml:trace>
  <inkml:trace contextRef="#ctx0" brushRef="#br0" timeOffset="31068.65">23627 2196 0,'-13'0'16,"26"0"-16,-39 0 0,13 0 16,39-26 15,-13 26-31,1-14 15,-1 14-15,0-13 0,13 13 16,-12 0-16,-1-13 0,0 13 0,0 0 16,1 0-16,-14-13 0,13 13 0,0 0 15,0-14 1,0 14-16,1 14 16,-1-14-1,0 13 1,0 0-16,-13 0 15,0 1-15,0-1 16,0 0 0,-13-13-16,13 13 0,-13 0 15,0-13-15,13 14 0,-14-14 16,1 0-16,13 13 0,-13-13 0</inkml:trace>
  <inkml:trace contextRef="#ctx0" brushRef="#br0" timeOffset="31203.54">23892 2196 0,'13'-13'16</inkml:trace>
  <inkml:trace contextRef="#ctx0" brushRef="#br0" timeOffset="31675.89">23244 2818 0</inkml:trace>
  <inkml:trace contextRef="#ctx0" brushRef="#br0" timeOffset="31854.95">23349 3069 0,'0'13'32,"-13"-13"-32,13 14 15,-13-1 1,13 0-16</inkml:trace>
  <inkml:trace contextRef="#ctx0" brushRef="#br0" timeOffset="32012.67">23402 3426 0,'0'14'15,"0"-1"1,-13 0-16,13 0 15,-13 0-15,13 1 0,0-1 16</inkml:trace>
  <inkml:trace contextRef="#ctx0" brushRef="#br0" timeOffset="32154.71">23416 3691 0,'0'13'46,"-14"0"-30,14 1-16,0-1 0,-13-13 16,13 13-16</inkml:trace>
  <inkml:trace contextRef="#ctx0" brushRef="#br0" timeOffset="32291.7">23363 3982 0,'-14'-13'47,"14"0"-47,0-1 0</inkml:trace>
  <inkml:trace contextRef="#ctx0" brushRef="#br0" timeOffset="32472.77">23244 2831 0</inkml:trace>
  <inkml:trace contextRef="#ctx0" brushRef="#br0" timeOffset="32644.14">23521 3651 0,'-13'27'15,"13"-14"-15,0 0 16,-13 0-16,13 1 0,0-1 0,0 0 16</inkml:trace>
  <inkml:trace contextRef="#ctx0" brushRef="#br0" timeOffset="32799.78">23667 4141 0</inkml:trace>
  <inkml:trace contextRef="#ctx0" brushRef="#br0" timeOffset="39019.91">23045 926 0,'0'13'16,"0"0"-16,0 1 15,0-1-15,0 0 0,0 0 16,0 1-16,0-1 0,13 13 0,-13-12 15,0-1-15,0 13 0,0-13 16,0 1-16,0-1 0,14 0 0,-14 0 16</inkml:trace>
  <inkml:trace contextRef="#ctx0" brushRef="#br0" timeOffset="39368.68">23270 979 0,'0'-13'16,"-13"39"15,26-13-15,0 1-16,1-1 15,-1-13-15,13 0 16,1 0-1,-27-13-15,13 13 16,-13-14-16,0 1 0,13 13 16,-13-13-16,0 0 15,0-1-15,-13 14 0,13-13 16,-13 13-16,13-13 0,-14 0 16,1 13-1,0 0-15,0 0 16</inkml:trace>
  <inkml:trace contextRef="#ctx0" brushRef="#br0" timeOffset="39648.99">23455 860 0,'0'13'0,"14"0"16,-1 1-1,0-14 1,-13 13-16,13-13 0,0 0 0,1 0 16,-1 0-16,0 0 0,0-13 15,1 13-15,-14-14 0,13 14 16,-13-13-16,13 13 0,-13-13 0,0 0 16,13-1-16,-13 1 0,0 0 0,0 0 15,-13 13-15,13-13 0,0-1 16,-13 1-16,-14 13 15,14 0-15,0 13 16,-14 1-16,1-1 0,0 0 16,-14 13-16</inkml:trace>
  <inkml:trace contextRef="#ctx0" brushRef="#br0" timeOffset="40216.92">23006 1468 0,'39'14'0,"-78"-28"0,105 28 0,-40-14 0,1 0 15,-14 0-15,13 0 0,14 0 16,-14 0-16,14-14 0,13 14 0,-13-13 16,13 0-16,0 0 0,-1 0 15,1-14-15,0 14 0,0-14 0,0 1 16,26-27-16,-26 27 0,-26-1 15,-1 1-15,14-1 0,-14 1 16,-12-1-16,12-12 0,-13 12 0,1 1 16,-1-1-16,0 1 0,-13 12 15,0-12-15,0 0 0,0-14 0,0 13 0,-13-12 16,0-1-16,-1 14 16,1-14-16,-13 13 0,12-12 0,-12 12 15,-14-12-15,1 12 0,-1 1 0,-13-1 16,0 1-16,13-1 0,-12 14 15,12 0-15,-13 0 0,0-1 0,0 14 16,0 0-16,-26 0 0,13 0 0,-14 14 16,14 12-16,0-13 0,0 14 15,0 12-15,13-12 0,-13 13 0,-40 52 16,53-39-16,13 0 0,-13 0 16,27 0-16,-14 0 0,14-14 15,-1 14-15,1 0 0,26 0 16,-13-13-16,13 0 0,0-1 0,0 1 15,13 0-15,0-14 0,27 27 16,-14-26-16,14 12 0,-1-12 0,14-1 16,-13-13-16,13 1 0,0-1 0,0 0 15,0-13-15,0 0 0,0 0 16,0 0-16,-14-13 0,14 13 0,-13-13 16,13-1-16,-14-12 0,14-1 15,-13 14-15,0-13 0,-14 13 0</inkml:trace>
  <inkml:trace contextRef="#ctx0" brushRef="#br0" timeOffset="41544.9">23574 5292 0,'-13'-14'15,"0"41"17,0-27-32,13 13 0,-14 14 0,14-14 15,-13 0-15,13 14 0,-13 12 16,13-12-16,0-14 0,-13 27 16,13-27-16,13 13 0,-13-13 15,0 1-15,0-1 0,13-13 16,-13 13-16,13 0 0,1 1 15,-1-14-15,0 0 0,0 0 16,1 0-16,-1 0 16,-13-14-16,13 14 0,-13-13 0,13 13 15,1-13-15,-14 0 16,0-1 0,0 1-16,-14 0 0,1 0 15,0 0-15,0 13 16,-14-14-1,1 14 1,12 0-16,14 14 16,-13-14-16</inkml:trace>
  <inkml:trace contextRef="#ctx0" brushRef="#br0" timeOffset="42380.68">23865 5371 0,'14'-13'0,"-1"0"0,0 13 32,-13-14-32,13 14 0,1 0 15,-41 0 32,14 14-47,0-14 16,-14 0-16,14 13 15,0-13-15,-1 13 0,1-13 0,-13 0 16,13 13-16,-1-13 0,14 14 0,-13-14 16,0 13-16,0 0 15,13 0 1,13-13-16,-13 13 16,13-13-16,0 0 0,1 0 15,-1 0-15,0 14 0,0-14 0,0 0 16,1 13-16,-1-13 0,0 0 15,-13 13-15,13-13 0,1 13 16,-28 1 0,14-1-16,-13-13 0,13 13 15,-13-13-15,0 13 0,-1 0 0,1-13 16,0 14-16,0-14 0,0 0 16,-1 13-16,1-13 0,0 0 15,13 13-15,-13-13 0,-1 0 0,14 13 16,-13-13-16,0 14 15,13-1-15,-13-13 0</inkml:trace>
  <inkml:trace contextRef="#ctx0" brushRef="#br0" timeOffset="43879.64">23455 5887 0,'40'-13'31,"-27"13"-31,0 0 16,1 0-16,-1 0 0,13-13 0,-12 13 15,-1 0-15,0 0 0,14-14 0,-14 14 16,13 0-16,-13 0 0,1 0 16,-1-13-16,0 13 0,14 0 0,-14 0 15,0 0-15,13-13 0,-12 13 16,-1 0-16,0 0 0,0-13 15,1 13-15,-1 0 0,0 0 16,0 0-16,14-14 0,-14 14 0,0 0 16,0 0-16,1 0 0,-14-13 0,13 13 15,0 0-15,0 0 0,1 0 16,-1-13-16,0 13 16,0-13-16,1 13 15,-14-14-15,0 1 16,13 13-16,-13-13 0,0 0 0,0 0 15,13-1-15,-13 1 0,0 0 16,0 0-16,0-1 16,0-12-16,0 13 0,0-14 0,0 1 15,0 13-15,-13-14 0,13 1 0,0-1 16,0 1-16,-13-1 0,13 14 0,0-13 16,-14-1-16,14 1 0,-13 12 15,13 1-15,0-13 0,-13 13 0,13-1 16,0 1-16,0 0 0,-13 0 0,13-1 15,0 1-15,0 0 16,-14 0-16,14-1 16,0 1-1,-13 13 1,0 0 15,0 0-15,-1 13-1,1-13-15,0 0 0,0 0 0,0 0 16,-1 0-16,1 0 0,0 14 0,-14-14 16,14 0-16,-13 0 0,12 13 15,-12-13-15,13 0 0,-14 0 0,14 13 16,-13-13-16,12 0 0,-12 0 0,0 13 16,12-13-16,1 0 0,-13 0 15,12 0-15,1 14 0,-13-14 0,12 0 16,1 0-16,0 13 0,0-13 15,0 0-15,-1 0 0,1 13 16,0-13-16,0 0 0,-1 0 0,1 0 16,13 13-16,-13-13 0,0 0 0,-1 0 15,1 14 1,0-14-16,0 13 16,0-13 15,13 13-31,0 0 15,0 0-15,0 1 16,0-1-16,0 0 0,-14 0 16,14 1-16,0 12 0,0-13 15,0 14-15,0-14 0,0 13 0,0 1 16,0-14-16,0 14 0,0-1 0,0-13 16,0 14-16,0-1 0,0-13 15,14 27-15,-14-13 0,0-14 16,0 0-16,0 0 0,0 0 15,0 1-15,0-1 16,0 0-16,0 0 16,13-13-16,-13 14 15,0-1-15,0 0 32,0 0-17,-13-13 1,13 14-1,-14-1 1,28 0 31,-1-13-47,0 0 16,0 0-1,0 0-15,1 0 0,-1 0 16,0 0-16,0 0 15,1 0-15,-1 0 16,0 0-16,0 0 16,1 0-16,-1 0 15,0 0 1,0 0 15</inkml:trace>
  <inkml:trace contextRef="#ctx0" brushRef="#br0" timeOffset="44885.28">21444 6668 0,'-13'13'15,"0"0"1,13 0-16,0 0 16,0 1-1,-13-1-15,13 0 16,0 0-1,0-52 17,13 25-17,-13 1-15,0 0 0,0 0 16,0 0-16,0-1 0,13 1 16,-13 0-16,0 0 15,13 13 1,-13 13-1,14-13-15,-14 13 16,13 0-16,0 1 16,0-14-1,-13 13-15,14-13 0,-1 0 16,0-13 0,0 13-16,1-14 0,-1 1 15,0 0-15,-13 0 16,13-1-16,0 14 15,1 0 17,-14 14-32,0-1 15,0 0-15,13-13 0,-13 13 16,0 1-16,0-1 0,0 0 16,0 0-16,0 0 0,0 1 15,0-1-15,13 0 0,-13 0 16,13-13-16,1 0 15,-1 0 1</inkml:trace>
  <inkml:trace contextRef="#ctx0" brushRef="#br0" timeOffset="45321.65">21828 6641 0,'0'-13'16,"-13"39"-1,0-12 1,13-1-16,0 0 16,0 0-16,-14 0 0,14 1 15,0-1-15,0 0 16,0-53 31,14 27-47,-14 0 15,13 0-15,-13 0 0,13-1 0,-13 1 16,13 0-16,1 0 0,-1 13 0,0-14 16,0 14-16,1-13 0,-1 13 15,0 13-15,0-13 0,0 14 16,1-14-16,-1 13 0,-13 0 16,13-13-16,-13 13 0,0 1 0,0-1 15,0 0-15,0 0 0,-13 0 16,13 1-16,-13-1 0,13 0 0,-14-13 15,1 13-15,0 1 16,0-14-16,0 13 16,-1-13-16</inkml:trace>
  <inkml:trace contextRef="#ctx0" brushRef="#br0" timeOffset="45600.2">22344 6654 0,'13'-13'15,"1"13"1,-1 0-16,0-13 0,0 13 0,0 0 16,1 0-16,-1 0 0,0 0 15,0 0-15,1 0 0,-1 0 16</inkml:trace>
  <inkml:trace contextRef="#ctx0" brushRef="#br0" timeOffset="45788.83">22371 6747 0,'0'0'16,"26"-13"15,-13 13-31,0 0 15,1-14-15,-1 14 0,0 0 16,0-13-16,1 13 16,-1 0-16,0 0 0,0 0 0,0-13 15</inkml:trace>
  <inkml:trace contextRef="#ctx0" brushRef="#br0" timeOffset="46569.43">22953 6535 0,'13'0'16,"-26"0"-16,39-13 0,1 13 15,-14 13 1,0-13-16,-13 13 0,0 1 16,0-1-16,-13 0 15,13 0-15,-13 1 16,-1-14-16,14 13 0,-13 0 0,0-13 15,13 13-15,-13-13 0,-1 14 0,14-1 16,-13-13 0,13 13-16,-13-13 15,39 0 17,-12 0-32,-1 0 15,0 0-15,0 0 16,-13-13-16,14 13 0,-1 0 15,0 0-15,-13-13 0,13 13 16,0 0-16,1-14 0,-1 14 0,13-13 0,-12 13 16,-1-13-16,0 13 0,0-13 15,1-1-15,-1 14 16,-13-13-16,13 13 0,0-13 16,-13 0-1,-13 39 16,13-13-15,13 1 0,0-1-1,1-13-15,-1 0 0,13 0 16,-12 0 0,-14-13-16,13 13 0,0 0 0,-13-14 15,13 14-15,-13-13 0,13 0 0,-13 0 16,0-1-1,0 1-15,0 0 16,-13 13-16,13-13 16,-13 13-16,-13 13 15,12-13-15,1 13 16,0 0-16,0-13 0,-14 14 0,14-1 16,0 0-16</inkml:trace>
  <inkml:trace contextRef="#ctx0" brushRef="#br0" timeOffset="47813.5">22873 6932 0,'40'0'15,"-80"0"-15,106 0 0,-52 0 0,12 0 16,1 0-16,-1 0 0,0 0 0,1 0 16,26 0-16,-13-13 0,-1 13 0,1-13 15,0 13-15,-1-14 0,1 14 16,0-13-16,-1 0 0,1 0 0,26-14 15,-39 14-15,-1 0 0,1 0 16,-14-1-16,13 1 0,1-13 16,-14 12-16,0 1 0,-13-13 15,13 13-15,-13-1 0,0 1 0,0 0 16,0-14-16,0 14 0,-13 0 16,13-14-16,-13 14 0,0 0 15,-1-13-15,1 12 0,-13 1 0,-1-13 16,14 12-16,-27-12 0,14 13 0,-1-1 15,1-12-15,-14 13 0,14 0 16,-14-1-16,0 1 0,14 0 16,-14 0-16,1-1 0,-1 1 0,0 0 15,1 0-15,12-1 0,1 14 0,-1-13 16,1 13-16,-1-13 0,1 13 16,-1-13-16,1 13 0,-14 0 0,14-13 0,-1 13 15,-12 0-15,12 0 16,-13 0-16,1 0 0,12 0 0,-52 0 15,39 0-15,1 0 0,-14 0 16,13 0-16,14 0 0,-14 0 0,13 0 16,-12 0-16,12 13 0,-26-13 15,14 0-15,-1 0 0,-13 13 0,13-13 16,-13 13-16,14-13 0,-1 13 0,0-13 16,1 14-16,-1-14 0,0 13 15,14-13-15,-1 0 0,-12 13 0,12-13 16,-12 13-16,12 1 0,-13-1 15,14-13-15,-1 13 0,1 0 16,13-13-16,-14 14 0,-12-1 0,12 0 16,14 0-16,-14 0 0,1 1 0,13-1 15,0 0-15,-14 0 0,14 1 16,-14-1-16,14 0 0,0 0 0,-13 1 16,12-1-16,1 0 0,0 0 0,0 0 15,-1 1-15,1 12 0,0-13 0,0 1 16,-1 12-16,14-13 0,-13 14 15,0-14-15,13 13 0,0-12 0,0-1 16,-13 13-16,13-12 0,13 12 0,-13-13 16,0 0-16,13 14 0,-13-14 15,13 0-15,1 14 0,-1-14 0,0 0 16,0 1-16,1 12 0,12-26 16,-13 13-16,14 0 0,-1 1 15,1-14-15,-1 13 0,14-13 0,-14 0 16,27 13-16,-13-13 0,0 0 0,12 0 15,1 0-15,0-13 0,0 13 0,-13 0 16,13 0-16,0 0 0,0-13 16,-14 13-16,1 0 0,13 0 15,-13-14-15,-1 14 0,1 0 0,0-13 16,-14 13-16,27 0 0,-26-13 16,12 13-16,-12 0 0,12 0 0,-12-13 15,-1 13-15,1 0 0,-1 0 0,1 0 0,-1 0 16,1 0-16,-14-13 0,0 13 15,0 0-15,0 0 0,14 0 16,-14 0-16,0 0 16,1 0-16,-1 0 15,0 0 1,0 0 0,1 0 15,-41-14 31,14 14-62,0 0 16,-1 0-16</inkml:trace>
  <inkml:trace contextRef="#ctx0" brushRef="#br0" timeOffset="57193.32">22635 6945 0,'27'0'31,"-14"0"-31,0 14 16,0-14-16,0 0 0,1 0 0,-1 0 15,0 0-15,0 13 0,1-13 0,12 0 16,-13 0-16,1 0 0,-1 0 15,0 0-15,-39 13 47,12-13-47,1 0 0,0 0 16,0 0-16,-14 0 0,14 0 0,0 0 16,-1 0-16,1 0 0,0 0 15,0 0-15,52 0 47,-25 0-47,-1 0 0,13 0 0,-12 0 16,-1 0-16,0 0 0,0 0 0,1 0 15,12 0 1,-52 0 31,12 0-32,1 0-15,53 0 63,-27 0-47,0 0-1,0 0 1,1 0 46</inkml:trace>
  <inkml:trace contextRef="#ctx0" brushRef="#br0" timeOffset="60904.82">21855 6747 0,'-14'26'63,"14"-12"-63,-13-1 16,13 0-16,-13 0 15,13 0-15,-13-13 16,13 14-16,-14-1 15</inkml:trace>
  <inkml:trace contextRef="#ctx0" brushRef="#br0" timeOffset="61301.8">21828 6601 0,'0'-13'16,"13"0"-16,1 13 15,-1 0 1,0-13-16,0 13 0,1 0 0,-1 0 16,0 13-16,13-13 0,-12 13 15,-1-13-15,0 13 16,14 1-16,-14 12 0,0-26 16,-13 13-16,13 14 0,-13-14 15,0 0-15,-13 0 16,13 1-16,-13-1 0,0 0 15,-1 0-15,1 1 0,0-1 0,-14 0 16,14-13-16,-13 13 0,13-13 0,-1 0 16,1 13-16,0-13 0,0 0 15,-1-13-15,1 13 0</inkml:trace>
  <inkml:trace contextRef="#ctx0" brushRef="#br0" timeOffset="62208.83">23363 5675 0,'0'-13'31,"-14"13"-15,14-13-1,-13 13-15,0 0 16,13-13-16,-13 13 16,0 0-16,-1 13 15,1-13-15,0 0 0,0 13 16,-14-13-16,14 13 0,0 1 16,-14-1-16,14 0 0,-13 13 0,-1-12 15,14 12-15,-14-13 0,14 14 16,-13-1-16,13-12 0,-1-1 15,-12 13-15,13-13 0,-1 1 16,1-1-16,13 0 0,-13-13 16,13 13-16,-13-13 0,13 14 0,-14-1 15,54-26 32</inkml:trace>
  <inkml:trace contextRef="#ctx0" brushRef="#br0" timeOffset="63340.54">23138 5583 0,'0'-14'16,"13"14"-1,0 0 1,1 0-16,-1-13 0,0 13 16,0 0-16,0 0 0,1 0 0,-1 0 15,0 0-15,0 0 0,1 0 16,-14-13-16,13 13 0,0 0 16,0 0-16,0 0 15,1 13 16,-1 0-15,-13 1 0,-13-1-16,13 0 0,0 0 15,0 1-15,0-1 0,-14 0 0,14 0 16,0 1-16,0-1 0,-13 0 16,13 0-16,0 0 0,0 1 0,0-1 15,-13-13-15,13 13 0,0 0 0,0 1 31,0-1-31,-13 0 16,13 0 15,0 1 16,0-1 31,13-40 297,0 14-359,0 13 0</inkml:trace>
  <inkml:trace contextRef="#ctx0" brushRef="#br0" timeOffset="65183.03">22542 7104 0,'-26'40'15,"26"-1"1,-13 14-16,13-26 16,0-1-16,-13 1 0,13-1 15,0 1-15,0-1 0,0 1 0,-14-1 16,14 0-16,0 1 0,0-1 15,0-12-15,0-1 0,0 13 0,0-12 0,-13-1 16,13 0-16,0 0 0,0 0 16,0 1-16,-13-14 15,13 13-15</inkml:trace>
  <inkml:trace contextRef="#ctx0" brushRef="#br0" timeOffset="65444.5">22609 7131 0,'-40'13'16,"27"0"-16,-1-13 0,1 13 15,0 0-15,0 1 0,0-1 0,-1 13 16,1-12-16,-13-1 0,12 0 16,1 13-16,0-12 0,0-1 0,0 0 15,13 0-15,-14-13 0,1 14 16,13-1 0</inkml:trace>
  <inkml:trace contextRef="#ctx0" brushRef="#br0" timeOffset="65693.57">22463 7144 0,'27'13'0,"-14"-13"16,0 13-16,0-13 15,0 0-15,1 13 0,-1 1 0,13-14 16,-12 13-16,-1 0 0,0-13 15,0 13-15,1-13 0,-1 14 16,0-1-16,0-13 0,0 13 0,1-13 16,-1 13-16,0-13 0,0 13 15,1-13 1,-1 0 0</inkml:trace>
  <inkml:trace contextRef="#ctx0" brushRef="#br0" timeOffset="67700.88">21537 8546 0,'13'-13'15,"1"13"-15,-1 0 16,0 0-16,0 0 16,-13 13-16,13-13 0,-13 13 0,0 14 15,-13-14 1,13 0-16,-13-13 15,0 13-15,13 1 0,-13-14 0,13 13 16,-14-13-16,14 13 0,-13-13 0,13 13 16,13-13-1,1 14 1,-1-14-16,0 13 0,0-13 16,0 0-16,-13 13 0,14-13 15,-14 13 1,0 0-16,0 1 15,-14-1-15,1-13 16,13 13-16,-13-13 0,0 0 16,0 13-16,-1-13 0,1 0 15,13 14-15,-13-14 0</inkml:trace>
  <inkml:trace contextRef="#ctx0" brushRef="#br0" timeOffset="68052.28">21749 8599 0,'-13'-13'32,"-1"26"-32,1-13 0,0 26 15,13-12-15,-13-1 16,13 0-16,0 0 0,0 1 0,0-1 15,13 0-15,-13 0 0,13-13 16,-13 13-16,13-13 0,1 0 16,-1 0-16,0 0 0,0 0 0,0 0 15,1 0-15,-1-13 0,0 13 0,0-13 16,-13 0-16,14 13 0,-14-13 16,0-1-16,0 1 15,0 0-15,-14 13 0,14-13 0,-13 13 16,13-14-16,-13 14 0,13-13 15,-13 13-15,-1 0 0,1 0 16,0 0-16,0 0 0,13 13 16,-13-13-16,-1 14 15</inkml:trace>
  <inkml:trace contextRef="#ctx0" brushRef="#br0" timeOffset="70264.63">21722 10544 0,'0'0'0,"0"-14"0,0 1 0,-13 0 15,0 13 1,0 0-1,-1 0-15,1 13 0,0-13 0,0 13 16,-14 1-16,14-1 0,0 0 0,0 0 16,-1 1-16,1 12 0,0-26 15,13 13-15,-13 0 0,13 1 0,0-1 16,13-13 0,0 0-16,0 0 15,1-13-15,-1 13 0,0-14 0,0 1 16,0 13-16,-13-13 0,14 13 15,-1-13-15,0 0 0,0 13 16,1 13 0,-14 0-16,0 0 15,0 0-15,0 14 0,0-14 0,-14 14 16,14-1-16,0 1 0,0-1 16,0-13-16,0 14 0,0-14 0,0 13 15,0-12-15,0-1 0,0 0 0,0 0 16,14 1-16,-1-14 15,0-14 1</inkml:trace>
  <inkml:trace contextRef="#ctx0" brushRef="#br0" timeOffset="70596.75">21762 10716 0,'0'0'0,"13"-14"0,-13 1 0,13 13 0,-13-13 15,14 13-15,-1-13 16,0 13-16,0 0 16,1 13-1,-1-13 1,-13 13-16,0 0 0,0 1 15,0-1-15,0 0 0,0 0 0,-13 14 16,13-14-16,0 13 0,-14-12 0,14 12 16,-13-13-16,13 14 0,-13-14 15,13 0-15,0 1 0,-13-1 0,13 0 16,0 0-16,0 0 0,0 1 16,0-1-1</inkml:trace>
  <inkml:trace contextRef="#ctx0" brushRef="#br0" timeOffset="70809.09">21762 10888 0,'13'-14'31,"0"14"-15,1-13-16,-1 13 0,0 0 0,0 0 15,1 0-15,-1 0 0,0-13 0,0 13 16,1 0-16,-1-13 16,13-1-16,-13 14 15,1-13-15,-1 0 0,0 0 16,0 13-16</inkml:trace>
  <inkml:trace contextRef="#ctx0" brushRef="#br0" timeOffset="71439.85">22159 8718 0,'13'-13'16,"0"0"-16,1 13 16,-1 0-16,-13-14 15,13 14-15,0 0 0,0 0 0,1 0 16</inkml:trace>
  <inkml:trace contextRef="#ctx0" brushRef="#br0" timeOffset="71608.17">22159 8824 0,'-13'13'16,"39"-26"0,-13 13-16,1 0 0,-1 0 15,-13-13-15,13 13 16,0 0-16,0-14 0,1 14 0</inkml:trace>
  <inkml:trace contextRef="#ctx0" brushRef="#br0" timeOffset="74072.64">22807 8559 0,'27'-13'47,"-14"13"-31,0 0-1,-13 13-15,13-13 0,-13 13 16,-13 1-16,13-1 15,-13 0-15,0 0 16,13 1-16,-14-1 0,14 0 16,0 0-1,14-13 1,-1 14 0,0-14-16,-13 13 0,13-13 15,0 13-15,-13 0 16,14-13-1,-28 13-15,14 1 16,-13-1-16,0-13 0,0 13 16,0 0-16,-1-13 15,1 0-15,0 0 16</inkml:trace>
  <inkml:trace contextRef="#ctx0" brushRef="#br0" timeOffset="74419.73">23138 8559 0,'-40'0'16,"27"0"-16,0 0 15,-1 13-15,1-13 0,0 0 16,13 14-16,-13-14 0,13 13 16,-13-13-16,13 13 0,0 0 15,13 1-15,-13-1 16,13-13-16,-13 13 0,0 0 16,13 1-16,0-1 0,-13 0 15,0 0-15,0 0 16,-13-13-16,13 14 0,-13-14 15,13 13-15,-13-13 0,0 13 0,-1-13 16,1 13-16,0-13 0,0 14 16,-1-1-16,1-13 0,0 13 15,0 0-15</inkml:trace>
  <inkml:trace contextRef="#ctx0" brushRef="#br0" timeOffset="74979.5">22291 10808 0,'13'0'0,"-13"-13"15,40 0 1,-27 13-16,1-13 16,-1 13-16,0-14 0,0 14 15,0 0 1</inkml:trace>
  <inkml:trace contextRef="#ctx0" brushRef="#br0" timeOffset="75188">22265 10901 0,'0'13'0,"13"-13"47,13-13-32,-12 13-15,-1 0 0,0 0 0,0 0 16,1 0-16,-1 0 0,0-13 16,0 13-16,0 0 0,1 0 15,-1 0-15,0-14 16,0 14-16</inkml:trace>
  <inkml:trace contextRef="#ctx0" brushRef="#br0" timeOffset="79233.81">22992 10649 0,'0'0'0,"27"0"0,-14 0 15,0 0 1,-13 14-16,13-1 16,-13 0-16,-13 0 0,13 1 15,0-1-15,-13 0 16,13 0-16,-13 1 16,13-1-16,13-13 15,-13 13-15,13 0 16,0-13-16,1 13 15,-1-13-15,-13 14 0,13-14 16,-13 13-16,13-13 0,-13 13 16,0 0-16,-13-13 15,13 14-15,-13-14 0,13 13 16,-13-13-16,-1 13 0,1-13 16,0 0-16,13 13 0,-13-13 15,0 0-15,-1 0 0</inkml:trace>
  <inkml:trace contextRef="#ctx0" brushRef="#br0" timeOffset="79653.69">23178 10716 0,'26'-14'16,"14"28"0,-27-1-1,-13 0-15,0 0 16,0 1-16,0-1 0,0 13 15,-13-13-15,-1 1 0,14-1 0,-13-13 16,13 13-16,0 0 0,-13 1 16,13-1-1,13-13-15,-13 13 16,13-13-16,1 0 16,-1-13-16,0 13 0,0 0 15,14 0-15,-14 0 16,0 0-1,0 0 1,-13 13 0</inkml:trace>
  <inkml:trace contextRef="#ctx0" brushRef="#br0" timeOffset="81419.97">23244 8572 0,'26'0'0,"53"-13"31,-65 13-31,-1-13 0,13 13 0,-12 0 16,-1 0-16,0 0 0,0-13 15,1 13-15,-1 0 16,0 13-16,0-13 16,-13 13-16,0 0 15,0 1-15,0-1 0,0 0 0,13 0 0,-13 1 16,0 12-16,0-13 0,0 14 16,0-1-16,-13 1 0,13-1 15,13 14-15,-13 0 0,0-14 0,0 14 16,14-1-16,-14 1 0,13 0 0,-13-1 15,13 1-15,-13 0 0,13 0 0,-13 12 16,0-12-16,14 0 0,-14 13 16,13-14-16,-13 1 0,13 13 0,-13-13 15,13-1-15,-13 1 0,14 13 0,-14-13 16,13-1-16,0 1 0,0 0 16,-13-1-16,13 1 0,1 0 0,-1-1 15,0-12-15,-13 13 0,13-1 0,1-12 16,-1-1-16,-13 1 0,13-1 15,-13 1-15,13-1 0,0 1 16,-13-1-16,14-13 0,-14 14 0,13-1 16,-13-13-16,13 1 0,-13 12 0,13-13 15,-13 1-15,14-1 0,-14 0 0,0 0 16,13 0-16,-13 1 0,0-1 16,13 0-16,-13 0 0,13 1 15,-13-1-15,0 0 0,14 0 16,-14 0-1,0 1-15,0-1 16,13-13 0,-13 13-1,-13-13 1,-1 13-16,1-13 16,0 0-16,0 0 0,-14 0 0,1 14 15,-1-14-15,1 0 0,-14 13 0,14-13 16,-1 0-16,-12 0 0,12 0 15,1 0-15,12 0 0,-12 0 0,13-13 16,-14-1-16,14 14 0,0-26 0,13 13 16,-13-1-16,13-12 0,0 13 15,13-14-15,0-12 0</inkml:trace>
  <inkml:trace contextRef="#ctx0" brushRef="#br0" timeOffset="81885.62">23905 9710 0,'-13'0'0,"39"-13"31,-12 13-31,12 0 16,0-13-16,1 13 0,-1 0 0,14-13 15,-13 13-15,-1 0 0,14 0 0,-14 0 16,1 0-16,-14-14 0,13 14 16,1 0-16,-14 0 0,0 0 0,0 0 15,1 0-15,-1 0 0,0-13 16,0 13-16,1-13 15</inkml:trace>
  <inkml:trace contextRef="#ctx0" brushRef="#br0" timeOffset="82188.75">24276 9485 0,'0'-13'0,"26"13"47,-13 13-47,0-13 0,1 14 15,-1-1-15,0-13 0,0 13 16,1 0-16,-1 0 0,0-13 0,0 14 16,-13-1-16,14 0 0,-14 0 15,13 1-15,-13-1 0,0 0 16,0 0-16,0 1 0,-13-1 15,-1 0-15,14 0 16,-13-13-16,13 13 0,-13-13 16</inkml:trace>
  <inkml:trace contextRef="#ctx0" brushRef="#br0" timeOffset="82930.57">24527 9618 0,'0'-14'16,"0"28"-16,13-28 0,0 14 0,-13-13 15,14 0-15,-1 13 16,-13-13-16,13 13 0,-13-14 0,13 1 16,0 0-16,1 0 0,-1 0 15,-13-1-15,13 1 0,0 0 16,1-14-16,-1 14 0,-13 0 16,13 0-16,-13-1 0,13-12 0,-13 13 15,14 0-15,-14-1 0,0-12 0,13 13 16,-13-14-16,0 1 0,0-1 15,0 1-15,0-1 0,0 1 0,-13-1 16,13-12-16,0-1 0,-14 0 0,14 14 16,-13-14-16,0 1 0,0 12 15,13-13-15,-14 14 0,1-14 0,0 1 16,0 12-16,-1-13 0,-12 14 0,13-14 16,0 14-16,-1-14 0,-12 14 15,13-14-15,-1 14 0,1-14 0,-13 13 16,13 1-16,-14-14 0,14 14 15,-14-1-15,14 1 0,-13-1 0,-1-12 16,14 12-16,-13 1 0,12-1 16,-12 1-16,-1-1 0,14 1 0,-13 0 15,12-1-15,-12 14 0,13-14 0,0 14 16,-1-13-16,-12-1 0,13 14 16,-1-13-16,1 12 0,0 1 15,0-13-15,-1 12 0,1 1 0,0 0 0,0 0 16,-14-14-16,14 14 0,0 0 0,0 0 15,-1-1-15,1 1 16,0 0-16,0 0 0,-1-1 0,1 14 16,0-13-16,0 0 0,13 0 0,-13-1 15,-1 1-15,1 0 0,13 0 16,-13 13-16,0-13 0,13-1 16,-14 14-16,14-13 0,-13 13 15,13-13-15,-13 13 0,13-13 16,-13 13-1,13-14-15,-13 14 16</inkml:trace>
  <inkml:trace contextRef="#ctx0" brushRef="#br0" timeOffset="83440.5">23680 7382 0,'-26'13'32,"13"0"-32,-1 1 15,14-1-15,-13 0 0,13 0 16,0 0-16,-13-13 0,13 14 15,0-1-15,-13 0 0,13 0 0,0 1 16,0-1-16,0 0 0,-14 0 16,14 1-16,0-1 15,0-53 32,0 27-47,0 0 0,0-1 0,0-12 16,14 13-16,-14-14 0,0 14 0,13-13 15,-13 12-15,0 1 0,13 0 16,-13 0-16,0-1 0,13 1 16,-13 0-16,14 0 0,-1-1 15,0 14-15,0 0 16,0 0-16,14 0 16,-14 0-16,0 0 0,1 0 0,-1 0 15,13 0-15,-13 0 0,1 14 0,-1-14 16,13 0-16,-12 0 0,-1 0 15,0 0-15,0 13 0,1-13 16,-1 0-16,0 0 0,0 13 16,0-13-16,1 0 31</inkml:trace>
</inkml:ink>
</file>

<file path=ppt/ink/ink15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3:01:35.562"/>
    </inkml:context>
    <inkml:brush xml:id="br0">
      <inkml:brushProperty name="width" value="0.05292" units="cm"/>
      <inkml:brushProperty name="height" value="0.05292" units="cm"/>
      <inkml:brushProperty name="color" value="#0070C0"/>
    </inkml:brush>
  </inkml:definitions>
  <inkml:trace contextRef="#ctx0" brushRef="#br0">6085 2580 0,'0'13'31,"-13"93"-15,13 13-16,0 0 16,0 26-16,0 14 15,0 40-15,-13-27 16,-14 66-16,27-53 16,-26-53-16,13-13 15,0-13 1,-14-13-16,27-40 15,0-27-15,-13 14 0,13-27 16,0 13-16,0-12 16,-13-14 62</inkml:trace>
  <inkml:trace contextRef="#ctx0" brushRef="#br0" timeOffset="3453.61">12885 3717 0,'-13'-13'16,"13"0"-16,-13 13 15,13-13-15,-13 13 16,26-14 15,0 14-31,0 0 0,0 0 16,1 0-16,12 0 0,1 0 16,-1 0-16,27-13 0,-27 13 15,1 0-15,-1 0 0,1 0 0,-1 0 16,-13 0-16,14 0 0,-14 0 0,14 0 15,-14 0-15,0 0 0,0 0 16,1 0-16,-1 0 31</inkml:trace>
  <inkml:trace contextRef="#ctx0" brushRef="#br0" timeOffset="3757.81">13031 3532 0,'-66'13'16,"52"-13"-16,-12 14 15,13-1-15,-1 0 0,-12 0 0,13 1 16,0 12-16,-1-13 15,1 0-15,0 1 0,13-1 0,-13 0 16,13 0-16,0 1 0,13-1 16,-13 0-16,13-13 0,0 13 15,1-13-15,-1 14 0,13-14 0,-13 13 16,14-13-16,-14 0 0,14 13 16,-1-13-16,-13 0 0,1 0 0,12 0 15,-13 0-15,0 0 0,-13 13 0,14-13 16,-1 0-16</inkml:trace>
  <inkml:trace contextRef="#ctx0" brushRef="#br0" timeOffset="4656.42">11284 3519 0,'-13'-13'16,"13"-1"-16,0 1 0,0 0 15,0 0-15,-13 0 0,13-1 0,0 1 16,-13-13-16,13 12 0,0 1 0,-13-13 16,13 13-16,-14-14 0,14 14 15,0 0-15,-13-14 0,13 14 0,0 0 16,-13-1-16,13 1 0,0 0 0,0 0 16,-13 0-1,13-1 1,-14 14-1</inkml:trace>
  <inkml:trace contextRef="#ctx0" brushRef="#br0" timeOffset="4828.96">11179 3122 0,'13'0'16,"-26"27"31,-1-14-47,14 0 0,-13-13 15,13 13-15,0 0 0,-13 1 0,13-1 16,-13-13-16,13 13 0,0 0 16,-14 1-1</inkml:trace>
  <inkml:trace contextRef="#ctx0" brushRef="#br0" timeOffset="5012.59">11139 3109 0,'0'-13'31,"13"13"-31,14 0 16,-14 13-16,0-13 16,0 0-16,1 0 0,-1 13 0,0-13 15,0 0-15,0 13 0,1-13 16,-1 14-16,0-14 0,-13 13 15,13-13-15</inkml:trace>
  <inkml:trace contextRef="#ctx0" brushRef="#br0" timeOffset="5712.89">10504 2831 0,'-13'0'0,"13"-13"32,13 26-17,0 0-15,0 1 0,-13-1 16,14 13-16,-1-13 0,0 14 15,0-14-15,1 0 0,-1 14 0,0-14 16,0 0-16,0 0 0,1-13 0,-14 14 16,13-14-16,-13 13 0,13-13 15,0 0-15,1 0 16,-14-13-16,13-1 16,-13 1-16,0 0 0,-13-13 15,13 12-15,0-12 0,0-1 0,-14 1 16,14 0-16,-13-1 0,13 14 15,0-14-15,-13 14 0,13 0 16,0 0-16,-13-1 0,13 1 0,26 26 47</inkml:trace>
  <inkml:trace contextRef="#ctx0" brushRef="#br0" timeOffset="6809.51">10835 2752 0,'-14'26'47,"14"-13"-47,-13 1 15,13-1-15,13 0 16,-13 0-1,0 1-15,14-14 0,-1 0 16,0 0 0,-13-14-1,0 1-15,13 13 0,-13-13 0,0 0 16,0-1-16,0 1 0,0 0 16,0 0-1,14 26 32,-1 0-47,0 0 16,0-13-1,1 14-15,-1-28 16,0 14-16,-13-13 16,13 13-16,-13-13 0,0 0 15,0-1-15,0 1 0,0 0 0,0 0 16,-13-14-16,13 1 15,0 13-15,-13-14 0,13 14 0,-13-14 16,13 14-16,-14 0 0,14 0 0,0 0 16,-13 13-16,13-14 0,-13 1 15,26 53 17,-13-27-32,13 0 0,-13 0 15,0 1-15,14 12 0,-1-13 16,-13 1-16,13-1 0,0 0 0,0 0 15,1 1-15,-14-1 0,13-13 0,0 13 16,0-13-16,-13 13 0,14-13 16,-1 0-1,0 0-15,-13-13 0,0 0 16,13 0-16,-13-1 16,0 1-16,0 0 15,0 0-15,0-1 16,27 41 31,-27-14-47,13-13 0,-13 13 15,13-13-15,0 0 0,1 14 16,-1-14 0,0-14-16,0 14 0,1 0 0,-1-13 15,0 13-15,-13-13 0,13 0 0,0-1 16,-13 1-16,0 0 15,14 0-15,-14-1 0,0 1 16,0 0-16,0 0 31,0 39 1,13-26-17,0 0 1,0 0-16,1 0 15,-1 0-15,-13-13 0,13 13 16,-13-13-16,13 13 16,-13-13-16,14-1 0,-14 41 62,0-14-46,13-13-1,-13 13-15,13-13 0,0 0 16,0 0-16,1 13 16,-1-13-16,13 0 0,-12 0 15</inkml:trace>
  <inkml:trace contextRef="#ctx0" brushRef="#br0" timeOffset="7445.89">12158 3426 0,'-14'0'15,"28"-26"1,-1 13 0,0-1-16,0 1 0,14-13 15,-1-1-15,-13 1 0,14 13 0,-1-14 16,1 1-16,-1-1 0,1 1 16,-14-1-16,13 1 0,1 13 0,-14-1 15,0 1-15,1 0 0,-1 0 16,0 13-16,-13-14 0,13 14 15,-13-13-15</inkml:trace>
  <inkml:trace contextRef="#ctx0" brushRef="#br0" timeOffset="7721.09">12422 2990 0,'0'0'0,"0"-13"0,13 13 31,1-14-31,-1 14 16,0 0-16,0 0 0,1 0 0,-1 0 15,0 14-15,13-14 0,-12 0 16,-1 0-16,0 13 0,0-13 15,1 13-15,-1-13 0,0 13 0,-13 0 16,13-13-16,-13 14 0,14-1 16,-14 0-16,0 0 15,0 1-15,0-1 16,13 0-16</inkml:trace>
  <inkml:trace contextRef="#ctx0" brushRef="#br0" timeOffset="8385.61">12859 2712 0,'0'0'15,"0"26"17,0-12-32,0-1 0,0 0 15,0 0-15,0 1 16,0-1-16,0 0 16,0-26 46,0 0-62,0-1 0,0 1 0,0 0 16,0 0-16,0-1 0,0 1 15,0 0-15,13 0 16,0 13 0,0 0-16,1 0 15,-1 13-15,0-13 16,-13 13-16,13-13 15,-13 13-15,14-13 0,-14 14 16,13-1 0,0-26 15,-13-1-15,0 1-16,13 13 15,-13-13-15,0 0 0,0 0 16,14 13-16,-1-14 15,0 14 1,0 14 0,0-14-16,-13 13 15,0 0-15,14 0 0,-14 0 16,0 1 0,13-14-16,-13 13 0,13-13 15,-13 13-15,13-13 0,1 0 16,-1 0-16,0 0 0,0 0 15</inkml:trace>
  <inkml:trace contextRef="#ctx0" brushRef="#br0" timeOffset="9309.61">13401 2725 0,'-13'-26'16,"13"13"-1,0-1-15,-13 1 0,13 0 32,-27 26-17,14 0-15,13 1 16,-13-1-1,13 0-15,0 0 0,0 0 16,0 1-16,13-14 16,-13 13-16,13-13 0,0 0 15,1 0-15,12 0 0,-13 0 16,1 0-16,-1 0 0,0 0 0,14-13 16,-14 13-16,0-14 0,0 14 15,0-13-15,1 13 0,-1-13 0,0 13 16,-13-13-16,13 0 0,1-1 15,-14 1-15,13 0 16,-13 0-16,0-1 16,0 1-1,-13 13-15,-1 0 32,1 13-32,13 1 15,-13-1 1,13 0-1,0 0-15,13 1 16,-13-1 0,13-13-1,1 0 32,-1-13-47,-13-1 16,13 14-16,0-13 15,0 0 17,1 13-17,-1 0 1,0 0 0,-13 13-16,13 0 15,-13 1 1,14-1-1,-1-26 17,0 13-17,-13-14-15,13 14 0,1-13 16,-1 13 0,0 0-16,0 0 15,0 0 1,-13 13-16,14-13 0,-1 0 0,-13 14 15,13-14-15,0 0 0,1 13 16,-1-13-16,0 0 16,-13 13-16,13 0 15</inkml:trace>
  <inkml:trace contextRef="#ctx0" brushRef="#br0" timeOffset="10034.04">11906 4445 0,'66'13'31,"-52"-13"-31,12 13 16,1-13-16,-1 14 0,0-14 15,-12 13-15,12 0 0,1-13 0,12 13 16,-12 1-16,-1-1 0,-13-13 0,14 13 16,-14-13-16,0 13 0,1-13 15,-1 0-15,0 14 16,0-14-16,0 0 0,1 13 16,-1-13-1,0 0 1,0-13-1,1 13-15,-14-14 16</inkml:trace>
  <inkml:trace contextRef="#ctx0" brushRef="#br0" timeOffset="10353.29">12396 4471 0,'13'14'47,"0"-14"-47,0 13 0,1-13 0,-1 0 16,-13 13-16,13 0 0,0-13 16,1 14-16,-1-14 0,0 13 0,0 0 15,0 0-15,-13 1 16,0-1-16,0 0 15,0 0-15,-13 0 16,0 1-16,0-1 16,0 0-16,-1-13 0,1 13 0,0 1 15,-14-1-15,14 0 0,-13 13 16,12-26-16,1 14 0,0-1 16,0 0-16,0-13 0,-1 13 0</inkml:trace>
  <inkml:trace contextRef="#ctx0" brushRef="#br0" timeOffset="12405.51">13163 4736 0,'-40'13'16,"40"0"-1,0 1 1,-13-1 0,13 0-16,13 0 15,-13 1-15,14-41 47,-1 14-31,0 0-1,0-1-15,0 14 16,1-13-16,-1 13 0,0 0 16,0 0-1,1 13-15,-1 1 16,-13-1-16,13-13 0,-13 13 16,13 0-16,-13 1 15,14-1 1,-14 0-16,13-13 15,-13 13-15,13-13 16</inkml:trace>
  <inkml:trace contextRef="#ctx0" brushRef="#br0" timeOffset="12785.79">13481 4736 0,'-27'13'31,"27"0"-31,0 1 16,0-1 0,0 0-16,0 0 0,13 1 15,1-14-15,12 0 16,-13 0-1,0 0 1,-13-14-16,14 14 0,-14-13 16,13 13-16,-13-13 0,0 0 0,0-1 15,-13 14-15,13-13 16,0 0-16,-14 0 0,1 0 16,0 13-1,0 13 1,0-13-16,-1 13 15,14 0 1</inkml:trace>
  <inkml:trace contextRef="#ctx0" brushRef="#br0" timeOffset="13477.12">13785 4723 0,'-13'26'31,"13"-13"-15,0 1-1,13-1-15,-13 0 16,13-13-16,-13 13 0,13-13 0,0 0 16,1 0-16,-1 0 15,0 0-15,0 0 0,1-13 0,-1 13 16,0 0-16,0-13 0,1 13 0,-14-13 16,13 13-16,-13-14 0,0 1 15,0 0-15,0 0 16,-13 13-16,13-13 15,-14 13-15,-12 0 0,13 0 16,-1 0-16,1 13 16,0-13-16,0 0 15,13 13-15,13 0 16,0-13 0,0 13-16,1-13 0,-1 14 15,0-14-15,0 13 0,1-13 16,-14 13-16,13 0 0,0 1 15,-13-1-15,13-13 0,-13 13 16,0 0-16,13 14 0,-26-14 0,13 0 16,0 0-16,0 1 0,0-1 0,-13 0 15,13 0-15,0 1 0,0-1 16,-13-13-16,13 13 0,13-53 47,-13 27-47,13 0 0,0-14 15,1 14-15,-14 0 0,26-13 16,-13 12 0,1 1-16,-14 0 0,13 13 15,-13-13-15,13-1 0,0 14 0,1-13 16,-1 0-16,0 13 0,0-13 16,0 13-16,1-14 0,-1 14 15</inkml:trace>
  <inkml:trace contextRef="#ctx0" brushRef="#br0" timeOffset="15032.57">14605 4657 0,'-13'-27'15,"13"14"-15,-13 13 0,-1-26 16,1 26 0,0 13-16,0-13 0,-1 13 15,1 0-15,0-13 16,13 13-16,-13 1 0,13-1 0,-14 0 16,1 0-16,13 1 0,0-1 15,-13 0-15,13 0 16,-13 0-16,13 1 15,13-1-15,0 0 16,14-13 0,-27-13-1,13 13-15,0 0 0,0-13 0,1-1 16,-1 1-16,0 0 16,-13 0-16,13-14 0,-13 14 0,14-13 15,-14-1-15,13 14 0,-13-13 0,0-1 16,0 1-16,0 12 0,0 1 15,0-13-15,0 12 0,0 1 16,0 0-16,0 0 16,-13 39-1,13-13 1,0 1-16,0 12 0,0-13 0,0 14 16,0-14-16,0 14 0,0-14 0,13 13 15,-13-13-15,0 1 0,13 12 0,0-13 16,-13 1-16,13-1 0,1 0 15,-1-13-15,-13 13 0,13 0 0,0-13 16,1 14-16,-1-14 0</inkml:trace>
  <inkml:trace contextRef="#ctx0" brushRef="#br0" timeOffset="15594.34">14909 4683 0,'-13'-13'0,"13"0"15,-13 13 1,0 0-16,-1 0 16,14 13-16,-13-13 0,0 0 0,13 13 15,-13 0-15,-1-13 0,14 14 16,-13-1-16,0 0 0,13 0 16,0 0-16,13 1 31,0-28-16,1 14-15,-1-13 16,0 13-16,-13-13 16,13 13-16,1 0 15,-1 0 1,-13 13 0,13-13-1,0 13-15,0-13 0,1 0 16,-1 0-16,0 0 0,-13-13 15,13 13-15,1-13 0,-1 13 16,-13-13-16,13 0 0,-13-1 0,13 1 16,1 0-16,-14 0 0,0-14 0,13 14 15,-13-13-15,0 12 0,0 1 16,0 0-16,0 0 0,13-1 16,-13 1-16,-13 40 46,13-14-46,0 0 0,0 14 0,0-14 16,0 0-16,0 0 0,0 0 0,0 1 16,0-1-16,13 0 0,-13 0 15,0 1-15,13-1 0,-13 0 16,13-13-16,-13 13 0,14-13 16,-14 13-16</inkml:trace>
  <inkml:trace contextRef="#ctx0" brushRef="#br0" timeOffset="15817.82">14975 4696 0,'-13'0'16,"26"-26"0,1 13-1,-1 13-15,0-14 0,0 14 0,1-13 16,-1 13-16,0-13 0,13 13 15,-12-13-15,-1 13 0,13-13 16,-12 13-16,-1-14 0,13 14 0,-12 0 16,-1 0-16,0 0 0,0-13 0,0 13 15,1 0-15,-1 0 0</inkml:trace>
  <inkml:trace contextRef="#ctx0" brushRef="#br0" timeOffset="16406.9">15452 4485 0,'0'0'0,"-14"0"0,14 13 32,0 0-17,0 0-15,0 1 0,0 12 16,0-13-16,0 1 0,14 12 16,-14-13-16,0 14 0,0-14 15,0 13-15,0-12 0,0 12 0,0-13 16,0 0-16,0 1 0,13-1 0,-13 0 15,0 0-15,0 1 0,0-1 16,-13-40 31,13 14-47,0-13 0,0 12 0,0-12 16,0 0-16,13 12 0,-13-12 0,13 13 15,-13-14-15,0 14 0,13 0 16,1 0-16,-1-1 0,0 14 15,0 0-15,1 0 16,-1 0-16,-13 14 0,0-1 16,0 0-1,0 0-15,0 0 16,-13-13-16,13 14 0,-14-1 0,1 0 16,0-13-16,0 13 15,-1-13-15,14 14 0,-13-14 16,0 0-16,0 13 15</inkml:trace>
  <inkml:trace contextRef="#ctx0" brushRef="#br0" timeOffset="17044.82">15729 4591 0,'14'-14'0,"-28"1"32,-12 26-17,26 1-15,-13-14 0,13 13 16,-13 0-16,-1 0 0,14 0 16,0 1-16,0-1 15,0 0-15,14 0 16,-1-13-16,0 14 15,0-14-15,0 0 16,1-14-16,-1 14 0,0 0 16,0-13-16,1 0 0,-1 13 15,-13-13-15,13-1 0,-13 1 0,13 0 16,-13 0-16,0 0 16,0-1-16,-13 1 15,13 0-15,-13 13 16,0 13-1,-1-13-15,1 13 0,0-13 0,13 14 16,-13-14-16,13 13 0,-14-13 16,14 13-16,-13 0 15,26 0-15,1-13 16,-1 0-16,13 0 16,-12 0-16,-1-13 0,0 13 15,0-13-15,1 13 0,-1-13 16,0 13-16,0-13 0,0-1 0,1 14 15,-1-13-15,0 13 0,0-13 16,1 13 0,-1 0-16,0 13 15,-13 0 1,13 1-16,-13-1 16,0 0-16,14-13 15,-14 13-15,0 0 0,13 1 16,0-1-1,0-26 17</inkml:trace>
  <inkml:trace contextRef="#ctx0" brushRef="#br0" timeOffset="17869.77">16192 4524 0,'0'14'16,"0"25"0,-13-25-16,13-1 15,0 0-15,0 0 16,0 0-1,13-13 1,1-13 0,-14 0-16,13 13 0,0-13 15,0 0-15,1-1 16,-1 14-16,0 0 0,0-13 16,1 26-1,-14 1 1,13-14-16,-13 13 15,0 0-15,13 0 16,-13 0-16,0 1 16,13-14-16,0 0 15,1 0-15,-1 0 16,0 0-16,0 0 16,-13-14-16,14 1 0,-1 13 0,0-13 15,0 0-15,1 0 0,-1-1 16,0-12-16,0 13 0,0-14 15,1 1-15,-1-1 0,0 14 0,-13-13 16,13-1-16,-13 14 0,14 0 0,-14-1 16,13 1-16,-13 0 0,0 0 0,0-1 15,13 14-15,-13-13 16,-13 40 0,0-14-16,13 0 0,0 0 15,0 1-15,-14 12 0,14-13 16,0 14-16,0-14 0,14 13 0,-14-12 15,0-1-15,13 13 0,-13-12 16,13-1-16,-13 0 0,13 0 0,-13 1 16,14-1-16,-1 0 15,0-13-15,0 0 0,-13 13 0,13-13 16,1 0-16,-1 0 0,0-13 0,0 0 16,1 13-16,-14-13 15,13-1-15,-13 1 0,0 0 16</inkml:trace>
  <inkml:trace contextRef="#ctx0" brushRef="#br0" timeOffset="18148.58">16364 4458 0,'27'-13'31,"-1"0"-31,-12 13 0,12 0 15,40-13-15,-26-1 0,0 14 16,-1-13-16,-12 0 0,12 13 0,1-13 16,-13 13-16,-1-14 0,1 14 15,-1-13-15,0 13 0,-12 0 16,12-13-16,-13 13 0,1 0 0,-1 0 0,0 0 16,-13-13-16,13 13 15,-39 26 1,13-26-16,-14 13 15,-13 1-15,1 12 0,-1-13 0,-13 14 16</inkml:trace>
  <inkml:trace contextRef="#ctx0" brushRef="#br0" timeOffset="18975.75">15147 4696 0,'-13'0'31,"0"14"-31,0-1 31,13 0-15,13-13 0,13 0-1,-26-13 1,14 13-16,-1-13 15,0 13 1,0 0-16,-13 13 16,14-13-16,-14 13 15,13-13-15,-13 13 16,13-13-16,0 0 0,0 13 16,1-13-16,-1 0 0</inkml:trace>
  <inkml:trace contextRef="#ctx0" brushRef="#br0" timeOffset="19096">15518 4789 0</inkml:trace>
  <inkml:trace contextRef="#ctx0" brushRef="#br0" timeOffset="23787.53">4736 11139 0</inkml:trace>
  <inkml:trace contextRef="#ctx0" brushRef="#br0" timeOffset="25279.74">3916 11311 0,'119'13'16,"-66"0"0,-13-13-16,12 14 0,1-14 0,0 13 15,0-13-15,0 0 0,0 13 16,0-13-16,0 0 0,0 0 0,0 0 15,-14 0-15,14 0 0,-13-13 16,13 13-16,-13 0 0,-1-13 0,-12 13 16,-1 0-16,-13-14 0,14 14 0,-14 0 15,0 0-15,14 0 0,-14-13 16,0 13-16,0 0 16,-39 13 30,13-13-46,-14 0 16,14 0-16,0 14 0,-14-14 0,14 0 16,-27 0-16,14 13 0,-14-13 15,1 13-15,-14-13 0,13 13 0,0-13 16,1 14-16,-1-14 0,14 13 0,-1-13 16,1 0-16,12 0 0,1 0 0,0 13 15,0-13-15,-1 0 0,1 0 16,66 0-1,-40 0 1,14-13-16,13 13 0,-14 0 16,27 0-16,-13-13 0,12 13 0,-12 0 15,0-14-15,13 14 0,-14 0 16,-12 0-16,-14-13 0,14 13 16,-1 0-16,-13 0 0,1 0 0,-1 0 15,0 0-15,-13-13 0,13 13 0,0 0 16,-13-13-16,14-1 15,-14 1-15,0 0 16,-14 0-16</inkml:trace>
  <inkml:trace contextRef="#ctx0" brushRef="#br0" timeOffset="25999.6">4366 10557 0,'79'-13'15,"-53"13"-15,14 0 16,13-14-16,0 14 0,13 0 0,-13 0 16,26 0-16,1-13 0,-14 13 0,13 0 15,-13 0-15,-13 0 0,14 0 16,-15 0-16,1 0 0,-13 0 0,0 0 15,-1 0-15,-12 0 0,-1 0 16,1 0-16,-14 0 0,13 0 0,-12 0 16,-1 0-16,0 0 0,0 0 15,-39 13 1,13 1 0,-14-14-16,1 13 0,-14-13 15,0 13-15,-12 0 0,-68 1 16,54-1-16,0 0 0,0 0 0,13 0 15,0-13-15,0 14 0,0-14 16,0 13-16,14-13 0,-1 13 0,14-13 16,-1 0-16,1 0 0,12 0 15,1 13-15,66-26 32,-26 13-32,25-13 0,1 13 15,14-13-15,-1 13 0,0-14 16,0 14-16,13-13 0,-12 0 0,-15 13 15,1 0-15,-13-13 0,13 13 0,-13-13 16,-1 13-16,-12 0 0,12 0 16,-25 0-16,12 0 0,-13-14 0,1 14 15,-1 0-15,0 0 0,0 0 16,1 0-16,-14 14 16,0-1-16,0 0 15,0 0 1</inkml:trace>
  <inkml:trace contextRef="#ctx0" brushRef="#br0" timeOffset="27357.66">13851 11377 0,'13'-13'16,"14"13"0,-14 0-16,27 0 0,12 0 15,1 0-15,14-13 0,12 13 0,0-14 16,1 14-16,12-13 0,1 0 0,39 0 16,-13-1-16,0 1 0,-26 0 15,39 0-15,-13 0 0,14 13 0,-1-14 16,-40 1-16,14 13 0,0-13 0,0 13 15,-13-13-15,12 13 0,-12 0 16,0-14-16,-14 14 0,0 0 0,1 0 16,-27 0-16,0-13 0,-1 13 0,-12 0 15,-13 0-15,-1 0 16,-13 0-16,1 0 0,-1 0 0,0 0 16</inkml:trace>
  <inkml:trace contextRef="#ctx0" brushRef="#br0" timeOffset="27742.42">14618 11443 0,'133'0'32,"-81"0"-32,28-13 0,-1 13 15,1 0-15,-1-13 0,27 13 0,-14-13 16,41 13-16,-1-14 0,0 14 16,106-13-16,-132 13 0,0 0 0,0 0 15,0 0-15,-14-13 16,14 13-16,-13 0 0,-1 0 0,14 0 0,-26 0 15,12-13-15,-12 13 0,-14 0 16,0 0-16,-13 0 0,0 0 16,-14 0-16,1 0 0,-14 0 0,-12 0 15,12 0-15,-13 0 0,1 0 0,-41 0 47,1 0-47,-1 0 0,-12-14 16</inkml:trace>
  <inkml:trace contextRef="#ctx0" brushRef="#br0" timeOffset="28395.12">14764 10491 0,'26'-13'0,"1"13"0,-1 0 15,1-14-15,12 14 0,14 0 0,13-13 16,0 13-16,1-13 0,12 13 0,0 0 15,-12-13-15,12 13 0,-13 0 16,0 0-16,0 0 0,-13 0 0,13 13 16,-13-13-16,0 0 0,0 0 0,0 0 15,0 0-15,-13 0 0,-14 0 16,1 0-16,-1 0 0,0 0 0,-12 0 16,-1 0-16,0 0 0,0 0 0,1-13 15,-67 26 1,26-13-1,-12 0-15,-1 0 0</inkml:trace>
  <inkml:trace contextRef="#ctx0" brushRef="#br0" timeOffset="28758.62">15081 10570 0,'80'0'0,"-160"0"0,186 0 16,-66 0-16,13 0 0,0 0 0,0-13 0,-1 13 16,15 0-16,-1 0 0,0 0 0,0-13 15,-13 13-15,0 0 16,0 0-16,0 0 0,0 0 0,-14-14 0,-12 28 16,-1-14-16,1 0 0,-1 0 15,-13 0-15,1 0 0,12 0 16,-13 0-16,0 0 0,1 0 15,-1 0-15,0 0 16,0 0 0,1-14 15,-1 28 0,0-14-31,0 0 16</inkml:trace>
  <inkml:trace contextRef="#ctx0" brushRef="#br0" timeOffset="30729.15">5040 10517 0,'-26'-13'0,"52"26"0,-52-39 0,13 13 0,13-1 15,-14 1-15,14 0 16,-13 0-16,13-1 0,0 1 16,0 0-16,0 0 15,0-1-15,0 1 0,0 0 16,13 0-16,1 0 15,-1-1-15,0 14 0,0-13 0,1 0 16,12 13-16,-13-13 0,14-1 16,12 14-16,1-13 0,13 0 0,-13 13 15,-1-13-15,14 13 0,0-14 0,-13 14 16,26-13-16,0 13 0,93-13 16,-93 0-16,13 0 0,1 13 15,12-14-15,-12 14 0,-1-13 0,14 13 16,-14-13-16,14 13 0,-14 0 15,14-13-15,-1 13 0,1-14 0,13 14 16,-14 0-16,1 0 0,0 0 0,12-13 16,-12 13-16,13 0 15,-14 0-15,14 0 0,-13 0 0,0 0 0,12-13 16,1 13-16,-13 0 0,13 0 16,-1 0-16,-12-13 0,13 13 15,-14 0-15,14 0 0,0-14 16,0 14-16,-13 0 0,12 0 0,-12 0 15,0 0-15,12-13 0,81 13 16,-94 0-16,1 0 0,-1 0 0,1 0 16,0 0-16,-1 0 0,1 0 15,-14 0-15,14 0 0,-14-13 16,14 26-16,-14-26 0,1 13 0,-1 13 16,0-13-16,1 0 0,-1 0 0,-13 0 0,0 13 15,1-13-15,-1 0 16,-13 14-16,0-14 0,13 0 0,-13 0 15,0 13-15,13-13 0,-13 0 0,-1 13 16,1-13-16,0 0 0,0 0 16,0 0-16,0 13 0,13-13 0,-13 0 15,0 0-15,0 0 0,0 14 0,0-14 16,0 0-16,0 0 0,0 13 16,-1-13-16,1 0 0,0 13 15,0-13-15,13 13 0,1-13 0,-15 0 0,1 14 16,13-14-16,-13 0 0,14 0 15,-15 13-15,15-13 16,-1 0-16,13 0 0,-13 0 0,14 0 0,-14 0 16,-13 0-16,13 0 0,0 0 0,-13 0 15,26 0-15,1 0 0,-27 0 16,26 0-16,-13-13 0,0 13 0,0 0 16,1-14-16,-15 14 0,15 0 15,-14-13-15,-1 13 0,1 0 0,0-13 16,-13 13-16,13 0 0,0-13 15,-14 13-15,28-14 0,-41 14 0,14 0 16,-14-13-16,-13 13 0,14 0 16,-1 0-16,1-13 0,-1 13 15,-12 0-15,-1 0 0,0 0 16,0-13-16,0 13 16,1 0-16,-1 0 0,0-14 15,0 14-15,1 0 16,-1 0-16,-13-13 15,13 13-15,0 0 16,1 0 0,-1 13-1,-13 1 1,0-1-16,0 0 16,0 0-16,0 1 0,0-1 15,0 0-15,0 0 0,0 1 16,0 25-16,13 27 47,-13-52-32,13-1 17</inkml:trace>
  <inkml:trace contextRef="#ctx0" brushRef="#br0" timeOffset="31152.92">15452 10239 0,'0'-13'0,"26"13"47,-26 13-47,13 1 15,1-14-15,-14 13 16,13 0-16,0 0 15,0-13 1,1 0-16,-1 0 16,0 0-16,0 0 15,0-13-15,14 13 0,-14-13 16,14 0-16,-14 13 0,-13-14 16,13 14-16,0-13 0,0 13 15,1 0-15,-14-13 0,13 13 16,0 0-16,14 0 15,-14 0-15,0 0 0,0 13 16</inkml:trace>
  <inkml:trace contextRef="#ctx0" brushRef="#br0" timeOffset="33191.96">12396 3863 0,'-14'13'0,"41"-13"16,-14 0 0,0 0-16,1 0 0,12 0 15,1 0-15,-1 0 0,27 0 16,-13-13-16,13 13 0,-1 0 0,15-13 15,12 13-15,0-14 0,14 1 0,-14 0 16,14 0-16,26 0 0,0-1 16,13-12-16,-13 13 0,133-27 15,-120 27-15,-13-14 0,13 14 0,-13 0 16,1-14-16,-15 14 0,-12 0 16,0 0-16,-1-1 0,-12 14 15,-1-13-15,-13 0 0,0 13 0,27-13 16,-53-1-16,-1 14 0,-12-13 15,-14 13-15,13 0 0,-12 0 16,-1-13-16,0 13 0,0-13 16</inkml:trace>
  <inkml:trace contextRef="#ctx0" brushRef="#br0" timeOffset="33489.57">15280 3334 0,'66'0'32,"-40"0"-32,1 0 15,-1 0-15,1 0 0,-1 13 0,14-13 16,0 13-16,-1 0 0,41 1 15,-54-1-15,-13 0 0,0 0 16,14 1-16,-27-1 0,13 0 16,-13 0-16,0 0 0,0 1 0,0 12 15,-13-13-15,0 1 0,-14 12 0,1 1 16,-1-1-16,1-13 0,-1 14 16,1-14-16,13-13 0,-14 13 15,14 0-15,0-13 0,0 0 0</inkml:trace>
  <inkml:trace contextRef="#ctx0" brushRef="#br0" timeOffset="34269.61">17926 2844 0,'0'0'0,"13"14"16,-13-1-16,0 0 0,0 0 16,13 0-16,-13 14 0,0-14 15,0 14-15,0-1 0,0-13 0,0 14 16,0-1-16,0 1 0,0-14 0,0 13 16,0-12-16,0-1 0,0 0 15,0 13-15,0-12 0,-13-1 16,26 0-16,-13 0 15,13-13-15</inkml:trace>
  <inkml:trace contextRef="#ctx0" brushRef="#br0" timeOffset="34476.86">18508 2924 0,'0'0'15,"-27"26"1,14-13-16,13 1 16,-13-1-16,-14 13 0,14 1 0,0-1 15,0-13-15,-1 14 0,-12-14 16,26 0-16,-13 1 0,-1-1 0,1 0 16,0 0-16,13 0 0</inkml:trace>
  <inkml:trace contextRef="#ctx0" brushRef="#br0" timeOffset="34704.89">18164 3043 0,'0'-14'0,"13"14"31,13 14-31,-12-14 0,-1 13 16,0-13-16,0 13 0,0-13 0,14 13 15,-14-13-15,0 14 0,1-1 0,-1-13 16,0 13-16,0-13 0,1 13 16,-1-13-16,0 0 0,-13 14 0,13-14 15,0 0-15,1 0 0,-1 0 0,0 0 16</inkml:trace>
  <inkml:trace contextRef="#ctx0" brushRef="#br0" timeOffset="34905.74">18732 3082 0,'0'-13'0,"40"-13"31,-27 26-31,1-14 0,-1 14 15,0 0-15,0-13 0,14 13 0,-14 0 16</inkml:trace>
  <inkml:trace contextRef="#ctx0" brushRef="#br0" timeOffset="35392.74">19196 3109 0,'13'-13'0,"13"-40"32,-13 39-32,1-25 15,-14 26-15,13-1 0,-13-25 16,0 25-16,0 1 0,13 0 15,-13 0-15,0 0 16,-13 26 15,13 0-31,0 0 0,0 0 16,0 1-16,13-1 0,-13 0 16,13 0-16,1 1 0,-1-14 15,0 0-15,14 0 16,-14-14-16,0 14 15,0-13-15,0 0 0,1 13 16,-1-13-16,-13-1 0,13 14 0,-13-13 16,13 13-16,1-13 15,-1 26 1,0 0-16,-13 1 16,13-1-16,-13 0 15,13-13-15,-13 13 0,14 1 0,-14-1 16,13-13-16,0 13 0,0 0 15,1-13-15</inkml:trace>
  <inkml:trace contextRef="#ctx0" brushRef="#br0" timeOffset="35632.78">19711 2487 0,'0'79'32,"14"-52"-32,-14 13 0,13-14 15,-13 14-15,13-1 0,-13-12 0,13-1 16,-13 1-16,0-1 0,0-12 16,14 12-16,-14 0 0,0-12 15,0 12-15,0-13 0,0 1 0,-14-1 16,14 0-16,0 0 0,0 0 15</inkml:trace>
  <inkml:trace contextRef="#ctx0" brushRef="#br0" timeOffset="36866.07">20717 2858 0,'26'-14'31,"-12"14"-31,-1 0 16,13-13-16,1 13 0,-1-13 0,-13 13 16,14-13-16,-1 13 0,-12 0 15,12 0-15,-13 0 0,0 0 16</inkml:trace>
  <inkml:trace contextRef="#ctx0" brushRef="#br0" timeOffset="37080.89">20770 2990 0,'0'0'15,"66"-13"48</inkml:trace>
  <inkml:trace contextRef="#ctx0" brushRef="#br0" timeOffset="37319.75">22304 2725 0,'27'-13'16,"-1"13"-16,-12 0 0,12-13 15,-13 13-15,0 0 0,14-13 0</inkml:trace>
  <inkml:trace contextRef="#ctx0" brushRef="#br0" timeOffset="38345.03">22503 3109 0,'0'-13'0,"0"39"15,0-13 1,0 1-16,0-1 16,0 0-16,0 0 0,0 0 15,0 1-15,0-1 0,0 0 16,0 0-16,0 1 0,0-1 16</inkml:trace>
  <inkml:trace contextRef="#ctx0" brushRef="#br0" timeOffset="38506.61">22397 3281 0,'26'-13'31,"-12"13"-31,-1 0 16,0-14-16,0 14 15,1 0-15,-1 0 0,0-13 16,0 13-16</inkml:trace>
  <inkml:trace contextRef="#ctx0" brushRef="#br0" timeOffset="38832.71">21881 2461 0,'0'13'16,"0"13"0,0-12-16,-13 12 0,13 14 0,-13 13 15,13-14-15,-14 27 0,14 1 0,-13-14 16,13 13-16,0-13 0,0-1 15,13-12-15,-13 26 0,14-26 16,-1 0-16,0-1 0,0 1 0,1 0 16,-1-14-16,13 14 0,-13-27 15,1 0-15,-1 1 0,0-14 16,0 0-16,1 0 0,-1 0 0</inkml:trace>
  <inkml:trace contextRef="#ctx0" brushRef="#br0" timeOffset="39206.82">22662 2368 0,'0'26'0,"13"-12"0,-13-1 16,0 13-16,13 1 0,0 13 16,0-1-16,1 14 0,-1-13 15,0 13-15,0 0 0,14 39 16,-14-39-16,0-13 0,-13 0 15,0-1-15,14 1 0,-14-14 0,0 14 16,0-13-16,-14-1 0,14-13 0,0 27 16,0-27-16,0 14 0,0-14 15,-13 0-15,26 0 16</inkml:trace>
  <inkml:trace contextRef="#ctx0" brushRef="#br0" timeOffset="39479.01">23561 2884 0,'-26'0'0,"12"0"15,-12 13-15,13-13 16,-14 13-16,-12 1 16,25-1-16,-12 0 0,13 0 0,-14-13 15,1 27-15,13-27 0,-1 13 16,1-13-16,13 13 0,-13-13 16,0 13-16,-1-13 0</inkml:trace>
  <inkml:trace contextRef="#ctx0" brushRef="#br0" timeOffset="39765.71">23230 2897 0,'-13'13'16,"0"1"-16,0-1 0,0 0 15,-1 0-15,1 1 0,0-1 0,0 13 16,-1-13-16,14 1 0,-13 12 0,0-13 16,13 1-16,0-1 0,0 0 15,0 0-15,0 1 0,0-1 0,13 13 16,0-26-16,1 13 16,12 1-16,-13-14 0,14 0 15,-14 0-15,13 0 0,-12 0 16,12 0-16,-13-14 0,14 14 0,-14-13 15,13 13-15,1-13 0</inkml:trace>
  <inkml:trace contextRef="#ctx0" brushRef="#br0" timeOffset="40036.78">23971 2778 0,'0'13'16,"0"1"-1,0-1 1,0 0-16,0 0 0,0 1 16,-13-1-16,13 0 0,0 0 0,0 0 15,0 1-15,0-1 16,0 0-16,-13-13 0,26 13 15</inkml:trace>
  <inkml:trace contextRef="#ctx0" brushRef="#br0" timeOffset="40172.01">23905 2646 0,'0'-13'0,"0"26"0</inkml:trace>
  <inkml:trace contextRef="#ctx0" brushRef="#br0" timeOffset="41412.75">24117 2725 0,'-13'0'0,"26"0"0,-40 13 16,14-13-16,0 0 15,13 14-15,0-1 16,0 0 0,0 0-1,13 1-15,-13-1 16,0 0-16,13 0 0,-13 1 0,0 38 16,0-38-16,0 12 15,0-13-15,0 14 0,-13-1 16,0-13-16,13 1 15,-13-1-15,13 0 0,-14 0 0,1 1 0,13-1 16,-13-13 0,13 13-16,-13-39 31,26 12-31,0 1 16,0-13-16,-13 12 0,14-12 15,-1 13-15,0-14 16,0 14-16,1 0 0,-1 0 15,0-1-15,0 1 16,0 0-16,1 13 0,-1-13 16,0 13-16,0 0 15,1 0 1,-14 13-16,13-13 0,-13 13 16,13 0-16,-13 1 15,0-1 1,0 0-16,13-13 15,-13 13 1,27-26 15,-14 0-15,0 13 0,0-13-16,1 13 15,-1 0 1,-13 13-1,13-13 1,0 0 0,1 13-1,12-26 1,-13 13-16,1-13 0,-1 13 16,0-14-16,0 1 15,-13 0-15,13 0 16,1 13-1,-14 13 32,0 0-47,13-13 16,-13 13 0,13-26 30,-13 0-30,13 0-16,-13 0 16,14-1-1,-14 1-15,13 13 16,0 0 0,0 13-1,0 1 16,-13-1-31,14-13 32,-1 0-1,0-13-31,0 13 16,-13-14-16,14 14 15,-1-13-15,0 13 16,-13 13 15</inkml:trace>
  <inkml:trace contextRef="#ctx0" brushRef="#br0" timeOffset="41662.44">24739 2844 0,'0'0'0,"13"-13"0,-26 13 31,-14 13-15,14 1 0,0-1-16,13 0 15,0 0 1,13-13-16,13 0 16,-12 0-1,-1-13-15,0 13 0,-13-13 16,-13 0-1,0 13-15,-54-14 16,-38 14-16</inkml:trace>
  <inkml:trace contextRef="#ctx0" brushRef="#br0" timeOffset="42869.77">14711 10901 0,'0'40'16,"13"-14"-16,-13 0 0,0-12 15,0 12-15,0 14 0,0-1 16,0 1-16,0-13 0,0-1 0,0 14 16,0-14-16,0-13 0,0 14 0,13-14 15,-13 0-15,0 1 0,14-1 16</inkml:trace>
  <inkml:trace contextRef="#ctx0" brushRef="#br0" timeOffset="43938.56">14631 10821 0,'14'0'0,"-28"0"0,41-13 16,-14 13-16,0 0 0,1 0 15,12-13-15,1 13 0,-1 0 16,14-13-16,13 0 0,-14 13 16,27-14-16,1 1 0,-1 0 0,0 0 15,0-1-15,0-12 0,0 13 16,0-1-16,1 1 0,65-13 15,-66 13-15,0 13 0,-13-14 16,0 1-16,0 13 0,0-13 0,-13 0 16,12 13-16,-12-14 0,-13 14 0,-1 0 15,0-13-15,1 13 0,-14 0 0,0-13 16,1 13-16,-1 0 0,0 0 16,0 0-16,1-13 0,-1 13 15,0 0-15,0-13 16,0 13 15,1-14 0,-1 28 1,0-14-32,0 0 15,-13 13 1,14-13-1,-1 13 1,0-13 0,0 13-1,1-13 1,-1 0 0,-13 13-16,13-13 15,0 0-15,0 0 16,1 0 15,-1 0-31,0 0 16,0 0-1,1 14-15,-1-14 16,0 0-16,0 13 16,1-13-16,-1 13 15,0-13-15,-13 13 0,13 1 16,-13-1-16,13-13 15,-13 13-15,14 13 0,-14-12 0,13-1 16,-13 0-16,13 14 0,-13-14 0,13 0 16,-13 14-16,0-14 0,14 13 15,-1 1-15,0 12 0,-13-25 16,13-1-16,-13 13 0,0-12 0,14-1 16,-14 0-16,0 0 0,13 0 15,-13 1-15,13-14 0,-13 13 16,0 0-16,13 0 15,-13 1-15,13-14 16,-13 13 0,0 0 15,14 0-31,-14 0 31,0 1-31,-14-1 16,1 0-16,13 0 0,-13 1 15,0-1-15,-14 13 0,1-12 16,-14 12-16,0 14 0,-39 13 16,26-14-16,-26 14 15,-14 0-15</inkml:trace>
</inkml:ink>
</file>

<file path=ppt/ink/ink15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3:02:24.343"/>
    </inkml:context>
    <inkml:brush xml:id="br0">
      <inkml:brushProperty name="width" value="0.05292" units="cm"/>
      <inkml:brushProperty name="height" value="0.05292" units="cm"/>
      <inkml:brushProperty name="color" value="#0070C0"/>
    </inkml:brush>
  </inkml:definitions>
  <inkml:trace contextRef="#ctx0" brushRef="#br0">1998 2408 0,'39'0'78,"41"13"-78,12 0 16,14 0-16,13 1 16,13-1-16,40 0 15,80 27 1,79-27-16,-27 13 0,-93-26 15,-52 14-15,-13-14 16,12 0-16,-105 0 16,-13 0-1,-27 0-15</inkml:trace>
  <inkml:trace contextRef="#ctx0" brushRef="#br0" timeOffset="7082.34">13441 1759 0,'13'27'15,"-13"-14"-15,0 14 16,0-1-16,0 14 0,0 13 15,0-14-15,0 14 0,0 0 0,0-13 16,0 13-16,0 0 0,0-14 0,0 14 16,0-13-16,13 0 15,-13-14-15,0 1 0,0-1 0,0 1 16,0-14-16,0 0 0,0 13 0,0-12 16,14-14-16</inkml:trace>
  <inkml:trace contextRef="#ctx0" brushRef="#br0" timeOffset="7907.91">13348 1680 0,'53'-13'16,"-26"13"-16,-14-13 16,13 13-16,14 0 15,0 0-15,13-14 0,-1 14 0,15-13 0,-1 0 16,13 13-16,-13-13 0,0 0 15,14-1-15,-1 1 0,1 0 16,-1 0-16,0 13 0,-13-14 0,14 1 16,-14 0-16,0 0 0,0-1 0,0 14 15,1-13-15,-15 0 0,1 13 0,0-13 16,0 13-16,-13-13 0,13-1 16,-13 14-16,-14-13 0,14 13 0,-14-13 15,1 13-15,-1 0 0,-13-13 0,14 13 16,-14-14-16,0 14 0,0 0 15,1 0-15,-1 0 0,0-13 16,0 13-16,1 0 0,-1 0 16,0 0-1,0 0 17,1 0-17,-1 13 1,0-13-16,-13 14 15,13-1-15,-13 0 0,13 0 0,1 1 16,-14 12-16,13 14 0,13-14 16,-12 14-16,-1 13 0,0-14 0,0 1 15,0 13-15,14-13 0,-14 13 0,0-14 16,1 1-16,-1-14 0,0 14 16,0 0-16,1-14 0,-1 1 15,-13-1-15,13 1 0,-13-14 0,0 13 16,13-12-16,-13-1 0,0 0 15,0 0-15,0 0 0,0 1 16,0-1-16,0 0 0,0 0 16,-13-13-1,0 0 1,0 14-16,-1-14 0,1 0 0,0 0 16,-14 0-16,1 13 0,-27-13 15,13 13-15,-13-13 0,-13 13 16,0 1-16,-13-1 0,-1 13 0,-78 14 15,52-14-15,0 1 0,27-1 16,-1-12-16,14 12 0,0-13 16,13 14-16,13-14 0,14 0 0,-1-13 15,14 13-15,0-13 0</inkml:trace>
  <inkml:trace contextRef="#ctx0" brushRef="#br0" timeOffset="8372.69">17687 2447 0,'67'-13'16,"-28"13"-16,1-13 0,0 13 16,13-13-16,-1 13 0,15-14 0,-1 1 15,13 0-15,212-13 16,-238 26-1,-26 0-15,12 0 0,-26 0 0,27 0 16</inkml:trace>
  <inkml:trace contextRef="#ctx0" brushRef="#br0" timeOffset="8592.2">17701 2593 0,'39'0'16,"-12"0"-16,12-13 0,1 13 16,13-14-16,0 14 0,13-13 0,14 13 15,-14-13-15,0 0 0,13 13 16,-13-13-16,-13 13 0,0-14 0,0 14 16,-13-13-16,13 13 0,-14-13 15,-12 13-15,-1 0 0,1-13 0,-14 13 16,13 0-16</inkml:trace>
  <inkml:trace contextRef="#ctx0" brushRef="#br0" timeOffset="12299.07">8559 2778 0,'0'-13'32,"0"39"-1,0-12-16,0-1-15,0 0 16,0 0-16,0 1 0,0-1 16,0 0-1,0 0-15</inkml:trace>
  <inkml:trace contextRef="#ctx0" brushRef="#br0" timeOffset="12579.11">8533 2805 0,'13'-40'31,"-13"27"-31,13 13 0,0-14 16,1 14-16,-1 0 0,0 0 15,-13 14-15,13-14 0,1 13 16,-1-13-16,0 13 0,-13 0 0,13-13 15,-13 14-15,0-1 0,0 0 0,0 0 16,0 1-16,-13-1 0,13 0 16,-13 0-16,13 0 0,-13-13 0,-1 14 15,1-1-15,0-13 0,13 13 16,-13-13-16,-1 13 0,1-13 16</inkml:trace>
  <inkml:trace contextRef="#ctx0" brushRef="#br0" timeOffset="12884.92">8811 2791 0,'0'27'47,"0"-14"-31,13 0-16,0-13 15,-13 14-15,13-14 16,1 0-16,-1 0 0,0-14 16,0 14-16,0-13 0,-13 0 15,14 13-15,-14-13 16,-14-14-16,14 14 16,-13 0-16,13-1 0,-13 14 15,13-13-15,-13 13 0,0 0 16,-14 0-1,1 0-15,26 13 16,-14-13-16</inkml:trace>
  <inkml:trace contextRef="#ctx0" brushRef="#br0" timeOffset="13164.7">8983 2712 0,'0'13'31,"0"0"-31,0 1 0,0-1 16,0 0-16,0 0 15,0 1-15,13-14 16,-13 13-16,13-13 0,0 0 16,1 0-16,-1 0 15,0 0-15,0 0 16,0 0-16,1 13 15,-1-13-15,-13 13 16,13-13-16,-13 14 0,13-1 16,-13 0-1,14-13-15</inkml:trace>
  <inkml:trace contextRef="#ctx0" brushRef="#br0" timeOffset="13404.61">9432 2659 0,'14'13'15,"-14"1"1,0-1-16,0 0 0,0 0 15,0 0-15,0 1 16,13-1-16,-13 0 16,-13 0-1</inkml:trace>
  <inkml:trace contextRef="#ctx0" brushRef="#br0" timeOffset="14665.02">10649 2725 0,'0'-13'16,"0"39"15,14-12-31,-14-1 15,0 0-15,0 0 0,13 1 16,-13-1-16,0 0 0,0 0 16,0 1-16,0-1 0,0 0 15,0 0-15</inkml:trace>
  <inkml:trace contextRef="#ctx0" brushRef="#br0" timeOffset="14944.75">10663 2778 0,'0'0'0,"0"-13"0,0 0 0,0-1 15,13 14-15,-13-13 0,13 13 16,0-13-16,1 13 0,-1 0 16,0 0-16,0 0 0,1 0 15,-1 0 1,-13 13-16,13 0 0,-13 1 15,0-1-15,0 0 0,0 0 16,-13 1-16,13-1 16,-13 0-16,-1 0 0,14 1 15,-13-1-15,0 0 0,13 0 16,-13-13-16,13 13 0</inkml:trace>
  <inkml:trace contextRef="#ctx0" brushRef="#br0" timeOffset="15262.75">10874 2765 0,'0'0'0,"-13"26"32,13 1-17,13-14 1,-13 0-16,14 1 0,-1-14 15,0 13-15,0-13 16,1 0-16,-1 0 16,0 0-16,0-13 0,0 13 15,-13-14-15,14 14 16,-14-13-16,0 0 0,0 0 0,0-1 16,0-12-1,0 13-15,-14-1 16,1 14-16,0 0 15,0 14 1,0-14-16,-1 13 16</inkml:trace>
  <inkml:trace contextRef="#ctx0" brushRef="#br0" timeOffset="15584.58">11112 2699 0,'0'0'0,"0"-13"32,0 39-17,0-13-15,-13-13 16,13 13-16,0 1 0,0-1 16,0 0-16,13 0 31,1-13-31,-1 0 15,0 14-15,0-14 16,1 0 0,-14 13-16,13-13 15,0 0-15,-13 13 0,13 0 16,-13 1 0,14-14-16,-14 13 15,13-13-15</inkml:trace>
  <inkml:trace contextRef="#ctx0" brushRef="#br0" timeOffset="15868.89">11390 2659 0,'14'-13'16,"-1"13"-1,0 0-15,-13 13 16,0 0-1,0 1-15,0-1 0,0 0 16,0 0-16,-13 0 16,26 1-1,0-1 1,0-13 0,14 0-1,-14 0-15,14 0 16,-14-13-16,13 13 15,-26 13-15,14-13 0</inkml:trace>
  <inkml:trace contextRef="#ctx0" brushRef="#br0" timeOffset="17208.74">13044 2619 0,'0'14'63,"0"-1"-48,0 0 1,0 0-16,13-13 0,-13 14 16,13-14-16,-13 13 0,14-13 15,-14 13-15,13-13 0,0 13 16,0 0-16,1-13 15,-14 14 1,-14-1 0,1 0-16,0-13 0,0 13 15,-1-13-15,1 0 0,0 14 16,0-14 0,0 0-16,-1 13 0,1 0 15</inkml:trace>
  <inkml:trace contextRef="#ctx0" brushRef="#br0" timeOffset="18098.97">13057 2593 0,'13'0'16,"-13"-13"0,0-1-1,0 1-15,-13 13 16,0 0-16,0 0 16,0 0-1,-1 0-15,1 13 16,0-13-16,13 14 0</inkml:trace>
  <inkml:trace contextRef="#ctx0" brushRef="#br0" timeOffset="19899.14">15121 2765 0,'-27'13'46,"14"0"-30,0-13-16,13 14 0,-13-14 16,0 13-16,-1-13 0,14 13 0,-13-13 15,13 13-15,-13-13 0,13 14 16,-13-1-16,26 0 16,0-13-1,0 0-15,1 0 16,12 0-16,-13 0 0,0 0 0,14 0 15,-1-13-15,-12 13 0,12 0 16,1 0-16,-14-13 0,13 13 16,-13 0-16,1 0 0,-1-14 0,0 14 15</inkml:trace>
  <inkml:trace contextRef="#ctx0" brushRef="#br0" timeOffset="20079.66">15174 2699 0,'-27'39'16,"27"-25"-1,0-1-15,0 0 0,0 0 16,14 1-16,-14-1 0,0 13 0,13-12 16,-13-1-16,0 0 0,0 0 15,0 0-15,13 1 0</inkml:trace>
  <inkml:trace contextRef="#ctx0" brushRef="#br0" timeOffset="22719.83">17767 2765 0,'13'-13'0,"-26"26"0,39-26 16,-13-1-16,1 14 0,-1 0 15,0 0 1,-39 14 15,26-1-31,-14-13 16,1 0-16,0 13 0,0-13 15,0 0-15,-1 13 0,1-13 16,0 0 0,13 14-16,13-1 15,0-13 1,1 13-16,-1-13 15,0 0-15,-13 13 0,13-13 0,0 0 16,-13 14-16,14-14 0,-1 0 0,-13 13 16,13 0-1,-26 0-15,0-13 16,-1 0-16,1 13 0,0-13 0,0 0 16,0 14-16,-1-14 15,-12 0-15,13 13 0,-1-13 0,1 0 16,0 13-16</inkml:trace>
  <inkml:trace contextRef="#ctx0" brushRef="#br0" timeOffset="24027.92">6403 5159 0,'0'0'15,"26"0"1,-12 0-16,-1 0 15,13-13-15,-12 13 0,12 0 0,-13-13 16,14 13-16,-14 0 0,13 0 0,-12 0 16,-1-13-16,0 13 0,0 0 15</inkml:trace>
  <inkml:trace contextRef="#ctx0" brushRef="#br0" timeOffset="24191.08">6443 5305 0,'39'-13'31,"-25"13"-31,12-14 16,-13 14-16,14 0 0,-14-13 0,13 13 16,-12-13-16,-1 13 0</inkml:trace>
  <inkml:trace contextRef="#ctx0" brushRef="#br0" timeOffset="40088.71">5411 5781 0,'0'0'0,"0"13"0,0 1 47,13-28-32,-13 1 1,0 0-16,0 0 0,13-1 15,-13-12-15,0 0 0,0 12 0,0-12 16,0 13-16,13-14 0,-13 14 0,0-14 16,0 14-16,0 0 0,0 0 15,0 0-15,-13-1 0,13 1 16,0 0-16,0 39 31,-13-12-31,13-1 0,0 0 16,13 0-16,-13 0 0,0 1 0,0-1 15,13 0-15,-13 0 16,14 1-16,-1-1 16,0-13-16,0 0 15,1-13-15,-14-1 0,13 1 0,0 0 16,-13 0-16,13-1 0,-13-12 16,13-67-1,1 80-15,-14 0 0,0 0 31,13 39-15,0-13-16,-13 1 0,13 25 16,1-25-16,-14-1 15,13 0-15,0 0 0,0-13 0,1 13 16,-1-13-16,0 14 0,0-14 0,14 13 16,-14-13-16,0 0 0,0 0 0,1 0 15,-1 0-15,13-13 0,-12 13 16</inkml:trace>
  <inkml:trace contextRef="#ctx0" brushRef="#br0" timeOffset="41144.86">7752 5014 0,'27'-66'16,"-14"52"-1,0 1-15,0 13 0,1-13 16,-1 13-16,0 0 0,0 0 0,1 0 16,-1 13-16,0-13 0,0 13 0,1 1 15,-14 12-15,13-13 0,-13 14 16,0-1-16,0 1 0,0-1 0,0 1 15,-13-1-15,13 1 0,0-1 0,0 1 16,0-14-16,0 13 0,0-13 16,0 14-16,0-14 0</inkml:trace>
  <inkml:trace contextRef="#ctx0" brushRef="#br0" timeOffset="41312.05">8083 5583 0,'-13'0'16,"0"0"0,-1 13-1</inkml:trace>
  <inkml:trace contextRef="#ctx0" brushRef="#br0" timeOffset="84342.93">7911 7197 0,'27'13'16,"-14"-13"0,0-13-16,0 13 0,0-14 0,1 1 15,-1 0-15,0 0 0,14-14 0,-14 1 16,0-1-16,0 1 0,0-14 16,1 14-16,-1-14 0,-13 14 0,13-27 15,0 13 1,-13 14-16,0 12 0,0 1 0,0 0 0,0 0 15,0-1-15,0 1 0,0 0 16,-13 26 0,0 0-16,13 14 15,0-14-15,-13 14 16,13-1-16,0 0 0,-14 1 0,14-1 16,0 1-16,0-1 0,0-12 0,14 12 15,-14 0-15,0-12 0,13 12 0,-13-13 16,0 1-16,13-1 0,0 0 15,1-13-15,-14 13 0,13-13 0,0 0 16,14-13-16,-1 0 16,-13 0-16,0-1 0,1-12 15,-1-1-15,0 1 0,0-14 0,-13 14 16,14-14-16,-14 14 0,0-1 0,0 14 16,0-13-16,0 12 0,0 1 15,0 0-15,0 0 0,0 26 31,0 13-15,0-12-16,0 12 0,0-13 16,0 14-16,0-1 0,0 1 0,0-1 15,0-13-15,13 14 0,-13-1 0,13-13 16,-13 1-16,13 12 0,-13-13 0,14 1 16,-1-14-16,-13 13 15,13 0-15,0-13 0,0 0 0,1 0 16,-1 0-16,0 0 0</inkml:trace>
  <inkml:trace contextRef="#ctx0" brushRef="#br0" timeOffset="84627.9">8943 6879 0,'-13'0'31,"52"0"-15,-25-13-16,12 13 15,-13 0-15,1 0 0,12 0 0,-13 0 16,14 0-16,-14-13 0,0 13 15,0 0-15,1 13 0,-1-13 0,0 13 16</inkml:trace>
  <inkml:trace contextRef="#ctx0" brushRef="#br0" timeOffset="84811.82">9009 6998 0,'0'0'0,"-13"13"0,0-13 31,39 0 0,1 0-15,-14 0-16,0-13 0,13 13 0,1-13 15,-1 13-15,1 0 0,-14-13 0,14 13 16,-1-13-16,0 13 0,1-14 16,-1 1-16</inkml:trace>
  <inkml:trace contextRef="#ctx0" brushRef="#br0" timeOffset="85320.59">9829 6694 0,'13'-13'0,"-26"26"0,40-26 0,-14 0 15,0 13-15,0 0 0,1 0 16,-1 0-16,0 0 0,0 0 0,1 0 16,-1 13-16,0 0 0,-13 0 15,0 0-15,-13 1 16,13-1-16,-13 0 0,-1-13 0,14 13 15,-13 1-15,0-1 0,13 0 16,13 0 15,0-13-31,1 0 0,-1 0 16,13 0-16,-13 0 0,1 0 16,-1 13-16,0-13 0,0 0 15,-13 14-15,14-14 0,-14 13 16,0 0-16,-14-13 0,1 13 15,0 1-15,0-1 0,-14 0 0,1-13 16,13 13-16,-14 1 0,1-14 16,12 13-16,1-13 0,-13 13 0,12-13 15,1 0-15,0 0 0,0 0 16,0 0-16,13-13 16,0 0-16</inkml:trace>
  <inkml:trace contextRef="#ctx0" brushRef="#br0" timeOffset="85651.87">10253 6654 0,'-67'27'31,"67"-14"-31,-13 0 0,0 0 16,13 1-16,0-1 0,0 0 15,0 0 1,13-13-16,0 0 0,1 0 16,-1-13-16,0 13 15,0-13-15,1 13 16,-1 0-16,0-13 0,0 26 31,-13 0-31,14 0 16,-14 1-16,0-1 0,0 0 15,0 0-15,0 0 0,0 1 16,0-1-16,0 0 0,0 0 16,13 1-16,0-14 15</inkml:trace>
  <inkml:trace contextRef="#ctx0" brushRef="#br0" timeOffset="85947.84">10716 6694 0,'0'0'16,"-27"0"0,14 13-16,0-13 15,-1 13-15,-12 1 0,13-1 0,-14 0 16,14 0-16,-13-13 0,12 14 0,1-1 16,13 0-16,-13 0 0,0 0 15,13 1-15,0-1 16,13 0-16,0 0 15,0-13-15,1 0 0,-1 0 16,0 0-16,14 0 16,-14 0-16,13-13 0,-13 13 0,14 0 15,-14-13-15,0 13 0,14-13 0,-14 13 16,0-14-16,1 1 0,-1 13 0,-13-13 16,13 0-16,-13 0 0</inkml:trace>
  <inkml:trace contextRef="#ctx0" brushRef="#br0" timeOffset="86127.77">10729 6668 0,'-13'0'0,"26"0"16,-40 13-16,14-13 0,0 13 15,13 0-15,-13 0 16,13 1-16,-14 12 0,14-13 0,0 14 16,0-14-16,-13 13 0,13 1 0,13-14 15,-13 14-15,0-14 0,0 13 0,14-12 16,-14 12-16,13-13 0,-13 0 15,13-13-15,-13 14 0,13-1 16,1-13-16,-1 0 0</inkml:trace>
  <inkml:trace contextRef="#ctx0" brushRef="#br0" timeOffset="86699.08">10941 6760 0,'26'13'47,"-13"1"-31,-13-1-1,0 0 1,13 0-16,1-26 31,-1 13-31,0-13 16,0 13 0,1-13-16,-1 13 15,0 0 1,0 0-16,0 13 15,1 0-15,-14 0 16,13-13 0,0-13 15,0 13-15,-13-13-16,14 13 0,-14-13 15,13 13-15,-13-14 0,13 14 16,0 0-16,1 0 15,-1 0-15,0 0 16,0 0 0,0 14-1,1-1 17</inkml:trace>
  <inkml:trace contextRef="#ctx0" brushRef="#br0" timeOffset="87167.09">11377 6694 0,'0'40'62,"0"-27"-46,0 0-16,13-13 16,-13 13-1,14-26-15,-1 13 16,0 0 0,0-13-1,0 13-15,1 0 31,-1 0-15,0 13 0,0-13 15,1 0-15,-1 0-16,0 0 15,0-13-15,1 13 0,-1 0 16,0 0-16,0 0 15,0-13-15,1 13 0,-1-14 16,0 14-16,-39-13 31</inkml:trace>
  <inkml:trace contextRef="#ctx0" brushRef="#br0" timeOffset="90271.28">22053 8824 0,'0'0'0,"-13"26"15,13 1-15,0-14 0,-13 27 16,13-1-16,0 1 0,-14 0 15,14 13-15,0 13 0,0 0 0,0 0 16,0 0-16,0 14 0,0-14 0,0 13 16,0 1-16,0-1 0,0-13 15,0 13-15,0 1 0,0-1 16,0-13-16,0 14 0,0-1 0,-13 0 16,13 1-16,-13-14 0,13 13 0,-13 1 15,-1-1-15,1-13 0,13 0 16,-13 1-16,13-1 0,-13 0 0,13 0 15,-13-13-15,13 0 0,-14-14 0,14 14 16,-13-13-16,13-13 0,-13 12 0,13-12 16,0-14-16,-13 13 0,13-12 15,0-1-15,0 0 0,0 0 0,-14 1 16,28-41 31,-14 14-32,0 0 1,0-1-16,-14 1 16</inkml:trace>
  <inkml:trace contextRef="#ctx0" brushRef="#br0" timeOffset="90736.11">21669 11298 0,'0'26'16,"0"-13"-1,-13 1-15,13-1 0,0 0 16,0 14-16,0-14 0,0 13 0,0-13 0,0 14 16,0-1-16,0-12 15,0-1-15,0 13 0,13-12 0,-13-1 16,0 0-16,14 0 0,-14 0 0,13 1 16,0-14-16,0 0 15,1 0-15,-1 0 0,0 0 0,0 0 16,14 0-16,-14-14 0,13 14 0,1-13 15,-14 13-15,27-13 0,-14 0 16,1 0-16,-1-1 0,14 14 0,-27-13 16,13 0-16,1 13 0,-1-13 15,1-1-15,-14 14 0,0 0 0,1-13 16,-1 13-16,0 0 0,0 0 16,0-13-16,1 13 0,-1 0 15,-13-13-15,13 13 16,-13-14-1</inkml:trace>
  <inkml:trace contextRef="#ctx0" brushRef="#br0" timeOffset="90889.09">22423 11430 0,'-13'13'16,"0"0"-16,0-13 31,0-13-15</inkml:trace>
  <inkml:trace contextRef="#ctx0" brushRef="#br0" timeOffset="150348.81">6773 10213 0,'-13'-13'31,"26"-1"-16,1 14-15,-1 0 16,13 0-16,-13 14 0,1-14 16,-1 0-16,0 13 0,0 0 15,1 0-15,-14 1 0,13-1 0,-13 0 16,0 0-16,-13 1 0,13-1 0,-14 13 16,14 1-16,-13-14 0,0 13 15,-14-12-15,14-1 0,0 0 16,0 0-16,0 1 0,-1-1 0,1 0 15,0-13-15,13 13 0,-13-13 16,39 0 15,1 0-15,-14 0 0,0-13-16,13 13 0,-12 0 0,-1-13 15,13 13-15,-12-13 0,12-1 16,-13 14-16,14-13 0,-1-13 0</inkml:trace>
  <inkml:trace contextRef="#ctx0" brushRef="#br0" timeOffset="150671.76">7104 10160 0,'0'0'0,"-26"0"0,12 13 16,1 0-16,13 1 15,0-1-15,0 0 16,0 0-16,0 1 0,13-1 0,1 13 15,-1-12-15,13-14 0,-12 13 0,12 0 16,0-13-16,1 13 0,-1-13 16,-12 0-16,12 0 0,-13 0 0,0 0 15,1 0-15,-1 0 0,-13-13 0,13 13 16,-13-13-16,-13 0 16,0-1-16,-1 1 0,1 0 15,-13 0-15,13-1 0,-14 14 0,1-13 16,-1 0-16,14 13 0,-13 0 15,12-13-15,-12 13 0,13 0 0,-1 0 16,1 0-16,0 0 0,26-14 31,0 1-31,1 0 0,12-13 16</inkml:trace>
  <inkml:trace contextRef="#ctx0" brushRef="#br0" timeOffset="150964.84">7369 9935 0,'13'-13'0,"-13"26"31,-13 0-31,13 1 0,0 12 16,-14-13-16,14 14 0,0-1 0,14 1 15,-14-14-15,0 13 0,13 1 0,0-1 16,0-13-16,1 1 0,-1 12 16,13-13-16,-13-13 0,14 14 0,-14-1 15,14-13-15,-14 0 0,0 0 16,0 0-16,1 0 15,-1 0-15,-13-13 0,13 13 0,-13-14 16,-13 1-16,0 0 16,-1 13-16,1 0 15,0 0-15,0 0 0,-1 0 0,-12 0 16,13 0-16,-1 13 0,1-13 0,-13 13 16,13-13-16,13 14 15</inkml:trace>
  <inkml:trace contextRef="#ctx0" brushRef="#br0" timeOffset="151151.14">7805 9829 0,'13'13'31,"-13"14"-31,0-14 0,0 0 16,0 14-16,0-14 0,0 14 15,0-1-15,14 0 0,-14 1 0,0-1 16,0 1-16,13-1 0,-13-12 0,13-1 16,-13 13-16,13-13 0,-13 1 15</inkml:trace>
  <inkml:trace contextRef="#ctx0" brushRef="#br0" timeOffset="151356.76">7660 10028 0,'-14'-14'15,"41"14"1,-14-13-16,0 13 0,1 0 16,-1 0-16,13 0 0,1 0 0,-14 0 15,13 0-15,1 0 0,-1 0 16,14 0-16,-13 0 0,12-13 15,-12 13-15</inkml:trace>
  <inkml:trace contextRef="#ctx0" brushRef="#br0" timeOffset="151765.68">8348 9816 0,'79'-40'31,"-66"40"-15,0 0-16,1 0 0,-1 0 0,0 0 16,0 14-16,1-1 15,-1 13-15,-13-13 0,0 1 0,13 12 16,-13 1-16,0-1 0,0 1 0,0-14 16,0 13-16,0 1 0,0-1 15,0 1-15,0-1 0,0-13 0,0 14 16,0-14-16,0 13 0,0-12 15,0-1-15,0 0 0,0 0 0,13 1 16,-13-1-16</inkml:trace>
  <inkml:trace contextRef="#ctx0" brushRef="#br0" timeOffset="151971.67">8321 10173 0,'-13'-13'15,"39"0"1,-12 13-16,-1-13 16,13 13-16,-12 0 0,12-14 15,0 14-15,1-13 0,13 0 0,-14 0 16,14-1-16,-1 1 0</inkml:trace>
  <inkml:trace contextRef="#ctx0" brushRef="#br0" timeOffset="152301.14">8969 9790 0,'0'-14'0,"0"28"0,-13-41 16,0 27 0,0 0-16,-1 13 0,-12 1 15,13-1-15,-14 0 0,14 13 16,-13 1-16,12-1 0,1 14 15,0-13-15,13 12 0,-13-26 0,26 14 0,-13-1 16,0-12-16,13 12 0,0-13 16,14 1-16,-14-1 0,14 0 15,-1 0-15,-13-13 0,14 0 0,-14 13 0,0-13 16,0 0-16,1-13 16,-1 13-16,0 0 0,-13-13 0,13 0 15,-26 0 1,0-1-16,0 1 0,-1 13 15,-12-13-15,13 13 0,-1 0 16,1 0-16,0 0 0,0 0 0,0 0 16,-1 0-16,1 0 0,0 13 0,0-13 15,13 13 1</inkml:trace>
  <inkml:trace contextRef="#ctx0" brushRef="#br0" timeOffset="152519.87">9446 9684 0,'13'0'0,"-26"0"0,26 13 16,-13 13-16,-13-12 16,13 12-16,0 1 0,0-1 0,0 0 15,0 1-15,0-1 0,0 14 0,0-13 16,0-1-16,0 0 0,0 1 0,0-1 15,0 1-15,0-14 0,13 14 16,-13-14-16,0 0 0,0 0 16,13 0-16,-13 1 0</inkml:trace>
  <inkml:trace contextRef="#ctx0" brushRef="#br0" timeOffset="152720.44">9062 10001 0,'40'0'15,"-27"0"1,13-13-16,-12 13 0,12 0 0,1 0 16,-1 0-16,14-13 0,-14 13 15,1 0-15,12 0 0,-12 0 16,-1-13-16,27 13 0</inkml:trace>
  <inkml:trace contextRef="#ctx0" brushRef="#br0" timeOffset="153148.66">9856 9763 0,'39'0'0,"-25"0"16,12 0-16,-13 0 0,1 13 0,25 14 31,-39-14-31,0 13 0,0-12 15,-13-1-15,0 13 0,0-12 0,-1 12 16,1-13-16,0 1 0,0-1 16,13 0-16,-14 0 0,1 0 15,13 1-15,-13-14 0,13 13 0,0 0 16,0 0 0,13-13-16,0 14 0,1-14 15,-1 0-15,13 0 0,-12 0 0,12 0 16,0 0-16,-12-14 0,12 14 15,-13 0-15,14 0 0,-14-13 16,14 13-16,-14-13 0,0 13 16,0-13-16,0-1 0</inkml:trace>
  <inkml:trace contextRef="#ctx0" brushRef="#br0" timeOffset="153439.1">10253 9723 0,'0'-13'0,"0"26"0,26-26 0,1 13 16,-14 13 0,0-13-16,0 14 0,0-1 15,-13 0-15,0 0 0,-13 1 16,13 12-16,-13-13 0,13 14 16,-13-14-16,13 0 0,-13 0 0,13 1 15,-14-1-15,14 13 16,-13-26-16,13 14 0,13-1 15,1 0-15,-1-13 16,0 0-16,0 0 16,0 0-16,1 0 0,-1 0 15,13 0-15,-12-13 0,12 13 0,1-13 16,-1 13-16,0-14 0,14-12 16,-13 13-16,-1-1 0</inkml:trace>
  <inkml:trace contextRef="#ctx0" brushRef="#br0" timeOffset="153818.31">10888 9737 0,'13'0'0,"-40"26"31,14-13-15,0-13-16,0 14 0,-1 12 16,1-13-16,0-13 0,13 13 15,-13 1-15,13-1 0,-13-13 16,13 13-16,0 0 15,13 1-15,0-14 16,-13 13-16,13-13 16,0 0-16,186-80 78</inkml:trace>
  <inkml:trace contextRef="#ctx0" brushRef="#br0" timeOffset="153882.81">10993 9684 0,'-52'317'93,"65"-304"-77</inkml:trace>
  <inkml:trace contextRef="#ctx0" brushRef="#br0" timeOffset="154172.1">11456 9591 0,'0'53'31,"0"-40"-31,14 14 0,-14 12 15,0-12-15,13 13 16,-13-14-16,13 0 0,0 14 16,-13-13-16,14-1 15,-14-13-15,13 1 0,0-1 0,0 0 16</inkml:trace>
  <inkml:trace contextRef="#ctx0" brushRef="#br0" timeOffset="154371.91">11311 9842 0,'-13'0'31,"39"-13"-31,-13 13 0,1-13 16,12 13-16,14-13 0,-14 13 15,1-13-15,12 13 0,14-14 16,-13 14-16,39-13 15,-26 13-15,-13 0 0,53-13 16</inkml:trace>
  <inkml:trace contextRef="#ctx0" brushRef="#br0" timeOffset="154887.21">11986 9565 0,'13'0'0,"13"26"31,-26-13-15,14-13-16,-14 14 0,0-1 15,13-13-15,-13 13 0,26 14 16,-26-14-16,13-13 0,1 13 16,-14 0-16,13 0 0,-13 1 15,13-1-15,-13 0 0,-13 14 16,-14 12 0,-52-12 46</inkml:trace>
  <inkml:trace contextRef="#ctx0" brushRef="#br0" timeOffset="155037.15">12250 9565 0,'119'225'125,"-106"-239"-110,-26 1-15,0 0 16,-93-172-16,199 357 0,-106-172 0,-1-14 15,1 14-15,0 0 16,0 0-16,-1 0 0,1 0 16,0 14-1</inkml:trace>
  <inkml:trace contextRef="#ctx0" brushRef="#br0" timeOffset="155560.09">12885 9406 0,'-13'53'31,"13"-27"-31,0-12 0,13 12 16,-13 0-16,0-12 0,0 12 15,0 14-15,13-27 0,-13 14 16,0-14-16,0 13 0,14-13 0,-14 1 16</inkml:trace>
  <inkml:trace contextRef="#ctx0" brushRef="#br0" timeOffset="155764.01">12541 9671 0,'0'-14'0,"93"-25"47,-53 39-47,-1-14 0,1 1 0,0 13 15,13-13-15,-14 13 0,1-13 0,0 13 16,-14-14-16,14 14 0,-14-13 16,1 13-16</inkml:trace>
  <inkml:trace contextRef="#ctx0" brushRef="#br0" timeOffset="156204.79">13666 9234 0,'-27'0'0,"14"0"0,0 0 0,-14 0 15,14 0-15,0 13 0,0 0 16,-27 1-16,-13 39 31,53-40-31,13 0 0,1-13 16,-1 13-16,13-13 16,-13-13-16,14 13 0,-14 0 0,14-13 15,-14 13-15,13 0 0,-13-13 0,14 13 16,-14 0-16,0 0 0,1 0 15,-1 0-15,-13 13 16,0 0-16,0 0 16,0 14-16,0-14 0,-13 13 0,13 1 15,-14-14-15,14 14 0,0-1 0,-13-13 16,13 0-16,0 14 0,0-14 16,0 0-16,13-13 0,-13 14 0,14-1 15,-1-13-15</inkml:trace>
  <inkml:trace contextRef="#ctx0" brushRef="#br0" timeOffset="156637.69">14208 9234 0,'0'-13'31,"-26"26"-31,12-13 0,1 13 0,0 0 16,0 1-16,-14 12 0,1-13 0,-1 14 15,1-1-15,13 1 0,-14 12 16,27-25-16,0 12 16,0-13-16,0 1 0,13-1 0,1-13 15,-1 13-15,0-13 0,0 0 16,1 0-16,12 0 0,-13-13 0,14 0 16,-1-1-16,1-12 0,26-14 15,-27 14-15,-13-1 0,1-12 16,-1 12-16,0-13 0,0 14 0,-13 13 15,0-14-15,0 14 0,0 0 16,0 0-16,-13 13 16,0 13-1,0 0-15,-1 0 0,1 14 0,0 12 16,0-12-16,-1 13 0,14-1 0,-13-12 16,13-1-16,0 1 0,0 12 15,0-12-15,13-1 0,-13 1 0,0-1 16,0 1-16,14-1 0,-14 1 0,0-1 15,0-13-15,13 14 0,-26-14 16,13 0-16,-14 27 0,1-27 16</inkml:trace>
  <inkml:trace contextRef="#ctx0" brushRef="#br0" timeOffset="157095.23">7131 11311 0,'0'0'0,"39"0"0,-12 0 0,26 0 16,13-13-16,0-1 0,26 1 0,41-13 15,-1-1-15,0 1 0,27-14 16,185-26-16,-93 13 16,-12 0-16,12 14 0,0-14 0,278-53 15,-264 53-15,26 0 0,-13 0 16,13 13-16,0-13 0,291-26 15,-291 39-15,0 1 0,0-1 16,278-26-16,-304 39 0,12-12 16,-12 12-16,0-12 0,-14 12 15,199-26-15,-265 40 0,0-14 16,-13 14-16,-13 0 0,13 0 0,-27 0 16,-12-1-16,-41 1 0,-12 13 15,-1-13-15,-26 13 0,0-13 0,-27 13 16,1-14-16</inkml:trace>
  <inkml:trace contextRef="#ctx0" brushRef="#br0" timeOffset="157767.74">17449 9723 0,'13'0'32</inkml:trace>
  <inkml:trace contextRef="#ctx0" brushRef="#br0" timeOffset="158063.63">17436 10411 0,'13'-13'0,"-13"40"16,0-14 0</inkml:trace>
  <inkml:trace contextRef="#ctx0" brushRef="#br0" timeOffset="158276.72">17476 11046 0,'-14'14'16,"14"-1"15,-13 0-31,13 0 16,0 0-16,0 1 0,-13-1 15</inkml:trace>
  <inkml:trace contextRef="#ctx0" brushRef="#br0" timeOffset="158455.72">17357 11748 0,'-14'13'0,"28"-26"0,-41 39 0,27-13 16,-13-13-16,13 13 0,-13-13 16,13 14-16,-13-14 15</inkml:trace>
  <inkml:trace contextRef="#ctx0" brushRef="#br0" timeOffset="159136.14">11337 11509 0,'27'-26'0,"-14"13"0,27-14 31,-27 27-31,-13-13 16,-13 39 0,-14-12-1,14-1-15,0 0 0,-14 0 16,14 1-16,0-1 0,0 0 0,-1-13 15,14 13-15,-13 1 0,13-1 16,0 0-16,13-13 0,1 13 16,-1 0-16,13 1 0,-12-14 0,12 13 15,1 0-15,-1 0 0,-13 1 16,0-1-16,1-13 0,-1 13 0,0 0 16,-13 1-16,13-1 0,-26 0 15,13 13-15,-13-12 0,-14 12 0,1 1 16,-14-1-16,14-13 0,-27 14 0,13-14 15,-13 13-15,14-12 0,-14-1 16,13 0-16,0-13 0,1 13 0,12-13 16</inkml:trace>
  <inkml:trace contextRef="#ctx0" brushRef="#br0" timeOffset="180559.46">6919 13335 0,'26'-13'16,"-12"13"-16,-1 0 0,0-13 15,0 13-15,0 0 0,1 0 0,-1-14 16,0 14-16,14 0 0,-14-13 16,0 13-16</inkml:trace>
  <inkml:trace contextRef="#ctx0" brushRef="#br0" timeOffset="180875.01">7025 13600 0,'-14'0'16,"41"13"0,-14-26-1,0 13-15,1 0 0,-1 0 16,13-14-16,-12 14 0,-1 0 15,0-13-15,0 13 0,14-13 0,-14 0 16,0 13-16</inkml:trace>
  <inkml:trace contextRef="#ctx0" brushRef="#br0" timeOffset="181144.01">7488 13176 0,'-14'27'32,"28"-1"-32,-14-13 0,0 1 15,0-1-15,13 13 0,-13-12 0,13-1 16,-13 13-16,13 1 0,-13-14 0,0 13 15,27 27 1,-27-39-16,13 12 16,-13-13-16</inkml:trace>
  <inkml:trace contextRef="#ctx0" brushRef="#br0" timeOffset="181516.94">7699 13176 0,'14'-13'0,"25"26"32,-25-13-32,-14 13 0,0 1 0,13-1 15,-13 0-15,0 0 0,-13 1 0,13 12 16,-14 1-16,1-14 0,13 13 15,-13 1-15,0-14 0,13 0 0,-14 0 16,14 1-16,-13-1 0,13 0 16,0 0-16,-13 1 15,13-1-15,0 0 16,13-13 0,14 0-16,-14 0 15,0-13-15,0 13 0,1 0 16,12-13-16,-13-1 0,0 14 0,1-13 15,-1 0-15,0 13 0,0-13 0,1-1 16,-1 14-16,-13-13 0,13 0 0</inkml:trace>
  <inkml:trace contextRef="#ctx0" brushRef="#br0" timeOffset="181911.91">8030 13084 0,'27'-14'31,"-27"1"-31,13 13 0,0 0 0,0 0 16,0 0-16,1 0 0,-1 0 15,0 13-15,0-13 0,1 0 16,-14 14-16,13-14 0,0 13 0,-13 0 16,13 0-16,-13 1 0,14 12 0,-14-13 15,0 0-15,13 1 0,-13 12 16,0-13-16,13 1 0,-13-1 0,0 13 15,0-12-15,0-1 0,0 0 0,0 0 16,0 0-16,0 1 16,0-1-1</inkml:trace>
  <inkml:trace contextRef="#ctx0" brushRef="#br0" timeOffset="182105.28">8162 13295 0,'-13'0'0,"0"0"16,39-13-1,-12 13-15,-1 0 16,-13-13-16,26 13 0,-12-13 16,-1 13-16,0 0 0,13-14 0,-12 14 15,-1-13-15,0 13 0,0 0 0,1-13 16,-1 13-16,0-13 0</inkml:trace>
  <inkml:trace contextRef="#ctx0" brushRef="#br0" timeOffset="182257.03">8546 13084 0,'-13'-14'15</inkml:trace>
  <inkml:trace contextRef="#ctx0" brushRef="#br0" timeOffset="182576.05">8665 12951 0,'13'0'0,"14"14"32,-27-1-32,0 0 0,0 0 15,0 1-15,-13 12 0,13-13 0,-14 14 16,14-14-16,-13 13 0,13-12 0,0-1 16,0 0-16,0 0 0,0 0 15,0 1-15,0-1 16,13-13-16,1 13 0,-1-13 15,0 0-15,13 0 16,-12-13-16,-1 13 0,0 0 16,0-13-16,1 13 0,-1 0 0,0-14 15,0 14-15,1 0 16,-1 0-16,-26 27 31</inkml:trace>
  <inkml:trace contextRef="#ctx0" brushRef="#br0" timeOffset="182804.74">7924 13745 0,'-13'0'0,"53"-26"15,-27 26 1,13-14-16,14 1 0,0 0 15,-1 0-15,14-1 0,0 1 0,13-13 16,-13 13-16,14-14 0,-28 14 0,14 0 16,-13-1-16,-1 1 0,-12 13 15,-1-13-15,-12 13 0,-1 0 0,0-13 16,0 13-16</inkml:trace>
  <inkml:trace contextRef="#ctx0" brushRef="#br0" timeOffset="183032.86">8123 13758 0,'0'14'0,"13"-14"16,13-14 0,1 14-16,-14-13 0,14 13 0,12-13 15,1 0-15,0-1 0,-1 1 0,1 0 16,0-14-16,-14 14 0,14 0 15,-14 0-15,1 0 0,-1 13 0,-13-14 16,1 1-16,-1 13 0,0-13 16,-13 0-16,13 13 0,-13-14 0,0 1 15</inkml:trace>
</inkml:ink>
</file>

<file path=ppt/ink/ink1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34:19.552"/>
    </inkml:context>
    <inkml:brush xml:id="br0">
      <inkml:brushProperty name="width" value="0.05292" units="cm"/>
      <inkml:brushProperty name="height" value="0.05292" units="cm"/>
      <inkml:brushProperty name="color" value="#0070C0"/>
    </inkml:brush>
  </inkml:definitions>
  <inkml:trace contextRef="#ctx0" brushRef="#br0">6350 1191 0,'26'0'94,"54"0"-94,39 13 15,40-13-15,79 0 16,92 0-16,94 0 16,158 0-16,-13 0 15,39 0-15,-65 0 16,26 0-16,-106 0 16,-27 0-16,-79 0 15,-105 0-15,-94 0 16,-52 0-16,-66 0 15</inkml:trace>
  <inkml:trace contextRef="#ctx0" brushRef="#br0" timeOffset="1832.01">7197 1336 0,'13'0'62,"79"0"-62,54 0 16,52 0-16,-52 0 16,105 0-16,-39 0 15,39 0-15,14 0 16,-80 0-16,27 0 16,13 0-16,-14 0 15,14 0-15,-40 0 16,27 0-16,13 0 15,-53 0 1,0 0-16,-26 0 16,-41 0-16,1 0 15,-40 0-15,-26 0 16,-14 0-16,-12 0 16,-1 0-16,13 0 250,27 0-235,0 0-15,27 0 16,-14 0-16,-13 0 15,26 0-15,-39 0 16,-1 0-16,-25 0 16</inkml:trace>
  <inkml:trace contextRef="#ctx0" brushRef="#br0" timeOffset="12137.1">2222 10041 0,'-13'13'16,"13"0"-16,-13 14 0,13-1 0,-13-12 15,13-1-15,0 13 0,0-13 0,-13 1 16,13 12-16,0-13 0,0 1 15,0-1-15,-14 0 0,14 0 0,0 1 16,0-1-16,0 0 0,0 0 0,0 0 16</inkml:trace>
  <inkml:trace contextRef="#ctx0" brushRef="#br0" timeOffset="12330.91">2394 10200 0,'0'0'0,"14"13"0,-1-13 0,0 13 16,-13 0-16,13-13 0,-13 14 0,14-1 15,-14 0-15,0 0 16,0 14-16,0-14 0,-14 27 16,14-27-16,0 0 0,-13 0 15,13 1-15,0-1 0,0 0 0,-13-13 16,13 13-16</inkml:trace>
  <inkml:trace contextRef="#ctx0" brushRef="#br0" timeOffset="12844.88">2937 10120 0,'79'14'32,"-66"-1"-32,-13 0 15,14 0-15,-28 0 0,14 1 0,0-1 16,-13 0-16,0 0 0,13 1 0,-13-1 15,0 0-15,13 0 0,-14 1 16,1-1-16,13 0 16,-13-13-16,13 13 15,13-13 1,0 0 0,14 0-16,-14 0 0,0-13 15,0 13-15,1 0 0,12-13 0,-13 13 16,1-13-16,-1-1 0,0 14 15,0-13-15,1 13 0,-1 0 0,-13-13 16,13 13-16,0 0 16,0 0-16,1 13 15,-1 0-15,-13 1 16,0-1-16,0 0 16,0 0-16,0 0 0,-13 14 15,13-14-15,-14 0 0,14 1 0,-13-1 16,13 0-16,-13 0 0,13 1 0</inkml:trace>
  <inkml:trace contextRef="#ctx0" brushRef="#br0" timeOffset="13980.78">3784 10186 0,'39'0'47,"-26"0"-32,-13 14-15,0-1 0,14-13 16,-14 13-16,0 0 0,0 1 15,0-1 1,0 0 0,13 0-1,0 1 1,-26-1 0,13 0-1,-13-13-15,13 13 0,-14-13 16,1 13-16,0 1 0,0-14 15,0 13-15</inkml:trace>
  <inkml:trace contextRef="#ctx0" brushRef="#br0" timeOffset="14154.91">4048 10319 0,'13'13'16,"-26"-26"-16,40 26 0,-27 0 15,0 0-15,0 1 0,-14-1 16,14 0-16,-13 0 0,0 1 0,0-1 16,-1 0-16,1 0 0,0 1 15,13-1-15,-13 0 0,13 0 16</inkml:trace>
  <inkml:trace contextRef="#ctx0" brushRef="#br0" timeOffset="14608.2">4723 10200 0,'-40'26'31,"14"-26"-31,12 13 0,1 1 15,0-1-15,0 0 0,0 0 0,-1 1 16,1-1-16,13 0 16,-13-13-16,13 13 0,0 0 15,13-13-15,-13 14 16,13-14-16,1 0 0,-1 13 0,0-13 16,0 0-16,14 0 0,-14 0 0,0 0 15,14 0-15,-14 0 0,13 0 16,-13-13-16,1 13 0,-1 0 0,0-14 15,0 14-15,1-13 0,-1 13 0,-13-13 16</inkml:trace>
  <inkml:trace contextRef="#ctx0" brushRef="#br0" timeOffset="14808.14">4749 10200 0,'0'0'0,"-13"0"0,13 13 0,-13-13 16,13 13-16,0 0 0,0 1 15,0-1-15,0 0 0,-13 14 0,13-1 16,0-13-16,0 14 0,0-1 0,0 1 16,0-14-16,-14 13 0,14-12 15,14 12-15,-14-13 0,0 0 0,0 1 16,0-1-16,13 0 0,-13 0 16,13-13-16</inkml:trace>
  <inkml:trace contextRef="#ctx0" brushRef="#br0" timeOffset="15180.14">5450 10107 0,'-79'40'31,"66"-27"-31,0-13 16,-1 13-16,1 0 0,0-13 0,13 14 16,0-1-16,0 0 0,13 0 15,-13 1-15,13-14 0,1 13 16,-1 0-16,0 0 0,0 1 0,1-1 15,-1-13-15,-13 13 0,0 0 16,13-13-16,-13 13 0,-13 1 16,0-1-16,-1-13 15,1 13-15,0-13 0,0 0 0,-14 13 16,14-13-16,0 14 0,-14-14 16,14 0-16,-13 0 0,-1 0 15</inkml:trace>
  <inkml:trace contextRef="#ctx0" brushRef="#br0" timeOffset="15516.4">4961 10345 0,'0'13'0,"0"14"15,0-14-15,0 0 0,-13 14 16,13-1-16,-14 1 0,-12 12 16,13 1-16,-14 0 0,1-1 0,13-12 15,-1 13-15,-12-14 0</inkml:trace>
  <inkml:trace contextRef="#ctx0" brushRef="#br0" timeOffset="21047.83">3400 10186 0,'13'-13'31,"0"13"-15,1 13 15,-1 1-16,-26-1 1,13 0-16,0 0 16,-14 1-16,14-1 15,0 0-15,0 0 16,14-13 0,-1 0-1,-13 14-15,13-14 0,0 13 16,0-13-1,-13 13-15,0 0 16,0 0 0,-13-13-16,13 14 0,-13-14 0,13 13 15,-13-13-15,0 13 0,-1-13 16,1 13-16,0-13 16</inkml:trace>
  <inkml:trace contextRef="#ctx0" brushRef="#br0" timeOffset="21307.71">3585 10332 0,'27'13'15,"-14"0"-15,-13 1 16,0-1-16,13 0 16,-13 0-16,0 1 0,-13-1 15,13 0-15,0 14 0,-13-14 0,-1 0 16,14 0-16,-26 0 0,13 1 16,13-1-16,-14 0 0,1 0 0,0 1 15</inkml:trace>
  <inkml:trace contextRef="#ctx0" brushRef="#br0" timeOffset="23576.02">5728 10358 0,'0'14'32,"0"-1"-17,0 0-15,0 0 0,0 1 0,-13-1 16,13 0-16,-13 0 0,13 1 0,0-1 16,-13 0-16,-1 0 15,14 0-15,-13 1 0</inkml:trace>
  <inkml:trace contextRef="#ctx0" brushRef="#br0" timeOffset="24393.89">6019 10147 0,'13'0'16,"1"0"-1,-1 0-15,0 0 0,0 0 16,1 0-16,-1 0 0,0 0 15,0 0-15,1 0 0,-1 0 0,0 0 16,0 0-16,0 13 16,1-13-16,-1 0 15,-13 13-15,0 0 16,0 1-16,0-1 0,-13 0 16,13 0-16,0 1 0,0-1 0,-14 13 15,14-12-15,0-1 0,-13-13 16,13 13-16,0 0 0,-13 0 15,13 1-15,0-1 0,0 0 16,0 0-16,0 1 0,-13-14 16,13 13-1</inkml:trace>
  <inkml:trace contextRef="#ctx0" brushRef="#br0" timeOffset="24705.14">5980 10319 0,'13'0'0,"0"0"0,0 0 0,0 0 15,14 0-15,-14 0 0,0 0 16,14 0-16,-1-13 0,-12 13 16,12 0-16,0 0 0,1 0 0,-1 0 15,1 0-15,-14 0 0,0 0 0,14 0 16,-14 0-16,0 0 0,0 0 16,1 0-16,-14 13 0,13-13 0,0 0 15,0 0-15,1 0 16</inkml:trace>
  <inkml:trace contextRef="#ctx0" brushRef="#br0" timeOffset="29401.96">1482 10332 0,'39'0'16,"-25"0"-16</inkml:trace>
  <inkml:trace contextRef="#ctx0" brushRef="#br0" timeOffset="29568.78">1402 10517 0,'0'0'0,"53"-13"16</inkml:trace>
  <inkml:trace contextRef="#ctx0" brushRef="#br0" timeOffset="31932.24">1349 11404 0,'0'0'0,"40"0"0,-27-14 0,14 14 16,-14 0-16,13-13 0,-12 13 15</inkml:trace>
  <inkml:trace contextRef="#ctx0" brushRef="#br0" timeOffset="32327.08">1270 11271 0,'26'13'0,"-12"-13"15,-1-13-15,0 13 0,0 0 16,14 0-16</inkml:trace>
  <inkml:trace contextRef="#ctx0" brushRef="#br0" timeOffset="33560.71">2394 11152 0,'14'13'16,"-14"1"-16,13-1 16,-13 0-16,0 0 0,0 1 0,0-1 15,0 0-15,0 0 0,-13 14 16,13-14-16,0 0 0,0 0 0,0 1 16,0-1-16,0 0 0,0 0 15</inkml:trace>
  <inkml:trace contextRef="#ctx0" brushRef="#br0" timeOffset="33781">2659 11139 0,'0'13'31,"0"0"-16,0 1-15,0-1 0,0 0 16,0 14-16,0-14 0,0 0 16,0 0-16,0 0 0,0 1 0,13-1 15,-13 0-15,0 0 0,0 1 16</inkml:trace>
  <inkml:trace contextRef="#ctx0" brushRef="#br0" timeOffset="33964.87">2566 11324 0,'0'-13'0,"27"13"32,-14 0-32,-13 13 0,13-13 0,14 0 15,-14 0-15,0 0 0,1 0 16,12 0-16,-13 0 0,14 0 0,-14 0 15</inkml:trace>
  <inkml:trace contextRef="#ctx0" brushRef="#br0" timeOffset="34272.04">3056 11192 0,'13'-13'16,"0"13"-16,1 0 16,-1 26-1,0-13-15,-13 1 0,0-1 0,-13 0 16,13 0-16,-13 14 0,-1-14 16,1 0-16,13 0 0,-13 1 0,0-1 15,13 0-15,-14 0 0,1-13 0,13 14 16,-13-1-16,26 0 31,0-13-31,1 0 16,-1 0-16,0 0 15,14-13-15,-14 13 0</inkml:trace>
  <inkml:trace contextRef="#ctx0" brushRef="#br0" timeOffset="34443.36">3334 11245 0,'13'0'0,"-26"0"0,26-13 31,-26 52-15,13-26-1,0 1 1,0-1-16,0 0 0,0 0 0,0 1 16,0-1-16,0 0 0,0 0 0,0 1 15,0-1-15</inkml:trace>
  <inkml:trace contextRef="#ctx0" brushRef="#br0" timeOffset="34601.05">3241 11351 0,'13'-14'15,"1"1"-15,-1 13 0,0 0 16,0-13-16,14 13 0,-1-13 0,-13 13 15,14 0-15,-1-14 0,1 14 0</inkml:trace>
  <inkml:trace contextRef="#ctx0" brushRef="#br0" timeOffset="35051.03">3704 11245 0,'0'0'0,"27"-13"15,-14 26-15,0-13 16,-13 13-16,13-13 0,-26 26 16,13-12-1,0-1-15,0 0 16,0 0-16,13 1 15,-13-1 1,14-13-16,-14 13 0,0 0 16,0 1-16,-14-1 15,1 0-15,13 0 16,-13-13-16,13 13 0,-27 1 0</inkml:trace>
  <inkml:trace contextRef="#ctx0" brushRef="#br0" timeOffset="35299.33">4088 11205 0,'0'13'16,"0"1"-16,0-1 0,0 0 16,0 0-16,0 0 15,0 1-15,0-1 0,0 0 0,0 0 16,0 1-16,0-1 0,0 0 16,0 0-16,0 1 0</inkml:trace>
  <inkml:trace contextRef="#ctx0" brushRef="#br0" timeOffset="35474.55">3942 11417 0,'27'-27'32,"-14"27"-32,0 0 0,0 0 15,1 0-15,-1-13 0,13 13 0,-12 0 16,12 0-16,-13 0 0,14 0 15,-14-13-15,13 13 0</inkml:trace>
  <inkml:trace contextRef="#ctx0" brushRef="#br0" timeOffset="35857.87">4366 11258 0,'13'-13'16,"0"26"-1,-13 0-15,0 0 16,0 1-16,0-1 16,0 0-1,0 0-15,0 1 16,13-1-16,-13 0 16,0 0-1,-13 1-15,13-1 16,0 0-16,-13-13 0,13 13 15,-13 0 1</inkml:trace>
  <inkml:trace contextRef="#ctx0" brushRef="#br0" timeOffset="36056.81">4617 11232 0,'0'0'0,"26"39"32,-26-26-17,0 1-15,0-1 16,14 0-16,-14 0 0,0 1 16,0-1-16,-14 0 15</inkml:trace>
  <inkml:trace contextRef="#ctx0" brushRef="#br0" timeOffset="36225.43">4538 11404 0,'39'-27'31,"-25"27"-31,12-13 16,-13 13-16,0-13 0,14 13 15,-14 0-15,0-14 0,14 14 0</inkml:trace>
  <inkml:trace contextRef="#ctx0" brushRef="#br0" timeOffset="36727.5">5252 11245 0,'-66'39'15,"53"-39"-15,-1 14 16,14-1-16,-13-13 0,0 13 0,0 0 16,-1 1-1,14-1-15,-13-13 0,13 13 16,0 0-16,13-13 0,-13 14 16,14-14-16,-1 0 15,0 13-15,0-13 0,1 0 0,-1 0 16,0 0-16,0-13 0,1 13 0,-1 0 15,0-14-15,0 14 0,0 0 16</inkml:trace>
  <inkml:trace contextRef="#ctx0" brushRef="#br0" timeOffset="36909.21">5358 11192 0,'0'0'16,"-13"0"-16,-1 13 0,14 0 0,0 1 15,0-1-15,0 0 0,-13 0 0,13 0 16,0 14-16,0-14 0,0 14 16,0-14-16,0 13 0,0-12 0,0 12 15,13-13-15,-13 0 0,0 1 16,0-1-16,14 0 0</inkml:trace>
  <inkml:trace contextRef="#ctx0" brushRef="#br0" timeOffset="37112.18">5636 11218 0,'0'0'0,"0"40"31,0-27-31,-14 0 0,14 1 16,0-1-16,0 0 0,0 0 15,0 1-15,0-1 0,0 0 0,14 0 16,-14 1-16,0-1 0</inkml:trace>
  <inkml:trace contextRef="#ctx0" brushRef="#br0" timeOffset="37295.82">5517 11351 0,'26'-14'31,"-13"1"-31,0 13 0,1 0 0,-1 0 16,13-13-16,-12 13 0,12 0 0,-13 0 16,14-13-16</inkml:trace>
  <inkml:trace contextRef="#ctx0" brushRef="#br0" timeOffset="37741.03">6204 11205 0,'-26'0'0,"0"0"15,12 0-15,1 0 0,0 13 0,0-13 16,-1 0-16,1 0 0,0 14 15,0-14-15,-1 0 0,14 13 16,0 0-16,14 0 16,-1-13-1,-13 13-15,13-13 0,0 14 16,-13-1-16,14-13 0,-14 13 0,13 0 16,-13 1-16,0-1 15,-13 0-15,-1 0 0,14 1 16,-13-1-16,0-13 0,13 13 0,-13-13 15,-1 13-15,1-13 16</inkml:trace>
  <inkml:trace contextRef="#ctx0" brushRef="#br0" timeOffset="37935.75">6376 11152 0,'14'0'0,"12"13"31,-13 1-31,-13-1 16,0 0-16,14 0 0,-14 1 0,0-1 15,0 13-15,13-13 0,-13 1 0,0-1 16,0 0-16,0 0 0,13 1 16,-13-1-16,0 0 0</inkml:trace>
  <inkml:trace contextRef="#ctx0" brushRef="#br0" timeOffset="38140.92">6297 11337 0,'40'-13'31,"-27"13"-31,0 0 0,0 0 16,14-13-16,-14 13 0,0 0 0,1 0 16,-1 0-16,0 0 0,0 0 15</inkml:trace>
  <inkml:trace contextRef="#ctx0" brushRef="#br0" timeOffset="38409.07">6668 11112 0,'0'0'0,"13"-13"0,0 26 31,0-13-31,-13 14 0,13-1 15,-13 0-15,0 0 0,0 1 16,0-1-16,0 0 0,14 0 0,-14 1 16,0-1-16,-14 0 0,14 0 15,0 0-15,0 1 0,0-1 0,0 0 16,-13-13-16</inkml:trace>
  <inkml:trace contextRef="#ctx0" brushRef="#br0" timeOffset="38575.25">6641 11271 0,'13'0'16,"40"-13"0,-40 13-16,1 0 15,-1-13-15,13 13 0,-12 0 0,-1 0 16,13-13-16</inkml:trace>
  <inkml:trace contextRef="#ctx0" brushRef="#br0" timeOffset="39478.01">2805 11919 0,'-14'0'15,"107"0"17,-40 0-32,26 0 0,27-13 15,13 13-15,13-13 0,27 0 0,-13 0 16,26-1-16,0 14 0,0-13 15,0 0-15,13 13 0,13-13 0,-13-1 16,1 14-16,-1-13 0,0 13 0,14-13 16,-14 13-16,-13 0 0,0-13 15,-14 13-15,1 0 0,-13 0 0,-14 0 16,-13 0-16,-26 0 0,-1 0 16,1 0-16,-27 0 0,0 0 0,-26 0 15,0 13-15,-1-13 0,-26 0 16,1 0-16,-67-13 15</inkml:trace>
  <inkml:trace contextRef="#ctx0" brushRef="#br0" timeOffset="41655.64">5450 10306 0</inkml:trace>
  <inkml:trace contextRef="#ctx0" brushRef="#br0" timeOffset="41825.28">6138 10200 0</inkml:trace>
  <inkml:trace contextRef="#ctx0" brushRef="#br0" timeOffset="42475">4736 11959 0,'66'-13'15,"-53"13"-15,1 0 0,-1-13 16,0 13-16,0 0 0,1 0 0,-1 0 15,0 0-15,0 0 0,0 13 16,1-13-16,-1 13 0,-13 0 16,13 1-16,-13-1 0,13 0 15,-13 0-15,0 1 0,0-1 16,0 0-16,0 13 0,0-12 0,0-1 16,0 13-16,14-26 0,-14 14 15,0-1-15,0 0 16</inkml:trace>
  <inkml:trace contextRef="#ctx0" brushRef="#br0" timeOffset="42632.64">4855 12131 0,'27'0'0,"-14"0"0,0-13 16,13 13-16,1 0 0,39-13 15,-39 13-15,-1 0 16,0-14-16,1 14 0,-1 0 0,-12 0 16,-1 0-16,0 0 0,0 14 15</inkml:trace>
  <inkml:trace contextRef="#ctx0" brushRef="#br0" timeOffset="43112.21">2672 13123 0,'0'0'0,"40"-13"0,-27 13 16,53-13-16,-52 0 15,12 13-15,1 0 0,-14 0 16,13-14-16,-13 14 0,1 0 0</inkml:trace>
  <inkml:trace contextRef="#ctx0" brushRef="#br0" timeOffset="43326.38">2752 13295 0,'39'0'16,"-12"-13"-16,26 0 15,-27 13 1,14-13-16,13-1 16,-40 14-16,53-13 15,-53 13-15,1-13 0</inkml:trace>
  <inkml:trace contextRef="#ctx0" brushRef="#br0" timeOffset="49996.9">6403 11218 0,'0'-13'32,"0"0"-17,0 0 1,-13-1-1,13 1 17,13 40-1,-13-14-31,13 0 0,-13 0 16,0 14-16,13-14 0,-13 0 0,0 14 15,0-14-15,14 0 0,-14 14 16,0-14-16,0 0 0,0 0 0,0 1 15,0-1-15,0 0 0,0 0 0,-14 0 16,14 1-16,0-1 16,14-40 31,-14 14-47,0 0 0,0-13 15,0 12-15,0 1 0,0-13 0,0 12 16,0-12-16,0 13 0,0-1 15,0-12-15,0 13 0,0 0 0,0-1 16,0 1-16,0 0 16,0 53 15,0-27-31,0 0 0,0 0 0,0 0 16,0 1-16,0-1 0,0 13 0,0-12 15,0-1-15,0 0 0,-14 0 16,14 1-16,0-1 0,0 0 0,0 0 15,0 0-15,0 1 0,0-1 32</inkml:trace>
  <inkml:trace contextRef="#ctx0" brushRef="#br0" timeOffset="50445.95">6310 11404 0,'0'-14'16,"53"1"-1,-40 13 1,1-13-16,-1 13 0,13 0 15,-12 0-15,-1-13 0,0 13 0,0 0 16,1 0-16,-1 0 0,0-14 16,-53 28 15,27-14-31,0 13 16,-14-13-16,14 0 0,0 0 15,0 0-15,-1 0 0,1 0 16,0 13-16,0-13 0,0 0 15,52 0 17,-26 0-32,1 0 15,-1 0-15,0 0 16,0-13-16,1 13 0,-1 0 0,0 0 16,0 0-16,1 0 0,-1-13 15</inkml:trace>
  <inkml:trace contextRef="#ctx0" brushRef="#br0" timeOffset="51032.39">6628 11112 0,'40'-13'31,"-27"13"-31,0 0 16,0 0-16,0-13 0,1 13 16,-1 0-16,0 0 15,0 0 1,1 0-1,-14 13 1,13-13-16,-13 53 16,0-40-16,0 1 15,0 12-15,13-13 0,-13 14 0,0-14 16,0 13-16,0-12 0,0-1 0,0 13 16,0-12-16,0 12 0,0-13 15,0 1-15,0-1 0,0 0 0,0 0 16,0 0-16,13 1 0,-13-1 15,0 0-15,0 0 0,0 1 32,0-1-32</inkml:trace>
  <inkml:trace contextRef="#ctx0" brushRef="#br0" timeOffset="51300.92">6668 11324 0,'0'0'0,"13"-13"16,0 13-16,0 0 15,0 0-15,1-13 0,-1 13 16,0 0-16,14 0 0,-14 0 0,13 0 15,-13 0-15,14-14 0,-1 14 0,-12 0 16,-1 0-16,0 0 0,0 0 16,1 0-16,-1 0 0,0 0 0,0 0 15,0 0-15,1 0 0,-1 0 32</inkml:trace>
  <inkml:trace contextRef="#ctx0" brushRef="#br0" timeOffset="62172.18">4458 12925 0,'-39'26'0,"25"-26"16,1 14-16,0-1 0,-14 0 15,1 14-15,-14-14 0,14 13 0,-1-13 16,1 1-16,-1-1 0,14 0 0,0 0 16,0 1-16,0-14 0,-1 13 0,14 0 15,0 0 1,14-13-16,-1 13 15,0-13-15,0 0 0,14 0 0,-14 0 16,13 0-16,1 0 16,-1 0-16,-13 0 0,14 0 0,-1 0 15,-12 0-15,-1 0 0,0 0 0,0 0 0,1-13 16,-1 13-16,0 0 16,-13-13-16</inkml:trace>
  <inkml:trace contextRef="#ctx0" brushRef="#br0" timeOffset="62361.28">4366 12965 0,'-14'13'15,"14"0"-15,-13 0 16,13 14-16,0-14 0,0 0 16,-13 40-16,13-26 15,0-1-15,0 0 0,-13 1 0,13-1 16,0-12-16,-14 12 0,14-13 15,0 14-15,0-14 0,0 0 16</inkml:trace>
  <inkml:trace contextRef="#ctx0" brushRef="#br0" timeOffset="62856.18">4749 13176 0,'-53'53'16,"27"-26"-16,-14 12 0,1 1 16,-1 0-16,-13 13 0,13-14 0,1 1 15,-1 0-15,13-1 0,-12-12 0,-1 26 16,27-40-16,0-13 15,13 13-15,13-53 16</inkml:trace>
  <inkml:trace contextRef="#ctx0" brushRef="#br0" timeOffset="63008.43">4868 13097 0,'-53'106'31,"14"-53"-31,-80 79 0,39-53 15,14 1-15,-13-1 16,-1 0-16,-12 1 0,-54 79 16,67-67-16,-27 27 0</inkml:trace>
  <inkml:trace contextRef="#ctx0" brushRef="#br0" timeOffset="67132.08">2037 6906 0,'66'0'0,"-39"0"0,-1 0 15,14 0-15,13 0 0,26 0 0,1 0 16,12 0-16,1-14 0,0 14 16,12 0-16,1 0 0,0-13 0,0 13 15,-14 0-15,14 0 0,-13 0 16,13 0-16,-27 0 0,14 0 0,65 0 15,-91 0-15,38 0 16,-52 0-16,-13 0 0,-13 13 16,-14-13-16,13 0 0,-13 0 0</inkml:trace>
  <inkml:trace contextRef="#ctx0" brushRef="#br0" timeOffset="67462.14">2963 6985 0,'66'0'0,"-26"0"16,13-13-16,13 13 0,0 0 16,14 0-16,92 0 0,-93-13 15,14 13-15,-1 0 0,67 0 16,-93 0-16,225 0 15,-238 0 1,-26 0-16,12 0 0,-12 13 0,12-13 16,-25 0-16,-1 0 15,0 0-15,0 0 0,1 0 0,-1 0 16,0 0 0,0 0-1</inkml:trace>
  <inkml:trace contextRef="#ctx0" brushRef="#br0" timeOffset="68037">1852 7594 0,'0'0'16,"27"0"0,12 13-16,1-13 0,13 0 15,0 0-15,13 0 0,0 0 16,13 0-16,1 0 0,-1 0 0,-13 0 15,0 0-15,-13 0 0,14 0 16,-15 0-16,1 0 0,0 0 0,-13 0 16,-14 0-16,1 0 0,-14 0 15,14 0-15,-14 0 0,-53 13 16</inkml:trace>
  <inkml:trace contextRef="#ctx0" brushRef="#br0" timeOffset="68222.1">1812 7766 0,'-13'0'0,"53"13"15,-27-13 1,27 0-16,-1 0 0,14-13 0,0 13 16,53 0-16,-53-14 0,0 14 15,13 0-15,-13 0 0,0-13 16,13 13-16,-13 0 0,0-13 15,0 13-15,53 0 0</inkml:trace>
  <inkml:trace contextRef="#ctx0" brushRef="#br0" timeOffset="68747.53">3850 7633 0,'92'13'16,"-39"-13"-16,13 0 16,14 0-16,12 0 0,1 0 0,0 0 15,105-13-15,-92 13 0,0 0 16,-14 0-16,107 0 15,-120 0-15,67 0 0,-93 0 16,26 0-16,-39 0 0,-27 0 16</inkml:trace>
  <inkml:trace contextRef="#ctx0" brushRef="#br0" timeOffset="68953.7">4339 7752 0,'80'-13'0,"-41"13"15,14 0-15,13 0 0,14 0 16,-14 0-16,13 0 0,1 0 16,78 0-16,-78 0 0,-14 0 15,-13 0-15,0 0 0,-14 0 0,1 0 16,-13 0-16</inkml:trace>
  <inkml:trace contextRef="#ctx0" brushRef="#br0" timeOffset="69533.88">2275 8401 0,'53'0'0,"-13"0"16,-14 0-16,27-14 16,93 14-16,-67 0 0,14-13 15,132 0-15,-93 13 0,-39-13 16,39 13-16,-26-14 0,92 1 15,-105 13-15,-1 0 0,-12-13 16,39 0-16,-66 13 0,0 0 16,-27 0-16,1-14 0,-1 14 15,-13 0-15,1 0 0</inkml:trace>
  <inkml:trace contextRef="#ctx0" brushRef="#br0" timeOffset="69754.14">2302 8453 0,'0'0'16,"66"0"-16,-26-13 16,26 13-16,13-13 0,1 13 15,12-13-15,14 0 0,13 13 0,-13-14 16,119 1-16,-119 13 15,-14 0-15,93-13 0,-92 13 0,-14 0 16,-12 13-16,-14-13 16,-14 0-16,1 0 0,-14 13 0</inkml:trace>
  <inkml:trace contextRef="#ctx0" brushRef="#br0" timeOffset="70255.67">1971 9208 0,'80'-14'15,"-160"28"-15,199-28 0,-79 14 0,13-13 0,26 13 16,-13-13-16,0 0 0,14 13 15,-14-14-15,0 1 0,-13 13 0,0 0 16,-13-13-16,-1 13 0,1 0 16,-27 0-16,1 0 0</inkml:trace>
  <inkml:trace contextRef="#ctx0" brushRef="#br0" timeOffset="70421.72">2791 9141 0,'-79'27'0,"158"-54"0,-198 54 16,66-14-16,0-13 0,14 13 15,-1-13-15,0 14 0,1-14 16,12 0-16,14 13 0,53-26 31,-14-1-31,27 1 16,-13 13-16,13-13 0,0 13 0,-14-13 15,14 13-15,-13-14 0,13 14 16,-27 14-16,-12-14 0,-1 0 16,0 0-16</inkml:trace>
  <inkml:trace contextRef="#ctx0" brushRef="#br0" timeOffset="71030.83">1363 9710 0,'-40'40'0,"-145"158"15,119-132 1,13 14-16,-14-1 0,-52 93 15,67-79-15,-41 92 16,53-92-16,1-14 0,-1-13 16,27 14-16,-14-14 0,14 0 0,-14 0 0,27 0 15,-13 27-15,26-40 16,-13-14-16,14-12 0,12 12 16,-13-12-16,27-1 0,-13 1 0,12-14 0,1 0 15,0 1-15,-1-14 0,1 0 0,0 0 16,-14 0-16,14 0 15,-14-14-15,14 1 0,-14 0 0,1 13 16,-1-13-16,-12-1 0,-1 1 0,0 0 16,0 13-16,0-13 0,-13-1 15,14 14-15,-14-13 0,-14 0 16</inkml:trace>
  <inkml:trace contextRef="#ctx0" brushRef="#br0" timeOffset="71314.95">1005 11218 0,'0'0'0,"14"-13"16,-1 13-16,0 0 0,0 0 15,1 0-15,12 0 0,-13 0 0,14 13 16,-1 1-16,1-1 0,-1 13 16,1-13-16,-1 27 0,-13-13 0,0 12 15,1-12-15,-14 12 0,0 14 16,0-13-16,-27 66 0,1-53 16,-1 0-16,1 0 0,-14-14 15,0 14-15,-12-13 0</inkml:trace>
  <inkml:trace contextRef="#ctx0" brushRef="#br0" timeOffset="74111.42">10134 6813 0,'211'0'31,"-131"0"-31,-14 0 16,26 0-16,-12 0 0,12 0 0,-12 0 15,12 0-15,1-13 0,-1 13 16,1 0-16,-14 0 0,1-13 0,-1 13 16,54-14-16,-81 14 0,-12-13 15,0 13-15,-14 0 0,1 0 16,-14 0-16,0 0 0,-13-13 0,-53 26 31</inkml:trace>
  <inkml:trace contextRef="#ctx0" brushRef="#br0" timeOffset="74339.92">10385 6866 0,'198'-13'16,"-145"13"-16,27 0 16,-1 0-16,0 0 0,14 0 15,-14-14-15,1 14 0,-1 0 0,0 0 16,1 0-16,-27 0 0,0 0 16,0 0-16,-14 0 0,1 0 0,-14 0 15,1 0-15,-14 0 0,0 0 16,1 0-16,-1 0 0</inkml:trace>
  <inkml:trace contextRef="#ctx0" brushRef="#br0" timeOffset="74914">10147 7527 0,'53'-13'16,"-106"26"-16,145-26 0,-52 13 16,13-13-16,26 13 0,14 0 0,-14-13 15,27 13-15,-13 0 0,39-14 0,-26 14 16,0 0-16,26 0 0,-26-13 15,0 13-15,0 0 0,-1 0 0,1 0 16,-13 0-16,-1 0 0,-12 0 0,-1 0 16,-26 0-16,0 0 0,0 0 15,-13 0-15,-14 0 0,0 0 16,-12 0-16,-1 0 0</inkml:trace>
  <inkml:trace contextRef="#ctx0" brushRef="#br0" timeOffset="75195.53">10239 7541 0,'-13'13'0,"26"-26"0,27 26 31,-13-13-31,25-13 0,28 13 0,-1 0 15,1 0-15,12 0 0,14 0 0,-13 0 16,12 0-16,1 0 16,0 0-16,0 13 0,0-13 0,0 0 0,-14 0 15,1 13-15,-14-13 0,1 0 16,-28 13-16,1-13 0,0 0 16,-26 0-16,12 14 0,-25-14 0,12 0 15,-13 0-15,1 13 0</inkml:trace>
  <inkml:trace contextRef="#ctx0" brushRef="#br0" timeOffset="75815.06">10332 8387 0,'40'-13'0,"-1"13"0,14 0 16,13 0-16,14-13 0,-1 13 16,14 0-16,-1-13 0,14 13 0,-13 0 15,13 0-15,26-14 0,-26 14 0,0 0 16,-1-13-16,-12 13 0,0 0 0,-1 0 15,1 0-15,-14 0 0,1-13 16,-1 13-16,-26 0 0,0 0 0,0 0 16,-14 0-16,-12 0 0,-14 0 0,14 0 15,-14 0-15,0 0 0,-39-13 32,-1 13-32,1 0 0,-1 0 15,-26 0-15</inkml:trace>
  <inkml:trace contextRef="#ctx0" brushRef="#br0" timeOffset="76159.66">10385 8467 0,'0'0'16,"26"13"-16,1-13 15,26 0-15,13 0 0,13 0 0,14-13 16,-1 13-16,14 0 0,146 0 16,-120 0-16,-26-14 0,26 14 15,-26 0-15,0 0 0,0 0 0,-1 0 16,1 0-16,-13 0 0,-1 0 0,1 0 16,0 14-16,-14-14 0,-13-14 15,-13 14-15,13 0 0,-26 0 0,0 0 16,26 0-16,-40 0 0,-13 0 15,1 0-15,12 0 0,-13 0 16,1 0-16,-1 0 16,-40 14-1,14-1 1,-13-13-16,-14 0 0</inkml:trace>
  <inkml:trace contextRef="#ctx0" brushRef="#br0" timeOffset="76841.52">9499 7792 0,'13'26'16,"-13"-12"-1,0 12-15,0 1 0,13 12 16,-13 1-16,0 0 0,13 13 0,-13-14 16,0 1-16,0 13 0,0-13 0,0-1 15,0 1-15,0-14 0,0 27 16,0-39-16,0 12 0,0-13 16,0 0-16,0 1 0,0-1 15,0 0-15,-13 0 16</inkml:trace>
  <inkml:trace contextRef="#ctx0" brushRef="#br0" timeOffset="77759.09">9327 7792 0,'26'-13'0,"-52"26"0,78-39 0,-38 26 0,12 0 16,-13 0-16,14-14 0,13 14 15,-1 0-15,14 0 0,0-13 0,0 13 16,13 0-16,-13 0 0,13 0 0,-13 0 16,13 0-16,0 0 0,14 0 15,-14 0-15,0 0 0,0 0 0,-13 0 16,66 0-16,-53 0 0,-13 0 15,0-13-15,0 13 0,0 0 16,0 0-16,0 0 0,0 0 16,0-13-16,-14 13 0,1 0 0,-14 0 15,14 0-15,-13-14 0,-1 14 0,14 0 16,-14 0-16,1 0 0,-14-13 16,13 13-16,1 0 0,-1 0 15,-12-13-15,12 13 0,-13 0 0,14 0 0,-14 0 16,0-13-16,14 13 0,-14 0 15,0 0-15,14-14 0,-14 14 0,0 0 16,0 0-16,0 0 16,1-13-16,-1 13 0,0 0 15,0 0 1,1 0 0,-1 0-1,0 0 1,-13 13-16,0 1 15,13-14 1,-13 26-16,0-13 16,0 1-16,0-1 0,0 0 0,0 0 15,0 1-15,0-1 0,0 13 0,0-13 16,14 14-16,-14-14 0,0 14 16,0-14-16,0 13 0,0-12 15,0 12-15,0-13 0,-14 14 0,14 12 16,0-25-16,0 12 15,0-13-15,0 0 0,0 14 0,0-14 16,0 0-16,0 1 0,0 12 16,0-13-16,0 1 0,0-1 0,0 0 15,0 0-15,0 0 16,0 1 0,0-1-16,0 0 15,-13 0 1,0-13-16,0 0 15,-14 0-15,-13 14 16,-12-14-16,-1 0 16,-53 0-16,-27 0 15,-25 13-15,-1-13 16,-13 13-16,93-13 16,-1 0-16,-65 13 15,65 1-15,-52-1 0,26-13 16,14 13-16,25-13 15,41 13-15,-27-13 16,27 0-16,12 0 0,1 0 16,0-13-16,0 13 0,-1 0 15</inkml:trace>
  <inkml:trace contextRef="#ctx0" brushRef="#br0" timeOffset="78622.32">8916 8480 0,'-13'-40'31,"13"14"-31,0-1 16,-13 1-16,13-1 0,-13-12 15,0 12-15,-1-12 0,1-1 0,0 0 16,13 14-16,-13-1 0,-1 1 0,14 13 16,-13-14-16,13 14 0,0 0 15,0-1-15,0 1 0,13 13 16,1 0-16,12 0 15,-13 13-15,1 1 0,12-1 16,0 0-16,1 0 0,-1 14 0,1-14 16,-1 0-16,1 14 0,-14-14 0,0-13 15,0 13-15,1 0 0,-1 1 16,0-14-16,-13 13 0,0 0 0,0 0 16,-13-13-16,0 14 15,-1-14-15,1 13 0,-13-13 16,13 13-16,-14-13 0,1 13 0,-14-13 15,-26 13-15,26-13 0,14 0 16,-1 0-16,1 14 0,-1-14 16,1 0-16,13 0 0,-1 0 0,1 0 15,0-14-15,13 1 16,13 0-16,0-13 16,27 12-16,-14-12 0,14-14 0,0 14 15,0-14-15,-1 0 0,14 14 16,-13-14-16,0 1 0,-1 12 0,-12 1 15,-1 12-15,1 1 0,-14 0 16,0 0-16,-26 39 16,0-13-1,-14 14-15,14 13 0,-14-14 16,1 14-16,0 13 0,-1-14 0,1 14 16,-1-13-16,-13 13 0,27-14 0,-13 1 15,-1-13-15,14 12 0,0-12 16,-14-1-16,14 1 0,13-14 15,-13 0-15,0 14 0,13-14 0,0 0 16</inkml:trace>
  <inkml:trace contextRef="#ctx0" brushRef="#br0" timeOffset="83334.78">10054 10200 0,'-13'26'32,"13"-13"-32,-13 1 0,13-1 15,0 0-15,-14 0 0,14 1 0,0 12 16,-13-13-16,13 0 0,0 1 16,0-1-16,0 0 0,-13 0 0,13 1 15,0-1-15,0 0 16,0 0-16,13-13 0</inkml:trace>
  <inkml:trace contextRef="#ctx0" brushRef="#br0" timeOffset="83575.31">10279 10385 0,'13'13'0,"1"0"16,-14 1-1,0-1-15,-14 0 0,14 0 16,-13 1-16,13-1 0,-13 0 0,0 0 16,-1 14-16,1-14 0,0 0 0,0 0 15,13 1 1</inkml:trace>
  <inkml:trace contextRef="#ctx0" brushRef="#br0" timeOffset="84023.05">10702 10266 0,'27'0'16,"-54"0"-16,67 0 0,-27 0 15,1 13-15,-1-13 16,-13 13-16,0 1 0,0-1 16,0 0-16,-13 0 0,-1 0 15,1 1-15,0-1 0,0 13 0,-1-12 16,1-1-16,0-13 0,0 13 0,-1 0 16,1 1-16,0-14 15,13 13-15,0 0 16,26-13-1,-12 0 1,-1 0-16,0 0 0,0 0 16,1 0-16,12 0 0,-13-13 0,1 13 15,-1 0-15,0 0 0,0 0 0</inkml:trace>
  <inkml:trace contextRef="#ctx0" brushRef="#br0" timeOffset="84220.42">10980 10372 0,'13'26'31,"-13"-13"-31,0 1 0,0-1 0,-13 0 16,13 0-16,-13 1 0,13 12 15,-13-13-15,0 0 0,-1 14 0,14-14 16,-13 0-16,0 1 0,13-1 0,-13 0 15</inkml:trace>
  <inkml:trace contextRef="#ctx0" brushRef="#br0" timeOffset="85519.09">11377 10332 0,'27'0'78,"-27"13"-78,0 0 15,-14 1 1,14-1 0,-13 0-16,13 0 15,13 1 1,-13-1 0,14-13-16,-14 13 0,13-13 15,-13 13-15,13-13 0,-13 14 16,-13-1-1,0 0 1,-1-13-16,1 0 0,0 13 0,0-13 16,-1 0-16,1 13 0,0-13 15,0 14-15</inkml:trace>
  <inkml:trace contextRef="#ctx0" brushRef="#br0" timeOffset="85716.76">11549 10464 0,'13'0'0,"1"27"31,-14-14-31,0 0 16,-14 0-16,14 1 0,-13-1 15,13 0-15,-13 0 0,13 14 0,-13-27 16,13 13-16,0 0 0,-14-13 15</inkml:trace>
  <inkml:trace contextRef="#ctx0" brushRef="#br0" timeOffset="86649">11919 10385 0,'14'0'16,"-1"0"-16,0 13 15,0-13 16,-13 13-31,0 1 16,-13-14 0,13 13-16,0 0 15,13 0 1,1 1 0,-1-1-1,0-13-15,-13 13 16,0 0-16,0 0 15,-13-13-15,0 14 0,-1-1 16,1-13-16,0 0 16,0 13-16,-1-13 0,1 0 15</inkml:trace>
  <inkml:trace contextRef="#ctx0" brushRef="#br0" timeOffset="86817">12184 10530 0,'13'0'0,"-26"0"0,26 14 0,-13-1 16,14-13-16,-28 26 15,1-12 1,0-1-16,0 13 0,-1-13 0,1 1 16,0-1-16,0 0 0,13 0 0,-14 1 15,14-1-15</inkml:trace>
  <inkml:trace contextRef="#ctx0" brushRef="#br0" timeOffset="87291.96">12859 10398 0,'-27'13'32,"14"-13"-32,0 14 0,0-14 0,-1 13 15,1-13-15,0 13 0,0 0 16,-1 1-16,1-14 16,0 13-16,0 0 0,0-13 15,13 13-15,0 0 16,13 1-1,0-14-15,0 0 0,0 0 0,1 13 16,-1-13-16,13 0 0,-12 0 0,12 0 16,-13 0-16,14 0 0,-14 0 15,13-13-15,-12 13 0,-1 0 0,13-14 16,-12 14-16,-1-13 0,0 13 0</inkml:trace>
  <inkml:trace contextRef="#ctx0" brushRef="#br0" timeOffset="87484.33">12951 10358 0,'-26'40'31,"26"-27"-31,0 1 16,0-1-16,0 0 0,0 14 0,0-14 15,0 13-15,-13-13 0,13 14 16,0-14-16,0 14 0,0-14 0,-14 13 15,14-13-15,0 1 0,0-1 0</inkml:trace>
  <inkml:trace contextRef="#ctx0" brushRef="#br0" timeOffset="87692.69">13269 10517 0,'26'27'15,"-26"-14"-15,0 0 0,0 0 16,0 1-16,-13 12 0,13-13 16,-13 0-16,13 1 0,0-1 15,-13 0-15,13 0 0</inkml:trace>
  <inkml:trace contextRef="#ctx0" brushRef="#br0" timeOffset="88308.68">13732 10385 0,'13'0'15,"-39"13"16,12-13-31,1 0 16,0 13-16,0-13 0,-1 14 16,1-14-16,0 13 0,0-13 15,13 13 1,13-13 0,0 13-16,0-13 15,1 0-15,-1 0 0,0 14 0,0-14 16,1 0-16,-14 13 0,13-13 0,0 0 15,-13 13-15,0 0 16,0 0-16,0 1 0,-13-14 16,0 13-16,-1 0 0,1-13 0,0 13 15,0 1-15,-1-1 0,-12-13 16,13 13-16,0 0 0,-1-13 16</inkml:trace>
  <inkml:trace contextRef="#ctx0" brushRef="#br0" timeOffset="88515.67">14023 10517 0,'40'27'31,"-27"-14"-31,-13 0 0,0 0 16,0 1-16,-13-1 15,13 0-15,0 0 0,-14 0 0,14 1 16,-13-1-16,13 0 0,0 0 0,-13-13 16,13 14-16</inkml:trace>
  <inkml:trace contextRef="#ctx0" brushRef="#br0" timeOffset="88895.86">14367 10266 0,'26'-13'16,"-52"26"-16,66-26 0,-27 26 15,0-13-15,0 0 0,0 0 16,1 0-16,-1 13 0,0-13 16,-13 13-16,13-13 0,-13 14 0,0-1 15,0 0-15,14 0 0,-28 0 16,14 1-16,0-1 0,0 0 0,0 0 15,0 1-15,-13-1 0,13 0 16,0 0-16,-13 1 0,13-1 0,0 0 16,-13-13-16,13 13 0,0 0 0,-14 1 15</inkml:trace>
  <inkml:trace contextRef="#ctx0" brushRef="#br0" timeOffset="89105">14340 10438 0,'27'0'16,"-1"0"-16,-12 0 0,-1 0 0,13 0 16,-13 0-16,14 0 0,-1 0 15,-12 0-15,12 0 0,1 0 0,-1 0 16,-13-13-16,14 13 0,-14 0 15,0 0-15,0 0 0,1 0 16</inkml:trace>
  <inkml:trace contextRef="#ctx0" brushRef="#br0" timeOffset="94080.74">12912 10808 0,'-14'0'31,"54"0"0,-27 0-31,14 0 16,-1-13-16,14 13 0,13 0 0,-13-13 0,12 13 16,28-13-16,-27-1 0,13 1 0,0 13 15,0-13-15,-13 0 16,13 13-16,-13-14 0,-13 1 0,13 13 16,-14-13-16,1 13 0,0-13 0,0 13 15,-14-14-15,0 14 0,1 0 16,-14-13-16,14 13 0,-14 0 15,13 0-15,-12-13 0,-1 13 0,13-13 0,-13 13 16,1 0-16,-1 0 0,0-13 0,0 13 16,1 0-16,-1-14 0,0 14 15,0 0-15,1 0 0,-1 0 16,-13-13-16,13 13 0,0 0 16,0 0-1,1-13 1,-1 13 31,0 0-16</inkml:trace>
  <inkml:trace contextRef="#ctx0" brushRef="#br0" timeOffset="95660.85">11417 10716 0,'-27'0'79,"1"0"-79,13 0 0,-27 13 15,-39 0 1,39-13-16,-13 13 0,0-13 0,-53 0 15,-13 14-15,-13-1 16,79-13-16,0 0 16,-13 0-16,13 0 0,0 0 0,13 13 0,-13-13 15,14 0-15,12 0 0,-12 0 16,12 0-16,1 0 0,12 0 0,-12 13 16,0-13-16,-1 0 0,14 0 0,-14 0 15,14 0-15,0 0 16,0 0-16,-14 0 0,14 0 0,0 0 15,0 0-15,-1 0 0,1 0 0,0 0 16,0 0-16,-1 0 0,1 0 16,0 0-16,0 0 0,-1 0 15,1 0-15,0 0 16,0 0 0,0 0-1,-1 0 16,41 0 126,-14 0-142,0 0-15,0 0 16,1-13-16</inkml:trace>
  <inkml:trace contextRef="#ctx0" brushRef="#br0" timeOffset="97195.68">12197 10306 0,'0'-14'0,"0"1"16,-13 13-1,13-13-15,-13 13 16,0-13-1,-1 13-15,14-14 0,-13 14 16,0-13-16,0 13 0,-1 0 16,1-13-16,0 13 0,0 0 15,0 0-15,-1 0 0,1 0 0,0 0 16,0 0-16,-1 0 0,-12 0 0,13 13 16,-1-13-16,-12 13 0,13 1 15,-14-1-15,1 0 0,13 0 16,-14 1-16,1 12 0,13-13 0,-1 14 15,1-14-15,0 13 0,0-12 16,-1 12-16,1-13 0,13 14 0,0-1 16,-13-13-16,13 14 0,0-14 0,0 14 15,13-1-15,-13 0 0,13-12 0,1 12 16,-1-13-16,0 14 0,0-1 16,14-12-16,-1-1 0,1 0 0,-1 0 15,1 0-15,-1-13 0,0 14 0,1-14 16,-1 0-16,1 0 0,-1 0 15,-12 0-15,12 0 0,0 0 0,1 0 16,-14-14-16,14 14 0,-14-13 16,13 13-16,-12-13 0,12 0 15,-13 0-15,0-1 0,1 1 0,12 0 16,-13 0-16,1-1 0,-1 1 0,0-13 16,0 12-16,-13-12 0,13 13 15,1-14-15,-14 14 0,13-13 0,-13 12 16,0-12-16,0 13 0,0-14 0,0 14 15,0 0-15,0 0 0,-13-1 0,13-12 16,-14 13-16,1-1 0,0 1 16,0 0-16,0 0 0,-1 13 0,-12-13 15,13-1-15,-1 14 0,-12-13 16,13 13-16,0 0 0,-14 0 16,14 0-16,0 0 0,-1 0 0,1 13 15,-13-13-15,12 14 0,1-1 0,0 0 16</inkml:trace>
  <inkml:trace contextRef="#ctx0" brushRef="#br0" timeOffset="97972.82">10676 12740 0,'13'0'31,"0"0"-31,1 0 0,-1 0 16,13-14-16,1 14 0,-1-13 0,1 13 16,-1-13-16,1 13 0,-1 0 15,-13-13-15,14 13 0,-14 0 0,0 0 16,0 0-16,1 0 0,-14 13 15,0 0-15</inkml:trace>
  <inkml:trace contextRef="#ctx0" brushRef="#br0" timeOffset="98152.01">10570 12991 0,'0'0'0,"13"13"31,27-26-31,-27 13 15,14 0-15,-1 0 0,1 0 0,12-13 16,-12 13-16,-1 0 0,1-13 0,-1 13 16,1 0-16,-1-14 0,1 14 0,-1-13 15,0 13-15,1-13 0,-1 0 16</inkml:trace>
  <inkml:trace contextRef="#ctx0" brushRef="#br0" timeOffset="98866.66">12052 12594 0,'13'-13'62,"0"13"-62,0 0 16,1 0-16,-1 0 0,0 0 16,0 0-16,1 0 0,-14 13 15,13-13-15,-13 13 0,0 1 16,13-14-16,-13 13 0,-13 0 0,13 0 16,0 1-16,-13-1 0,13 0 15,-14 0-15,14 0 16,0 1-1,14-1-15,-1-13 16,0 13 0,0 0-16,1 1 15,-14-1 1,-14 13-16,1-12 16,0-1-16,0-13 15,-1 13-15,1 0 0,-13-13 0,12 13 16,1-13-16,-13 14 0,13-14 0,-1 0 15,1 0-15,0 13 0,0-13 16</inkml:trace>
  <inkml:trace contextRef="#ctx0" brushRef="#br0" timeOffset="103043.75">18322 5543 0,'133'-13'16,"-80"13"-16,0 0 15,26 0-15,13-13 0,-12 13 16,12 0-16,-12-14 0,12 14 0,-12 0 16,12-13-16,-12 13 0,-14 0 0,-13 0 15,0 0-15,-14 0 0,-12 0 0,-1 0 16,-12 0-16</inkml:trace>
  <inkml:trace contextRef="#ctx0" brushRef="#br0" timeOffset="103237.02">18203 5715 0,'40'0'0,"92"-13"16,-52 13-16,-1 0 15,0 0-15,14-13 0,13 13 0,-14 0 16,1 0-16,0-14 0,-14 14 0,0 0 15,1 0-15,-27-13 0,0 13 16,-14 0-16,-12 0 0</inkml:trace>
  <inkml:trace contextRef="#ctx0" brushRef="#br0" timeOffset="103776.13">19328 6668 0,'172'13'31,"-93"-13"-31,14 0 0,-1 0 16,14 0-16,40 0 0,-14 0 0,14 0 15,-14 0-15,13 0 0,1 0 16,-14 0-16,14 13 0,-40-13 0,-1 0 15,-12 0-15,13 0 0,-14 0 0,1 0 16,-14 13-16,-26-13 0,0 0 16,0 0-16,-26 0 0,-1 0 15,-13 13-15,-66-13 16</inkml:trace>
  <inkml:trace contextRef="#ctx0" brushRef="#br0" timeOffset="104153.03">19288 6826 0,'357'0'32,"-251"0"-32,53 0 0,0 0 15,-1 0-15,14 0 0,-13 0 16,13 13-16,-13-13 0,0 14 15,-14-14-15,1 13 0,-14-13 0,-39 13 16,-1-13-16,1 13 0,-27-13 0,-13 0 16,0 0-16,0 14 0,-27-14 15,14 0-15,-27 0 0,0 0 0,14 0 16,-14 0-16,0 0 0,0 0 16,1 0-1,-1 0 1</inkml:trace>
  <inkml:trace contextRef="#ctx0" brushRef="#br0" timeOffset="106273.11">18640 12303 0,'26'0'15,"-12"-13"1,12 13-16,-13 0 0,14-13 0,-1 13 15,14 0-15,-14-14 0,1 14 16,-1 0-16,1 0 0,-14-13 0,13 13 16,-12 13-16,-1-13 0</inkml:trace>
  <inkml:trace contextRef="#ctx0" brushRef="#br0" timeOffset="106439.46">18534 12502 0,'0'0'0,"27"0"0,-14 0 16,0 0-16,0 0 0,14 0 0,-1 0 15,1-14-15,-1 14 0,14 0 0,-14 0 16,14-13-16,-14 13 0,1 0 16,-1 0-16,1 0 0,-14 0 0,0 0 15,0 0-15,1 0 0</inkml:trace>
  <inkml:trace contextRef="#ctx0" brushRef="#br0" timeOffset="114327.76">20108 12197 0,'27'-13'16,"26"13"0,-40 13-16,0-13 15,-13 14-15,13-14 16,-13 13-16,0 0 0,0 0 16,-13 0-16,0 1 0,13-1 0,-13 0 15,-1-13-15,14 13 0,-13 1 16,13-1-16,0 0 15,0 0-15,13 0 0,1-13 16,-14 14-16,13-1 0,0 0 16,0 0-16,-13 1 0,14-1 0,-14 0 15,-14 0-15,14 1 0,-13-1 16,-13 0-16,12 0 0,-25 14 16,12-14-16,-12-13 0,12 13 0,-13 0 15,14-13-15,0 0 0,12 0 0,-12 14 16,-1-14-16</inkml:trace>
  <inkml:trace contextRef="#ctx0" brushRef="#br0" timeOffset="114804.8">20955 12647 0,'-26'13'16,"12"1"-16,-211 105 31,159-80-31,0-12 0,0-1 0,0 1 0,-40 26 16,66-27-16,1-13 16,12 1-16,14-14 0</inkml:trace>
  <inkml:trace contextRef="#ctx0" brushRef="#br0" timeOffset="114926.92">21087 12951 0,'-132'106'0,"66"-40"16,-40-13-16,0 13 0,-13 1 0,0 12 15</inkml:trace>
</inkml:ink>
</file>

<file path=ppt/ink/ink16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3:05:32.674"/>
    </inkml:context>
    <inkml:brush xml:id="br0">
      <inkml:brushProperty name="width" value="0.05292" units="cm"/>
      <inkml:brushProperty name="height" value="0.05292" units="cm"/>
      <inkml:brushProperty name="color" value="#0070C0"/>
    </inkml:brush>
  </inkml:definitions>
  <inkml:trace contextRef="#ctx0" brushRef="#br0">8731 11298 0,'53'0'62,"79"0"-62,14-14 16,0 1-16,-1 0 15,-39 0-15,53 0 0,-54 13 16,-38 0-16,12 0 16,-26 0-1,-27 0-15,-12 0 16,12 0-16,-13 0 16,-13-14 218,0-12-234,0-1 16,0-26-16,0 1 15,0-15-15,0 1 0,-13 0 16,13-13-1,-13 39-15,13-119 16,0 106-16,0 40 16,0 0-1,0 0-15,0 0 0,0-1 16,13 1 15,-13 0-15,-26 0 124,-120-40-140,1 26 16,-1-12-16,27 25 16,26-12-16,-39 26 15,26-13-15,40-1 16,-13 14-16,13 0 16,39 0-16,14 0 46,0 0-46,-1 0 16,1 0 15,0 0-31,0 0 16,-1 0 0,1 0 30,13 14 1,-13 12-31,13 14-16,0 26 16,0-26-16,0-1 15,0 1-15,13 13 16,0 13-16,1-26 15,-1-1-15,-13 1 16,13 26-16,-13-39 16,0 12-16,13-12 15,-13-1-15,0-12 16,0-1 0,0 0 15,0 0 0,0 0-15,0 1-1,0-1 32,0 0 109,0 0-109,0 1-15,0-1-1</inkml:trace>
  <inkml:trace contextRef="#ctx0" brushRef="#br0" timeOffset="31757.05">16973 3810 0,'26'0'78,"-12"0"-62,-1 0-16,0 0 0,0 0 16,1 0-16,-1 0 15,0 0-15,0 0 0,14 13 16,-1-13-16,1 0 0,-1 0 0,1 0 0,-1 0 15,14 0-15,-14 0 0,14 0 16,0 13-16,-1-13 0,1 0 16,0 0-16,-1 0 0,1 0 0,-14 14 15,14-14-15,-13 0 0,-1 0 0,14 0 16,-14 0-16,1 0 0,-1 0 16,1 13-16,-14-13 0,13 0 15,1 0-15,-14 0 0,13 0 0,-12 0 0,-1 0 16,0 0-16,0 0 0,1 0 15,-1 0-15,0 0 0,0 0 0,1 0 16,-1 0-16,0 0 16,-39 0 46,26-13-62,-14 13 0,-12 0 16</inkml:trace>
  <inkml:trace contextRef="#ctx0" brushRef="#br0" timeOffset="32740.6">17105 3717 0,'-13'0'62,"0"14"-46,0-14-16,-1 13 16,1-13-16,0 0 0,0 13 15,-1-13-15,1 13 16,0-13-16,0 0 16,0 0-16,13 14 0,-14-14 0,1 0 15,13 13-15,-13-13 16,0 0-16,-1 13 15,1-13-15,0 13 16,0-13 0,13 13-1,-13-13 1,26 14 31,-13-1-47,13-13 15,0 13-15,0-13 0,1 13 16,-1-13 0,0 0-16,0 14 0,1-14 0,12 13 15,-13-13-15,0 13 0,1-13 0,-1 13 16,0-13-16,14 14 0,-14-14 0,0 13 16,0-13-16,1 13 0,-1-13 15,0 0-15,-13 13 0,13-13 16,0 0-16,1 0 0,-1 13 15,0-13 1,0 0 0,1 14-1,-14-1 17</inkml:trace>
  <inkml:trace contextRef="#ctx0" brushRef="#br0" timeOffset="33649.08">18455 3784 0,'0'0'0,"13"0"16,0-14-16,14 28 16,-14-14-16,0 13 15,-13 0 1,0 0-16,0 0 15,-13-13-15,13 14 0,-13-1 16,13 0 0,13 0-1,0-13 1,0 0-16,-13 14 16,14-14-16,-1 0 0,0 13 0,0 0 15,0-13-15,-13 13 16,14-13-16,-14 14 0,0-1 15,0 0 1,0 0-16,-14-13 0,14 13 16,-13-13-16,0 14 0,0-14 15,0 13-15,-1-13 0,1 0 16,0 13-16,0-13 16,-1 0-16,14-13 15,14 0 1,-14-1-1</inkml:trace>
  <inkml:trace contextRef="#ctx0" brushRef="#br0" timeOffset="34074.18">18825 3797 0,'13'-27'31,"1"27"-31,-1 0 16,0 0-16,0 0 15,0 0-15,1 0 0,-1 14 16,0-14-16,-13 13 0,13-13 16,-13 13-16,0 0 0,0 0 15,0 1-15,0-1 0,0 0 16,0 0-16,0 1 0,0-1 0,0 0 16,0 0-16,0 1 15,0-1-15,0 0 0,0 0 0,0 0 16,0 1-16,0-1 15,14 0-15,-14 0 16,13-13-16</inkml:trace>
  <inkml:trace contextRef="#ctx0" brushRef="#br0" timeOffset="34296.96">18812 3942 0,'0'0'0,"0"-13"16,13 13-1,0-13-15,1 13 16,-1 0-16,0 0 0,0 0 16,0 0-16,1-13 0,-1 13 0,13 0 15,-12 0-15,-1 0 0,0 0 16,14 0-16,-14 0 0,0 0 0,0 0 15,0 0-15,1 0 0,-1 0 0,-13-14 16</inkml:trace>
  <inkml:trace contextRef="#ctx0" brushRef="#br0" timeOffset="34697.01">19420 3836 0,'14'0'16,"-41"0"15,14 14-31,0-1 16,0-13-16,-1 13 0,1-13 15,0 13-15,0 1 0,-1-1 16,1-13-16,13 13 0,-13-13 15,13 13-15,-13-13 0,13 14 16,0-1 0,13 0-1,0-13-15,0 0 0,1 0 16,-1 13-16,0-13 0,0 0 0,1 0 16,-1 0-16,0 0 0,0 0 15,0 0-15,1 0 0,-1 0 0,13 0 16,-12 0-16,-1 0 0,0-13 15,0 13-15,0 0 16,1-13 0,-14 0-1</inkml:trace>
  <inkml:trace contextRef="#ctx0" brushRef="#br0" timeOffset="34945.86">19447 3850 0,'0'0'16,"-13"0"0,13 13-1,0 0-15,0 0 0,0 1 16,0-1-16,0 0 0,-14 0 16,14 1-16,0-1 0,0 0 15,14 0-15,-14 0 0,0 1 16,0-1-16,0 0 15,0 0-15,0 1 0,13-14 16,-13 13-16,0 0 16,13-13-1</inkml:trace>
  <inkml:trace contextRef="#ctx0" brushRef="#br0" timeOffset="35377.15">19698 3929 0,'0'0'0,"-13"0"15</inkml:trace>
  <inkml:trace contextRef="#ctx0" brushRef="#br0" timeOffset="36590.11">19725 3889 0,'0'14'31,"0"-1"-31,0 0 15,0 0-15,-14-13 0,14 14 16,0-1-16,0 0 0,0 0 16,-13 0-16,13 1 31,13-41 0,-13 14-31,0 0 16,14 0-16,-14-1 15,13 14-15,-13-13 0,13 0 16,0 13 0,1 0-1,-14 13-15,13-13 0,-13 13 16,13-13-16,-13 14 0,13-1 16,-13 0-1,14 0 1,-1-26 31,0 0-47,-13 0 15,13 13-15,0-14 16,1 14 0,-1 0-1,0 0-15,-13 14 0,13-14 16,-13 13-16,14 0 15,-14 0-15,0 0 16,13-13-16,-13 14 16,0-1-1,13 0 1</inkml:trace>
  <inkml:trace contextRef="#ctx0" brushRef="#br0" timeOffset="37145.55">20069 3929 0,'0'-13'0,"13"39"47,-13-12-31,0-1-16,0 0 15,0 0 1,13-13-16,-13 13 16,13-13-1,1-13 1,-14 0 0,13 13-16,-13-13 0,13 0 15,0 13-15,-13-14 16,13 14-16,1 0 31,-1 0-31,-13 14 16,13-1-1,-13 0 17,13-13-1,1 0-16,-1-13 1,0 13-16,0 13 16,1-13-1,-1 0-15,0 0 16,-26 13 31,0-13-47</inkml:trace>
  <inkml:trace contextRef="#ctx0" brushRef="#br0" timeOffset="40026.07">17370 4075 0,'0'-14'31,"-13"14"16,13 14-31,-14-1-16,14 0 31,0 0-31,0 1 16,-13-14-16,13 13 0,0 0 15,0 13 1,0-12-16,0-1 15,-13 0-15,13 0 16,0 1-16,0-1 16,0 0-16,-13 0 15,13 0-15,0 1 16,0-1-16,-13 0 16,13 0-1,0 1 1,0-1 15,-14-13 63</inkml:trace>
  <inkml:trace contextRef="#ctx0" brushRef="#br0" timeOffset="40513.21">17238 4339 0,'0'13'79,"13"1"-79,-13-1 15,0 0 1,0 0-16,0 1 15,13-14-15,-13 13 16,0 0-16,0 0 31,13-13-15,14 0 0,-14 0 15,0-13-31,0 13 0,1 0 15,-1 0 1,-13-13 0,13 13-16,0-13 15,1 13 17,-14 13-17</inkml:trace>
  <inkml:trace contextRef="#ctx0" brushRef="#br0" timeOffset="41457.01">17555 4538 0,'-13'0'15,"53"-14"1,-27 14-1,0 0-15,0 0 0,0 0 0,1 0 16,-1 0-16,0 0 0,0 0 16,1 0-16,-1 0 15,0-13-15</inkml:trace>
  <inkml:trace contextRef="#ctx0" brushRef="#br0" timeOffset="41710.11">17846 4458 0,'0'0'15,"-13"13"32,13 1-47,-13-1 16,13 0-16,0 0 0,0 1 15,0-1-15,0 0 16,0 0-16,0 1 16,13-1-16,-13 0 15,13-13-15</inkml:trace>
  <inkml:trace contextRef="#ctx0" brushRef="#br0" timeOffset="42252.88">17978 4498 0,'0'0'16,"14"-13"-16,-1 13 15,0 0-15,0 0 16,1 13-16,-1 0 15,-13 0-15,-13 1 16,13-1-16,0 0 16,-14-13-16,14 13 0,-13 1 0,0-1 15,0 0 1,-1 0-16,1 0 16,13 1 30,13-14-46,1 0 16,-1 0 0,0 0-16,0 0 15,1 0 1,-1-14 0,0 14-16,0 0 15,1 0-15,-14-13 0</inkml:trace>
  <inkml:trace contextRef="#ctx0" brushRef="#br0" timeOffset="42618.08">18243 4485 0,'-13'0'0,"26"0"0,0-14 47,0 14-47,1 0 16,-1 14-16,0-14 16,0 0-1,-13 13-15,14 0 16,-14 0-16,0 14 15,0-14 1,0 0-16,0 1 16,0-1-16,0 0 15,0 0-15,0 0 16,13-13-16,-13 14 0,13-1 16</inkml:trace>
  <inkml:trace contextRef="#ctx0" brushRef="#br0" timeOffset="42824.27">18243 4657 0,'-26'-14'16,"52"1"15,-13 13-31,0 0 15,1 0 1,-1 0-16,0 0 0,0 0 16,1 0-16,-1 0 0,0 0 0,0 0 15</inkml:trace>
  <inkml:trace contextRef="#ctx0" brushRef="#br0" timeOffset="43096.98">18600 4538 0,'0'-14'31,"0"1"-15</inkml:trace>
  <inkml:trace contextRef="#ctx0" brushRef="#br0" timeOffset="43773.21">18785 4511 0,'14'0'31,"-1"0"-31,-13 13 16,-13 1 0,13-1-16,-14-13 0,14 13 0,-13 0 15,0 1-15,0-1 16,13 0 0,-14-13-16,14 13 15,14 0 1,-1-13 15,53-13-15,-53 13-16,80 0 62</inkml:trace>
  <inkml:trace contextRef="#ctx0" brushRef="#br0" timeOffset="44662.25">17330 3731 0,'0'-14'0,"0"-12"31,13 13-31,-13-1 0,0 1 16,0-13-16,0 13 0,0-1 16,0-12-16,0 13 0,0-1 15,0 1-15,0-13 0,0 12 0,0 1 16,0 0-16,0 0 0,0 0 0,14-1 15,-14 1 1,0 0-16,0 0 16,0-1-16,0 1 15,0 0 1</inkml:trace>
  <inkml:trace contextRef="#ctx0" brushRef="#br0" timeOffset="44925.02">17370 3334 0,'0'-13'16,"-27"26"15,14 0-31,0-13 0,13 13 16,-13-13-16,13 13 0,-13 1 0,-1-14 16,14 13-16,-13-13 0,13 13 15,-13-13-15,13 13 0,-13-13 16,-1 14-16,1-1 15</inkml:trace>
  <inkml:trace contextRef="#ctx0" brushRef="#br0" timeOffset="45138.32">17330 3347 0,'13'0'0,"14"0"31,-14 13-15,0-13 0,1 13-16,-1-13 15,0 0 1</inkml:trace>
  <inkml:trace contextRef="#ctx0" brushRef="#br0" timeOffset="45582.13">17370 2897 0,'0'-13'16,"-13"26"15,13 0-31,0 1 16,0-1-16,0 0 0,0 0 15,0 1-15,0-1 16,0 0-16,0 0 0,0 0 16,0 1-16,0-1 0,0 0 15</inkml:trace>
  <inkml:trace contextRef="#ctx0" brushRef="#br0" timeOffset="45792.83">17264 3029 0,'13'-13'16,"14"13"-1,-14 0-15,0-13 16,0 13-16,1 0 0,-1 0 15,0 0-15,0 0 0,1 0 0,-1-13 16,0 13-16</inkml:trace>
  <inkml:trace contextRef="#ctx0" brushRef="#br0" timeOffset="46041.98">17674 2831 0,'-13'27'31,"13"-14"-15,0 0-16,0 0 0,0 0 15,0 1-15,0-1 16,13 0-16,-13 0 0,0 1 15,0-1-15,0 0 16</inkml:trace>
  <inkml:trace contextRef="#ctx0" brushRef="#br0" timeOffset="46561.21">17833 2844 0,'26'0'0,"-52"0"0,66 0 0,-27-13 0,13 26 16,-12-13 0,-1 0-16,-13 14 15,0-1-15,0 0 16,0 0-16,-13 0 0,-1 1 15,14-1-15,-13 0 16,0 0-16,13 1 0,-13-14 16,13 13-16,-14 0 0,1-13 15,13 13 1,13 0 0,1-13-1,-1 0-15,0 0 16,0 0-16,1 0 15,-1 0-15,0-13 0,0 13 16,0 0-16,1 0 16,-1-13-16,0 13 0</inkml:trace>
  <inkml:trace contextRef="#ctx0" brushRef="#br0" timeOffset="47024.17">18124 2791 0,'0'-13'0,"13"13"0,0 0 16,1-13-16,-1 13 16,13 0-16,-12 0 15,-1 13-15,0-13 0,0 0 16,0 0-16,-13 13 15,14-13-15,-14 14 16,13-1-16,-13 0 16,0 0-16,0 1 15,0-1-15,13 0 0,-13 0 16,0 0-16,0 1 16,0-1-16,13-13 0,-13 13 15,0 0-15,14 1 16</inkml:trace>
  <inkml:trace contextRef="#ctx0" brushRef="#br0" timeOffset="47217.92">18177 2963 0,'0'0'0,"26"-13"31,-12 13-15,-1 0-16,0-13 0,0 13 0,0 0 16,1 0-16,12 0 0,-13-13 15,1 13-15,12 0 0,-13 0 16,1 0-16,-1 0 0</inkml:trace>
  <inkml:trace contextRef="#ctx0" brushRef="#br0" timeOffset="47930.84">18759 2686 0,'13'0'0,"-26"0"0,39-14 16,-12 14 0,12 14-16,-13-1 15,-13 0-15,0 0 16,0 0-16,-13 1 0,13 12 15,-13-13-15,13 1 0,-13-1 16,-1 0-16,14 0 0,-13 1 16,13-1-16,-13-13 0,13 13 0,-13 0 15,13 0 1,0 1 0,13-14-16,0 0 15,0 0-15,1 0 0,-1 0 0,0 0 16,0-14-16,14 14 0,-14 0 15,0 0-15,0 0 0,1-13 0,-1 13 16,0 0-16,0 0 0</inkml:trace>
  <inkml:trace contextRef="#ctx0" brushRef="#br0" timeOffset="48469.14">17899 3162 0,'0'0'0,"27"0"31,-14 0-15,0 0-16,13-13 0,1 13 15,-14 0-15,14 0 0,12 0 0,-12 0 16,-1 0-16,14-14 0,-14 14 0,1 0 16,-1 0-16,1 0 0,-1 0 15,1 0-15,-14-13 0,13 13 0,1 0 16,-14 0-16,13 0 0</inkml:trace>
  <inkml:trace contextRef="#ctx0" brushRef="#br0" timeOffset="48824.23">18587 2910 0,'-13'0'31</inkml:trace>
  <inkml:trace contextRef="#ctx0" brushRef="#br0" timeOffset="54918.06">6853 5781 0,'0'0'0,"-14"0"15,1 13-15,13 1 0,-13-14 16,13 13-16,-13 13 16,13-12-16,0-1 0,-13 0 0,13 0 15,0 0-15,0 14 0,0-14 0,13 14 16,-13-14-16,0 13 15,13 1-15,-13-14 0,13 13 0,0-12 16,-13 12-16,14-13 0,-1 1 0,0 12 16,0-13-16,1-13 0,-1 13 15,13 1-15,-12-14 0,-1 13 0,0-13 16,0 0-16,0 13 0,1-13 0,12 0 16,-13 0-16,1-13 0,-1 13 15,13 0-15,-12 0 0,12-13 16,0 13-16,1-14 0,-1 1 0,14 0 15,-14 0-15,14 0 0,-13-1 0,12-12 16,1 13-16,0-1 0,-1 1 0,28-13 16,-15 12-16,15-12 0,-14 13 0,13 0 15,-13-1-15,13 1 0,0 0 16,-13 0-16,13-1 0,0 1 16,0 0-16,0 13 0,14-13 0,-14 13 15,13 0-15,-13-13 0,1 13 0,-1 0 16,26 0-16,-12 0 0,-1 0 15,14 0-15,-14 0 0,0 0 16,1 13-16,-1-13 0,1 0 0,-1 13 0,0-13 16,1 13-16,-1-13 0,0 13 15,1-13-15,-14 14 0,13-14 0,1 13 16,-1 0-16,-13 0 0,14 1 0,-14-1 16,13 0-16,-13 13 0,0-12 15,1-1-15,-15 13 0,15-12 0,-14 12 16,-1-13-16,1 1 0,0 12 15,-13-13-15,0 0 0,-1 14 0,1-14 16,-14 0-16,14 1 0,-27-1 16,14 0-16,-1-13 0,-12 13 0,12 1 15,-13-14-15,0 13 0,1-13 0,-1 13 16,0-13-16,0 13 16,1-13-16,-1 0 15,0 0-15,0 0 16,-13-13-16,14 0 0,-14 0 15,13-1-15,-13 1 0,13 0 16,-13 0-16,13-1 0,0-12 16,14-1-16,-14 14 0,14-13 0,-1 13 15,1-14-15,-1 14 0,0-14 16,14 14-16,0 0 0,-1 0 0,1-1 16,13 1-16,-13 0 0,26 0 0,-13 0 15,13-1-15,0 1 0,13 13 0,1-13 16,-1 13-16,1-13 0,-1 13 15,0-14-15,14 14 0,0 0 16,-1 0-16,1-13 0,-1 13 0,1 0 0,0 0 16,-1 0-16,14-13 0,-13 13 15,12 0-15,-12 0 0,13 0 0,0 0 16,0 0-16,-1 0 0,-12 0 16,13 0-16,0 0 0,0 0 0,-1 0 15,1 0-15,0 0 0,-13 13 16,12-13-16,-12 0 0,13 0 0,-13 13 15,-1-13-15,1 0 0,-1 0 0,-12 0 16,-1 0-16,14 0 0,-27 14 16,13-14-16,-13 0 0,0-14 0,-13 14 15,0 0-15,0 0 0,0 0 0,-13 0 16,0-13-16,-14 13 0,0 0 16,1 0-16,-14-13 0,0 13 15,14 0-15,-14-13 0,0 13 0,1-13 16,-1-1-16,0 1 15,0 0 1</inkml:trace>
  <inkml:trace contextRef="#ctx0" brushRef="#br0" timeOffset="56037.78">15849 6231 0,'-14'13'32,"1"0"-32,13 1 0,-13-1 15,0 13-15,13-12 0,-14 12 16,1-13-16,13 0 0,0 14 0,0-14 15,13 0-15,1 14 0,-1-14 16,13 14-16,1-14 0,12 0 0,1 0 16,13 0-16,0-13 0,0 14 0,0-14 15,13 0-15,-13 0 0,13 0 16,-13 0-16,0 0 0,0-14 0,0 14 16,-14 0-16,1-13 0,-13 13 0,-1 0 15,0 0-15,-12 0 0,-1-13 0,0 13 16,0 0-16,1-13 15,-1 0-15</inkml:trace>
  <inkml:trace contextRef="#ctx0" brushRef="#br0" timeOffset="56301.68">16431 6257 0,'26'0'15,"1"0"1,-14 14-16,13-1 0,14 0 0,0 0 16,-1 1-16,-12-1 0,12 0 0,1 13 15,-13-12-15,-1 12 0,1-13 0,-1 1 16,-13 12-16,0-13 16,1 1-16,-14 12 0,13-13 0,-13 0 15,0 1-15,-13 12 0,-1-13 0,14 14 16,-26-1-16,13 1 0,0-14 15,-1 0-15,-12 0 0,13 1 0,13-1 16,-14-13-16,14 13 0</inkml:trace>
  <inkml:trace contextRef="#ctx0" brushRef="#br0" timeOffset="56906.62">17806 6284 0,'-92'26'31,"65"-12"-15,14-1-16,-13 0 0,12 0 0,1-13 15,0 13-15,0 1 0,0 12 16,26-13-16,-13 1 16,13-1-16,0-13 0,0 13 15,14 0-15,-14 1 0,14-1 0,-14 0 16,13-13-16,-12 13 0,-1-13 0,0 13 15,0 1-15,0-14 16,-26 13 0,0 0-16,0-13 0,-14 13 0,1 1 15,-1-14-15,1 0 0,-1 13 16,1-13-16,0 0 0,-1 0 0,14 0 16,-14 0-16,14 0 0,0 0 15,0 0-15,-1 0 0</inkml:trace>
  <inkml:trace contextRef="#ctx0" brushRef="#br0" timeOffset="59224.89">18719 6469 0,'0'0'15,"13"13"1,1-13-16,-1 0 15,0 14-15,0-14 0,1 0 16,12 0-16,-13 0 0,1 0 0,12 0 16,-13 0-16,14 0 0,-1 13 0,1-13 15,-1 0-15,1 0 16,-1 0-16,0 0 0,14 13 0,-13-13 16</inkml:trace>
  <inkml:trace contextRef="#ctx0" brushRef="#br0" timeOffset="59789.65">20042 6403 0,'0'0'16,"27"0"-16,-1 0 15,-13 0-15,1 13 16,-14 0-16,0 1 16,0-1-16,0 0 15,0 0-15,0 1 0,0-1 16,13 0-16,0 0 15,0-13-15,0 13 16,1 1-16,-1-14 0,-13 13 16,13-13-16,0 13 0,-13 0 15,0 1 1,0-1-16,-13-13 16,13 13-16,-13-13 0,0 0 0,13 13 15,-14-13-15,1 14 0,0-14 0,0 0 16,0 13-16,-1-13 15,1 0-15,0 0 16</inkml:trace>
  <inkml:trace contextRef="#ctx0" brushRef="#br0" timeOffset="60081.82">20426 6376 0,'26'-13'15,"-12"26"-15,25 1 16,-26-14 0,-13 13-16,0 0 0,0 0 0,0 1 15,14-1-15,-14 0 0,0 0 0,0 1 16,0-1-16,-14 0 0,14 0 0,0 0 15,0 1-15,0-1 0,0 0 16,0 0-16,0 1 0,0-1 16,0 0-16,0 0 15</inkml:trace>
  <inkml:trace contextRef="#ctx0" brushRef="#br0" timeOffset="60245.37">20320 6588 0,'0'0'0,"-13"0"0,26-13 32,0 0-32,0 13 15,1 0-15,-1 0 0,0 0 0,0-14 16,1 14-16,12 0 0,-13 0 0,14 0 16,-1 0-16,-13-13 0,14 13 15,-14 0-15</inkml:trace>
  <inkml:trace contextRef="#ctx0" brushRef="#br0" timeOffset="60668.78">20862 6416 0,'0'-13'31,"-13"13"-15,-13 13-16,12 0 15,1 1-15,0-1 0,0-13 16,0 13-16,-1 0 0,14 1 15,-13-1-15,13 0 0,-13-13 0,13 13 16,0 0-16,0 1 16,0-1-16,13-13 0,0 13 15,1-13 1,-1 0-16,0 0 0,0-13 0,0 13 16,1 0-16,-1-13 0,-13-1 15,13 1-15,0 0 0,1 0 16,-1 0-16,-13-1 0,0 1 0,0 0 15,0 0-15,-13 26 47,-1 0-47,14 0 0,-13 1 0,13-1 16,-13 0-16,13 13 0,0-12 16,0-1-16,13 13 0,-13-12 0,0-1 15,13 0-15,-13 14 0,0-14 0,14 0 16,-14 0-16,0 0 0,13 1 0,-13-1 15,0 0 1</inkml:trace>
  <inkml:trace contextRef="#ctx0" brushRef="#br0" timeOffset="61452.03">19182 7144 0,'133'13'16,"-107"-13"0,1 0-16,-1 0 0,14 0 0,-14 0 15,1 0-15,-1 0 0,0 0 16,1 0-16,-1 0 0,1 0 0,-14 0 15,0 0-15,1 0 0,-1 0 0,0 0 16,0 0-16,0 0 16,1 0-16,-1 0 15</inkml:trace>
  <inkml:trace contextRef="#ctx0" brushRef="#br0" timeOffset="65905">20399 5913 0,'14'0'0,"-28"0"0,41 0 0,-14 0 15,0 0-15,1 0 16,-1 0-1,0 0-15</inkml:trace>
  <inkml:trace contextRef="#ctx0" brushRef="#br0" timeOffset="66536.36">20439 5424 0,'-13'26'31,"13"-12"-15,0-1-16,-13 0 16,13 0-16,0 1 0,0-1 0,0 0 15,0 0-15,0 0 0,0 1 0,0-1 16,0 0-16,0 0 0,0 1 15</inkml:trace>
  <inkml:trace contextRef="#ctx0" brushRef="#br0" timeOffset="66894.5">20638 5424 0,'13'0'15,"0"0"1,-13 13 0,0 0-16,-13 1 0,13-1 15,-13 0-15,-1 0 0,1 1 0,13-1 16,-13 0-16,13 0 0,-13-13 15,13 13-15,-14-13 0,14 14 16,0-1-16,0 0 16,14-13-1,-1 0-15,13 0 16,-12 0 0,-1 0-16,0 0 0,0 0 15,0 0-15,1-13 16,-1 13-16,0 0 15</inkml:trace>
  <inkml:trace contextRef="#ctx0" brushRef="#br0" timeOffset="67166.08">20889 5384 0,'13'14'15,"-13"-1"-15,13-13 16,-13 13-16,0 0 0,0 0 0,0 1 16,0-1-16,0 0 15,0 0-15,0 1 0,0-1 16,14 0-16,-28 0 0,14 0 15</inkml:trace>
  <inkml:trace contextRef="#ctx0" brushRef="#br0" timeOffset="67314.06">20849 5556 0,'0'-13'15,"13"0"1,1 13-16,-1 0 15,0-13-15,0 13 0,1 0 16,-1 0-16,0 13 0,0-13 16,0 0-16,14 13 0</inkml:trace>
  <inkml:trace contextRef="#ctx0" brushRef="#br0" timeOffset="67813.06">20638 6879 0,'0'13'16,"0"1"-1,0-1-15,0 0 16,0 0-16,13 1 15,-26-1-15,13 0 0,0 0 16,-14 14 0,14-14-16</inkml:trace>
  <inkml:trace contextRef="#ctx0" brushRef="#br0" timeOffset="67996.89">20532 7011 0,'13'-13'16,"0"13"0,0-13-16,1 13 15,-1 0-15,0 0 0,0 0 16,14 0-16,-14 0 16,0 13-1</inkml:trace>
  <inkml:trace contextRef="#ctx0" brushRef="#br0" timeOffset="68274.03">20466 7395 0,'0'13'0,"0"1"15,13-1-15,-13 0 0,0 0 16,0 0-16,0 1 0,0-1 16,0 13-16,0-12 0,13-1 15,-13 0-15,0 0 0,0 1 16,13-1-16,-13 0 15</inkml:trace>
  <inkml:trace contextRef="#ctx0" brushRef="#br0" timeOffset="68641.53">20677 7395 0,'13'-13'0,"14"13"32,-14 0-32,0 13 15,-13 0-15,0 14 16,-13-14 0,13 0-16,0 0 0,-13-13 15,13 14-15,0-1 0,-13 0 16,13 0-1,0 1 1,13-14 0,0 0-1,0 0-15,1 0 16,-1 0-16,0-14 0,0 14 0,0 0 16,1 0-16,-1-13 0,0 0 15,0 13-15,1-13 16,-1 13-16</inkml:trace>
  <inkml:trace contextRef="#ctx0" brushRef="#br0" timeOffset="68901.97">20968 7329 0,'13'-13'0,"1"26"32,-1-13-32,-13 13 0,0 0 0,13 1 15,-13-1-15,0 0 16,0 0-16,13 1 0,-13-1 0,0 0 16,0 0-16,0 0 0,0 1 15,0-1 1,0 0-16</inkml:trace>
  <inkml:trace contextRef="#ctx0" brushRef="#br0" timeOffset="69084.92">20968 7461 0,'27'0'31,"-14"-13"-16,0 13-15,0 0 0,1 0 16,-1-13-16,0 13 0,0 0 0,1-13 0,-1-1 16,0 1-16,0 0 0,0 13 15,1-27-15,-1 27 0,0-26 16</inkml:trace>
  <inkml:trace contextRef="#ctx0" brushRef="#br0" timeOffset="70348.89">21272 5331 0,'27'-13'0,"-14"13"16,0 0-16,1 0 0,-1 0 0,-13 13 16,53 14-1,-40-14-15,-13 14 0,0-1 16,13 14-16,-13 13 0,-13-14 0,13 14 16,0-13-16,-13 13 0,0-14 15,13 1-15,-14 0 0,14 13 0,0-27 16,-13 14-16,13-14 0,0-12 0,0 12 15,0-13-15,0 0 16,13 1-16,-13-1 0,0 0 0,14 0 16,-14 1-16,13-14 0,0 0 15,0 0-15,0 0 16,1-14-16,-1 14 0,-13-13 16,13 13-16,0-13 0,1 13 15,-14 13 1,0 0-16,-14 1 15,14-1-15,-13 13 0,13 1 0,-13 12 16,13 1-16,-13 13 0,13-13 0,0 13 16,0 0-16,13 13 0,-13-13 15,13 13-15,0-13 0,1 13 16,12 40-16,-13-53 0,-13-14 16,14 1-16,-1 0 0,0-1 15,-13 1-15,13-13 0,-13-1 0,0-13 16,0 14-16,0-14 0,0 0 0,-13 14 15,13-14-15,-13 0 0,13 0 0,-13 0 16,-14 1-16,1-1 16,12 0-16,1-13 0,0 0 15,0 0-15,-1 13 0,-12-13 0,13 0 16,0-13-16,-14 13 0,14 0 16</inkml:trace>
  <inkml:trace contextRef="#ctx0" brushRef="#br0" timeOffset="77988.42">21524 6469 0,'40'0'47,"-27"0"-47,13 0 0,1 0 0,-1 0 16,1-13-16,12 13 0,1 0 0,0 0 15,-1 0-15,1-13 0,0 13 16,-1 0-16,14 0 0,-26-14 0,12 14 15,-12 0-15,13 0 0,-27 0 16,53-13 0,-53 13-16,0 0 0,1 0 0,-1 0 15,0 0-15,0 0 0</inkml:trace>
  <inkml:trace contextRef="#ctx0" brushRef="#br0" timeOffset="78348.92">22199 6297 0,'39'13'31,"-26"-13"-31,1 14 16,25-1-16,-25 0 0,12-13 16,-13 13-16,1 0 0,12 1 0,-13-14 15,0 13-15,1 0 0,-1 0 16,0 1-16,-13-1 0,0 0 15,0 0-15,0 1 0,-26 12 16,12-13-16,1 0 0,0 1 16,-13-1-16,12 0 0,1 0 0,0 1 15,0-1-15,-1-13 0,14 13 0,-13-13 16,13 13-16</inkml:trace>
  <inkml:trace contextRef="#ctx0" brushRef="#br0" timeOffset="78969.05">23283 6310 0,'27'-26'32,"-14"26"-32,0 0 0,0 0 15,1 0-15,-1 0 16,-13 13 0,0 0-16,-13 1 0,13-1 15,-14-13-15,1 13 0,13 0 0,-13-13 16,13 13-16,0 1 0,-13-14 15,13 13-15,0 0 16,13-13-16,-13 13 0,13-13 16,0 14-16,1-14 15,-1 13-15,0-13 0,0 13 16,1 0-16,-14 1 31,-14-1-31,1 0 16,0-13-16,0 13 15,-1-13-15,1 0 0,0 13 16,0-13-16,0 0 16</inkml:trace>
  <inkml:trace contextRef="#ctx0" brushRef="#br0" timeOffset="79722">23667 6310 0,'13'-13'15,"0"13"1,-13-13 0,14 13-16,-1 0 0,0 0 15,0 0-15,1 13 16,-14 0 0,0 1-16,0-1 15,0 0-15,0 0 0,0 0 16,-14 1-16,14-1 0,0 0 15,-13 0-15,13 1 16,0-1-16,0 0 0,-13-13 0,13 13 0,0 1 16,0-1-1,0 0-15,-13 0 16</inkml:trace>
  <inkml:trace contextRef="#ctx0" brushRef="#br0" timeOffset="79897.2">23588 6496 0,'0'-14'0,"0"1"15,13 13 1,0 0-16,0 0 0,-13-13 16,14 13-16,-1 0 0,0 0 0,0 0 15,0 0-15,14 0 0,-14 0 16,0-13-16,1 13 0,12 0 15</inkml:trace>
  <inkml:trace contextRef="#ctx0" brushRef="#br0" timeOffset="80257.2">24130 6310 0,'-40'14'47,"27"-14"-47,0 13 15,0-13-15,-14 13 0,14 0 0,0 0 16,-1-13-16,1 14 0,0-1 16,0-13-16,0 13 0,-1-13 0,1 13 15,13 1-15,-13-14 16,13 13-16,13 0 15,0-13-15,1 0 16,-14 13-16,13-13 0,13 0 0,-13 0 16,1 0-16,-1 0 0,13 0 15,-12 0-15,-1 0 0,0 0 16,14 0-16,-14 0 0,13 0 16,-13 0-16,1 0 0,-14-13 15,13 13-15,0-13 16</inkml:trace>
  <inkml:trace contextRef="#ctx0" brushRef="#br0" timeOffset="80457">24170 6324 0,'-40'13'32,"27"0"-32,0 0 0,13 0 15,0 1-15,-14-1 0,14 0 16,0 14-16,0-14 0,-13 0 15,13 0-15,0 14 0,0-14 0,0 0 16,0 0-16,0 1 0,-13-1 16,13 0-16,0 0 0,0 1 0,-13-1 15,13 0-15,0 0 0,-14 1 0</inkml:trace>
  <inkml:trace contextRef="#ctx0" brushRef="#br0" timeOffset="81753.23">23402 6760 0,'27'0'15,"-1"0"-15,-12 0 0,12 0 0,0 0 16,14 0-16,0 0 0,13 0 0,-14 0 15,14 0-15,0 0 0,-13-13 16,13 13-16,-13 0 0,12 0 0,-12 0 16,0-13-16,0 13 0,-1 0 0,1-14 15,-14 14-15,14-13 0,-13 13 16,-1-13-16,14 0 0,-27 13 16,13-13-16,1-1 0,-14 1 0,14 0 15,-14 0-15,0-1 0,0-12 0,0 13 16,1-14-16,-14 14 0,13-13 15,-13-1-15,13 1 0,-13 12 0,0-12 16,0 13-16,0-14 0,0 1 0,0-1 16,-13 1-16,0 13 0,-1-27 15,1 13-15,0 1 0,-13 0 0,-1-1 16,1 1-16,-1-1 0,-13 14 0,14-14 16,0 14-16,-14 0 0,0-13 15,0 26-15,1-14 0,-14 1 16,0 0-16,0 13 0,0 0 0,0-13 15,0 13-15,0 13 0,0-13 16,1 0-16,-1 13 0,13 0 0,-13 1 16,0-1-16,13 0 0,-13 0 0,14 0 15,-1 14-15,14-14 0,-14 14 16,14-1-16,-1 1 0,1-1 16,-1 0-16,14 1 0,0-1 0,-1 1 0,1-14 15,0 14-15,13-1 0,0 0 16,0 1-16,0-1 0,13 1 0,0-1 15,1 14-15,-1-14 0,13 1 0,1-1 16,-14 1-16,14-14 0,-1 14 0,0-14 16,1 0-16,-1 0 15,1 0-15,-14 1 0,13-14 0,1 13 16,-1-13-16,1 13 0,-14-13 0,14 0 16,-14 0-16,0 0 0,13 13 15,-12-13-15,-1 0 0,0 0 0,0 0 16,1 0-16,-1 0 0,0 0 15,0 0-15,1 0 16,-1 0-16,0 0 31,0 0-31,0 0 32,1 0-1,-1-13 109,0 0 173,-26 13-313,13-13 16,-13-1-16,-1 1 15,1 0-15</inkml:trace>
  <inkml:trace contextRef="#ctx0" brushRef="#br0" timeOffset="84802.09">23138 5173 0,'-13'0'15,"26"-14"32,0 14-31,0-13-16,1 13 16,-1-13-1,-53 26 16,27-13-15,0 13-16,-1-13 16,1 14-1,0-14-15,26 13 32,0-13-32,1 13 0,-1-13 15,0 0-15,0 0 16,1 0-16,-1 13 0,0-13 0,0 0 15,0 14-15,-13-1 32,0 0-32,-13-13 0,13 13 15,-13-13-15,0 0 0,13 13 16,-13-13-16,-1 14 16,1-14-16,0 0 15,13 13-15,-13-13 16,-1 0-1</inkml:trace>
  <inkml:trace contextRef="#ctx0" brushRef="#br0" timeOffset="85982.01">23469 5093 0,'-14'-13'32,"1"26"-32,13 0 15,0 1-15,-13-1 16,13 0-1,0 0-15,13 1 0,-13-1 16,13-13-16,-13 13 0,14-13 16,-1 13-16,0-13 15,0 0-15,0 0 16,1 0-16,-1 0 16,0 0-1,-13-13-15,0 0 0,0 0 16,-13-1-1,0 1 1,-1 0-16,1 13 16,0-13-16,0 13 15,0 0 1</inkml:trace>
  <inkml:trace contextRef="#ctx0" brushRef="#br0" timeOffset="86318.14">23680 5040 0,'-26'14'15,"26"-1"-15,0 0 16,0 0-16,0 0 0,0 1 15,0-1-15,13 0 0,-13 0 16,13 1-16,0-1 0,1-13 16,-1 13-16,0-13 0,0 0 0,1 13 15,-1-13-15,0 0 0,0-13 16,14 13-16,-14-13 16,-13 0-16,0-1 15,0 1-15,-13 0 16,-1 13-16,14-13 0,-13 13 0,0-14 15,0 14-15,0-13 0,-1 13 0,1 0 16,0 0-16,0 0 0,-1 0 16,1 0-16,0 13 0,0-13 0</inkml:trace>
  <inkml:trace contextRef="#ctx0" brushRef="#br0" timeOffset="88446.48">23402 7527 0,'14'-13'32,"-1"13"-32,0 0 15,0 0-15,1 13 16,-14 1-16,0-1 16,0 0-16,0 0 0,0 1 0,-14-1 15,14 0-15,-13 13 0,0-12 16,0-1-16,-1 0 0,14 0 0,-13 1 15,0-1-15,13 0 0,-13-13 0,13 13 16,-14-13-16,14 14 16,0-1-16,14-13 15,-1 0 1,0 0-16,0 0 16,1-13-16,-1 13 0,0 0 15,0 0-15,1-14 0,-1 14 0,0 0 16,0 0-1,0-13-15,1 13 0,-1 0 16,-13-13-16,13 13 0,0-13 16,1 13-16,-14-14 0</inkml:trace>
  <inkml:trace contextRef="#ctx0" brushRef="#br0" timeOffset="88853.49">23839 7514 0,'13'0'32,"-39"0"-32,-1 0 15,14 0-15,0 13 0,0-13 16,-1 0-16,1 14 0,0-14 15,0 13-15,-1 0 16,28 0 0,-1-13-1,-13 14-15,13-14 0,0 0 0,1 13 16,-1-13-16,0 13 16,0-13-16,-13 13 15,13-13-15,-13 13 0,0 1 16,0-1-16,-13 0 15,0 0-15,0-13 0,13 14 16,-13-1-16,-1-13 0,1 13 16,0-13-16,0 13 0,-1-13 0,1 0 15,13 14-15</inkml:trace>
  <inkml:trace contextRef="#ctx0" brushRef="#br0" timeOffset="89146.25">23918 7594 0,'0'26'47,"0"-13"-47,0 0 0,0 1 16,0-1-16,14-13 15,-1 13-15,0 0 0,0-13 16,0 0-16,1 0 0,-1 0 0,0 0 15,0-13-15,1 13 16,-1-13-16,0 0 16,-13-1-16,0 1 0,0 0 15,0 0-15,0 0 0,0-1 0,0 1 16,-13 0-16,13 0 16,-13 13-16,13-14 0,-14 14 0,1 0 15,0 0-15,0 0 0,-1 0 0,-12 0 16,13 0-16,-14 0 0</inkml:trace>
  <inkml:trace contextRef="#ctx0" brushRef="#br0" timeOffset="90032.59">23336 7422 0,'93'-14'0,"-1"1"15,-39 0-15,-13 13 0,13-13 16,-13 13-16,13 0 0,-27-14 0,14 14 16,-14 0-16,1 0 0,-1-13 15,1 13-15,-14 0 0,13 0 16,-13 0-16,1 0 0,-14-13 0,13 13 0,0 0 15,0 0-15,1 13 16,-1 0 0,-13 1-16,13-1 15,-13 0-15,0 0 0,0 1 16,0-1-16,0 0 0,0 0 16,13 0-16,-13 14 0,0-14 0,14 0 15,-14 14-15,0-14 0,0 0 0,13 1 16,-13 12-16,13-13 0,-13 0 15,0 14-15,13-14 0,-13 0 0,13 1 16,-13-1-16,0 0 0,0 0 0,14 1 16,-14-1-16,0 0 0,0 0 15,0 0-15,0 1 0,0-1 0,0 0 16,0 0-16,0 1 16,0-1-16,-14-13 0,14 13 15,-13 0-15,0 1 16,0-14-16,0 0 0,-1 13 15,-12-13-15,13 13 0,-14-13 0,-13 0 16,1 13-16,-1-13 0,14 0 16,-14 0-16,13 0 0,-12 13 15,12-13-15,-12 0 0,12 0 0,1 0 0,-1 0 16,1 0-16,-1 0 0,14 0 16,0 0-16,0 0 0,-1 0 0,1 0 15,0 0-15,-27-13 31,27 13-31,13-13 16,-13 13-16,13-13 0,0 0 16,-13-1-16,13 1 15,0-13-15,0 12 0,0 1 0,0-13 16,-14 12-16,14-12 0,0 13 0,0-14 16,0 1-16,0 13 0,0-14 0,0 14 15,0-14-15,14 14 0,-14 0 16,0-13-16,13-1 0,-13 1 0,0-1 15,13 1-15,0-14 0</inkml:trace>
  <inkml:trace contextRef="#ctx0" brushRef="#br0" timeOffset="90660.88">22926 5054 0,'-13'26'15,"13"-13"-15,0 0 0,-13 1 0,13 12 16,-14-13-16,14 14 0,-13-1 0,13 1 16,0-1-16,-13-13 0,13 14 15,0-14-15,0 14 0,0-14 0,0 0 16,0 0-16,13 1 0,-13-1 0,0 0 15,0 0-15,13-13 0</inkml:trace>
  <inkml:trace contextRef="#ctx0" brushRef="#br0" timeOffset="91201.03">22926 4895 0,'252'-66'31,"-186"52"-31,0 14 0,13-13 16,1 0-16,-1 0 0,0 13 0,1 0 16,-14-14-16,13 14 0,1-13 15,-14 13-15,0 0 0,-13 0 0,13 0 16,-13 0-16,-13 0 0,-1-13 0,-12 13 15,-1 0-15,1 13 0,-1-13 16,-13 0-16,1 0 0,-1 0 0,0 0 16,0 0-16,0 13 0,1 1 15,-14-1-15,0 0 16,0 0-16,0 1 0,0-1 0,0 13 16,0-12-16,0 12 0,0 0 0,-14 1 15,14-1-15,0 1 16,14-1-16,-14 27 0,0-26 0,13-1 15,-13 1-15,0-14 0,13 13 16,-13-12-16,0 12 0,13-13 16,-13 0-16,0 1 0,0-1 15,-13 0-15,13 0 0,-13 1 0,-14-14 16,1 13-16,0 0 0,-14-13 0,-13 13 16,13-13-16,-13 14 0,-13-14 15,13 0-15,-26 0 0,-1 13 0,1-13 16,0 0-16,-1 0 0,14 13 0,-13-13 15,26 0-15,0 0 0,0 0 16,13 0-16,14 0 0,-1 13 0,14-13 16,0 0-16,0 0 0,0 13 0,-1-13 15</inkml:trace>
  <inkml:trace contextRef="#ctx0" brushRef="#br0" timeOffset="92596.73">23376 7779 0,'-27'13'0,"14"-13"16,0 13-16,0-13 0,0 0 0,-1 0 15,-12 13-15,13-13 0,-14 0 16,1 0-16,-1 14 0,1-14 16,-1 0-16,1 13 0,-1-13 0,1 0 15,0 0-15,-1 0 0,14 13 16,0-13-16,-14 0 0,14 0 0,0 0 16,-1 0-16,1-13 0,0 13 15,13-13-15,-13 13 0,0-14 16,13 1-16,0-13 0,0 13 0,-14-1 15,14-12-15,0-1 0,0-12 0,0-1 16,0 0-16,0 1 0,0-14 16,0 13-16,14-13 0,-14 13 15,0-13-15,0 1 0,0-1 0,0 0 16,13-13-16,-13-1 0,0 15 0,0-1 16,0-14-16,0 15 0,0-15 15,0 15-15,-13-15 0,13 14 0,-14-13 16,14 27-16,-13-14 0,13 13 15,-13-13-15,0 0 0,13 13 0,-14-12 16,1 12-16,13 0 0,-13 0 0,0 1 16,13-1-16,-14 0 0,14 1 0,-13-1 15,13-13-15,0 27 16,-13-1-16,13 1 0,0 13 0,0-14 16,0 14-16,0-14 0,0 14 15,0 0-15,-13-14 0,13 14 16,0 0-16,0 0 0,0 0 15,0-1-15,-13 1 16,-1 0 0,1 0-1,26-1 32,1 14-47,-1-13 0,0 13 16,0 0-16,0-13 0,1 13 15,12-13-15,-13 13 0,1-13 16,-1 13-16,0 0 0,0-14 0,1 14 16,-1-13-16,0 13 0,-13-13 15,13 13-15</inkml:trace>
  <inkml:trace contextRef="#ctx0" brushRef="#br0" timeOffset="92878.95">22820 5265 0,'14'0'16,"12"0"-16,-13 0 15,-13 13-15,13-13 0,1 0 16,-14 14-16,13-1 0,-13 0 16,0 0-1,-13 1-15,13-1 0,0 0 0,-14-13 16,14 13-16,-13 1 0,0-1 0,13 0 16,-13 0-16,13 0 15,-13 1-15,13-1 0,0 0 16</inkml:trace>
  <inkml:trace contextRef="#ctx0" brushRef="#br0" timeOffset="93678.55">23217 7699 0,'0'0'0,"27"27"31,-14-27-15,0 13 0,0-13-16,1 13 0,-1-13 15,0 0-15,-13 14 0,13-14 0,0 0 16,-13 13-16,14-13 16,-14 13-16,0 0 15,-14 0-15,1 1 0,0-1 0,0 0 16,0 0-16,-14 1 0,1 12 15,-1-13-15,1 1 0,13-1 0,-14 0 16,14 0-16,-14 0 0</inkml:trace>
  <inkml:trace contextRef="#ctx0" brushRef="#br0" timeOffset="113326.15">18640 939 0,'26'0'47,"-12"0"-31,-14-13-16,26 13 15,-13 0 1,0 0-16,-52 13 47,12-13-47,14 13 0,0-13 15,-14 0-15,1 0 0,13 0 16,-14 14-16,14-14 0,0 0 0,0 13 16,-1-13-16,1 0 0,0 13 15,13 0 1,13 1-1,0-14-15,1 0 0,-1 13 0,0-13 16,0 13-16,1-13 0,12 0 0,-13 13 16,0-13-16,1 14 0,-1-14 15,-13 13-15,13-13 0,0 13 16,-13 0 0,-13 0-16,0 1 15,0-1-15,-1-13 0,1 13 16,0-13-16,0 13 0,0-13 0,-1 0 15,1 0-15,0 14 0,0-14 16,-1 0-16,1 0 0,13 13 16,-13-26-1</inkml:trace>
  <inkml:trace contextRef="#ctx0" brushRef="#br0" timeOffset="113649.08">18759 952 0,'0'0'0,"0"14"47,0-1-47,0 0 16,0 0-16,13-13 0,-13 14 16,13-1-16,1 0 0,-1 0 0,0-13 15,0 14-15,1-14 0,-1 0 0,13 0 16,-13 0-16,1 0 0,-1 0 15,0 0-15,0-14 0,1 14 0,-1-13 16,0 0-16,-13 0 16,-13-1-16,13 1 0,-13 0 15,-1 0-15,1-1 0,0 14 16,0 0-16,-1-13 0,1 13 16,0 0-16,0 0 0,0 0 0,-1 0 15,1 0-15,0 13 0,0-13 16,-1 0-16,14 14 0</inkml:trace>
  <inkml:trace contextRef="#ctx0" brushRef="#br0" timeOffset="114374.86">19262 900 0,'0'26'47,"13"-13"-47,-13 0 0,13 1 31,-13-1-31,0 0 31,13-39 1,-13 12-17,14 14-15,-1 0 16,0 0-1,0 0-15,1 0 16,-1 0-16,0 14 31,0-1 1,-13-26-1,13-1-16,1 14 17,-1 0-32,0 0 15,0 0 1,1 0-16,-1 14 16,0-14-16,0 0 15</inkml:trace>
  <inkml:trace contextRef="#ctx0" brushRef="#br0" timeOffset="114945.21">19698 966 0,'0'0'0,"0"-14"16,13 14-16,-13-13 16,0 0-1,0 0-15,0 0 16,0-1 0,-13 41 30,13-14-46,0 0 16,0 0-16,13-13 31,1 0-15,-1 0-16,0 0 16,0 0-16,1 0 15,-1-13 1,0 13-16,0 0 15,1 13-15,-1-13 16,0 0 0,0 0-1,0 0 17,1 0-32,-1 0 15,0 0 1,0 0-1,1 0-15,-1 0 0,0 0 16,0 14 0,0-14-16</inkml:trace>
  <inkml:trace contextRef="#ctx0" brushRef="#br0" timeOffset="115341.28">19354 1257 0,'0'0'0,"27"-13"15,-14-1-15,13 1 0,1 0 16,13 13-16,12-13 0,-12-1 15,13 1-15,-13 0 0,13 0 0,-14 13 16,14-14-16,-13 1 0,0 13 0,-14 0 16,1 0-16,-1-13 0,-13 13 15,0 0-15,1 13 0</inkml:trace>
  <inkml:trace contextRef="#ctx0" brushRef="#br0" timeOffset="115517">19341 1363 0,'0'0'0,"27"-14"15,-14 1-15,13 13 0,1-13 16,-1 0-16,14-1 0,13 1 0,-14 0 16,28 0-16,-28 0 0,14-1 0,-13 1 15,13 13-15,-14-13 0,14 0 16,-13-1-16,0 1 0</inkml:trace>
  <inkml:trace contextRef="#ctx0" brushRef="#br0" timeOffset="115770.18">20452 952 0,'40'0'32,"-27"0"-32,0 0 0,1 0 0,12 0 15,1-13-15,-1 13 0,-13 0 0,14 0 16,-1 0-16,1-13 0,-1 13 16,1 0-16,-14 0 0,0 0 15,13 0-15,-12 0 0,-1 0 0,0-13 16</inkml:trace>
  <inkml:trace contextRef="#ctx0" brushRef="#br0" timeOffset="115992.88">20704 794 0,'66'13'31,"-53"0"-31,0-13 15,14 13-15,-14-13 0,0 14 0,14-1 0,-14-13 16,0 13-16,14 0 0,-27 1 16,13-1-16,0 0 0,-13 0 0,13 0 15,-13 1-15,-13-1 0,0 0 16,13 14-16,-27-1 0,14-13 16,0 14-16,0-14 0,-1 0 0,1-13 15</inkml:trace>
  <inkml:trace contextRef="#ctx0" brushRef="#br0" timeOffset="118664.26">21908 1177 0,'13'27'32,"-13"-14"-32,0 0 15,0 14-15,0-14 0,0 0 0,0 0 16,0 1-16,0 12 0,0-13 16,0 1-16,13-1 0,-13 13 0,0-12 15,0-1-15,-13 0 0,13 0 16,0 0-16,13 1 15,-13-1-15</inkml:trace>
  <inkml:trace contextRef="#ctx0" brushRef="#br0" timeOffset="119665.69">22225 1177 0,'0'0'0,"0"-13"15,-13 13-15,0 13 32,-1-13-32,14 14 0,-13-1 15,13 0-15,-13 14 0,13-14 0,-13 0 0,13 13 16,0-12-16,0-1 0,0 13 16,0-12-16,0-1 0,0 0 0,0 0 15,13 1-15,-13-1 0,13-13 0,0 13 16,-13 0-16,14-13 0,-1 13 15,0-13-15,0 0 16,0 0 0,-13-13-1,0 0-15,0 0 0,-13 0 16,13-1 0,-13 1-1,0 0-15,-14 26 16</inkml:trace>
  <inkml:trace contextRef="#ctx0" brushRef="#br0" timeOffset="120004.42">22410 1244 0,'0'0'0,"-13"26"31,13-13-31,0 0 16,0 1-16,0-1 0,0 0 0,0 0 15,0 1-15,13-14 0,-13 13 0,13 0 16,1-13-16,-1 13 0,0-13 16,0 0-16,1 14 0,-1-14 0,0 0 15,13-14 1,-12 14-1,-14-13-15,0 0 0,0 0 16,-14 13-16,14-14 0,0 1 0,-13 0 16,13 0-16,-13-1 0,0 1 15,13 0-15,-13 13 16,-1-13-16,1 13 0,0 0 16,0 13-16</inkml:trace>
  <inkml:trace contextRef="#ctx0" brushRef="#br0" timeOffset="120737.14">22820 1177 0,'0'-13'15,"-13"13"1,-13 13-1,12 1-15,14-1 16,-13 0-16,0 0 0,13 1 16,-13-1-16,13 0 0,-14 0 15,14 0-15,0 1 0,0-1 16,0 0-16,0 0 0,0 1 16,0-1-16,0 0 15,14 0 1,-14 1-16,13-14 31,0-14-31,0 14 16,-13-13-16,14 13 15,-1-13-15,-13 0 16,13 13 0,0-14-16,1 1 31,-1 13-16,0 13 1,0-13 0,-13 14-16,13-14 15,1 13 1,-1-13 31,0 0-47,0 0 31,1 0-31,-14 13 0,13-13 16,0 0-1,-13 13 1,13-13 0,1 0-1,-1 0 1,0 0-1,0 0-15,0 0 16,1-13 0,-1 13-1,0-13-15,0 13 16,-13-13-16</inkml:trace>
  <inkml:trace contextRef="#ctx0" brushRef="#br0" timeOffset="123836.65">21788 357 0,'0'-13'16,"-13"0"125,26 39 46,-13-13-187,14-13 16,-14 14-16,0-1 15,0 0-15,0 0 0,13 1 16,-13-1 0,0 0-1,0 0-15,0 0 16,-13-13-16,13 14 16,0-1-16,0 0 15,-14 0-15,14 1 16,0-1-1,0 0 1,14-13 0,-1 0-1</inkml:trace>
  <inkml:trace contextRef="#ctx0" brushRef="#br0" timeOffset="124072.18">21709 529 0,'40'-13'46,"-27"13"-30,0 0-16,0 0 0,1 0 16,-1 0-16,0-13 0,0 13 15,1 0-15</inkml:trace>
  <inkml:trace contextRef="#ctx0" brushRef="#br0" timeOffset="124437.68">22066 370 0,'13'0'0,"-26"0"0,40 0 15,-27 14 1,13-14-16,-13 13 0,0 0 15,0 0-15,0 1 16,-13-1-16,13 0 0,-14 0 0,14 0 16,0 1-16,-13-1 0,13 0 0,-13-13 15,13 13-15,0 1 16,-13-1-16,26 0 31,13-13-15,-12 0-1,-1-13-15,0 13 0,0 0 0,1-13 16,12 13-16,-13-14 0,1 14 16,-1 0-16,13-13 0</inkml:trace>
  <inkml:trace contextRef="#ctx0" brushRef="#br0" timeOffset="124724.22">22357 423 0,'-13'14'0,"0"-14"0,13 13 16,13 0-16,-13 0 16,13-13-1,-13 13-15,14-13 0,-1 0 16,0 0-16,0 0 16,-13-13 15,-13 0-31,0 0 15,0 0-15,-1 13 16,14-14-16,-13 14 0,0 0 16,0-13-16,-1 13 15,1 0 1</inkml:trace>
  <inkml:trace contextRef="#ctx0" brushRef="#br0" timeOffset="125086.48">23164 212 0,'14'0'31,"-14"13"0,0 0-31,0 14 16,0-14-16,0 0 16,0 0-16,13-13 15,-13 14-15,0-1 0</inkml:trace>
  <inkml:trace contextRef="#ctx0" brushRef="#br0" timeOffset="125376.15">23429 238 0,'-27'13'32,"14"1"-32,0-1 15,0 0 1,-1 0-16,1 1 15,13-1-15,0 0 16,0 0 0,13-13-16,1 13 0,-1-13 15,0 0-15,0 0 0,1 0 0,-1 0 16,0 14-16,0-14 0,1 0 16,-1 0-16,0 0 0,0 0 0,14 0 15</inkml:trace>
  <inkml:trace contextRef="#ctx0" brushRef="#br0" timeOffset="125593.55">23535 225 0,'-27'0'0,"14"26"16,0-12-1,13-1-15,-13-13 0,13 13 16,0 0-16,-14 1 0,14-1 0,0 0 16,-13 0-16,13 0 0,0 1 0,0-1 15,0 0-15,13 0 16</inkml:trace>
  <inkml:trace contextRef="#ctx0" brushRef="#br0" timeOffset="125934.16">23641 291 0,'0'0'0,"-14"0"0,1 13 16,0 1 0,0-1-16,13 0 15,0 0-15,-14 0 0,28-13 16,-14 14-16,13-1 15,0-13-15,-13 13 0,13-13 16,1 0-16,-1 0 0,0 0 16,0 0-16,0 0 0,-13-13 15,14 13-15,-14-13 0,0-1 16,0 1-16,0 0 16,0 0-16,-14 0 15,1-1-15,0 14 16,-13 0-1,12 0 1,1 14 0</inkml:trace>
  <inkml:trace contextRef="#ctx0" brushRef="#br0" timeOffset="126318.31">23892 278 0,'0'26'62,"-13"-26"-62,13 14 16,0-1 0,13 0-16,-13 0 15,13-13-15,0 13 31,1-13-31,-1 0 16,0 0 0,-13 14-1,13-14-15,0 0 16,1 0 0,-1 0-16,0-14 15,14 14-15,-14 0 16,0 0-16,0 0 0,1-13 15,-1 13-15,0 0 0,0 0 16</inkml:trace>
  <inkml:trace contextRef="#ctx0" brushRef="#br0" timeOffset="127077.25">23402 2342 0,'0'26'31,"0"-13"-31,0 0 0,-13-13 0,13 14 16,0-1-16,0 0 0,0 0 16,0 1-16,0-1 15,0 0-15</inkml:trace>
  <inkml:trace contextRef="#ctx0" brushRef="#br0" timeOffset="127822.16">23760 2355 0,'0'0'0,"-14"0"0,1 0 15,0 0 1,0 0-1,13 13-15,-14-13 16,14 13-16,0 0 0,0 1 16,0-1-16,-13 0 15,13 0-15,0 1 0,-13-14 16,13 13-16,0 0 0,-13-13 16,13 13-16,-13-13 15,13 14-15,13-41 31,-13 14-15,13 0-16,0 13 0,0-14 0,-13 1 16,14 0-16,-1 0 15,0-1-15,-13 1 0,13 13 0,-13-13 16,0 0-16,14 0 0,-14-1 16,0 1-16,-14 13 15,14-13-15,-13 0 16,0 13-16,0 0 15,-1 13 1,1-13-16,13 13 0,-13-13 16</inkml:trace>
  <inkml:trace contextRef="#ctx0" brushRef="#br0" timeOffset="128163.95">23879 2328 0,'-14'27'32,"14"-14"-17,-13-13-15,13 13 0,0 0 16,0 1-16,0-1 16,0 0-16,13 0 15,1-13-15,-1 0 16,0 0-16,0 0 15,1 0-15,-1 0 16,-13-13-16,13 13 0,-13-13 16,13 13-16,-13-13 0,13-1 15,-13 1-15,0 0 16,-13 0-16,13 0 0,0-1 16,-13 14-16,13-13 0,-13 13 15,0 0-15,-1 0 0,1 0 16,0 0-16,0 0 15,-1 0-15</inkml:trace>
  <inkml:trace contextRef="#ctx0" brushRef="#br0" timeOffset="128721.85">24289 2289 0,'0'0'0,"-13"13"16,-1-13-16,14 13 16,-13-13-16,13 13 0,-13-13 0,13 14 15,0-1-15,-13 0 16,26 0 0,-13 0-16,13 1 15,0-14-15,1 0 16,12 0-1,-13 0-15,-13-14 0,13 14 0,1 0 16,-1 0 0,0 0-16,0 0 15,1 0 1,-1 0 0,0 0-1,0 0-15,1 0 0,-1 0 16,0 0-16,0 0 0,0 0 15,1 0-15,-1 0 16,13 0-16,-26-13 16,14 13-16,-1 0 15,0 0-15,-13-13 16</inkml:trace>
  <inkml:trace contextRef="#ctx0" brushRef="#br0" timeOffset="129349.1">22304 2037 0,'14'27'31,"-14"-14"-31,0 0 16,13 0-16,-13 1 0,0-1 15,0 0-15,0 0 0,13 1 0,-13-1 16,0 0-16,13 0 0,-13 0 0</inkml:trace>
  <inkml:trace contextRef="#ctx0" brushRef="#br0" timeOffset="129821.18">22040 2249 0,'39'-13'31,"-39"-1"-31,14 14 16,-1 0-16</inkml:trace>
  <inkml:trace contextRef="#ctx0" brushRef="#br0" timeOffset="132118.49">21167 635 0,'26'0'31,"1"0"-31,-14 0 16,0 0-16,0 0 0,0-13 0,1 13 16,-1 0-16,13-13 0,-12 13 15</inkml:trace>
  <inkml:trace contextRef="#ctx0" brushRef="#br0" timeOffset="132829.72">21696 423 0,'0'0'0,"-27"14"15,14-1-15,13 0 16,-13 0 0,13 0-16,0 1 15,13-1-15,-13 0 16,13-13-16,1 0 16,-1-13-1,0 13-15,0-13 0,1-1 16,-14 1-16,13 13 0,-13-13 15,0 0-15,0 0 16,0-1 0,-27 41-1,27-14 1,-13 0 0,13 0-16,0 1 0,13-14 15,-13 13-15,14-13 16,12-13-1,-13-1-15,0 1 0,1 13 16,-14-13-16,13 0 0,-13 0 16,0-1-16,13 14 0,-13-13 15,0 0-15,-13 13 0,-14 0 16,14 13 0,13 0-16,-13 1 0,0-1 15,0 0-15,13 0 0,-14 27 16,1-27-16,13 0 0,0 1 0,0-1 15,0 0-15,0 0 16,13-13-16,1 14 16,12-28-16,-13 14 0,0-13 15,1 0-15,-14 0 0,13 13 16,0-14-16,-13 1 0,0 0 16,0 0-16,0-1 15,-13 1-15,0 13 0,-1 0 16,1 0-16,0 13 15,0 1-15,-14-1 0,14 13 0,0 1 16,0 13-16,-1 12 0,1-25 16,13-1-16,13 1 0,-13-1 15,14 14-15</inkml:trace>
  <inkml:trace contextRef="#ctx0" brushRef="#br0" timeOffset="133373.01">22066 2117 0,'0'13'16,"0"0"-16,0 0 16,0 1-16,0 12 0,-13-13 15,13 0-15,0 1 0,0-1 16,13 0-16,-13 0 16,0 1-16,0-1 0,13 0 15</inkml:trace>
  <inkml:trace contextRef="#ctx0" brushRef="#br0" timeOffset="134116.49">22265 2103 0,'0'-13'0,"13"13"15,0 0 1,0 0-16,1 13 15,-14 1-15,13-14 16,-13 13-16,0 0 0,0 0 0,-13 1 16,13-1-16,-14 0 0,14 0 15,-13 0-15,0 1 16,13-1-16,-13 0 16,13 0-1,0 1 1,13-28-1,13 14 1,1 0-16,-14-13 0,14 13 0,-1-13 16,0 0-16,41-14 0,-28 14 15,-12 0-15,-1 0 0,1-1 16,-14 1-16,0 0 0,0 0 16,1 13-16,-1-14 0,0 14 0,0-13 15,0 0-15,-13 0 16,0 52 31,0-25-32,14-14-15,-14 13 16,13-13 0,0 0-16,14-13 15,-14 13-15,-13-14 16,13 14-16,0-13 15,1-53 17,-28 53-32,1 26 15,-146 80 17</inkml:trace>
  <inkml:trace contextRef="#ctx0" brushRef="#br0" timeOffset="134300.71">22146 2474 0,'53'-27'16,"-106"54"-16,132-67 0,-39 27 16,-1 0-16,1-1 0,0 1 0,-1 0 15,1 0-15,13 0 0,-27-1 16,14 14-16,0-13 0,-14 13 0,-12 0 15,25-13-15,-26 13 16,1 0-16,-1 0 0,0 0 0</inkml:trace>
  <inkml:trace contextRef="#ctx0" brushRef="#br0" timeOffset="134471.96">22291 2500 0,'-13'14'16,"26"-28"-16,0 14 31,14-13-31,-14 0 0,27 0 0,-1-1 16,28-25-16,-28 25 0,41-25 15,-54 12-15,14 1 16,-14-1-16,1 1 0</inkml:trace>
  <inkml:trace contextRef="#ctx0" brushRef="#br0" timeOffset="134838.97">22185 833 0,'27'-13'16,"12"0"-16,-12 0 15,-1 13-15,27-13 0,-26-1 16</inkml:trace>
  <inkml:trace contextRef="#ctx0" brushRef="#br0" timeOffset="135018.01">22199 873 0,'0'0'0,"26"-13"32,0 13-32,1-13 0,13 13 15,-1-14-15,14 14 0,40-26 16,-40 26-16</inkml:trace>
  <inkml:trace contextRef="#ctx0" brushRef="#br0" timeOffset="135666.94">24077 701 0,'-13'13'0,"0"146"31,-1-93-31,14-13 0,0 27 16,0-1-16,-13-13 0,13 13 0,0 1 16,0-1-16,-13 1 0,13-14 15,0 0-15,0 0 0,0-13 0,0 0 16,0-13-16,-13 26 0,13-40 16,0 14-16,0-27 15,13 0-15,-13 1 0,0-1 16,0 0-16,0 0 0</inkml:trace>
  <inkml:trace contextRef="#ctx0" brushRef="#br0" timeOffset="135978.29">23733 1865 0,'0'27'32,"0"-14"-32,13 0 0,-13 0 0,0 1 15,0-1-15,14 0 0,-14 0 16,13 1-16,-13-1 0,13 0 0,0 0 16,-13 1-16,13-14 0,1 13 15,-1 0-15,0-13 16,0 13-16,1-13 0,-1 0 0,0 0 15,14 0-15,-14-13 0,26 0 16,-25 0-16,12-1 0,1-12 16,-14-1-16,13 1 0,14-27 15,-27 13-15,0 14 0,1-14 0,-1 0 16,-13 1-16,13-1 0</inkml:trace>
  <inkml:trace contextRef="#ctx0" brushRef="#br0" timeOffset="136520.54">23958 569 0,'-26'26'31,"26"-12"-31,-14-1 0,1 0 0,0 13 15,0-12-15,-1-1 0,-12 13 16,13-12-16,-1 12 0,1-13 16,0 1-16,0-1 0,0 0 15,13 0-15,0-39 32,13 13-17,0-1-15,0 1 0,0 0 0,-13-14 16,27 14-16,-14 0 0,0 0 15,1 13-15,-1-14 0,0 14 0,0-13 16,1 13-16,-1 0 0,0 13 16,0-13-16,0 14 0,1-14 15,-1 13-15,0 0 0,0 0 0,27 1 16,-27-1-16,1 0 0,-1 0 16,0 1-16,0-1 0,-13 0 15,13 0-15,1 0 0,-1 1 0,0-1 16,-13 0-16</inkml:trace>
  <inkml:trace contextRef="#ctx0" brushRef="#br0" timeOffset="141004.94">17820 11218 0,'0'-13'16,"0"26"-16,-14 1 15,14-1-15,-13 13 16,13-13-16,0 14 0,-13-1 16,13 1-16,-13 13 0,13-14 15,0 0-15,0 1 0,-13-1 0,13-12 16,0 12-16,0-13 0,0 1 16,0-1-16,0 0 0,0 0 15,13-39 1,-13-1-1,13 14-15,-13-13 0,0-1 16,0 1-16,0-54 0,0 27 16,13 27-16,-13-1 0,0 1 0,0 0 15,0 12-15,0 1 16,0 0-16,0 0 0,0-1 0,0 1 16,13 26-1,-13 1 1,14-1-16,-14 0 0,0 0 0,13 14 15,-13-14-15,13 0 0,-13 0 0,13 1 16,-13-1-16,14 0 0,-1 0 16,0-13-16,0 0 15,1-13-15,-1 0 0,0 0 0,13-14 16,-12 1-16,-1-1 0,0 1 16,0 13-16,1-14 0,-1 14 15,-13 0-15,13-1 0,0 14 16,1 14-16,-14-1 15,0 0-15,0 14 0,0-1 16,0 1-16,0 12 0,0-12 16,0 12-16,0 1 0,0-13 0,0-1 15,0 0-15,0 1 0,0-14 16,0 14-16,13-14 0,-13 13 0,0-12 16,0-1-16,0 0 0,13 0 15,0-13-15,0 0 0</inkml:trace>
  <inkml:trace contextRef="#ctx0" brushRef="#br0" timeOffset="142161.19">18203 11615 0,'0'0'0,"27"0"15,-14-13-15,0 13 16,0-13-16,14-14 0,13 14 0,-27-13 0,13-1 15,1 14-15,-14-14 0,13 1 16,-12 0-16,-14-1 0,13 1 16,-13 12-16,0 1 0,0-13 0,0 12 15,0 1-15,0 0 0,-13 13 0,13-13 16,-14 13-16,1-13 0,0 13 16,13 13-16,-26-13 0,12 13 0,1 0 15,0 0-15,0 14 0,-1 13 16,1-14-16,0 1 0,13-1 15,-13-13-15,13 14 0,13-14 16,-13 13-16,0-12 0,13-1 0,-13 0 16,13 0-16,1 1 0,-1-1 0,13 0 15,-12-13-15,-1 13 0,13-13 16,1 0-16,-14 0 0,13 0 0,1 0 16,-1-13-16,1 13 0,12-13 0,-12 0 15,-1 13-15,1-14 0,-1 1 16,1 13-16,-14-13 0,13 13 0,-12-13 15,-1-1-15,0 14 0,-13-13 0,13 0 16,-13 0-16,0-1 0,0 1 16,0 0-16,0 0 15,0 0-15,-13-1 0,0 1 16,13 0-16,-13 13 16,-1-13-16,-12 13 15,13 0-15,-1 13 16,1 0-16,0 0 15,13 1-15,-13-14 0,13 13 0,-13 0 16,13 0-16,0 0 0,0 1 0,0-1 16,0 0-16,0 0 0,13-13 15,-13 14-15,13-1 16,0-13 0,0-13-16,1 13 0,-1-14 15,-13 1 1,13 13-16,-13-13 0,13 0 0,1 13 15,-14-14-15,13 14 0,-13-13 0,13 13 16,-13-13-16,13 13 0,1 0 16,-1 0-1,0 0-15,-13 13 0,13-13 16,-13 13-16,13 1 0,-13-1 16,14 0-1,-14 0-15,13 1 16,0-14 15,0-14-31,1 1 16,-1 13-16,0-13 15,0 13-15,1 0 16,-14-13-16,13 13 0,0 0 16,13 0-16,-12 0 0,-1-14 15,27 14-15,-14 0 0,1 0 16,25-13-16,-25 13 0,-1 0 15,1-13-15,-1 13 0</inkml:trace>
  <inkml:trace contextRef="#ctx0" brushRef="#br0" timeOffset="142741.87">20016 10835 0,'-14'26'16,"14"-13"0,0 1-16,-13 12 0,13-13 0,0 14 15,0 12-15,0 1 0,0 0 0,0-1 0,0-12 16,0 13-16,0-14 0,0 1 15,0 25-15,0-25 16,0-14-16,0 14 0,0-14 0,0 0 16,13 0-16,-13 1 0,0-1 15,0 0-15,0-39 32,-13-14-17,13 27-15,0-14 0,-13-13 16,13 1-16,0-1 0,0-13 15,0 13-15,0-12 0,0-1 0,13 13 16,0 0-16,1-13 0,-1 27 0,0-14 0,14 14 16,-14 13-16,13-1 15,1 14-15,-14 0 0,13 0 0,14 14 16,0-1-16,0 13 0,-14 1 0,0 12 16,1 1-16,-14 0 0,0-1 0,-13 1 15,-13 0-15,13 13 0,-26-14 16,-1 14-16,1 0 0,-1-13 0,-12 0 15,-41 39-15,41-53 0,-1 1 16,13-14-16,-12 0 0,-1 1 16,14-1-16,-1-13 0,14 13 0,-14-26 15,14 13-15,0-13 16,13-1-16,0 1 0,13 0 16,0 0-16,1-1 0,12-12 15</inkml:trace>
  <inkml:trace contextRef="#ctx0" brushRef="#br0" timeOffset="143630.84">20690 11351 0,'14'-27'31,"-14"14"-31,0 0 0,13-1 16,-13 1-16,0 0 0,0-13 0,0 12 15,-13 1-15,13 0 0,0 0 0,0-1 16,-14 1-16,1 0 15,0 13-15,0 13 16,13 0-16,-13 1 16,13-1-16,-14 0 0,14 0 15,0 1-15,0-1 0,0 0 0,14-13 16,-14 13-16,13 0 0,0 1 0,0-14 16,0 13-16,1-13 0,-1 0 15,0 13-15,0-26 0,1 13 16,-1 0-16,0 0 0,0-13 0,0 13 0,1-14 15,-1 1-15,0 0 0,0 0 16,1 0-16,-1-1 0,-13 1 16,13 13-16,-13-13 0,13 13 15,-13-13-15,14 13 0,12 0 32,-26 13-32,13-13 0,-13 13 0,13 0 15,1 1-15,-1-1 0,-13 0 16,13 0-16,-13 0 0,13-13 15,-13 14-15,14-1 0,-1 0 16,-13 0-16,13-13 0,-13 14 16,13-1-1,-13-26 17,0-14-17,14 27-15,-14-13 0,0 0 0,0-1 16,13-12-16,-13 13 0,13 0 15,-13-1-15,13 1 0,-13 0 0,13 13 16,1-13-16,-1-1 0,-13 1 16,13 13-16,14-13 0,-14 0 15,0 13-15,0-14 0,0 14 16,1 0-16,-1 0 16,0-13-16,0 13 0,1 0 0,-1 0 15,0 13-15,0-13 0,-13 14 16,14-14-16,-14 13 0,13 0 15,-13 0 1,0 1-16,0-1 0,0 0 0,0 0 16,0 1-16,0-1 0,-13 0 15,13 0-15,0 0 16</inkml:trace>
  <inkml:trace contextRef="#ctx0" brushRef="#br0" timeOffset="143754.14">21431 10821 0,'-13'0'15,"0"0"-15,13 14 0,-13-1 0</inkml:trace>
  <inkml:trace contextRef="#ctx0" brushRef="#br0" timeOffset="144540.01">21669 11007 0,'-13'0'16,"26"0"-16,-39 0 15,13 0-15,-1 13 0,1-13 16,0 13-16,0-13 16,0 13-16,-1 1 0,1-1 15,13 0-15,-13-13 0,13 13 0,0 0 16,13 1 0,0-14-1,1-14-15,12 14 0,-13 0 16,0 0-16,1 0 15,-1 0-15,0 0 16,-13 14 0,13-14-16,1 0 0,-14 13 15,13-13-15,0 0 0,14-13 16,-14 13-16,0-14 0,13 1 16,-12 0-16,12 0 0,1-14 0,-14 1 15,13-1-15,-12 1 0,12-14 16,0-26-16,-12 26 0,-1 14 15,0-27-15,-13 40 16,13 0-16,-13-1 0,0 1 16,14 40-1,-14-14-15,0 40 16,-14-27-16,14 40 16,0-39-16,0 13 0,-13-1 15,13-12-15,0-1 0,-13-13 0,13 14 16,-13-14-16,13 0 0,-14 0 0,14 1 15,-13-1-15,0-13 0,13 13 16,-13-13-16,-14 0 16,14 0-16,13-13 15,-13 13-15,26-13 16,-13-1-16,0 1 16,13 0-16,1 0 0,12 0 0,-13-1 0,0 1 15,14 0-15,-14 0 0,14-1 16,12-12-16,-26 13 0,1 13 15,-1-13-15,0 13 0,0 0 16,1 0-16,-14-14 0,26 28 16,-13-14-16,-13 13 0,14 0 15,-14 0-15,0 0 16,0 1-16,0-1 16,0 0-16,0 0 0,0 1 15,0-1-15,0 0 16,-14 0-16</inkml:trace>
  <inkml:trace contextRef="#ctx0" brushRef="#br0" timeOffset="144654.5">22278 10729 0,'-27'-13'0,"54"26"0,-67-40 16,27 27-1</inkml:trace>
  <inkml:trace contextRef="#ctx0" brushRef="#br0" timeOffset="145068.01">22529 10835 0,'-13'39'16,"26"-78"-16,-39 78 0,26-25 0,0-1 15,0 0-15,-13-13 0,13 13 0,0 1 0,0-1 16,0 0 0,13-13-16,13-13 15,-13 13-15,1-13 0,-1-1 16,13-12-16,-12-1 16,-1 14-16,0-13 0,0 12 0,1 1 15,-14 0-15,13 0 0,-13 0 0,0-1 16,-27 28 15,14-1-31,13 0 0,-13-13 16,13 26-16,0-12 15,13-1-15,0 0 16,1-13-16,-1 13 0,0-13 0,0 0 16,0 0-16,14 0 0,-14 0 15,0 0-15,1 0 0,-1 0 0,0 0 16,0 0-16,1 0 0,-1 14 15,-26-1-15,-14 0 16,1 0-16,-27 14 16,0-1-16,-13 1 0,-1-1 0</inkml:trace>
  <inkml:trace contextRef="#ctx0" brushRef="#br0" timeOffset="145344.44">19063 11946 0,'53'-27'15,"0"14"-15,13 0 0,27-13 16,26-1-16,13 1 0,0-1 0,27 1 16,0-1-16,13 1 0,754-93 31,-741 92-31,-13 14 0,185-13 15,-198 26-15,-13-14 0,-1 14 0,-39 0 16,-13 0-16,-14 0 0,0 0 16,-26 0-16,-13 0 0,-14 0 0,-26 14 15,14-14-15,-54 13 16,-13 0-16,-26-13 0</inkml:trace>
  <inkml:trace contextRef="#ctx0" brushRef="#br0" timeOffset="145605.29">17965 12118 0,'0'13'0,"27"0"16,-1-13-16,40-13 0,14 13 0,12 0 15,41-13-15,12 0 0,14-1 0,0 1 16,26 0-16,0-13 0,0 12 15,0 1-15,14 0 0,-14-14 16,0 14-16,-26 0 0,13 0 0,-26-1 16,-14 1-16,-13 0 0,-27 0 0,1 0 15,-27-1-15,0 14 0,-26-13 16,0-13-16,-14 12 0,-13-12 0,-13 13 16,-13-14-16</inkml:trace>
  <inkml:trace contextRef="#ctx0" brushRef="#br0" timeOffset="145958.99">18547 10451 0,'225'-26'0,"-450"52"0,569-66 16,-211 40-16,-1-13 0,159-13 16,-132 12-16,-1 14 0,14-13 15,146 0-15,-159 0 0,-1 13 16,1 0-16,-13-13 0,-14 13 15,0 0-15,-26-14 0,-13 14 0,-1 0 16,-12 0-16,-27 0 0,-14 0 0,-26 0 16,1 0-16,-67 0 15,-27-13-15</inkml:trace>
  <inkml:trace contextRef="#ctx0" brushRef="#br0" timeOffset="146251.09">17608 10755 0,'198'0'16,"-118"0"-16,899-79 31,-781 66-31,54-1 0,-41 1 0,54-13 16,-54 26-16,54-27 0,-66 14 0,12 13 15,1-13-15,39 0 0,-52-1 0,-1 14 16,173-13-16,-213 0 0,1 13 16,0 0-16,-27 0 15,-26 0-15,0 0 0,-14 0 0,-12 0 16,-14 0-16,-13 0 0,0 0 0,-14 13 16,-12-13-16,-1-13 0,-12 13 0,-1 0 15,0 0-15</inkml:trace>
  <inkml:trace contextRef="#ctx0" brushRef="#br0" timeOffset="146696.84">23720 10279 0,'-13'40'0,"-40"52"15,40-65 1,-1 13-16,1-1 0,13 1 0,-13-14 16,0 14-16,-1 0 0,1-1 0,13-12 15,-13-1-15,13-12 16,0-1-16,0 0 0,0 0 0,13-13 15,0 0-15,1-13 0,25 0 0,-12-14 16,-1 1-16,1-14 0,-1 14 16,14-14-16,-27 14 0,13-14 15,-12 27-15,-1-1 0,0 1 0,-13 0 16,13 0-16,-26 66 16,0-27-1,0 14-15,-1-1 0,1 14 0,0-13 16,0 13-16,0 0 0,-1 0 0,1 0 15,13 0-15,-13 0 0,0-1 16,13-12-16,-14 0 0,1 0 0,-13-1 16,-1 14-16,1-26 0,-14 12 15</inkml:trace>
  <inkml:trace contextRef="#ctx0" brushRef="#br0" timeOffset="147166.34">17687 10927 0,'-13'40'0,"26"-80"0,-39 93 0,13-13 16,-1-14-16,14 14 0,-13 13 0,-13 0 16,13 0-16,-1 0 0,1 0 15,-13 0-15,12-1 0,-12 1 0,-1 40 16,14-53-16,0-14 0,0 1 15,0-14-15,13 0 16</inkml:trace>
  <inkml:trace contextRef="#ctx0" brushRef="#br0" timeOffset="147326.07">17674 10795 0,'0'0'0,"0"26"0,-13 1 0,0 26 16,-1 0-16,-12 0 0,0 13 15,12 0-15,-12 13 0,13-13 0,-14 14 16,14-1-16,-14 14 0,14-14 16,-13-13-16,13 27 0,-14-14 0,14-13 0,0 1 15,-1-14-15</inkml:trace>
  <inkml:trace contextRef="#ctx0" brushRef="#br0" timeOffset="196136.18">24117 13626 0,'0'40'31,"0"-1"-16,0-12-15,0 13 16,13-1-16,-13-12 16,0-1-16,13-13 0,-13 14 15,13 13-15,-13-27 16,14 13-16,-1-13 16,-13 1-1,0 12-15,0-13 16,0 1 15,0-28 157,0-39-188,-27 14 15,14 12-15,13 1 16,-13-54-16,0 41 15,13-1-15,-13 27 16,13 0 0,0-1 77,0 1-77,0 0-16,-14 0 16,14-14-1,0 14 1,14 13 156,25-13-172,1 13 15,0 0-15,13 0 16,13 0-16,0-13 16,-13 13-16,-27 0 15,14 0-15,-27-14 16,0 14 0,1 0-16,-1 0 0,0 0 15,0 0 1,27 0-1,-14 0-15,1 0 16,-1 0-16,1 0 16,-1 0-1,-13 0 1,1 0 109,-1 14-125,0 38 16,-13-12-16,0 0 15,0 13-15,13 0 16,-13 0-16,14-14 15,-1 1-15,-13-14 16,0 14-16,0-13 16,13-1-16,0-13 15,-13 1-15,0-1 16,0 0-16,0 0 16,-39-13 155,12 0-155,-26 0-16,14 0 0,-14 0 16,-14 0-16,41 0 31,-14 0-31,14 0 0,13 0 16,-27 0-16,14-13 15,12 13 1,1 0-16,0 0 15,0 0-15,-14 0 16,1 0 0,12 0-1,1 0-15,0 0 16,0 0-16,0 0 16,-14 0-16,14 0 15,0 0-15,-1 0 16,1 0-1,0 0-15,0 0 16,-1 0 0,1 0-1,0 0 32,13-13 188,0 0-220,0-1 1,13 14-16,0-13 31,1 13 469,-14-26-484,13 12-16,0 14 15</inkml:trace>
</inkml:ink>
</file>

<file path=ppt/ink/ink16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3:09:06.362"/>
    </inkml:context>
    <inkml:brush xml:id="br0">
      <inkml:brushProperty name="width" value="0.05292" units="cm"/>
      <inkml:brushProperty name="height" value="0.05292" units="cm"/>
      <inkml:brushProperty name="color" value="#0070C0"/>
    </inkml:brush>
  </inkml:definitions>
  <inkml:trace contextRef="#ctx0" brushRef="#br0">6654 2699 0,'14'-13'0,"-1"-1"0,106 1 15,-66 0 1,13 13-16,13 0 0,1-13 0,-14 13 16,0 0-16,-13 0 0,0 0 0,13 0 15,-13 0-15,0 0 0,0 0 16,-14 13-16,1-13 0,-14 0 0,14 0 15,-13 0-15,-1 0 0,-13 13 0,1-13 16,-1 0-16,0 0 0</inkml:trace>
  <inkml:trace contextRef="#ctx0" brushRef="#br0" timeOffset="257.06">6879 2791 0,'-13'14'16,"53"-14"0,-14 0-16,1 0 15,25 0-15,1 0 0,14 0 16,-1 0-16,-13 0 0,13 0 16,-13 0-16,0-14 0,13 14 0,-13 0 15,-14 0-15,1 0 0,0 0 16,-14 0-16,1 0 0,-14 0 0,13 0 15,-12 0-15,-1 0 0,0 14 0,0-14 16,0 0-16,1 0 16,-1 13-16</inkml:trace>
  <inkml:trace contextRef="#ctx0" brushRef="#br0" timeOffset="2579.05">2805 3307 0,'53'-13'16,"52"13"-1,-52-13-15,-13 13 0,13-13 0,0 13 16,0 0-16,0-14 0,0 14 16,-1 0-16,-12-13 0,0 13 0,-1 0 15,-12 0-15,13 0 0,-14 0 16,-13 0-16,14 0 0,-1-13 0</inkml:trace>
  <inkml:trace contextRef="#ctx0" brushRef="#br0" timeOffset="2981.14">3043 3321 0,'92'0'16,"-52"0"-16,0-14 0,13 14 15,-14 0-15,14-13 0,0 13 0,-13 0 16,13-13-16,-14 13 0,14 0 16,-13 0-16,13-13 0,-27 13 0,27 0 15,-26-14-15,12 14 0,-12 0 0,-1 0 16,1-13-16,-1 13 0,-12 0 15,-1 0-15,0 0 0,0 0 0,0 0 16,1 0-16,-1 0 0,0 0 16,0-13-16,1 13 31,-14-13-15,0-1-1</inkml:trace>
  <inkml:trace contextRef="#ctx0" brushRef="#br0" timeOffset="6187.65">7408 6019 0,'-26'-13'32,"13"13"-32,-1 0 15,14 13-15,-13-13 0,0 13 0,13 1 16,-13-1-16,13 0 0,-14 14 0,14-14 15,0 13-15,0-12 0,0 12 16,14 0-16,-14-12 0,13 12 0,0-13 16,0 14-16,-13-14 0,14 0 15,12 1-15,-13-1 0,1 0 0,-1 0 16,0-13-16,0 13 0,0-13 16,1 0-16,-1 0 0,0 0 0,0 0 15,1-13-15,-1 13 0,-13-13 16,0-13-1,0 12-15,-13 1 16,13 0-16,-14 13 0,1-13 0,0-1 16,0 14-16,-1-13 15,1 26-15,0-13 16,0 0-16,13 14 0,0-1 16,0 0-1,0 0-15</inkml:trace>
  <inkml:trace contextRef="#ctx0" brushRef="#br0" timeOffset="7652.41">11589 11152 0,'-13'0'0,"-1"-13"16,-12 13-1,13 0-15,-1 0 0,1 0 16,0 13-16,-14-13 0,14 13 0,0 1 16,-13-1-16,12 0 0,1 0 15,0 1-15,0-1 0,13 0 0,-14 0 16,14 0-16,0 1 16,0-1-16,14 0 15,-1-13-15,0-13 0,0 13 16,1 0-16,12-13 0,-13-1 0,14 1 15,-1 0-15,-13 0 0,1 0 0,12-1 16,-13 14-16,1-13 0,-1 13 16,-13-13-16,13 13 0,0 0 15,0 13-15,-13 0 16,0 1 0,0 12-16,0-13 0,0 0 0,0 14 15,0-14-15,0 0 0,0 14 0,0-14 16,0 0-16,-13 1 0,13-1 0,0 0 15,0 0-15,0 0 0,0 1 16,0-1-16,0 0 0,0 0 16,-13-13-1</inkml:trace>
  <inkml:trace contextRef="#ctx0" brushRef="#br0" timeOffset="9496.04">9816 8797 0,'0'0'15</inkml:trace>
  <inkml:trace contextRef="#ctx0" brushRef="#br0" timeOffset="12667.47">7766 6006 0,'0'-13'0,"-14"52"31,28-25-31,-14-1 0,0 0 0,0 0 16,13 14-16,-13-14 0,0 14 16,13-14-16,-13 0 0,13 13 0,-13-12 15,13-1-15,1 0 0,-14 0 0,13 1 16,-13-1-16,13-13 0,-13 13 16,13-13-16</inkml:trace>
  <inkml:trace contextRef="#ctx0" brushRef="#br0" timeOffset="12864.19">7660 6218 0,'0'0'0,"39"-27"32,-25 14-17,-1 13-15,13 0 0,-12-13 16,12 13-16,-13-13 0,14 13 0,-14-14 0,13 14 15,-12 0-15,12-13 0,-13 13 16,14 0-16,-14-13 0,0 13 0</inkml:trace>
  <inkml:trace contextRef="#ctx0" brushRef="#br0" timeOffset="13229.69">8109 5900 0,'14'-13'15,"-1"13"1,0 0 0,-13 13-1,0 0-15,0 1 16,0-1-16,13-13 0,-13 13 0,0 0 15,14 1-15,-1-14 0,-13 13 0,13 0 16,0 0-16,1-13 0,-1 27 16,13-1-1,-26-13-15,0 1 16,0 12 0,-13-26-16,13 13 0,-13 1 0,0-1 15,-1-13-15,1 13 16,0-13-1</inkml:trace>
  <inkml:trace contextRef="#ctx0" brushRef="#br0" timeOffset="13435.14">8281 5887 0,'14'-13'0,"-14"0"0,13 26 47,0-13-47,-13 13 0,13 0 16,-13 0-16,14 1 0,-14-1 0,13 0 15,0 0-15,-13 1 0,13-1 0,1 0 16,-14 0-16,13 0 0,0 1 16,0-1-16,-13 0 0,13-13 15,-13 13-15</inkml:trace>
  <inkml:trace contextRef="#ctx0" brushRef="#br0" timeOffset="13629.95">8268 6006 0,'0'0'0,"13"-26"15,1 26-15,-1-14 16,0 14-16,0-13 0,1 0 0,12 13 15,-13-13-15,14 13 0,-14-14 16,13 14-16,1 0 0,-14-13 0,14 13 16,-14 0-16,0 0 0,13 0 0</inkml:trace>
  <inkml:trace contextRef="#ctx0" brushRef="#br0" timeOffset="14251.29">8678 5768 0,'40'-27'32,"-14"27"-17,-26 14-15,14-14 0,-1 0 0,0 13 16,-13 0-16,13-13 15,-13 13-15,0 1 16,14-14-16,-14 13 0,0 0 0,13-13 16,-13 13-16,0 1 0,13-1 15,-13 0-15,13-13 16,-13 13-16,0 0 0,14 1 16,-14-1-16,-14 0 15,14 0-15,-39 27 31,25-27-31,1-13 16,0 13-16,0-26 16</inkml:trace>
  <inkml:trace contextRef="#ctx0" brushRef="#br0" timeOffset="14455.09">8916 5728 0,'0'-13'0,"14"26"32,-1 0-32,-13 1 15,0-1-15,13 0 16,0 0-16,-13 1 0,14 12 16,-14-13-16,13 1 0,-13-1 0,13 0 15,-13 0-15,13 0 16,-13 1-16,14-1 0</inkml:trace>
  <inkml:trace contextRef="#ctx0" brushRef="#br0" timeOffset="14643.82">8930 5874 0,'13'-13'31,"0"13"-31,0-14 16,1 14-16,-1 0 0,0 0 0,0-13 16,1 13-16,-1 0 15,0 0-15,-13-13 0</inkml:trace>
  <inkml:trace contextRef="#ctx0" brushRef="#br0" timeOffset="14964.98">9155 5675 0,'0'-13'0,"26"13"31,-13 0-31,-13 13 16,14-13-16,-14 14 0,0-1 15,0 0-15,-14 0 0,14 0 0,0 1 16,-13-1-16,13 0 0,0 0 15,-13-13-15,13 14 0,0-1 0,0 0 16,0 0 15,13-13-31,14 0 16,-14 0 0,0 0-16,0-13 0,0 13 15,1 0-15,-1-13 0,0 13 0,0-13 16,-13-1-16,14 1 0,-1 0 0,0 0 15</inkml:trace>
  <inkml:trace contextRef="#ctx0" brushRef="#br0" timeOffset="15126.17">9446 5596 0,'13'-13'0,"-13"-1"31,0 41 0,0-14-31,0 0 16,0 1-16,0-1 0,13 0 0,-13 0 15,0 1-15,0-1 0,0 0 0,0 0 16,0 0-16,13 1 0,-13-1 16,0 0-16</inkml:trace>
  <inkml:trace contextRef="#ctx0" brushRef="#br0" timeOffset="15284.63">9419 5741 0,'0'-13'0,"0"0"32,13 13-32,1 0 15,-14-13-15,13 13 0,0 0 16,-13-13-16,13 13 0,1-14 0</inkml:trace>
  <inkml:trace contextRef="#ctx0" brushRef="#br0" timeOffset="15485.16">9604 5490 0,'0'27'31,"0"-14"-31,0 0 16,0 0-16,14 0 0,-14 14 16,0-14-16,13 0 0,-13 1 15,0-1-15,13 0 0,-13 0 0,0 1 16,13-1-16,-13 0 0,0 0 15,14 0-15,-14 1 16,0-1-16</inkml:trace>
  <inkml:trace contextRef="#ctx0" brushRef="#br0" timeOffset="16227.04">12647 6032 0,'27'-13'0,"-54"26"0,67-26 0,-27 13 15,0-13-15,0 13 0,1 0 16,-1 0-16,0 13 0,0-13 16,1 0-16,-14 13 0,13-13 15,-13 14-15,0-1 0,-13 0 16,13 0-16,-14 1 0,1-1 0,0 0 15,13 0-15,-13 1 0,-1-1 16,1-13-16,13 13 0,-13-13 0,13 13 16,-13-13-16,13 13 0,0 1 15,13-14 1,0 0 0,0 0-16,1 0 0,-1 0 0,0 0 15,0 0-15,14 0 0,-14 0 16,14 0-16,-14 0 0,0-14 0,13 14 15,1 0-15,-14-13 0,14 0 16,-1 13-16</inkml:trace>
  <inkml:trace contextRef="#ctx0" brushRef="#br0" timeOffset="16419.37">13348 5913 0,'0'0'0,"0"27"31,0-14-31,0 0 16,0 1-16,0 12 0,0-13 0,13 0 16,-13 1-16,0 12 0,0-13 15,0 1-15,0-1 0,14 0 0,-14 0 16,0 1-16,0 12 16,13-26-16,-13 13 0</inkml:trace>
  <inkml:trace contextRef="#ctx0" brushRef="#br0" timeOffset="16624.12">13176 6112 0,'-13'0'16,"26"0"-16,0-13 16,1 13-1,-1 0-15,0 0 0,14 0 16,-14-14-16,13 14 0,1 0 0,-1 0 15,-13-13-15,14 13 0,-1 0 16,1 0-16,-1 0 0,1-13 0,-1 13 16,1-13-16</inkml:trace>
  <inkml:trace contextRef="#ctx0" brushRef="#br0" timeOffset="16965">13957 5847 0,'-40'0'32,"27"14"-32,0-1 15,-1 13-15,14-13 0,-13 14 0,13-1 16,-13-12-16,13 12 0,0-13 0,0 14 16,13-14-16,-13 13 0,13 1 15,1-14-15,-1 0 0,0 1 0,0-1 16,14 0-16,-14 0 0,0-13 0,0 0 15,1 13-15,-1-13 16,0-13-16,0 13 0,1-13 16,-14 0-16,0 0 15,0-1-15,-14 1 16,1 13-16,13-13 0,-13 13 16,0 0-16,-1-13 0,1 13 15,0 0-15,0 0 0,0 0 16,-1 0-16,1 0 0,0 0 15</inkml:trace>
  <inkml:trace contextRef="#ctx0" brushRef="#br0" timeOffset="17623.79">14446 5913 0,'13'27'31,"-13"-14"-31,0 0 0,0 14 16,0-14-16,0 0 0,0 14 15,0-14-15,0 0 0,14 14 16,-14-14-16,0 0 0,0 0 0,13 1 15,-13-1-15,0 0 0,0 0 16,13 0-16</inkml:trace>
  <inkml:trace contextRef="#ctx0" brushRef="#br0" timeOffset="17800.25">14354 6046 0,'0'0'0,"-14"-14"0,28 14 32,12 0-17,-13 0 1,1 0-16,-1 0 0,0 0 0,0 0 16,0 0-16,1 0 0,-1 0 0</inkml:trace>
  <inkml:trace contextRef="#ctx0" brushRef="#br0" timeOffset="18073.55">14737 5913 0,'14'0'0,"-28"0"0,41 0 16,-14 0-16,0 0 16,0 0-16,1 0 0,-1 14 15,0-1-15,0-13 0,1 13 16,-14 0-16,13-13 0,-13 14 0,13 12 15,0-13-15,-13 0 16,0 1-16,0-1 0,0 0 0,0 0 16,0 1-16,0-1 0,0 0 0,0 0 15,0 1-15,0-1 0,0 0 16,0 0 0,0 0-16</inkml:trace>
  <inkml:trace contextRef="#ctx0" brushRef="#br0" timeOffset="18759.18">9485 6324 0,'27'0'15,"-14"-14"1,0 14-16,0 0 16,1 14-1</inkml:trace>
  <inkml:trace contextRef="#ctx0" brushRef="#br0" timeOffset="18915.25">9525 6469 0,'0'0'0,"13"0"31,14 0-15,-27-13-16,13 13 0,0 0 15,0-13-15,1 13 0,-1 0 16,0-14-16,0 14 0,1 0 0,-14-13 16,13 13-16</inkml:trace>
  <inkml:trace contextRef="#ctx0" brushRef="#br0" timeOffset="21587.39">15716 6006 0,'40'-13'16,"-27"13"-16,14 0 0,-14 0 0,13-13 15,-12 13-15,12 0 0,-13 0 0,0 0 0,14 0 16,-14 0-16,0 0 15</inkml:trace>
  <inkml:trace contextRef="#ctx0" brushRef="#br0" timeOffset="21753.1">15782 6178 0,'67'-26'15,"-54"26"1,13 0-16,-13-14 0,14 14 16,-14 0-16,14 0 0,-1 0 0</inkml:trace>
  <inkml:trace contextRef="#ctx0" brushRef="#br0" timeOffset="23169.72">16550 5808 0,'13'13'16,"-13"0"-1,0 0-15,0 14 0,-13-14 0,13 0 16,0 14-16,0-14 0,0 13 0,0-12 16,0 12-16,-14-13 0,14 0 0,0 1 15,0-1-15,0 0 0,14 0 16,-14 1-16,13-1 16</inkml:trace>
  <inkml:trace contextRef="#ctx0" brushRef="#br0" timeOffset="23524">16828 5834 0,'0'-13'15,"-14"0"1,1 26-1,0-13-15,13 13 0,-13-13 16,-1 13-16,14 1 16,0-1-16,14-13 15,-14 13-15,0 0 0,13 0 0,0-13 16,-13 14-16,13-1 0,1 0 0,-14 0 16,13 1-16,0-14 0,-13 13 0,0 0 15,13-13-15,-13 13 0,-13 0 16,0 1-16,0-1 15,-14 0-15,14 0 0,-14-13 0,1 14 16,-1-1-16,1-13 0,0 13 16,-1-13-16,1 0 0,12 13 0,-12-13 15,-1 0-15,1-13 0,13 13 0,-14 0 16</inkml:trace>
  <inkml:trace contextRef="#ctx0" brushRef="#br0" timeOffset="26148.04">9115 5530 0,'-13'0'0</inkml:trace>
  <inkml:trace contextRef="#ctx0" brushRef="#br0" timeOffset="26287.78">9221 5411 0,'0'0'0,"0"-13"0</inkml:trace>
  <inkml:trace contextRef="#ctx0" brushRef="#br0" timeOffset="26893.19">9935 6310 0,'-13'27'31,"13"-14"-31,0 0 0,-13 0 16,13 1-16,0-1 0,0 13 15,0-12-15,0-1 0,0 0 0,0 0 16,0 1-16,0-1 0,0 0 16,13 0-16,-13 0 0,13-13 15,-13 14-15</inkml:trace>
  <inkml:trace contextRef="#ctx0" brushRef="#br0" timeOffset="27182.17">10239 6363 0,'0'0'0,"-13"-13"0,0 13 15,0 0-15,-1 13 16,1-13-16,0 0 16,0 13-16,0 1 0,13-1 15,0 0-15,0 0 16,13 1-16,-13-1 15,13 0-15,-13 0 16,0 1-16,13-14 0,-13 13 16,0 0-1,0 0-15,-13 0 0,0 1 0,13-1 16,-27 0-16,1 0 0,-1 14 0,1-14 16,-1 14-16,1-14 0,-14 0 15</inkml:trace>
  <inkml:trace contextRef="#ctx0" brushRef="#br0" timeOffset="27708.12">9657 6826 0,'27'-13'31,"-1"13"-31,-13 0 0,14-13 0,13 0 16,-1 13-16,14-14 0,-13 1 0,0 0 15,12 0-15,1-1 0,0-12 16,0 13-16,13 0 0,-26-1 0,13 1 15,0-13-15,0 12 0,-13-12 0,-1 13 16,1-14-16,0 14 0,-14-13 0,14-1 16,-14 1-16,1-1 15,12-39-15,-12 40 0,-27-14 0,13 13 16,-13-12-16,0 12 0,0 1 16,-13-14-16,-14 0 0,1 14 0,-14-1 15,-13-12-15,14 12 0,-28 1 16,15 13-16,-15-1 0,1 1 0,-13 0 15,13 13-15,-14 0 0,1 0 0,13 13 16,-14 0-16,14 1 0,0-1 16,0 13-16,0 14 0,0-14 15,0 14-15,13 0 0,0 13 0,0-14 16,13 14-16,0 0 0,1 0 0,-1-13 16,14 13-16,12 0 0,1-14 15,0 1-15,0-13 0,13 12 0,0-12 16,0-14-16,0 13 0,13 1 0,-13-1 15,13-12-15,0 12 0,1-13 16,-1 0-16,13 1 0,-12-1 0,-1-13 16,0 13-16,0 0 0,14-13 0,-14 0 15,0 0-15,0 0 0,1 14 0,12-14 16,-13-14-16,0 14 0,1 0 16,-1 0-16,13 0 0,-12 0 0,-1 0 15,0 0-15,14 0 0,-14 0 0,13-13 16,-13 13-16,14 0 0</inkml:trace>
  <inkml:trace contextRef="#ctx0" brushRef="#br0" timeOffset="28764.7">8692 4723 0,'0'13'31,"0"13"-16,-14-12-15,14-1 0,-13 0 0,13 0 16,-13 1-16,13-1 0,-13 0 16,13 0-16,-14 1 0,14-1 0,0 0 15,0 0-15,-13 0 0,13 1 0,13-1 16,-13 0 0,14-13-16,-14 13 0,13-13 0,0 0 15,0 0-15,1 0 0,-1 0 0,0 0 16,0 0-16,0 0 0,1 0 15,-1-13-15,13 13 0,-12-13 0,-1 13 16,0-13-16,14-1 0,-14 1 16,0 0-16,0 0 0,0 0 0,1-1 15,-14 1-15</inkml:trace>
  <inkml:trace contextRef="#ctx0" brushRef="#br0" timeOffset="28931.16">8996 4670 0,'0'-13'0,"0"26"0,-13-13 47,13 13-47,0 0 0,0 1 16,0-1-16,0 13 0,-14-13 0,14 1 15,0 12-15,0-13 0,0 14 16,0-14-16,0 0 0,0 1 16,0-1-16,0 0 0,0 0 0,14-13 15</inkml:trace>
  <inkml:trace contextRef="#ctx0" brushRef="#br0" timeOffset="29136.17">9128 4617 0,'0'-13'0,"0"0"32,0 39-17,0-13 1,0 14-16,13-14 0,-13 0 0,0 14 0,0-1 15,0-13-15,14 14 0,-14-1 0,0 1 16,13-14-16,-13 13 0,0-12 16,0-1-16,13 0 0,-13 0 0,0 0 15,13 1-15</inkml:trace>
  <inkml:trace contextRef="#ctx0" brushRef="#br0" timeOffset="29566.22">8996 4855 0,'-13'-13'31,"26"0"-31,13-1 16,1 14-16,-14-13 15,27 0-15,-1 0 0,1-14 0,39 1 16,-52-1-16,13 14 0,-14 0 15,0-14-15,1 14 0,-14 13 16,0-13-16,1 0 0,-1 0 0,-26-1 16,-1 14-1,1 0 1,0 0-16,0 14 16,-1-14-16,14 13 0,0 0 15,0 0-15,0 0 16,0 1-16,0-1 0,14 0 0,-14 0 15,0 1-15,13-1 0,-13 13 16,0-13-16,0 1 16,0-1-16,0 0 0,-13 0 0,-1 1 15,1-1-15,0 0 0,0 0 16,0-13-16,-1 14 0,1-14 16,0 13-16</inkml:trace>
  <inkml:trace contextRef="#ctx0" brushRef="#br0" timeOffset="29849.35">12091 4776 0,'0'0'0,"27"-14"15,-14 14-15,0 0 16,1-13-16,-1 13 0,0 0 15,0 0-15,1 0 0</inkml:trace>
  <inkml:trace contextRef="#ctx0" brushRef="#br0" timeOffset="30035.27">12091 4934 0,'27'-13'47,"-14"13"-47,0-13 16,1 13-16,-1 0 0,0-13 0,0 13 0,14-13 15,-14 13-15,13 0 0,-12-14 16,12 14-16,-13-13 0,1 13 0</inkml:trace>
  <inkml:trace contextRef="#ctx0" brushRef="#br0" timeOffset="30424.44">14724 4591 0,'13'39'31,"-13"-26"-31,0 1 0,0 12 0,0-13 16,0 14-16,0-1 0,0 1 0,0-1 15,0-13-15,0 14 16,0-1-16,0-12 0,0 12 0,0-13 16,0 0-16,0 1 0,0-1 0</inkml:trace>
  <inkml:trace contextRef="#ctx0" brushRef="#br0" timeOffset="30805.17">14803 4643 0,'27'-39'16,"-54"78"-16,67-91 0,-27 38 0,1 14 0,-1-13 15,13 13-15,-13-13 0,1 13 16,-1 0-16,0 13 0,0-13 16,-13 13-16,0 1 0,0-1 15,0 0-15,0 0 0,-13 14 16,0-14-16,0 13 0,-1-12 0,1 12 16,0-13-16,0 0 0,0 1 0,-1-14 15,14 13-15,-13 0 0,0-13 16,13 13-16,0 1 0,-13-1 15,26-13 1,-13 13-16,13-13 0,-13 13 0,13-13 16,1 0-16,-1 0 15,0 0-15,0 0 0,14 0 0,-14 0 0,13 0 16,1-13-16,-1 0 0,1 13 0,-1-13 16,1-1-16,-1 1 0,1-13 15</inkml:trace>
  <inkml:trace contextRef="#ctx0" brushRef="#br0" timeOffset="30979.2">15359 4591 0,'0'0'0,"0"-14"0,-13 41 31,0-27-31,13 13 16,-14 0-16,14 0 0,-13 1 0,0-1 16,13 0-16,-13 14 0,13-14 0,-14 0 15,1 27-15,13-27 0,0 13 16,0-12-16,0-1 0,0 0 15,13 0-15,1 1 16</inkml:trace>
  <inkml:trace contextRef="#ctx0" brushRef="#br0" timeOffset="31184.51">15518 4564 0,'0'-26'0,"-13"12"31,-1 41-15,1-14-16,13 0 0,0 1 16,-13-1-16,13 13 0,0-13 0,0 14 15,-13-14-15,13 14 0,0-14 16,0 13-16,0-13 0,0 14 0,0-14 16,0 0-16,0 1 0,13-1 0,-13 0 15</inkml:trace>
  <inkml:trace contextRef="#ctx0" brushRef="#br0" timeOffset="31372.45">15187 4815 0,'-13'-13'31,"26"0"-31,0 13 0,14 0 0,-14 0 15,13-13-15,1 13 0,-1 0 0,14-14 16,0 1-16,-1 13 0,1-13 0,0 0 16,0 0-16</inkml:trace>
  <inkml:trace contextRef="#ctx0" brushRef="#br0" timeOffset="31579.98">15756 4617 0,'-13'-13'0,"-1"0"31,14 39-16,0-13-15,0 0 16,14 1-16,-14-1 0,13 13 16,0-12-16,0-1 0,1 13 0,-14-13 15,13 14-15,0-14 0,-13 14 0,13-14 16,-13 0-16,0 0 0,0 1 16,0-1-16,-13 0 0,0 0 15,0 14-15,-1-14 0,1 0 0,-13-13 16,12 13-16,-25 1 0</inkml:trace>
  <inkml:trace contextRef="#ctx0" brushRef="#br0" timeOffset="31795.48">14539 5186 0,'159'-40'16,"-93"27"-16,13 0 0,0-1 15,14 1-15,-14 0 0,14 0 16,-14 0-16,1 13 0,-1-14 16,1 14-16,-14 0 0,-13 0 0,0 0 15,-1 0-15,-12 0 0,0 0 0,-14 0 16,-12 14-16,-1-14 0,0 0 0</inkml:trace>
  <inkml:trace contextRef="#ctx0" brushRef="#br0" timeOffset="31980.43">14883 5331 0,'0'0'0,"-27"14"0,54-1 16,-1-13-16,-13 0 16,27 0-16,0-13 0,13 13 0,0 0 15,-14-14-15,14 1 0,0 13 16,0-13-16,-13 0 0,13-1 0,-14-12 15,1 13-15,-13-14 0,12 14 0,-25-13 16,12-1-16</inkml:trace>
  <inkml:trace contextRef="#ctx0" brushRef="#br0" timeOffset="32185.24">14724 4313 0,'66'0'0,"252"-14"31,-252 1-31,-13 13 0,0 0 16,0-13-16,0 13 0,-1-13 15,-25 13-15,-1 0 0</inkml:trace>
  <inkml:trace contextRef="#ctx0" brushRef="#br0" timeOffset="32363.67">14975 4392 0,'0'0'0,"40"-13"16,-13 13-1,12 0-15,1-13 0,13-1 0,0 14 16,13-13-16,0 0 0,0 0 15,-13 13-15,0-14 0,0 1 0,-13 13 16,-1-13-16,1 13 0,-27 0 0</inkml:trace>
  <inkml:trace contextRef="#ctx0" brushRef="#br0" timeOffset="32908.14">8956 5239 0,'40'-13'0,"145"-54"31,-132 41-31,0 13 0,0-14 0,0 14 16,-14 0-16,1 0 0,0-1 0</inkml:trace>
  <inkml:trace contextRef="#ctx0" brushRef="#br0" timeOffset="33080.87">9062 5239 0,'79'-53'31,"-39"40"-31,0-1 0,-1-12 0,1 13 16,0-1-16,-1 1 0</inkml:trace>
</inkml:ink>
</file>

<file path=ppt/ink/ink16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3:09:48.548"/>
    </inkml:context>
    <inkml:brush xml:id="br0">
      <inkml:brushProperty name="width" value="0.05292" units="cm"/>
      <inkml:brushProperty name="height" value="0.05292" units="cm"/>
      <inkml:brushProperty name="color" value="#0070C0"/>
    </inkml:brush>
  </inkml:definitions>
  <inkml:trace contextRef="#ctx0" brushRef="#br0">9697 3823 0,'0'13'172,"0"54"-172,13 38 15,0 28-15,1-14 16,-1-27-16,0 1 0,-13 26 16,0-13-16,0-27 15,0-13 1,0-39-16,0-1 15</inkml:trace>
  <inkml:trace contextRef="#ctx0" brushRef="#br0" timeOffset="875.94">14579 4829 0,'13'0'62,"53"13"-46,40-13-16,66 0 15,-66 0-15,39 0 16,1 0-16,12 0 16,-91 0-16,-28 0 15,-26 0 1</inkml:trace>
  <inkml:trace contextRef="#ctx0" brushRef="#br0" timeOffset="2776.49">16298 6522 0,'14'0'47,"38"26"-32,54-12-15,0-1 16,66 0-16,132 0 16,-92-13-16,119 0 15,-159 0-15,66 0 16,-26-13-16,-54 0 15,1-27-15,-93 27 16,0 0-16,-13-14 16,-13 1-16,-27 13 31,0-14-31,1 1 16,12-40-16,-26 26 0,13-26 15,-13-40 1,0 0-16,0-53 15,0 67-15,-13-27 0,0 0 16,-14-14 0,14 27-16,-27 54 15,27 12-15,-13 27 16,-27-27-16,-26 0 16,-14 14-16,0-1 15,-13 14-15,-39 13 0,-14-13 16,-13 13-1,-13 0-15,-80 0 16,-131 0-16,105 0 16,13 26-1,79 1-15,-52 52 0,-40-13 16,185 0-16,13 1 16,27 12-16,0-13 15,13 53-15,40-26 16,0-14-16,13-13 15,0 53-15,53 53 16,0-13-16,52 66 16,-38-93-16,-1-39 15,26 39 1,-26-66-16,1-13 16,-54-40-16,13 1 0</inkml:trace>
  <inkml:trace contextRef="#ctx0" brushRef="#br0" timeOffset="3975.95">14340 4842 0,'0'26'0,"0"-12"32,-13-14-17,0 0-15,0 0 16,-27 0-16,27 0 15,-119-40 1,26 0-16,-13-13 16,13-13-16,-13-13 15,0 26-15,13-53 16,0 27-16,40-40 16,13 26-16,26 14 15,14 39-15,0 0 16,13-13-16,0 14 15,0 12 1,0 14-16,0 0 16,13-27-16,14 14 15,12-14-15,28-26 16,131-67-16,-26 54 16,26 13-16,14 26 15,211-26-15,-198 53 16,106 13-16,-13 0 15,12 0-15,146 26 16,-118 54-16,-173-14 16,-53 0-16,-39 13 15,26 14 1,-40 13-16,-26-14 16,13 1-16,-26 26 15,-27-66-15,-13 0 16,-13 39-16,-13 1 15,-41 0-15,-25 65 16,39-78-16,-40 12 16,27-25-16,-26-1 15,-54 0-15,-13-26 16,14 12-16,-41-12 16,41-13-16,26-14 15,26-13-15,1 13 16,39-13-16,-27 0 15,41 0-15,-1 0 16,27 0 0</inkml:trace>
</inkml:ink>
</file>

<file path=ppt/ink/ink16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3:10:10.292"/>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20307 952 0,'0'27'16,"0"-14"-16,0 0 16,0 1-16,0-1 0,0 0 15,0 0-15,0 1 0,0-1 16,0 0-16,0 0 16,0-39 30,0 13-46,-13-1 0,13 1 16,0 0-16,0-14 0,-14 14 0,14 0 16,0 0-16,0-1 0,-13 1 15,26 26 32,1-13-47,-14 14 16,13-14-16,-13 13 15,13 0-15,0 0 16,0-26 0,1 0-1,-14 0-15,0-1 0,13 14 16,0-13-16,-13 0 16,13 0-16,14 26 31,-14 0-31,0 0 15,1-13-15,-14 14 0,13-1 16,-13 0-16,13 0 0,-13 1 16,13-14-16,-13 13 0,0 0 0,13 0 15,-13 1-15,14-14 16,-14 13-16,13-13 0,-13 13 0,13-13 16</inkml:trace>
  <inkml:trace contextRef="#ctx0" brushRef="#br0" timeOffset="775.64">20690 1072 0,'14'-27'0,"-28"54"0,28-67 16,-14 27-16,0-1 0,0 1 15,0 0-15,0 0 16,0-1 0,-27 41 15,27-14-31,-13 0 0,13 1 16,0-1-16,0 0 0,0 0 0,0 1 15,0-1 1,0 0-16,13 0 0,0-13 15,-13 13-15,14-13 0,-1 0 16,0 0-16,0 0 0,1 0 16,12-13-16,-13 13 0,14-13 0,-14 13 15,0-13-15,14 0 0,-14 13 0,0-14 16,-13 1-16,13 13 0,1-13 16,-14 0-16,13 13 0,-13-14 0,0 1 15,0 0-15,0 0 16,0-1-16,-13 14 15,-14 0 17,27 14-1,-13-1-31,26 0 16,-13 0-16,0 1 15,13-1 1,14-26 15,-14 13-15,0-14-1,0 14 1,1 0-16,-1 0 31,0 14-15,0-14-1,1 0 17,-1 0-17,0 0 1,0 0-16,1 0 16,-1-14-16,0 14 15,0 0 1</inkml:trace>
  <inkml:trace contextRef="#ctx0" brushRef="#br0" timeOffset="1636.27">20492 1508 0,'13'27'31,"-13"-14"-15,0 0-16,0 0 0,13 1 16,-13-1-16,0 13 0,14-26 15,-14 13-15,0 1 16,13-1-16,-13 0 15,0-39 17,0 12-32,0 1 0,0 0 15,0 0-15,-13 0 0,13-14 16,0 14-16,0 0 0,0-1 16,0 1-16,0 0 0,0 0 15,13 26 16,0-13-31,-13 13 16,13-13-16,-13 13 0,14 1 16,-1-14-16,-13 13 0,13-13 31,0 0-31,1-13 16,-14-14-1,13 14-15,-13 0 16,13 13-1,0 0 1,-13 13-16,27 53 31,-14-53-31,-13 1 16,0-1-16,13 0 0,-13 0 16,13 0-16,1 1 15</inkml:trace>
  <inkml:trace contextRef="#ctx0" brushRef="#br0" timeOffset="1921.3">20902 1640 0,'0'-13'0,"0"0"15,0-13-15,-13 12 16,13-12 15,-13 13-31,-1 26 16,1 0-1,13 0-15,-13 1 16,13-1-16,0 0 16,13-13-16,-13 13 0,27-13 15,-14 0-15,0 0 16,0 0-16,14 0 0,-1-13 15,-13 13-15,14-13 0,-1 0 0</inkml:trace>
  <inkml:trace contextRef="#ctx0" brushRef="#br0" timeOffset="2428.75">21220 1495 0,'-14'0'0,"1"0"0,-66 40 31,66-40-16,13 13-15,-14 0 0,1 0 16,13 1-16,0-1 16,13 0-1,1-13-15,-1 0 16,0 0-16,0-13 16,0 13-16,-13-13 0,14-1 15,-1 1-15,-13 0 0,13 0 0,-13-1 16,13-12-16,-13-1 0,0 1 15,0-14-15,14 14 0,-14 13 16,0-14-16,0 14 0,0 0 16,0-1-16,0 1 0,0 0 15,-14 39 17,1 1-32,13-14 0,0 0 15,0 14-15,0-14 0,0 14 16,0-14-16,0 0 0,13 27 15,-13-27-15,14-13 0,-14 13 0,13 0 16,0-13-16,0 0 16,0 0-16,1 0 0,-1 0 0,0 0 15,0 0-15,1 0 16,-1 0-16,0 0 16,0 14-16,1-14 15,-14 13-15,13 0 16,0-13-16,-13 13 15,13-13 1</inkml:trace>
  <inkml:trace contextRef="#ctx0" brushRef="#br0" timeOffset="2544.91">21418 1310 0</inkml:trace>
  <inkml:trace contextRef="#ctx0" brushRef="#br0" timeOffset="3157.86">21590 1336 0,'0'0'0,"-13"0"16,0 0-16,-1 13 15,1 1-15,13-1 16,-13-13-16,13 13 0,-13 0 16,13 1-16,0-1 15,-14 0-15,14 0 16,14 0-16,-14 1 15,13-14 1,0-14 0,0 1-16,1 0 0,-14 0 15,13 0-15,0-1 16,-13 1-16,13 0 16,-13 0-16,0-1 15,13 14 1,1 14 31,-1-1-16,0-13-15,0 0-1,-13 13-15,14-13 16,-1 0-16,0 13 15,0-13 1,1 0 0,-1 0-1,0 0-15,0 0 16,0 0 0,1-13-16,-1 0 15,0 13 1</inkml:trace>
  <inkml:trace contextRef="#ctx0" brushRef="#br0" timeOffset="4890.82">20677 2170 0,'0'13'31,"0"13"-15,0-13-16,0 1 0,0-1 15,0 0-15,13-13 0,-13 13 16,0 1-16,0-41 47,0 14-47,0 0 16,-13-1-16,13 1 15,0 0-15,0 0 16,0 0-16,13 39 47,1-13-32,-14 0-15,13-13 0,0 0 16,-13 14-16,27-28 31,-27 1-31,13 13 0,-13-13 16,13 13-16,-13-13 0,0 0 15,13 13-15,-13-14 0,13 1 16,14 13 15,-27 13-31,13 1 16,-13-1-16,13-13 16,-13 13-16,14 0 0,-14 0 15,13-13-15,-13 14 0,13-14 0,0 0 16,1 0-16,-1 0 0,0 0 15,0 0-15,0 0 0,1-14 16,-1 14-16,0-13 0,0 13 0,-13-13 16,14 0-16,-1 13 0,-13-13 15,13-1-15,-13 1 16,0 40 31,0-14-47,0 0 15,0 0-15,0 0 16,13-13-16,-13 14 0,14-14 0,-1 0 16,-13 13-16,13-13 0,0 0 15,0-13-15,1 13 16,-14-14-16,0 1 16,-14 0-16,1 13 15,13-13 1,-13 13-16,13-13 0,-13 13 15,13-14-15,-13 14 16,26-13 0,0 13-1,0 0-15,0-13 16,1 13-16,-1 0 0,0 0 16,0 0-16,1-13 15,-1 13-15,-13 13 16,13-13-16,-13 13 15,0 0 1,-13 1 0,13-1-16,0 0 15,13-13-15,-13 13 0,0 0 16,13-13 0,0 0-1,1-13 1,-14 0-16,13 13 0,-13-13 15,0 0-15,0-1 0,13 1 16,-13 0-16,0 0 0,0-14 16,0 14-16,0-13 0,0 12 0,0 1 15,0 0-15,-13-14 0,13 14 0,0 0 16,0 0-16,0-1 16,0 1-16,-13 40 31,13-14-16,13 0-15,-13 0 0,0 1 0,0 12 16,0-13-16,13 1 0,-13 12 0,13-13 16,-13 0-16,14 1 0,-1-1 15,0-13-15,-13 13 0,13-13 0,14 13 16,-1-13 0,-26-13-16,13 13 0,-13-13 15,14 13-15,-14-13 0,13-1 16,-13 28 31,0-1-47,0 0 15,13 0-15,-13 1 0,13-14 16,1 13-16,-1-13 0,0 0 16,0 0-16,1 0 0,-1 0 15,13 0-15,-13 0 0,1 0 0,-1 0 16</inkml:trace>
  <inkml:trace contextRef="#ctx0" brushRef="#br0" timeOffset="6926.77">22119 1283 0,'13'-13'0,"-13"0"0,14 13 16,-1-13-16,0-1 0,0 1 0,1 13 16,-1-13-16,13 0 0,-13-1 15,1 1-15,12 0 0,-13 0 0,1-1 16,-1 14-16,0-13 0,0 13 0,1-13 15,-1 13-15</inkml:trace>
  <inkml:trace contextRef="#ctx0" brushRef="#br0" timeOffset="7233.9">22185 1310 0,'0'0'0,"40"13"0,-14-13 0,-12 13 0,12-13 16,-13 0-16,14 0 0,-1 0 16,1 13-16,-1-13 0,1 0 0,-1 0 15,1 0-15,-1 0 0,0 0 0,1 0 16,-14 0-16,0 0 0</inkml:trace>
  <inkml:trace contextRef="#ctx0" brushRef="#br0" timeOffset="8258.77">21749 794 0,'26'-40'0,"-13"27"0,93-80 32,-79 80-32,-1-13 0,1 12 0,-14 1 15,0 0-15,0 13 0</inkml:trace>
  <inkml:trace contextRef="#ctx0" brushRef="#br0" timeOffset="8442.73">21722 728 0,'40'0'0,"-80"0"0,106 0 15,-39 0-15,-14 0 0,14 0 0,-1-14 16,14 14-16,-14 0 0,1-13 0,-1 13 16,14-13-16</inkml:trace>
  <inkml:trace contextRef="#ctx0" brushRef="#br0" timeOffset="9543.76">22225 225 0,'0'26'16,"0"-12"-16,0-1 0,0 0 15,0 0-15,0 14 16,0 12 0,0-25-1,13-14 32,0-14-31,-13-91-1,0 91-15,14 1 16,-14-13-16,0 12 0,0 1 16,13 13-1,0 0 1,-13 13-16,13 1 0,1-1 16,-14 0-16,13 0 0,0 1 15,0-1-15,-13 0 0,14 0 16,-14 1-16,13-1 0,0 0 15,-13 0-15</inkml:trace>
  <inkml:trace contextRef="#ctx0" brushRef="#br0" timeOffset="9698.85">22291 357 0,'0'0'15,"13"-13"1,1 13-16,-1-13 16</inkml:trace>
  <inkml:trace contextRef="#ctx0" brushRef="#br0" timeOffset="10066.84">22582 265 0,'0'0'0,"0"-14"16,0 1 0,0 0-16,0 0 15,0-1-15,0 1 16,0 40 31,13-27-47,-13 13 15,14-13-15,-1 0 16,0 0 0,0 0-1,1 0-15,-14-13 0,13 13 16,0 13-1,-13 0 1,0 0-16,0 1 16,-13-1-16</inkml:trace>
  <inkml:trace contextRef="#ctx0" brushRef="#br0" timeOffset="10419.17">22476 503 0,'-13'0'16,"0"13"-16,13 0 15,0 0 1,13 1-1,0-14-15,14 0 16,-1 0 0,-26-14-16,13 14 15,1 0-15,-1 0 16,0 0-16,0 0 16,1 14-1,-14-1-15,13-13 16,-13 13-16,13-13 0,0 0 15</inkml:trace>
  <inkml:trace contextRef="#ctx0" brushRef="#br0" timeOffset="10680.79">22741 476 0,'0'-13'0,"-13"39"46,13-12-14,0-1-32,13-13 15,0 13 1,0-13 0,1 13-16,-1-13 15,-13 14 1,13-14-16,0 0 15,1 13 1</inkml:trace>
  <inkml:trace contextRef="#ctx0" brushRef="#br0" timeOffset="11002.84">22635 820 0,'0'27'47,"0"-14"-32,13-13-15,-13 13 16,0 0-16,0 1 16,14-14-16,-14 13 0,13-13 15</inkml:trace>
  <inkml:trace contextRef="#ctx0" brushRef="#br0" timeOffset="11159.78">22767 820 0,'-53'93'0,"106"-186"16,-53 54-16,14 25 0,-14 1 16,0 0-1,0 39 17,0-12-17,0-1-15,0 0 0,0 0 0,0 0 16,-14-13-16,14 14 15,0-1-15,0 0 0</inkml:trace>
  <inkml:trace contextRef="#ctx0" brushRef="#br0" timeOffset="11300.8">22728 913 0,'-27'-13'31,"27"-1"-15,13 1-16,-13 0 15,14 13-15,-1-13 16,0 13-16,0-14 15,1 14-15,-1 0 0,0 0 16</inkml:trace>
  <inkml:trace contextRef="#ctx0" brushRef="#br0" timeOffset="11588.08">22926 807 0,'0'-13'31,"0"0"-15,27 26 31,-14-13-32,0 0-15,0 0 16,1 0-1,-1 13-15,0-13 16,0 13 0,0-13-16,1 13 0</inkml:trace>
  <inkml:trace contextRef="#ctx0" brushRef="#br0" timeOffset="20907.79">23389 106 0,'0'0'0,"27"0"0,-14 0 31,0 0-31,0 0 16,-13 13-16,14 0 0,-14 1 16,0-1-16,13 0 15,-13 13-15,0-12 0,13 12 0,-13 1 16,13-14-16,0 27 0,1-1 0,-1-12 16,0 12-16,0 1 0,1 0 0,-1-1 15,13 1-15,-12 0 16,-1-14-16,0 14 0,0-14 0,0 14 15,14-13-15,-14-1 0,0-13 0,-13 14 16,14-14-16,-1 0 0,0 14 16,0-14-16,0 0 0,1 0 0,-14 0 15,13-13-15,-13 14 0,13-14 0,-13 13 16,13 0-16,-13 0 16,14-13-16,-14 14 0,0-1 15,0 0-15,0 0 0,0 1 16,0-1-16,-14 0 0,14 0 15,0 0 1,-13 1-16,13-1 0,0 0 0,-13 0 16,13 1-16,-13-1 0,-1 0 0,14 0 15,-13 14-15,0-1 0,-13 1 16,12-1-16,-25 14 0,12 0 0,-79 79 16,53-40-16,-13-13 0,-13 13 15,0 1-15,-1-1 0,-12-13 0,12 1 16,1 12-16,-1-26 15,-12 13-15</inkml:trace>
  <inkml:trace contextRef="#ctx0" brushRef="#br0" timeOffset="23336.72">21431 2844 0,'-13'40'31,"13"-27"-31,0 14 16,0-14-16,0 13 0,0 1 0,0-14 15,0 13-15,0 1 0,0-14 0,0 14 16,0-1-16,0-13 0,0 1 15,0-1-15,0 13 0,0-13 16,0 1-16,0-1 0,0 0 16,0 0-16,0 1 0</inkml:trace>
  <inkml:trace contextRef="#ctx0" brushRef="#br0" timeOffset="23710.97">21405 2910 0,'26'-26'0,"-52"52"0,65-65 15,-25 39-15,-1 0 0,0 0 16,0 0-1,-13 13-15,-13 13 16,13-12-16,-13 12 0,0-13 16,-1 1-16,14-1 0,-13 0 0,0 0 15,13 0-15,-13 1 0,0-1 16,13 0-16,-14-13 0,14 13 0,-13 1 16,26-1-1,1-13 1,-14 13-16,13-13 0,0 0 15,0 0-15,14 0 0,-14 13 0,0-13 16,0 0-16,1 0 0,-1 0 16,13 0-16,-12 0 0,-1 0 0,0 0 15,0 0-15,0-13 0</inkml:trace>
  <inkml:trace contextRef="#ctx0" brushRef="#br0" timeOffset="24543.55">21788 2963 0,'-26'-13'31,"13"13"-31,0 13 0,-1 1 16,1-1-16,13 0 15,-13 0-15,13 0 0,-13 1 16,13-1-16,0 0 0,0 0 15,13 1-15,-13-1 16,13-13-16,-13 13 0,13-13 16,1 0-1,-1 0-15,0-13 16,0 13-16,-13-13 16,13-1-16,-13 1 15,14 0-15,-14 0 16,13-1-1,-13 1-15,13 13 16,0 0 0,1 0-1,-14 13-15,13-13 16,-13 14 0,13-1-1,0-13 1,1 13 15,-1-13-31,0 0 16,0 13-1,0-13-15,1 0 16,12-13-16,-13 13 0,-13-13 16,14 13-16,-1 0 0,0-13 0,0-1 15,0 14-15,-13-13 16,14 0-16,-14 0 0,13 0 15,-13-1 1,0 1 15,0 40 1,0-14-17,0 0-15,-13 0 16,13 0-16,0 1 0,-14-1 15,14 0-15,-13 0 0,13 1 16,-13-14 0,26-27 15,-13 14-31,13 13 0,-13-13 0,0-1 16,14 14-16,-14-13 0,13 13 15,-13-13-15,13 13 0,-13-13 0,13 13 16,1-13-16</inkml:trace>
  <inkml:trace contextRef="#ctx0" brushRef="#br0" timeOffset="26111.87">21471 3466 0,'-13'40'32,"-1"-27"-32,14 0 0,0 14 0,0-14 15,0 13-15,0 1 16,0-1-16,0-13 0,14 14 0,-14-14 0,0 14 15,13-14-15,-13 13 0,13-12 16,-13-1-16,13 0 0,1-13 16,-14 13-16,13-13 0,0 13 0,0-13 15,1 0-15,-1 0 0,0-13 0,0 13 16,0-13-16,14 13 0,-14-13 0,-13 0 16,13-1-16,14-25 15,-27 12-15,0 1 0,0-1 0,0-26 16,-13 14-16,13-1 0,-14 0 0,1 14 15,0-14-15,0 14 0,-1-1 16,1 14-16,0 0 0,0 0 16,0-1-16,13 1 0,-14 13 0,-12 13 15,13 1 1,13 12-16,-14-13 0,14 14 16,0-1-16,14 1 0,-14 12 0,13-12 15,0 12-15,0-12 0,1 13 16,-1-14-16,0 0 0,0 1 0,0-1 15,1 1-15,-1-1 0,0-12 0,-13-1 16,13 13-16,1-13 0,-1 1 0,0-1 16,0 0-16,-13 0 15,14-13-15,-1 14 0,0-14 16,0 0-16,0 0 0</inkml:trace>
  <inkml:trace contextRef="#ctx0" brushRef="#br0" timeOffset="26718.84">21908 3717 0,'0'27'31,"0"-14"-31,13 0 16,-13 1-16,0-1 0,13 0 0,-13 13 15,0-12-15,13 12 0</inkml:trace>
  <inkml:trace contextRef="#ctx0" brushRef="#br0" timeOffset="27243.75">21643 4247 0,'0'-14'0,"-13"41"31,26-14-15,-13 0-16,0 0 0,0 1 0,13-1 15,-13 0-15,0 0 0,13 1 0,1-1 16,-1 0-16,0 0 15,0-13-15,1 0 16,-1 0-16,0-13 0,0 0 16,-13 0-16,0-1 0,0 1 15,0 0-15,0 0 16,0-14-16,0 14 0,0 0 0,0 0 16,0-1-16,0 1 0,0 0 0,0 0 15,0-1 1,0 41-1,0-1 1,13-12-16,-13 12 16,14-13-16,-14 0 15,13 27-15,-13-27 0,13-13 16,-13 14-16,13-1 0,-13 0 16,14-13-16</inkml:trace>
  <inkml:trace contextRef="#ctx0" brushRef="#br0" timeOffset="27486.77">21960 4299 0,'14'0'16,"-1"0"-1,-13 14 1,0-1-16,0 13 16,-13-12-16,13-1 15,0 0-15,0 0 16,13-13-1,0 0 1,0 0-16,1 0 16,-1 0-1,0 14-15,-13-1 16,0 0 0</inkml:trace>
  <inkml:trace contextRef="#ctx0" brushRef="#br0" timeOffset="27973.99">21881 4736 0,'-13'0'0,"0"13"16,-1-13-16,14 13 0,0 1 0,-13-1 16,13 0-16,0 0 0,0 1 0,0-1 15,13 13-15,-13-12 0,14 12 16,-14-13-16,13 0 0,0 1 0,-13-1 16,13 0-16,1 0 0,-1 1 0,0-14 15,0 0-15,0 0 0,1-14 16,-1 14-16,0-13 0,-13 0 15,13 0-15,-13-1 0,14-12 16,-14 13-16,0-14 0,-14 1 0,14 13 16,-13-14-16,13 14 0,0-14 15,-13 14-15,0 0 0,13 0 0,-14 13 16,1-13-16,0 13 0,0 0 16,0 0-16,13 13 0,-14 0 15,14 0 1,0 0-16,0 1 0,14-1 0,-14 0 15,13 0-15,-13 1 0,13-1 0,-13 13 16,13-12-16,0-1 0,-13 0 16,14 0-16,-1 0 0,0 1 15,-13-1-15,13-13 0,-13 13 16,14-13-16</inkml:trace>
  <inkml:trace contextRef="#ctx0" brushRef="#br0" timeOffset="28259.33">22066 4961 0,'0'-13'0,"13"-1"32,1 28-1,-1-1-31,0-13 16,-13 13-1,13-13-15,1 13 16,-1 1-16,-13-1 15,13-13-15,-13 13 0,13-13 0,-13 13 16,14 1-16,-14-1 16,0 0-1,0 0-15,0 0 0,-14 1 16,14-1-16,0 0 0,-13-13 16</inkml:trace>
  <inkml:trace contextRef="#ctx0" brushRef="#br0" timeOffset="29257.7">22609 3307 0,'-27'27'16,"27"-14"-16,0 0 15,0 14-15,-13-14 0,13 0 16,13 0-16,-13 1 0,0-1 0,0 0 16,13 0-16,-13 0 0,14-13 0,-14 14 15,13-14-15,0 0 0,14 0 16,-14-14-16,0 1 16,-13 0-16,13 0 0,-13 0 0,0-1 15,13 1-15,-13-13 0,0 12 16,-13 1-16,13 0 0,0 0 0,0 0 15,-13 13-15,13-14 0,0 1 16,-13 13-16,0 13 16,-1-13-1,14 14-15,0-1 0,0 0 16,0 0-16,0 0 0,0 1 0,0-1 16,0 0-16,14 0 0,-14 1 15,0-1-15,0 0 0,13 0 0,-13 0 16,13-13-16,-13 14 0,13-14 15,0 0-15,1 0 0,-1 0 16,0-14-16,0 1 0,1 0 0,-1 0 16,0 0-16,0-1 0,1 1 0,-1 0 0,-13 0 15,13-1-15,0 1 16,-13 0-16,0 0 16,-13 39 15,13-13-16,0 1-15,0-1 16,0 0-16,13-13 0,-13 13 16,13-13-16,-13 14 15,14-28-15,-1 14 16,0-13-16,0 0 16,-13 0-1,0-1-15,0 1 0,-13 13 16,13-13-16,0 0 0,-13 13 15,0 0-15,-1 0 32,1 13-32,13 0 15,0 0-15,0 1 16,0-1-16,0 0 0,0 0 0,0 1 16,13-1-16,-13 0 0,0 0 0,14 0 15,-14 1-15</inkml:trace>
  <inkml:trace contextRef="#ctx0" brushRef="#br0" timeOffset="29755.62">22847 3956 0,'-13'13'0,"26"-26"0,-26 39 15,-1-26-15,14 13 0,0 0 0,-13 1 16,13-1-16,0 0 0,0 0 16,0 14-16,0-14 0,0 0 0,0 1 15,0-1-15,0 0 0,13-13 0,-13 13 16,0 0-16,14-13 0,-1 0 15,0 0 1,-13-13-16,13 13 0,-13-13 0,13 0 16,-13-14-16,0 14 0,0-13 15,0 12-15,0-12 0,0 13 16,-13-14-16,13 14 0,0 0 0,0-14 0,-13 27 16,13-13-16,0 0 0,-13 0 15,0 13 1,-1 13-1,14 0-15,0 0 0,0 1 16,0 12-16,0-13 0,0 0 16,0 1-16,0-1 0,0 0 0,14 27 15,-14-27-15,13 0 0,-13 1 16,13-1-16,0-13 16,0 0-1</inkml:trace>
  <inkml:trace contextRef="#ctx0" brushRef="#br0" timeOffset="30143.07">23019 4075 0,'0'0'0,"13"-14"0,0 14 32,-26 14-1,0-1-31,13 0 0,-13 0 16,-1 1-16,1-1 0,13 0 15,-13 0-15,0-13 0,13 13 0,0 1 16,-14-1-16,14 0 0,-13 0 15,13 1 1,13-1-16,1-13 16,-1-13-16,0 13 0,0-14 15,1 1-15,-1 13 16,0-13-16,0 0 0,0-1 0,1 1 16,-1 0-16,0 13 0,0-13 0,1 0 15,-1 26 16,-13 0-31,0 0 0,0 0 16,0 1-16,0-1 0,0 13 0,0-12 16,-13-1-16,13 0 0,0 0 15,0 0-15,0 1 0,0-1 0,0 0 16,13 0-16,0-13 16,0-13-1,1 13-15,-1-13 0,0-14 0,13 14 16,1-13-16</inkml:trace>
  <inkml:trace contextRef="#ctx0" brushRef="#br0" timeOffset="30695.34">23773 3413 0,'39'-13'16,"-25"13"-1,-1 0-15,0-13 0,0 13 0,1 0 16,12-14-16,-13 14 0,1-13 15,-1 13-15,26-13 16,-25 0 0,-1 13-16,-13 13 31,-13 0-31,13 0 16,0 1-16,-14-1 0,14 13 15,-13-12-15,13-1 0,-13 13 0,0-13 16,13 1-16,-13 12 0,13-13 0,-14 1 15,14-1-15,-13 0 0,0 0 16,0 1-16,13-1 0,-14 0 16,14 0-1,-13-13-15,40 0 32,-1-13-17,-13 13 1,1-13-16,25 13 15,-26-13-15,1 13 0,-1-14 0,0 14 16,0-13-16,14 0 0,-14 13 16,0-13-16,1-1 0</inkml:trace>
  <inkml:trace contextRef="#ctx0" brushRef="#br0" timeOffset="31131.98">24276 3281 0,'-14'0'0,"1"0"0,-27 26 16,27-12 0,0 12-16,0-13 0,-1 14 15,1-14-15,13 13 0,-13 1 0,13-14 16,0 0-16,0 14 0,0-14 0,0 0 16,0 0-16,13-13 0,-13 14 15,13-1-15,1-13 0,-14 13 0,13-13 16,0 0-16,0 0 0,14-13 15,-14 13-15,0-13 0,1-1 16,-1 1-16,0 0 0,0-14 0,-13 14 16,13-13-16,-13-1 0,0 14 0,0-13 15,0 12-15,0 1 0,0-13 16,0 13-16,-13 13 0,13-14 0,-13 1 16,13 0-16,-13 13 15,-14 13-15,27 0 16,-13-13-16,13 14 0,0-1 15,-13 0-15,13 0 0,0 14 0,0-14 16,0 0-16,13 0 0,-13 14 16,0-14-16,13 0 0,-13 0 0,14 1 15,-14-1-15,13 0 0,0 0 16,0 1-16,0-14 16,1 0-16,-1 13 0,0-26 15</inkml:trace>
  <inkml:trace contextRef="#ctx0" brushRef="#br0" timeOffset="31562.64">24593 3373 0,'-26'53'31,"26"-39"-31,0-1 16,-14 0-16,14 0 0,0 0 0,0 1 15,0-1-15,-13-13 0,13 13 0,0 0 16,0-39 31,13 13-47,-13-1 0,0 1 0,14-13 16,-14-1-16,13 14 0,-13-13 0,13 12 15,0-12-15,-13 13 16,13 0-16,-13-1 0,14 14 15,-28 27 17,14-14-32,-13 0 0,0 0 15,13 1-15,-13-1 0,13 0 16,0 0-16,0 1 0,0-1 16,0 0-1,13-13-15,0 13 16,0-13-16,1 0 15,-14 13-15,13-13 0,-13 14 16,0-1-16,0 0 0</inkml:trace>
  <inkml:trace contextRef="#ctx0" brushRef="#br0" timeOffset="31863.77">23852 4008 0,'13'-13'0,"146"-66"31,-106 66-31,0-14 0,13 14 15,-13-14-15,0 14 0,13 0 16,-26 0-16,0 0 0,-1-1 0,1 14 16,-14-13-16,-12 13 0,12 0 15,-13 0-15,0-13 0,1 26 16,-41 0 0</inkml:trace>
  <inkml:trace contextRef="#ctx0" brushRef="#br0" timeOffset="32157.85">23945 4061 0,'-40'14'0,"80"-28"0,-93 28 16,40-1-16,52-26 31,-25 13-31,12-14 0,14 1 0,13 0 16,-14 13-16,14-13 0,0-1 0,0 1 15,0 0-15,0 0 0,-13 0 16,-1-1-16,1 1 0,0 13 0,-14-13 15,1 13-15,-14 0 0,13-13 0,-13 13 16,1 0-16,-1 0 0,0-14 16,0 14-16,1 0 15</inkml:trace>
  <inkml:trace contextRef="#ctx0" brushRef="#br0" timeOffset="32667.86">24474 4180 0,'-13'53'31,"13"-26"-31,-13-14 0,13 13 0,0 1 0,0-1 16,-14 14-16,14 0 0,-13-1 15,13-12-15,-13 13 0,13-14 0,-13 1 16,13-1-16,0 0 0,0 1 16,0-14-16,-14 0 0,14 1 0,0-1 15,0 0-15,14-13 0,-14 13 16,13-39-1</inkml:trace>
  <inkml:trace contextRef="#ctx0" brushRef="#br0" timeOffset="32998.03">24236 4392 0,'-13'-13'16,"13"-14"-1,0 14-15,13 0 0,-13 0 0,13-14 16,14 1-16,-14-1 0,13 1 16,-13-1-16,14 14 0,-1-13 0,-12 13 15,-1 13-15,0-14 0,0 14 0,1 0 16,-1 14-16,0-14 15,0 13-15,0 0 0,1 0 0,-1 14 16,-13-14-16,13 13 0,0-12 16,1-1-16,-1 13 0,0-13 15,0 14-15,0-14 0,1 0 0,-1 1 16,0-1-16,0 0 0,1 0 0,-1 1 16,-13-1-16,13 0 0,0-13 15</inkml:trace>
  <inkml:trace contextRef="#ctx0" brushRef="#br0" timeOffset="34027.85">24342 2844 0,'0'-13'16,"13"13"-1,0 0-15,0 13 32,-13 1-32,-13-1 0,13 0 15,0 0-15,-13 0 0,13 1 0,-13-1 16,13 0-16,-14 0 0,14 1 15,0-1-15,-13 0 0,13 0 16,0 0 0,13-13-16,1 0 15,-1 0-15,0 0 16,0-13-16,1 13 0,-1 0 16,0-13-16,0 13 0,1 0 15,-1-13-15,0 13 0,-13-13 0,13 13 16,0-14-16,1 1 0</inkml:trace>
  <inkml:trace contextRef="#ctx0" brushRef="#br0" timeOffset="34294.74">24580 2805 0,'-13'13'16,"13"0"-1,0 0 1,13 1-16,-13-1 0,13 0 16,-13 0-16,13-13 0,-13 13 0,0 1 15,13-14-15,-13 13 16,0 0-16,0 0 16,-13-13-16,13 14 0,-13-1 15,0-13 1,0 13-16,-1-13 15</inkml:trace>
  <inkml:trace contextRef="#ctx0" brushRef="#br0" timeOffset="38569.82">23627 2950 0,'27'-26'47,"-14"26"-47,-13-14 0,13 14 15,0-13-15,-39 13 47,13 13-31,0-13-16,-1 14 0,1-14 16,0 13-16,0-13 15,13 13-15,-14-13 16,28 13-1,-1-13-15,0 14 16,0-14-16,1 0 0,-1 13 16,0 0-16,0-13 0,0 13 15,1-13 1,-14 13-16,0 1 0,13-1 16,-26 0-16,-1 0 15,1 1-15,0-1 16,0-13-16,0 13 0,-1-13 15,1 13-15,0-13 0,0 0 16,13-13 0</inkml:trace>
  <inkml:trace contextRef="#ctx0" brushRef="#br0" timeOffset="39013.99">23786 2897 0,'-26'13'47,"12"1"-47,14-1 0,-13-13 0,13 13 15,0 0-15,-13-13 0,13 14 0,0-1 16,0 0-16,13 0 16,0 0-16,-13 1 0,14-14 15,-1 0-15,0 13 0,0-13 16,0 0-16,1 0 0,-1 0 15,0 0-15,0-13 0,1 13 0,-1 0 0,0-14 16,0 1-16,1 13 16,-14-13-16,13 0 0,-13 0 15,13-1-15,-13 1 0,0 0 16,0 0-16,0-14 16,-13 14-1,13 0-15,-13 13 16,-1 13-16,1-13 15,0 13-15,0 0 16,13 1-16,-14-1 16,14 0-16,-13-13 0,13 13 0,0 1 15,-13-14-15,13 13 16,0 0-16,0 0 0,0 0 16,-13 1-16,26-14 15</inkml:trace>
  <inkml:trace contextRef="#ctx0" brushRef="#br0" timeOffset="39210.78">23892 2805 0,'0'-14'32</inkml:trace>
  <inkml:trace contextRef="#ctx0" brushRef="#br0" timeOffset="39458.96">24170 2871 0,'0'0'0,"0"13"0,-14 0 16,14 0-16,0 1 0,0-1 15,-13 0-15,13 0 0,0 1 16,0-1-16,0 0 16,-13 0-16,13 0 15</inkml:trace>
  <inkml:trace contextRef="#ctx0" brushRef="#br0" timeOffset="39643.28">24077 2897 0,'0'27'63</inkml:trace>
  <inkml:trace contextRef="#ctx0" brushRef="#br0" timeOffset="39770.71">24156 3043 0,'0'0'0,"27"0"63</inkml:trace>
  <inkml:trace contextRef="#ctx0" brushRef="#br0" timeOffset="40565.71">24355 2937 0,'-13'13'15,"26"-26"-15,-26 39 0,13-12 0,-14-1 16,28 0-16,-14 0 16,13-13-16,-13 13 15,13-13-15,0 0 0,1 0 16,-1 0-16,0 0 0,0 0 16,1-13-16,-1 0 15,0 0-15,0 0 0,-13-1 0,13 1 16,-13 0-16,0 0 0,0-1 15,0 1-15,0 0 0,0 0 0,-13 13 16,13-13-16,-13-1 0,0 14 16,13-13-16,-13 13 0,-1 0 0,1 13 15,0-13-15,-14 14 0,1-1 16,13 0-16,13 0 16,-14 0-16,14 1 0,-13-14 0,13 13 15,0 0-15,13-13 0,-13 13 16,14-13-16,-1 14 0,0-14 15,0 0-15,1 0 0,-1-14 16,0 14-16,0 0 0,14-13 0,-14 13 16,0-13-16,-13 0 0,13 13 15,1-14-15,-1 1 0,-13 0 16,-13 26 15,13 0-31,0 1 16,-14-1-16,14 0 0,0 0 15,14 1-15,-14-1 16,13 0-16,0-13 16,0 0-16,14 0 15,-14 0 1,0-13-16,0 0 16,-13-1-16,0 1 15,0 0-15,0 0 16,-13 13-16,13-14 0,0 1 0,-13 13 15,0-13-15,0 13 16,13-13-16,-14 13 0,1-13 16</inkml:trace>
  <inkml:trace contextRef="#ctx0" brushRef="#br0" timeOffset="41397.86">23402 2818 0,'14'26'16,"-14"-12"-16,0-1 0,0 13 16,13 1-16,-13-1 0,0 1 0,13-1 15,-13 14-15,0-27 0,13 13 16,-13 1-16,0-1 0,14 1 0,-14-14 16,0 13-16,13-12 0,-13-1 0,0 0 15,0 0-15,13 1 16</inkml:trace>
  <inkml:trace contextRef="#ctx0" brushRef="#br0" timeOffset="42011.03">23442 2791 0,'66'-39'16,"-26"25"-16,0 1 16,-1 0-16,14-13 0,13 12 0,-13 1 15,13-13-15,1 12 0,-1 1 0,0 0 16,13 0-16,-13-1 0,1 1 0,-1 0 16,-13 0-16,0 0 0,-14 13 15,14-14-15,-13 14 0,-14 0 16,1-13-16,-1 13 0,-13 0 0,1 0 15,12-13-15,-13 13 0,1 0 16,-1 0-16,0 0 16,0 0-16,0 13 15,1 0-15,-14 1 16,13-1-16,0 0 16,-13 0-16,0 14 0,13-14 15,-13 13-15,14 1 0,-1-14 16,-13 14-16,13-1 0,0-13 0,-13 14 0,14-1 15,-1 1-15,0-14 0,-13 13 16,13-12-16,0 12 0,-13 0 16,14-12-16,-1-1 0,-13 0 0,0 0 15,13 1-15,-13-1 0,0 0 0,0 0 16,13 0-16,-26 1 16,13-1-16,-13 0 0,0 0 15,-14-13-15,14 14 0,-27-1 0,1 0 16,-1 0-16,0 1 0,-13-1 15,-13 0-15,0 0 0,0 0 0,0 1 16,0-1-16,-14 0 0,14 0 16,-13 1-16,13-1 0,-1 0 0,1-13 15,13 13-15,14 1 0,-14-14 16,13 13-16,0 0 0,14-13 0,-1 13 16,1 0-16,13-13 0,-14 0 15,14 14-15,0-14 0,0 0 0</inkml:trace>
  <inkml:trace contextRef="#ctx0" brushRef="#br0" timeOffset="44803.44">21577 5966 0,'0'0'0,"0"40"31,0-27-31,0 0 15,0 1-15,0-1 0,13 0 16,-13 0-16,0 1 0,13-1 16,-13 0-16,0-53 47,-13 14-32,13 13-15,0-1 0,0 1 16,0 0-16,-13 0 0,13 0 15,0-14 1,13 27 15,0 13-15,0-13-16,1 0 16,-1 0-16,0 0 15,0 0-15,1 0 16,-1-13-16,0 13 15,0 0 1,1 0 0,-1 13-16,-13 1 15,13-1-15,-13 0 16,13 0-16,-13 0 0,0 1 16,13-14-16,-13 13 0,0 0 0,14-13 15,-14 13-15,0 1 0,13-14 16,0 13-16,0-13 15,1 0 1</inkml:trace>
  <inkml:trace contextRef="#ctx0" brushRef="#br0" timeOffset="45668.63">21987 6046 0,'0'-14'0,"0"28"0,0-41 16,0 14-1,0 0 1,-13 26 15,-1-13-31,14 13 0,-13 0 16,13 1-16,0-1 15,0 0 1,0 0-16,13 1 16,1-14-1,-1 0-15,0 0 16,0 0-16,1-14 0,-1 14 0,0 0 16,0-13-16,0 13 0,1-13 15,-1 13-15,0 0 0,-13-13 0,13 13 16,1-14-16,-1 1 15,-13 0 1,13 13-16,-26-13 16,13 0-1,-13 13 32,-1 0 16,1 13-48,13 0-15,0 0 0,-13 0 16,13 1-16,0-1 16,-13 0-16,13 0 0,0 1 15,0-1 1,13 0-16,0-13 15,0-13 1,1 13-16,-14-13 16,13 13-16,-13-14 0,13 1 15,-13 0-15,0 0 16,13 13-16,-13-14 16,14 28 30,-1-1-14,0-13-32,0 0 15,0 0 1,1-13 0,-1 13-16,0 0 15,-13-14-15,13 14 16,1 0-16,-1-13 15,0 13-15,0-13 0</inkml:trace>
  <inkml:trace contextRef="#ctx0" brushRef="#br0" timeOffset="46726.68">22873 5662 0,'0'0'15,"-13"27"1,13-14 0,0 13-16,-13-13 0,13 1 0,0 12 15,0-13-15,0 14 0,0-14 16,0 0-16,0 1 0,0-1 15,0 0-15,0 0 0,13 0 0,-13 1 0,0-1 16,-13-13 15,-14-13-15,14-1-16,0 14 16,0 0-16,-14 0 15,14 14-15,0-14 16,-1 13-16,1-13 0,0 13 0,0 0 15,0 1-15,-1-1 16,14 0-16,14 0 16,-1 0-16,0-13 15,0 0-15,0 0 0,1 0 16,-1-13-16,0 13 0,0 0 0,1-13 16,-1 0-16,13 13 0,-12-13 0,-1-1 15,-13 1-15,13 0 0,0 0 16,0-1-16,-13 1 0,14 0 15,-14 0-15,13 0 0,-13-1 32,0 41-1,0-14-31,13 0 16,-13 0-1,13-13-15,1 0 16,-1 0-16,0 0 15,0 0 1,1-13-16,-1 13 16,0 0-1,0 13-15,0-13 16,-13 14-16,14-14 16,-14 13-16,13-13 15,-13 13-15,13-13 0,0 13 16,1-13-1,-1-13 1,-13 0 0,13 13-16,-13-13 0,13 13 15,1-14-15,-1 1 16,0 13-16,-13-13 0,13 13 16,0-13-1,1 26 1,-1-13-16,-13 13 0,0 0 15,13 1 1,-13-1 0</inkml:trace>
  <inkml:trace contextRef="#ctx0" brushRef="#br0" timeOffset="46834.88">23283 5755 0,'-13'-14'15</inkml:trace>
  <inkml:trace contextRef="#ctx0" brushRef="#br0" timeOffset="47575.67">23429 5768 0,'-27'13'16,"27"0"-16,-13-13 0,0 14 16,13-1-16,-13 0 15,13 0-15,-14-13 0,14 14 16,0-1 15,27-13-15,-14-13-16,0 26 31,1-13-31,-1 13 16,0 0 15,0-13-31,1-13 15,-1 13-15,0-13 0,0 0 16,0-1-16,-13 1 0,14 0 16,-1 0-16,-13-14 0,13 14 15,-13-14-15,13 14 0,-13 0 0,0 0 16,14 0-16,-14-1 0,0 1 0,0 0 16,13 13-1,-13 13 1,0 0-16,0 1 15,0-1-15,0 0 0,0 0 16,0 0-16,0 1 0,-13 12 16,13-13-16,0 1 0,0-1 15,-14 0-15,14 0 0,-13 1 16,13-1-16,-13-13 16,26-13 30,-13-1-46,13 14 0,-13-13 16,14 13-16,-1-13 0,0 13 0,-13-13 16,13 13-16,1 0 0,-1-14 15,0 14-15,0 0 16,0 0-16,1 0 16,-1 0-16,0 14 15,-13-1-15,13-13 16,-13 13-16,0 0 15,0 1-15,14-1 16</inkml:trace>
  <inkml:trace contextRef="#ctx0" brushRef="#br0" timeOffset="47694.91">23786 5689 0,'-13'0'0,"0"-14"0</inkml:trace>
  <inkml:trace contextRef="#ctx0" brushRef="#br0" timeOffset="48096.58">23932 5728 0,'-14'40'15,"14"-27"1,14-13-16,-14 13 16,13-13-16,0 0 31,0-13-31,-13 0 15,13 13-15,-13-13 0,0-1 0,0 1 16,0 0 15,-13 26-15,13 0 0,0 1-1,13-14-15,1 0 16,12 0-1,-13 0-15,1 0 16,-1-14-16,0 14 0,-26 27 31</inkml:trace>
  <inkml:trace contextRef="#ctx0" brushRef="#br0" timeOffset="48388.59">22066 6350 0,'13'-13'16,"199"-67"-1,-146 67-15,14-13 16,-1 12-16,0-12 0,14 13 15,-14 0-15,14-1 0,0-12 16,-1 13-16,-12 13 0,-1-14 0,14 1 16,-27 13-16,66-13 0,-79 13 15,-13-13-15,26 13 0,-40 0 16,-13 0-16,1 0 16,-1 0-16,-26 0 0,-14 13 15,-12 0-15,-1 0 16</inkml:trace>
  <inkml:trace contextRef="#ctx0" brushRef="#br0" timeOffset="48619.99">22066 6443 0,'-66'13'0,"132"-26"0,-158 39 16,65-26-16,67-13 16,13 0-1,13-1-15,27-12 0,12-1 0,14 14 16,0-13-16,1-1 0,-15 1 0,14 13 15,-26-1-15,-14-12 0,1 13 16,-1-1-16,-13 1 0,-13 0 16,0 13-16,-13-13 0,-14 13 0,1-13 0,-1 13 15,-13 0-15,1-14 0,-1 28 16</inkml:trace>
  <inkml:trace contextRef="#ctx0" brushRef="#br0" timeOffset="53731.75">2024 1217 0,'0'0'0,"93"-13"0,-40 13 0,13-13 0,0 13 16,13-14-16,14 1 0,-14 0 0,14 0 15,-1-1-15,1 1 0,-14 0 16,14 0-16,-14 0 0,14-1 15,-14 14-15,1-13 0,-1 0 0,-13 0 16,0 13-16,-13-14 0,0 14 0,0-13 16,-13 13-16,0 0 0,-14 0 15,-13-13-15,0 13 0,1 0 0,-1 13 16</inkml:trace>
  <inkml:trace contextRef="#ctx0" brushRef="#br0" timeOffset="54035.17">2222 1416 0,'-26'0'0,"52"0"0,-26 0 16,27 0-16,-1 0 0,27 0 0,27-14 15,-1 1-15,0 13 0,14-13 16,26-14-16,13 14 0,-13 0 0,14-14 15,-14 14-15,0 0 0,0 0 0,-26 0 16,-1-1-16,1 1 0,-14 0 16,1 0-16,-1 13 0,-13-14 15,-26 14-15,13-13 0,-27 13 0,1 0 16,-1-13-16,-13 13 0,14 0 0,-14 0 16,0 0-16,-39 13 31,-1-13-31,14 0 0,-13 13 15</inkml:trace>
  <inkml:trace contextRef="#ctx0" brushRef="#br0" timeOffset="59205.99">14989 2646 0,'198'-13'0,"80"-1"15,-172 14-15,26 0 16,-26 0-16,26-13 0,0 13 0,-26 0 0,13 0 16,-13 0-16,-13 0 15,13 0-15,-1 0 0,-12 0 0,0 0 16,-14 0-16,0 0 0,-26 0 0,0 0 15,0 0-15,-13 0 0,-14 0 16,1 0-16,-14 0 0,13 0 0,-12 0 16</inkml:trace>
  <inkml:trace contextRef="#ctx0" brushRef="#br0" timeOffset="59491.06">15438 2699 0,'-26'0'0,"52"0"0,-65 0 0,78 0 31,1 0-31,0 0 0,26 0 0,27 0 16,-1 0-16,1 0 0,26 0 0,13 0 16,0 0-16,14 0 0,-14 13 15,-26-13-15,26 0 0,-39 0 0,13 13 16,-14-13-16,-12 0 0,-1 13 0,1-13 15,-1 0-15,-26 14 0,0-14 16,-14 0-16,1 0 0,-13 13 0,-1-13 16,-13 0-16,0 0 0,1 0 0,-54 0 47,14 0-47</inkml:trace>
  <inkml:trace contextRef="#ctx0" brushRef="#br0" timeOffset="61332.03">16378 1429 0,'0'-13'32,"13"39"-17,0-13-15,0 0 16,1 1-16,-1 12 0,0 1 16,14-14-16,-14 13 0,0 1 0,0-14 15,0 13-15,1-12 0,-14-1 0,13 0 16,0 0-16,0 1 15,-13-1-15,14 0 0,-1-13 16,-13 13-16,26-26 16,-26 0-16,14 13 0,-14-13 15,0-14-15,13 14 0,-13-14 0,0 1 16,13-14-16,-13 1 0,13-1 0,-13 0 16,0 1-16,0 12 0,13-13 0,-13 14 15,0 13-15,0-14 0,0 14 16,0 0-16,0 0 0,0-1 0,14 1 15,-14 40 17,0-14-32,0 0 0,13-13 15</inkml:trace>
  <inkml:trace contextRef="#ctx0" brushRef="#br0" timeOffset="62278.52">16920 1442 0,'-13'-13'0,"0"13"31,-14 13-15,14 0-16,13 0 0,-13 1 15,13-1-15,-13 0 0,13 0 0,0 1 16,-14-1-16,14 0 0,0 0 15,0 1-15,0-1 16,14-13-16,-14 13 0,0 0 0,13-13 16,0 0-1,0 0 1,-13-13-16,0 0 0,0 0 16,13-1-16,-13 1 15,0 0-15,0 0 16,0-1-16,0 1 0,0 0 15,0 0 1,14 39 31,-1-26-47,-13 13 0,13 1 16,0-1-1,1 0-15,-14 0 16,13-13-16,0 14 15,0-28 32,-13 1-47,13 13 0,-13-13 16,0 0-16,14-1 16,-1 1-1,0 0-15,0 13 16,1 13-1,-14 0-15,13-13 16,-13 14-16,13-1 0,-13 0 16,13 0-16,-13 1 31,14-14-31,-1-14 31,-13 1-31,13 0 16,-13 0-16,13-1 15,-13 1-15,13 13 0,-13-13 16,14 0-16,-14-1 16,13 14-16,0 0 15,-13-13 1,13 13-16,1 0 16,-1-13-1,0 13-15,0-13 16,1 0-1,-1 26 32,0 0-47,-13 0 16,0 0-16,0 1 16,0-1-16,0 0 0,0 0 15,0 1 1</inkml:trace>
  <inkml:trace contextRef="#ctx0" brushRef="#br0" timeOffset="62424.05">17343 1270 0,'0'0'15,"-13"-13"-15,0 26 16,0-13-1,13 13-15,-13-13 0,13 13 16</inkml:trace>
  <inkml:trace contextRef="#ctx0" brushRef="#br0" timeOffset="63272.75">17582 1363 0,'-27'-27'31,"14"27"-31,0 13 16,-1 1-16,1-14 16,13 13-16,-13 0 0,13 0 15,-13-13-15,13 14 0,0-1 0,-14 0 16,28 0-1,12-13 17,-26-13-32,13 0 15,-13 0-15,14-1 0,-14 1 16,13 13 0,-13-13-16,13 26 31,-13 0-31,13-13 15,-13 14-15,14-1 16,-14 0-16,13-13 0,0 13 16,0-13-16,0 0 15,1 0 1,-1 0-16,-13-13 0,13 13 0,-13-13 16,13 0-16,-13-1 0,14 1 0,-14-13 15,0 12-15,0-12 0,0 13 16,0-14-16,0 1 0,0 13 0,0-14 15,0 14-15,0 0 0,0-1 0,0 1 16,0 0-16,0 0 0,0-1 16,0 54 15,0-27-31,-14 1 0,28-1 16,-14 13-16,0-12 0,0-1 0,0 13 15,0-13-15,13 14 0,-13-14 16,0 0-16,13 1 0,-13-1 0,0 0 15,13-13-15,-13 13 0,14-13 16,-14 14-16,26-28 16,-13 1-1,0 0-15,-13 0 0,14 13 16,-14-14-16,13 14 0,-13-13 0,13 0 16,0 0-1,1 13 16,-1 13-31,-13 0 16,13 0-16,-13 1 16,0-1-16,0 0 15,13 0-15,-13 1 16,0-1 0</inkml:trace>
  <inkml:trace contextRef="#ctx0" brushRef="#br0" timeOffset="63425.96">18018 1164 0,'0'-13'0,"0"26"0,-13-26 16,-14 13-1,27 13 1</inkml:trace>
  <inkml:trace contextRef="#ctx0" brushRef="#br0" timeOffset="63854.11">18084 992 0,'0'-13'15,"0"39"17,14 1-17,-14-1-15,0-12 0,0 25 16,13-12-16,-13-1 0,0-13 16,0 14-16,0-14 0,0 14 15,0-14-15,0 0 0,0 0 0,0 0 16,13 1-16,-13-1 0,0 0 0,0 0 15,0 1 1,0-1-16,26-26 31,-26-1-31,14 14 0,-14-13 16,13 13-16,-13-13 16,13 13-16,0 0 15,-13 13 1,14 0-1,-14 1-15,0-1 16,0 0 0,0 0-16,0 1 15</inkml:trace>
  <inkml:trace contextRef="#ctx0" brushRef="#br0" timeOffset="63965.87">18256 1244 0,'-13'-14'0,"13"1"0,-13 13 15,13-13-15</inkml:trace>
  <inkml:trace contextRef="#ctx0" brushRef="#br0" timeOffset="64154.97">18296 1005 0,'13'14'31,"-13"-1"-31,0 0 16,13 0-16,-13 14 0,0-14 0,0 13 16,14-12-16,-14-1 0,0 13 0,0 1 15,0-14-15,0 0 0,0 14 16,0-14-16,0 0 0,0 0 15</inkml:trace>
  <inkml:trace contextRef="#ctx0" brushRef="#br0" timeOffset="64646.15">18322 1270 0,'-13'0'16,"53"0"15,-40-13-31,13 13 0,0 0 15,1-13-15,-1-1 0,0 14 16,0-13-16,0 13 0,1-13 0,-1 13 16,-13-13-16,13 13 15,0 0-15,1 0 16,-1 0-16,0 0 16,-13 13-16,13 0 15,1 0-15,-14 1 0,13-1 16,0 0-16,-13 0 0,0 14 0,13-14 15,-13 0-15,0 0 0,13 1 16,-13-1-16,0 0 16,0 0-16,14-13 0,-1-26 31,0 13-31,-13-14 16,13 1-16,1-14 0,25-26 15,-26 39-15,1 1 0,12-1 16,-26 14-16</inkml:trace>
  <inkml:trace contextRef="#ctx0" brushRef="#br0" timeOffset="65048.84">17820 1640 0,'53'-13'31,"-14"0"-31,1 0 0,0 0 16,13-14-16,13 14 0,-13 0 0,13-1 16,-13 1-16,13-13 0,-26 26 15,12-14-15,-12 1 0,13 13 0,-26-13 16,-1 13-16,0 0 0,-12 0 0,-1 0 15,0 13-15</inkml:trace>
  <inkml:trace contextRef="#ctx0" brushRef="#br0" timeOffset="65247.63">17926 1733 0,'26'-13'16,"0"0"-16,1-1 15,13 1-15,13 13 0,-1-26 0,15 12 16,-15 1-16,15 0 0,-14 13 0,-14-13 16,1 0-16,0-1 0,-1 14 15,-12 0-15,-14-13 0,13 13 0,-12 0 16,-1 0-16,0-13 0,0 13 0</inkml:trace>
  <inkml:trace contextRef="#ctx0" brushRef="#br0" timeOffset="74755.84">5490 3453 0,'-13'26'16,"13"-13"-16,0 1 0,0 12 15,0 1-15,0-1 0,0 1 0,0-1 16,0 0-16,0 14 0,0 0 0,0-14 16,0 1-16,0 12 15,0-12-15,13-1 0,-13-12 0,0 12 0,0-13 16,0 14-16,13-14 0,-13 0 0,0 0 16</inkml:trace>
  <inkml:trace contextRef="#ctx0" brushRef="#br0" timeOffset="75278.92">5450 3440 0,'14'-14'0,"78"-52"31,-52 53-31,0 0 0,-1 0 16,14-1-16,0 1 0,-13 0 16,13 0-16,-14-1 0,14 14 15,-13-13-15,0 13 0,-14-13 0,1 13 16,-1 0-16,-13 0 0,1 0 16,-1-13-16,0 13 0,0 0 0,0 13 15,1-13-15,-14 13 16,0 0-1,0 1-15,0-1 0,0 0 16,0 0-16,0 14 0,13-14 0,-13 13 16,0 1-16,0-1 0,13-12 15,-13 12-15,13 0 0,-13 1 0,14-14 16,-1 14-16,0-14 0,0 13 0,-13-12 16,14-1-16,-1 13 0,0-13 15,-13 1-15,13-14 0,-13 13 0,13 0 16,-13 0-16,0 1 15,0-1-15,-13 0 0,0-13 16,0 13-16,0 1 0,-27 12 16,0-13-16,0 0 0,-12 14 0,-1-1 15,0-12-15,0 12 0,-13 1 0,13-1 16,0 0-16,0 1 0,0-1 16,0 1-16,0-1 0,13-12 0,14 12 15,-14-13-15,1 0 0,12 1 0,14-1 16,-13-13-16,12 13 0</inkml:trace>
  <inkml:trace contextRef="#ctx0" brushRef="#br0" timeOffset="79030.98">11351 4855 0,'66'-13'31,"-27"0"-31,14 13 0,14 0 0,12-14 15,0 14-15,14-13 0,-1 13 16,1-13-16,0 13 0,13 0 0,-1 0 16,1-13-16,0 13 0,-13 0 0,12 0 15,-12 0-15,0 0 0,-14 0 16,14 0-16,-27 0 0,0 13 16,-13-13-16,0 0 0,-14 0 0,1 0 15,-13 0-15,-14 0 0,13 0 0,-12 0 16,-1 0-16</inkml:trace>
  <inkml:trace contextRef="#ctx0" brushRef="#br0" timeOffset="79275.92">12144 4829 0,'0'0'15,"-26"13"-15,52 0 16,1-13-16,26 0 15,0 0-15,26 0 0,0 13 0,14-13 16,-14 0-16,14 0 0,0 0 16,-14 0-16,14 0 0,-14 0 0,0 0 15,-13 0-15,-13 0 0,0 0 0,-13 0 16,0 0-16,-14 0 0,-13 0 16,14 0-16,-14 0 0,0 0 0,-13 14 15,-26-1-15,-27-13 16</inkml:trace>
  <inkml:trace contextRef="#ctx0" brushRef="#br0" timeOffset="79934.1">4207 5689 0,'0'0'0,"106"-27"31,-53 14-31,0 13 0,26-13 16,-13-1-16,0 14 0,0-13 0,14 0 15,-14 13-15,0-13 0,13 13 0,-12-14 16,-15 14-16,1 0 0,14 0 0,-28-13 16,14 13-16,-13 0 0,-14 0 15,-12 0-15,12 0 0,-13 0 0,0 0 16,1 0-16,-1 0 0,-53 0 31,14 0-31,-1 13 0,-12-13 16</inkml:trace>
  <inkml:trace contextRef="#ctx0" brushRef="#br0" timeOffset="80567.14">4538 5689 0,'-80'13'0,"160"-26"0,-186 26 15,79 0-15,14-13 0,0 0 16,0 0-16,-1 13 0,1-13 15,40 0 1,-14 0-16,27 0 16,-1-13-16,1 13 0,0 0 0,13-13 15,-1 13-15,-12-13 0,13 13 0,0-14 16,-13 14-16,-1-13 0,14 13 16,-26-13-16,12 13 0,-12 0 15,-1 0-15,-12-13 0,12 13 0,-13 0 16,0 0-16,1 0 0,-1 0 15,0 0-15,0-14 16,1 14-16,-1 0 0,0 0 31,0 0-15,-13-13 0,14 13 15,-14 13 250,-14 1-265</inkml:trace>
  <inkml:trace contextRef="#ctx0" brushRef="#br0" timeOffset="81805.55">5345 6310 0,'0'-13'0,"-53"26"31,39-13-31,-12 14 0,0-1 16,-14 0-16,13 13 0,1-12 15,-1-1-15,1 13 0,0-12 0,-1-1 16,14 0-16,0 14 0,-14-14 15,14 0-15,0 0 0,-1 0 0,1 1 16,0-1-16,0-13 0,0 13 16,13 0-16,-14-13 0,14 14 0,-13-14 15,13 13-15,-13-13 0,13 13 0,-13 0 16,-1 1 0,14-1-1,-13-13 1,40-13 15</inkml:trace>
  <inkml:trace contextRef="#ctx0" brushRef="#br0" timeOffset="82263">5265 6403 0,'27'-27'32,"-14"14"-32,-13 0 0,13 0 15,-13 0-15,0-1 0,13 1 0,-13 0 16,0 0-16,0-1 0,0-12 0,0 13 16,-13-14-16,13 14 0,0 0 15,-13-14-15,13 14 0,-13 0 16,13 0-16,0-1 0,-14 1 0,14 0 15,0 0-15,-13-1 0,13 1 16,0 0-16,-13 13 16,13-13-16,0 0 15</inkml:trace>
  <inkml:trace contextRef="#ctx0" brushRef="#br0" timeOffset="82907.86">5265 5940 0,'0'0'0,"-26"13"32,26 0-17,-13 1-15,13-1 0,-14 0 16,1 13-16,0-12 0,13 12 0,-13-13 16,-1 14-16,14-14 0,-13 0 0,13 14 15,-13-14-15,13 0 0,-13 0 16,13 1-16,0-1 0,-14-13 0,14 13 15,0 0-15,-13 1 16,26-41 15,-13 14-31,0 0 0,14-14 16,-14 14-16,0 0 0,0-14 0,13 14 0,-13 0 16,13-14-16,-13 14 0,13 0 15,-13-14-15,14 14 0,-14 0 16,13 0-16,-13 0 0,13 13 15,-13-14-15,13 14 0,14 0 16,-27 14 0,13-14-16,0 13 0,0 0 15,1-13-15,-14 13 16,13-13-16,0 13 0,0-13 16,-13 14-16,14-14 0,-1 13 15,0-13 1,-13 13-1,13-13 17,-13 13-17,27-26 32,-14 13-31,0 0-16</inkml:trace>
  <inkml:trace contextRef="#ctx0" brushRef="#br0" timeOffset="85930.11">4749 6271 0,'0'-14'0,"-13"-12"15,0 26 1,0-13-16,-1-1 0,1 1 0,0 0 15,-14 0-15,1 0 0,-14-14 0,14 14 16,-14-14-16,0 14 0,1-13 0,-1-1 16,-13 14-16,0-13 15,0 12-15,0-12 0,-13 13 0,13-1 16,14 1-16,-14 0 0,-13 0 0,13 0 16,-13-1-16,-1 14 0,1-13 0,0 0 15,0 13-15,0-13 0,0 13 16,0-14-16,-14 14 0,14 0 0,-13 0 15,26 0-15,-13 0 0,-14 0 0,14 0 16,-13 0-16,26 0 0,0 14 16,-13-14-16,13 0 0,0 0 0,-13 13 15,13-13-15,0 0 0,0 13 0,0-13 16,0 0-16,13 0 0,14 0 16,-14 0-16,14 0 0,-14 0 15,14 0-15,-14 0 0,14-13 0,-14 13 0,13 0 16,-12 0-16,12 0 0,1 0 0,-14 0 15,14-13-15,-1 13 16,-12 0-16,25 0 0,-12 0 0,-1 0 16,1 0-16,-1 13 0,1-13 0,0 0 15,12 0-15,-12 13 0,-1-13 0,1 13 16,-1-13-16,-52 40 16,53-27-16,-27 14 15,39-14-15,-12 0 0,13 0 0,-14 1 16,1-1-16,-1 0 0,1 0 15,-1 14-15,1-14 0,0 13 0,-14-12 16,13 12-16,1-13 0,0 14 0,-14-1 16,13-13-16,1 14 0,-1-1 0,14-12 15,-13-1-15,13 13 16,-1-12-16,1-1 0,0 13 0,0-13 16,-1 14-16,-12-1 0,13 1 0,-1-1 15,1 27-15,0-13 0,13 0 16,-13-14-16,13 1 0,0-1 15,0 14-15,0-1 0,13 1 0,0 0 16,0-1-16,1-12 0,12 26 0,1-14 16,-1 1-16,14 0 0,-1 0 15,14-14-15,0 14 0,0-14 0,0 1 16,13-14-16,14 13 0,-1-13 16,14 1-16,-1-1 0,1 0 0,-1-13 15,1 0-15,13 13 0,0-13 0,0-13 16,26 13-16,0 0 0,-13-13 15,13 0-15,-12-1 0,-28 14 0,1-13 16,26-13-16,-27 13 0,1-1 0,-14 1 16,14-13-16,-14 12 0,1-12 15,-1 0-15,-13 12 0,0-12 0,1-1 16,-15-12-16,1 12 0,0 1 0,0-1 16,0 1-16,-13-1 0,-14 1 15,14-1-15,-14 1 0,1-14 0,-14 14 16,14-1-16,-14 1 0,0-14 0,0 14 15,-13-14-15,14 14 0,-14-14 16,0 0-16,-14 1 0,1-1 16,0 13-16,-14-25 0,-12 12 0,12 13 15,-12-12-15,-1 12 0,0 1 0,14-1 16,-14 14-16,0 0 0,1-14 16,12 14-16,-13 0 0,14 13 0,0-13 15,12 13-15,-12-14 0,13 14 0,-1 0 16,1 0-16,0 14 0,0-1 15,26 0-15,-13 0 16,13 1-16,0-1 0</inkml:trace>
  <inkml:trace contextRef="#ctx0" brushRef="#br0" timeOffset="87371.5">8255 6099 0,'0'-14'32,"13"28"-32,0-1 15,-13 0-15,14 0 0,-14 1 0,13-1 16,-13 0-16,13 13 0,-13-12 0,13-1 15,1 0-15,-1 0 0,-13 1 16,13-1-16,0 0 0,-13 0 0,14-13 16,-14 14-16,13-14 0,0 0 15,0-14-15,-13 1 16,0 0-16,0 0 0,0-1 16,0-12-16,0-1 0,0 1 0,0-14 15,-13 1-15,13-1 0,-13 13 16,13 1-16,-13 0 0,13 12 0,0-12 15,-14 13-15,14-1 0,0 1 0,0 0 16,0 0-16,0 0 0,14-1 16,-1 1-16,0 0 0,0 0 0,27-1 15,0 14-15,-1-13 0,1 0 0,26 0 16,0-1-16,0 1 0,1 0 0,12 0 16,-13 0-16,13-1 0,1 1 15,-14 0-15,0 0 0,0 13 0,-13-14 16,-13 1-16,0 13 0,-1-13 15,-12 13-15,-14 0 0,13-13 0,-12 13 16,-1 0-16,0 0 0,0 0 16,-26 26 15,0-26-31,0 27 0,-14-14 16,1 13-16,-14 1 0,14-14 0</inkml:trace>
  <inkml:trace contextRef="#ctx0" brushRef="#br0" timeOffset="87866.8">8718 6046 0,'0'-14'16,"0"41"15,0-14-31,0 0 0,13 1 15,-13-1-15,13 13 0,-13 1 0,14-14 16,-14 0-16,13 14 0,-13-14 16,13 0-16,0 0 0,-13 1 0,14-1 15,-1-13-15,-13 13 0,13-13 0,0 0 16,1 0 0,-1-13-16,-13 0 15,13-1-15,-13 1 0,0-13 0,0 12 16,13-12-16,-13 0 0,0 12 15,0-12-15,0-1 0,0 14 0,13-13 16,-13 12-16,0 1 0,0 0 16,0 0-16,0 0 0,14 39 31,-14-13-15,0 0-16</inkml:trace>
  <inkml:trace contextRef="#ctx0" brushRef="#br0" timeOffset="88660.02">9088 6019 0,'0'-13'15,"-13"13"1,0 0-16,0 13 0,13 0 15,-13-13-15,13 14 16,0-1-16,-14 0 0,14 0 16,0 1-16,0-1 0,0 0 0,0 0 15,0 1-15,0-1 16,14 0-16,-1 0 16,0-13-1,0 0 16,0-13-31,-13 0 16,0 0 0,0-1-16,0 1 15,14 0 1,-14 0-16,0-1 16,0 1 15,0 0-16,13 13 1,0 13 0,0-13-16,1 13 0,-1-13 15,-13 14-15,13-14 0,-13 13 16,13-13-16,-13 13 0,14-13 16,-14 13-16,13-13 0,-13 14 15,0-1-15,13-13 0,-13 13 0,0 0 16,13 0-1,-13 1 1,13-28 31,-13 1-47,0 0 0,14 13 0,-14-13 16,0 0-16,13-1 0,-13 1 0,13 13 15,-13-13-15,13 0 0,1-1 16,-1 14-16,-13-13 0,13 13 15,0 0-15,0 0 16,1 0-16,-1 13 16,0 1-16,-13-1 15,13 0-15,-13 0 16,14 1-16,-14-1 16,0 0-1,0 0-15,13-13 16</inkml:trace>
  <inkml:trace contextRef="#ctx0" brushRef="#br0" timeOffset="88814.72">9446 5927 0,'0'-14'16,"-14"28"15</inkml:trace>
  <inkml:trace contextRef="#ctx0" brushRef="#br0" timeOffset="89471.79">9551 5980 0,'-13'13'32,"0"-13"-17,13 13-15,0 0 0,-13-13 0,13 13 0,0 1 16,0-1-16,0 0 16,-13-13-16,26 27 15,-13-14-15,0 0 16,13-13-1,0 0 1,-13-13 0,13 13-16,-13-13 0,0-1 15,14 1-15,-14 0 16,0 0-16,0-1 16,13 14-16,-13-13 0,0 0 31,13 39 0,-13-12-15,0-1-1,13 0 1,-13 0 15,14-13-31,-1-13 31,0 13-15,0 0 0,1 0-1,-1 13 1,0-13 0,0 14 15,0-28-16,1 1 1,-1 13 0,0-13-16</inkml:trace>
  <inkml:trace contextRef="#ctx0" brushRef="#br0" timeOffset="89912.81">9935 5953 0,'-13'0'0,"26"0"0,-26-13 0,0 26 31,-1-13-31,1 13 0,13 1 16,-13-1-16,13 0 0,-13-13 16,13 13-16,0 0 0,0 1 15,13-1 1,0-13-16,0-13 16,1 13-16,-1-14 0,0 1 15,0 0-15,1 13 16,-14-13-16,13 13 0,-13-13 0,13-1 15,0 14-15,-13-13 16,13 26 15,-13 1-31,14-14 0,-14 13 16,13 0 0,-13 0-16,13-13 0,-13 13 15,13-13-15,1 0 16,-1 14-16,0-14 15</inkml:trace>
  <inkml:trace contextRef="#ctx0" brushRef="#br0" timeOffset="90128.43">10358 5887 0,'27'-13'32,"-14"0"-17,0 13-15,1 0 0,-1-14 0,0 14 16,0 0-16,1 0 16,-14 14-16</inkml:trace>
  <inkml:trace contextRef="#ctx0" brushRef="#br0" timeOffset="90282.97">10319 5993 0,'0'13'31,"13"-26"-15,0 13-16,0-13 15,1 13-15,-1 0 16,0-14-16,0 14 0,1-13 15</inkml:trace>
  <inkml:trace contextRef="#ctx0" brushRef="#br0" timeOffset="90716.19">11311 5808 0,'-27'0'0,"1"0"16,-27 0 0,40 0-16,0 13 0,-1-13 0,-12 0 15,13 13-15,-1-13 0,1 13 16,0-13-16,13 14 15,13-1 1,0 0-16,1-13 16,-1 0-16,13 13 0,-12-13 0,-1 0 15,0 13-15,0-13 0,1 0 0,-1 14 16,0-14-16,0 0 0,0 13 16,-13 0-1,-13 0 1,0 1-16,0-14 0,0 13 15,-1 0-15,-12-13 0,13 13 16,-1 0-16,1-13 0,0 14 0,0-14 16,-1 0-16,14 13 0,-13-13 0</inkml:trace>
  <inkml:trace contextRef="#ctx0" brushRef="#br0" timeOffset="91191.78">11364 5794 0,'0'0'0,"13"14"31,-13-1-31,0 0 0,0 0 16,0 1-16,0-1 15,0 0-15,0 0 0,0 0 16,0 1-16,0-1 0,0 0 15,0 0-15,0 1 16,0-1-16,-13-13 16,0-27 15,13 14-31,0 0 16,13 0-16,-13-1 0,0-12 0,13 13 15,-13 0-15,13-1 0,-13 1 16,14 0-16,-1 0 0,0 13 0,-13-14 15,13 14-15,0 0 0,1 0 16,-1 0-16,-13 14 0,13-14 16,-13 13-16,13-13 15,-26 26-15,13-12 16,-13-1-16,0 0 0,-1-13 16,1 13-16,0 0 0,0 1 0,-14-1 15,14-13-15,0 13 0,0-13 16,-1 13-16,1-13 0,0 14 0,0-1 15,-1-13-15,1 13 16,0 0-16,0 0 16</inkml:trace>
  <inkml:trace contextRef="#ctx0" brushRef="#br0" timeOffset="91550.99">10041 6403 0,'0'0'0,"53"-27"31,-13 14-31,-1 0 0,14 0 0,13 0 15,0-14-15,1 14 0,-1 0 16,13-14-16,-13 14 0,14 0 0,-14-1 16,13 1-16,-13 0 0,14 0 0,-14 0 15,-13-1-15,0 14 0,0-13 16,-14 13-16,1-13 0,-14 13 0,1 0 16,-14 0-16,0 0 0,1 0 15,-1 0-15,0 0 0,-39 13 16,-1-13-1,1 13-15,-14 1 0,-26-1 16,13 0-16</inkml:trace>
  <inkml:trace contextRef="#ctx0" brushRef="#br0" timeOffset="91818.85">10186 6456 0,'0'0'16,"172"-40"-1,-105 27 1,-1 0-16,0-1 0,-13 1 16,13 0-16,0 0 0,-13 13 0,0-13 15,-13-1-15,13 14 0,-14-13 0,1 0 16,-14 13-16,1 0 0,-1-13 16,1 13-16,-1 0 0,-13 0 15,1-14-15,-1 14 0,0 0 0,0 0 0,1 0 16,-1 0-16,0 0 15,0-13 1,0 13 0,1 0-16</inkml:trace>
  <inkml:trace contextRef="#ctx0" brushRef="#br0" timeOffset="93215.84">9102 6337 0,'-14'-13'0,"-12"13"31,26 13-31,-13-13 0,13 13 0,-13-13 16,-1 13-16,1 0 0,0 1 0,0-1 16,-1 0-16,-12 0 0,-1 1 15,1 12-15,0-13 0,-1 14 16,-13-14-16,14 13 0,-14-12 0,14 12 15,-14-13-15,0 14 0,1-14 16,12 0-16,-12 14 0,-1-14 0,0 0 16,1 0-16,-14 14 0,0-14 0,-13 14 15,13-14-15,0 0 0,-13 0 16,-1 14-16,15-14 0,-15 0 0,14 0 16,-13 1-16,13 12 0,-13-13 0,0 1 15,0-1-15,0 0 0,-14 0 16,14 14-16,0-14 0,0 0 15,0 0-15,0 1 0,0-1 0,-1 0 0,1 0 16,0 1-16,0-1 0,0 0 16,0 0-16,0-13 0,13 13 15,-14 1-15,1-1 0,0-13 0,0 13 16,13 0-16,0-13 0,0 14 0,0-1 16,0-13-16,1 13 0,12 0 15,-13-13-15,0 13 0,13 1 0,-13-14 16,0 13-16,1-13 0,12 0 0,-13 13 15,0-13-15,13 0 0,-13 13 16,14-13-16,-1 0 0,0 0 16,1 0-16,12 0 0,1 0 0,-14 0 15,14-13-15,-14 13 0,13 0 0,1 0 16,0-13-16,-1 13 0,-26-13 16,40 13-16,-14 0 0,14-14 15,-13 14-15,-1-13 0,14 13 0,0 0 16,-14-13-16,14 13 0,0-13 15,0 13-15,0 0 0,-1-13 0,1 13 16,0 0-16,0-14 0,-1 14 0,1-13 16,0 13-16,0-13 15,-1 13-15,1 0 16,13-13-16,-13 13 0,0-14 16,0 14-1,13-13-15,-14 13 16,1-13-16,0 13 31,13-13-15,-13 13-1</inkml:trace>
  <inkml:trace contextRef="#ctx0" brushRef="#br0" timeOffset="93666.64">4538 6972 0,'-27'13'15,"14"-13"1,0 0-16,-1 13 0,1-13 15,0 0-15,0 13 0,0-13 0,-1 0 16,1 0-16,0 14 0,0-14 16,-1 0-16,1 0 0,0 0 15,0 0-15,-1 13 0,1-13 0,0 0 16,0 0-16,0 0 16,-1 13-1,1-13-15,0 13 16,26 1 15,-13-1-31,13 0 0,-13 0 16,14 14-16,-14-14 0,13 0 0,0 0 15,0 14-15,0-14 0,1 14 16,-1-14-16,0 13 0,0-13 16,1 1-16,-1 12 0,-13-13 0,13 1 15,0-1-15,1 0 0,-1 0 16,0 1-16,0-1 0,-13 0 0,13 0 15,1 0-15,-14 1 0,13-1 0</inkml:trace>
  <inkml:trace contextRef="#ctx0" brushRef="#br0" timeOffset="107939.08">1707 10067 0,'13'0'16,"-13"14"-16,0-1 0,13 0 16,-13 0-16,0 1 0,0-1 0,0 0 15,13 13-15,-13-12 0,0-1 16,13 0-16,-13 0 0,0 1 0,0-1 15,14 0-15,-14 0 0,0 1 0,0-1 16,0 0-16</inkml:trace>
  <inkml:trace contextRef="#ctx0" brushRef="#br0" timeOffset="108213.92">1601 9856 0,'13'-14'15,"93"28"17,-27 12-32,-13 14 15,-39-14-15,-1 1 0,1-1 0,-1 1 16,1-1-16,-14 1 0,0-1 15,0 1-15,-13-1 0,0 0 0,-13 14 16,13-13-16,-13 12 0,0 1 0,-1-27 16,1 27-16,-13-14 0,12 14 15,1-13-15,-13-14 0,13 0 0</inkml:trace>
  <inkml:trace contextRef="#ctx0" brushRef="#br0" timeOffset="110818.4">1482 11152 0,'-27'0'0,"54"-13"31,-27 0-15,13 13-16,0 13 15,0 0 1,-13 0-16,0 1 15,-13-1-15,13 0 0,0 0 16,0 1-16,0-1 0,-13-13 0,13 13 16,0 0-1,0 0-15,0 1 16,13-14 0,0 0-16,14 0 15,-14-14-15,0 14 0,1 0 0,-1-13 16,0 13-16,13-13 0,-12 13 0,-1-13 15,0 0-15,0 13 16,1-14-16,-14 1 0,13 0 16</inkml:trace>
  <inkml:trace contextRef="#ctx0" brushRef="#br0" timeOffset="111075.08">1389 10914 0,'40'-13'0,"-80"26"0,93-26 0,-27 13 16,-12 0-16,12 13 0,1 0 15,12 1-15,-12-1 0,12 0 0,1 13 0,-13 1 16,12-14-16,-12 14 0,-1-1 16,1 0-16,-14 14 0,13-13 15,-12-1-15,-14 1 0,13-1 0,-13-13 16,0 14-16,-13 12 0,-1-12 0,1 13 15,0-14-15,0 14 0,-14-14 16,14 14-16,-14-14 0,1 1 0,0-1 16,12-13-16,-12 1 0,-14 12 0</inkml:trace>
  <inkml:trace contextRef="#ctx0" brushRef="#br0" timeOffset="120908.42">22900 9750 0,'13'0'16,"-26"-13"15,-1 13-15,-12 0-1,26 13-15,-13-13 0,0 0 0,-1 0 16,14 13-16,-13-13 0,0 0 0,0 13 16,13 1-1,13-1 1,0-13-16,-13 13 0,13-13 16,1 0-16,-1 13 0,0-13 15,0 0-15,0 13 0,1 1 16,-1-14-16,0 0 0,-13 13 15,13-13-15,-13 13 16,0 0 0,-13 1-16,0-1 15,0-13-15,13 13 0,-14-13 16,1 13-16,0-13 0,0 0 0,0 14 16,-1-14-16,1 13 0,0-13 15</inkml:trace>
  <inkml:trace contextRef="#ctx0" brushRef="#br0" timeOffset="121314.93">22992 9790 0,'0'-14'31,"0"41"0,14-14-15,-14 0-16,13-13 15,-13 13-15,13-13 0,0 14 0,0-14 16,1 0-16,-1 0 16,13 0-1,-12-14-15,-1 1 16,0 0-16,-13 0 15,13 0-15,-13-1 16,0 1-16,14 13 16,-14-13-16,0 39 31,0-12-31,0-1 16,0 0-16,0 0 15,0 0-15,0 1 0,0-1 16,13 0-16,0-13 15,13 0 17</inkml:trace>
  <inkml:trace contextRef="#ctx0" brushRef="#br0" timeOffset="121731.78">23310 9538 0,'-13'13'31,"13"1"-31,0-1 0,-14 0 16,14 0-16,0 1 16,0-1-16,0 0 15,0 0-15,0 1 16,0-1-1,14-13 1,-1 0-16,0 13 16,0-13-16,0 13 15,1 0-15,-1 1 16,-13-1-16,0 0 16,13-13-16,-13 13 0,0 1 15,-13-1 1,13 0-16,-13-13 0,-1 13 15,1-13-15,13 13 0,-13-13 16,0 0-16,0 0 16,26-26 15</inkml:trace>
  <inkml:trace contextRef="#ctx0" brushRef="#br0" timeOffset="122047.82">23641 9697 0,'13'-13'31,"0"13"-31,0 0 16,0-13-1,1 13-15,-1 0 0,0-14 16,0 14-1,1-13-15,-1 13 16</inkml:trace>
  <inkml:trace contextRef="#ctx0" brushRef="#br0" timeOffset="122522.9">24156 9300 0,'14'-13'15,"-28"26"-15,41-39 0,-14 26 16,0 13-16,1 0 15,-1 0 1,-13 1-16,0-1 0,13 0 0,-13 0 16,0 0-16,0 14 0,0-14 15,0 0-15,0 14 0,0-14 0,0 0 16,0 14-16,0-14 0,0 0 16,0 0-16,-13 14 0,13-14 0,0 0 15,0 1-15,0-1 0,0 0 16,0 0-16,0 1 0</inkml:trace>
  <inkml:trace contextRef="#ctx0" brushRef="#br0" timeOffset="122671">24236 9803 0</inkml:trace>
  <inkml:trace contextRef="#ctx0" brushRef="#br0" timeOffset="123267.77">23693 9512 0,'0'13'16,"14"-13"-1,-1 13-15,0-13 0,14 13 16,-14-13-1,0 0-15,0 0 0,0 14 0,1-14 16,-1 0-16,0 0 0,0 13 0,1-13 16,-14 13-16,13-13 15,-13 13-15,0 1 0,0 12 16,0-13-16,-13 1 0,-14 12 16,1 14-16,-1-1 0,1-12 0,-1 12 15,-12 1-15,12 0 0,-12 0 16,-1-14-16</inkml:trace>
  <inkml:trace contextRef="#ctx0" brushRef="#br0" timeOffset="132613.91">23561 10332 0,'0'26'63,"0"-12"-63,13-14 0,-13 13 0,0 0 15,0 0-15,14-13 0,-14 14 16,0-1-16,0 0 0,0 0 15,13 1-15,-13-1 16,0 0-16,0 0 16,0 0-16,13 1 15,0-14 1</inkml:trace>
  <inkml:trace contextRef="#ctx0" brushRef="#br0" timeOffset="133016.04">24408 10266 0,'0'0'0,"0"26"32,13 1-17,-13-14-15,0 0 0,0 0 0,0 1 16,13-1-16,-13 0 16,0 0-16,0 1 0,0-1 15,0 0-15,0 0 0,0 1 0</inkml:trace>
  <inkml:trace contextRef="#ctx0" brushRef="#br0" timeOffset="134196.01">23760 10358 0,'-27'0'16,"27"14"-16,-13-14 0,13 13 15,-13 0-15,13 0 16,0 1-16,-14-14 0,14 13 16,0 0-16,14 0 15,-14 1-15,13-14 16,0 0 0,0-14-16,1 14 15,-14-13-15,13 0 0,-13 0 16,13-1-16,-13 1 15,0 0-15,13 13 0,-13-13 16,0-1-16,0 41 47,0-14-47,0 0 0,0 1 16,0-1-16,0 0 0,0 0 15,13-13-15,-13 14 0,0-1 16,0 0-16,14 0 0,-1 0 15,0-13 1,0 0 0</inkml:trace>
  <inkml:trace contextRef="#ctx0" brushRef="#br0" timeOffset="134626.67">23932 10306 0,'0'-14'0,"-27"28"31,27-1-15,-13 0-16,13 0 16,0 0-1,0 1-15,-13-14 0,13 13 16,13 0-1,0-13 17,0 0-32,1 0 15,-14 13-15,13-13 16,0 0-16,-13 14 0,13-14 16,-13 13-16,0 0 15,13 0 1,-26-13-16,13 14 15,0-1-15,-13-13 16,0 0 0,0 13-1</inkml:trace>
  <inkml:trace contextRef="#ctx0" brushRef="#br0" timeOffset="134912.75">24143 10358 0,'-13'0'16,"-13"0"-1,26 14-15,0-1 16,0 0-1,0 0 1,13 1-16,0-1 0,-13 0 16,0 0-1,0 1-15,-13-1 16,0-13 0,13 13-16,-14-13 0,1 0 0,0 13 15,0-13-15,-1 13 16,1-13-16,13 14 15,-13-14-15</inkml:trace>
  <inkml:trace contextRef="#ctx0" brushRef="#br0" timeOffset="141472.94">4564 11840 0,'-13'0'0,"0"0"31,39 0-15,-13 0-16,1 0 15,12 0-15,0 0 0,1 0 0,-1-13 16,14 13-16,13 0 0,0 0 16,0 0-16,0 0 0,13 0 0,-13 0 15,0 0-15,0 0 0,0 13 0,-1-13 16,-12 0-16,-13 0 0,12 0 16,-12 13-16,-1-13 0,-13 0 0,14 0 15,-14 0-15,0 0 0,1 0 0,-1 0 16,0 14-16,0-14 15,0 0-15,1 0 16,-41 13 15,14-13-31,-13 0 0,12 0 0,-12 0 16,-14 0-16,1 0 0,-1 13 0,-13-13 16,13 0-16,1 13 0,-14-13 15,26 0-15,-13 13 0,14-13 0,0 0 16,-1 0-16,1 14 0,-1-14 0,14 0 15,0 0-15,-1 0 0,1 0 16,13 13-16,-13-13 16,39 0-1,1 0-15,-1 0 0,1 0 0,13 0 16,-1 0-16,14-13 0,0 13 16,0 0-16,0 0 0,-13 0 0,13 0 15,-14-14-15,-12 14 0,12 0 0,-12 0 16,-1 0-16,1 0 0,-14-13 15,13 13-15,-12 0 0,-1 0 0,0 0 16,0 0-16,1-13 16,-41 0-1,14 0-15,0 13 16</inkml:trace>
  <inkml:trace contextRef="#ctx0" brushRef="#br0" timeOffset="142072.67">4194 11324 0,'-14'-13'0,"28"26"0,-28 0 32,14 1-32,0-1 0,0 0 15,-13 14-15,13-1 0,0 0 0,0 1 16,0-1-16,0 14 0,0-13 16,0-1-16,0 0 0,0 1 15,0-1-15,0 1 0,0-1 0,0-12 16,13 12-16,-13-13 0,0 0 0,0 1 15,0-1-15,14 0 16</inkml:trace>
  <inkml:trace contextRef="#ctx0" brushRef="#br0" timeOffset="143922.06">4141 11284 0,'26'-13'0,"-13"13"16,1 0-16,-1-13 15,13 13-15,-12 0 0,12 0 0,0-13 16,1 13-16,13 0 0,-1-13 0,14 13 16,0-14-16,-13 14 0,66-13 15,-53 13-15,13-13 0,0 13 16,0-13-16,0 13 0,-13-14 0,0 14 16,13-13-16,-13 13 0,0 0 15,0-13-15,0 13 0,0 0 0,-14-13 16,1 13-16,13 0 0,-13 0 15,-14 0-15,14 0 0,0 0 0,-14 0 16,14 0-16,-14 0 0,14 0 0,-14 0 16,1 0-16,-1 0 0,14 13 15,-14-13-15,1 0 0,-1 0 16,1 0-16,-1 0 0,14 0 0,-14-13 16,1 13-16,12 0 0,-12 0 0,-1 0 15,1 0-15,-1 0 0,1 0 16,-1 0-16,-13 0 0,14 0 15,-14 0-15,14 0 0,-14 0 0,13 0 0,-12 0 16,-1 0-16,13 0 0,-13-14 16,1 14-16,-1 0 0,0 0 0,14 0 15,-14 0-15,0 0 0,0 0 0,1-13 16,-1 13-16,0 0 16,0 0-16,0 0 0,14 0 15,-14 0 1,0-13-16,1 13 15,-1 0 1,0 0-16,0 0 31,0 0 1,-13 13-17,0 0-15,0 1 16,0-1-16,14 0 15,-14 0-15,0 1 0,0 12 0,-14-13 16,14 1-16,0 12 0,0-13 16,0 14-16,0-14 0,0 13 0,0 14 15,0-27-15,0 1 0,0 12 16,0-13-16,0 0 0,0 14 16,0-14-16,0 0 0,0 1 15,0-1-15,0 0 0,0 0 0,0 1 16,0-1-16,0 0 15,0 0-15,14-13 0,-14 13 16,0 1-16,0-1 16,0 0-16,0 0 15,0 1 32,-14-1-31,-12-13-1,13 0-15,0 0 16,-14 0-16,14 0 0,-14 0 16,1 0-16,0 0 0,-27 13 15,13-13-15,13 0 0,-25 0 0,25 0 16,-26 13-16,13-13 0,1 0 16,-1 14-16,-13-14 0,13 0 15,1 13-15,-1-13 0,0 0 0,-13 13 16,14-13-16,-1 0 0,14 13 15,-14-13-15,14 0 0,-1 13 0,-13-13 16,14 0-16,-1 14 0,1-14 0,-14 0 16,-13 13-16,27-13 15,-1 13-15,1-13 0,0 0 0,-1 0 16,1 0-16,-1 0 0,1 13 16,-1-13-16,-12 0 0,25 0 0,-12 0 15,-40 0-15,39 0 16,1 14-16,-1-14 0,-26 0 0,27 0 15,13 0-15,-14 0 0,1 0 16,-1 0-16,1 0 0,13 13 16,-14-13-16,14 0 0,-27 0 15,27 0-15,-13 0 0,12 0 0,1 0 16,0 0-16,0 0 0,-1 0 16,1 0-16,0-13 0,-13 13 0,12 0 15,1 0-15,0 0 0,0 0 0,-1 0 16,1 0-16,0 0 15,0 0-15,0 0 0,-1 0 0,1 0 16,0 0-16,0 0 0,-1 0 16,1 0-16,0 0 0,0 0 15,-1 0-15,1 0 0,-13 0 16,13 13-16,-1-13 16,-12 0-16,13 0 15,-1 0-15,1 0 16,0 0-16,0 0 15,-1 0-15,1 0 0,0 0 16,0 0-16,0 0 16,-1 0-16,1 0 15,0 0-15,0 0 16,-1 0 0,1 0-1,13 13-15,-13-13 16,0 0 15,0 0 16,26-26 62,-13 12-109,0 1 16,0-13-16,0 12 0,0-12 16,0-14-16,0 14 0,0-1 0,0 1 15,0 13-15,0-14 0,0 14 0,-13-13 16,13 12-16,0 1 0,0 0 15,0 0-15,-14-1 0</inkml:trace>
  <inkml:trace contextRef="#ctx0" brushRef="#br0" timeOffset="150370.41">13732 12568 0,'0'0'0,"26"13"15,-12-13-15,-1 0 16,13 0-16,1 0 0,12 0 15,14 0-15,-13 0 0,26 0 0,-13 0 16,26 13-16,1-13 0,-1 0 0,1 0 16,-14 0-16,13 0 0,0 0 15,-12 0-15,12 13 0,-13-13 16,0 0-16,0 0 0,-13 0 0,13 14 16,1-14-16,-14 0 0,-1 0 0,1 13 15,0-13-15,0 0 0,-13 0 16,13 13-16,0-13 0,0 0 0,0 0 15,-14 0-15,14 0 0,0 0 0,-13 0 16,-14 0-16,27 0 0,-13 0 16,-14 0-16,14 0 0,-14 0 0,14 0 15,-13 0-15,-1-13 0,0 26 0,1-26 16,-1 13-16,1 0 0,-1 0 16,1 0-16,-1 0 0,-13 0 15,14 13-15,-1-13 0,1 0 0,-14 0 16,14 0-16,-1 0 0,0 0 0,-12 0 15,12 0-15,1 0 0,-1 0 16,1 0-16,-1 0 0,0 0 0,1 0 16,-1 0-16,1 0 0,13 0 0,-14 0 15,14 0-15,-14 0 0,14 0 16,-1 0-16,-12 0 0,13 0 0,-1 0 16,1 0-16,-14 0 0,14 0 0,0 0 15,-14 0-15,14 0 0,-14 0 0,14 0 16,0 0-16,-14 0 15,14 0-15,0 0 0,-14 0 0,14 0 0,-14 0 16,14 0-16,-14 0 0,14 0 16,-13 0-16,12 0 0,-12 0 15,-1-13-15,1 13 0,12 0 0,-12 0 16,-1 0-16,1 0 0,-1 0 0,1 0 16,-1-13-16,1 13 0,-1 0 15,0 0-15,1 0 0,-1 0 0,-12-14 16,12 14-16,-13 0 0,14 0 0,-14 0 15,13-13-15,1 13 0,-14 0 16,0 0-16,14-13 0,-14 13 0,0 0 16,14-13-16,-14 13 0,0 0 0,0 0 15,1-14-15,-1 14 0,0 0 16,0 0-16,1 0 0,-1-13 16,0 13-16,0 0 0,0 0 0,-13-13 15,14 13-15,-1 0 0,0 0 0,0-13 16,1 13-16,-1 0 0,-13-13 0,13 13 15,0-14-15,0 14 0,1 0 16,-1-13-16,0 13 0,0-13 16,1 13-16,-1-13 0,0 13 15,0-14-15,1 14 0,-1-13 16,0 0-16,0 13 0,0-13 16,1-1-16,-1 1 15,0 13-15,-13-13 0,13 0 16,1 13-16,-14-13 0,13-1 15,0 1-15,-13 0 0,13 13 16,1-13-16,-14-1 0,0 1 0,13 13 16,-13-13-16,13 0 0,-13 0 15,13-1-15,-13 1 16,13 0-16,-13 0 0,0-1 16,14 1-16,-14 0 15,0 0-15,0-1 16,0 1-16,-14 0 15,14 0-15,0 0 0,0-1 16,0 1-16,-13 0 0,13 0 0,-13-1 16,13 1-16,-13 0 15,0 0-15,13-1 0,-27 1 0,14 0 16,0 0-16,-1 0 0,1-1 16,0 1-16,-14 0 0,14 0 0,-13-1 15,13 1-15,-14 0 0,14 0 16,-14 0-16,-12-1 0,12 1 0,1-13 15,-14 12-15,14 1 0,-54 0 16,41 0-16,-1-1 0,0 14 16,1-13-16,-1 0 0,0 13 0,-13-13 15,14 13-15,-1-13 0,-13 13 16,13 0-16,-13-14 0,0 14 0,14 0 16,-67-13-16,53 13 0,13 0 15,-13-13-15,0 13 0,14 0 16,-14 0-16,0 0 0,13 0 0,-13-13 15,0 13-15,14 0 0,-14 0 0,13 0 16,0 0-16,1-14 0,-1 14 16,14 0-16,-14 0 0,13 0 0,1-13 15,-14 13-15,14 0 0,-1 0 0,-12 0 16,12-13-16,1 13 0,-1 0 16,1 0-16,-1 0 0,1-13 15,-14 13-15,14 0 0,-1 0 0,1 0 16,-14 0-16,14 0 0,-1 0 0,-12-14 15,12 14-15,-13 0 0,14 0 16,-14 0-16,14 0 0,-14 0 0,14 0 16,-14 0-16,-13 0 0,13 0 0,14 0 15,-27 14-15,13-14 0,1 0 16,-14 0-16,0 0 0,13 0 0,-13 0 16,14 0-16,-1 0 0,-13 0 0,0 13 15,0-13-15,13 0 0,-12 0 16,-1 0-16,0 13 0,13-13 0,-13 0 15,0 0-15,27 0 0,-27 0 16,13 13-16,0-13 0,1 0 0,-14 0 16,13 0-16,0 14 0,1-14 15,-1 0-15,14 0 0,-1 0 0,-13 0 16,14 13-16,-14-13 0,14 0 0,-1 0 16,1 0-16,-1 0 15,14 0-15,-13 0 0,-1 0 0,14 0 16,-27 0-16,27 0 0,-26 13 15,25-13-15,1 0 0,0 0 16,0 0-16,-14 0 0,14 0 0,0 13 16,-1-13-16,1 0 0,-13 0 15,13 0-15,-1 14 0,1-14 0,-13 0 16,12 13-16,-12-13 0,13 0 16,-14 13-16,14-13 0,0 0 0,-14 13 15,14-13-15,-13 13 0,12-13 0,-12 0 16,13 14-16,-14-1 0,14-13 15,-13 13-15,12-13 0,-12 13 16,13-13-16,-27 14 0,27-14 0,-1 13 16,-12-13-16,13 13 0,0-13 15,-1 13-15,-12-13 0,13 0 0,-1 14 16,1-14-16,-13 13 0,13-13 16,-1 13-16,1-13 0,0 13 0,0-13 15,-1 13-15,-12 1 16,13-1-16,-1-13 0,14 13 15,-13-13-15,0 13 0,0 1 16,0-1-16,-1 0 16,14 0-16,0 0 0,-13 1 15,13-1-15,0 0 0,-13 0 0,13 1 16,-13-1-16,13 0 0,0 27 16,-14-14-16,14-13 0,0 14 15,0-14-15,0 14 0,0-1 0,0 14 16,0-14-16,0-13 15,0 14-15,14-14 0,-14 14 16,0 12-16,13-12 0,-13-14 16,13 13-16,0 14 0,1-13 15,-1-1-15,-13-13 0,26 14 16,-13-1-16,1-13 0,-14 1 0,13 12 16</inkml:trace>
  <inkml:trace contextRef="#ctx0" brushRef="#br0" timeOffset="157247.87">1164 10253 0,'27'13'15,"-1"-13"1,-13 0-16,1 0 0,-1 0 15,0 0-15,0 0 0,0 0 16,1 0-16,-1 0 0,0 0 16,14 0-1,-14 0-15,0 0 16,0-13 0</inkml:trace>
  <inkml:trace contextRef="#ctx0" brushRef="#br0" timeOffset="157575.6">1349 10094 0,'14'0'31,"12"13"-15,-13-13-16,1 13 0,-1-13 16,0 14-16,13-1 0,-12-13 15,-14 13-15,13-13 0,0 13 16,0-13-16,-13 13 16,14-13-16,-14 14 0,13-1 15,-26-13 1,13 13-16,-14 0 0,1-13 15,13 14-15,-13-14 0,0 13 0,-1-13 16,1 13-16,0-13 0,0 13 16,-14-13-16,14 0 0,0 0 0</inkml:trace>
  <inkml:trace contextRef="#ctx0" brushRef="#br0" timeOffset="158026.87">1072 10147 0,'0'-13'0,"-27"26"15,14-13 1,13 13-16,-13-13 0,13 13 16,-14 0-16,14 1 0,-13-14 15,13 13-15,-13 0 0,13 0 0,0 1 16,-13-1-16,13 0 15,0 0-15,0 1 0,0-1 0,0 0 16,13 0-16,-13 0 0,13 1 16,-13-1-16,13 0 15,1 0-15,-1-13 16,0 14-16,0-14 16,1 0-16,-1 0 15,0 0-15,0-14 16</inkml:trace>
  <inkml:trace contextRef="#ctx0" brushRef="#br1" timeOffset="164730.91">53 11218 0,'0'14'32,"0"-1"-17,0 0-15,0 0 16,0 0-1,0-26 64,0 0-79,0 0 15,13 0-15,-13-1 16,0 1-1,13 13 32,1 0-31,-1 13-16,0-13 31,0-13-15,-13 0-1,14 13 1,-14-13-16,0-1 0,13 1 16,-13 0-1,0 0 1,13 13 0,0 13-1,0-13 1,-13 13-16,14-13 0,-14 13 0,13 1 15,0-1 1,-13 0-16,13-13 0,-13 13 16,0 1-16,14-14 15,-14 13-15</inkml:trace>
  <inkml:trace contextRef="#ctx0" brushRef="#br1" timeOffset="165275.76">331 11126 0,'13'26'47,"0"-13"-31,-13 1-16,0-1 15,13-13-15,-13 13 16,0 0 0,0-39 15,0 13-16,0-1-15,0 1 16,0 0-16,-13 13 0,13-13 16,0-1-16,0 1 15,0 0-15,0 0 16,13 0-16,-13-1 16,14 14-16,-1 0 15,0 0-15,0 0 16,1 0-1,-1 14-15,0-1 16,-13 0 0,0 13-16,0-12 15,-13-1-15,13 0 0,-13 0 16,13 1-16,-14-1 16,1 0-16,0 0 15,13 1-15,0-1 16</inkml:trace>
  <inkml:trace contextRef="#ctx0" brushRef="#br1" timeOffset="166193.71">159 11615 0,'-13'-13'16,"-1"26"31,14 0-47,0 1 15,0-1-15,0 0 16,0 0-16,0 1 16,0-1-16,14-13 0,-14 13 15,13-13 1,0 0 0,0-13-1,-13 0 1,0-1-16,13-12 15,-26 26-15,13-13 0,0-1 16,0 1-16,0 0 16,0 0-1,13 39 32,-13-13-47,0 1 16,14-14-16,-14 13 0,13 0 15,0 0 1,0 1 0</inkml:trace>
  <inkml:trace contextRef="#ctx0" brushRef="#br1" timeOffset="166666.84">238 11470 0,'-13'0'0,"26"26"32,-13-13-17,13 1-15,-13-1 0,14 0 16,-14 0-16,0 1 15,13-14-15,-13 13 0,0 0 0,13-13 16,-13 13-16,0 0 16,13-13-1,-13-13 17,14 0-32,-1 13 15,-13-13-15,13 13 0,0 0 16,0 0-16,1-13 15,-1 13-15,0 13 16,0-13 0,1 0-16,-14 13 15,0 0-15,-14 0 16,14 1 0,-13-14-16,13 13 15,-13-13-15,0 13 16</inkml:trace>
  <inkml:trace contextRef="#ctx0" brushRef="#br1" timeOffset="166978">489 11496 0,'-13'13'0,"0"-13"16,0 14 15,26-1-15,-13 0-16,13-13 0,0 13 16,1-13-16,-14 14 15,13-14-15,-13 13 16,13-13-16,-13 13 15,0 0 1,-13-13-16,13 13 16,-13-13-16,-1 14 0,1-1 15,0-13 1,0 13-16</inkml:trace>
  <inkml:trace contextRef="#ctx0" brushRef="#br1" timeOffset="168122.95">635 11959 0,'13'13'31,"0"1"-15,1-1-16,-14 0 15,13-13-15,-13 13 0,13 1 0,-13-1 16,13-13-16,1 13 0,-1 0 16,0 0-16,0 1 15,1-14 1,-1-14 0,-13 1-1,0 0-15,0 0 16,0 0-16,0-1 0,0 1 15,-13 0-15,13 0 0,0-1 0,0 1 16,0 0-16,-14 0 0,14-1 16,0 1-16</inkml:trace>
  <inkml:trace contextRef="#ctx0" brushRef="#br1" timeOffset="168864.22">900 11906 0,'-14'-13'0,"1"39"46,13-12-46,0-1 16,0 0-16,0 0 16,0 1-1,13-1-15,-13 0 16,14-13 0,-1 0-1,0 0 1,-13-13-1,0 0 1,0-1 0,0 1-1,13 0-15,14 13 63,-27 13-63,13-13 15,-13 13-15,13-13 16,-13 14-16,13-14 16,-13-14 46,0 1-62,0 0 16,0 0-16,0-1 15,14 1 1,-1 0 15,0 0-15,0 13-16,1-13 31,-1 26 0,-13 0-15,13 0 0,-13 0-1,0 1-15,13-1 16,-13 0-16</inkml:trace>
  <inkml:trace contextRef="#ctx0" brushRef="#br1" timeOffset="169643.95">1151 11787 0,'0'27'47,"0"-14"-32,0 0-15,0 0 16,0 1-16,0-1 16,0 0-1,13-13 1,0 0 0,-13-13-1,14 13-15,-14-13 0,0-1 16,0 1-16,0 0 15,0 0 1,26 26 47,-26 0-48,13-13 1,1-13 15,-14 0 0,13 13 1,0 0-1,0-14 0,0 14 0,-13-13-15,14 26 15,-14 1-31,0-1 16</inkml:trace>
  <inkml:trace contextRef="#ctx0" brushRef="#br1" timeOffset="170308.13">1138 12224 0,'-14'0'16,"-12"13"15,13-13-31,13 13 0,-13-13 0,-1 13 15,1 1-15,13-1 0,-13-13 16,13 13-16,-13 0 16,13 1-1,13-1-15,0-13 16,0 0 0,1 0-16,-1 13 15,0-13-15,0 0 16,0 0-16,1 13 15,-1-13 1,-13 13-16,0 1 16,-13-1-1,13 0-15,-14-13 0,14 13 16,-13-13-16,0 0 0,13 14 0,-13-14 16,0 0-16,-1 13 15,1-13-15,0 0 0,0 0 16</inkml:trace>
  <inkml:trace contextRef="#ctx0" brushRef="#br1" timeOffset="171586.78">1283 12211 0,'-13'-14'31,"-13"14"-15,26 14-1,-14-14-15,14 13 0,0 0 16,-13-13-16,13 13 0,0 0 16,-13 1-16,13-1 15,0 0-15,0 0 16,13 1-1,0-1 1,1-26 0,-14-1-16,13 1 15,-13 0 1,0 0-16,0-1 16,13 1-16,-13 0 15,0 0 1,13 39 31,0-26-32,-13 13-15,0 1 16,14-1-16,-14 0 16,13-13-16,-13 13 0,13 1 15,0-1 1,1-26 15,-14-1-15,13 1-16,-13 0 15,0 0 1,0-1-16,0 1 16,0 0-16,13 13 15,-13-13-15,0 0 16,0-1-1,0 1 1,13 26 47,-13 1-63,14-14 0,-14 13 15,13-13-15,-13 13 0,13-13 16,-13 13-16,13-13 0,0 13 15,1-13 1,-1 14-16,0-14 16,0-14-1,1 14-15,-1-13 16,-13 0-16,13 13 16,-13-13-16,0 0 0,13-1 15,-13 1 1,0 0-16,0 0 15,0-1 17,14 1-17,-28 0 95,1 13-63,0 0 15,13 13-46</inkml:trace>
  <inkml:trace contextRef="#ctx0" brushRef="#br1" timeOffset="172207.7">1654 12052 0,'0'-13'0,"-14"39"63,14-13-63,0 0 15,0 1 1,0-1-16,14 0 15,-14 0 1,13-13 0,0-13-1,0 13 1,-13-13-16,14 13 16,-14-13-16,0-1 0,0 1 31,0 0-31,0 0 15,0 0 17,13-1-1,0 28-15,0-14-1,0 0 1,1 0-16,-14 13 15,13-13 1,0 0 0,0 0 15,-13-13-15,0-1-16,0 1 15,0 0 1,14 0-16,-14-1 0,13 1 31,-13 0-31,13 13 16</inkml:trace>
  <inkml:trace contextRef="#ctx0" brushRef="#br1" timeOffset="172502.86">1905 11906 0,'13'-13'15,"-13"0"1,0 0 0,-13 26 15,0 0-31,13 0 0,0 0 16,-13 1-16,13-1 15,13 0-15,-13 0 16,0 1-16,13-14 15,-13 13-15,13-13 16,0 0 0,1 0-16,-1 0 15,0 0 1,0 0 0,1 0-1</inkml:trace>
  <inkml:trace contextRef="#ctx0" brushRef="#br1" timeOffset="174203.75">238 11893 0,'-13'0'16,"26"0"-16,-13-26 47,13 26-47,1-14 0,-1 14 15,0-13-15,0 0 0,14 0 0,-14-1 16,13 1-16,1 0 0,-14 0 0,14 0 15,-14-1-15,0 1 0,13 0 16,-12 13-16,-1-13 0,0-1 16,0 14-16,1 0 0,-14-13 15,13 13-15,-26 27 47,-1-27-47,14 13 0,-13 0 16,0 0-16,0 1 0,-1-14 15,1 13-15,0 0 0,0 0 0,0 0 16,-1 1-16,1-1 0,0 0 16,0 0-16,-1-13 0,1 14 0,0-1 15,0-13-15,0 13 0,-1 0 16,1-13-16,13 13 16,-13-13-16,0 14 15,39-28 16,-26 1-15,13 13-16,1-13 0,-1 13 0,0-13 16,0 13-16,0-13 15,1-1-15,-1 1 0,0 13 0,0-13 16,1 0-16,-1-1 0,0 14 0,0-13 16,0 0-16,1 13 15,-14-13-15,13 13 0,0-13 16,0-1-1,1 14 1,-14-13 0,13 13 15,-13 13 172,0 1-187,0-1-16</inkml:trace>
  <inkml:trace contextRef="#ctx0" brushRef="#br1" timeOffset="176208.02">1296 12541 0,'-13'-13'16,"26"0"15,1 0-15,-1 13-16,-13-14 0,26 1 0,-12 0 15,-1 13-15,13-13 0,27-27 16,-26 27-16,12-14 0,-12 14 16,-1-13-16,1 12 0,-1 1 15,1 0-15,-14 0 0,13-1 0,-12 1 16,-1 13-16,0-13 0,0 0 15,0 13-15,1-13 0,-1 13 0,0-14 16,0 14 0,-26 14 31,13-1-47,-13-13 0,0 13 15,13 0-15,-14 0 0,1 1 0,0-14 16,0 13-16,0 0 0,-1 14 15,1-14-15,-13 0 0,12 0 0,1 0 16,-13 1-16,13-1 0,-1 0 16,1 0-16,0 1 0,0-14 0,-1 13 15,1 0-15,0-13 0,13 13 0,-13-13 16,-1 14-16,1-14 16,13 13-16,-13-13 0,13 13 15,-13-13-15,39 0 47,-26-13-47,13 13 16,1-13-16,-1 13 0,0-14 15,0 1-15,1 13 0,-1-13 16,13 0-16,-12 13 0,-1-14 0,0 1 16,13 0-16,-12 0 0,-1 13 0,0-14 15,0 1-15,1 13 0,-1-13 16,0 13-16,0-13 0,0 0 15,1 13-15,-1-14 16,0 14-16,-13-13 16,13 13-16,1 0 31,-14-13-15,13 13-1,-13-13 173,0-1 124,0 1-249</inkml:trace>
  <inkml:trace contextRef="#ctx0" brushRef="#br0" timeOffset="182007.8">2183 12779 0,'26'-13'15,"-13"13"1,1 0-16,-1 0 15,-13 13-15,13-13 16,-13 14-16,0-1 0,0 0 16,0 0-16,0 1 15,0-1 1,13 0-16,1-13 16,-1 0-1,0 0-15,-13 13 16,13-13-16,1 0 15,-1 13 1,-13 1 0,-13-1-16,-1 0 15,1 0 1,0-13-16,13 14 0,-13-14 16,-1 13-16,1-13 0,0 13 15</inkml:trace>
  <inkml:trace contextRef="#ctx0" brushRef="#br0" timeOffset="182326.73">2051 12647 0,'-27'0'0,"27"13"0,-26 14 16,26-14 0,-14 0-16,14 0 0,0 14 0,0-14 15,0 14-15,0-14 0,0 13 0,0 1 16,14-1-16,-14 1 0,13-14 16,-13 13-16,13-12 0,0 12 15,1-13-15,-1 14 0,0-14 0,0-13 0,14 13 16,-14 0-16,0-13 0,0 0 15,1 0-15,12 0 0,-13 0 16,0-13-16,14 13 0,-14-13 0,14 0 16,-14 0-16,0-1 0,0 1 15</inkml:trace>
  <inkml:trace contextRef="#ctx0" brushRef="#br0" timeOffset="182642.24">2249 12568 0,'13'-14'15,"-26"28"-15,53-28 0,-27 14 0,-13 14 16,26-14-16,-12 0 0,12 13 15,0 0-15,1 0 0,26 27 16,-40-27-16,14 1 0,-14-1 0,0 13 16,0-13-16,-13 14 0,13-14 0,-13 14 15,0-14-15,0 13 16,0-12-16,0 12 0,-13-13 0,0 14 16,13-14-16,-13 0 0,-14 14 0,14-27 15,0 13-15,0-13 0,-14 13 16</inkml:trace>
  <inkml:trace contextRef="#ctx0" brushRef="#br0" timeOffset="189483.14">437 12065 0,'0'13'78,"13"-13"-78,-13 13 16,0 1-16,0-1 0,13 0 0,-13 0 15,13 14-15,0 13 0,1-14 16,-1 14-16,0-14 0,0 14 0,1-1 16,-1-12-16,0 13 0,0-14 0,1 14 15,-1-14-15,13 1 0,-13-1 16,1-13-16,-14 14 0,26-1 15,-13 1-15,-13-14 0,14 0 0,-1 0 16,-13 1-16,13-1 16,-13 0-16,0 0 15,13-13-15,-13 14 16,0-1 0,14 0 30,-1-26 17,0 13-63,0 0 16,0-13-1,1 13-15,-14-14 0,13 14 0,0 0 16,0-13-16,1 13 0,-1 0 0,0-13 15,0 13-15,0-13 16,1 13-16,-1 0 0,0-14 0,0 14 16,1 0-16,-1-13 0,0 13 15,0-13-15,1 13 0,-1-13 0,0 13 16,0-13-16,0 13 0,14-14 16,-14 14-16,0-13 0,1 13 0,-1 0 15,0-13-15,0 13 0,14-13 16,-14 13-16,0 0 0,0-14 0,1 14 15,-1-13-15,0 13 0,0 0 16,1-13-16,-1 13 0,0 0 16,0-13-16,1 13 0,-1 0 0,0-14 15,0 14-15,0 0 0,1-13 0,-1 13 16,0-13-16,0 13 16,1-13-16,-1 13 0,0-13 15,0 13-15,1-14 16,-1 14-16,0-13 0,0 13 15,0-13-15,1 0 0,-1 13 16,0-14-16,0 1 0,1 13 16,-1-13-16,0 0 15,0 13-15,-13-14 0,13 14 16,1 0-16,-14-13 0,13 13 0,0-13 16,0 13-1,-13-13-15,14 13 0,-1-13 0,0 13 16,-13-14-16,13 14 0,-13-13 15,14 13-15,-1-13 16,0 13-16,-13-13 0,13 13 16,0-14-16,1 1 15,-1 13 1,-13-13-16,13 13 0,-13-13 16,13 13-16,-13-13 0,14 13 0,-14-14 15,13 14-15,-13-13 0,13 0 16,0 13-16,-13-13 0,14 13 15,-14-14-15,13 14 0,-13-13 0,13 13 16,-13-13-16,13 13 0,-13-13 16,13 13-16,-13-14 0,14 1 15,-14 0-15,13 13 16,-13-13-16,13 13 16,-13-13-16,13-1 15,-13 1-15,14 0 16,-14 0-16,0-1 15,13 14-15,-13-13 16,0-13-16,0 12 16,0 1-1,0 0-15,0 0 16,0 0-16,0-1 16,-13 14-16,13-13 0,0 0 15,-14 13-15,14-13 0,-13-1 16,13 1-16,-13 13 0,13-13 15,-13 13-15,13-13 0,-14 0 16,1 13-16,13-14 0,-13 14 0,0 0 16,13-13-16,-13 0 0,-1 0 15,1 13-15,0-14 16,0 14-16,13-13 0,-14 13 16,1-13-16,0 0 15,0 13-15,13-14 0,-14 14 16,1-13-16,0 13 15,13-13-15,-13 13 0,0-13 0,-1 13 16,14-13-16,-26-1 0,13 14 16,-1 0-16,1-13 0,0 13 15,0 0-15,-1-13 0,1 13 16,0 0-16,0 0 0,0-13 16,-14 13-1,14 0 1,0 0-16,-1 0 15,1 0-15,0 0 16,0 0-16,0-14 16,-1 14-1,1 0-15,0 0 16,0 14-16,-1-14 16,1 0-16,0 0 15,0 0-15,-1 0 16,1 0-16,0 0 15,0 0-15,0 0 16,-1 0-16,1 13 0,0-13 16,0 0-16,-1 0 15,1 0-15,0 0 16,0 13-16,-1-13 16,1 0-16,0 13 0,0-13 15,0 0-15,-1 14 0,1-14 16,0 0-16,0 13 15,-1-13-15,1 13 0,0-13 16,0 0 0,13 13-16,-14-13 0,1 0 15,13 13-15,-13-13 16,0 14-16,0-14 16,-1 0-16,1 13 15,0-13-15,0 0 16,-1 13-16,1-13 0,0 0 15,0 13-15,-1-13 16,1 0-16,0 0 0,0 14 16,0-14-16,-1 0 15,1 0-15,13 13 0,-13-13 0,0 0 16,-1 13 0,1-13-16,0 13 0,0-13 15,0 14 1,-1-14-16,1 0 15,13 13-15,-13-13 0,0 0 16,13 13-16,-14-13 0,1 13 16,0-13-1,0 13-15,-1-13 16,1 14 0,0-14-16,0 13 15,0-13 1,-1 13-16,1-13 15,13 13-15,-13-13 16,0 0-16,13 14 0,-14-14 16,14 13-1,-13-13-15,13 13 0,-13-13 16,13 13-16,-13-13 16,-1 13-16,14 1 15,-13-14-15,13 13 0,-13-13 16,13 13-16,-13 0 0,13 1 15,-13-14-15,13 13 16,-14-13-16,14 13 0,0 0 0,-13-13 16,13 14-16,0-1 15,13-13 17</inkml:trace>
</inkml:ink>
</file>

<file path=ppt/ink/ink16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3:13:32.372"/>
    </inkml:context>
    <inkml:brush xml:id="br0">
      <inkml:brushProperty name="width" value="0.05292" units="cm"/>
      <inkml:brushProperty name="height" value="0.05292" units="cm"/>
      <inkml:brushProperty name="color" value="#0070C0"/>
    </inkml:brush>
  </inkml:definitions>
  <inkml:trace contextRef="#ctx0" brushRef="#br0">20757 1429 0,'0'39'15,"0"-25"1,0 12-16,0-13 0,0 1 16,0-1-16,0 0 0,13 0 0,-13 1 15,0-1-15,0 0 0,0 0 16,0 0-16,0 1 16,0-1-16,0-40 31,0 14-31,-13 0 15,13-13-15,0 12 0,0 1 16,-14 0-16,14 0 0,0-1 0,0 1 16,0 0-16,0 0 15,0-1 17,27 28-17,-14-14-15,0-14 16,0 14-16,1-13 15,-1 0-15,0 0 16,-13 0-16,13 13 0,1-14 0,-14 1 16,13 13-16,-13-13 0,13 13 0,-13-13 15,13 13-15,1 0 16,-14 13-16,13-13 0,-13 13 16,13 0-16,-13 1 0,13-1 15,-13 0-15,13 0 0,-13 14 0,14-14 16,-14 0-16,0 0 0,13 1 0,-13-1 15,0 0-15,0 0 0,0 1 16,13-14-16,-13 13 0,13 0 16,1-26-1</inkml:trace>
  <inkml:trace contextRef="#ctx0" brushRef="#br0" timeOffset="433.91">21233 1376 0,'0'-13'15,"0"39"17,0-13-17,0 1-15,0-1 0,0 0 0,13 0 16,-13 0-16,0 1 0,0-1 0,0 0 16,0 0-16,13 1 0,-13-1 15,0 0-15,0 0 16,0 1-16,-13-41 31,13 1-31,0 12 16,0-12-16,-13-1 0,13 1 15,0 13-15,0-14 0,0 14 0,0-13 16,13 12-16,-13 1 0,0 0 0,0 0 16,13 13-16,0-14 0,1 14 15,-1 0-15,0 0 16,0 0-16,1 14 0,-14-1 0,13 0 15,-13 0-15,13 1 0,-13-1 16,0 0-16,0 0 0,-13 1 0,13-1 16,-13 13-16,13-13 0,-14 1 0,1 12 15,13-13-15,-13 1 0,0-1 0,-1-13 16,14 13-16,-13 0 16,0-13-16,13 14 0,-13-14 15</inkml:trace>
  <inkml:trace contextRef="#ctx0" brushRef="#br0" timeOffset="640.91">21630 1323 0,'66'-40'15,"-53"40"-15,0-13 16,1 13-16,-1 0 0,0 0 0,0-13 16,0 13-16,1 0 15,-1 0-15,-13 13 16</inkml:trace>
  <inkml:trace contextRef="#ctx0" brushRef="#br0" timeOffset="811.84">21683 1442 0,'0'0'0,"-14"0"16,54 0 15,-27-13-15,1 13-16,-1 0 0,0-13 16,0 13-16,0 0 0,1-14 0,12 14 15,-13-13-15,1 13 0,-1-13 0,0 0 16</inkml:trace>
  <inkml:trace contextRef="#ctx0" brushRef="#br0" timeOffset="1014.74">22119 1124 0,'0'-13'16,"13"40"15,-13-14-31,14 0 0,-14 14 15,0-14-15,13 0 0,-13 0 0,0 14 16,0-14-16,13 13 0,-13-12 0,0-1 16,0 0-16,0 0 0,13 1 15,-13-1-15,0 0 0,0 0 16</inkml:trace>
  <inkml:trace contextRef="#ctx0" brushRef="#br0" timeOffset="1379.8">22318 1138 0,'26'-14'0,"-52"28"0,65-28 15,-25 14-15,-1-13 0,0 26 16,0 1-1,-13-1-15,0 0 0,-13 0 16,13 1-16,-13-1 0,0 13 16,-1-12-16,14 12 0,-13-13 0,0 0 15,13 1-15,-13-1 0,13 0 16,-14 0-16,14 1 16,14-1-1,-1 0-15,0-13 0,0 0 16,-13-13-16,27 13 0,-14 0 15,0 0-15,0-13 0,14-1 0,-14 14 16,0-13-16,1 13 0,-1-13 0,0 13 16,0-13-16,0 13 0,-13-14 15,14 14-15</inkml:trace>
  <inkml:trace contextRef="#ctx0" brushRef="#br0" timeOffset="1527.16">22648 1217 0,'0'-13'31</inkml:trace>
  <inkml:trace contextRef="#ctx0" brushRef="#br0" timeOffset="2279.79">22688 1005 0,'13'-13'15,"0"13"1,1-13-16,-1 13 15,0 0 1,0 0-16,1 0 16,-1 0-16,-13 13 15,13-13-15,-13 13 0,13 1 0,-13-1 16,14 0-16,-14 0 0,0 14 16,13-14-16,-13 0 0,13 0 0,-13 1 15,0 12-15,0-13 0,13 1 16,-13-1-16,0 0 0,0 0 0,0 1 15,13-1-15,-13 0 0,0 0 16,14 0 0,-14 1-1</inkml:trace>
  <inkml:trace contextRef="#ctx0" brushRef="#br0" timeOffset="2499.77">22714 1230 0,'0'-13'0,"-13"13"31,26-13-31,1 0 0,-1 13 15,0-14-15,0 14 0,1-13 0,-1 13 16,13-13-16,-12 13 0,12 0 16,-13-13-16,14 13 0,12-14 15</inkml:trace>
  <inkml:trace contextRef="#ctx0" brushRef="#br0" timeOffset="2654.04">23178 1098 0,'0'-13'16,"13"13"31</inkml:trace>
  <inkml:trace contextRef="#ctx0" brushRef="#br0" timeOffset="3083.95">23336 966 0,'0'0'0,"13"0"0,1 0 32,-14 13-32,0 0 15,0 0-15,0 1 0,-14-1 16,14 0-16,-13 0 15,13 1-15,0-1 0,-13-13 16,13 13-16,13 0 16,0 0-16,1-13 15,-1-13-15,0 13 16,0 0-16,14 0 0,-14 0 0,0 0 16,1 0-16,-1-13 0,0 13 0,0 0 15,-13 13-15,13-13 16</inkml:trace>
  <inkml:trace contextRef="#ctx0" brushRef="#br0" timeOffset="4132.84">21960 1746 0,'53'-39'16,"-26"25"-16,-1 1 0,14 0 16,13 0-16,13-14 0,0 14 0,14-13 15,-14 12-15,0-12 0,13 13 0,1-1 16,-14 1-16,13 0 0,-13-14 0,0 14 15,1 0-15,-28 13 0,14-13 16,0 0-16,-13 13 0,-1-14 0,1 1 16,0 13-16,-14 0 0,1-13 0,-1 13 15,14-13-15,-14 13 16,1 0-16,-1-14 0,-13 14 0,14-13 16,-1 13-16,-12 0 0,12-13 0,-13 13 15,1-13-15,12 13 0,-13-14 0,14 14 16,-14 0-16,0-13 0,0 0 15,14 13-15,-14-13 0,0 0 0,0-1 16,14 1-16,-14 0 0,0 0 0,1-1 16,-1 1-16,0 0 0,0 0 15,1-14-15,-1 14 0,-13 0 0,13-14 16,-13 14-16,0 0 0,0-14 0,0 14 16,0-13-16,-13 12 0,0-12 0,-1 0 15,-12-14-15,13 13 0,-14 1 16,1 0-16,-1-14 0,-12 13 0,12 1 15,1 13-15,-14-14 0,14 1 16,-14 13-16,13-14 0,-12 14 0,-1-14 16,0 14-16,1 0 0,-1 13 15,0-13-15,-13-1 0,14 14 0,-14 0 16,0-13-16,0 13 0,0 0 0,-13 0 16,13 13-16,-26-13 0,12 0 0,-12 0 15,13 14-15,-14-14 0,14 13 16,13-13-16,1 0 0,-1 13 15,0-13-15,-13 13 0,13-13 0,-27 14 0,27-14 16,0 13-16,1-13 16,-15 13-16,1-13 0,0 13 0,13 1 15,0-14-15,14 13 0,-14 0 0,-14 0 16,15 0-16,12 1 0,-66-1 16,66 0-16,1 0 0,-1 1 15,0-1-15,1 0 0,-1 0 0,13 1 16,-12-1-16,12 0 0,-12 13 0,12-12 15,1-1-15,-14 0 0,14 0 16,-1 14-16,1-14 0,-1 0 0,1 0 16,-1 1-16,1-1 0,13 0 15,-14 14-15,1-14 0,12 13 0,-12 1 16,13-1-16,-14 1 0,14-14 16,0 13-16,0 1 0,13-1 0,-14 1 15,14-14-15,-13 13 0,13 1 0,-13-1 16,13 1-16,0-14 0,0 14 0,0-1 15,13 0-15,-13 1 0,13-1 16,-13 14-16,27 13 0,-1-13 16,-12-14-16,12 1 0,0-1 0,14-13 15,-13 14-15,12-14 16,14 13-16,0 1 0,-13-14 0,26 0 16,0 1-16,0-14 0,0 13 0,1 0 15,12-13-15,-26 0 0,13 0 0,-13 0 16,26 0-16,-13-13 0,80 0 15,-106 13-15,13-14 0,-1 14 16,-12-13-16,0 0 0,-14 13 0,1-13 16,-1 13-16,-13-14 0,14 14 15,-14 0-15,0 0 0</inkml:trace>
  <inkml:trace contextRef="#ctx0" brushRef="#br0" timeOffset="5034">22066 2408 0,'0'13'0,"-13"-13"31,26-13-15,0-1-16,-13 1 0,14 0 15,-14 0-15,0 0 0,13-1 0,-13-12 16,0 13-16,13-1 0,-13 1 16,0 0-16,0 0 0,13-1 15,-13 1-15,0 0 16,0 39 31,0-12-47,14-1 0,-1-13 15,-13 13-15,13-13 16,0 0-16,1 0 16,-1-13-16,0 13 0,-13-13 15,13-1-15,0 14 0,-13-13 0,14 13 16,-14-13-16,13 13 0,-13-13 16,13 0-1,0 26 1,-13 0-16,0 0 15,14 0-15,-14 1 0,0-1 16,13 0-16,-13 0 16,13 1-16,0-1 0,1-13 15,-1 0-15,0 0 16,0 0-16,0 0 0,1 0 0,-1-13 16,0 13-16</inkml:trace>
  <inkml:trace contextRef="#ctx0" brushRef="#br0" timeOffset="5214.81">22582 2117 0,'0'0'16,"0"-14"-16,13 14 0,-13-13 15,14 13-15,-1 0 16,-13-13-16,13 13 0,0 13 15</inkml:trace>
  <inkml:trace contextRef="#ctx0" brushRef="#br0" timeOffset="5375.22">22529 2222 0,'0'0'15,"27"0"16,-14 0-31,0 0 0,0-13 16,1 13-16,-1-13 0,0 0 0,0 13 16,14-13-16,-14 13 0,13-14 15</inkml:trace>
  <inkml:trace contextRef="#ctx0" brushRef="#br0" timeOffset="5860.19">23125 1905 0,'26'-13'15,"-13"13"-15,14 0 16,-14 0 0,0 13-16,-13 0 15,0 0 1,0 1-16,13-1 15,-13 0-15,14-13 16,-14 13-16,13-13 16,0 14-16,0-14 0,1 13 15,-1-13-15,-13 13 16,13 0-16,-26 1 31,13-1-31,-13-13 0,13 13 0,-14-13 16,14 13-16,-13-13 0,0 0 0,0 13 15,-1-13 1</inkml:trace>
  <inkml:trace contextRef="#ctx0" brushRef="#br0" timeOffset="6200.17">23469 1799 0,'13'-13'15,"0"0"1,13 26-1,-26 0-15,14-13 16,-14 13-16,0 1 0,0-1 16,0 0-16,13-13 0,-13 13 0,0 1 15,0-1-15,13 0 0,-13 0 0,0 0 16,0 1-16,13-1 16,-13 0-16,0 0 0,0 1 15,14-1-15,-14 0 16</inkml:trace>
  <inkml:trace contextRef="#ctx0" brushRef="#br0" timeOffset="6382.17">23455 1971 0,'-13'0'16,"26"-13"-16,1 0 15,-1 13-15,0-14 0,0 14 16,0-13-16,1 13 0,12-13 0,-13 0 16,14 13-16,-14-13 0,14 13 0,-14-14 15,0 14-15</inkml:trace>
  <inkml:trace contextRef="#ctx0" brushRef="#br0" timeOffset="6675.35">23905 1733 0,'0'13'31,"-13"0"-31,13 1 0,-13-14 16,13 13-16,-14 0 0,14 0 16,-13-13-16,13 14 0,-13-1 15,13 0-15,-13-13 0,13 13 0,0 1 16,0-1-16,0 0 15,0 0-15,13-13 16,0 13-16,0-13 16,1 0-16,-1 0 0,0 0 0,0 0 15,1-13-15,-1 13 0,0-13 16,0 13-16,0-13 0,1 0 16,-1-1-16</inkml:trace>
  <inkml:trace contextRef="#ctx0" brushRef="#br0" timeOffset="6861.45">23932 1773 0,'-14'13'15,"1"0"-15,13 0 0,0 1 0,0-1 16,0 0 0,0 0-16,0 1 0,0-1 0,13 0 15,-13 0-15,0 0 0,14 1 0,-14-1 16,13 0-16,-13 0 0,13 1 15,-13-1-15,13 0 0,-13 0 16,0 1-16,0-1 0,0 0 0,0 0 16</inkml:trace>
  <inkml:trace contextRef="#ctx0" brushRef="#br0" timeOffset="7121.74">22648 2474 0,'14'-13'0,"-28"26"0,54-40 0,-14 1 0,14 13 16,0-14-16,26 14 0,0-13 16,0-1-16,14 14 0,-14-14 15,13 14-15,1-13 0,-14 12 0,13 1 16,0-13-16,-12 13 0,-1-1 0,-13 1 15,0 0-15,-14 13 0,1-13 16,-14 13-16,1-14 0,-14 14 0,0 0 16</inkml:trace>
  <inkml:trace contextRef="#ctx0" brushRef="#br0" timeOffset="7401.72">22714 2461 0,'80'-27'0,"-40"14"15,-1 0-15,14-1 0,13 1 0,-13 0 16,13 0-16,133-14 16,-160 14-16,14 0 0,0 13 15,-13-13-15,0 13 0,-14-14 0,1 14 16,-14 0-16,13-13 0,-12 13 0,-1 0 15,0 0-15,0 0 0,0 0 16,1-13-16,-41 13 47,14 0-47,0 0 0</inkml:trace>
  <inkml:trace contextRef="#ctx0" brushRef="#br0" timeOffset="22167.04">20201 8744 0,'-13'-13'15,"-1"13"1,14 13 0,-13-13-16,13 14 15,-13-1-15,13 0 0,0 0 16,-13 1-16,13-1 0,0 13 0,0-12 15,-13-1-15,13 0 0,0 0 0,0 0 16,13 14-16,-13-14 0,0 0 16,13 1-16,-13-1 0,13 0 15,0-13-15,-13 13 0,14-13 0,-1 0 16,0 0-16,14 0 16,-14-13-16,-13 0 15,13 0-15,-13-1 16,0 1-1,-13 13-15,13-13 0,0 0 16,-13 13-16,-1-14 16,1 14-16,0 0 15,0 0-15,-1 14 0,1-14 16,0 13 0</inkml:trace>
  <inkml:trace contextRef="#ctx0" brushRef="#br0" timeOffset="22527.71">20346 8850 0,'14'-13'32,"-14"40"-32,0-14 15,0 0-15,0 0 16,0 0-16,13 1 15,-13-1-15,13-13 0,-13 13 0,13-13 16,1 13-16,-1-13 0,0 0 16,0 0-16,1 0 15,12 0-15,-26-13 16,13 13-16,-13-13 0,0 0 16,0-1-16,13 14 0,-13-13 15,0 0-15,-13 0 0,13 0 0,-13-1 16,13 1-16,-13 13 0,13-13 0,-13 13 15,-1-13-15,1 13 16,0 0-16,0 0 0,-1 0 0,1 0 16,0 13-16,0-13 0,-1 13 15,28-13 1</inkml:trace>
  <inkml:trace contextRef="#ctx0" brushRef="#br0" timeOffset="22809.82">20624 8797 0,'0'0'16,"14"0"-16,-14 14 16,0-1-16,13-13 15,-13 13-15,0 0 0,0 1 16,13-14-16,-13 13 0,13-13 16,-13 13-16,13-13 15,1 0-15,-1 13 0,0-13 0,0-13 16,1 13-16,-1 0 0,0-13 15,0 0 1,-13-1-16,0 1 16,0 0-16,-13 0 0,13-1 15,-13 14-15,0-13 0,-1 13 0,1 0 16,0-13-16,-14 13 0,14 0 16,0 13-16,0-13 0,-14 0 0,14 13 15,-13-13-15,12 14 0,1-1 0,0 0 16</inkml:trace>
  <inkml:trace contextRef="#ctx0" brushRef="#br0" timeOffset="23947.83">20373 9499 0,'-27'26'31,"14"-26"-31,0 13 0,0 0 16,-14 1-16,14-1 0,0 0 0,0 0 16,-1 1-16,1-1 0,0 0 0,13 0 15,-13-13-15,13 14 0,-14-1 16,14 0-16,0 0 15,0 0-15,14-13 16,-14 14-16,13-14 16,0 0-16,0 13 0,1-13 0,-1 0 15,0 0-15,14 0 0,-14 0 0,0 0 16,0 0-16,0 0 0,1 0 16,-1 0-16,0 0 0,0 0 15,1-13-15,-1 13 0,0-14 16,-13 1-16</inkml:trace>
  <inkml:trace contextRef="#ctx0" brushRef="#br0" timeOffset="24167.1">20399 9538 0,'-13'-13'0,"0"13"32,0 13-32,-1 0 0,1 1 15,13-1-15,-13 0 0,13 0 16,0 1-16,-13-1 0,13 13 15,-13-12-15,13 12 0,0-13 0,0 0 16,0 14-16,0-14 0,0 14 0,0-14 16,0 0-16,0 0 0,0 0 15,0 1-15,0-1 0,13-13 16,-13 13-16,13-13 16</inkml:trace>
  <inkml:trace contextRef="#ctx0" brushRef="#br0" timeOffset="24570.98">20492 9591 0,'13'-26'15,"0"26"1,1 0-16,-1 0 16,0 0-16,0 13 15,1-13-15,-14 13 0,13-13 16,-13 13-16,13-13 0,-13 14 15,0-1-15,0 0 0,13 0 16,-13 1-16,0-1 0,-13 0 16,13 0-16,0 0 0,0 1 15,0-1-15,0 0 16,0 0-16,0 1 0,0-1 16,13-13-16</inkml:trace>
  <inkml:trace contextRef="#ctx0" brushRef="#br0" timeOffset="25044.86">20518 9684 0,'-13'0'15,"40"-13"32,-14 13-47,13 0 0,-12 0 16,-1-14-16,13 14 0,1 0 15,-14-13-15,13 0 0,1 13 16,-1-13-16,1 13 0,-14-14 0,0 14 16,0-13-16,1 13 0,-1-13 0,0 13 15,0-13-15,-26 39 63,13-13-63,0 1 15,0-1-15,0 0 0,13-13 16,-13 13-16,14-13 0,-1 0 16,0 14-16,0-14 0,1-14 15,-1 14-15,0 0 16,0-13-16,0 0 0,1 0 15,-14-1-15,0 1 16,0 0-16,-14 13 0,14-13 16,-13 13-16,0-14 0,0 14 0,0 0 15,-1 0-15,-12 0 0,-1 0 16,14 14-16,-13-14 0,-1 13 0,14 0 16,-13 0-16,-1 1 0,14-1 15</inkml:trace>
  <inkml:trace contextRef="#ctx0" brushRef="#br0" timeOffset="25960.26">20518 10226 0,'0'13'15,"14"-13"-15,-14 14 16,0-1-16,0 0 0,0 0 16,0 1-16,0 12 0,0-13 0,0 0 15,0 14-15,0-14 0,0 0 0,0 1 16,0-1-16,-14 0 16,14 0-16,0 1 0,0-1 0,0 0 15,14 0-15,-14 0 16,13-13-1</inkml:trace>
  <inkml:trace contextRef="#ctx0" brushRef="#br0" timeOffset="26391.65">20809 10279 0,'0'-13'15,"14"13"1,-1-13-1,0 13-15,0 0 16,1 0 0,-1 0-16,-13 13 0,13-13 15,-13 13-15,13-13 0,-13 13 16,0 1-16,0-1 0,14 0 16,-14 0-16,0 0 0,0 1 15,0-1-15,0 0 0,0 0 0,0 1 16,0-1-16,0 0 0,0 0 15,0 1-15,0-1 16,0 0-16,0 0 0,0 0 16,13-13-1</inkml:trace>
  <inkml:trace contextRef="#ctx0" brushRef="#br0" timeOffset="26851.08">20823 10451 0,'-14'0'15,"41"-13"1,-14 13 0,0 0-16,1 0 0,-1-13 15,0 13-15,0 0 0,1-14 16,-1 14-16,13 0 0,-13-13 0,1 13 15,12-13-15,-13 13 0,14-13 0,-14 13 16,-13-14-16,13 14 0,1-13 16,-1 0-16,0 13 15,-39 13 17,26 0-17,0 1-15,0-1 0,0 0 16,0 0-16,13 1 15,0-1-15,0-13 0,0 13 16,1-13-16,-1 0 0,0 0 16,0 0-16,14 0 0,-14 0 15,0-13-15,0 13 0,1 0 0,-1-13 16,-13-1-16,13 14 0,-13-13 0,13 0 16,-13 0-16,0-1 0,-13 14 0,13-13 15,-13 0-15,13 0 0,-13 13 16,-14-13-16,14 13 0,0-14 0,0 14 15,-14 0-15,14 14 0,0-14 0,-14 0 16,14 13-16</inkml:trace>
  <inkml:trace contextRef="#ctx0" brushRef="#br0" timeOffset="27794.23">20902 10901 0,'0'0'0,"-26"13"16,12 0 0,1 1-16,0-1 0,0 0 0,-1 0 15,-12 0-15,13 1 0,0-1 0,-1 0 16,-12 0-16,13 1 0,13-1 16,-14 0-16,1 0 0,0 0 0,13 1 15,-13-14-15,13 13 0,0 0 16,0 0-1,13-13-15,0 0 0,-13 14 0,13-14 16,14 0-16,-14 0 0,0 0 0,14 0 16,-14 0-16,40 0 15,-40 0-15,14 0 0,-14 0 16,0-14-16,0 14 0,1 0 0,-1-13 16,0 13-16,-13-13 0</inkml:trace>
  <inkml:trace contextRef="#ctx0" brushRef="#br0" timeOffset="28027.12">20796 10941 0,'-13'0'0,"26"0"0,-26 13 0,0-13 16,13 13-16,0 0 15,0 0-15,0 1 0,0 12 0,0-13 16,0 14-16,-13-14 0,13 13 0,0 1 15,0-14-15,0 14 0,0-1 16,13-13-16,-13 14 0,0-14 0,0 0 16,0 0-16,0 1 0,0-1 0,0 0 15,13 0-15,0-13 16,-13 14-16</inkml:trace>
  <inkml:trace contextRef="#ctx0" brushRef="#br0" timeOffset="28490.97">21153 10954 0,'0'0'0,"14"0"16,-1 0-16,0 13 16,-26 0-1,0 0-15,13 1 0,-14-14 16,14 13-16,-13-13 0,13 13 15,0 0-15,0 1 16,13-14-16,-13 13 16,14-13-16,-1 13 15,0 0-15,-13 0 16,0 1 0,0-1-16,-13 0 15,0 0-15,-1 1 16,1-14-16,0 13 0,13 0 0,-13-13 15,0 13-15</inkml:trace>
  <inkml:trace contextRef="#ctx0" brushRef="#br0" timeOffset="28788.01">21272 11046 0,'14'14'31,"-14"-1"-31,0 0 16,0 0-16,13-13 0,-13 13 16,0 1-16,13-14 0,-13 13 15,13-13-15,1 13 0,-1-13 0,0 0 16,14 0-16,-14 0 0,0 0 16,0-13-16,14 0 0,-14 13 15,0-14-15,-13 1 0,13 0 0,-13 0 16,14 0-16,-14-1 0,0 1 0,-14 0 15,14 0-15,-13-1 0,13 1 0,-13 0 16,0 13-16,-1-13 0,1 13 16,0 0-16,0 0 0,-14 0 0,14 0 15,0 13-15,-14 0 0,1 0 16,13 1-16,-14-1 0,1 13 16,-1-12-16,1 12 0</inkml:trace>
  <inkml:trace contextRef="#ctx0" brushRef="#br0" timeOffset="29411.86">20796 11840 0,'13'0'16,"-26"0"-16,40 0 15,-14 0-15,-13 13 16,0 1-16,0-1 15,0 0-15,0 0 16,-13 0-16,26 1 31,0-14-31,0 0 16,-13 13-16,14-13 16,-1 0-16,0 13 0,0-13 15,-13 13-15,14 1 16,-28-1-1,14 0-15,-13-13 0,0 13 16,0 1-16,-1-14 0,1 13 16,0-13-16,0 13 0,-1-13 15,1 0-15,13 13 0,-13-13 16</inkml:trace>
  <inkml:trace contextRef="#ctx0" brushRef="#br0" timeOffset="29769.95">21048 11827 0,'13'0'0,"-26"13"32,13 0-32,-14 1 15,14-1-15,0 0 0,0 0 16,14 0-16,-14 1 15,13-1-15,0 0 16,0-13-16,1 13 0,-1-13 16,0 0-16,0 0 0,0 0 15,1-13-15,-1 13 0,0-13 16,0 0-16,-13-1 0,0 1 16,0 0-16,0 0 15,-13 0-15,13-1 0,-13 1 16,13 0-16,-13 13 0,-1-13 0,1 13 15,0-14-15,0 14 16,-14 14 0,14-1-1</inkml:trace>
  <inkml:trace contextRef="#ctx0" brushRef="#br0" timeOffset="30058.84">21272 11774 0,'14'0'0,"-1"53"31,-13-40-31,0 0 16,0 1-16,13-14 0,-13 13 16,13-13-16,-13 13 0,14-13 15,-1 0-15,0 0 0,0 0 16,1-13-16,-1 13 0,0-13 0,0 13 15,0-14-15,1 1 0,-14 0 16,13 0-16,-13-1 0,0 1 0,13 0 16,-13 0-16,-13 0 0,13-1 15,-13 14-15,13-13 0,-14 13 16,1-13-16,0 13 0,0 0 0,0 0 16,-1 0-16,1 13 0,0-13 15,0 0-15,-14 13 0,14-13 0</inkml:trace>
  <inkml:trace contextRef="#ctx0" brushRef="#br0" timeOffset="31372.07">20373 8162 0,'-13'14'31,"13"-1"-31,0 0 0,0 0 0,-14 1 16,14-1-16,0 13 0,-13-13 15,13 1-15,0-1 0,0 0 0,-13 14 16,13-14-16,0 0 0,0 0 16,-13 1-16,13-1 0</inkml:trace>
  <inkml:trace contextRef="#ctx0" brushRef="#br0" timeOffset="31585.95">20214 8215 0,'0'0'0,"27"14"31,-14-14-31,0 13 16,14 0-16,-14-13 0,0 13 0,0-13 16,14 13-16,-14 1 0,0-14 0,0 13 15,14 0-15,-14-13 0,0 13 16,1-13-16,-1 14 0,0-14 15,0 13-15,0-13 0</inkml:trace>
  <inkml:trace contextRef="#ctx0" brushRef="#br0" timeOffset="32367.12">22741 8017 0,'0'0'0,"-13"13"16,-1 0-1,14 1-15,-13-1 0,0 0 0,13 13 16,-13-12-16,0 12 0,-1-13 0,1 14 15,0-14-15,0 14 16,-1-14-16,1 13 0,0-13 0,13 1 16,-13-1-16</inkml:trace>
  <inkml:trace contextRef="#ctx0" brushRef="#br0" timeOffset="32574.69">22490 8123 0,'13'-14'32,"0"28"-17,0-1-15,0 0 0,1-13 16,-1 13-16,-13 1 0,13-1 16,0-13-16,1 13 0,-1 0 15,0 1-15,0-14 0,1 13 0,-1 0 16,0-13-16,0 0 0,0 13 15</inkml:trace>
  <inkml:trace contextRef="#ctx0" brushRef="#br0" timeOffset="32786.92">22873 8189 0,'13'-13'16,"1"13"-16,12-14 15,-13 14 1,1 0-16,-1 0 16,0 0-16,0 0 0</inkml:trace>
  <inkml:trace contextRef="#ctx0" brushRef="#br0" timeOffset="33348.93">23191 8215 0,'13'-26'47,"-13"13"-47,13-1 0,-13 1 16,0 0-16,0 0 0,0-1 0,0 1 15,13 13-15,-13-13 0,0 0 16,0 0-16,0-1 15,-26 41 32,26-14-47,0 0 16,13-13-16,-13 13 0,13 1 16,1-14-1,12 0-15,-13 0 16,1-14-16,-1 14 0,0 0 15,0-13-15,0 0 16,1 0-16,-1 13 16,0 0-1,-13 13 1,0 0 0,13 0-16,-13 1 15,0-1-15,14-13 16,-14 13-16,13-13 15,-13 13-15,13-13 0</inkml:trace>
  <inkml:trace contextRef="#ctx0" brushRef="#br0" timeOffset="34886.75">22503 8625 0,'13'-13'16,"53"13"0,-53 13-1,-13 1-15,14-1 16,-14 0-16,-14 0 0,14 1 15,-13-1-15,13 13 0,-13-13 0,13 1 16,-13-1-16,-1 0 0,1-13 16,13 13-16,-13 1 0,13-1 15,-13-13-15,13 13 16,-13 0-16,26 1 31,0-14-15,0 0-16,0 0 0,14 0 15,-14 0-15,0 0 16,1-14-16,-1 14 0,0 0 0,0 0 16,1-13-16,12 13 0,-13-13 0,0 13 15,1-13-15,12 13 0</inkml:trace>
  <inkml:trace contextRef="#ctx0" brushRef="#br0" timeOffset="35214.8">22847 8678 0,'-13'-13'15,"-1"13"1,1 13 0,0-13-16,13 14 15,0-1-15,0 0 16,0 0-16,0 0 0,13 1 16,0-14-16,-13 13 15,14-13-15,-1 0 0,0 0 16,0 0-16,0 0 0,1 0 31,-14-13-31,13-1 0,-26 1 16,13 0-1,0 0-15,-14 0 0,1 13 16,0-14 0,0 14-1,0 0 1</inkml:trace>
  <inkml:trace contextRef="#ctx0" brushRef="#br0" timeOffset="35529.83">23019 8572 0,'0'0'0,"0"-13"0,13 13 15,-13 27 16,-13-14-31,13 0 16,0 0-16,0 1 0,0-1 0,0 0 16,0 0-16,13 1 0,-13-1 15,0 0-15,13 0 0,0 0 0,1-13 16,-14 14-16,13-14 0,0 0 16,0 0-16,1 0 0,-1 0 0,0 0 15,0-14 1,1 14-1,-28-13-15,1 0 16,0 13-16,0 0 16,-1 0-16,1 0 0,0 0 15,0 0-15,-1 13 0,1-13 0,0 13 16,0-13-16,0 0 0,-1 14 0</inkml:trace>
  <inkml:trace contextRef="#ctx0" brushRef="#br0" timeOffset="39319.51">22595 9234 0,'-13'0'0,"26"0"0,1 0 47,-1-13-47,0 13 0,0 0 0,1 0 16,-1 0-16,0-13 0,0 13 0,0 0 16,1 0-1,-1 0-15,0 13 0,0-13 16,-13 13-16,14 0 0,-14 0 15,0 1-15,0 12 0,0-13 16,13 1-16,-13-1 0,0 0 0,0 0 16,0 14-16,0-14 0,-13 0 15,13 0-15,0 1 0,0-1 0,0 0 16,0 0-16,0 1 16,0-1-16,13 0 15</inkml:trace>
  <inkml:trace contextRef="#ctx0" brushRef="#br0" timeOffset="39518.71">22675 9432 0,'0'0'0,"-13"0"0,26-13 31,0 13-16,0 0-15,0 0 16,1 0-16,-1-13 0,13 13 0,-12 0 16,-1-13-16,13 13 0,1-14 0,-14 1 15,13 13-15,1-13 0,-14 0 16,14 13-16</inkml:trace>
  <inkml:trace contextRef="#ctx0" brushRef="#br0" timeOffset="39811.8">23125 9208 0,'-27'-14'31,"14"28"-15,13-1-16,-13-13 0,13 13 0,-14 0 15,14 0-15,-13 1 0,13-1 0,-13 13 16,13-12-16,0-1 0,0 0 0,0 0 16,0 0-16,0 1 0,13-1 15,0 0-15,1 0 16,-1-13-16,0 14 0,0-14 15,1 0 1,-28-27 15,1 27-31,0-13 16,0 26-16,-14-13 16,14 0-16,13 13 0,-13-13 15,0 14-15,-1-1 0,1-13 16</inkml:trace>
  <inkml:trace contextRef="#ctx0" brushRef="#br0" timeOffset="40427.33">22582 10081 0,'0'-14'15,"0"28"-15,13-28 16,1 1-16,-1 26 15,0-13-15,0 14 16,-13-1-16,0 0 16,0 0-16,0 1 0,-13-1 15,13 0-15,-13 0 0,0 0 16,-1 1-16,1-1 0,13 0 0,-13-13 16,13 13-16,-13-13 0,13 14 15,-14-1-15,41-13 31,-1 0-15,-12 0-16,-1 0 16,0 0-16,0 0 0,1 0 15,-1 0-15,0-13 0,0 13 0,0 0 16,1 0-16,-1-14 16,0 14-16,0 0 0,1-13 15</inkml:trace>
  <inkml:trace contextRef="#ctx0" brushRef="#br0" timeOffset="40771.99">22834 10001 0,'13'-13'16,"-26"26"-16,39-26 0,-13 13 0,0 0 15,1 0-15,-1 13 16,-13 0-1,0 1-15,-13-1 16,13 0-16,-14 0 0,14 1 16,-13-1-16,0 0 0,13 0 0,-13-13 15,13 14-15,0-1 0,-13-13 0,13 13 16,-14 0 0,28 0-1,-1-13 1,0 0-1,0 0-15,14 0 0,-14 0 16,0 0-16,0 0 0,1-13 16,-1 13-16,0 0 0,0 0 15,1 0-15,-1 0 16,-13-13-16</inkml:trace>
  <inkml:trace contextRef="#ctx0" brushRef="#br0" timeOffset="41134.87">23297 10014 0,'13'-13'0,"-40"26"31,27 1-31,-13-14 15,0 13-15,0-13 0,13 13 16,-14 0-16,1-13 0,13 14 0,-13-14 16,0 13-16,13 0 0,-13-13 15,13 13-15,0 1 16,13-14-16,0 13 16,0-13-16,0 0 0,1 0 15,-1 0-15,0 0 0,14 0 16,-14 0-16,0 0 0,13 0 0,-12 0 15,-1-13-15,0 13 0,0 0 16,1 0-16,-1 0 0,-13-14 0,13 14 16,0 0-16,-13-13 0,0 0 15</inkml:trace>
  <inkml:trace contextRef="#ctx0" brushRef="#br0" timeOffset="41335.67">23349 10001 0,'-13'27'16,"-13"26"0,26-40-1,-13 0-15,13 0 0,0 1 0,-14-1 16,14 13-16,0-13 0,0 1 16,0 12-16,-13-13 0,13 1 0,0-1 15,0 0-15,0 0 0,0 1 0,0-1 16,13-13-16,-13 13 0,0 0 15,14 0-15</inkml:trace>
  <inkml:trace contextRef="#ctx0" brushRef="#br0" timeOffset="42247.78">22794 10755 0,'0'-13'0,"26"13"32,-12 0-17,-1 13-15,-13 1 0,-13 12 16,13-13-16,-14 0 16,14 1-16,-13-1 15,13 0-15,-13-13 16,13 13-16,13-13 15,0 14-15,1-14 0,-1 0 16,0 0 0,0 0-16,0 13 0,1-13 15,-1 0-15,0 13 16,-26 14 0,0-27-16,13 13 15,-14-13-15,-12 13 0,13-13 0,0 13 16,-1-13-16,1 13 0,0-13 15,0 0-15,-1 0 0,1 0 16</inkml:trace>
  <inkml:trace contextRef="#ctx0" brushRef="#br0" timeOffset="42553.96">23098 10689 0,'0'0'0,"-13"13"32,13 1-32,0-1 0,-13 0 0,13 0 15,0 1-15,0-1 0,0 0 0,0 13 16,0-12-16,0-1 0,13 0 16,-13 0-16,13 1 0,0-14 15,1 13-15,-1-13 0,0 0 0,0 0 16,1 0-1,-1 0-15,-13-13 16,0-1-16,-13 14 16,13-13-16,-14 13 0,1 0 0,0 0 15,0 0-15,-1 0 0,1 13 16,0-13-16,0 14 0,-1-14 0,1 13 16,0 0-16,0 0 0,0 1 15,13-1-15</inkml:trace>
  <inkml:trace contextRef="#ctx0" brushRef="#br0" timeOffset="43659.81">23045 11576 0,'0'-14'0,"-13"1"31,0 0-31,0 13 0,13 13 16,-14-13-16,1 13 0,0-13 0,0 14 16,-1-14-16,14 13 15,-13 0-15,0 0 0,0 0 16,13 1-16,0-1 0,0 0 31,13-13-31,13-13 16,-12 13-16,-1-13 0,0-1 15,0 14-15,1-13 0,-1 13 0,0-13 16,0 13-16,0-13 16,1 26-1,-14 0-15,0 0 16,0 1-16,0-1 15,0 0-15,0 0 0,0 1 16,0-1-16,0 0 0,-14 0 0,14 1 16,0-1-16,0 0 0,-13 0 15,13 0-15,13-13 32</inkml:trace>
  <inkml:trace contextRef="#ctx0" brushRef="#br0" timeOffset="43986.75">23349 11576 0,'0'-14'0,"-13"41"31,0-27-31,13 13 0,-13-13 16,13 13-16,-13-13 0,-1 13 15,14 1-15,-13-14 0,13 13 16,-13 0-16,13 0 16,0 1-1,0-1-15,13-13 16,-13 13-16,13-13 0,1 0 16,-1 0-16,0 0 15,0 0-15,0 0 16,1 0-16,-1-13 15,0 13 1,-13-13-16,13 13 0,-13-14 16</inkml:trace>
  <inkml:trace contextRef="#ctx0" brushRef="#br0" timeOffset="44203.71">23376 11576 0,'-13'39'31,"13"-26"-31,0 1 0,0-1 16,0 0-16,0 0 0,0 14 0,0-14 15,0 14-15,0-14 0,0 13 0,0-13 16,0 1-16,0 12 0,13-13 16,-13 1-16,0-1 0,0 0 0,0 0 15,0 0-15,0 1 0,0-1 0,0 0 16,13 0-16</inkml:trace>
  <inkml:trace contextRef="#ctx0" brushRef="#br0" timeOffset="47306.02">22185 10306 0,'27'-14'32,"-14"14"-32,0 0 15,0-13-15,14 13 0,-14 0 0,14 0 16,-14-13-16,0 13 0,0 0 0,1 0 16,12 0-16,-13-13 0,0 13 15,1 0-15,-1 0 0</inkml:trace>
  <inkml:trace contextRef="#ctx0" brushRef="#br0" timeOffset="50090.97">22503 11774 0,'26'-13'32,"-13"13"-17,1 0-15,-1 0 16,0 0-16,0-13 15,1 13-15,-1 0 0,0 0 16,0 0 0,-39 13 31,13-13-32,-1 0-15,1 0 0,0 0 0,0 0 16,-1 0-16,1 13 0,0-13 15,0 0-15,-14 0 16,54-13 31,-14 13-47,0 0 16,0 0-16,1 0 0,-1 0 0,0-13 15,0 13-15,1 0 16,-1 0-16,-40 13 47,14-13-47,0 0 15,0 0-15,-1 0 16,-12 13-16,13-13 16,0 0-1,39-13 16,-13 13-31,0 0 0,1 0 0,-1-13 16,0 13-16,0 0 16,14 0-16,-14-14 15,-39 28 32,12-14-47,1 0 0,0 0 16,0 0-1</inkml:trace>
  <inkml:trace contextRef="#ctx0" brushRef="#br0" timeOffset="57562.97">24368 7924 0,'-26'40'31,"12"-27"-31,14 0 0,-13 1 16,0-1-16,13 0 0,-13 0 0,0 1 16,13-1-16,-14 13 0,1-13 0,0 1 15,13-1-15,-13 0 0</inkml:trace>
  <inkml:trace contextRef="#ctx0" brushRef="#br0" timeOffset="57796.21">24143 8043 0,'0'0'0,"13"0"16,1 0 0,12 14-16,-13-1 15,1-13-15,-1 13 0,0-13 0,0 13 16,1 0-16,-1-13 0,0 14 16,0-14-16,0 13 0,1 0 15</inkml:trace>
  <inkml:trace contextRef="#ctx0" brushRef="#br0" timeOffset="58103.93">24500 8043 0,'14'-13'31,"-1"13"-31,0 0 15,0 0-15,1 0 16</inkml:trace>
  <inkml:trace contextRef="#ctx0" brushRef="#br0" timeOffset="58729.04">24712 8109 0,'27'-13'62,"-27"0"-46,13 13-16,-13-13 16,13 0-16,-13-1 15,0 1-15,0 0 16,13 13-16,-13-13 0,0-1 0,0 1 15,0 0 1,0 53 31,0-27-31,13 0-16,-13 0 15,14-13-15,-1 0 16,0 0-1,0 0-15,-13-13 16,14 13-16,-1 0 0,-13-13 0,13 0 16,0 13-16,-13-14 15,14 14-15,-1-13 0,0 26 32,-13 1-17,0-1-15,0 0 0,0 0 16,0 1-1,0-1 1,-13-13-16</inkml:trace>
  <inkml:trace contextRef="#ctx0" brushRef="#br0" timeOffset="59166.77">24011 7845 0,'-13'13'0,"-27"67"31,40-67-31,0 13 0,0 1 16,0-14-16,0 13 0,13 1 0,-13-1 16,13 1-16,14-1 0,-14 1 0,0-1 15,14-13-15,-1 1 0,1-1 16,12 0-16,-12 0 0,-1-13 0,14 13 16,-13-13-16,12 0 0,1-13 0</inkml:trace>
  <inkml:trace contextRef="#ctx0" brushRef="#br0" timeOffset="59652.03">25003 7818 0,'13'0'0,"27"27"16,-27-14 0,0 0-16,1 1 0,-14-1 0,13 0 15,0 0-15,0 1 0,-13-1 0,14 0 16,-14 0-16,0 0 0,13 1 15,-13-1-15,0 0 16,0 0-16,0 1 0,-13-1 16,-1 0-1,1 0-15</inkml:trace>
  <inkml:trace contextRef="#ctx0" brushRef="#br0" timeOffset="59998.64">25175 7461 0,'66'13'16,"-66"1"0,13-1-16,1 0 15,-14 0-15,0 1 0,-14 12 0,14-13 16,-13 1-16,0 12 0,13-13 0,-13 0 16,0 1-16,13-1 15,-14 0-15,14 0 0,0 1 0,0-1 16,0 0-16,14-13 15,-1 13-15,0-13 16,13 0-16,-12 0 0,-1 0 0,13 0 16,-12 0-16,12-13 0,-13 13 0,1 0 15</inkml:trace>
  <inkml:trace contextRef="#ctx0" brushRef="#br0" timeOffset="71575.3">5609 10147 0,'0'-13'0,"0"-1"15,13 14-15,-13-13 0,14 13 0,-14-13 16,13 13-16,0-13 0,0 13 0,1 0 15,-1 0-15,0 0 0,0 0 16,0 0-16,1 0 0,-1 13 0,0 0 16,-13 0-16,0 1 0,-13-1 15,13 0-15,-13 0 0,-14 14 0,14-1 16,-13-13-16,12 14 0,1-14 16,-13 0-16,12 1 0,14-1 0,-13-13 15,0 13-15,13 0 0,-13-13 16,-1 13-1,41-13 1,-14 0-16,0 0 16,1 0-16,-1 0 0,0 0 0,0 0 15,1 0-15,-1-13 0,13 13 16,-13 0-16,1 0 0,-1 0 0,0 0 16,0 0-16,1 0 0,-1-13 15,0 13-15,0 0 16,1 0-16,-1 0 0</inkml:trace>
  <inkml:trace contextRef="#ctx0" brushRef="#br0" timeOffset="71956.03">6152 10094 0,'0'0'0,"-27"-13"0,1 13 15,12 13-15,1-13 16,0 13-16,0 0 0,-1 1 0,14-1 16,-13 0-16,13 0 0,-13 0 0,13 1 15,0-1 1,0 0-16,13-13 0,-13 13 0,13 1 16,1-14-16,-1 0 0,0 13 0,0-13 15,1 0-15,-1 0 0,0-13 16,0 13-16,1 0 0,-14-14 0,13 14 15,-13-13-15,0 0 0,13 13 16,-13-13-16,-13-1 0,13 1 0,0 0 16,-13 0-16,13 0 0,-14-1 0,1 1 15,0 0-15,13 0 0,-13 13 16,-1-14-16,1 1 0,0 13 16,0 0-1</inkml:trace>
  <inkml:trace contextRef="#ctx0" brushRef="#br0" timeOffset="72254.61">6310 9975 0,'-13'39'31,"13"-25"-31,-13-1 0,13 0 15,-13 14-15,13-14 0,0 13 0,0-12 16,0 12-16,0-13 0,0 0 16,13 14-16,0-14 0,0 0 0,1-13 15,-1 14-15,0-1 0,0-13 0,0 0 16,1 0-16,-1 13 0,0-13 16,0-13-16,1 13 0,-1-13 15,-13-1-15,-13 1 31,-1 0-31,1 13 0,0 0 16,0-13-16,-1 13 0,-12 0 0,0 0 16,12 0-16,-12 0 0,-1 13 15,1-13-15,-1 0 0</inkml:trace>
  <inkml:trace contextRef="#ctx0" brushRef="#br0" timeOffset="72639.75">5159 10001 0,'-26'40'0,"52"-80"0,-65 106 16,39-52-16,-14 12 0,14 1 0,0 12 16,0 1-16,0 0 0,0-1 15,0 1-15,14 0 0,-1-1 0,0 1 16,0-13-16,1 12 0,12-12 15,1-1-15,-1 1 0,0-14 0,14 13 16,0-13-16,0-13 0,-1 0 16,1 0-16,13 0 0,-14-13 0,14 13 15,14-13-15,-1-13 0,-13 12 0</inkml:trace>
  <inkml:trace contextRef="#ctx0" brushRef="#br0" timeOffset="73094.73">6588 9816 0,'27'13'15,"-54"-26"-15,67 26 0,-27-13 0,0 13 16,1-13-16,12 14 0,-13-1 0,0 0 16,1 14-16,-1-14 0,0 0 0,0 14 15,-13-1-15,14-13 0,-14 14 16,13-14-16,-13 13 0,0-12 0,0-1 16,0 13-16,0-12 0,0-1 0,0 0 15,-13 0-15,13 0 0,0 1 0,-14-14 16,14 13-16,-13-13 0,13 13 15,-13-13-15,0 0 16</inkml:trace>
  <inkml:trace contextRef="#ctx0" brushRef="#br0" timeOffset="73499.86">7051 9565 0,'27'0'0,"-14"0"0,0 13 16,0-13-16,1 13 0,-1 0 15,-13 1-15,0-1 0,0 13 16,-13-12-16,13-1 0,-14 0 15,1 0-15,0 0 0,13 1 16,-13-1-16,13 0 0,-14 0 16,14 1-16,-13-14 15,26 13 1,14-13 0,-14 0-16,0-13 15,1 13-15,-1 0 0,13 0 0,-13 0 16,1 0-16,-1-14 0,0 14 0,0 0 15,14 0 1,-14 0-16,-13 14 16,13-14-16</inkml:trace>
  <inkml:trace contextRef="#ctx0" brushRef="#br0" timeOffset="73859.59">7620 9988 0,'0'0'16,"13"26"15,-13-12-31,0-1 0,0 0 16,0 14-16,0-14 0,0 13 15,0-12-15,0 12 0,0-13 0,13 0 16,-13 14-16,0-14 0,0 0 0,0 1 15,0-1-15,0 0 0,0 0 16,0 1-16</inkml:trace>
  <inkml:trace contextRef="#ctx0" brushRef="#br0" timeOffset="74077.81">7474 10226 0,'-13'-13'0,"40"13"32,-14 0-32,0 0 0,0 0 15,1 0-15,12 0 0,-13 0 0,14 0 16,-1 0-16,-13 0 0,14 0 0,-1 0 16,1 0-16,-14 0 0,14 0 15,-1-13-15,0 13 0,-12 0 0,12 0 16,1 0-16,-14 0 0,13-14 15,1 14-15</inkml:trace>
  <inkml:trace contextRef="#ctx0" brushRef="#br0" timeOffset="74535.07">8242 9935 0,'13'-13'16,"0"13"-16,0 0 0,1 0 15,-1 0-15,0 0 0,14 0 16,-14-13-16,0 13 0,0 0 0,1 13 16,12-13-16,-13 0 0,0 0 15,1 13-15,-1-13 0,0 13 16,0 1-16,-13-1 16,14 0-16,-14 0 0,0 0 15,0 1-15,0-1 0,0 0 0,0 0 16,0 1-16,0-1 0,13 13 15,-13-12-15,0-1 0,0 0 0,0 0 16,0 0-16,0 1 0,0-1 16,0 0-16,0 0 0,13 1 15,-13-1 1</inkml:trace>
  <inkml:trace contextRef="#ctx0" brushRef="#br0" timeOffset="74743.78">8361 10160 0,'0'0'16,"0"-13"-16,13 13 16,0-13-16,1 13 0,-1 0 15,0 0-15,0 0 0,14 0 0,-14-14 16,0 14-16,14 0 0,-14 0 15,13 0-15,1-13 0,-1 13 0,-13 0 16,14-13-16,-14 13 0,14 0 16,-1-13-16,0-1 0</inkml:trace>
  <inkml:trace contextRef="#ctx0" brushRef="#br0" timeOffset="75026.63">8930 9962 0,'13'-14'15,"-26"28"-15,-1-14 47,14 13-47,-13 0 0,13 0 0,0 0 16,0 1-16,0-1 0,0 0 15,0 0-15,13 1 0,-13-1 0,14 0 16,-14 0-16,13-13 0,0 14 16,0-1-16,1-13 0,-1 0 0,0 13 15,0-13-15,-13-13 16,14 13-1,-28-13-15,14-1 16,-13 14-16,13-13 0,-13 13 16,0 0-16,-1 0 0,1-13 0,0 13 15,0 0-15,-1 0 0,-12 0 16,13 0-16,-14 0 0,14 0 0</inkml:trace>
  <inkml:trace contextRef="#ctx0" brushRef="#br0" timeOffset="75338.35">8162 9790 0,'-79'145'31,"66"-105"-31,0-1 16,-1 1-16,14 0 0,-13 0 0,13-14 15,13 0-15,-13 14 0,14-13 16,-1 12-16,0-12 0,13-1 0,1 1 16,-1-14-16,1 13 0,13-12 0,12-1 15,-12-13-15,13 0 0,0 0 0,0 0 16,-13 0-16,12-13 0,1 13 15,-13-14-15,13 1 0,-13 0 0</inkml:trace>
  <inkml:trace contextRef="#ctx0" brushRef="#br0" timeOffset="75707.07">9022 9829 0,'40'-13'31,"-27"26"-31,0-13 0,1 13 0,12 1 15,-13-1-15,1 0 0,-1 14 16,13-14-16,-12 0 0,-14 14 16,13-1-16,0-13 0,-13 14 0,0-1 15,13-13-15,-13 14 0,0-14 16,-13 0-16,13 14 0,0-14 0,-13 0 16,13 0-16,-13 1 0,13-1 0,-14 0 15,1-13-15,0 0 16,13-13-1</inkml:trace>
  <inkml:trace contextRef="#ctx0" brushRef="#br0" timeOffset="76103.6">9379 9631 0,'53'13'16,"-39"-13"-16,-14 13 16,13 1-16,-13-1 15,0 0-15,0 0 16,0 0-16,-13-13 0,13 14 15,0-1-15,0 0 0,0 0 16,0 1-16,0-1 16,0 0-16,13-13 15,0 13-15,0-13 16,1 0-16,-1 0 16,0 0-16,0 0 0,0-13 0,1 13 15,-1 0-15,0 0 0,0 0 16,1 0-16,-1 0 15,0 0-15</inkml:trace>
  <inkml:trace contextRef="#ctx0" brushRef="#br0" timeOffset="76419.66">10094 9895 0,'0'0'16,"0"14"-1,0-1-15,0 0 0,0 0 16,13 1-16,-13-1 0,0 0 0,0 13 16,0-12-16,0 12 0,13-13 0,-13 14 15,0-14-15,0 0 0,0 1 16,0-1-16,0 0 0,0 0 16,14 0-16,-14 1 0</inkml:trace>
  <inkml:trace contextRef="#ctx0" brushRef="#br0" timeOffset="76626.67">9909 10160 0,'0'-13'0,"13"13"0,0 0 16,0-13-16,1 13 0,-1 0 15,13 0-15,1 0 0,-14-14 16,13 14-16,1 0 0,-1 0 0,1 0 15,-1 0-15,1-13 0,-1 13 16,1 0-16,-14 0 0,13 0 0,-12 0 16,12 0-16,-13 0 0,0 0 0,1-13 15,12 13-15</inkml:trace>
  <inkml:trace contextRef="#ctx0" brushRef="#br0" timeOffset="77146.7">10874 9776 0,'-13'-13'16,"26"26"-16,-52-13 15,39 14-15,-14-1 0,1 0 16,0 0-16,0 14 0,13-1 0,-13-13 16,13 14-16,-14-1 0,14 1 0,0-1 15,0 1-15,0-1 0,0-13 16,0 14-16,14-14 0,-1 14 0,-13-14 15,13 13-15,0-13 0,-13 1 0,13-1 16,1 0-16,-1-13 0,0 13 16,0-13-16,1 0 0,-1 14 15,0-14-15,0 0 0,1 0 0,12 0 16,-13-14-16,14 14 0</inkml:trace>
  <inkml:trace contextRef="#ctx0" brushRef="#br0" timeOffset="77416.6">11179 10081 0,'26'0'31,"-13"0"-31,1 0 0,-1 0 16,0 0-16,0 0 0,0 0 0,1 0 15,-1 0 1,13 0-16,-12 0 0,-1 0 16,0 0-16,0 0 0</inkml:trace>
  <inkml:trace contextRef="#ctx0" brushRef="#br0" timeOffset="77994.87">11695 9935 0,'26'13'0,"-13"-13"0,1 0 0,12 40 31,-26-27-16,0 0-15,-13 1 0,13-1 0,-13 0 16,-1 0-16,1 1 0,13-1 16,-13-13-16,0 13 0,13 0 0,-14 1 15,1-1 1,26 0 15,1-13-15,-1 0-16,0 0 15,14 0-15,-14 0 16,0 0-16,0-13 0,0 13 16,1 0-16,-1-13 0</inkml:trace>
  <inkml:trace contextRef="#ctx0" brushRef="#br0" timeOffset="78316.73">12052 9948 0,'13'0'0,"-26"0"0,39 0 15,-13 0-15,1 14 16,-28-1 0,1 0-16,13 0 15,-13-13-15,0 13 0,0 1 0,-1-1 16,1 0-16,0-13 0,13 13 0,-13-13 0,13 14 15,-14-14-15,14 13 16,-13-13-16,26 13 16,1-13-1,12 0 1,-13 0-16,1 0 16,-1 0-16,0 0 0,0 0 15,0 0-15,1-13 0,-1 13 16,0 0-16</inkml:trace>
  <inkml:trace contextRef="#ctx0" brushRef="#br0" timeOffset="78623.09">12475 9948 0,'13'0'0,"-39"0"31,13 14-15,-1-14-16,14 13 0,-13-13 16,13 13-16,0 0 15,0 0 1,13 1-16,1-1 16,-1-13-16,0 13 15,0-13-15,1 0 0,-1 13 16,0-13-16,13 0 15,-12 0-15,-1 0 0,0 0 0,0 0 16,1 0-16,-1 0 16,-13-13-16,13 13 15</inkml:trace>
  <inkml:trace contextRef="#ctx0" brushRef="#br0" timeOffset="78814.95">12634 9988 0,'0'0'0,"-13"0"0,13 13 15,-14 0 1,14 1 0,-13-1-16,13 0 0,0 0 0,0 1 15,0-1-15,0 0 16,0 14-16,0-14 0,-13 0 0,13 0 16,13 0-16,-13 1 0,0-1 15,0 0-15,13 0 16</inkml:trace>
  <inkml:trace contextRef="#ctx0" brushRef="#br0" timeOffset="79216.73">12581 9644 0,'13'0'16,"-26"0"-16,66 13 0,-40-13 0,14 14 15,-1-14-15,0 26 0,14-13 0,-13 14 16,-1-14-16,1 13 0,-1 1 16,0-1-16,14 40 0,-27-39 15,1-14-15,-1 40 16,-13-40-16,0 14 0,0-14 0,0 0 0,0 14 16,0-14-16,-13 0 0,13 0 15,-14 1-15,14-1 0,-13-13 16,13 13-16,-13-13 15,0-13-15</inkml:trace>
  <inkml:trace contextRef="#ctx0" brushRef="#br0" timeOffset="79630.82">13004 9565 0,'40'0'16,"0"13"-1,-27 0 1,0-13-16,-13 13 0,27 1 0,-27 12 15,0-13 1,0 1-16,-14-1 0,14 0 0,-13 0 16,13 0-16,0 1 15,0-1-15,0 0 32,13-13-32,-13 13 15,14-13-15,-1 0 0,0 0 16,0 0-16,0 0 0,1 0 15,12 0-15,-13 0 0,1 0 0,-1 0 16,27 0-16,-27 0 0,0 0 16,0 0-16,0 0 0</inkml:trace>
  <inkml:trace contextRef="#ctx0" brushRef="#br0" timeOffset="80168.02">13613 9842 0,'0'53'31,"0"-26"-31,0-14 0,0 14 16,0-14-16,0 13 0,0 1 0,0-14 15,0 13-15,0 1 0,0-14 16,0 14-16,0-14 0,0 0 0,0 13 16,0-12-16,13-1 0</inkml:trace>
  <inkml:trace contextRef="#ctx0" brushRef="#br0" timeOffset="80380.45">13388 10147 0,'13'0'31,"0"-13"-31,1 13 0,12 0 16,1 0-16,-1 0 0,0 0 15,1-14-15,26 14 0,-14 0 0,1-13 16,13 13-16,-13-13 0,13 13 0,-14 0 16,1 0-16,-13-13 0,-1 13 0,0 0 15</inkml:trace>
  <inkml:trace contextRef="#ctx0" brushRef="#br0" timeOffset="80887.84">14208 9856 0,'13'0'16,"-26"0"-16,40 0 0,-14 0 0,0 13 15,0-13-15,-13 13 16,0 0-16,0 1 0,0-1 16,0 0-16,-13 0 0,0 1 15,0-1-15,13 0 16,-14-13-16,14 13 0,0 0 15,14-13-15,-1 14 16,0-14-16,0 0 16,1 0-16,-1 13 0,0-13 15,0 0-15,0 13 0,1-13 16,-14 13-16,13-13 0,-13 14 16,-13-1-1,-1 0-15,1 0 0,0-13 0,0 14 16,0-14-16,-14 13 0,14 0 0,0-13 15,-1 13-15,1-13 16,40-26 15,-14 13-31,0-1 0</inkml:trace>
  <inkml:trace contextRef="#ctx0" brushRef="#br0" timeOffset="81151.64">14499 9962 0,'40'-14'16,"-80"28"-16,93-41 0,-40 40 15,-13 1 1,0-1-16,0 0 16,0 0-16,0 0 15,0 1-15,14-14 0,-1 26 16,0-13-16,0-13 0,0 14 16,1-14-1,-1 0-15,0 0 0,-13-14 0,13 14 16,-13-13-1,0 0 1,-13 13-16,13-13 16,-26 13-16,12 0 0,1 0 15,0-14-15,0 14 0,0 0 0,-1 0 16,1 0-16,0 0 0</inkml:trace>
  <inkml:trace contextRef="#ctx0" brushRef="#br0" timeOffset="81418.48">14116 9657 0,'-106'146'15,"92"-107"-15,1-12 16,0 13-16,0-1 0,13 14 15,0-13-15,0 0 0,0-1 0,13 1 16,0-14-16,14 14 0,-14-13 16,13-1-16,14 1 0,-13-1 0,12-13 15,-12 0-15,12 1 0,-12-14 16,-1 13-16,14-13 0,-14-13 0,1 13 16,-1 0-16,14-14 0,0 1 0</inkml:trace>
  <inkml:trace contextRef="#ctx0" brushRef="#br0" timeOffset="81719.72">14751 9618 0,'13'0'0,"-26"0"0,39 13 15,-13-13-15,0 13 0,1 0 16,-1 1-16,0-1 0,0 13 16,1-13-16,-1 14 0,0-1 0,0 1 15,-13-1-15,0 1 0,0-1 16,0-13-16,0 14 0,0-1 0,0 1 0,0-1 16,-13-13-16,13 1 0,0 12 15,-13-13-15,13 1 0,0-1 0,0 0 16,0 0-1</inkml:trace>
  <inkml:trace contextRef="#ctx0" brushRef="#br0" timeOffset="82047.75">15068 9538 0,'26'13'16,"-52"-26"-16,66 40 0,-40-14 15,0 0-15,0 0 0,0 14 16,-14-14-16,14 0 0,-13 14 16,0-14-16,13 0 0,-13 0 15,13 1-15,-13-1 0,13 0 0,0 0 16,0 1-16,0-1 15,13-13-15,0 13 16,0-13-16,0 0 0,1 0 16,-1 0-16,13 0 0,-12 0 0,-1 0 15,0 0-15,0 0 0,1-13 0,-1 13 16,0 0-16,0 0 0,0 0 16,1 0-16</inkml:trace>
  <inkml:trace contextRef="#ctx0" brushRef="#br0" timeOffset="82946.81">15663 9803 0,'0'-13'0,"-13"-1"15,0 14 1,0 14 0,-1-1 15,41-13 391,-27 13-407,0 0-15,13 0 16,-13 1-16,0-1 0,0 0 0,0 0 16,0 1-16,0-1 0,0 0 15,0 0-15,0 1 0,13-1 0,-13 0 16,0 0-16,0 14 0,0-14 0,0 0 16,0 0-16,0 1 0,0-1 15,-13 0-15,13 0 0,0 1 16,0-1-16</inkml:trace>
  <inkml:trace contextRef="#ctx0" brushRef="#br0" timeOffset="83147.64">15465 10054 0,'40'-13'31,"-27"13"-31,0-13 15,14 13-15,-14 0 0,13 0 0,1 0 16,-1 0-16,1 0 0,12 0 16,-12 0-16,12 0 0,-12 0 15,13 0-15,-14 0 0,27-14 0,-27 14 16,14 0-16,-13-13 0</inkml:trace>
  <inkml:trace contextRef="#ctx0" brushRef="#br0" timeOffset="83991.69">16470 9909 0,'40'0'47,"-27"0"-32,0 0-15,1 0 0,-1 0 0,0 13 16,0-13-16,1 0 0,-1 0 15,53-13 1,-53 13-16,0 0 16,1 0-16,-1 0 0</inkml:trace>
  <inkml:trace contextRef="#ctx0" brushRef="#br0" timeOffset="84430.85">17039 9737 0,'-26'-14'0,"52"28"0,-66-28 16,27 14-16,-13 0 15,13 0-15,-1 0 0,1 14 0,0-14 16,0 13-16,-1 0 0,1-13 0,0 13 15,13 1-15,-13-14 0,13 13 16,0 0-16,0 0 16,13 0-16,0-13 0,0 0 15,1 0-15,-1 0 16,0 0-16,0 0 0,1-13 0,-1 13 16,0 0-16,0-13 0,0 13 0,1-13 15,-1 13-15,0 0 31,-13 13-31,0 0 0,0 0 16,0 1-16,0-1 0,0 0 0,0 0 16,0 14-16,-13-14 0,13 0 15,0 1-15,0-1 0,0 13 0,0-13 16,0 1-16,0-1 16,0 0-16,13-13 0,-13 13 0,13-13 15</inkml:trace>
  <inkml:trace contextRef="#ctx0" brushRef="#br0" timeOffset="84763.4">17423 9829 0,'0'-13'15,"-27"26"16,14 0-31,0-13 0,0 14 16,-1-14-16,1 13 0,-13 0 0,13-13 16,-1 13-16,14 1 0,-13-14 0,0 13 15,0 0-15,-1 0 16,28 1 0,-1-1-16,0-13 15,0 13-15,1-13 16,-1 0-16,0 0 0,0 0 15,0 13-15,1-13 0,-1 0 0,0 0 16,-13-13-16,13 13 16,1 0-16,-1 0 0,0-13 15,0 0-15</inkml:trace>
  <inkml:trace contextRef="#ctx0" brushRef="#br0" timeOffset="84959.17">17436 9790 0,'-26'39'31,"26"-26"-15,-14 1-16,14-1 0,-13 13 0,13-12 15,0 12-15,0-13 16,0 14-16,0-14 0,-13 13 0,13-12 0,0 12 16,0-13-16,0 1 0,0-1 15,0 0-15,0 0 0,0 1 16,0-1-16,-13-13 0,13 13 0</inkml:trace>
  <inkml:trace contextRef="#ctx0" brushRef="#br0" timeOffset="85338.45">16298 9671 0,'-26'26'0,"52"-52"0,-65 78 0,39-38 16,-14 12-16,1 1 0,13 12 15,-13 1-15,0-14 0,13 14 0,0 0 16,0-14-16,0 1 0,13 12 0,0-12 16,0-1-16,14 14 0,-1-27 15,14 14-15,13-1 0,0-13 0,0 1 16,0-14-16,0 13 0,0-13 0,-1-13 15,15 13-15,-1-14 0</inkml:trace>
  <inkml:trace contextRef="#ctx0" brushRef="#br0" timeOffset="85770.79">17568 9604 0,'80'53'32,"-67"-39"-32,-13 12 0,13 0 15,-13 1-15,13-1 0,-13 1 0,0-1 16,0 1-16,0-1 0,-13 1 0,13 12 15,0-12-15,-13-1 0,13 1 16,-13-14-16,13 13 0,-14-12 16,14-1-16,0 0 0,-13 0 0,13 1 15,-13-14-15,13 13 0</inkml:trace>
  <inkml:trace contextRef="#ctx0" brushRef="#br0" timeOffset="86361.61">17701 9379 0,'53'27'31,"-53"-14"-31,0 0 0,0 14 16,-14-14-16,14 0 0,-13 1 15,13-1-15,-13 0 0,13 0 0,-13 0 16,13 1-16,0-1 0,0 0 16,0 0-1,0 1-15,13-14 16,0 0-16,0 13 0,1-13 0,12 0 16,-13 0-16,0 0 0,1 0 15,12 0-15,-13 0 0,1 0 16,-1 0-16,0 0 0,0 0 0,1 0 15,-1 0-15,0 0 16</inkml:trace>
  <inkml:trace contextRef="#ctx0" brushRef="#br0" timeOffset="88632.61">6019 10848 0,'0'0'16,"40"0"-16,-27 0 0,0 0 0,1-13 16,-1 13-16,13 0 0,-12 0 0,12 0 15,0 0-15,-12 0 0,25 0 0,-12 0 16,-1-14-16,1 14 0,-1 0 15,1 14-15,12-14 0,-12 0 0,13 0 16,-14 0-16,14 0 0,-1 0 0,-12 0 16,13 0-16,-1 0 0,14 13 15,-26-13-15,12 0 0,-12 0 0,12 0 16,1 0-16,13 13 0,-13-13 0,-1 0 16,-12 0-16,26 0 0,-14 0 15,-12 0-15,13-13 0,-1 13 16,-12 0-16,-1 0 0,14 0 0,-14 0 15,1 0-15,-1 0 0,-13 0 16,14 0-16,-1 0 0,-12 0 0,12 0 16,1 0-16,-14 0 0,13 0 0,1 0 15,-14 0-15,13 0 0,1 0 16,-1 0-16,1 0 0,-1-13 16,1 13-16,-1 0 0,1 0 0,12 0 0,-12 0 15,-1 0-15,1 0 0,-1 0 16,1 0-16,12 0 0,-12 0 15,12 0-15,-12 0 0,-1 0 0,14 0 16,-14 0-16,14 0 0,0 0 16,-14 0-16,27 0 0,0 0 0,-13 0 15,-14 0-15,14 0 0,13 0 0,-13 0 16,-14 0-16,14 0 0,-1 0 16,1 0-16,13 0 0,-13 0 0,13-14 15,-14 14-15,1 0 0,0 0 0,13 0 16,-14 0-16,1 0 0,0 0 15,-14 0-15,14 0 0,-14 0 16,14 0-16,0 0 0,-14 0 0,14 0 16,-14 0-16,14 0 0,0 0 0,-1-13 15,14 13-15,-13 0 0,-14 0 16,14 0-16,-14 0 0,14 0 0,-13 0 16,12 0-16,1 0 0,-14 0 0,14 0 15,-13 0-15,12 0 0,-12 0 16,12-13-16,-12 13 0,13 0 0,-1 0 15,1 0-15,0 0 0,13 0 0,-14 0 16,1 0-16,0 0 0,-1 0 16,-12 0-16,12 0 0,14 0 0,-13 0 15,-13 0-15,25 0 0,-12-13 0,0 13 16,13 0-16,0 0 0,-14 0 16,14 0-16,-13 0 0,13 0 15,0-13-15,-14 13 0,14 0 0,0 0 16,0 0-16,0-14 0,0 14 15,-13 0-15,26 0 0,-13 0 0,0-13 16,0 13-16,0 0 0,-1 0 0,1-13 16,0 13-16,0 0 0,0 0 15,0 0-15,0 0 0,0-13 0,0 13 16,13 0-16,-13 0 0,0 0 16,0-14-16,0 14 0,13 0 0,-13 0 15,0 0-15,0-13 0,13 13 16,-13 0-16,0 0 0,13 0 0,-13-13 0,13 13 15,-13 0-15,13 0 0,-13 0 16,0 0-16,13-13 0,-13 13 16,13 0-16,0 0 0,-13 0 0,13-14 15,-13 14-15,13 0 0,-13 0 0,13 0 16,-13 0-16,0-13 0,13 13 16,-13 0-16,13 0 0,-13 0 0,13-13 15,-13 13-15,13 0 0,-13 0 0,13 0 16,-13-13-16,13 13 0,-13 0 15,13 0-15,1 0 0,-14-13 16,13 13-16,-13 0 0,0 0 0,-1-14 16,1 14-16,14 0 0,-28 0 15,14-13-15,0 13 0,0 0 0,0 0 16,-13 0-16,12-13 0,-12 13 0,13 0 16,-13 0-16,-14 0 0,14 0 15,-14 0-15,14 0 0,-13 0 0,12 0 16,1 0-16,-14-13 0,14 13 0,-14 0 15,14 0-15,-13 0 0,12 0 16,-12 0-16,12 0 0,-12 0 0,13 0 16,-14 0-16,14 0 0,-14 0 15,1-14-15,12 14 0,-12 0 0,-1 0 16,14 0-16,-14 0 0,1 0 16,13 0-16,-14-13 0,1 13 0,12 0 15,-12 0-15,26 0 0,-14 0 0,-12-13 16,12 13-16,1 0 0,0 0 15,-14 0-15,14 0 0,-14-13 0,1 13 16,-1 0-16,1 0 0,-1 0 0,1 0 16,-1 0-16,-13 0 0,14 0 15,-14 0-15,0 0 0,0 0 0,1-13 16,-1 13-16,0 0 0,0 0 0,1 0 16,-1 0-16,0 0 15,0 0-15</inkml:trace>
  <inkml:trace contextRef="#ctx0" brushRef="#br0" timeOffset="91435.7">3492 10954 0,'14'13'0,"-1"-13"0,0 0 15,0 0-15,1 13 0,-1-13 16,13 0-16,-12 0 0,-1 0 0,13 0 16,-13 0-16,1 13 0,-1-13 15,13 0-15,-12 0 0</inkml:trace>
  <inkml:trace contextRef="#ctx0" brushRef="#br0" timeOffset="91622.43">3559 11152 0,'0'0'15,"26"13"1,-13-13-16,1 0 15,-1 0-15,0 0 0,0 0 0,0 0 16,14-13-16,-14 13 0,0 0 0,1 0 16,-1 0-16,0 0 0,0 0 15</inkml:trace>
  <inkml:trace contextRef="#ctx0" brushRef="#br0" timeOffset="124567.1">11668 11060 0,'13'13'0,"40"-13"31,-39 0-15,-14-13-16,13 13 0,0 0 16,-53 13 15,27 0-31,0-13 0,-14 13 15,14-13-15,0 13 0,-14-13 0,14 14 16,0-14-16,0 13 0,0-13 0,-1 0 16,14 13-16,-13-13 0,13 13 15,13 1 1,1-14-16,-1 0 0,0 0 16,0 13-16,0-13 0,1 13 15,12-13-15,-13 0 0,1 13 0,-1 1 16,0-14-16,-13 13 15,13-13-15,-26 13 16,0 0-16,0-13 16,-1 13-16,1 1 0,-13-14 0,-1 13 0,1 0 15,-1-13-15,1 13 0,-1-13 0,1 14 16,-1-14-16,-12 0 0,12 13 16,1-13-16,13 0 0,-14 0 0,1 0 15,12 13-15,1-13 0,0 0 0,0 0 16</inkml:trace>
  <inkml:trace contextRef="#ctx0" brushRef="#br0" timeOffset="125675.93">19672 9009 0,'0'27'0,"0"-14"16,0 0-16,0 0 0,0 0 15,0 1-15,0-1 16,0 0-16,0 0 0,-13 1 0,13-1 16,0 0-16,0 0 0,0 1 0,-14-1 15,14 0-15</inkml:trace>
  <inkml:trace contextRef="#ctx0" brushRef="#br0" timeOffset="126107.83">19672 9750 0,'13'26'16,"-13"-12"-1,-13-1-15,0 0 0,-1 0 0,1 0 16,0-13-16,13 14 0,-13-1 0,-1 0 16,1-13-16,13 13 0,0 1 15,-13-14-15,13 13 0,-13 0 16,26 0 0,0-13-16,0 0 15,1 14-15,-1-14 0,0 0 16,0 0-16,1 0 15,-1 0-15,0 0 0,0 0 0,0 0 16,14 0-16</inkml:trace>
  <inkml:trace contextRef="#ctx0" brushRef="#br0" timeOffset="126811.82">19989 10544 0,'0'0'0,"13"0"15,-39 0 17,39 13 30,-13 0-62,0 0 16,13 1-1,-26 12-15,13-13 16,-13 0-16,0 1 16,0-1-16,13 0 15,-14-13-15,14 13 16,0 1-1,0-1 17,0 0-17,-13-13-15,0 13 16,0-13-16,13 14 16,-14-14-16,1 13 0,0 0 15,0 0-15,0 0 0</inkml:trace>
  <inkml:trace contextRef="#ctx0" brushRef="#br0" timeOffset="127426.83">20095 11179 0,'0'0'0,"-26"13"31,12 0-31,1-13 0,0 13 16,0 1-16,-1-14 0,14 13 0,-13-13 15,0 13-15,13 0 0,-13-13 16,13 13-16,-13-13 0,13 14 0,0-1 16,0 0-1,13 0-15,0-13 16,0 14-16,0-14 15,1 0-15,-1 0 0,0 0 16,0-14-16,1 14 0,-1 0 0,-13-13 0,13 13 16,0-13-16,1 0 0,-14-1 15,0 1-15,13 13 0,-13-13 16,0 0-16,0 0 0,0-1 16,0 1-1,-27 26 16,27 1-31,-13-1 0,13 0 0,0 0 16,-13-13-16,13 27 0,0-14 16,0 0-16,0 0 0,-13 14 0,13-14 15,0 0-15,0 1 0,0-1 0,0 0 16,0 13-16,0-12 0,0-1 16,0 0-16,0 0 0,0 1 15,0-1-15,0 0 0</inkml:trace>
  <inkml:trace contextRef="#ctx0" brushRef="#br0" timeOffset="127844.2">20148 11880 0,'0'0'0,"-13"-13"32,0 13-32,-1 13 15,1-13-15,13 13 16,0 0-16,0 0 15,13-13-15,-13 14 0,14-14 16,-1 13-16,0 0 0,0-13 16,-13 13-16,13 1 15,-26-1 1,0 0 0,0 0-16,0-13 0,-1 14 15,1-1-15,-13-13 0,12 13 0,-12-13 16,-1 13-16,1-13 0,0 13 15,-1-13-15,-26 14 0,14-14 0,-1 0 16</inkml:trace>
  <inkml:trace contextRef="#ctx0" brushRef="#br0" timeOffset="128768.89">4604 13004 0,'39'0'15,"-25"0"1,-1 0-16,0 0 0,0 0 0,1 0 16,12 0-16,-13 0 15,0 0-15,1 0 0,-1 0 0,-13 14 16,13-14-16</inkml:trace>
  <inkml:trace contextRef="#ctx0" brushRef="#br0" timeOffset="128947.93">4564 13256 0,'13'13'16,"1"-13"0,-1 0-16,13-13 0,-13 13 15,1 0-15,-1 0 0,13 0 16,-12-14-16,12 14 0,0-13 0</inkml:trace>
  <inkml:trace contextRef="#ctx0" brushRef="#br0" timeOffset="130463.88">6218 12819 0,'-66'40'16,"52"-27"-16,1 0 16,0 0-16,0-13 0,-1 14 15,1-1-15,0 0 0,0-13 0,-1 13 16,1-13-16,13 14 0,-13-14 0,13 13 15,-13-13-15,13 13 16,13 0-16,0-13 16,0 14-16,1-14 0,12 0 0,-13 0 15,14 0-15,-14 13 0,14-13 16,-1 0-16,0 0 0,-12 0 0,12 0 16,-13 0-16,14 0 0,-14 0 0,0 0 15,1-13-15,-1 13 16,0 0-16,0 0 15</inkml:trace>
  <inkml:trace contextRef="#ctx0" brushRef="#br0" timeOffset="130674.93">6178 12872 0,'-26'0'0,"-1"40"31,14-27-31,13 0 0,0 0 16,0 1-16,-13-1 0,13 13 0,0-12 16,0-1-16,0 13 0,-14 1 15,14-14-15,0 13 0,0-12 16,0-1-16,0 0 0,14 0 0,-1 0 16,0 1-1</inkml:trace>
  <inkml:trace contextRef="#ctx0" brushRef="#br0" timeOffset="131231.43">6562 12872 0,'0'0'0,"13"0"0,0 0 15,0 0-15,1 0 16,-14 13-16,13-13 0,-13 13 16,0 1-16,0-1 15,-13 0-15,13 0 16,-14-13-16,14 14 0,-13-1 15,13 0-15,-13-13 0,0 13 0,13 1 16,-14-14-16,14 13 0,-13 0 16,13 0-1,-13 0-15,26 1 32,0-14-32,1-14 0,12 14 15,-13 0-15,1 0 0,-1 0 16,0-13-16,0 13 0,14 0 15,-14 0-15,0-13 0,14 13 0,-14 0 16,0 0-16,0-13 0,1 13 16</inkml:trace>
  <inkml:trace contextRef="#ctx0" brushRef="#br0" timeOffset="131648.1">7038 12806 0,'-27'26'31,"14"-12"-31,0-1 0,0 0 16,-14 0-16,14 0 0,0 1 0,0-1 16,-14 0-16,14-13 0,0 13 15,13 1-15,-14-14 0,14 13 0,-13-13 16,13 13-16,-13-13 0,13 13 16,13 1-16,0-14 15,1 0-15,-1 0 16,0 13-16,0-13 0,14 0 15,-14 0-15,0 0 0,14 0 16,-14-13-16,13 13 0,-12 0 0,-1 0 16,0 0-16,14 0 0,-14-14 0,0 14 15,0-13-15,1 13 0,-14-13 16,13 0-16</inkml:trace>
  <inkml:trace contextRef="#ctx0" brushRef="#br0" timeOffset="131846.94">7104 12793 0,'0'0'0,"-26"-14"0,12 14 15,1 14-15,0-14 16,13 13-16,-13-13 16,13 13-16,-14 0 0,1 1 0,13-1 0,-13 0 15,13 0-15,-13 0 0,13 14 16,-13-14-16,13 0 0,0 14 16,0-14-16,0 0 0,0 1 0,0-1 15,0 0-15,0 0 0,0 0 0,0 1 16,13-1-16,-13 0 0,13-13 15,0 13-15,0-13 0,1 0 16,-1 0-16</inkml:trace>
  <inkml:trace contextRef="#ctx0" brushRef="#br0" timeOffset="132243.75">7302 12806 0,'14'-13'32,"-1"26"-32,-26 0 15,13 0-15,-14-13 16,14 14-16,0-1 0,-13 0 15,13 0 1,13 0-16,-13 1 16,14-14-16,-14 13 0,13 0 15,-13 0-15,13-13 16,-13 14-16,0-1 16,0 0-16,-13 0 15,-14 14 16,14-14-31,40-26 32,-14 0-32</inkml:trace>
  <inkml:trace contextRef="#ctx0" brushRef="#br0" timeOffset="132528.07">7580 12766 0,'-26'13'31,"26"1"-31,-13-14 0,13 13 0,0 0 16,-14 0-16,14 1 0,0-1 0,0 0 15,0 0-15,0 0 16,0 1-16,14-1 0,-1 0 0,-13 0 16,13-13-16,0 14 15,-26-28 63,0 14-62</inkml:trace>
  <inkml:trace contextRef="#ctx0" brushRef="#br0" timeOffset="132886.68">8083 12819 0,'-26'40'31,"26"-27"-31,0 0 0,0 0 0,0 1 0,0-1 16,0 0-16,0 0 0,0 14 16,0-14-16,0 0 0,0 1 15,0-1-15,0 0 0,0 0 0</inkml:trace>
  <inkml:trace contextRef="#ctx0" brushRef="#br0" timeOffset="133118.37">7885 12938 0,'39'27'16,"-25"-27"-1,12 0-15,0 13 16,-12-13-16,12 0 0,1 0 0,-1 0 15,0 0-15,1 0 0,-14 0 0,14 0 0,-1 0 16,-13 0-16,14 0 16,-1 0-16,1 0 0</inkml:trace>
  <inkml:trace contextRef="#ctx0" brushRef="#br0" timeOffset="134023.68">9022 12726 0,'14'0'16,"-1"-13"-16,0 13 15,0 0-15,0-13 16,-39 39 31,13-26-47,0 14 16,-1-14-16,14 13 0,-13-13 0,0 0 15,13 13-15,-13-13 0,-1 13 16,1 1-1,26-1 1,1-13-16,-1 13 0,0-13 16,-13 13-16,13-13 0,1 14 15,-1-1-15,-13 0 0,13-13 16,-13 13-16,13 0 0,-26 1 16,13-1-1,-13 0-15,0 0 16,-1-13-16,1 14 0,0-14 0,-14 13 15,14-13-15,-13 13 0,12-13 16,-12 0-16,13 13 0,0-13 0,-1 0 16,1 0-16,0 0 0,0 0 0,-1 0 15</inkml:trace>
  <inkml:trace contextRef="#ctx0" brushRef="#br0" timeOffset="134484.84">9247 12740 0,'-13'0'0,"26"0"0,0-14 32,1 14-32,-1 0 15,0 0-15,0 0 0,1 0 16,-1 0-16,0 0 0,0 0 15,0 0-15,1 0 0,-1 0 0,-13 14 16,13-14-16,0 13 0,1 0 16,-14 0-16,0 1 15,13-1-15,-13 0 0,0 0 0,13 14 16,-13-14-16,0 0 0,0 0 0,0 1 0,0-1 16,0 0-16,0 0 15,0 1-15,0-1 0,0 0 16,0 0-16,0 1 0,0-1 15</inkml:trace>
  <inkml:trace contextRef="#ctx0" brushRef="#br0" timeOffset="134670.6">9366 12938 0,'-13'0'15,"53"0"17,-27 0-32,0 0 0,0 0 0,1 0 15,-1 0-15,13 0 0,-12 0 0,12 0 16,-13 0-16,14 0 0,-14 0 16,13-13-16,-12 13 0,12 0 0,-13 0 15</inkml:trace>
  <inkml:trace contextRef="#ctx0" brushRef="#br0" timeOffset="134971.87">9803 12674 0,'0'0'16,"13"-14"-1,0 14-15,0 14 16,1-14-16,-14 13 0,13-13 16,0 13-16,-13 0 0,13 0 15,-13 14-15,14-14 0,-1 0 0,-13 14 16,0-14-16,13 0 0,-13 14 0,0-14 16,0 0-16,0 0 0,0 1 15,0-1-15,0 0 0,13 0 0,-13 1 16,0-1-16,0 0 0,0 0 15,0 1-15</inkml:trace>
  <inkml:trace contextRef="#ctx0" brushRef="#br0" timeOffset="135158.79">9750 12938 0,'-13'0'0,"52"0"32,-25 0-17,12 0-15,0-13 0,-12 13 16,12 0-16,1-13 0,-1 13 0,1-14 16,-1 14-16</inkml:trace>
  <inkml:trace contextRef="#ctx0" brushRef="#br0" timeOffset="135458.87">10266 12700 0,'-40'13'15,"40"0"-15,-13 1 16,0-1-16,13 0 0,-14 0 16,1 1-16,13-1 0,0 13 0,-13-12 15,13-1-15,0 0 0,0 0 0,13 0 16,-13 1-16,13-1 0,-13 0 15,14-13-15,-1 0 0,-13 13 16,13-13-16,0 0 16,-13-13-1,-13 0 1,13 0-16,-13 13 16,0 0-16,-1-14 0,1 14 0,0 0 15,0 0 1,0 0-16</inkml:trace>
  <inkml:trace contextRef="#ctx0" brushRef="#br0" timeOffset="135687.37">10835 12660 0,'-27'40'0,"54"-80"0,-54 93 0,14-40 15,13 1-15,-13 12 0,13 1 0,-13-14 16,13 13-16,0-12 0,0 12 0,0-13 16,0 0-16,-14 14 0,28-14 15,-14 0-15,0 1 0,0-1 16</inkml:trace>
  <inkml:trace contextRef="#ctx0" brushRef="#br0" timeOffset="135926.56">10478 12872 0,'52'13'32,"-38"-13"-32,12 0 0,-13 0 15,14 0-15,-1 0 0,-13 0 16,14 0-16,-1 0 0,-12 0 0,12 0 16,1 0-16,-1 0 0,0-13 15,-12 13-15,12 0 0</inkml:trace>
  <inkml:trace contextRef="#ctx0" brushRef="#br0" timeOffset="137491.73">11470 12607 0,'13'-13'0,"0"13"16,0 0-1,-52 0 17,25 13-32,1-13 0,0 14 15,0-14-15,0 0 16,-1 13-16,1 0 0,0-13 16,13 13-16,-13-13 15,13 14-15,13-1 16,0 0-16,0 0 15,1 0-15,-1-13 0,0 14 0,-13-1 16,13-13-16,0 13 0,-13 0 16,14-13-16,-14 14 0,0-1 0,0 0 15,0 0-15,0 1 0,-14-14 16,1 13-16,0 0 0,-13 0 16,12 0-16,-12 1 0,13-1 15,-14-13-15,14 13 0,-14-13 0,14 13 16,0-13-16,0 0 0,0 0 0,-1 0 31,28-26-15,-1 13-16,0-1 0</inkml:trace>
  <inkml:trace contextRef="#ctx0" brushRef="#br0" timeOffset="137787.28">11483 12753 0,'13'0'0,"-26"0"15,39 13 1,-26 0-1,0 1-15,0-1 16,14-13-16,-14 13 0,13 0 16,0 1-16,0-14 0,1 13 15,-1-13-15,0 0 0,13 0 0,-12 0 16,-1-13-16,13 13 0,-12 0 16,-1-14-16,0 14 0,0-13 0,-13 0 15,14 13-15,-14-13 0,0-1 0,0 1 16,-14 0-16,14 0 0,-13 13 15,0-14-15,0 14 0,-1-13 16,1 13-16,0 0 0,0 0 0,-1 0 16,1 0-16,0 0 0,0 0 0,0 0 15</inkml:trace>
  <inkml:trace contextRef="#ctx0" brushRef="#br0" timeOffset="137998.79">11800 12568 0,'27'-14'16,"-54"28"-16,67-28 0,-27 28 31,-13-1-31,0 0 16,-13 0-16,13 1 0,0 12 0,0-13 0,0 14 16,0-14-16,0 13 15,-13-12-15,13 12 0,0-13 0,0 14 16,0-14-16,0 0 0,0 1 0,0-1 15,0 0-15,13 0 0,-13 0 0,0 1 16,13-14-16,1 13 16,-1-13-16,13 0 0,-13-13 15</inkml:trace>
  <inkml:trace contextRef="#ctx0" brushRef="#br0" timeOffset="138426.15">12025 12568 0,'0'-14'32,"14"14"-32,-1 0 15,0 14 1,0-14-16,0 13 0,1 0 16,-14 0-16,13 1 0,-13-1 0,13 13 15,-13-12-15,0-1 0,0 0 16,0 0-16,0 0 0,13 14 0,-26-14 15,13 0-15,0 1 0,0-1 0,0 0 16,0 0-16,0 1 0,0-1 16,0 0-16,0 0 15,13 0-15</inkml:trace>
  <inkml:trace contextRef="#ctx0" brushRef="#br0" timeOffset="138855.72">11972 12779 0,'-13'0'15,"26"-13"17,14 13-32,-14 0 15,0-13-15,14 13 0,12-13 16,1-1-16,-13 1 0,12 0 15,-12 0-15,12 0 0,-12-1 0,13 1 16,-14 0-16,-13 0 0,14-1 16,-14 1-16,0 0 0,0 0 0,1-1 15,-14 1 1,-14 26 0,1 1-1,0-1-15,0 0 0,13 14 0,-14-14 16,1 0-16,13 0 0,-13 14 0,13-14 15,26 40 1,-26-40-16,14-13 0,-1 13 16,0-13-16,0 14 0,1-14 15,-1 0-15,0 0 16,0-14 0,-13 1-1,-13 0-15,0 13 16,0 0-1,-1 0-15</inkml:trace>
  <inkml:trace contextRef="#ctx0" brushRef="#br0" timeOffset="139523.71">13295 12462 0,'0'0'16,"-13"40"-1,13-27-15,-13 0 0,13 13 0,0 1 16,0-14-16,0 14 0,0-1 16,0 1-16,0-1 0,13 0 0,-13-12 15,0 12-15,0-13 0,0 14 0,0-14 16,0 0-16</inkml:trace>
  <inkml:trace contextRef="#ctx0" brushRef="#br0" timeOffset="139728.74">13110 12674 0,'-13'0'16,"39"13"15,-12-13-31,12 0 0,0 0 16,1 0-16,-1 0 0,1 0 0,13 0 0,12 13 15,-12-13-15,-13 0 0,12-13 16,14 13-16,-13 0 0</inkml:trace>
  <inkml:trace contextRef="#ctx0" brushRef="#br0" timeOffset="140096.76">14155 12541 0,'-13'27'31,"13"-14"-31,0 13 0,0-12 16,0 12-16,0-13 0,0 14 16,0-14-16,-13 13 0,13 1 0,0-14 15,13 14-15,-13-14 0,0 13 16,0-12-16,0-1 0,0 0 0,0 0 15,0 0-15,13 1 0</inkml:trace>
  <inkml:trace contextRef="#ctx0" brushRef="#br0" timeOffset="140486.66">14327 12554 0,'13'0'0,"-26"0"0,53 0 16,-27 0-16,-13 14 0,13-14 16,-13 13-16,0 0 15,0 0-15,0 1 0,-13-1 0,13 13 16,-13-12-16,0 12 0,-1-13 0,1 0 15,0 14-15,0-14 0,0 0 16,-1 1-16,14-1 0,-13-13 16,13 13-16,-13-13 0,13 13 15,-13 1-15,26-14 32,0 0-32,0 0 15,1 0-15,-1 0 0,0 0 16,0 0-16,14 0 0,-14 0 15,0-14-15,0 14 0,14 0 0,-14 0 16,13-13-16,-12 13 0,-1-13 0,0 13 16,0 0-16</inkml:trace>
  <inkml:trace contextRef="#ctx0" brushRef="#br0" timeOffset="140951.78">14817 12528 0,'-40'13'16,"14"-13"-16,12 13 0,1-13 15,0 14-15,-14-1 0,14 0 0,13 0 16,-13 1-16,0-14 0,13 13 0,0 0 16,0 0-1,0 1-15,13-14 0,0 0 0,0 0 16,1 0-16,-1-14 0,13 14 0,1-13 16,-14 0-16,13 0 0,-12-1 15,-1 14-15,0-13 0,0 13 0,1-13 16,-1 13-16,-13-13 0,13 13 0,0 13 15,-13 0 1,0 0-16,-13 1 0,13-1 16,0 13-16,0 1 0,-13-14 0,13 13 15,-13 1-15,13-1 0,-14 1 0,14-14 16,0 0-16,-13 14 16,13-14-16,0 0 0,0 0 0,13-13 15,-13 14-15,14-14 0,12-14 16,0 1-16</inkml:trace>
  <inkml:trace contextRef="#ctx0" brushRef="#br0" timeOffset="141232.03">15253 12528 0,'-13'0'0,"-53"40"31,53-27-31,-1 0 0,1 14 0,0-14 16,0 13-16,-1 1 0,1-1 15,13-13-15,0 14 0,0-14 0,0 0 16,13 1-16,-13-1 0,14 0 16,-1-13-16,-13 13 0,13-13 0,0 0 15,1 0-15,-1 0 0,0 0 16,0-13-16,-13 0 16,0 0-16,-13-1 15,0 14-15,0-13 0,-1 13 16,1 0-16,0-13 0,0 13 0,-1 0 15,-12 0 1</inkml:trace>
  <inkml:trace contextRef="#ctx0" brushRef="#br0" timeOffset="141510.96">15729 12528 0,'0'26'31,"0"-12"-31,0 12 16,-13-13-16,13 14 0,0-14 0,0 14 15,0-1-15,0 0 0,0-12 0,0 12 16,0 1-16,0-14 0,0 0 16,0 0-16,0 14 0,0-14 0,0 0 15,0 0-15</inkml:trace>
  <inkml:trace contextRef="#ctx0" brushRef="#br0" timeOffset="141719">15518 12766 0,'40'-13'31,"-27"13"-31,13 0 16,-13 0-16,14 0 0,-1 0 0,1 0 15,12 0-15,-12 0 0,-1 0 16,14 0-16,-13-13 0,-1 13 15,0 0-15,1 0 0,-1 0 0,14 0 16,-13-14-16</inkml:trace>
  <inkml:trace contextRef="#ctx0" brushRef="#br0" timeOffset="142743.81">17079 12594 0,'-66'-26'32,"52"26"-32,-12 0 0,13 0 15,0 0-15,-1 0 16,1 0-16,13 13 16,-13-13-16,26 13 0,-13 0 15,0 1-15,13-1 0,1 0 0,-1 0 16,0 1-16,0 12 0,0-13 15,-13 0-15,14 1 0,-1-1 16,-13 0-16,0 0 0,0 1 0,-13-1 16,-1 0-16,1 0 15,0-13-15,0 0 0,0 0 16,-14 0-16,14 0 16,0-13-16,-1 13 15,14-13-15,0 0 16,14-1-16,-1 1 15,0 0-15,0 13 0,1-13 16,12-1-16,-13 1 0,0 0 0,14 0 16,-14 0-16,0-1 0,1 14 15,-1-13-15,0 0 0,0 0 0,-13-1 16,0 1-16,0 0 0,0 0 16,0-1-16,-13 14 15,0-13-15,0 13 0,-1-13 16,1 13-16,0 0 0,-14 0 15,14 13-15,0-13 0,0 0 16,0 0-16,13 13 0,-14-13 16</inkml:trace>
  <inkml:trace contextRef="#ctx0" brushRef="#br0" timeOffset="143176.59">17264 12515 0,'27'26'31,"-27"-13"-31,13 1 0,-13-1 0,13 0 16,-13 0-16,13 1 0,-13-1 16,0 13-16,0-12 0,0-1 0,0 0 15,0 0-15,0 0 0,-13 1 16,13-1-16,-13 0 0,13 0 15,-13-13-15,-1 14 16,1-14-16,13-14 31,13-12-31,1 26 0,-14-13 16,13-1-16,0 1 0,0-13 16,0 13-16,-13-1 0,14 1 0,-1-13 15,0 12-15,-13 1 0,0 0 16,13 0-16,-13-1 0,0 1 15,0 0-15,0 0 0,-13 13 0,13-13 16,-13-1-16,0 14 0,-1 0 0,1-13 16,0 13-16,0 0 0,0 0 15,-1 0-15,1 0 0,0 13 0,0-13 16,-1 0-16,1 14 0,0-14 16,13 13-16</inkml:trace>
  <inkml:trace contextRef="#ctx0" brushRef="#br0" timeOffset="143622.6">17582 12449 0,'39'26'31,"-39"-13"-31,0 1 16,0-1-16,0 0 0,-13 0 15,0 0 1,13 1-16,0-1 15,0 0 1,13-13-16,-13 13 16,13 1-16,-13-1 15,13-13-15,-13 13 0,0 0 16,0 1-16,0-1 16,-13-13-16,13 13 0,-13-13 15,13 13-15,-13-13 0,0 13 16,-1-13-16,1 14 0,0-14 0,0 13 15,-1-13-15,1 0 16,13-13 0,0-1-1</inkml:trace>
  <inkml:trace contextRef="#ctx0" brushRef="#br0" timeOffset="143944.03">17886 12382 0,'-27'40'31,"14"-27"-31,13 1 0,0 12 16,-13-13-16,13 1 0,0 12 0,0-13 16,0 14-16,0-14 0,13 0 15,0 0-15,-13 1 0,14-1 0,-1 0 16,0 0-16,0-13 0,1 0 0,-1 0 15,0 0-15,13 0 16,-26-13-16,0 0 16,0 0-16,-13 13 15,0-14-15,0 14 0,-14 0 16,14 0-16,-13 0 0,-1 0 0,1 0 16,-14 0-16,14 14 0,-14-14 0,0 13 15,0 0-15,1-13 0,-1 13 16,-13 1-16</inkml:trace>
  <inkml:trace contextRef="#ctx0" brushRef="#br0" timeOffset="145240.73">6284 13335 0,'-13'13'16,"26"-26"-16,-13 39 16,13-26-16,0 0 0,14 0 15,-14 0-15,13 14 0,14-14 0,-13 0 16,26 0-16,-1 0 0,15 0 0,-14-14 16,26 14-16,0 0 0,1 0 15,12 0-15,-12 0 0,-1 0 0,14 0 16,-14 0-16,0-13 0,1 13 0,12 0 15,-12 0-15,12 0 0,-12 0 16,12 0-16,-12-13 0,12 13 16,-12 0-16,-1 0 0,14 0 0,-14 0 15,14 0-15,-14 0 0,-13 0 16,13 0-16,1 0 0,-1 0 0,1 0 16,-1-13-16,0 13 0,-26 0 0,27 0 15,-14 0-15,0 0 0,-13 0 16,26-13-16,-13 13 0,14 0 0,-14 0 15,0-14-15,-13 14 0,13 0 0,-13 0 16,13 0-16,-13 0 0,0 0 16,13 0-16,-13 0 0,13 0 0,0 0 15,-13 0-15,27 0 0,-27-13 0,13 13 16,0 0-16,0 0 0,0 0 16,14 0-16,-1-13 0,-13 13 0,13 0 15,-12 0-15,12 0 0,0 0 16,-13 0-16,14-13 0,-1 13 0,1 0 15,-1 0-15,0 0 0,-13 0 16,14 0-16,-1 0 0,1 0 16,-1 0-16,14 0 0,356-14 31,-250 14-31,-93 0 0,-1 0 0,1 0 16,0 0-16,26 0 0,-26 0 15,0 0-15,40 0 0,-41 0 0,28 0 16,-1 0-16,-26 0 0,0 14 0,39-14 15,-12 0-15,-1 0 0,-26 0 16,-1 0-16,28-14 0,-1 14 0,14 0 16,-14 0-16,-26 0 0,26 0 15,0 0-15,1 0 0,-1-13 0,-26 13 16,0 0-16,26 0 0,0-13 0,-26 13 16,0 0-16,0 0 0,-14-13 15,1 13-15,-1 0 0,-12 0 0,-1 0 16,-13 0-16,-13-14 0,0 14 0,-13 0 15,-14 0-15,-12 0 0,-1 0 16,0 0-16</inkml:trace>
  <inkml:trace contextRef="#ctx0" brushRef="#br0" timeOffset="145991.9">12197 13679 0,'14'0'0,"-28"0"0,41 0 0,-54 0 63,14 0-63,0 13 0,0-13 15,-1 0-15,1 13 16,26 1-1,-13-1 1,14-13-16,-1 13 0,0-13 0,0 13 16,1-13-16,-14 14 0,13-14 15,0 13-15,0-13 0,0 13 16,-13 0-16,14-13 16,-28 27-1,1-27-15,0 13 0,-13 0 0,-14 0 16,0 1-16,0-1 0,1 0 0,-1 0 15,0 1-15,1-1 0,-1 0 16,14-13-16,-1 13 0,1-13 0,-1 0 16,1 0-16,-1 0 0</inkml:trace>
</inkml:ink>
</file>

<file path=ppt/ink/ink16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3:16:04.094"/>
    </inkml:context>
    <inkml:brush xml:id="br0">
      <inkml:brushProperty name="width" value="0.05292" units="cm"/>
      <inkml:brushProperty name="height" value="0.05292" units="cm"/>
      <inkml:brushProperty name="color" value="#0070C0"/>
    </inkml:brush>
  </inkml:definitions>
  <inkml:trace contextRef="#ctx0" brushRef="#br0">6072 6932 0,'-13'0'16,"0"0"-16,-1 13 218,14 27-218,0 0 16,-13 39-16,0-13 16,0-13-16,13 0 15,0 0-15,0 0 16,0-13-16,0-1 16,0 1-16,0 0 0,0 26 15,13-27 1,-13 14-16,0-26 15,0 13-15,0-1 16,0-26 0,0 14-16,0-14 0,0 27 15,0 0-15,0-27 16,0 0-16,-13-13 16,13 13-1,0 0-15,0 1 16,0-1-1,0 0-15,0 14 16,0-14-16,0 0 0</inkml:trace>
  <inkml:trace contextRef="#ctx0" brushRef="#br0" timeOffset="1226.67">8334 6839 0,'40'14'31,"0"12"-15,-14-13-16,14 14 16,13-14-16,-40 0 15,0 1-15,27-14 16,26 0-1,-13 0-15,-53 13 94,13 26-78,-13 1-16,13-13 15,1 26-15,-14 13 16,0 39 0,0-38-16,13-1 0,-13 13 15,0-26 1,0 13-16,0-13 16,0 27-16,0-14 15,0-27-15,0 14 16,0-26-16,0 12 15,0-12-15,13-14 16,-13 0 0,-26 1 187,-1-14-203,1 0 15</inkml:trace>
  <inkml:trace contextRef="#ctx0" brushRef="#br0" timeOffset="3860.47">6059 8427 0,'0'40'16,"-13"-27"-16,13 27 15,0-1-15,0 1 0,0 13 0,0 0 16,-14 13-16,14 0 0,-13 0 0,13 0 16,-13-13-16,13 13 0,-13-26 15,13 13-15,-13 0 0,13-13 0,0-1 16,0-12-16,0-1 0,0 1 0,0-14 16,0 0-16,0 14 0,0-14 15,0 0-15,0-53 31</inkml:trace>
  <inkml:trace contextRef="#ctx0" brushRef="#br0" timeOffset="4612.39">5861 8493 0,'0'0'0,"13"0"0,0 0 0,0 0 15,0 0-15,14 0 0,-1 0 16,1 0-16,26 0 0,0 0 16,0 0-16,13 0 0,13-13 0,0 13 15,14 0-15,0 0 0,-1-13 0,41 13 16,-1-14-16,0 1 0,-13 13 15,-26-13-15,26 0 0,13 0 0,-39-1 16,-1 14-16,1-13 0,0 0 16,-14 0-16,0-1 0,1 14 0,-14-13 15,0 0-15,-13 13 0,0-13 0,-13 13 16,12 0-16,-25-14 0,-1 14 0,1 0 16,-14 0-16,0 0 0,0 0 15,1 0-15,-1 0 0,0 0 16,0 0-1,1 14-15,-14-1 0,13 0 16,-13 0-16,0 1 16,0 12-16,0-13 0,13 14 0,-13-1 15,0 1-15,0 12 0,13 1 0,-13 0 16,0-1-16,14 1 0,-14 0 16,13-1-16,0 1 0,-13 0 0,13-14 15,0 14-15,1-14 0,-1 14 16,-13-13-16,13-14 0,0 13 0,1-12 15,-14 12-15,13-13 0,-13 0 16,13 1-16,-13-1 0,0 0 0,0 0 16,13-13-16,-26 14 0,13-1 0,-13 0 15,0 0-15,-1-13 16,1 14-16,-13-14 0,-1 13 0,-12-13 16,-14 13-16,13-13 0,-13 0 0,-13 13 15,0-13-15,-27 0 0,14 13 0,-14-13 16,-13 0-16,14 14 0,-41-14 15,1 13-15,-13 0 0,12-13 0,1 13 16,-13 1-16,25 12 0,-12-13 0,0 0 16,13 1-16,0 12 0,0-13 15,0 14-15,26-14 0,14 0 16,-80 14-16,80-14 0,-1 0 16,14 0-16,-13 1 0,-1-1 0,14 13 15,-13-26-15,13 14 0,13 12 16,0-26-16,13 13 0,-13-13 0,13 14 15,14-14-15,0 0 0</inkml:trace>
  <inkml:trace contextRef="#ctx0" brushRef="#br0" timeOffset="10771.34">8837 8903 0,'-13'0'0,"53"-13"31,-14 13-16,0 0-15,14-13 0,13 13 16,0 0-16,26-13 0,-12 13 0,-15-14 16,1 14-16,0 0 0,0 0 0,0-13 15,0 13-15,0 0 0,0 0 0,-13-13 16,-1 13-16,-12 0 0,-1 0 16,1 0-16,-14 0 0,0 0 0,0 0 15,0 0-15,1 0 0,-1 0 16,0 0-16,-53-13 47,27 13-47</inkml:trace>
  <inkml:trace contextRef="#ctx0" brushRef="#br0" timeOffset="11137.37">9538 8652 0,'13'0'31,"1"0"-31,-1 0 0,0 0 16,0 13-16,1-13 0,-1 0 16,13 13-16,-12-13 0,12 14 0,0-14 15,1 13-15,-14-13 0,14 13 0,-1 0 16,-13-13-16,14 13 0,-14-13 0,0 14 15,0-1-15,1-13 0,-1 13 16,0-13-16,0 13 0,1 1 16,-1-1-16,-13 0 0,0 0 15,0 1 1,-13-1-16,13 0 0,-14 0 0,1 0 16,-13 14-16,12-1 0,-12 1 0,-1-1 15,1 1-15,13-1 0,-14 1 16,1-14-16,-1 13 0,1 1 0,0-1 15,-1-12-15,14 12 0,-14 0 0,14-12 16,0-1-16,0 13 0,-1-12 0</inkml:trace>
  <inkml:trace contextRef="#ctx0" brushRef="#br0" timeOffset="16282.46">19037 5636 0,'-27'0'0,"-12"39"15,25-25 1,-12 12-16,13 0 0,-1 14 0,1-13 16,0-1-16,13 14 0,-13-14 0,13 1 15,-13-14-15,13 13 0,0-12 0,0-1 16,13 13-16,-13-13 0,13 1 15,-13-1-15,13 0 0,0-13 0,1 13 16,-1-13-16,0 0 0,0 0 16,1-13-16,-1 13 0,-13-13 15,13 0-15,-13-1 16,0 1-16,0 0 0,0 0 0,0 0 16,-13 13-16,13-14 0,-13 1 0,13 0 15,-14 13-15,1-13 0,0 13 16,0-14-16,-1 14 0,1 0 15,0 0-15,0 0 16,0 0-16</inkml:trace>
  <inkml:trace contextRef="#ctx0" brushRef="#br0" timeOffset="16599.91">19143 5781 0,'-27'40'16,"27"-27"0,0 0-16,-13 1 0,13-1 0,13 13 15,-13-13-15,0 1 0,13-1 16,1 0-16,12 0 16,-13-13-16,1 14 0,-1-14 0,13 0 15,-13 0-15,1-14 0,-1 14 0,0-13 16,0 13-16,1-13 0,-1 0 15,-13-1-15,0 1 16,0 0-16,0-13 0,0 12 0,0 1 16,-13 0-16,13 0 0,-14-1 0,1 1 15,13 0-15,-13 0 0,0 13 0,-1 0 16,1 0-16,0 0 0,0 0 16,0 0-16,-1 13 0,1-13 15</inkml:trace>
  <inkml:trace contextRef="#ctx0" brushRef="#br0" timeOffset="16869.27">19394 5768 0,'0'13'0,"0"-26"0,0 39 16,0-12-16,0-1 0,0 0 15,0 0-15,0 1 0,13-1 16,0 0-16,-13 0 0,14-13 15,-1 0-15,0 0 0,0 0 16,1 0-16,-1 0 0,0 0 0,0-13 16,0 13-16,-13-13 0,14 13 0,-14-13 15,0-1-15,0 1 0,0-13 0,0 12 16,-14 1-16,1-13 0,0 12 16,0-12-16,0 13 0,-1 0 15,1 13-15,0 0 0,0-14 0,-1 28 16,-12-14-16,-14 13 0,14 13 15,-1 1-15,-12-14 0,12 13 0,1 1 16</inkml:trace>
  <inkml:trace contextRef="#ctx0" brushRef="#br0" timeOffset="17397.43">18891 6601 0,'27'-13'0,"-54"26"0,67-26 16,-27 13-16,0 0 0,1 0 16,-14 13-1,0 1-15,0-1 0,0 0 16,-14 0-16,1 14 0,0-14 0,0 0 15,-1 14-15,1-14 0,0 0 0,0 0 16,13 1-16,-13-1 0,13 0 16,-14-13-16,14 13 0,-13-13 0,13 13 15,0 1-15,0-1 16,13-13-16,1 0 16,-1 0-16,0 0 15,0 0-15,14 0 0,-14-13 0,13 13 16,1 0-16,-1-14 0,1 1 0,-14 13 0,13-13 15,-12 13-15,12-13 0,-13 13 16,1-13-16,-1-1 0,0 14 16,0-13-16,1 0 0</inkml:trace>
  <inkml:trace contextRef="#ctx0" brushRef="#br0" timeOffset="17612.48">19222 6535 0,'13'-13'0,"0"13"15,14-13-15,-1 13 16,-26 13-16,14-13 16,-1 13-1,0 0-15,-13 1 0,13-1 16,-13 0-16,0 0 0,0 1 0,0-1 16,0 0-16,0 14 0,0-14 0,-13 0 15,13 0-15,0 0 0,0 1 16,0-1-16,0 0 0,0 0 15</inkml:trace>
  <inkml:trace contextRef="#ctx0" brushRef="#br0" timeOffset="18136.48">19248 6707 0,'-13'-13'15,"26"26"-15,-13-39 16,14 13-1,-1 13 1,0-14-16,14 14 0,-14-13 0,0 13 16,14-13-16,-1 13 0,0-13 0,1-1 15,13 1-15,-27 0 0,13 0 16,-13-1-16,14 1 0,-14 0 0,0 13 16,-13-13-16,14 13 0,-1-13 15,0-1 1,-39 28-1,26-1-15,-14 0 16,1 0-16,13 0 0,-13 1 16,13-1-16,-13 0 0,13 0 15,0 1-15,0-1 0,0 0 16,13-13-16,-13 13 0,13-13 16,0 0-16,1 0 15,-14-13-15,13 13 0,0 0 0,0-13 16,-13 0-16,14-1 0,-1 1 0,-13 0 15,13 0-15,-13-1 0,13 1 0,-13 0 16,0 0-16,0 39 47,-13-13-47,13 1 16,0-1-16,0 0 0,0 0 0,0 14 15,0-14-15,0 0 0,0 14 0,0-14 16,13 0-16,-13 14 0,13-14 0,-13 0 15,14 14-15,-14-14 0,13 0 16,-13 0-16,0 0 0,0 14 0,0-14 16</inkml:trace>
  <inkml:trace contextRef="#ctx0" brushRef="#br0" timeOffset="18667.72">18944 7448 0,'13'0'0,"14"0"16,-14 13-1,-13 0 1,0 1-16,0-1 0,0 0 16,0 0-1,0 1 1,13-14-16,-13 13 0,14 0 16,-14 0-16,13 1 15,-13-1-15,0 0 16,0 0-16,-13-13 0,13 13 15,-14 1-15,1-1 0,0-13 16,13 13-16,-13-13 0,13 13 0,-14-13 16,28-26-1,-1 13 1</inkml:trace>
  <inkml:trace contextRef="#ctx0" brushRef="#br0" timeOffset="18933.34">19143 7527 0,'0'0'0,"13"-13"0,0 0 16,0 26 15,-13 0-31,14-13 0,-14 14 16,13-1-16,0-13 0,-13 13 15,13-13-15,0 0 0,1 13 16,-1-13-16,0 0 0,0 0 0,1 0 16,-1 0-16,0-13 0,0 13 15,-13-13-15,0 0 16,0-1-16,-13 1 15,0 0-15,13 0 16,-13 13-16,-1 0 0,14-14 0,-13 14 16,0 0-1,0 0-15</inkml:trace>
  <inkml:trace contextRef="#ctx0" brushRef="#br0" timeOffset="19200.84">19447 7395 0,'13'0'0,"-13"27"16,0-14-16,0 0 15,13 0-15,-13 0 0,0 1 16,0-1-16,14 0 16,-1 0-16,0-13 0,0 14 15,0-14-15,1 0 0,-1 0 0,0 0 16,0-14-16,1 14 0,-1 0 15,0-13-15,-13 0 0,13 13 0,-13-13 16,0-1-16,0 1 0,-13 0 0,13 0 16,-13-14-16,0 27 0,13-13 0,-14 0 15,1 13-15,0 0 0,0 0 16,-1 0-16,1 0 0,-13 13 16,13 0-16,-14 14 0,1-1 0,-1-13 0,1 14 15</inkml:trace>
  <inkml:trace contextRef="#ctx0" brushRef="#br0" timeOffset="19716.29">19129 8176 0,'-13'13'15,"0"0"1,0 0-16,-1-13 0,1 14 0,0 12 16,0-13-16,-14 0 0,14 1 0,0-1 15,0 0-15,-1 0 0,1 1 16,0-1-16,13 0 0,-13 0 0,13 1 15,0-1-15,0 0 16,13-13-16,-13 13 16,13-13-16,0 0 0,1 0 15,12 0-15,-13 0 0,14 0 0,-1 0 0,1-13 16,-1 13-16,1 0 0,-1-13 16,-13 13-16,14-13 0,-14-1 15,0 14-15,0-13 0,1 0 16,-14 0-16</inkml:trace>
  <inkml:trace contextRef="#ctx0" brushRef="#br0" timeOffset="19908.59">19222 8215 0,'-13'-13'16,"0"0"-16,-1 13 15,1 0 1,13 13-16,-13-13 0,13 13 16,-13 1-16,13-1 0,0 0 0,0 0 15,0 14-15,-14-14 0,14 13 16,0-12-16,0 12 0,0-13 15,14 14-15,-14-14 0,0 13 0,0-12 16,13-1-16,-13 0 0,0 0 0,13 1 16,0-1-16,1 0 15,-1-13-15</inkml:trace>
  <inkml:trace contextRef="#ctx0" brushRef="#br0" timeOffset="20548.62">19473 8242 0,'0'-13'0,"0"26"0,-13-26 16,0 26-1,0 0-15,13 0 16,-14 0-16,14 1 0,-13 12 16,13-13-16,0 14 0,0-14 0,0 0 15,13 1-15,-13-1 16,14-13-16,-1 13 16,0-13-16,0-13 0,1 13 0,-1-13 15,0-1-15,-13 1 16,13 0-16,-13 0 0,0-1 15,0 1-15,0 0 0,-13 0 16,13-1-16,-13 1 0,13 0 16,-13 13-16,13-13 0,-14 0 15,41 13 32,-14 0-31,-13 13-16,13-13 0,0 0 15,-13 13-15,14-13 16,-1 13-16,0 0 16,0-13-16,1 0 15,-1 14-15,0-14 0,0 0 16,14-14-16,-14 14 0,0-13 16,0 13-16,1-13 0,12-13 15,-26 12 1,0 1-16,0 0 0,0 0 0,0-1 15,-13 1-15,13 0 0,-13 13 16,-1-13-16,1-1 16,0 14-16,0 14 0,0-14 0,-1 13 15,1 0-15,-13 0 0,12 1 0,-12 12 16,13-13-16</inkml:trace>
  <inkml:trace contextRef="#ctx0" brushRef="#br0" timeOffset="21205.53">19275 9036 0,'13'0'0,"-13"-14"0,27 41 31,-27-14-15,0 0-16,-14-13 0,14 13 0,-13 1 16,13-1-16,-13 0 15,13 0-15,0 1 16,13-1-16,0 0 16,1 0-16,-1-13 15,-13 14-15,13-14 0,-13 13 0,13 0 16,-13 13-1,-13-26-15,13 14 0,-13-1 0,0 0 16,-1 0 0,1-13-16,-66 27 62,52-40-31</inkml:trace>
  <inkml:trace contextRef="#ctx0" brushRef="#br0" timeOffset="21304.55">19487 8969 0,'185'225'31</inkml:trace>
  <inkml:trace contextRef="#ctx0" brushRef="#br0" timeOffset="21473.37">19460 9128 0,'0'0'0,"-13"0"15,39-13 1,-12 13-16,-1 0 16,0 0-16,0-13 0,14 13 0,12-14 15,-12 1-15,-1 13 0,1-13 16,12 0-16</inkml:trace>
  <inkml:trace contextRef="#ctx0" brushRef="#br0" timeOffset="21725.24">19910 8930 0,'0'0'0,"-13"0"15,13-14-15,-14 14 16,1 14-16,0-14 16,0 13-1,26 0-15,-13 0 16,13 1-16,0-1 0,1 0 15,-14 0-15,13-13 0,0 14 16,-13-1-16,13-13 16,-13 13-16,0 0 0,0 0 15,-13-13 1,13 14-16,-13-14 0,0 0 16,-1 13-16,1-13 0,0 0 0,0 0 15,0 13-15,-1-13 0,1 0 0,0 13 16,0-13-16,-1 0 0</inkml:trace>
  <inkml:trace contextRef="#ctx0" brushRef="#br0" timeOffset="22185.4">19500 8996 0,'0'-13'0,"-27"13"16,14 13-1,0-13-15,0 13 16,-1-13-16,1 13 0,-13 1 16</inkml:trace>
  <inkml:trace contextRef="#ctx0" brushRef="#br0" timeOffset="28295.36">5543 11112 0,'-53'14'0,"80"-1"31,-14-13-31,0 0 0,27 0 0,-1 0 16,14 0-16,27 0 0,-1 0 0,0 0 16,1-13-16,12 13 0,-12 0 15,-1-14-15,-13 1 0,14 13 16,-27-13-16,0 13 0,-1 0 0,-12-13 15,-13 13-15,12 0 0,-25 0 16,12 0-16,-13 0 0,0-13 0,1 13 16,-1 0-16,-13 13 0,-13 0 15,-1 0 1,-12-13-16</inkml:trace>
  <inkml:trace contextRef="#ctx0" brushRef="#br0" timeOffset="28596.62">5305 11523 0,'53'0'15,"-27"0"1,14 0-16,13-14 0,0 14 0,13-13 16,13 0-16,1 13 15,-14-13-15,13-1 0,1 14 0,-14-13 0,13 13 16,-26 0-16,0-13 0,0 13 0,-13 0 15,-1 0-15,-12 0 0,-1 0 16,1 0-16,-14-13 0,13 13 0,-12 0 16,-1 0-16,0 0 0,0 13 15,0-13-15</inkml:trace>
  <inkml:trace contextRef="#ctx0" brushRef="#br0" timeOffset="29549.62">5503 10530 0,'27'-13'16,"-14"13"-16,252-53 31,-199 40-31,0 0 0,0 0 0,13 13 16,1-14-16,-14 1 0,0 13 15,0-13-15,0 13 0,-13-13 0,-13 13 16,13 0-16,-13-14 0,-14 14 0,1 0 16,-1 0-16,0 0 0,-12 0 15,-1 0-15,0 0 0,0 0 0,-13 14 16</inkml:trace>
  <inkml:trace contextRef="#ctx0" brushRef="#br0" timeOffset="29862.48">5768 10676 0,'106'-13'0,"-67"-1"16,14 1-16,357-53 31,-343 66-31,-14-13 0,-1 13 0,1-13 15,0 13-15,-13-14 0,0 14 16,-1-13-16,-12 13 0,-1 0 0,1 0 16,-1-13-16,-13 13 0,1 0 0,-1 0 15,0 0-15,0 0 0,1 0 16,-1 0-16,0 0 16,-13 13-1,0 0 1,-13-13-16</inkml:trace>
  <inkml:trace contextRef="#ctx0" brushRef="#br0" timeOffset="44244.07">10610 10755 0,'13'-26'0,"0"26"0,0-13 0,1 13 16,-1 0-16,13 0 0,-12 0 0,-1 0 15,0 0-15,0 13 0,1-13 0,-1 13 16,0-13-16,-13 13 0,0 1 16,0-1-16,0 13 0,-13-13 15,0 27-15,-14-13 0,14-1 0,-14-13 16,1 14-16,-1-1 0,14-13 0,0 1 15,0-1-15,0 0 16,-1-13-16,14 13 0,-13-13 16,13 14-16,13-1 15,1-13-15,25 0 16,1-13 0,-27 13-16,14 0 0,-14 0 0,13-14 15,1 14-15,-14 0 0,13-13 0,-12 13 16,12-13-16,-13 13 0,14-27 15,-14 27-15,14-13 0,-14 0 16</inkml:trace>
  <inkml:trace contextRef="#ctx0" brushRef="#br0" timeOffset="44455.25">11099 10716 0,'0'-14'16,"0"28"-16,-13-41 0,13 54 31,0-14-31,0 0 15,0 0-15,0 14 0,-13-1 16,13 1-16,0-1 0,0 1 16,0-14-16,0 13 0,-13 1 0,13-1 15,0-13-15,0 14 0,0-14 0,13 0 16,-13 1-16,0-1 0,0 0 16,13-13-16,0 0 0,0 0 0,14 0 15,-14-13-15</inkml:trace>
  <inkml:trace contextRef="#ctx0" brushRef="#br0" timeOffset="44964.47">11364 10676 0,'0'-13'15,"0"-1"-15,13 14 16,0 0-16,1 0 0,-1 0 16,0 0-16,0-13 0,0 13 15,1 0-15,-1 0 0,0 13 0,0-13 16,1 0-16,-1 14 16,0-1-16,-13 0 0,13-13 15,-13 13-15,0 1 0,0-1 0,0 0 16,0 0-16,0 14 0,0-14 15,-13 0-15,13 14 0,0-14 0,0 0 16,-13 14-16,13-14 0,0 0 16,0 0-16,0 1 0,0-1 0,0 0 15,0 0-15,0 0 0,0 1 16,13-1 0,0-13-1,1-13 1</inkml:trace>
  <inkml:trace contextRef="#ctx0" brushRef="#br0" timeOffset="45184.55">11337 10927 0,'0'0'0,"-13"0"31,40-13-31,-14 13 15,13 0-15,-12 0 16,-1-13-16,13 13 0,1 0 0,-14 0 16,13-13-16,1 13 0,-1 0 0,1-14 15,-1 14-15,1 0 16,-1-13-16,1 13 0,-14-13 0,13 0 16,1 13-16</inkml:trace>
  <inkml:trace contextRef="#ctx0" brushRef="#br0" timeOffset="45495.52">11933 10689 0,'-27'0'16,"54"0"-16,-67 13 0,27-13 15,13 14-15,-13-14 0,-1 13 0,14 0 16,-13 0-16,0 1 16,13-1-16,0 13 0,0-13 15,0 1-15,13-1 0,-13 0 0,13-13 0,14 13 16,-14 1-16,13-14 0,-12 0 15,12 0-15,-13 0 0,14 0 0,-14 0 16,0 0-16,14-14 0,-14 1 16,0 13-16,-13-13 0,13 0 15,-13-1-15,0 1 0,0 0 16,-13 0-16,13 0 0,-13-1 0,0 1 16,0 0-16,-1 0 0,1-1 0,0 14 15,0-13-15,-1 13 0,1-13 16,0 13-16,0 0 0,-1 0 15,14 13-15</inkml:trace>
  <inkml:trace contextRef="#ctx0" brushRef="#br0" timeOffset="45831.38">12369 10557 0,'0'0'0,"13"0"16,-39 13 15,13-13-31,13 13 16,-13 1-16,-1-1 0,1-13 0,0 13 15,0 0-15,13 0 0,-14-13 16,14 14-16,-13-14 0,13 13 16,-13 0-16,13 0 15,0 1 1,13-1-16,0 0 15,1-13-15,-1 0 16,0 13-16,0-13 0,1 0 16,-1 0-16,0 0 15,0 0-15,0 0 0,1 0 0,-1 0 16,-13-13-16,13 13 0,0 0 0,1-13 16,-1 13-16,-13-13 15,13-1-15</inkml:trace>
  <inkml:trace contextRef="#ctx0" brushRef="#br0" timeOffset="46045.39">12409 10517 0,'-13'0'0,"26"0"16,-40 13-16,27 1 16,0-1-16,-13 0 0,13 14 15,-13-1-15,13 27 0,0-40 16,-13 14-16,13-1 0,0 1 15,0-1-15,0-13 0,0 14 0,0-14 16,0 13-16,0-12 0,0-1 0,0 0 16,0 0-16,0 1 15,0-1-15,-13-13 0,13 13 16,-14-13-16</inkml:trace>
  <inkml:trace contextRef="#ctx0" brushRef="#br0" timeOffset="46791.92">9062 11099 0,'13'0'16,"-26"0"-16,26-13 16,-13 26-1,13 0-15,-13 1 0,14-1 16,-1 13-16,-13-12 0,13 12 0,0 1 15,14-1-15,-14 0 0,14-12 16,-14 12-16,0-13 0,0-13 0,14 14 16,-14-1-16,0-13 0,0 0 0,-13 13 15,14-13-15,-1 0 0,0-13 16,0 0-16,-13-1 0,13 1 16,-13 0-16,0 0 0,0-14 15,0 1-15,0-1 0,0 1 0,0-1 16,0 1-16,-13-1 0,13 14 15,0 0-15,0-13 0,-13 12 0,13 1 16,0 0-16,13 39 31</inkml:trace>
  <inkml:trace contextRef="#ctx0" brushRef="#br0" timeOffset="47401.9">9578 11086 0,'-13'0'0,"-1"0"0,-38 40 31,38-27-15,1 0-16,13 14 0,0-14 0,-13 0 0,13 0 15,0 1-15,0-1 0,13 0 16,-13 0-16,13-13 15,-13 13-15,14-13 0,-1 0 16,0 0-16,-13-13 16,13 13-16,-13-13 0,0 0 15,13 0-15,-13-1 16,0 1-16,14 0 0,-14 0 16,0-1-16,0 1 15,13 0-15,0 0 16,0 13-16,1 0 15,-14 13-15,13-13 0,-13 13 16,13-13-16,-13 13 0,13 1 16,-13-1-16,14-13 0,-14 13 0,0 0 15,0 1-15,13-1 0,-13 0 16,0 0 0,13-26-1,0 0 1,-13 0-16,13-1 15,-13 1-15,14 0 0,-14 0 0,13-1 16,0 1-16,0 0 0,1 0 16,-1 13-16,0-14 0,0 14 15,0 0-15,1 0 16,-1 14-16,-13-1 16,13 0-16,-13 0 0,0 1 15,0-1-15,0 0 16,0 0-16,0 1 0,0-1 15,0 0-15</inkml:trace>
  <inkml:trace contextRef="#ctx0" brushRef="#br0" timeOffset="47648.13">9842 10888 0,'-13'0'47</inkml:trace>
  <inkml:trace contextRef="#ctx0" brushRef="#br0" timeOffset="48077.99">10107 11046 0,'0'-13'15,"-66"53"16,53-27-31,-1 0 16,14 0-16,-13 1 0,13-1 16,0 0-16,0 0 15,13-13-15,1 0 16,-1 0 0,0-13-16,0 13 0,-13-13 0,14 13 15,-14-13-15,13-1 0,0 1 16,0 0-1,1 13 1,-14 13 0,13-13-1,-13 13-15,13 1 16,0-14 15,0 0-31,1-14 16,-1 14-1,0 0-15,0 0 16,1 0 0,-1 0-1,0-13 1,0 13 0</inkml:trace>
  <inkml:trace contextRef="#ctx0" brushRef="#br0" timeOffset="49774.5">8559 11443 0,'13'13'32,"-13"1"-32,0-1 0,14 13 15,-14-12-15,13 12 16,0 1-16,0-1 0,1 0 0,-1 1 16,0-1-16,0 1 0,-13-14 0,14 0 0,-1 14 15,0-14-15,0-13 16,0 13-16,1 0 0,-1-13 0,0 14 15,0-28-15,1 14 0,-1-13 16,0-13-16,0 13 16,1-14-16,-14-13 0,13 1 0,-13-1 15,0 0-15,0-13 0,0 0 0,0 1 16,-13-15-16,-1 14 0,1-13 0,0 0 16,-14 13-16,14 0 0,-13 0 15,-1 1-15,1 12 0,-1-13 0,-12 26 16,12-12-16,14 12 0,-14 1 0,1 13 15,13-14-15,0 14 16,-1 0-16,1-1 0,0 1 16,13 0-16,0 0 15,13 13-15,0-13 16,14 13-16,-1 0 0,14-14 0,0 14 16,13-13-16,-1 13 0,1-13 0,14 13 15,12-13-15,14-1 0,-14 1 16,14 0-16,-1 0 0,27 0 15,0-14-15,14 14 0,-14-14 0,13 14 16,0 0-16,0-14 0,1 14 0,12 0 16,1-13-16,-1 12 0,1 1 0,-1-13 15,1 12-15,-1 1 0,14 0 16,-13-14-16,-1 14 0,1 0 0,-1 0 16,1-14-16,-1 14 0,-12 0 15,-1 0-15,-13 13 0,0-14 0,-26 1 16,-1 13-16,1-13 0,-14 0 0,1 13 15,-14-14-15,-13 14 0,0 0 0,-14-13 16,-12 13-16,-1 0 0,-13 0 16,1 0-16,-1 0 0,0 0 15,0 0-15,0 0 0,1 0 0,-14-13 0,13 13 16,0 0 0,0-13 15,-39 26 0,13 0-31,-14 0 16,1 14-16,-14-14 0</inkml:trace>
  <inkml:trace contextRef="#ctx0" brushRef="#br0" timeOffset="50948.28">11284 12753 0,'0'40'32,"0"-27"-32,0 13 15,0 1-15,14-1 0,-14 1 0,13-1 16,0 14-16,0-14 0,1 1 0,-1-1 16,0-13-16,0 14 0,14-14 15,-14 0-15,0-13 0,-13 14 0,13-14 16,1 0-16,-1 0 0,0 0 0,0-14 15,1 14-15,-14-26 0,13 13 16,0-14-16,-13-12 0,13-1 0,-13 0 16,0 0-16,0-12 0,0-15 0,-13 14 15,0-13-15,0 0 0,-1 13 16,1 0-16,0-13 0,0 13 0,-1 14 16,1 12-16,0-13 0,0 14 0,0 13 15,13 0-15,0-14 0,0 14 16,0 0-16,13-1 15,0 1-15,13 0 0,14 0 0,0 13 16,13-14-16,0 14 0,13-13 0,13 13 16,1-13-16,-1 13 0,0-13 15,14 13-15,0-13 0,-1-1 0,40 1 16,-26 0-16,0 0 0,13-1 0,-26 1 16,26 0-16,-27 0 0,1-1 15,-14 1-15,1 0 0,-1 0 0,-13 13 16,0-13-16,-26-1 0,13 14 0,-27-13 15,1 13-15,-1-13 0,-12 13 16,-1 0-16,0 0 0,-13-13 16,13 13-16,-52 13 15,12 0 1,-13 0-16,14 1 0,-14-1 16,-13 13-16,14-13 0,-27 14 0,13-1 15</inkml:trace>
  <inkml:trace contextRef="#ctx0" brushRef="#br0" timeOffset="51487.71">11986 12621 0,'13'-14'0,"27"1"31,-27 13-31,0 13 0,-13 1 16,0-1-16,0 0 15,0 0-15,0 1 0,-13-1 0,13 0 16,-13 0-16,13 0 0,-14 1 0,14-1 15,-13 0-15,13 0 0,-13 1 16,13-1-16,0 0 16,0 0 15,13-13-31,0 14 16,1-14-16,-1 0 0,0 0 15,0 0-15,0 0 0,1-14 0,-1 14 16,0 0-16,0-13 15,1 13-15,-14-13 0</inkml:trace>
  <inkml:trace contextRef="#ctx0" brushRef="#br0" timeOffset="51681.16">12290 12674 0,'0'-14'16,"0"28"-16,0-41 16,0 54 15,0-14-31,0 0 0,0 0 15,0 0-15,0 1 0,0-1 16,0 0-16,0 0 0,-13 1 0,13-1 16,0 0-16,13-13 0,-13 13 0,0 1 15,0-1-15,13-13 16,0 0-16</inkml:trace>
  <inkml:trace contextRef="#ctx0" brushRef="#br0" timeOffset="52020.33">12449 12581 0,'0'0'15,"13"-13"1,13 13-1,1 13 1,-14-13-16,0 0 16,0 13-16,1-13 0,-14 13 0,13-13 15,0 14-15,-13-1 0,13-13 0,-13 13 16,0 0-16,14 1 0,-14-1 16,0 0-16,13 0 0,-13 0 15,0 1-15,0-1 0,0 0 16,0 0-16,13 1 0,-13-1 15,0 0-15,0 0 16,0 1-16,0-1 16</inkml:trace>
  <inkml:trace contextRef="#ctx0" brushRef="#br0" timeOffset="52425.38">12475 12753 0,'-13'0'32,"39"-13"-32,-12-1 15,12 14-15,-13 0 0,0-13 0,14 13 16,-14 0-16,14-13 0,-14 13 16,0 0-16,0 0 0,1-13 15,-1 13-15,0 0 0,0 0 16,0 0-1,1 0-15,-14 13 0,13-13 16,-13 13-16,13 0 0,0 1 16,1-14-16,-14 13 0,13-13 15,0 0-15,14 0 0,-14 0 16,0 0-16,0 0 0,0 0 0,1 0 16,-1-13-16,13 13 0,-26-14 0,14 14 15,-14-13-15,13 0 0,-13 0 16,-13 0-16,13-1 0,-14 1 15,1 13-15,0-13 0,0 0 0,-1 13 16,1-14-16,0 14 0,0 0 16,0 0-16,-1 0 15,28 14 1</inkml:trace>
  <inkml:trace contextRef="#ctx0" brushRef="#br0" timeOffset="52816.43">13652 12594 0,'-13'0'0,"-26"27"16,25-14 0,1 0-16,13 0 0,-13-13 15,0 14-15,-1-1 0,1 0 0,0 0 0,0 0 16,13 1-16,-13-14 0,13 13 16,-14 0-1,28 0 1,-1-13-16,0 0 0,0 0 15,0 0-15,14 0 0,-14 0 0,0 0 16,14 0-16,-14 0 16,0 0-16,14 0 0,-14 0 0,0 0 0,0-13 15,1 13-15,-1 0 0,0-13 16,0 0-16,-13-1 16</inkml:trace>
  <inkml:trace contextRef="#ctx0" brushRef="#br0" timeOffset="53024.66">13666 12581 0,'-14'0'0,"28"0"0,-41 13 16,14-13-16,13 13 15,-13-13-15,13 14 0,-13-1 0,13 0 16,-14 14-16,1-14 0,13 13 0,-13 1 16,0-14-16,13 13 0,-14 1 15,14-1-15,-13 1 0,13-14 0,-13 13 16,13-12-16,0-1 0,0 0 0,0 14 15,0-14-15,13 0 16,0-13-16,-13 13 16,14-26-16,-1 13 0,13 0 0,-12-13 15</inkml:trace>
  <inkml:trace contextRef="#ctx0" brushRef="#br0" timeOffset="53309.16">14473 12462 0,'-14'0'0,"67"-13"31,-39 13-31,12 0 0,1 0 16,-14 0-16,13 0 0,-13 0 15,14 0-15,-14 0 0,0 0 0,1 0 16,-1 0-16,0 13 16</inkml:trace>
  <inkml:trace contextRef="#ctx0" brushRef="#br0" timeOffset="53523.56">14393 12647 0,'0'0'0,"-13"0"0,53 0 32,-27 0-32,0-13 15,0 13-15,1 0 0,12 0 0,-13 0 16,1 0-16,12 0 0,-13-13 15,14 13-15,-14 0 0,13 0 0,-12 0 16,12 0-16,1-14 0,-14 14 0,13 0 16,1-13-16,-14 13 0</inkml:trace>
  <inkml:trace contextRef="#ctx0" brushRef="#br0" timeOffset="69589.39">16073 12303 0,'14'0'31,"-41"-13"31,1 26-62,13-13 0,-14 0 16,14 0-16,-14 13 0,1-13 16,-1 14-16,1-14 0,0 13 0,-14 0 15,0-13-15,14 13 0,12 0 0,-12-13 16,13 14-16,0-1 0,-1 0 15,28 0 1,-14 1-16,13-14 0,0 13 0,0-13 16,27 13-1,-14 0-15,1 1 0,-1-14 0,-12 13 16,12-13-16,-13 13 0,14-13 0,-14 13 16,0 0-16,0 1 0,-13-1 15,0 0-15,-13 0 16,0 1-16,0-1 0,-14 0 0,-12 14 15,12-14-15,-13 0 0,14 0 0,-14 0 16,1 1-16,-1-1 0,0 0 0,14-13 16,-1 0-16,1 13 0,-1-13 15,14 0-15,-13 0 0,12 0 16,1 0-16,0 0 0,0 0 0,13-13 16,13 0-1,0 13 1</inkml:trace>
  <inkml:trace contextRef="#ctx0" brushRef="#br0" timeOffset="70057.28">16325 12356 0,'0'-13'0,"-13"39"31,13-13-31,-14 1 0,14 12 0,-13 1 16,13-1-16,-13 14 0,0-14 15,13 14-15,-14 0 0,1-14 16,13-13-16,-13 14 0,13-1 0,-13 1 0,13-14 16,0 13-16,-14-12 0,14-1 0,0 0 15,0 0-15,0 1 0</inkml:trace>
  <inkml:trace contextRef="#ctx0" brushRef="#br0" timeOffset="70504.31">16285 12422 0,'0'0'0,"13"-26"0,1 12 16,-1 1-16,0 0 0,0 13 0,14-13 0,-1 13 15,1-13-15,-1 13 0,1 0 0,-1 13 16,14-13-16,-1 13 0,-12 0 16,13 14-16,-27-14 0,0 0 15,0 14-15,0-14 0,-13 13 0,0 1 16,-13-1-16,-13 27 0,-1-13 16,-12 0-16,-14-1 0,0 1 0,-13 0 15,-1-1-15,1 1 0,0-14 0,0 1 16,0-1-16,13 1 0,-13-14 0,26 0 15,0 1-15,1-1 0,12-13 16,1 0-16,13 0 0</inkml:trace>
  <inkml:trace contextRef="#ctx0" brushRef="#br0" timeOffset="71023.52">15465 13203 0,'40'-14'32,"-14"1"-32,27 13 0,0-13 0,13 0 15,0 0-15,0-1 0,14 1 16,-1 0-16,80-14 0,-80 14 16,1 0-16,-1 0 0,0 0 0,-13-1 15,-13 14-15,-13-13 0,0 13 0,-1-13 16,-25 13-16,12 0 15,-13 0-15,-39 13 16,-1-13-16,-12 13 16,-1-13-16,-13 14 0,-13-1 0</inkml:trace>
  <inkml:trace contextRef="#ctx0" brushRef="#br0" timeOffset="71317.42">15174 13309 0,'0'0'15,"-27"13"-15,14-13 0,66 0 16,-26 0-16,12-13 16,14-1-16,13 1 0,0 0 0,14 0 15,-14-1-15,13 1 0,1 0 0,-1 0 16,0-1-16,1 1 0,-14 0 16,0 0-16,0 13 0,-13-13 15,0-1-15,-13 14 0,-14-13 0,1 13 16,-1 0-16,-13 0 0,1 0 0,-1 0 15,0 0-15,0-13 0,1 13 16,-14-13 47,0-1-63,13 1 0</inkml:trace>
  <inkml:trace contextRef="#ctx0" brushRef="#br0" timeOffset="71954.67">17462 12065 0,'-66'79'16,"132"-158"-16,-171 185 0,78-66 0,1 12 15,-14-12-15,14 13 0,-1 0 0,1 0 16,12 0-16,-12 0 0,13 0 0,0 0 15,-1-14-15,14 1 16,0 0-16,0-27 0,0 13 0,14 1 16,-1-14-16,0 13 0,0-12 0,0-1 15,14-13-15,-14 13 0,0-13 0,14 0 16,-14-13-16,14 13 0,-1-13 16,-13-1-16,27 1 0,-14-13 0,-12 13 15,12-14-15</inkml:trace>
  <inkml:trace contextRef="#ctx0" brushRef="#br0" timeOffset="72444.95">17859 12184 0,'-13'0'0,"26"0"0,-39 0 0,13 0 0,-1 0 15,1 13-15,0-13 16,0 14-16,0-14 0,-14 13 0,14 0 15,0 0-15,13 0 16,13 1-16,0-1 16,0-13-16,1 13 0,12 0 0,0 1 15,-12-14-15,12 13 0,1 0 0,-1-13 16,-13 13-16,1 0 0,12 1 16,-13-14-16,-13 13 0,13-13 0,-13 13 15,0 0-15,0 1 0,0-1 0,-13 0 16,0 0-16,-13 1 0,-14 12 0,0-13 15,0 14-15,1-14 16,-1 0-16,0 14 0,1-27 0,-1 13 16,0 0-16,14-13 0,13 0 0,-14 13 15,14-13-15,13-13 0,-13 13 0,26-26 32,13 26-32,-12-14 0</inkml:trace>
  <inkml:trace contextRef="#ctx0" brushRef="#br0" timeOffset="72755">18389 12039 0,'-14'0'0,"-12"39"31,13-12-31,13-14 0,-14 13 16,14 14-16,-13 0 0,13-14 0,0 1 16,-13-1-16,13 1 15,0-1-15,0 0 0,0 1 0,0-14 16,0 14-16,0-14 0,0 27 15,0-27-15,0 0 0,0 0 0,0 0 16</inkml:trace>
  <inkml:trace contextRef="#ctx0" brushRef="#br0" timeOffset="73313.38">18111 12462 0,'13'-13'31,"0"13"-31,0 0 0,1-14 16,12 14-16,-13 0 0,27 0 15,-14-13-15,14 13 0,0-13 0,0 0 16,-1 13-16,1-14 0,0 1 0,-1 0 16,14 0-16,-13 0 0,-14-1 15,14-12-15,0 13 0,-14-1 16,-13 1-16,1 13 0,-14-13 15,-40 26 17,27 0-32,-1 1 15,-12-1-15,0 0 0,-1 14 0,14-14 16,-14 13-16,14-13 0,0 1 16,0-1-16,13 0 0,0 0 0,-13 1 15,26-1-15,-13 0 0,0 0 0,13-13 16,0 14-16,0-14 0,1 0 15,-1 0-15,13-14 0,-12 14 0,12-13 16,0 0-16,1-14 0,-1 1 0,-12-14 16,12 1-16,-13-1 0,1 0 15,-1-13-15,0 14 0,-13-1 0,13 0 16,-13 14-16,0-1 0,13 1 16,-13 13-16,0-1 0,-39 41 31,39-14-31,-13 27 0,-14-14 15,14 14-15,13 0 0,-13 13 0,-1-27 16,14 14-16,0-1 0,0 1 16,0-14-16,0 14 0,27 13 15,-14-26-15,0-1 0,1-13 0,12 0 16,0-13-16,-12 14 0,12-14 0,1 0 16</inkml:trace>
  <inkml:trace contextRef="#ctx0" brushRef="#br0" timeOffset="73594.37">19817 11933 0,'-13'13'0,"26"-26"0,-39 26 0,26 0 15,-13 0-15,-1 1 0,14-1 16,-13 27-16,0-14 0,0 14 16,13-1-16,-14-12 0,14 13 0,-13-14 15,13 0-15,0 1 0,0-1 0,0 1 16,13-14-16,-13 13 0,0-12 16,14 12-16,-14-13 0,13 1 0,-13-1 15,0 0-15,13 0 16</inkml:trace>
  <inkml:trace contextRef="#ctx0" brushRef="#br0" timeOffset="73877.48">19725 12012 0,'13'-53'16,"-26"106"-16,39-119 0,-13 39 0,1 14 15,-1 0-15,13 13 0,-12 0 0,-1 13 16,13-13-16,-13 13 0,14 1 15,-1 12-15,1-13 0,-14 14 16,13-1-16,-12 1 0,-14-1 0,13 1 16,-13-1-16,-13 1 0,-14 52 15,1-39-15,-1-1 0,-12-12 16,-1 12-16,-13-12 0,-40 26 16,54-40-16,12 14 0,-12-27 0,12 13 15,1-13-15,12 0 0,1 0 0,0 0 16,13-13-1,13-1-15,0 1 0,14 0 16,-1 13-16</inkml:trace>
  <inkml:trace contextRef="#ctx0" brushRef="#br0" timeOffset="74673.22">20241 12449 0,'13'-14'31,"0"1"-31,0 0 0,-13 0 0,14-1 16,-1 1-16,0-13 0,0-1 0,-13 14 15,13-13-15,-13-1 0,14 14 16,-14 0-16,0-14 0,13 14 16,-13 0-16,0 0 0,0-1 15,-13 14-15,-14 14 16,27-1-1,-13-13-15,13 13 0,-13 0 0,13 1 16,0-1-16,-13 0 0,13 0 0,13 0 16,-13 1-1,0-1-15,13 0 0,0 0 0,0 1 16,1-14-16,12-14 16,-13 14-16,-13-13 15,14 13-15,-1-13 0,0 0 16,0 13-16,-13-14 0,14 1 0,-1 13 0,-13-13 15,13 13-15,0 0 16,14 0 0,-27 13-16,13-13 0,-13 13 0,13 1 15,0-1-15,1 0 0,-14 0 0,26 14 16,-26-14-16,13-13 16,-13 13-16,0 0 0,14-13 0,-14 14 15,13-1-15,0 0 16,0-26 15,-13 0-31,0-1 0,13 1 16,1 0-16,-14 0 0,13 0 15,0-1-15,0 1 0,-13 0 16,14 13-16,-1-13 0,0-1 16,0 14-16,0 0 0,1 14 15,-1-1 1,0 0-16,-13 0 0,0 1 15,0-1-15,0 0 16,0 0-16,0 0 0,0 1 16,-13-1-1</inkml:trace>
  <inkml:trace contextRef="#ctx0" brushRef="#br0" timeOffset="75576.28">21114 12171 0,'-40'-13'16,"27"26"-16,0 0 15,-1-13-15,1 13 0,0-13 16,0 14-16,-1-1 0,14 0 15,-13-13-15,0 13 0,13 0 16,-13-13-16,13 14 0,0-1 0,0 0 16,13-13-1,0-13 1,0 13-16,1 0 16,-1-13-16,0 13 15,0 13 1,1-13-1,-14 13-15,13-13 0,0 13 16,0-13-16,14 0 16,-27-13-16,13 13 0,13-13 15,-12 13-15,-1-13 0,0-1 0,0-12 16,1 13-16,-1-14 0,0 1 16,0-1-16,0-12 0,1 12 15,-1-12-15,0-14 0,-13 26 16,13 14-16,-13 0 0,0-1 0,0 1 15,0 0-15,0 53 32,0-27-32,-13 13 0,13 1 15,-13-1-15,13 1 0,-13 12 16,13-12-16,-14-1 0,14 1 0,0-1 16,-13-12-16,13 12 0,-13-13 0,13 0 15,0 1-15,-13-1 0,0 0 16,-1-26-1,1 0 1,13-1-16,13 1 16,-13 0-16,0 0 0,14 0 0,-1-1 15,0 1-15,0 0 0,0 0 16,1-1-16,-1 1 0,13 13 0,-12-13 16,-1 0-16,0 13 0,0 0 0,1-14 15,-1 14-15,0 0 0,0 0 0,0 0 16,1 14-16,-1-14 15,-13 13-15,13-13 16,-13 13-16,0 0 0,13-13 0,-13 14 0,0 12 16,-13-13-1,13 1-15,0-1 32</inkml:trace>
  <inkml:trace contextRef="#ctx0" brushRef="#br0" timeOffset="75708.42">21590 11986 0,'-13'0'16,"0"0"-1,-1 0-15</inkml:trace>
  <inkml:trace contextRef="#ctx0" brushRef="#br0" timeOffset="76090.39">21696 12025 0,'0'14'0,"-13"-1"16,-1 0-1,14 0-15,0 0 16,-13-13-16,13 14 0,0-1 15,13 0 1,1-13 0,-1-13-1,0 0-15,0 13 16,-13-14-16,14 14 47,-1 14-47,0-14 15,0 13-15,0-13 16,1 0-16,-1 0 16,0 0-16,0 0 0,27-13 15,-27 13-15,1 0 0,-1 0 16,-53 0 0,14 0-16,-27 0 15,0 0-15,-40 0 0,1 0 16</inkml:trace>
  <inkml:trace contextRef="#ctx0" brushRef="#br0" timeOffset="-146675.65">16589 1442 0,'-13'-13'15,"13"39"17,0-13-32,0 1 0,-13-14 15,13 13-15,0 0 0,0 0 16,0 1-16,0-1 15,0 0-15,0 0 16,0-52 15,0 25-31,0 1 0,0-13 16,0 12-16,0-25 0,13 26 16,-13-14-16,0 14 0,0 0 0,0-1 15,0 1-15,13 13 16,1 0-16,-1 13 15,0 1-15,0-1 16,-13 0-16,27 0 16,-14 1-16,0-14 15,0 0 1,1-14-16,-1 1 16,-13 0-16,13 13 0,-13-13 15,13 13-15,1-14 0,-1 14 16,-13 14-16,13-1 15,-13 0 1,13 0-16,-13 1 0,0-1 16,0 0-16,14 13 0,-14-12 0,0-1 0,0 13 15,0-12-15,13-1 0,-13 0 0,0 0 16,13 1-16,-13-1 16,13-13-16,0 13 0</inkml:trace>
  <inkml:trace contextRef="#ctx0" brushRef="#br0" timeOffset="-146306.89">17211 1455 0,'0'0'0,"27"-13"31,-14 13-31,13 0 16,-12 0-16,12 0 0,-13 0 0,14-13 15,-1 13-15,-13 0 0,14 0 16,-1-13-16,-13 13 0,1 0 0,12 0 0,-13 0 16,1 0-16,-1-14 0,0 14 15,0 0-15,1 0 0,-1 0 16,-13-13-16,13 13 16</inkml:trace>
  <inkml:trace contextRef="#ctx0" brushRef="#br0" timeOffset="-146011.15">17462 1244 0,'0'0'0,"0"-14"0,27 28 31,-14-1-31,0 0 16,1 0-16,12 0 0,-13 1 0,40 25 16,-40-25-16,1-1 15,-1 0-15,-13 0 0,13 14 0,-13-14 16,0 13-16,0-12 0,-13 12 0,13-13 16,-13 14-16,-1-14 0,1 14 15,13-14-15,-13 13 0,0-13 0,0 1 16,-1-1-16,14 0 0,-13-13 15</inkml:trace>
  <inkml:trace contextRef="#ctx0" brushRef="#br0" timeOffset="-145642.28">18177 1230 0,'0'53'47,"0"-26"-47,0-1 16,0-13-16,13 1 0,-13 25 15,0-12-15,0-14 0,13 0 16,-13 0-16,0 1 0,0-1 15</inkml:trace>
  <inkml:trace contextRef="#ctx0" brushRef="#br0" timeOffset="-145371.5">18137 1204 0,'13'-40'0,"1"27"0,-1 13 15,0 0-15,53 0 16,-39 13 0,-1-13-16,14 27 0,-27-14 15,0 13-15,1-12 0,-1 12 0,-13-13 16,0 0-16,0 14 0,-13-1 16,-1-12-16,-12 39 0,-1-27 15,14 0-15,0-12 0,-14-1 0,14 13 16,0-26-16,0 14 0,0-1 15,-1 0-15,1-13 16</inkml:trace>
  <inkml:trace contextRef="#ctx0" brushRef="#br0" timeOffset="-144867.37">18547 1482 0,'27'-40'16,"-54"80"-16,54-93 0,-27 40 0,0-1 0,0 1 15,0 0-15,0 0 16,0-1-16,-27 14 31,27 14-31,-13-1 0,13 0 16,-13 0-16,13 1 15,0-1-15,0 0 0,0 0 16,13-13-16,-13 13 0,13-13 16,1 14-16,-1-14 15,13-14-15,-13 14 16,1 0-16,-1-13 0,0 13 16,0-13-16,1 13 15,-1 0 1,0 0-16,0 13 15,0-13-15,-13 13 16,14-13-16,-1 14 16,0-14-1,0 0 1,1-14 0,-1 1-16,0 13 15,-13-13-15,13 13 0,1-13 16,-1 13-16,0 0 15,-13-13-15,13 13 16,0 0-16,1 0 0</inkml:trace>
  <inkml:trace contextRef="#ctx0" brushRef="#br0" timeOffset="-144592.53">19037 1336 0,'-13'0'15,"-27"13"1,40 1-16,-13-14 0,13 13 15,-14-13-15,14 13 16,0 0 15,14-13-15,-14 14 0,13-14-16,0 13 15,0 0 1,-13 0-1,14-13 1,-14 13-16,0 1 0,0-1 16,0 0-1</inkml:trace>
  <inkml:trace contextRef="#ctx0" brushRef="#br0" timeOffset="-144416.78">19010 1177 0,'-13'-13'0,"0"26"16</inkml:trace>
  <inkml:trace contextRef="#ctx0" brushRef="#br0" timeOffset="-144164.41">19209 1296 0,'-27'14'0,"1"25"15,26-25-15,0-1 16,-13 0-16,13 0 16,13 1-16,0-1 31,0-13-31,1 0 31</inkml:trace>
  <inkml:trace contextRef="#ctx0" brushRef="#br0" timeOffset="-143239.31">22053 1019 0,'-13'0'0,"0"0"0,-14 13 15,14-13 1,13 13-16,0 14 15,13-27-15,-13 13 16,13 0-16,1 0 0,-14 0 0,13 1 16,0-1-16,0 0 0,-13 0 0,13-13 15,-13 14-15,0-1 0,14 0 16,-14 0-16,0 1 16,0-1-16,-14-13 0,14 13 15,-13 0-15,0-13 0,0 13 0,0-13 16,-14 14-16,14-1 0,0-13 15,-1 0-15,1 13 0,0-13 16,0 0-16</inkml:trace>
  <inkml:trace contextRef="#ctx0" brushRef="#br0" timeOffset="-143019.33">22278 1111 0,'0'-13'0,"13"39"31,-13-12-31,0-1 16,0 0-16,-13 14 16,13-14-16,0 0 0,0 0 0,0 1 15,0-1-15,0 0 0,0 0 16,0 0-16,-13-13 0</inkml:trace>
  <inkml:trace contextRef="#ctx0" brushRef="#br0" timeOffset="-142683.75">22278 1058 0,'13'-26'0,"-26"52"0,39-65 15,-12 25-15,-1 14 16,0 0-16,0 0 0,1 0 0,-1 0 16,0 14-16,13-1 0,-12-13 0,-1 13 15,13 14 1,-12-14-16,-1 0 0,-13 0 0,13 0 15,-13 14-15,0-14 0,-13 0 0,13 1 16,-13-1-16,-1 13 0,1-12 16,0-1-16,-14 0 0,14 0 0,-13 0 15,13 1-15,-14-1 0,1 0 0,12 0 16,-12-13-16,-1 14 0,1-14 16,-27 0-16</inkml:trace>
  <inkml:trace contextRef="#ctx0" brushRef="#br0" timeOffset="-141877.59">19381 1363 0,'172'-14'94</inkml:trace>
  <inkml:trace contextRef="#ctx0" brushRef="#br0" timeOffset="-141669.47">19513 1230 0,'26'-13'31,"-12"26"-31,-1-13 0,0 0 0,0 14 15,1-14-15,-1 13 16,0-13-16,-13 13 0,13 0 16,-13 0-16,-13 1 0,13-1 15,0 0-15,-13-13 0,13 13 16,-13 1-16,13-1 0,-14 0 0,1 0 16,0 1-1</inkml:trace>
  <inkml:trace contextRef="#ctx0" brushRef="#br0" timeOffset="-140928.22">21564 1151 0,'39'13'31,"-26"-13"-31,1 0 16,-1 0-16,0 0 0,0 0 16,1 0-16,-1 0 0,0 0 15,0 0-15,1 0 0,-1 0 16,0 0-16</inkml:trace>
  <inkml:trace contextRef="#ctx0" brushRef="#br0" timeOffset="-140691.41">21749 1085 0,'13'-13'15,"27"52"16,-14-12-31,-26-14 16,13 13 0,-26-12-16,13-1 0,-26 13 15,12-12-15,-12-1 16,13 0-16,0-13 0</inkml:trace>
  <inkml:trace contextRef="#ctx0" brushRef="#br0" timeOffset="-139736.56">19010 1072 0,'0'-14'32,"0"-12"-17,14 13-15,-14-1 0,13 1 16,-13 0-16,13-14 0,13 14 0,-12-13 16,12-14-16,1 14 0,-1-14 0,1 0 15,-1 1-15,0-1 0,14 13 16,-13 1-16,12-14 0,1 14 0,0-14 15,-1 14-15,1-1 0,13 1 0,0 13 16,0-14-16,13 1 0,-13 12 16,13-12-16,0 0 0,0 12 15,14 1-15,-1-13 0,14 12 0,-14 1 16,14 0-16,-14 0 0,14 13 0,-1-14 16,1 14-16,-14 0 0,14 14 15,-1-14-15,-12 13 0,-1 0 0,0 0 16,1 1-16,-14-1 0,66 40 15,-52-27-15,-27-13 0,13 14 16,-13-1-16,0 14 0,-14-14 0,1 1 16,0-14-16,-14 14 0,1-1 0,-1 1 15,0-14-15,1 0 0,-14 13 0,14-12 16,-14-14-16,0 13 16,0 0-16,1 0 0,-1 1 15,0-14-15,-13 13 0,13-13 0,-13 13 16,13-13-1,1 0-15,-14 13 16,13-13-16,-13 14 47,13-14-31,0 0 30,-13-14-30,14 14 0</inkml:trace>
  <inkml:trace contextRef="#ctx0" brushRef="#br0" timeOffset="-139295.59">22225 556 0,'-13'0'16,"26"26"30,0-13-46,-13 1 0,13-14 16,-13 13-16,14 0 0,-1 0 16,-13 0-16,13 1 0,0-1 0,-13 0 15,14 0-15,-14 1 0,13-1 0,-13 0 16,13-13-16,0 13 16,-13 1-16,14-1 0,-14 0 0,13 0 15,-13 0 1,0 1-1,0-1-15,-13-13 16,13 13-16,-14-13 0,1 13 16,0-13-16,0 14 0,-1-14 15,1 0-15,0 0 0,-14 0 16,14 13-16,0-13 0,-13 13 16,12-13-16,-12 0 0,-1 0 0,1 13 15</inkml:trace>
  <inkml:trace contextRef="#ctx0" brushRef="#br0" timeOffset="-138301.52">19897 1177 0,'-14'0'0,"41"14"47,-14-1-31,-13 0-16,13 0 0,1 1 15,-14-1-15,13 0 0,-13 13 0,0-12 16,13-1-16,-13 0 0,13 0 0,-13 1 15,13-1-15,-13 0 16,0 0-16,14-13 0,-14 14 16,0-1-1,13-13-15,-13 13 16,13-26 0,-13 0-16,13-1 15,-13 1-15,0-13 16,14 12-16,-14-12 0,0 13 15,0-14-15,0 14 0,0-13 0,13 12 16,-13 1-16,0 0 0,0 0 0,0-1 16,0 1-16,0 0 0,0 39 47</inkml:trace>
  <inkml:trace contextRef="#ctx0" brushRef="#br0" timeOffset="-137576.56">20214 1244 0,'-13'-14'31,"0"14"-31,13 14 0,-14-1 16,14 0-1,0 0-15,-13 0 0,13 1 16,0-1-16,0 0 16,13 0-1,-13 1-15,14-1 16,-14 0-1,13-26 17,-13 0-32,13 13 0,-13-14 15,0 1-15,0 0 16,13 0 0,1-1-1,-1 14 1,0 0-16,0 0 15,-13 14-15,14-14 0,-14 13 16,13-13-16,-13 13 0,13-13 16,-13 13-16,0 1 15,13-14-15,-13 13 0,0 0 16,0 0 0,0 1-16,13-14 15,1-14 16,-14 1-15,13 13-16,0-13 0,-13 0 0,13-1 16,1 1-16,-1 13 0,-13-13 0,13 13 15,0-13-15,1-1 16,-1 14-16,0 0 16,0 0-16,0 0 15,-13 14-15,14-1 16,-14 0-16,0 0 15,13 1 1,-13-1-16,0 0 16,0 0-1</inkml:trace>
  <inkml:trace contextRef="#ctx0" brushRef="#br0" timeOffset="-137437.25">20585 1138 0,'-14'-14'31,"14"28"-31</inkml:trace>
  <inkml:trace contextRef="#ctx0" brushRef="#br0" timeOffset="-136635.5">20783 1204 0,'0'-13'16,"0"-1"-16,-26 28 31,26-1-31,-14-13 15,14 13-15,-13-13 0,13 13 0,0 1 16,-13-14-16,13 13 0,0 0 0,-13 0 16,13 0-16,0 1 15,-14-1-15,14 0 16,14 0-16,-1 1 31,0-28-15,0 14-1,-13-13-15,14 0 16,-14 0-16,13 13 16,-13-14-16,0 1 0,13 13 15,-13-13-15,0 0 0,13 0 16,-13-1 0,13 1 15,-13 40 0,14-14-15,-14 0-1,0 0 1,13-13-16,-13 13 16,0 1-1,0-1 32,13-26-16,-13-1-31,13 1 16,1 13-16,-14-13 0,13 0 16,0 13-1,0 0 1,1 0-1,-1 13 1,-13 0 0,13 0-1,-13 1 1,0-1 15</inkml:trace>
  <inkml:trace contextRef="#ctx0" brushRef="#br0" timeOffset="-136283.3">21114 1138 0,'-13'0'16,"-1"0"15,1 13-31,13 0 16,-13 0-16,13 1 15,0-1-15,13 0 0,-13 0 16,13-13-16,1 0 16,-1 0-16,0 0 15,0 0-15,0 0 16,1-13-1,-1 13 1,0 0 15,-13 13-15,13-13 0,-13 14-1</inkml:trace>
  <inkml:trace contextRef="#ctx0" brushRef="#br0" timeOffset="-135579.58">20016 1667 0,'39'-13'15,"-25"13"-15,-1 0 0,13-14 16,1 14-16,-1-13 0,14 13 0,0-13 16,-1 0-16,14 13 0,-13-13 15,13-1-15,-13 14 0,-1-13 0,1 13 16,0-13-16,-14 13 0,1 0 0,-1 0 16,-13-13-16,14 13 0,-14 0 0,0 0 15,0 0-15,1 0 16,-1 0-16,-40 13 31,14-13-31,-13 13 0,-1-13 0,-12 13 16,-1-13-16,-13 14 0,13-1 15,-13 0-15,14 0 0,-14-13 0,13 13 16,0 1-16,14-14 0,-1 0 0,14 13 16,-13-13-16,12 0 15,1 13-15,0-13 0,53-13 31,-14 13-31,1 0 16,-1-13-16,14 13 0,13-14 0,-14 14 16,1 0-16,-13-13 0,-1 13 0,14 0 15,-14-13-15,1 13 0,-14 0 0,13 0 16,-12 0-16,-1-13 0,0 13 16,0 0-16,0 0 0,1 0 15,-1 0-15,0 0 16</inkml:trace>
  <inkml:trace contextRef="#ctx0" brushRef="#br0" timeOffset="-132720.42">19209 1257 0,'-13'-13'62,"13"-1"-46,0 1-16,13 0 0,-13 0 16,13-1-1,-13 1-15,13 0 16,0 0-16,1-1 0,-1 1 15,-13 0-15,13 0 0,0 13 16,1-13-16,-1-1 0,0 1 0,0 0 16,1 13-16,-1-13 0,0-1 15,0 1-15,14 13 0,-1-13 0,-13 0 16,14-1-16,-14 14 0,13 0 0,-12-13 16,12 0-16,14 0 15,-14 13-15,1-13 0,-14 13 16,13-14-16,-12 14 0,12-13 0,-13 13 15,1-13-15,12 13 0,-13 0 0,14-13 16,-14 13-16,13 0 0,-12 0 0,-1 0 16,0 0-16,14 0 0,-14 0 15,0 0-15,0 0 0,14 0 0,-14 0 16,13 0-16,-12 0 0,12 0 0,1 13 16,-14-13-16,13 0 0,-13 0 15,14 13-15,-14-13 0,14 13 0,-14-13 16,0 0-16,14 14 0,-14-14 0,0 13 15,0-13-15,0 13 16,1-13-16,-14 13 0,13-13 0,0 13 16,0-13-16,1 0 0,-1 0 15,-13 14-15,13-14 16,0 13 0,1-13-1,-14 13-15,13-13 47,-13 13 0,13-26 31,-13 0-62,0 0-1,0-1 17,13 14-17,-13-13 1,13 0-1,-13 0-15,14 0 16,-14-1-16,13 14 16,-13-13-16,13 0 15,0 13-15,-13-13 0,14-1 16,-1 1-16,0 0 16,-13 0-16,13 13 15,1-13-15,-1-1 16,0 1-16,0 13 0,-13-13 15,13 13-15,1-13 0,-1 13 16,0-14-16,0 14 0,1-13 16,-1 13-16,0-13 0,13 0 0,-12 13 15,-1-14-15,13 14 0,-12-13 0,12 13 16,-13-13-16,14 13 0,-14 0 16,13-13-16,-12 13 0,12 0 0,1-13 15,-14 13-15,13 0 0,-12-14 0,12 14 16,-13 0-16,0 0 0,14 0 0,-14 0 15,0-13-15,14 13 16,-14 0-16,0 0 0,0 0 0,14 0 0,-14 0 16,0 0-16,14 0 0,-14 0 15,0 0-15,14 0 0,-14 0 16,0 0-16,0 13 0,14-13 0,-14 0 16,0 0-16,14 0 0,-14 0 0,0 0 15,14 14-15,-14-14 0,0 0 0,0 0 16,14 0-16,-14 13 0,0-13 15,1 0-15,12 13 0,-13-13 0,1 0 16,12 13-16,-13-13 0,0 13 0,1-13 16,12 0-16,-13 14 0,1-14 15,-1 13-15,0-13 0,0 0 16,-13 13-16,14-13 0,-1 13 0,0-13 16,0 0-16,-13 14 0,13-14 0,1 13 15,-1-13-15,0 13 16,0-13-16,-13 13 15,14-13-15,-1 14 16,0-14 15,0 13 16,-26-40 31</inkml:trace>
  <inkml:trace contextRef="#ctx0" brushRef="#br0" timeOffset="-131951.58">21881 648 0,'27'13'63,"-27"1"-48,13-14-15,-13 13 16,13-13-16,0 13 15,0-13-15,-13 13 16,14-13-16,-1 14 0,0-14 16,0 13-16,1-13 15,-14 13-15,13-13 16,-13 13-16,13-13 0,-13 14 16,13-14-16,0 0 15,-13 13-15,14-13 16,-14 13 15,13-13-15,-26 13 31,-1-13-47,14 13 0,-13-13 0,13 14 15,-13-14-15,0 13 0,0-13 16,-1 13-16,1 0 0,0-13 0,-14 14 15,14-1-15,0 0 0,0-13 16,13 13-16,-13-13 0,-1 0 0,14 13 16</inkml:trace>
  <inkml:trace contextRef="#ctx0" brushRef="#br0" timeOffset="-129997.39">22093 1588 0,'26'0'32,"-13"0"-32,1 0 0,12-14 15,1 14-15,-1 0 16,14-13-16,-1 13 0,1-13 0,0 13 16,-14 0-16,14 0 0,-14-13 0,1 13 15,-14 0-15,13 0 0,-12 0 16,-1 0-16,0 0 0,0 0 0,1 0 15</inkml:trace>
  <inkml:trace contextRef="#ctx0" brushRef="#br0" timeOffset="-129771.53">22053 1707 0,'-13'13'16,"39"-13"-1,-13 0 1,1 0-16,12-13 0,1 13 0,-1 0 16,1 0-16,12 0 0,-12-14 15,12 14-15,-12 0 0,-1 0 0,1 0 16,-1 0-16,1 0 0,-14-13 0,13 13 16,-12 13-16,-1-13 0,0 0 15,0 0-15,0 0 0,1 14 16,-1-14-16</inkml:trace>
</inkml:ink>
</file>

<file path=ppt/ink/ink16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3:17:28.244"/>
    </inkml:context>
    <inkml:brush xml:id="br0">
      <inkml:brushProperty name="width" value="0.05292" units="cm"/>
      <inkml:brushProperty name="height" value="0.05292" units="cm"/>
      <inkml:brushProperty name="color" value="#0070C0"/>
    </inkml:brush>
  </inkml:definitions>
  <inkml:trace contextRef="#ctx0" brushRef="#br0">7541 4921 0,'26'0'78,"53"0"-78,14 0 16,13 40-16,39-27 15,14-13 1,-13 0-16,12 13 15,-25 1-15,-1-14 16,-53 0-16,14 0 16,-40 0-16,-40 0 15,27 0-15,0 0 16,-27 0 0,0 0 15,13 0-16,67 0-15,13 0 16,-40 0-16,13 0 16,1 0-1,26 0-15,52 0 0,-65 0 16,-53 0-16,-27 0 16,0 0-1,-13-14 63,0 1-46,0-66-32,0 39 15,0-13-15,0 0 16,-13-39-16,13 12 15,0-12-15,0 39 16,0-53-16,0 53 16,0 0-16,0 27 15,0 12-15,0 1 16,0 0 0,-27 13 171,-39 0-171,-40 0-16,-13-13 15,40 0-15,-53-1 16,-14 1-16,27 0 16,13 13-16,-13 0 15,66-13-15,-53 13 16,54-14-16,-1 14 15,0 0-15,13 0 16,-13 0-16,13 0 16,1 0-16,-1 0 15,14 0-15,-27 0 16,0 0-16,26 0 16,1 0-1,-27 0-15,26 0 0,-12 0 16,-1 0-1,14 0-15,-14 0 16,14 0-16,-1 0 16,1 0-16,-14 0 15,0 0-15,1 0 16,-1 0-16,0 0 0,14 0 16,-14 0-1,0 0-15,1 0 16,-1 0-16,0 0 15,-13 0 1,27 0-16,-14 0 0,0 0 16,1 0-16,-14 0 15,0 0-15,13 0 16,1 0-16,-14 0 16,-27 0-16,14 0 15,-66 0-15,105 0 16,-12 0-16,39 14 172,0-1-157,0 13-15,0 40 16,0 14-16,39 12 16,14 27-16,-26 14 15,-1-41-15,1 1 16,-14-14-16,13-13 15,-26 14-15,0-40 16,0-1-16,0 14 16,0-26-16,0-14 15,0 0-15,14 0 16,-14 1 0,0-1-1,0 0 1,0 0-16,13-13 15,-13 13 1,13-13 281,0-13-281,1-13-16,12 26 15,-26-13-15,26-1 16,-26 1-16,14 13 15,-1-13-15,13 0 16,1-14-16,-14 27 16,14-13-1,-27 0-15,26 13 16,-13-14-16,14-12 16,-14 26-16,27 0 15,-14 0-15,-13-13 16,0 13-16,1-13 15,-1-1-15,0 14 16,14 0-16,-27-13 16,13 13-1,0 0 392,0 0-407,1 0 15,-1 0 1,0 0-16,0 0 15,0 0-15,14-13 0,-1 13 32,-12 0-1,-1 0-15,0 0 30,0 0-30,1 0 15,-1 0 79,0 0-79,-13-13-31,13-1 16,0 14-16,1 0 15,-1-13-15,0 13 47,-13-13-47,13 13 16,-13-13 46,14 13-31</inkml:trace>
  <inkml:trace contextRef="#ctx0" brushRef="#br0" timeOffset="5239.85">14261 10848 0,'0'-13'0,"0"-1"62,13 14-46,1 0-16,-1 0 15,0 14-15,0-14 0,14 0 0,-14-14 16,13 14-16,1 0 0,-1 0 0,1 0 16,-14 0-16,13 0 0,1 0 15,-1 0-15,-12 0 0,-1 0 0,0 0 16,0 0-16,0 0 0,1-13 0,-1 13 16,0 0-1,-53 0 16,27 0-15,0 0-16</inkml:trace>
  <inkml:trace contextRef="#ctx0" brushRef="#br0" timeOffset="5908.07">14420 10716 0,'13'0'16,"-26"0"15,-14 0-16,14 0 1,0 13-16,0-13 0,-1 0 16,1 13-16,0-13 15,0 0-15,13 13 0,-13-13 16,-1 14-16,1-14 16,13 13-16,-13-13 15,13 13 1,-13-13-1,13 13-15,0 0 32,0 1-17,13-1 1,0-13-16,-13 13 16,13-13-16,1 13 0,-1 1 15,0-14-15,0 13 16,0-13-16,1 13 0,-1-13 15,0 13-15,0-13 0,1 14 16,-1-14 0,0 13-1,13-26 1</inkml:trace>
  <inkml:trace contextRef="#ctx0" brushRef="#br0" timeOffset="7382.06">14684 10821 0,'0'-13'15,"14"0"1,-14 0-16,0 0 0,0-14 16,0 14-16,13 0 15,-13-14-15,0 1 0,0-14 0,0 0 16,-13-13-16,13 14 0,-14-27 0,14 13 15,-13-13-15,13-1 0,-13 14 16,0-13-16,13 0 0,-14 13 16,1-13-16,13 26 0,-13-13 0,13 14 15,0-1-15,-13 0 0,13 14 16,0 0-16,0-14 0,0 13 16,0 14-16,-13 0 0,13 0 0,0-1 15,0 1-15,0 0 16,13 39 15,0-26-31,0 14 16,0-1-1</inkml:trace>
  <inkml:trace contextRef="#ctx0" brushRef="#br0" timeOffset="8205.14">15068 9141 0,'26'-26'15,"-52"52"-15,66-65 0,-27 39 0,0 0 16,0 0-16,1 0 15,-1 0-15,0 0 16,-13 13-16,-13 0 16,13 0-1,-13 1-15,13-1 16,0 0 0,13-13-16,0 13 15,0-13-15,1 14 0,-1-14 16,0 0-16,0 13 15,0-13-15,-13 13 16,0 0-16,-13 0 16,0 1-1,0-14-15,0 0 0,-1 13 0,1-13 16,0 0-16,0 13 0,-1-13 16,1 0-16,13 13 0,-13-13 15</inkml:trace>
  <inkml:trace contextRef="#ctx0" brushRef="#br0" timeOffset="8638.85">15558 9062 0,'-14'-13'16,"28"26"-16,-41-26 0,14 13 16,-14 0-16,27 13 15,-13-13-15,0 13 0,0-13 0,13 13 16,-14 1-16,14-1 15,-13-13-15,13 13 0,13 0 16,14-26 15,-14 13-31,0 0 16,1-13-16,-1 13 0,-13-13 16,13 13-16,0 0 15,1 0 1,-14 13-16,0 13 15,0-12 1,0-1-16,0 0 16,0 0-16,0 1 0,0-1 15</inkml:trace>
  <inkml:trace contextRef="#ctx0" brushRef="#br0" timeOffset="9060.28">15888 9036 0,'0'-14'31,"-26"28"-15,13-1-16,-1-13 15,1 13-15,0-13 0,0 13 16,-1-13-16,1 13 0,13 1 16,-13-14-16,0 0 0,-1 13 0,1 0 15,0-13-15,13 13 16,-13-13-16,13 14 16,13-14 15,0 13-31,0-26 15,14 13 1,-14 0-16,0 0 0,1 0 0,-1 0 16,0 0-16,0 0 0,1-14 15,-1 14-15,0 0 0,0 0 16,0 0 0,1-13-16,-1 13 15</inkml:trace>
  <inkml:trace contextRef="#ctx0" brushRef="#br0" timeOffset="9275.73">15928 8983 0,'-13'0'0,"26"0"0,-26-14 0,-1 28 32,1-1-32,13 0 0,-13 0 15,13 1-15,0-1 0,0 0 0,-13 13 16,13-12-16,0-1 0,0 0 15,0 0-15,0 1 0,0 12 16,0-13-16,0 1 0,0-1 0,0 0 0,0 0 16,13 0-16,-13 1 15,0-1-15,-13 13 16</inkml:trace>
  <inkml:trace contextRef="#ctx0" brushRef="#br0" timeOffset="11962.71">2791 10147 0,'27'0'0,"52"-13"31</inkml:trace>
  <inkml:trace contextRef="#ctx0" brushRef="#br0" timeOffset="13395.17">15028 8599 0,'0'-13'0,"-13"-14"31,26 67 0,-13-27-15,0 14-16,0-14 15,0 0-15,0 0 0,0 1 16,0-1-16,0 0 16,0 0-1,0 0 1</inkml:trace>
  <inkml:trace contextRef="#ctx0" brushRef="#br0" timeOffset="13598.04">14936 8665 0,'13'-13'15,"0"0"1,0 13-16,1 0 16,-1-14-16,0 14 15,0 0-15,1 0 0,-1-13 16,0 13-16,13 0 0,-12 0 15,-1 0-15,0-13 0,0 13 16,1 0-16</inkml:trace>
  <inkml:trace contextRef="#ctx0" brushRef="#br0" timeOffset="14246.81">15425 8467 0,'-13'0'0,"0"13"32,13 0-17,0 0-15,-13 1 16,13-1-16,0 0 0,-14 0 0,14 0 0,0 1 15,-13-1-15,13 0 16,0 0-16,-13 1 0,13-1 16</inkml:trace>
  <inkml:trace contextRef="#ctx0" brushRef="#br0" timeOffset="14570.16">15610 8467 0,'14'0'16,"-28"0"-16,1 13 31,0-13-31,13 13 16,-13 0-16,0-13 0,-1 14 16,1-1-16,0-13 0,0 13 0,-1 0 15,1 0-15,0 1 16,13-1-1,0 0 1,13-13-16,0 0 16,1 0-16,-1 0 0,0 0 0,0 0 15,1 0-15,-1 0 0,0 0 0,0 0 16,0 0-16,1 0 0,-1 0 16,0 0-16,0 0 0,1 0 15,-1-13-15,0 13 0,0 0 16</inkml:trace>
  <inkml:trace contextRef="#ctx0" brushRef="#br0" timeOffset="14803.51">15650 8467 0,'-13'-14'31,"13"28"-31,-13-1 16,13 0-16,-14 0 0,14 1 15,0-1-15,0 0 0,-13 0 0,13 0 16,0 1-16,0-1 16,-13 0-16,13 0 0,0 1 15,0-1-15,0 0 0,0 0 16,0 1 0,13-1-1</inkml:trace>
  <inkml:trace contextRef="#ctx0" brushRef="#br0" timeOffset="15251.04">15756 8414 0,'0'-13'0,"13"-1"31,0 14-15,1 0-16,-1 0 15,0 0-15,0 0 0,-13 14 16,14-14-16,-14 13 0,13-13 0,-13 13 16,0 0-16,13 0 15,-13 1-15,0-1 0,0 0 0,0 0 16,0 1-16,0-1 0,-13 0 0,13 0 16,0 0-16,0 1 0,0-1 15,0 0-15,-13 0 0,13 1 16,0-1-1,13 0 1,0-26 0</inkml:trace>
  <inkml:trace contextRef="#ctx0" brushRef="#br0" timeOffset="15523.84">15690 8533 0,'0'0'0,"13"-13"15,0 13-15,0 0 16,1 0-16,-1 0 0,0 0 16,14 0-16,-14-14 0,13 14 15,-12 0-15,12 0 0,0 0 0,1 0 16,-14 0-16,14 0 0,-14-13 0,0 13 15,0 0-15,1 0 0,-1 0 0,0 0 16,0 0-16,0 0 16,1 0-1,-1 0-15,-13 13 16</inkml:trace>
  <inkml:trace contextRef="#ctx0" brushRef="#br0" timeOffset="16683.57">16589 9022 0,'-13'0'0,"0"0"32,39-26-17,-12 26-15,118-27 31,-79 27-31,-27-13 0,14 13 0,13-13 16,-13 13-16,-1-13 0,14 13 0,-13 0 16,0-14-16,-1 14 0,-12 0 15,12-13-15,1 13 0,0 0 0,-14-13 16,1 13-16,26 0 0,-27-13 16,14 13-16,-14 0 0,14-13 0,-14 13 15,1 0-15,12 0 0,-12-14 16,-1 14-16,-12 0 0,12 0 0,1-13 15,-14 13-15,0 0 0,13 0 0,-12 0 16,-1-13-16,0 13 0,0 0 16,1 0-16,-1 0 15,0 0-15,0-13 16,-13-1 109,14 14-109,-14-13-1</inkml:trace>
  <inkml:trace contextRef="#ctx0" brushRef="#br0" timeOffset="17055.18">17859 8705 0,'0'0'0,"27"0"31,-14 0-15,0 0-16,1 0 0,-14 13 0,13-13 16,0 0-16,0 0 0,0 0 15,1 0-15,-1 0 0,0 13 0,0-13 16,1 0-16,-1 0 16,0 0-16,0 0 15,-13 13-15,14-13 0,-1 0 16,-13 14-1,0-1-15,0 0 16,-13 0-16,13 1 16,-14-14-16,14 13 0,-13 0 0,0 0 15,0-13-15,-1 14 0,1-1 0,-13 0 16,12 0-16,-12 0 0,0 1 16,-14-1-16,0 0 0,14 0 0,-14 1 15,0-14-15</inkml:trace>
  <inkml:trace contextRef="#ctx0" brushRef="#br0" timeOffset="17654">16735 8864 0,'-13'-14'0,"-1"14"0,1 14 16,0-14-16,0 0 16,0 13-16,-14-13 0,14 13 15,0-13-15,-14 13 0,14 0 0,-14 1 16,14-1-16,-13 0 0,13 0 0,-1 1 15,1-1-15,0-13 0,0 13 0,13 0 16,-14 1-16,1-1 16,13 0-16,0 0 15,0 0-15,13-13 0,-13 14 16,14-14-16,-1 13 0,0-13 16,0 0-16,14 0 0,-14 13 0,0-13 15,14 0-15,-14 0 0,0 0 16,0 13-16,14-13 0,-14 0 15,0 0-15,1 0 0,-1 0 0,0 0 16,0 0-16,0 0 0,-13 14 0,14-14 16,-1 0-16,0 0 0,0 13 15,1-13-15,-1 0 0,0 0 16,14 0-16,-14 0 0,13 13 0</inkml:trace>
  <inkml:trace contextRef="#ctx0" brushRef="#br0" timeOffset="18666.14">19050 8692 0,'13'-14'16,"14"1"-1,-1 13-15,-13 13 16,1-13-16,-1 14 16,0-14-16,-13 13 15,0 0-15,0 0 16,-13 0-16,13 1 0,-13-14 15,13 13-15,0 0 32,13 0-32,0-13 15,0 0-15,1 14 16,-1-14-16,0 0 0,-13 13 0,13-13 16,0 0-16,-13 13 0,14 0 15,-28 1 1,1-14-1,0 13-15,0-13 0,-14 13 16,14-13-16,0 0 0,0 0 0,-1 0 16,1 0-16,0 13 15,0-26-15</inkml:trace>
  <inkml:trace contextRef="#ctx0" brushRef="#br0" timeOffset="19046.21">19500 8665 0,'-27'-13'16,"54"26"-16,-67-26 0,14 26 15,-1-13-15,27 13 16,-26-13-16,26 14 0,-13-14 15,-1 13-15,1-13 0,13 13 0,-13 0 16,26-13 0,0 0-16,1 0 15,-1 0-15,0-13 0,0 13 16,0 0-16,1-13 0,-1 13 16,0 0-1,0 0 1,-13 13-16,0 0 15,0 0-15,0 1 16,0-1-16,0 0 16,0 0-16,0 1 0,0-1 0,0 0 15,0 0-15,0 1 16,14-14-16,-14 13 0,13-13 16,0 0-16</inkml:trace>
  <inkml:trace contextRef="#ctx0" brushRef="#br0" timeOffset="19352.09">19897 8678 0,'13'-13'31,"-26"26"-15,-1-13-1,1 14-15,0-14 0,0 13 16,-14 0-16,14 0 0,0 0 0,-14 1 15,14-1-15,0-13 0,0 13 0,13 0 16,-14-13-16,1 14 0,13-1 16,-13-13-16,13 13 15,13-13-15,-13 13 16,13-13-16,1 14 0,12-14 16,-13 0-16,14 13 15,-1-13-15,-12 0 0,-1 0 16,0 0-16,0 0 0,0-13 0,1 13 15,-1 0-15,0-14 0,0 14 16,1-13-16</inkml:trace>
  <inkml:trace contextRef="#ctx0" brushRef="#br0" timeOffset="19555.98">19936 8599 0,'-26'13'0,"13"-13"0,13 13 15,-14 1-15,14-1 0,0 0 0,-13 14 16,13-14-16,0 0 0,-13 13 16,13-12-16,0 39 15,0-40-15,0 0 0,0 0 16,0 1-16,13-1 0,-26 0 0,13 0 0,0 0 16,0 1-16</inkml:trace>
  <inkml:trace contextRef="#ctx0" brushRef="#br0" timeOffset="20068.09">18666 8401 0,'0'0'0,"27"0"31,-14 0-15,0-14-16,0 14 0,1 0 16,-1 0-16,0 0 0,0-13 15,1 13-15,-1 0 0,0 0 16,0-13-16</inkml:trace>
  <inkml:trace contextRef="#ctx0" brushRef="#br0" timeOffset="20700.16">19010 8215 0,'0'-13'31,"0"26"219,0 1-250,0-1 0,14-13 15,-14 13-15,0 0 0,0 0 16,0 1-16,0-1 0,0 0 16,13 0-16,-13 1 0,0-1 15,0 0-15,0 0 16,13 1 0</inkml:trace>
  <inkml:trace contextRef="#ctx0" brushRef="#br0" timeOffset="21061.87">19328 8162 0,'0'-13'32,"-13"26"-32,-1 1 15,1-14-15,13 13 0,-13 0 0,0-13 16,-1 13-16,1 1 16,13-1-16,-13-13 0,0 13 0,13 0 15,-13-13-15,13 13 16,13 1-1,0-14-15,0 0 16,0 0-16,1 0 0,-1 0 0,0-14 16,0 14-16,1 0 0,12 0 0,-13 0 15,1-13-15,-1 13 16,0 0-16,0 0 0,0-13 0,1 13 16,-1 0-16,0-13 0,0 13 0,-13-13 15</inkml:trace>
  <inkml:trace contextRef="#ctx0" brushRef="#br0" timeOffset="21287.02">19420 8096 0,'-13'-13'0,"0"26"32,0 0-17,13 1-15,-13-1 16,13 0-16,0 0 0,0 1 15,0-1-15,-14 0 16,14 0-16,0 1 0,0-1 16,0 0-16,0 0 0,0 0 15,14 1-15,-14-1 0,13 0 16,0-13 0</inkml:trace>
  <inkml:trace contextRef="#ctx0" brushRef="#br0" timeOffset="21626.99">19500 7977 0,'66'-13'16,"-53"13"-16,0 0 16,1 0-16,-1 13 0,0-13 15,0 0-15,-13 13 0,14-13 16,-1 14-16,0-14 0,-13 13 0,13-13 16,-13 13-16,0 0 0,13 1 0,-13-1 15,14 0-15,-14 0 0,0 0 16,0 1-16,0-1 15,13 0-15,-13 0 0,0 1 16,13-1-16,0 0 16,1 0-1</inkml:trace>
  <inkml:trace contextRef="#ctx0" brushRef="#br0" timeOffset="21816.07">19619 8096 0,'13'-13'16,"0"13"-1,14 0-15,-14-13 0,13 13 0,-12 0 16,12-13-16,1 13 0,-14 0 0,0-14 16,14 14-16,-14 0 0,0 0 15</inkml:trace>
  <inkml:trace contextRef="#ctx0" brushRef="#br0" timeOffset="22380.07">18322 7818 0,'-39'-39'0,"78"78"0,-92-91 15,27 25-15,-14 1 0,-13-1 0,1 1 16,-1-1-16,-27-12 0,1 12 16,-1-13-16,-25 14 0,-1-14 0,0 14 15,-13-1-15,0 14 0,0-13 0,-27 12 16,14 1-16,-14 0 0,1 13 0,-14-13 15,14 13-15,-14 13 16,-13 0-16,13 0 0,0 1 0,-13 12 16,14 14-16,-14-14 0,13 14 0,0 13 15,-13 0-15,-26 13 0,39-13 16,14 0-16,-1 13 0,-132 40 16,146-40-16,13 0 0,-93 40 15,120-53-15,-1 0 0,27-14 0,13 1 16,0-13-16,0-1 0,13 0 15,14-12-15,13-1 0,-14 0 0,14 0 16</inkml:trace>
  <inkml:trace contextRef="#ctx0" brushRef="#br0" timeOffset="22667.83">12740 8096 0,'-40'27'0,"80"-54"0,-93 80 0,26-26 16,1-1-16,-1 14 0,14-14 15,-13 14-15,12-14 0,1 14 16,13-13-16,0-1 0,0-13 0,0 14 15,27-1-15,-1-13 0,1 14 0,12-14 16,14 0-16,0-13 0,0 0 16,26 0-16,14 0 0,0-13 0,-1 0 15,27 0-15,0-14 0,0 14 0,0 0 16,14-14-16,-14 14 0,0-13 16,13-1-16,1 14 0</inkml:trace>
  <inkml:trace contextRef="#ctx0" brushRef="#br0" timeOffset="36838.93">19341 6390 0,'27'-14'0,"-1"14"31,-26-13-31,-40 26 31,27-13-15,0 0-16,-14 14 0,14-14 16,0 13-16,-14-13 0,14 13 0,0-13 15,-13 13-15,12-13 0,1 14 0,0-14 16,0 13-16,-1-13 15,14 13 1,14 0-16,-1 1 16,0-1-16,0-13 15,1 13-15,-1-13 0,13 13 16,-13-13-16,1 13 0,-1-13 0,0 14 16,0-14-16,-13 13 0,14-13 0,-1 0 15,-13 13-15,13-13 0,-13 13 0,0 1 16,0-1-1,-13-13-15,13 13 0,-13-13 16,-1 13-16,14 1 0,-13-14 0,0 13 16,0-13-16,-1 13 0,1-13 15,0 0-15,0 13 0,0-13 0,-1 0 16,1 0-16,0 13 0,0-13 16,-1 0 15,41 0-16</inkml:trace>
  <inkml:trace contextRef="#ctx0" brushRef="#br0" timeOffset="37686.68">19764 6403 0,'-39'13'31,"25"-13"-31,1 13 0,0-13 16,0 14-16,0-1 0,-1 0 0,-12 0 15,13 1-15,-1-14 0,1 13 0,13 0 16,-13 0-16,0-13 0,13 13 16,-14 1-16,1-14 0,13 13 15,0 0-15,13-13 16,1 13-16,-1-13 15,13 0-15,-12 0 16,-1 0-16,13 0 0,1-13 0,-1 13 16,1 0-16,-1-13 0,-13 13 0,14 0 15,-1-13-15,-12 13 0,-1 0 0,0 0 16,0 0-16,0 0 16,1-14-16,-1 14 0,0 0 15,-13-13-15</inkml:trace>
  <inkml:trace contextRef="#ctx0" brushRef="#br0" timeOffset="37919">19831 6429 0,'-14'-13'0,"1"26"31,13 1-31,0-1 16,-13 13-16,13-12 0,0-1 15,0 0-15,-13 13 0,13-12 0,0-1 16,0 13-16,-14-12 0,14-1 16,0 0-16,0 0 0,0 1 0,0-1 15,0 0-15,0 0 16,14-13-16,-14 13 16,13-13-16</inkml:trace>
  <inkml:trace contextRef="#ctx0" brushRef="#br0" timeOffset="38690.86">20148 6376 0,'13'0'0,"-26"0"0,39 0 16,-12 0-16,-1 14 31,-13-1-31,0 0 16,0 0 0,13-13-16,-13 14 15,13-14-15,1 0 0,-1 13 16,0-13-16,0 13 15,1-13-15,-14 13 0,13-13 0,-13 14 16,0-1 0,0 0-16,-13 0 0,-1 0 15,1 1-15,-13-14 0,12 13 16,1 0-16,0 0 0,-14-13 0,14 14 16,-13-1-16,13-13 15,-14 13-15,1-13 0,12 13 0,-12-13 16,13 0-16</inkml:trace>
  <inkml:trace contextRef="#ctx0" brushRef="#br0" timeOffset="40128.18">18640 6469 0,'-27'-13'47,"14"13"-47,0 0 15,-13 0-15,-1-13 0,1 13 0,-1 0 16,1 0-16,-27-14 0,13 14 16,-13 0-16,13 0 0,-12-13 0,-1 13 15,0 0-15,0 0 0,13 0 16,-13-13-16,0 13 0,14 0 0,-1 0 15,0 0-15,1 0 0,-1 0 0,-13 0 16,0 0-16,13 0 0,1 0 0,-1 13 16,13-13-16,-12 0 15,12 0-15,1 0 0,-1 0 0,1 13 16,0-13-16,12 0 0,1 0 0,0 0 0,0 0 16,-1 0-16,1 0 0,0 0 15,0 14-15,-1-14 0,1 0 16,0 0 15</inkml:trace>
  <inkml:trace contextRef="#ctx0" brushRef="#br0" timeOffset="40583.9">17502 6297 0,'-13'-13'0,"-14"13"15,14 0-15,-106 26 16,93-12-1,-1-14-15,1 13 0,-1-13 0,14 13 16,-13-13-16,-1 13 0,14-13 16,0 13-16,0-13 0,-1 0 0,1 14 15,0-14-15,0 13 0,-1-13 0,1 13 16,13 0 0,0 1-16,0-1 15,13 0-15,-13 0 16,14-13-16,-1 14 0,0-1 0,14 0 15,-14-13-15,13 13 0,-13 0 0,14-13 16,-1 14-16,-12-14 0,12 13 16,-13-13-16,14 13 0,-14-13 0,0 13 15,0-13-15,1 0 0,-1 14 16,0-14-16,0 0 0,1 13 0,-1-13 16,0 13-1</inkml:trace>
  <inkml:trace contextRef="#ctx0" brushRef="#br0" timeOffset="46742.04">15610 6284 0,'14'-13'16,"-28"26"-16,41-26 0,-14-1 0,0 14 0,1 0 16,-1 0-16,0 0 0,0 0 15,0 0-15,1 14 0,-1-1 16,-13 0-16,0 14 0,-13-14 16,-14 13-16,14 1 0,0-1 15,-14 1-15,1-1 0,13-13 16,-14 14-16,1-14 0,13 0 0,-1 0 15,1-13-15,13 14 0,-13-1 0,0-13 16,13 13-16,-14-13 16,41 0-1,-14 0 1,0 0-16,1 0 0,12-13 16,-13 13-16,0 0 0,14-13 0,-14 13 15,0 0-15,1-14 0,-1 14 0,0 0 16,0 0-16,0-13 0,1 13 0,-1 0 15,0 0-15,14 0 16,-14-13-16,0 13 16,0-13-16</inkml:trace>
  <inkml:trace contextRef="#ctx0" brushRef="#br0" timeOffset="47070.89">16140 6297 0,'0'-13'0,"-14"13"32,1 0-32,0 0 0,-14 13 0,14-13 15,-13 13-15,13 1 0,-14-1 16,1 0-16,12 0 0,-12 0 0,13-13 16,-1 14-16,1-1 0,0-13 15,13 13-15,-13-13 0,13 13 0,0 1 16,13-14-16,0 0 15,0 13-15,1-13 0,12 0 16,-13 0-16,14-13 0,-14 13 0,14 0 16,-1 0-16,0 0 0,-12-14 0,12 14 15,1 0-15,-14-13 0,0 13 16,0 0-16,0 0 0,1-13 16,-1 13-16,0 0 0,0 0 15,1-13-15</inkml:trace>
  <inkml:trace contextRef="#ctx0" brushRef="#br0" timeOffset="47315.74">16153 6284 0,'-13'-13'31,"13"39"-15,0-13-16,0 1 0,-14-1 15,14 0-15,0 0 0,0 0 16,0 1-16,-13-1 0,13 13 16,0-12-16,0-1 0,0 0 0,0 0 15,-13 1-15,13-1 0,0 0 0,0 0 16,0 0-16,0 1 16,13-14-16,-13 13 0,13-13 15</inkml:trace>
  <inkml:trace contextRef="#ctx0" brushRef="#br0" timeOffset="48378.1">16378 6204 0,'26'0'46,"-13"-13"-30,1 13-16,-1 0 0,0 0 16,0 0-16,14 0 15,-14 13-15,-13 1 16,13-14-16,-13 13 0,0 0 16,0 0-16,0 14 0,0-14 15,-13 0-15,13 1 0,0-1 16,0 0-16,0 0 0,0 0 15,-13-13-15,13 14 0,0-1 0,0 0 16,0 0-16,0 1 16,-13-14-1</inkml:trace>
  <inkml:trace contextRef="#ctx0" brushRef="#br0" timeOffset="48556.09">16378 6416 0,'-14'0'15,"41"-13"1,-14 13-16,0 0 16,14 0-16,-14-13 0,14 13 15,-14 0-15,13 0 0,-13-14 0,14 14 16,-14 0-16,0-13 0,1 13 0,-1 0 16,0-13-16,0 13 0,1 0 15,-1 0-15</inkml:trace>
  <inkml:trace contextRef="#ctx0" brushRef="#br0" timeOffset="53027.41">23125 10279 0,'-40'-13'15,"27"13"1,-1-13 0,41 26 15,-1-13-31,1 13 0,13-13 15,-1 0-15,14 0 0,0 13 16,0-13-16,-13 0 0,13 0 16,-1 0-16,1 0 0,0 0 0,0 0 15,-13 0-15,-14 0 0,14 0 0,-14 0 16,-12-13-16,12 13 0,-13 0 16,1 0-16,-1 0 0,0 0 0,-53 0 31,27 0-31,-27 0 15,14 0-15,-27 13 0,13-13 0,-12 0 16,-1 0-16,26 0 0,-13 14 0,14-14 16,13 0-16,-14 0 0,14 0 15,0 0-15,39 13 32,-12-13-32,12 0 0,14 0 15,-14 0-15,27 0 0,0 0 0,0-13 16,-13 13-16,12 0 0,-25 0 0,13 0 15,-14-14-15,1 14 0,-1 0 16,0 0-16,-12 0 0,12 0 0,-26-13 16,13 13-16,-52 13 15,-1 1 1,-13-14-16</inkml:trace>
  <inkml:trace contextRef="#ctx0" brushRef="#br0" timeOffset="54017.12">17820 10941 0,'-14'0'15,"54"0"16,-27 0-31,14 0 0,13 0 0,-1 0 16,14 0-16,0 0 0,13 0 16,0 0-16,14 0 0,-1 0 0,0 0 15,14 0-15,-14 0 0,14 0 0,13 0 16,-14 0-16,1-14 0,-14 14 16,14 0-16,-14 0 0,1-13 15,-1 13-15,-26 0 0,0 0 0,0 0 16,-13 0-16,-14-13 0,-13 13 0,14 0 15,-14 0-15,0 0 16,0 0-16,-39-13 31,13 13-31</inkml:trace>
  <inkml:trace contextRef="#ctx0" brushRef="#br0" timeOffset="54842.96">21577 10967 0,'26'0'46,"-13"0"-46,1 0 16,-1 0-16,13 0 0,1 0 16,13 0-16,12 0 0,1 0 0,0 0 15,13 0-15,14 0 0,-1-13 0,1 13 16,12 0-16,-12 0 0,12 13 16,-13-13-16,14 0 0,-14 0 15,14 0-15,0 0 0,-14 0 0,0 0 16,1 13-16,-1-13 0,-26 0 0,13 0 15,-13 0-15,0 0 0,0 0 16,-27 0-16,14-13 0,-27 13 0,14 0 16,-14 0-16,0 0 0,1 0 0,-1 0 15,0-13-15,0 13 16,-13-13 0,-13 13-1,0-14-15,0 14 16,-1 0-16,1 0 0,-13 0 15,12 0-15,1 0 0</inkml:trace>
  <inkml:trace contextRef="#ctx0" brushRef="#br0" timeOffset="55881.9">15266 11602 0,'-13'0'0,"26"0"16,-52 0-16,26 0 15,26 13 16,13-13-31,-13 0 0,14 0 16,-1 13-16,27-13 0,0 0 16,0 0-16,13 0 0,14 0 0,-14-13 15,13 13-15,80 0 0,-80-13 16,1 13-16,-14 0 0,26 0 16,-12-13-16,-1 13 0,14-13 0,-14 13 15,1-14-15,12 14 0,1 0 0,-14-13 16,14 13-16,-14-13 0,14 13 15,-14 0-15,0-13 0,1 13 16,-14 0-16,0 0 0,-13 0 0,0-14 0,0 14 16,0 0-16,-14 0 0,-12 0 15,-1 0-15,-12 0 0,-1 0 16,0 0-16,0 0 0,1 0 0,-1 0 16,-13-13-16,13 13 0,-13-13 31,13 13 16,0 0-32</inkml:trace>
  <inkml:trace contextRef="#ctx0" brushRef="#br0" timeOffset="56469.52">18190 11589 0,'-13'0'31,"39"13"-31,-12-13 16,12 13-16,-13-13 0,14 0 15,12 13-15,1-13 0,0 14 16,13-14-16,-14 0 0,80 0 16,-52 0-16,-1 0 0,13 0 0,0 0 15,-12 0-15,-14 0 0,13 0 16,-13 0-16,13 0 0,-13 0 0,0-14 16,0 14-16,-14 0 0,1 0 0,-14 0 15,1 0-15,-14 0 0,0 0 16,14 0-16,-14 0 0,0-13 15,0 13-15,1 0 0,-1 0 16,0 0 15,-13-13 1,27 13-1,-14 0-31,0 0 15,0 0-15,0 0 0</inkml:trace>
  <inkml:trace contextRef="#ctx0" brushRef="#br0" timeOffset="57267.98">21048 11046 0,'0'-13'0,"0"26"0,0-39 16,0 52 15,0-12-31,0 12 0,0 0 0,-14 14 16,14 13-16,-13-13 0,13 13 0,-13 0 15,13 0-15,-13-1 0,-1-12 16,14 13-16,-13-13 0,0-1 15,13-12-15,0-1 0,-13 1 0,13-1 16,0-12-16,0-1 0,-13 0 16,26 0-16,-13 0 15,13-39-15,0 13 16</inkml:trace>
  <inkml:trace contextRef="#ctx0" brushRef="#br0" timeOffset="57943.14">20929 11073 0,'26'0'31,"-13"0"-31,14 0 0,-1 0 15,14 0-15,13 0 0,-14 0 0,80 0 16,-66 0-16,27-13 0,-1 13 16,1 0-16,12 0 0,-12 0 0,12-14 15,1 14-15,-1 0 0,14 0 0,-13-13 16,-1 13-16,14 0 0,-13-13 16,-1 13-16,1 0 0,0-13 0,-14 13 15,14 0-15,-14 0 0,-13 0 0,0-14 16,-13 14-16,0 0 0,0 0 15,-13-13-15,-14 13 0,1 0 16,-1 0-16,-13 0 0,14-13 0,-14 13 16,0 0-16,0-13 0,1 13 15,-1 0-15,-13-13 16,13 13-16,0 0 31,1 13-15,-1 0-16,-13 0 15,13 0-15,-13 1 0,13-1 16,1 0-16,-1 14 0,13-14 0,-13 13 16,14 1-16,-14-1 0,14 1 15,-14-14-15,0 13 0,0-12 0,0 12 16,1-13-16,-1 0 0,0 14 0,0-14 16,-13 0-16,14 1 0,-14-1 0,0 0 15,13 0-15,-13 1 0,0-1 16,0 0-16,-13 0 0,13 0 0,-14 1 15,1-1-15,-13 0 0,-14 14 0,0-14 16,1 0-16,-14 14 0,-13-14 16,-1 0-16,-12 0 0,0 0 0,-1 1 15,-12-1-15,-14 0 0,-26 0 16,-14-13-16,1 14 0,-14-14 0,-13 0 16,0 0-16,-27 0 0,1 0 15,0-14-15,-67 1 0,-13-13 0,27 12 16,-14-12-16</inkml:trace>
  <inkml:trace contextRef="#ctx0" brushRef="#br0" timeOffset="61346.92">20227 8572 0,'-13'0'15,"13"-13"-15,-40-13 32,27 26-32,-13-13 0,13 13 15,-1-14-15,-12 14 0,-1 0 0,-12 0 16,-14 0-16,13 0 0,-13 14 0,-13-1 16,0-13-16,0 26 0,0-13 15,-14 14-15,1-1 0,13 1 0,0-1 0,-1 1 16,1-1-16,13 1 15,0-1-15,14 1 0,-1-1 0,14 1 16,12-1-16,-12 0 0,13 1 0,13-1 16,0-12-16,13 12 0,0 1 15,27-1-15,0 0 0,26 1 16,-13-1-16,26-12 0,0 12 0,14-13 16,-14 1-16,14-1 0,13-13 0,-14 13 0,1-13 15,0-13-15,-1 13 0,1-13 16,-14-1-16,1 1 0,-14-13 0,0 12 15,-13-12-15,-14-1 0,1 1 0,-13 0 16,-14-14-16,0 13 0,0-12 16,-13 12-16,0 1 0,-13-27 15,0 13-15,-14-13 0,-12 14 0,12-1 16,-12 0-16,-1 0 0,-13 1 0,13 12 16,-13 14-16,0-13 0,14 12 15,-14 1-15,13 0 0,-13 0 0,0 13 16,14-13-16,-14 13 0,0 0 0,-40-27 15,53 14-15,-12-14 16</inkml:trace>
  <inkml:trace contextRef="#ctx0" brushRef="#br0" timeOffset="62182.75">20942 3254 0,'26'-13'0,"-13"13"0,1 0 15,-1 0-15,0 0 0,0 0 16,1 0-16,-1 0 0,-13 13 15,13-13-15,-13 14 0,0-1 16,0 0-16,0 0 16,-13-13-16,13 14 0,0-1 15,13 0 1,0 0-16,1-13 16,-14 13-16,13-13 0,0 14 0,0-14 15,0 0-15,-13 13 0,14-13 0,-14 13 16,13-13-16,-13 13 15,-13 1 1,-1-1-16,1 0 0,0-13 0,0 13 16,-14 0-16,14-13 0,-13 14 0,12-14 15,1 13-15,-13-13 0,12 0 16,1 0-16,13 13 0,-13-13 0,0 0 16</inkml:trace>
  <inkml:trace contextRef="#ctx0" brushRef="#br0" timeOffset="62543.4">21418 3188 0,'-13'-13'15,"26"26"-15,-39-26 0,12 13 0,1 0 0,0 0 0,-14 0 16,14 13-16,0-13 0,-14 13 15,14-13-15,0 14 0,0-1 0,-14 0 16,27 0-16,-13-13 16,13 14-16,13-14 0,1 0 15,-1 0-15,0 0 0,0 0 16,14 0-16,-14 0 0,13-14 16,-12 14-16,-1 0 0,13 0 0,-12 0 15,-1 0-15,0 0 0,0 0 16,0 0-16,1 0 15,-14 14-15,13-14 0,-13 13 0,0 0 16,0 0-16,0 1 0,0-1 16,0 0-16,-13-13 0,13 13 15,0 0-15,0 1 0,0-1 16,0 0-16,13-13 16</inkml:trace>
  <inkml:trace contextRef="#ctx0" brushRef="#br0" timeOffset="62852.25">21868 3122 0,'0'-13'16,"-40"26"0,27 0-1,0 1-15,-1-1 0,-12 0 16,13 0-16,0 0 0,-1 1 0,1-1 15,0 0-15,0 0 0,13 1 16,-14-1-16,28 0 16,-14 0-1,13-13-15,0 0 0,0 14 16,1-14-16,-1 0 0,13 0 0,1 0 16,-14 0-16,13 0 0,1 0 15,-14 0-15,0 0 0,14 0 0,-14 0 16,0-14-16,0 14 0,1 0 15,-1 0-15,-13-13 0,0 0 16</inkml:trace>
  <inkml:trace contextRef="#ctx0" brushRef="#br0" timeOffset="63056.03">21894 3082 0,'-13'0'15,"26"0"-15,-39 14 0,26-1 16,0 0-16,-13 0 15,13 1-15,0-1 0,0 13 0,0-13 16,0 14-16,0-1 0,0 1 0,0-14 16,13 14-16,-13-1 0,0 0 15,0-12-15,0 12 0,0-13 16,0 14-16,0-14 0,0 0 0,0 0 16,0 1-16,0-1 0,0 0 15,-13-13-15,-1 13 0</inkml:trace>
  <inkml:trace contextRef="#ctx0" brushRef="#br0" timeOffset="63552.43">20690 3731 0,'-13'13'15,"26"0"-15,-13 0 0,40 1 16,-13-14-1,12 13-15,14-13 0,0 13 0,13-13 16,14 0-16,78-13 0,-78 13 16,12-13-16,-12 13 0,12-14 0,-12 1 15,-1 0-15,0 0 0,1-14 16,-1 14-16,-13-14 0,0 1 0,-13 0 16,14-1-16,-28 1 0,54-41 15,-40 41-15,-27-14 0,27-26 16,-26 27-16,-14-14 0,0 13 15,0 0-15,-13-13 0,0 14 0,0-1 16,-13-26-16,0 26 0,-14-13 0,-12 0 16,-1 14-16,-13-1 15,0 0-15,-13 14 0,-40-14 0,27 27 16,-106-14-16,79 14 0,0 13 16,-159 40-16,146-14 15,-13 14-15,13 0 0,0 13 0,13 13 16,0 0-16,14 0 0,-1 13 0,14 1 15,26-1-15,0 1 0,13-1 0,14-13 16,12-13-16,1 13 0,13-13 16,13 0-16,14-13 0,-1 13 0,14-14 15,13 1-15,13 0 0,-13-14 0,0 1 16,26-1-16,-13-13 16,1 0-16,-15-13 0,1 14 0,0-14 15,-13-14-15</inkml:trace>
  <inkml:trace contextRef="#ctx0" brushRef="#br0" timeOffset="66656.39">22410 3413 0,'66'0'31,"-39"0"-31,12 0 15,1 0-15,-13 0 0,12 0 0,-12 0 16,12 0-16,1 13 0,-13-13 0,12 0 16,-12 0-16,12 0 0,-12 0 15,-1-13-15,1 13 0,-1 0 0,1 0 16,-14 0-16,13 0 0,-12 0 0</inkml:trace>
  <inkml:trace contextRef="#ctx0" brushRef="#br0" timeOffset="66923.05">23032 3281 0,'53'0'32,"-40"0"-32,14 13 0,-1 0 15,-13 1-15,14-14 0,-14 13 16,0 0-16,0 0 0,1 0 0,-14 1 15,13-14-15,-13 13 0,0 0 0,0 0 16,0 1-16,0-1 0,-13 0 16,-1 0-16,1 0 0,-13 1 0,13-1 15,-14 0-15,14 0 0,-14-13 0,1 14 16,-1-14-16,14 0 16,-13 0-16,-1 0 0,1 0 0</inkml:trace>
  <inkml:trace contextRef="#ctx0" brushRef="#br0" timeOffset="67291.83">22648 3281 0,'0'-13'16,"-13"-1"-16,0 14 0,0 0 16,-1 0-16,1 14 0,0-14 0,-14 13 15,14-13-15,-13 13 0,13 0 16,-1 1-16,1-1 0,0-13 0,0 26 16,-1-13-16,14 1 0,0-1 0,0 0 15,0 0-15,14 14 0,-1-14 16,0 0-16,14 14 0,-14-14 0,13 13 15,1-12-15,-1-1 0,-13 0 0,14-13 16,-1 13-16,-12 1 16,12-14-16,-13 13 0,14-13 0,-14 0 15,13 13-15,-12-13 0,-1 0 0,0 13 16,0-13-16,1 13 16,-1-13-16</inkml:trace>
  <inkml:trace contextRef="#ctx0" brushRef="#br0" timeOffset="70492.85">21577 4299 0,'0'27'32,"0"-14"-17,0 14-15,0-14 0,0 0 0,0 0 16,0 14-16,13-14 0,-13 0 0,0 14 15,0-14-15,0 0 0,0 0 16,13 1-16,-13-1 0,0 0 0,0 0 16</inkml:trace>
  <inkml:trace contextRef="#ctx0" brushRef="#br0" timeOffset="70695.77">21431 4485 0,'13'-14'15,"1"1"-15,12 13 16,-13-13-16,1 13 0,12 0 16,-13-13-16,14 13 0,-14-13 0,13 13 15,1 0-15,-14-14 0,14 14 0,-1-13 16,1 13-16</inkml:trace>
  <inkml:trace contextRef="#ctx0" brushRef="#br0" timeOffset="70887.59">21974 4233 0,'0'-13'0,"-14"40"47,14-14-47,0 0 15,-13 0-15,13 0 0,0 14 0,-13-14 16,13 0-16,0 14 0,-13-27 16,13 26-16,0-12 0,0-1 15,0 0-15,0 0 0</inkml:trace>
  <inkml:trace contextRef="#ctx0" brushRef="#br0" timeOffset="71180.17">22225 4286 0,'0'-13'0,"13"13"31,-39 13-15,13-13-16,-1 13 0,1-13 0,0 14 16,13-1-16,-13 0 0,-1-13 15,1 13-15,0 1 16,13-1-16,-13 0 0,13 0 15,13 1 1,0-1-16,0-13 16,1 0-16,12 0 15,-13 13-15,1-26 0,-1 13 0,13 0 16,-13 0-16,1 0 0,-1-13 16,0 13-16,0 0 0,1-14 0,-14 1 15,13 13-15</inkml:trace>
  <inkml:trace contextRef="#ctx0" brushRef="#br0" timeOffset="71399.14">22344 4233 0,'0'-13'0,"-13"13"16,13-13-16,-27 26 31,27 0-31,0 1 16,0-1-16,-13 0 0,13 0 15,0 0-15,0 14 0,0-14 16,0 0-16,0 27 0,13-13 15,-13-14-15,0 0 0,0 13 16,0-12-16,0-1 0,0 0 16,14 0-16,-14 1 0,13-1 0,0 0 15,14-13 1,-14-13-16</inkml:trace>
  <inkml:trace contextRef="#ctx0" brushRef="#br0" timeOffset="71683">22529 4114 0,'13'-13'0,"-26"26"0,40-26 0,-14 13 0,0 0 16,0 0-16,-13 13 0,14-13 15,-1 14-15,0-14 0,-13 13 0,13 0 16,1 0-16,-1 27 0,-13-27 16,13 14-16,-13-14 0,0 13 15,0-13-15,0 1 0,0 12 16,0-13-16,-13 1 0,13-1 0,0 0 0,0 0 16,0 1-16,0-1 0,0 0 15</inkml:trace>
  <inkml:trace contextRef="#ctx0" brushRef="#br0" timeOffset="71891.14">22516 4339 0,'0'-13'16,"13"13"-1,0 0 1,1-13-16,-1 13 0,0 0 15,0 0-15,1 0 0,-1 0 0,0 0 16,0 0-16,1 0 0,-1 0 0,0 0 16,0 0-16,0 13 15,1-13-15,-14 13 0</inkml:trace>
  <inkml:trace contextRef="#ctx0" brushRef="#br0" timeOffset="72417.23">21947 4842 0,'40'0'15,"-14"0"-15,40-13 0,-26-1 16,212-25 0,-186 25-16,0-12 0,0 13 15,66-27-15,1 0 16,-81 27-16,15-13 0,-14-1 16,-1 1-16,41-40 0,-53 39 15,-14 1-15,1-14 0,-1 14 16,-13-14-16,1 0 0,-14 1 0,0-1 15,-14-13-15,1 13 0,-13-13 16,-1 0-16,-12 14 0,-14-1 0,-66-26 16,52 53-16,1-14 0,-26 14 15,-94 13-15,81 0 16,-14 26-16,-14 1 0,1-1 0,13 14 16,0 0-16,0 13 0,13 0 15,0 0-15,13 13 0,14 0 0,0 0 16,13 0-16,-1 0 0,41-13 0,-14 0 15,27 0-15,0 53 0,13-67 16,26 14-16,54 27 16,-27-54-16,13 1 0,13-1 15,0 1-15,14-14 0,0 0 0,-14-13 16,14 0-16,-14 0 0,14-13 0,-14 0 16,0-1-16,1 1 0</inkml:trace>
  <inkml:trace contextRef="#ctx0" brushRef="#br0" timeOffset="72890.81">23257 4471 0,'92'-13'31,"-78"13"-31,12 0 0,1 0 0,12 0 16,-12-13-16,-1 13 0,1 0 0,12 0 16,-12-13-16,-1 13 0,1 0 15,-14 0-15,13 0 0,-12-13 16</inkml:trace>
  <inkml:trace contextRef="#ctx0" brushRef="#br0" timeOffset="73136.12">23667 4286 0,'53'40'31,"-40"-27"-31,0 0 0,1-13 0,-14 27 16,13-14-16,0 0 0,0 1 0,-13-1 15,0 13-15,13-13 0,-13 1 16,0-1-16,-13 0 0,13 0 0,-13 1 15,13-1-15,-13 0 0,0 0 16,13 1-16,-14-1 0,1 0 16</inkml:trace>
  <inkml:trace contextRef="#ctx0" brushRef="#br0" timeOffset="74408.07">24104 4299 0,'13'0'16,"-26"0"-16,26 0 0,-26 0 0,39 0 15,-52 27-15,26-14 0,26-26 0,-52 39 0,26-12 16,-14-1-16,14 13 0,0-12 15,-13 12-15,13 0 0,0-12 0,0-1 16,-13 13-16,13-12 0,0-1 16,-13 13-16,13-12 0,0-1 0,0 0 15,0 0-15,0 0 16</inkml:trace>
  <inkml:trace contextRef="#ctx0" brushRef="#br0" timeOffset="74813.08">24315 4419 0,'-53'0'31,"40"13"-15,-13 13-16,12-13 0,14 1 16,-13-1-16,0-13 0,13 13 0,0 0 15,-13 1-15,13-1 16,13-26-16,-26 26 0,26 0 16,13-13-16,-52 0 0,52-13 0,-52 26 0,39-13 15,14-13-15,-14 13 0,-26-13 0,26 13 16,0-14-16,0 14 0,-26 0 0,40-13 15,-27 0-15,13 13 0,0-13 16,0 26 0,0 0-1,-13 0-15,0 1 0,0-1 16,14 0-16,-14 0 0,0 1 16,0-1-16,0 0 15,13-26-15,-26 26 0,13 0 0</inkml:trace>
  <inkml:trace contextRef="#ctx0" brushRef="#br0" timeOffset="75336.03">24408 4485 0,'13'-14'32,"-13"41"-17,13-14 1,-13 14-16,0-14 15,14-13 1,-28 13-16,14 0 16,14-39 15,-1 26-31,-13-13 16,13 13-16,-13-14 0,13 1 15,0 13-15,1-13 0,-1 13 0,0-13 16,0-1-16,1 1 0,-1 13 0,0-13 15,0 0-15,0 13 0,-13-13 16,14 13-16,-1-14 16,-13 28 15,0-1-31,-13 0 16,13 0-16,0 0 0,-14 1 15,14-1-15,-13-13 0,13 13 16,0 0-16,-13-13 15,13 14-15,13-14 47,0-14-47,-13 1 0,14 13 0,-14-13 16,13 13-16,0-13 0,0 13 16,1-14-16,-1 14 15</inkml:trace>
  <inkml:trace contextRef="#ctx0" brushRef="#br0" timeOffset="76292.06">24051 4114 0,'0'-39'16,"0"78"-16,-14-92 0,14 40 0,0 0 16,0-14-16,0 14 0,0-13 0,-13-14 15,13 0-15,0 1 0,0-1 0,0-13 16,0 0-16,0 13 0,-13-12 15,13 12-15,0-13 0,0 13 0,0 14 16,0-1-16,0 1 0,0 13 0,0-1 16,0 1-16,0 0 0,13 0 15</inkml:trace>
  <inkml:trace contextRef="#ctx0" brushRef="#br0" timeOffset="76497.11">24143 3334 0,'-13'-13'0,"-13"39"31,12-13-31,1 0 0,-13 14 16,-1-1-16,14 14 0,-14-14 0,1 1 15,0 13-15,-1-14 0,-13 40 16,27-39-16,0-1 16,0-13-16,-1 14 0,14-14 0</inkml:trace>
  <inkml:trace contextRef="#ctx0" brushRef="#br0" timeOffset="76686.78">23971 3360 0,'0'0'0,"13"0"0,1 0 0,-1 0 15,0 13-15,0-13 0,1 0 16,-1 14-16,27-1 0,-27 0 16,13-13-16,1 13 0,-14 1 15,0-14-15,14 13 0,-14-13 0</inkml:trace>
  <inkml:trace contextRef="#ctx0" brushRef="#br0" timeOffset="79470.14">19725 7144 0,'66'0'0,"185"-27"31,-185 27-31,14-13 0,-14 0 16,0 0-16,0-14 0,0 14 16,0-14-16,-13 14 0,14-13 0,-15-1 15,-12 1-15,13-1 0,-13-12 0,-1-1 16,-12 0-16,-14 1 0,0-1 0,1-13 16,-14 13-16,-14-26 0,1 13 15,-13 0-15,-14-13 0,-13 0 0,-13 0 16,-13 13-16,12 13 0,-12 1 15,-80-14-15,80 39 0,-1 1 0,-12 13 16,-1 0-16,-13 13 0,1 14 16,-1-1-16,-13 14 0,13 0 0,13 13 15,1 0-15,12 13 0,1 0 16,13 0-16,26-13 0,0 0 0,14 0 16,-1 13-16,27-26 0,0-1 15,0 14-15,27-13 0,-1 13 0,14-13 16,13-1-16,0 1 0,13-14 0,0 1 15,14-14-15,-14 0 0,26-13 16</inkml:trace>
  <inkml:trace contextRef="#ctx0" brushRef="#br0" timeOffset="79803.28">21167 6601 0,'79'0'31,"-39"0"-31,-1 0 0,14 0 16,13 0-16,1 0 0,-1 0 0,13-13 16,-26 13-16,0 0 0,0 0 0,0 0 15,0-13-15,-14 13 0,1 0 16,-13-13-16,-1 13 0,0 0 0,-12-14 16,-1 14-16,0-13 0,0 13 0,-13-13 15,0 0-15</inkml:trace>
  <inkml:trace contextRef="#ctx0" brushRef="#br0" timeOffset="80008.09">21960 6297 0,'0'0'16,"27"0"-16,-27-13 0,13 13 15,0 13-15,14-13 0,-14 0 0,13 13 16,1 1-16,-1 12 0,14-13 0,-13 14 16,-1-1-16,-13-13 0,0 14 15,-13-1-15,14-12 0,-14 12 0,0 0 16,-14 1-16,1-1 0,13 14 0,-13-13 15,-13-1-15,12 14 0,1-27 16,0 13-16,0-12 0,13-1 16,-14 0-16,14 0 0,-13-13 15</inkml:trace>
  <inkml:trace contextRef="#ctx0" brushRef="#br0" timeOffset="80365.95">23085 6271 0,'-13'26'31,"-1"-13"-15,14 1-16,-13-1 0,0 0 0,0 13 15,0-12-15,13-1 0,-27 27 16,14-27-16,13 13 16,-13-12-16,13-1 0,0 0 0,0 0 15,13-13-15,-13 13 0,13-13 0,0 14 16,1-14-16,12 0 0,-13 13 16,14-13-16,-14 0 0,13 0 15,14 0-15,-13 0 0,-14 0 0,13 0 16,-13-13-16,1 13 0,-1 0 15,0 0-15,0 0 0,-13-14 0,14 14 16</inkml:trace>
  <inkml:trace contextRef="#ctx0" brushRef="#br0" timeOffset="80683.88">23085 6456 0,'-27'-13'15,"54"26"-15,-40-40 16,26 27-16,0 0 15,0-13-15,14 13 0,-14 0 0,14 0 16,-14-13-16,13 13 0,-13 0 16,1 0-16,12 0 0,-13-13 15,1 13-15,-1-14 16,-40 1 0,27 0-16,-26 0 0,13 0 15,-14 13-15,1-14 0,-1 1 0,14 13 0,-13-13 16,12 0-16,1 13 15,0 0-15,0-14 0,-1 14 0,14-13 16,14 0 0,-1 13-16,0 0 0,0-13 15,14 13-15,13 0 0,-14 0 0,0 0 16,41 0-16,-28 0 0,-12 0 16,-1 0-16,14 0 0,-14 0 15,-12 0-15,12 0 0</inkml:trace>
  <inkml:trace contextRef="#ctx0" brushRef="#br0" timeOffset="81031.05">23720 6231 0,'13'0'31,"-39"26"-15,12-12-16,1-1 0,0 0 16,0 0-16,0 1 0,-1 12 0,1-13 15,-27 14-15,27-14 16,0 0-16,0 0 0,13 1 0,-27-1 15,14 0-15,0-13 16,0-13 0,13 0-1,-14-1-15,14 1 0,0 0 16,14 13 15,-1 0-15,0 13-16,0-13 0,0 0 0,1 13 15,-1-13-15,0 14 0,0-14 16,1 13-16,-1-13 0,13 13 0,-12-13 16,-1 13-16,0-13 0,0 0 15,14 14-15,-14-14 0,0 0 0,0 0 16,1 0-16</inkml:trace>
  <inkml:trace contextRef="#ctx0" brushRef="#br0" timeOffset="81675.39">23958 6284 0,'0'-13'0,"0"26"0,0-40 0,-13 27 16,13-13 0,-13 26-1,13 1-15,-14-1 0,14 0 16,-13 0-16,13 1 0,-13-1 15,13 13-15,-13-13 0,13 14 0,-14-14 0,14 0 16,-13 1-16,13-1 0,0 0 16,-13 0-16,13 1 15,-13-1-15,-1-13 0,1 0 32,0-13-32,0-1 15,13 1 1,13 0-1,0 0-15,0 13 0,1 0 16,-1 0-16,0 0 16,0 0-16,1 0 15,-1 0-15,0 0 0,0 0 0,1 13 16,-1-13-16,-13 13 16,13-13-16,0 0 0,0 13 15,1-13 16,-1-13-31,0 13 16,0-13-16,1 13 16,-14-13-16,13 13 0,0-14 15,0 14 1,1-13-16,-1 13 16,0 0-16,0 0 15</inkml:trace>
  <inkml:trace contextRef="#ctx0" brushRef="#br0" timeOffset="82234.62">24659 6204 0,'0'-13'0,"-13"40"47,0-14-47,13 0 0,0 0 15,-14 1-15,14-1 0,-13 0 16,13 0-16,0 1 16,0-1-16,0 0 15,0 0-15,13 0 16,1-13-16,-1-13 16,0 13-1,0 0-15,-13-13 16,14 13-16,-1 0 15,0 0 1,0 0 0,1 0-1,-1 0 1,0 0 0,0 0-16,0 0 15,1 0-15,-14-13 16,-14 0-1,1 13-15,-13-14 16,-14 1-16,-26 0 0,-93-27 16</inkml:trace>
  <inkml:trace contextRef="#ctx0" brushRef="#br0" timeOffset="83066.95">5252 9300 0,'-106'-13'0,"212"26"0,-278-39 0,93 26 16,-14 13-16,-26 0 15,-13 0-15,-1 27 0,1-14 0,-13 27 16,-1-13-16</inkml:trace>
  <inkml:trace contextRef="#ctx0" brushRef="#br0" timeOffset="89955.92">15941 6773 0,'119'0'15,"-92"0"-15,-1 0 0,14 0 16,13-13-16,-14 0 0,14 13 0,0-13 16,0-1-16,13 1 0,-13-13 0,0 13 15,0-14-15,0 14 0,0-14 16,0 14-16,-13-13 0,-1-1 0,14 1 16,-13 13-16,-14-14 0,14 1 0,-14-1 15,1 1-15,13-1 0,-27-12 16,13 12-16,-13-13 0,14 14 0,-14-14 15,0 14-15,-13-1 0,14 1 0,-14-1 16,0 1-16,-14-1 0,1 1 16,0-14-16,0 14 0,-14-1 15,-12 1-15,-1 0 0,-13-1 0,13 1 16,-26-1-16,-53-13 0,40 27 16,13 0-16,-93 13 0,66 0 15,14 0-15,-14 13 0,-13 14 16,-13-1-16,13 1 0,14-1 0,-14 27 15,13-13-15,1 13 0,-1 13 0,14-13 16,-1 13-16,14 0 0,27-13 16,-1 0-16,0 0 0,14 0 15,13 0-15,-1-14 0,28 1 0,-14 0 16,26-1-16,0 1 0,14 0 0,13-14 0,0 1 16,0-1-16,26 0 15,-13-12-15,14-1 0,-1 0 0,14-13 16,-14 0-16,1 0 0,-1 0 0,-13 0 15</inkml:trace>
  <inkml:trace contextRef="#ctx0" brushRef="#br0" timeOffset="92243.89">8625 11827 0,'-66'-13'31,"53"13"-15,0 0-16,-14 0 0,1 0 0,13 0 16,-14 13-16,-12-13 0,12 0 15,1 0-15,-14 0 0,0 0 0,-13 0 0,0 13 16,14-13-16,-14 0 0,0 0 15,0 0-15,0 0 0,0 13 0,0-13 16,-26 14-16,13-14 0,0 13 0,-14-13 16</inkml:trace>
  <inkml:trace contextRef="#ctx0" brushRef="#br0" timeOffset="92688.19">5755 11986 0,'0'0'0,"-66"0"0,39 0 0,14 0 15,-14-14-15,1 14 16,-14 0-16,14 0 0,-1 0 0,-12 0 16,-1 0-16,0-13 0,-13 13 0,0 0 15,14 0-15,-1 0 0,-13 0 16,0 0-16,0 0 0,14 13 0,-67-13 15,53 0-15,0 0 0,0 0 16,0 0-16,0 0 0,-13 14 16,13-14-16,0 0 0,0 0 0,-13 0 15,13 0-15,-13 0 0,13 0 16,-13 0-16,13-14 0,0 14 0,-13 0 16,13 0-16,0 0 0,-13 0 0,13 0 15,0 0-15,-13-13 0,13 13 0,0 0 16,-13 0-16,13 0 15,0 0-15,-13 0 0,13 0 0,-13 0 16,13 0-16,0 0 0,-13 0 0,13 13 16,-13-13-16,13 0 0,-13 0 0,13 0 15,0 0-15,0 0 0,0 0 16,-13 14-16,13-14 0,0 0 0,0 13 16,14-13-16,-14 0 0,13 13 0,0-13 15,1 13-15,12-13 0</inkml:trace>
  <inkml:trace contextRef="#ctx0" brushRef="#br0" timeOffset="93578.93">9856 12700 0,'-14'0'0,"28"0"0,-28 13 0,1-13 0,0 40 15,13-27-15,0 14 0,-13-1 16,13 1-16,-13-1 0,13 0 16,-14 14-16,14 0 0,0 0 0,-13-1 15,13-12-15,0-1 0,0 1 0,0-1 16,0 0-16,0 1 0,0-1 0,0-12 16,0-1-16,0 0 0,0 0 15,0 1-15</inkml:trace>
  <inkml:trace contextRef="#ctx0" brushRef="#br0" timeOffset="93818.05">9816 12846 0,'-13'0'31,"-14"26"-31,14-13 15,0 14-15,0-14 0,-1 0 0,1 0 16,-13 14-16,13-1 0,-14 1 0,14-1 16,-14 1-16,14-1 15,0 1-15,-14-14 0,14 0 0,13 0 16,-13 0-16,0-13 0,13 14 0,-13-28 31,26 1-31,-13 0 0,0-13 16</inkml:trace>
  <inkml:trace contextRef="#ctx0" brushRef="#br0" timeOffset="94008.07">9737 12846 0,'26'0'15,"-52"0"-15,65 0 0,-25 0 0,-1 13 16,0-13-16,0 13 0,0-13 16,1 13-16,-1 0 0,0-13 0,14 14 15,-14-1-15,0 0 0,14 0 0,-14-13 16,0 14-16,0-1 0,0 0 15,1-13-15,-1 13 0,0-13 0,-13 14 16,13-14-16,1 13 0,-1-13 16,-13 13-16,13-13 15</inkml:trace>
  <inkml:trace contextRef="#ctx0" brushRef="#br0" timeOffset="104362.98">13454 873 0,'-79'27'16,"158"-54"-16,-185 67 0,80-27 0,-1 0 16,14-13-16,-13 13 0,12-13 15,1 0-15,0 14 0,0-14 0,13 13 16,0 0-16,0 0 16,13 1-16,-13-1 0,26 0 0,-12-13 15,12 13-15,-13 1 0,1-1 16,12 0-16,0-13 0,-12 13 0,-1 0 15,0-13-15,0 14 0,1-14 16,-14 13-16,13-13 0,-13 13 16,-13 0-16,13 1 15,-14-1-15,-12 0 0,-1 0 0,1 1 16,0-14-16,-14 13 0,13 0 0,1-13 16,-1 13-16,1-13 0,0 0 15,12 0-15,1 13 0,-13-13 0,12 0 16,1 0-16,0-13 15,39 0 1,-12 13-16,-1-13 0,0 0 16</inkml:trace>
  <inkml:trace contextRef="#ctx0" brushRef="#br0" timeOffset="104729.78">13652 939 0,'0'0'0,"-13"-13"15,-13 39 1,13-26-16,-1 14 16,1 12-16,13-13 0,-13 14 0,0-14 15,13 0-15,0 14 0,0-14 16,0 0-16,0 0 0,0 1 16,13-1-16,0 0 0,0-13 15,1 0-15,-1 0 16,0-13-16,0 0 0,14 13 0,-14-14 15,0-12-15,0 13 0,1 0 0,-14-1 16,13 1-16,0 13 0,-13-13 0,13 13 16,-13-13-16,14 13 15,-1 13-15,-13 0 16,0 0-16,0 1 0,13-1 16,-13 0-16,0 0 0,13-13 15,-13 13-15,13 1 0,1-14 16,-14 13-16,13-13 0,0 13 0,0-13 0,1 0 15,-1-13-15,0 13 0,14 0 16,-1-13-16</inkml:trace>
  <inkml:trace contextRef="#ctx0" brushRef="#br0" timeOffset="105342.59">16312 278 0,'0'26'31,"0"1"-15,0-14-16,-14 0 0,14 0 0,0 14 16,0-14-16,0 14 0,-13-14 0,13 13 15,0-13-15,0 1 0,0-1 16,0 0-16,0 0 0,0 1 0,13-1 15,-13 0-15,14-13 0</inkml:trace>
  <inkml:trace contextRef="#ctx0" brushRef="#br0" timeOffset="105926.26">16470 397 0,'0'-27'31,"-13"54"-16,0-14 1,13 0-16,0 1 0,0-1 16,13 0-16,-13 0 0,13 0 15,1 1-15,-1-14 16,0 13-16,0-13 0,0 0 0,1 0 16,-1 0-16,0 0 0,-13-13 15,13 13-15,1-14 0,-14 1 16,13 13-16,-13-13 0,0 0 15,0-14-15,-13 14 16,13 0-16,-14 13 16,14-13-16,-13-1 15,0 1 1,13 0 0,13 13-16,-13-13 0,13 13 15,1 0-15,-14-13 16,13 13-16,0 0 15,0 0-15,1 13 16,-1-13 0,-13 13-16,13 0 0,0 0 15,0 1-15,1-14 0,-14 13 16,13 0-16,0-13 0,0 0 0,1 13 16,-1-13-16,0 0 15,0 0-15,1 0 16,-1 0-16,-13-13 0,13 0 15,-13 0-15,0-1 16,0 1-16,0 0 16,0 0-16,0 0 0,-26 13 31,12 13-31,1-13 16,0 13-16,-14 13 0,-12-12 0,12 12 15,1-13-15</inkml:trace>
  <inkml:trace contextRef="#ctx0" brushRef="#br0" timeOffset="106211.88">16232 767 0,'66'-13'32,"-39"0"-32,12 13 0,1-13 15,13-1-15,-13 1 0,13 0 16,0 0-16,0-14 0,-1 14 0,1 0 15,0 0-15,-13-1 0,13 1 0,-13 13 16,-1-13-16,1 0 0,0-1 16,-1-12-16,-12 13 0,-1-1 0,-13 14 15,14-13-15,-14 0 0,0 0 0,1-14 16,-1 14-16,-13-13 0,13 12 16,-13-12-16,0 13 0,0-14 0,0 1 15,-13-14-15,0 0 0,-1 14 0,1-14 16,-13 1-16,-1 12 0,1 1 15,-14-1-15</inkml:trace>
  <inkml:trace contextRef="#ctx0" brushRef="#br0" timeOffset="106396.28">16457 26 0,'0'0'16,"-132"14"-16,79 25 0,0 1 0,0 13 16,0-13-16,0-1 0,14 1 0,-1 13 15,13-13-15,1 13 0,-1-27 0,27 14 16,-13-14-16,13 1 0,13-1 15,-13 1-15,14-14 0,-1 13 0,0 1 16,14-14-16,-14 0 0,0 0 0,14 1 16,-14-14-16,0 13 0,0-13 0,14 0 15,-14 0-15,0 0 0,0 0 16</inkml:trace>
  <inkml:trace contextRef="#ctx0" brushRef="#br0" timeOffset="110743.86">18838 1151 0,'-26'26'0,"13"1"15,-1-14-15,1 14 0,13-1 16,-13 0-16,13-12 0,-13 12 0,13 1 16,-14-1-16,14-13 0,0 14 15,0-14-15,0 0 0,0 14 0,14-14 16,-14 0-16,0 0 0,13-13 15,0 14-15,-13-1 0,13-13 16,1 0-16,-1 0 0,-13 13 0,13-13 16,0 0-16,1-13 0,-1 13 15,0-13-15,-13-1 16,0 1 0,0 0-16,0 0 0,-13 13 15,13-14-15,0 1 0,-13 0 16,-1 13-1,1 0-15,0 0 16</inkml:trace>
  <inkml:trace contextRef="#ctx0" brushRef="#br0" timeOffset="111236.16">19328 1217 0,'-40'-13'15,"27"13"-15,0 0 0,-40 13 16,40 0-16,-14-13 0,14 14 16,0-14-16,-1 0 0,1 13 0,0-13 15,13 13-15,-13-13 0,13 13 16,13 0-1,0 1-15,14-14 0,-14 13 16,0-13-16,0 13 0,14-13 16,-14 13-16,0-13 0,0 0 0,-13 14 15,14-14-15,-1 0 0,0 13 16,-13 0-16,-13 0 16,0-13-16,-1 14 0,1-14 15,-13 13-15,13 0 0,-14-13 16,1 13-16,12-13 0,-12 13 0,13-13 0,-14 14 15,14-14-15,0 0 0,0 13 16,-1-13-16,1 0 0,0 13 0</inkml:trace>
  <inkml:trace contextRef="#ctx0" brushRef="#br0" timeOffset="114787.07">18706 2051 0,'0'39'31,"0"-26"-31,0 1 15,0-1-15,0 0 0,0 0 16,0 1-16,0-1 0,0 0 0,0 0 16,0 0-16,13 1 15,-13-1-15,0 0 16,13 0 0</inkml:trace>
  <inkml:trace contextRef="#ctx0" brushRef="#br0" timeOffset="115290.82">19169 2037 0,'-26'0'31,"12"0"-31,1 0 16,0 14-16,0-14 0,-1 0 16,14 13-16,-13-13 0,0 0 15,13 13-15,13 0 16,0 0 0,1-13-1,-14 14-15,13-14 0,0 13 16,-13 0-1,-13 0 1,0 1-16,-1-14 16,1 13-16,0-13 0,0 13 15,-14-13-15,14 0 0,0 13 16,0-13-16,-1 0 0,1 0 0,0 0 16,0 0-16,-1 0 0</inkml:trace>
  <inkml:trace contextRef="#ctx0" brushRef="#br0" timeOffset="116899.92">18971 1614 0,'79'13'31,"-66"-13"-31,14-13 0,-1 13 0,1 0 16,-1 0-16,14-13 0,-1 0 0,-12 13 16,13-14-16,-1 1 0,1 0 15,0 0-15,-1-1 0,-12 1 0,12 0 16,-12 0-16,-14-1 0,14 1 15,-14 0-15,0 0 0,0 0 0,1-1 16,-1 1-16,-13-13 0,13 12 16,-13 1-16,0 0 0,0-14 0,0 14 15,0 0-15,0-13 0,-13 12 0,0-12 16,-1-1-16,-12 1 0,13-1 0,-14 1 16,1 13-16,-1-14 15,-12 14-15,12 0 0,-13-14 0,1 14 0,-1 0 16,0 0-16,1 13 0,-1-14 15,0 14-15,1 0 0,12 0 0,1 0 16,-1 0-16,-12 0 0,12 0 16,1 0-16,-14 0 0,13 27 0,-12-14 0,12 14 15,1-1-15,-1-13 0,1 27 16,-1-14-16,1 14 0,0 0 16,12 0-16,1-14 0,0 14 0,0-1 15,-1 1-15,14-13 0,0-1 0,-13 0 16,26 1-16,-13-14 0,0 14 0,0-1 15,14-13-15,-1 14 0,-13-14 16,13 13-16,14-12 0,-14-1 0,0 0 16,13-13-16,1 13 0,-14 1 0,14-1 15,-1-13-15,-13 13 16,14 0-16,-14-13 0</inkml:trace>
  <inkml:trace contextRef="#ctx0" brushRef="#br0" timeOffset="117679.18">18918 2130 0,'-14'0'15,"28"0"-15,-41 0 0,14 13 0,0 0 16,0-13-16,13 14 0,-14-1 16,14 0-16,-13-13 0,13 13 15,0 0-15,0 1 0,0-1 16,13-13-16,-13 13 0,14-13 0,-1 13 15,0-13-15,0 0 0,0 0 0,14 0 16,-14-13-16,14 13 0,12-26 16,-25 26-16,-1-14 0,0 1 15,0 0-15,-13 0 0,13 0 0,-13-1 16,0 1-16,0 0 0,-13 0 16,13-1-16,-13 14 0,0-13 0,-14 13 15,14 0-15,0 0 0,0 0 16,-14 13-16,1 1 0,12-14 15,1 13-15,-13 0 0,13 0 0,13 1 16,-14-14-16,14 13 0,-13 0 16,26 0-16,1-13 15,-1 0-15,0 0 16,13 0-16,-12-13 0,12 13 0,-13-13 16,1 0-16,12-1 0,-13 1 0,-13 0 15,14 0-15,-14-1 0,0 1 16,0 0-16,0 0 0,0 0 15,0-1-15,-14 14 0,1-13 0,0 13 16,0 13-16,-1-13 0,1 0 0,-13 14 16,12-1-16,1 0 15,0 0-15,0 0 0,0 1 0,13-1 0,-14 0 16,14 0-16,14 1 16,-1-1-16,0-13 15,0 0-15,0 0 0,1-13 16,-1 13-16,0 0 0,0 0 15,-13-14-15,14 14 0,-14-13 0,-14-13 32,1 26-32,13-14 0,-26 14 0,12-13 15,1 13-15,-26-13 0,25 0 16,-12 13-16,13-13 0,-1-1 16,1 1-16,13 0 15,13 0-15</inkml:trace>
  <inkml:trace contextRef="#ctx0" brushRef="#br0" timeOffset="119839.23">20254 423 0,'0'-13'31,"-27"26"32,14-13-48,13 14-15,-13-14 0,0 0 16,-1 13-1,14 0-15,-13-13 16,26 13-16,-13 0 16,14-13-16,-1 0 0,-13 14 15,26-14-15,-12 13 0,-1 0 0,0-13 16,0 13-16,1-13 0,-1 14 0,0-14 16,-13 13-16,13-13 0,-13 13 15,13-13-15,-13 13 16,-13 1-16,13-1 15,-13-13-15,0 13 0,0-13 0,13 13 16,-14-13-16,1 0 0,0 0 16,-14 0-16,14 0 15,0-13 1,26 0 0,-13 0-16,13-1 0,1 1 15,-1 0-15,0 0 16,-13-1-16,13 1 0,1 0 15,-14 0-15,0-1 16,13 14-16,-26-13 0,13 0 16,-14 0-16,1 0 15,0 13-15,0-14 16,-1 14-16,1 0 0,-13 0 0,12 0 16,1 0-16,0 0 0,0 0 0,0 0 15,-1 0-15,1 0 0,0 0 16,0 14-1,-1-14-15</inkml:trace>
  <inkml:trace contextRef="#ctx0" brushRef="#br0" timeOffset="120750.5">20624 397 0,'-13'13'15,"13"0"1,0 1-16,0-1 16,0 0-16,0 0 0,0 0 15,0 1-15,13-1 0,1 0 16,-1 0-1,0-13-15,0 14 0,0-14 16,1 0-16,-1 0 0,0 0 0,0 0 16,1 0-16,-1-14 0,0 1 15,0 13-15,-13-13 0,13 0 16,-13-1-16,14 1 16,-28 0-16,14 0 0,-13 0 15,-40-27 1,40 40-16,0 0 15,0 0-15,-14 0 0,14 0 0,-13 0 0,-1 13 16,1-13-16,12 13 16,-12-13-16,13 14 0,-1-1 0,1-13 15</inkml:trace>
  <inkml:trace contextRef="#ctx0" brushRef="#br0" timeOffset="122872.02">20518 1905 0,'27'-13'15,"-14"13"1,-53 0 31,27 13-47,0 0 16,0-13-16,0 13 15,13 1-15,-14-14 16,28 13-16,-14 0 15,13-13-15,0 0 0,0 13 16,0-13-16,1 0 0,-1 14 16,0-14-16,0 13 0,1-13 15,-1 0-15,0 13 16,-26 0 0,0 1-16,-1-14 15,1 13-15,0-13 16,0 13-16,-1-13 0,1 0 0,0 13 15,0-13-15,0 0 0,-1 0 0,1 13 16</inkml:trace>
  <inkml:trace contextRef="#ctx0" brushRef="#br0" timeOffset="123198.19">20796 1918 0,'-26'40'31,"26"-27"-31,0 0 16,0 1-16,13-14 16,0 0-16,-13 13 15,13-13-15,1 0 0,-1 0 0,0 0 0,14-13 16,-14 13-16,0 0 0,0-14 15,1 14-15,-14-13 16,0 0-16,0 0 16,0-1-16,-14 1 0,14 0 0,-13 13 15,0-13-15,0 0 16,-1 13-16,1 0 0,0 0 0,0 0 16,-1 0-16,-12 13 0,13-13 0,0 13 15,-1 0-15,1-13 0,0 13 16,0 1-16,-1-14 0</inkml:trace>
  <inkml:trace contextRef="#ctx0" brushRef="#br0" timeOffset="124171.15">21021 1786 0,'0'-27'0,"-13"14"16,0 13-16,13-13 0,-14 0 15,1 13-15,0-13 0,0 13 0,0-14 16,-14 14-16,14-13 0,-14 13 16,1 0-16,-14 0 0,14 0 0,-1 0 15,-12 0-15,-14 0 0,13 13 0,0-13 16,-13 14-16,14-1 0,-14 13 15,13-13-15,-13 14 0,14-1 0,-1 1 16,13-1-16,-12 1 0,12 12 0,1-12 16,13-1-16,-14 1 0,14 13 0,0-14 15,-1 0-15,14 1 0,0-1 16,0 1-16,14-1 0,-14 1 0,13 12 16,13-12-16,1-1 0,-1 1 15,1-14-15,12 13 0,1-12 16,13-1-16,-13 0 0,13 0 0,-14-13 15,14 14-15,0-14 0,0-14 0,-13 14 16,13-13-16,0 0 0,-14 0 16,14-1-16,0 1 0,-13-13 0,-1 13 15,-12-1-15,13-12 0,-14-1 0,1 14 16,-1-13-16,-13 12 0,0-12 16,-13 13-16,14-14 0,-14 1 15,0 13-15,0-14 0,0-12 0,-14-1 0,1 0 16,0 0-16,-13 14 0,12 0 15,-12-1-15,-1 1 0,-12-1 16,12 14-16,-12 0 0,-1-1 0,13 1 16,-12 13-16,12 0 0,1-13 0,-1 13 15,1 13-15,-1-13 0,1 13 16,13-13-16,-14 14 0,27-1 0,-13 0 16,26 0-16,-13 1 0,0-1 0</inkml:trace>
  <inkml:trace contextRef="#ctx0" brushRef="#br0" timeOffset="124552.07">21233 2117 0,'119'0'31,"-79"-14"-31,-14 14 0,0 0 0,14 0 15,-13 0-15,-1-13 0,14 13 16,-14 0-16,1 0 0,-1 0 0,-13-13 16,14 13-16,-14 0 0,0 0 0,14 0 15,-14 0-15,0-13 0,0 13 16,1 0 0</inkml:trace>
  <inkml:trace contextRef="#ctx0" brushRef="#br0" timeOffset="124780.03">21709 1958 0,'13'0'0,"40"13"31,-26 0-31,-14-13 0,13 14 0,-12-1 16,12 0-16,-13 0 0,1 1 15,-1-1-15,0-13 0,-13 26 0,13-26 16,-13 13-16,0 1 0,-13 12 16,13-13-16,-13 1 0,0-1 0,-1 0 15,1 0-15,0 0 0,13 1 16,-13-14-16</inkml:trace>
  <inkml:trace contextRef="#ctx0" brushRef="#br0" timeOffset="125251.31">22371 2011 0,'-14'26'31,"14"-12"-31,0-1 16,0 0-16,0 0 15,14-13-15,-14 13 0,0 1 0,13-14 16,-13 13-16,13-13 0,-13 13 0,13-13 16,0 0-16,1 0 15,-1 0-15,0-13 16,0 0-16,-13-1 16,0 1-16,0 0 0,14 0 15,-14 0-15,0-1 0,0 1 0,0 0 16,13 0-16,-13-1 0,0 1 15</inkml:trace>
  <inkml:trace contextRef="#ctx0" brushRef="#br0" timeOffset="125716.02">22675 2090 0,'0'0'0,"-13"-13"47,-1 26-32,14 0-15,-13-13 16,13 14-16,0-1 31,13-13-31,1 13 16,-1-13-1,0 0-15,0 0 16,0 0-16,1 0 16,-1 13-1,0-13 1,0 0 15,1 0 0,-1-13-15,0 13 0,0-13-1,1 13 1</inkml:trace>
  <inkml:trace contextRef="#ctx0" brushRef="#br0" timeOffset="126348.16">21233 2196 0,'26'13'15,"-13"0"1,-13 1-16,14-14 16,-14 13-16,13 0 0,-13 0 0,13 1 15,0-14-15,-13 13 0,14 0 16,-14 0-16,13 1 0,-13-1 16,13-13-16,-13 13 15,13-13 1,-13 13-16</inkml:trace>
  <inkml:trace contextRef="#ctx0" brushRef="#br0" timeOffset="127379.05">22820 2051 0,'14'13'31,"-14"0"-16,13 0-15,-13 0 16,13 1-16,0-14 16,-13 13-1,13 0 1,1-26 0,-1 13-16,0 0 15,0-13 1,1 13-16,-1 0 15,0 0 1,0 0-16,1 13 16,-1-13-1,0 0-15,-13 13 16,13-13-16,0 13 16,1-13 15,12-13-16,-13 0-15,-13 0 16,14-1-16,-14 1 0,13 0 16,-13 0-16,0-14 0,0 1 0,-13-1 15</inkml:trace>
  <inkml:trace contextRef="#ctx0" brushRef="#br0" timeOffset="128522.11">20942 304 0,'26'0'47,"-26"-13"-47,13 13 0,1-13 0,-1 13 15,0-13-15,0 13 0,14-14 16,-14 1-16,0 13 0,1-13 0,-1 13 16,0-13-16,0 13 0,0-14 0,1 14 15,-1 0-15</inkml:trace>
  <inkml:trace contextRef="#ctx0" brushRef="#br0" timeOffset="128792.76">21140 93 0,'0'-14'15,"13"14"-15,1 0 0,12 0 16,-13 14-16,1-14 0,-1 0 15,0 13-15,0-13 0,0 13 16,1-13-16,-14 13 0,13-13 0,-13 14 16,13-14-16,-13 13 15,0 0-15,0 0 0,0 0 16,0 1 0</inkml:trace>
  <inkml:trace contextRef="#ctx0" brushRef="#br0" timeOffset="129939.29">21709 53 0,'-13'-13'16,"26"26"46,0 0-62,-13 0 16,0 1-16,14-1 15,-14 0-15,13-13 0,-13 13 16,0 1-16,13-14 0,-13 13 16,0 0-1,13-13-15,-13 13 16,0 0 15,13 1 63,14-14 15,-14 0-109,0 0 0,1 0 16,-1 0-16,13 0 16,-12-14-1,-1 14-15,0 0 0</inkml:trace>
  <inkml:trace contextRef="#ctx0" brushRef="#br0" timeOffset="130254.48">21709 172 0,'27'-13'31,"-14"0"-31,0 13 0,0 0 0,0 0 15,1 0-15,-1-14 0,0 14 16,0-13 0,-13 0-1,-13 0 1,0 13-16,13-14 16,-13 14-16,-1-13 15,14 0 16,14 13-31,-1-13 0,0 13 0,0 0 16,1-14-16,-1 14 0,0 0 0,14-13 16,-14 13-16,0 0 15</inkml:trace>
  <inkml:trace contextRef="#ctx0" brushRef="#br0" timeOffset="130523.74">21987 26 0,'26'0'15,"-26"53"1,0-39-16,0-1 15,-13 0-15,13 0 16,0 1-16,-26 38 16,12-52-16,14 14 15,-13-14-15,0 0 47,39-14-16,-12 14-31,-1 0 16,0 0-16,0 0 16,1 14-16,-1-14 0,0 0 0,0 0 15,0 0-15,1 0 0,-1-14 16,0 14-16</inkml:trace>
  <inkml:trace contextRef="#ctx0" brushRef="#br0" timeOffset="131518.94">22291 26 0,'-13'-13'0,"-14"26"15,14 1-15,13-1 0,-13 0 16,13 0-16,-13 1 0,13-1 0,-13 0 15,13 0-15,0 1 16,0-1-16,13 0 0,-13 0 16,13-13-16,-13 13 15,13-13-15,0 0 0,1 0 16,-1 0-16,13 0 0,-12 0 0,-1 0 16,0-13-16,0 13 0,1 0 0,-14-13 15,13 13-15,0-13 0,0 13 16,-13-13-16,13 13 0,-13-14 15,0 28 32,-13-1-47,13 0 16,0 0 0,0 0-16,13-13 15,1 14 1,-1-14-16,0-14 0,0 14 15,1 0-15,-14-13 0,13 13 16,0-13-16,0 13 0,-13-13 0,13 0 16,1-1-16,-14 1 0,13 13 0,-13-13 15,13 13-15,-13-13 0,13-1 16,-26 41 31,13-14-47,0 0 15,13-13-15,-13 14 0,14-14 16,12 0 0,-13-14-1,1 1-15,-1 13 0,-13-13 16,13 13-16,-13-13 0,13-1 0,0 1 16,-13 0-1,14 13-15,-14-13 0,0 39 47,0-13-47,-14-13 16,14 14-16,0-1 15,0 0-15,14 0 16,-14 1 0,13-14-16,0 0 15,0 0 1,1 0-16,-1 0 15,0 0 1,0 0-16,1 13 16,-1-13-16,0 0 15,0 0-15,0-13 16,1 13-16,-1 0 0,0 0 16,0 0-16,1 0 15,-1 0-15,0-14 16,0 14-16,1 0 0,-1 0 15,0-13-15,0 13 16,0 0-16,1 0 16</inkml:trace>
  <inkml:trace contextRef="#ctx0" brushRef="#br0" timeOffset="132132.74">21021 767 0,'0'40'16,"-13"-27"-16,0 14 0,13-14 15,-27 27-15,14-14 0,-13 14 0,-1-1 16,1 14-16,-1-13 0,14 13 16,-93 145-1</inkml:trace>
  <inkml:trace contextRef="#ctx0" brushRef="#br0" timeOffset="132427.1">20624 1257 0,'-13'26'0,"13"-13"0,-13 54 31,13-54-31,0 0 0,13-13 0,-13 13 16,0 1-16,13-1 16,1-13-16,-14 13 0,13-13 15,0 0-15,13-13 16,-12 13-16,-1 0 16,0-13-16,14 13 0,-14-14 0,0 1 15,0 0-15</inkml:trace>
  <inkml:trace contextRef="#ctx0" brushRef="#br0" timeOffset="132703.75">20929 701 0,'26'0'0,"-52"0"0,78 0 0,-38 13 0,-1-13 15,0 14-15,0-1 0,1 0 16,-1 14-16,0-1 0,0-13 0,-13 14 16,0-1-16,14 1 0,-14-1 0,0 0 15,0 1-15,0-1 0,0 1 16,0-1-16,0 1 0,0-1 0</inkml:trace>
  <inkml:trace contextRef="#ctx0" brushRef="#br0" timeOffset="143693.16">595 3387 0,'0'0'0,"27"0"31,-1-14-15,1 14-16,26 0 0,0-13 15,-1 0-15,15 13 0,12-13 0,0 0 16,-13-1-16,14 1 0,-1 0 16,-13 0-16,1-1 0,-15 14 0,1-13 15,-13 0-15,0 13 0,-14 0 0,1-13 16,-14 13-16,0 0 0,14 0 0,-14-14 16,0 14-16,0-13 15</inkml:trace>
  <inkml:trace contextRef="#ctx0" brushRef="#br0" timeOffset="143946.84">1416 3069 0,'79'-13'31,"-53"13"-31,1 13 0,-1-13 0,1 13 15,-1-13-15,1 14 0,-1-14 0,1 13 16,-14 0-16,0-13 0,13 13 16,-12-13-16,-14 14 0,13-1 0,0 0 15,-13 0-15,-13-13 0,13 13 16,-13 1-16,-1-1 0,1 0 16,0-13-16,-13 13 0,-1 14 15,-13-14-15,1 0 0,-1 1 0,14-14 16,-27 13-16,26 0 0</inkml:trace>
  <inkml:trace contextRef="#ctx0" brushRef="#br0" timeOffset="144342.78">648 3215 0,'-26'26'15,"52"-52"-15,-65 65 0,12-12 0,14-1 16,-14 1-16,14-1 0,0 14 0,0-27 16,-1 14-16,14-14 0,-13 13 0,13-13 15,0 1-15,0-1 0,13 0 16,-13 0-16,14 1 0,-1-14 0,13 13 16,-12 0-16,12-13 0,1 13 0,-1-13 15,14 0-15,-14 0 0,1 14 16,12-14-16,-12 0 0,-1 0 0,14 0 15,-14 13-15,1-13 0</inkml:trace>
  <inkml:trace contextRef="#ctx0" brushRef="#br0" timeOffset="146071.29">1138 4710 0,'0'26'31,"0"-13"-31,-14 0 16,14 1-16,0 12 0,0-13 0,0 1 16,0 12-16,0-13 0,0 1 15,0 12-15,0-13 0,0 0 0,0 1 16,-13-1-16,13 0 0,0 0 16,0 1-16,0-1 0,0 0 15,13-13 1</inkml:trace>
  <inkml:trace contextRef="#ctx0" brushRef="#br0" timeOffset="146495.2">1310 4815 0,'-14'-13'16,"1"26"0,13 1-1,-13-14-15,13 13 0,0 0 16,0 0-16,0 1 0,0-1 0,0 0 16,0 0-16,0 0 0,13 1 0,-13-1 15,13 0-15,-13 0 0,14-13 0,-1 14 16,0-14-16,0 0 15,1 13-15,-1-13 0,0-13 0,14 13 0,-14 0 16,0-14-16,0 14 0,0-13 0,1 13 16,-1-13-16,0 0 0,-13-1 15,13 1-15,-13 0 0,-13 13 16,13-13-16,0 0 0,0-1 0,-13 1 16,0 0-16,13 0 15,-14 13-15,1-14 0,0 14 16,0 0-16,0 0 0,-1 0 15,-12 0-15,26 14 16</inkml:trace>
  <inkml:trace contextRef="#ctx0" brushRef="#br0" timeOffset="146798.94">1588 4776 0,'13'-14'16,"-13"41"15,0-14-31,0 0 0,-13 14 16,13-14-16,13 0 0,-13 1 15,0-1-15,13 0 0,0 0 16,-13 0-16,13-13 0,1 0 16,-1 0-16,0 0 15,0 0-15,1 0 0,-1-13 16,-13 0-16,0 0 15,0 0-15,0-1 0,0 1 16,0 0-16,-13 13 0,13-13 0,-14-1 16,14 1-16,-13 13 15,0 0-15,0 0 0,-1 0 16,1 0-16,-13 13 0,-1-13 0,1 14 16,-1-1-16,1 0 0,-1 0 15</inkml:trace>
  <inkml:trace contextRef="#ctx0" brushRef="#br0" timeOffset="147360.04">1085 5252 0,'13'0'0,"-26"0"0,26 13 0,0-13 15,0 0-15,1 13 0,-1-13 0,13 0 16,1 14-16,-1-14 0,27 0 16,-13 0-16,0 0 0,13 0 0,-1 0 15,1-14-15,-13 14 0,13-13 0,-13 0 16,-1 0-16,1 0 0,0-1 16,-1 1-16,1 0 0,-13-14 0,-1 14 15,14-13-15,-27 12 0,13-12 0,-12 13 16,-1-14-16,0 1 0,0 13 15,-13-14-15,0 1 0,0-1 16,0 1-16,0-1 0,0 1 0,-13-1 16,0-12-16,0-1 0,-1 14 15,1-14-15,0 13 0,-14 1 0,1-14 16,-14 14-16,1-14 0,12 27 0,-26-14 16,14 1-16,-28 0 0,15 12 0,12 1 15,-13 13-15,0-13 0,-13 13 16,13 0-16,0 0 0,-13 13 0,0 0 15,0 14-15,-1-14 0,14 27 0,-13-14 16,27 14-16,-14 0 0,0-1 16,13 14-16,0-13 0,14 13 15,0 0-15,-1 0 0,14-1 0,0-12 16,13 13-16,13-13 0,-13-1 0,13 1 16,14 13-16,-1-13 0,14-14 15,-1 14-15,1-14 0,0-12 0,-1 12 16,1-13-16,0 1 0,-1-1 0,1-13 15,-13 13-15,12-13 0,-25 0 16,12 0-16,0 0 0,1-13 0</inkml:trace>
  <inkml:trace contextRef="#ctx0" brushRef="#br0" timeOffset="148195.26">1786 4048 0,'0'-13'0,"0"39"47,0-12-47,0-1 0,0 0 15,0 0-15,-13 14 0,13-14 16,0 13-16,0-12 0,0 12 0,0 1 16,-14-14-16,14 0 0,0 13 0,0-12 15,0-1-15,0 0 0,0 0 16</inkml:trace>
  <inkml:trace contextRef="#ctx0" brushRef="#br0" timeOffset="148409.81">1627 4220 0,'13'0'31,"1"0"-31,-1 0 0,13 0 16,-12 0-16,-1 0 0,13 0 0,1 0 0,-14 0 16,13 0-16,1 0 0,-1 0 15,-12 0-15,12 0 0,0 0 0,-12 0 16,12 0-16,-13-13 0,1 13 0,-1 0 16</inkml:trace>
  <inkml:trace contextRef="#ctx0" brushRef="#br0" timeOffset="149589.87">2011 3770 0,'0'-13'31,"13"13"-16,14 0 1,-14 0-16,0 0 16,0 0-16,0 0 0,1 0 0,-1 13 15,0-13-15,-13 14 0,13-14 0,-13 13 16,0 0-16,-13 0 16,13 0-16,-13 1 0,0-1 15,13 0-15,-14 0 0,1 1 0,0-1 16,0 0-16,0 0 15,-1 1-15,1-14 16,13 13-16,13-13 31,1 0-15,-1 0-16,0 0 0,0 0 16,0 0-16,1 0 15,-1 0-15,0-13 0,0 13 16,1 0-16,-1 0 0,0-14 15,0 14-15,-13-13 0</inkml:trace>
  <inkml:trace contextRef="#ctx0" brushRef="#br0" timeOffset="149895.01">2421 3744 0,'-106'0'31,"93"0"-31,0 0 0,-1 13 0,1-13 16,13 13-1,0 14 1,13-27-16,-13 13 0,14 0 16,-1 0-16,-13 1 0,13-1 15,0 0-15,-13 0 0,14 1 16,-14-1-16,-14 0 15,14 0-15,-13-13 0,0 14 16,0-1-16,-1 0 0,1 0 16,-13 0-16,12-13 0,-12 14 0,13-1 15,-14 0-15,14-13 0,0 13 0,0 1 16</inkml:trace>
  <inkml:trace contextRef="#ctx0" brushRef="#br0" timeOffset="151070.91">2051 3956 0,'26'0'47,"-13"13"-47,0-13 0,1 13 0,-1-13 16,0 13-16,0 0 0,1 1 15,-1-1-15,-13 0 16,0 0-16,0 1 0,-13-1 0,-1 0 16,1-13-16,0 13 0,0 1 0,-14-1 15,14 0-15,-13-13 0,12 13 16,1-13-16,0 0 0,-14 13 0,14-13 16,0-13-16,0 13 15,13-13-15</inkml:trace>
  <inkml:trace contextRef="#ctx0" brushRef="#br0" timeOffset="151953.01">1852 5450 0,'-13'-13'31,"0"40"-15,13-14-16,0 0 15,0 14-15,0-14 0,0 13 0,0-13 16,0 14-16,0-14 0,0 14 0,0-14 16,0 13-16,0-12 0,0-1 15,0 0-15,0 0 0,0 0 0,0 1 16,0-1-16</inkml:trace>
  <inkml:trace contextRef="#ctx0" brushRef="#br0" timeOffset="152132.25">1733 5636 0,'13'-14'15,"0"14"1,1 0-16,-1 0 15,0 0-15,14-13 0,-14 13 0,13 0 16,-12 0-16,12 0 0,0-13 16,1 13-16,-1 0 0,-12 0 0,12 0 15,-13 0-15</inkml:trace>
  <inkml:trace contextRef="#ctx0" brushRef="#br0" timeOffset="152464.78">2143 5503 0,'0'0'0,"-13"27"47,13-14-32,0 0 1,13 0-16,-13 1 0,13-14 15,-13 13-15,14 0 0,12 14 32,-26-14-32,13 0 0,-13 0 0,0 1 15,0-1-15,0 0 16,-13-13-16,13 13 16,-13 0-16,0-13 0,13 14 0,-14-14 15,1 13-15,0-13 16</inkml:trace>
  <inkml:trace contextRef="#ctx0" brushRef="#br0" timeOffset="152740.21">2328 5517 0,'-13'-14'0,"-13"28"16,26-1-1,0 0 1,0 0-16,13 0 0,-13 1 16,0-1-16,0 0 0,13 0 0,-13 1 15,13-14-15,-13 13 0,0 0 16,0 0-16,14-13 0,-14 14 0,-14 12 16,1-13-1,0 0-15,0 1 16,-14-14-16,14 13 0,-14-13 0,14 13 15,-13-13-15,13 13 0,-14-13 16,14 0-16,-14 14 0,14-14 0,0 0 16</inkml:trace>
  <inkml:trace contextRef="#ctx0" brushRef="#br0" timeOffset="154455.84">3149 3228 0,'0'-13'0,"0"-1"31,0 41-15,0-14 0,0 0-16,0 1 0,0-1 0,0 0 15,0 0-15,0 1 0,0-1 0,0 13 16,0-13-16,0 1 16,0-1-16,0 0 0,0 0 0,0 1 15,0-1-15,0 0 0,13 0 16</inkml:trace>
  <inkml:trace contextRef="#ctx0" brushRef="#br0" timeOffset="154835.99">3307 3228 0,'14'0'16,"-28"0"-16,41 0 0,-14 0 0,-13 13 15,0 0 1,0 1-16,0-1 16,0 0-16,-13 0 15,26 1 1,-13-1-16,13-13 15,0 13-15,1 0 0,-1-13 16,-13 13-16,13-13 0,0 14 16,1-1-1,-14 0-15,0 0 16,-14 1-16,1-1 16,0-13-16,13 13 0,-13-13 15,-1 13-15,1-13 0,0 0 16,0 13-16,0-13 0</inkml:trace>
  <inkml:trace contextRef="#ctx0" brushRef="#br0" timeOffset="155144.84">3612 3241 0,'-14'0'0,"-12"13"16,13 1 0,13-1-16,0 0 15,13 0-15,-13 1 16,13-1-16,0 0 0,-13 0 16,14-13-16,-14 13 0,13 1 15,-13-1 1,-13 0-16,-1 0 0,1-13 15,0 14-15,0-14 16,-1 0-16,1 13 0,0-13 16,0 0-16,-1 0 0,1 0 15</inkml:trace>
  <inkml:trace contextRef="#ctx0" brushRef="#br0" timeOffset="155390.09">3969 3175 0,'0'26'47,"-13"-12"-47,13-1 0,0 0 15,-14 0-15,14 14 0,0-14 16,-13 14-16,13-14 0,0 0 0,0 0 0,0 0 16,-13 1-16,26-14 15,-13 13-15,13 0 0</inkml:trace>
  <inkml:trace contextRef="#ctx0" brushRef="#br0" timeOffset="155627.01">4154 3215 0,'-13'-27'15,"0"14"-15,-1 13 0,1 0 16,0 0-16,0 0 0,-1 0 0,1 0 16,0 0-16,0 0 0,-14 13 15,14-13-15,0 13 0,0-13 0,13 14 16,-14-1-16,1-13 0,13 13 0,0 0 16,0 1-16,13-1 15,1 0-15,-1-13 16,13 13-16,-13-13 15,14 0-15,-14 0 0,0 0 0,1 14 16,-1-14-16,0 0 0,0 0 16,1 0-16,-1-14 0,0 14 0,0 0 15</inkml:trace>
  <inkml:trace contextRef="#ctx0" brushRef="#br0" timeOffset="155887.9">4273 3268 0,'0'-14'0,"0"28"0,13-14 94,0 0-63,-13 13-15,14-13-1,-1 0 1,0-13-16,0 13 16,1-14-16,-1 14 15,0 0-15,-13-13 0</inkml:trace>
  <inkml:trace contextRef="#ctx0" brushRef="#br0" timeOffset="156217.69">4485 3135 0,'0'-13'0,"0"26"16,0-39-1,0 39 32,-14 0-31,14 1-16,0-1 16,0 0-1,0 0-15,-13 0 0,13 1 16,0-1-16,-13 0 15,13 0 1,0 1-16,0-1 16,-13-13-1,13 13 1,0 0 15</inkml:trace>
  <inkml:trace contextRef="#ctx0" brushRef="#br0" timeOffset="156530.37">4710 3043 0,'-14'26'31,"14"-13"-31,0 1 0,-13-1 16,13 0-16,0 0 15,0 1-15,0-1 16,0 0-16,13 0 31,1 0-15,-1-13-1,0 14 1,0-14-16,0 0 16,1 0-16,-1 0 15,0-14-15,0 14 16,1 0-16</inkml:trace>
  <inkml:trace contextRef="#ctx0" brushRef="#br0" timeOffset="157088.74">4974 3162 0,'93'-53'16,"-67"40"0,1-1-16,-1-12 0,1 13 15,-1-14-15,1 14 0,-1-13 0,0 12 16,-12 1-16,-1 0 0,13-14 0,-12 14 16,-1 0-16,-13 0 0,26 0 15,-26-1-15,0 1 16,0 0-16,-13 13 0,13-13 15</inkml:trace>
  <inkml:trace contextRef="#ctx0" brushRef="#br0" timeOffset="157331.09">5239 2646 0,'26'-13'16,"1"13"-16,-14 0 0,0 0 15,0-14-15,14 28 0,-14-14 0,14 0 16,-14 13-16,13 0 0,-13 0 16,1 1-16,-1-1 0,0 0 0,0 0 15,1 14-15,-14-14 0,0 13 0,0-12 16,0 12-16,0-13 0,-14 14 16,14-14-16,-13 27 0,-13-14 15,12 1-15,1-14 0,-13 0 0,13 13 0,-1-12 16,1-1-16,0 0 0</inkml:trace>
  <inkml:trace contextRef="#ctx0" brushRef="#br0" timeOffset="161525.94">3175 4114 0,'0'-13'16,"0"53"15,0-27-31,0 0 0,-13 0 0,13 1 16,0-1-16,0 0 0,0 0 0,0 1 15,0-1-15,-13 0 0,13 0 16,0 0-16</inkml:trace>
  <inkml:trace contextRef="#ctx0" brushRef="#br0" timeOffset="161948.68">3466 4128 0,'0'0'0,"0"26"31,0-13-15,-13-13-16,13 13 16,0 1-16,13-14 15,-13 13-15,13 0 16,0-13-16,-13 13 15,14-13-15,-14 14 0,13-1 16,-13 0 0,-13 0-1,13 0 1,-14-13-16,14 14 0,-13-14 0,13 13 16,-13-13-16,0 13 15</inkml:trace>
  <inkml:trace contextRef="#ctx0" brushRef="#br0" timeOffset="162213.18">3717 4141 0,'0'0'0,"-13"-13"16,0 39 15,13-13-31,0 0 16,0 1-16,0-1 15,0 0-15,0 0 16,-13-13-16,13 14 0,-14-1 16,14 0-16,-13-13 0,0 13 15,0-13-15,0 13 0,-1-13 16,1 14-16,-13-14 0,12 13 15,-12 0-15,-1-13 0</inkml:trace>
  <inkml:trace contextRef="#ctx0" brushRef="#br0" timeOffset="162611.68">3016 4445 0,'13'13'15,"14"-13"-15,-14 0 0,0 13 0,54-13 16,-41 0-16,27 0 15,0 0-15,0 0 0,0 0 0,0-13 16,-14 13-16,14-13 0,0 13 0,0-13 16,-13 0-16,13-1 0,-14 1 0,1 0 15,0-14-15,-1 14 0,1 0 16,-13-14-16,-1 1 0,0 13 16,1-27-16,-14 14 0,14-14 0,-14 0 15,-13 1-15,13-1 0,-13 0 16,0-13-16,-13 14 0,-14-1 0,1 0 15,-14 14-15,-13-1 0,-13 1 0,0 13 16,-13 13-16,-1 0 0,-12 0 16,-1 13-16,14 13 0,-27-12 0,26 12 15,-12 14-15,12-14 0,14 14 16,13 0-16,1-1 0,12 1 0,0 0 16,14-1-16,-1-12 0,14 12 15,0-12-15,13-1 0,0-12 0,0 12 16,13 0-16,0 1 0,14-1 0,-1 1 15,1-14-15,-1 14 0,14-14 16,-1 0-16,-12-13 0,13 13 0,-14-13 16</inkml:trace>
  <inkml:trace contextRef="#ctx0" brushRef="#br0" timeOffset="163380.06">3201 4670 0,'0'-13'0,"14"39"31,-14-13-31,0 1 16,0-1-16,0 0 0,0 0 15,0 14-15,0-14 0,0 0 0,0 14 16,-14-14-16,14 0 0,0 0 0,0 1 16,0-1-16,0 0 0,-13 0 15</inkml:trace>
  <inkml:trace contextRef="#ctx0" brushRef="#br0" timeOffset="164439">3479 4683 0,'0'13'16,"0"1"-16,0-1 0,0 0 15,-13 0-15,13 0 0,0 1 16,-13-1-16,13 0 16,0 0-16,-13 1 0,13-1 15,0 0 1</inkml:trace>
  <inkml:trace contextRef="#ctx0" brushRef="#br0" timeOffset="164728.13">3678 4657 0,'0'-14'16,"-14"41"15,14-14-15,14-13-16,-14 13 0,0 1 15,13-1-15,-13 0 16,13-13-16,-13 13 16,13 0-16,-26 1 15,13-1-15,-13-13 0,13 13 16,-13-13-16,-1 13 0,-12 1 15,13-1-15,-14-13 0,1 13 0,-14 0 16,14-13-16</inkml:trace>
  <inkml:trace contextRef="#ctx0" brushRef="#br0" timeOffset="165095.04">3135 5027 0,'40'0'0,"-80"0"0,106 0 0,-52 0 15,12 0-15,14 0 0,-14 0 16,27 0-16,0 0 0,0 0 16,-13-13-16,13 13 0,0-13 0,-1 13 0,-12-14 15,13 1-15,-13 13 0,-1-13 16,1 0-16,0-1 0,0 1 16,-14 0-16,0 0 0,1-14 0,-1 14 15,1 0-15,-14 0 0,0-14 16,1 14-16,-14-14 0,0 1 0,0 13 15,0-14-15,0 1 0,-14-1 0,-12-12 16,13 12-16,-27 1 0,13-1 16,-12 14-16,-1 0 0,-13 0 0,0-1 15,0 14-15,0 0 0,0 0 0,1 0 16,-1 0-16,0 14 0,13-1 16,-13 0-16,0 0 0,14 14 15,-14-14-15,13 14 0,13-1 0,-12 0 16,12 1-16,1-1 0,-1 1 0,1-14 15,-1 13-15,1-12 0</inkml:trace>
  <inkml:trace contextRef="#ctx0" brushRef="#br0" timeOffset="165427.18">1984 4882 0,'53'0'31,"-26"0"-31,12 0 0,14 0 0,0 0 16,0 0-16,27 0 0,-14-14 0,13 14 15,-13 0-15,0-13 0,1 13 16,-15-13-16,1 13 0,-13 0 0,13-13 16,-27 13-16,1-14 0,-1 14 15,1 0-15</inkml:trace>
  <inkml:trace contextRef="#ctx0" brushRef="#br0" timeOffset="165844.91">2540 4657 0,'13'0'15,"27"0"1,-27 0-16,14 0 0,-1 0 0,1 0 16,12 0-16,1 13 0,0-13 0,-14 13 15,1-13-15,-1 13 0,0 1 16,1-14-16,-14 13 0,0-13 0,1 13 16,-1-13-16,0 13 0,0-13 0,0 13 15,1-13-15,-14 14 0,13-14 16,-13 13-16,0 0 0,0 0 15,0 1-15,-13-1 16,13 0-16,-14 0 0,1 1 16,0-1-16,13 0 15,-13-13-15,0 13 0,13 0 0,-14-13 16,1 14-16,0-1 0,0-13 16,13 13-1,-14-13-15,41-13 31</inkml:trace>
  <inkml:trace contextRef="#ctx0" brushRef="#br0" timeOffset="167221.87">4128 4008 0,'39'-26'16,"-26"13"-16,1 13 15,-1 0-15,0-13 0,0 13 16,1 0-16,-1 0 0,0 0 0,0 0 16,0 13-16,1-13 15,-14 13-15,13 0 0,-13 0 0,0 14 16,0-14-16,0 0 0,0 1 16,-13-1-16,13 13 0,0-12 15,-14 12-15,14-13 0,0 0 16,0 14-16,0-14 0,0 0 15,0 1-15,0-1 0,14 0 0,-14 0 16,13-13-16,-13 13 16,13-13-16,0 0 0,1 14 15,-1-14 1,0 0-16,0 0 16,-13 13-1,14-13-15,-14 13 0,0 0 0,13 1 16,-13-1-16,0 0 0,0 14 15,13-14-15,-13 0 0,0 13 0,0-12 16,0 12-16,0-13 0,0 1 0,0-1 16,0 0-16,0 0 0,-13 1 0,13-1 15,0 0-15,-13 0 0,13 0 16,-14-13-16,14 14 0,-13-14 0,0 13 16,0-13-16,-1-13 15,1 13-15,13-14 16,0 1-16,0 0 15,0 0-15,13 0 0</inkml:trace>
  <inkml:trace contextRef="#ctx0" brushRef="#br0" timeOffset="167579.71">4485 4260 0,'26'0'32,"-13"0"-32,1 0 15,12 0-15,-13 0 0,14-13 16,-14 13-16,13 0 0,-12 0 0,-1 0 16,13 0-16,-12-14 0,-1 14 0,0 0 15,0 0-15,0-13 0,1 13 16,-1 0-16,0-13 15</inkml:trace>
  <inkml:trace contextRef="#ctx0" brushRef="#br0" timeOffset="169166.91">4736 4101 0,'26'-13'31,"-12"13"-31,-1 13 15,0-13-15,0 0 0,1 13 16,-1-13-16,0 14 0,0-1 16,1-13-16,-14 13 0,13-13 15,0 13-15,-13 0 0,0 1 16,13-1-16,-13 0 0,-13 0 16,13 1-16,0-1 15,-13-13-15,13 13 16,-13-13-16,13 13 0,-27 0 15,27 1 1,-13-14-16,0 13 31,13 0 1,-14-13 14,41 0 1111,-14-13-1142,-13 0 1,0-1 0,-13 1-16</inkml:trace>
  <inkml:trace contextRef="#ctx0" brushRef="#br0" timeOffset="170344.09">3188 3559 0,'27'13'31,"-14"-13"-31,13 13 0,-12-13 16,12 0-16,14 13 0,-1-13 0,1 14 0,13-14 16,-13 0-16,13 13 15,0-13-15,-1 0 0,1 0 0,0 13 16,0-13-16,0 0 0,0 0 0,0 0 15,0 0-15,-13-13 0,13 13 16,-14 0-16,14-13 0,-13 13 0,13-14 16,26-12-16,-39 13 0,-1-1 15,1 1-15,0 0 0,0 0 16,-1-1-16,-12 1 0,12 0 16,-12 0-16,-14 0 0,13 13 0,1-14 15,-14 1-15,14 0 0,-1-14 16,1 14-16,-14 0 0,0 0 0,13 0 15,-12-14-15,-1 14 0,0-14 0,0 1 16,1 13-16,-14-14 0,0 1 16,0-1-16,0 14 0,0-13 0,-14-14 15,1 13-15,0-12 0,-14 12 0,1-12 16,-14-1-16,1 0 0,-14 14 16,0-1-16,-13-12 0,0 12 0,-14 14 15,1-13-15,-1 12 0,-12 1 0,-1 13 16,1-13-16,-1 26 0,-13-13 0,-13 13 15,13 1-15,-13 12 0,13 0 16,1 14-16,-1 0 0,13 0 0,0-1 16,14 14-16,0 0 0,13 0 15,-1-13-15,28 13 0,-14-14 16,13 14-16,0-13 0,14 13 0,0 0 16,12-27-16,1 14 0,0-14 0,13 1 15,13-1-15,0 1 0,1 12 16,12-25-16,14 12 0,-1-13 0,1 0 15,13 1-15,-13-14 0,13 0 16</inkml:trace>
  <inkml:trace contextRef="#ctx0" brushRef="#br0" timeOffset="174054.72">2024 5927 0,'27'13'0,"-14"-13"15,0 0-15,0 13 0,0-13 16,14 0-16,-1 13 0,1-13 0,-14 0 16,27 14-16,-14-14 0,1 0 15,-1 0-15,1 0 0,12 0 0,-12 0 16,26-14-16,-27 14 0,14-13 16,-1 0-16,1 0 0,-13-1 0,-1 14 15,1-13-15,-1 0 0,-13 0 0,14 0 16,-14-1-16,0-12 0,0 13 15,14-14-15,-27 1 0,13 12 16,0-12-16,-13 0 0,0-1 0,-13 1 0,13-1 16,-26-13-16,12 14 0,-25-14 15,12 14-15,-65-27 16,52 27-16,-13 12 0,-40-12 16,27 26-16,13 0 0,-13 0 0,0 13 15,0 14-15,0-14 0,0 26 16,-1-12-16,1-1 0,0 14 0,-53 39 15,66-26-15,14-13 0,-41 39 16,54-52-16,-1 13 16,14-14-16,0 0 0,13-12 0,0 12 15,0-13-15,13 1 0,-13 12 0,26-13 16,-12 0-16,12 1 0,1-1 0,-1 0 16,14-13-16,-14 0 15,14 13-15,-14-13 0</inkml:trace>
  <inkml:trace contextRef="#ctx0" brushRef="#br0" timeOffset="174554.79">2593 6032 0,'53'27'15,"-53"-14"1,13-13-16,0 13 0,1 1 16,-1-1-16,0 0 0,0 0 0,0-13 15,1 14-15,-1-1 0,0 0 0,-13 0 16,13-13-16,1 13 0,-14 1 0,13-1 16,0 0-16,-13 0 15</inkml:trace>
  <inkml:trace contextRef="#ctx0" brushRef="#br0" timeOffset="174836.1">2871 6099 0,'26'13'31,"-26"0"-15,13 0-16,1 1 0,-14-1 16,13 13-16,-13-13 0,0 1 15,0-1-15,0 0 0,0 14 0,0-14 16,0 0-16,-13 14 0,13-14 16,-14 0-16,14 0 0,-13 0 0,0 1 15,13-1-15,-13 0 0,13 0 0,-13-13 16,13 14-16</inkml:trace>
  <inkml:trace contextRef="#ctx0" brushRef="#br0" timeOffset="175282.96">3387 6152 0,'-14'0'31,"14"13"-15,0 0-16,14 0 15,-14 0-15,13 14 0,-13-14 16,0 0-16,0 14 0,0-14 0,13 14 15,-13-14-15,0 0 0,0 13 0,0-12 16,0-1-16,-13 0 16,13 0-16,0 1 0,0-1 0,0 0 15,0 0-15,-13 1 16</inkml:trace>
  <inkml:trace contextRef="#ctx0" brushRef="#br0" timeOffset="175584.89">3281 6403 0,'0'-13'0,"13"-1"0,0 14 15,1-13-15,-1 0 0,0 13 16,0-13-16,14 0 0,-14-1 0,0 1 16,0 13-16,1-13 0,12 0 15,-13-1 1,0 14-16,1 0 15,-14 14 1,13-1-16,-13 0 0,13 0 16,-13 1-16,0-1 0,13-13 0,-13 13 15,0 0-15,0 0 16,0 1-16,0 12 16,0-13-16,-13-13 0,13 14 15,-13-14-15,0 0 0,-1 13 16,1-13-16,0 0 0,0 0 15,0 13-15</inkml:trace>
  <inkml:trace contextRef="#ctx0" brushRef="#br0" timeOffset="175983.63">3175 6615 0,'53'0'0,"-106"0"0,119-14 0,-39 14 15,-1 0-15,14-13 0,-1 0 16,1 13-16,0-13 0,-1-1 0,-12-12 16,13 13-16,-1 0 0,1-14 0,13 14 15,-13-14-15,-1 1 0,1-14 16,0 14-16,-14-1 0,14-12 0,-14-1 16,1 0-16,-1-13 0,-13 27 0,1-27 15,-1-26-15,-26 39 16,-1 0-16,-12 1 0,0-1 15,-14 13-15,-40-12 0,28 25 0,-1 14 16,-14 0-16,-12 14 0,13 12 16,-13 1-16,-1-1 0,1 14 15,-14-1-15,27 1 0,13 0 0,-13-1 16,26 1-16,1 13 0,-1-13 0,14-1 0,12-12 16,1 13-16,0-14 15,13 1-15,13-1 0,0 14 0,1-1 16,12-12-16,14-1 0,-1 1 0,14-14 15,13 13-15,53 1 16,-79-27-16,13 13 0,0-13 16</inkml:trace>
  <inkml:trace contextRef="#ctx0" brushRef="#br0" timeOffset="176285.2">3956 6443 0,'52'13'31,"-38"0"-31,-1-13 0,27 0 16,-14 0-16,-13 0 0,14 0 15,-14 0-15,13-13 0,-12 13 0,-1 0 16,13 0-16,-12 0 0,-1-13 16</inkml:trace>
  <inkml:trace contextRef="#ctx0" brushRef="#br0" timeOffset="176529.08">4273 6257 0,'40'14'31,"-27"-1"-31,0-13 0,0 13 0,1 0 16,-1-13-16,0 14 0,0-1 0,1 0 15,-1 0-15,0-13 0,-13 13 16,0 1-16,0-1 0,0 0 0,-13 0 16,0 1-16,-1 12 0,-12-13 15,-1 14-15,-12-1 0,-1-13 0,0 1 16,1-1-16,-1 0 0</inkml:trace>
</inkml:ink>
</file>

<file path=ppt/ink/ink16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2:03:37.776"/>
    </inkml:context>
    <inkml:brush xml:id="br0">
      <inkml:brushProperty name="width" value="0.05292" units="cm"/>
      <inkml:brushProperty name="height" value="0.05292" units="cm"/>
      <inkml:brushProperty name="color" value="#0070C0"/>
    </inkml:brush>
  </inkml:definitions>
  <inkml:trace contextRef="#ctx0" brushRef="#br0">767 5741 0,'185'-26'47,"-158"13"-47,-14 13 0,14-13 0,-1 13 16,-13-14-16,14 14 0,-14 0 16,0-13-16,0 13 0,1-13 15,-1 13-15</inkml:trace>
  <inkml:trace contextRef="#ctx0" brushRef="#br0" timeOffset="291.89">754 5821 0,'0'0'0,"40"-13"31,-27-1-31,13 14 15,-12-13-15,12 13 0,1-13 0,-1 0 16,0-1-16,1 1 0,-1 0 0,1 13 16,-1-13-16,1 0 0,-14 13 15,13-14-15,-12 14 0,-1-13 0,0 13 16,0-13-16,1 13 0,-1 0 16,-13-13-16,13 13 15,0 0-15</inkml:trace>
  <inkml:trace contextRef="#ctx0" brushRef="#br0" timeOffset="2151.96">966 11324 0,'13'-13'16,"0"0"0,0 13-16,14-14 0,-14 14 15,14-13-15,-1 0 0,0 13 0,1-13 16,-14 0-16,14 13 0,-1-14 0,1 1 16,-14 0-16,13 13 0,-13-13 15,1 13-15,-1-14 0,0 14 0,0 0 16,1-13-16,-1 13 0</inkml:trace>
  <inkml:trace contextRef="#ctx0" brushRef="#br0" timeOffset="2710.04">966 11456 0,'-14'0'0,"28"0"0,12 0 31,-13-13-31,1 13 0,12-13 16,1 0-16,-1 0 0,0-1 15,1 1-15,-1 13 0,1-13 0,-14 0 16,14-1-16,-14 14 0,0-13 0,0 13 16,0-13-16,1 13 0,-1-13 15,0 13-15,0 0 0,-13-14 16,14 14-16,-1 0 15,-13-13-15,13 13 16,0 0 0,1 0 15,-14-13 0,13 13 32,-40 0 77,14-13-124</inkml:trace>
  <inkml:trace contextRef="#ctx0" brushRef="#br0" timeOffset="6245.67">3704 5305 0,'13'13'0,"-26"-26"94,0 13-94,0-13 16,-1 13-16,1 0 15,0 0-15,0 0 0,0-14 16,-1 14-16,1 0 0,-13 0 16,12 0-16,1 14 0,0-14 0,0 0 15,-14 0-15,14 0 0,0 13 0,0-13 16,-14 13-16,14-13 16,0 13-16,-1-13 0,1 14 0,0 12 15,0-13-15,0 1 0,13-1 0,0 0 16,-14 0-16,14 14 15,0-14-15,0 13 0,0-12 0,14 12 0,-14-13 16,13 14-16,-13-1 0,26 1 16,-13-1-16,1-13 0,-1 14 0,13-14 15,-12 13-15,12-12 0,0 12 16,-12-13-16,12 1 0,-13-1 0,14 0 16,13 0-16,-14 1 0,0-1 15,1-13-15,-1 13 0,1 0 0,-1-13 16,1 13-16,-1-13 0,67 14 15,-67-14-15,1 0 0,12 0 16,-12 0-16,-1 0 0,1 0 16,-1 0-16,1 0 0,-1 0 0,1-14 15,12 14-15,-12 0 0,-1 0 0,1-13 16,-1 13-16,1-13 16,-1 13-16,14-13 0,-14 13 0,1 0 15,-14-13-15,13 13 0,1-14 0,-1 14 16,-12-13-16,12 13 0,-13-13 0,14 0 15,-14 13-15,13-14 0,-12 1 16,12 0-16,-13 13 0,0-13 0,1-1 16,-1 1-16,0 0 0,0 0 0,1 0 15,-14-1-15,13 14 0,0-13 16,-13 0-16,13 0 0,-13-1 0,14 1 16,-14 0-16,13 0 15,-13-1-15,0 1 0,0 0 16,0 0-16,0 0 0,0-1 15,0 1-15,-13 13 0,13-13 0,0 0 16,-14-1-16,1 1 16,13 0-16,0 0 0,-13 13 15,13-13-15,-13-1 0,-1 14 0,14-13 16,-13 0-16,0 13 0,13-13 0,-13 13 16,-1-14-16,1 14 0,13-13 15,-13 13-15,0-13 0,0 13 0,-1-13 16,1 13-16,0 0 0,0-14 0,-1 14 15,1 0-15,0-13 0,0 13 0,0 0 16,-1-13-16,1 13 0,0 0 16,0 0-16,-1-13 0,1 13 15,0 0-15,0 0 0,-1-13 0,1 13 16,-13 0-16,13-14 16,-1 14-16,1 0 0,0 0 0,0 0 15,-14-13-15,14 13 0,-14 0 16,14-13-16,0 13 0,0 0 15,0 0-15,-1 0 16,1-13-16,0 13 0,0 0 0,-14 0 16,1-14-16,13 14 0,-1 0 15,1 0-15,0 0 0,0 0 16,-1 0-16,1 0 0,0 0 16,0 0-16,-1 0 0,-12-13 15,13 13-15,0 0 0,-1 0 0,1 0 16,0 13-16,-14-13 15,14 0-15,0 0 0,0 0 16,-1 0-16,1 0 0,0 14 16,0-14-16,0 0 15,-1 0-15,1 0 0,0 13 16,0-13-16,-1 0 16,1 0-16,0 0 0,13 13 15,-27-13-15,14 0 16,13 13-16,-13-13 15,0 0 1,0 0-16,-1 14 31,1-14-31,0 13 16,0 0 15</inkml:trace>
  <inkml:trace contextRef="#ctx0" brushRef="#br0" timeOffset="8027.68">16021 1627 0,'-14'-13'0,"1"13"16,13-13-16,-13 13 15,-14 13-15,14-13 16,0 0-16,-14 0 0,14 13 0,-26 0 15,25-13-15,1 14 0,0-14 16,0 13-16,-1-13 0,1 13 0,0-13 16,13 13-16,-13-13 15,13 14-15,13-1 16,0 0-16,0-13 16,1 0-16,12 13 0,-13-13 0,1 13 15,12-13-15,-13 14 0,14-14 0,-14 13 16,0 0-16,0-13 0,14 13 15,-27 1-15,13-14 0,0 13 0,-13 0 16,14-13-16,-14 13 0,0 1 16,0-1-16,-14 0 0,14 0 0,-13-13 15,0 13-15,0 1 0,-14-1 16,14-13-16,0 13 0,-14-13 16,14 0-16,-13 0 0,12 13 0,1-13 15,0 0-15,-14 0 0,14-13 16,0 13-16,0 0 0,-1 0 15,14-13-15</inkml:trace>
  <inkml:trace contextRef="#ctx0" brushRef="#br0" timeOffset="9076.82">16206 1746 0,'-27'-13'16,"14"13"-1,0 0 1,0 13-16,-1-13 0,1 13 16,0 1-16,0-1 15,-1 0-15,14 0 16,0 1-16,0-1 16,0 0-16,0 0 15,14 1 1,-1-14-1,0 0-15,0-14 16,1 1-16,-1 0 16,-13 0-16,0-1 15,13 14-15,-13-13 0,0 0 16,13 0 0,-13-1-1,0 41 32,13-14-31,-13 0-16,14-13 15,-14 14 1,13-14 0,0 0-1,0-14-15,1 14 16,-1-13-16,-13 0 15,13 13 1,0 0 0,1 0-1,-1 0 1,-13 13-16,13-13 16,-13 13-16,13-13 15,-13 14 1,13-28 31,-13 1-32,14 13-15,-1-13 32,0 26-17,0 0 1,-13 1-1,14-14-15,-14 13 16,13-26 15,0-1-15,-13 1 0,13 13-16,1 0 15,-1 0 1,-13 13-1,13-13-15,0 14 16,-13-1-16,13 0 16,1 0-1</inkml:trace>
  <inkml:trace contextRef="#ctx0" brushRef="#br0" timeOffset="9675.69">16629 1561 0,'0'0'16,"-13"13"15,13 1-31,0-1 15,0 0-15,0 0 0,13 14 0,-13-1 16,0 1-16,0-1 0,0 0 0,0 14 16,0 0-16,0-14 0,13 1 0,-13-1 15,0 1-15,0-1 0,0 1 0,0-14 16,0 13-16,0 1 0,0-14 16,0 13-16,-13-12 0,13 12 15,0-13-15,0 1 0,0-1 0,0 0 16,0 0-16,0 0 0,0 1 0,0-1 15,-13 0 1,13 0 0,0-52-1,0 25-15,0 1 16,0 0-16,0-13 0,13 12 16,-13-12-16,0-1 0,0 1 0,0 0 15,13-1-15,-13-13 16,0 27-16,0-13 0,0 12 15,0 1-15,14 0 0,-14 0 16,0 0-16,13 13 0,0-14 16,0 14-1,0 14 1,-13-1-16,14 0 16,-14 0-16,0 0 0,-14-13 0,14 14 15,0-1-15,0 0 16,-13 0-16,0 1 0,13-1 15,-13 0-15,0-13 0,13 13 16,-14-13-16</inkml:trace>
  <inkml:trace contextRef="#ctx0" brushRef="#br0" timeOffset="10344.86">16814 1561 0,'14'-13'16,"-28"39"31,14-12-47,0 12 0,0-13 0,0 14 15,0 26-15,0-27 16,0 0-16,0-12 0,0 12 0,0-13 15,14 27-15,-1-27 16,-13 1-16,13-14 0,-13 13 0,13 0 16,0-13-16,1 0 15,-1-13-15,0 13 0,0-13 16,1-1-16,-1-12 0,-13 13 0,13-1 16,0-12-16,-13 13 0,0-1 15,13 14-15,-13-13 0,0 0 16,0 0-16,-26 26 15,26 0 1,-13-13-16,13 13 0,0 1 16,-13 12-16,13-13 15,0 1-15,0-1 0,13 0 0,-13 0 16,13 1-16,-13-1 0,13 0 16,0-13-16,-13 13 0,14-13 15,12 13-15,-13-13 0,1 0 16,-1 0-1,27-13 17</inkml:trace>
  <inkml:trace contextRef="#ctx0" brushRef="#br0" timeOffset="10676.35">15729 3109 0,'0'-13'0,"0"52"32,0-25-32,0-1 0,0 0 15,14 13-15,-14 1 0,0-14 0,13 14 16,-13-1-16,0 1 0,13-14 0,-13 13 15,0 1-15,13-1 0,-13-13 16,0 1-16,14-1 0,-14 0 0,0 0 16,13 0-16</inkml:trace>
  <inkml:trace contextRef="#ctx0" brushRef="#br0" timeOffset="11051.66">15743 3162 0,'-14'-66'31,"14"52"-31,14 1 16,-1 0-16,0 13 15,0 0-15,1 0 0,-1 0 16,0 0-16,0 0 0,1 13 0,-1 0 16,0-13-16,-13 14 15,0-1-15,0 0 0,0 0 16,0 1-16,-13-1 0,0 0 16,13 0-16,-14 0 0,-12 14 15,13-14-15,-1-13 0,14 13 16,-13-13-16,0 14 0,0-14 15,39 0 17</inkml:trace>
  <inkml:trace contextRef="#ctx0" brushRef="#br0" timeOffset="11371.45">15954 3175 0,'14'13'31,"-14"0"-31,0 1 16,0-1-16,0 0 16,13 0-16,-13 1 0,13-1 15,0 0-15,1-13 16,-1 13-16,0-13 0,0 0 0,0 0 16,1 0-16,-1-13 0,13 13 0,-26-13 15,14 13-15,-1-13 16,0-1-16,-13 1 0,0 0 15,0 0-15,-13-1 0,0 1 16,-1 13-16,1-13 0,0 13 16,0 0-16,-1 0 0,-12 0 15,13 0-15,-14 0 16,14 13-16,0 0 31</inkml:trace>
  <inkml:trace contextRef="#ctx0" brushRef="#br0" timeOffset="11869.69">16259 3003 0,'0'-13'0,"0"52"31,0-25-16,0 12-15,13-13 0,-13 40 16,13-26-16,0-1 0,1 54 16,52-279 140,-53 173-140,0 12-1,0 14-15,14 0 0,-27 14 16,13-14-16,-13 13 0,0 0 15,13 14-15,-13-14 0,-13 0 16,13 0-16,-13 27 16,0-27-16,-1 14 0,-12-1 15,26-13-15,-13 1 16,-1-14-16,1 13 16,0-26-1,13-1-15</inkml:trace>
  <inkml:trace contextRef="#ctx0" brushRef="#br0" timeOffset="12539.14">16351 3268 0,'0'13'32,"0"0"-32,0 0 0,0 1 15,0-1-15,0 0 0,0 0 16,0 0-16,0 1 0,0-1 16,0 0-16,13 0 15,-13 1-15,0-1 16,0 0-1,14-26 1,-1 13-16</inkml:trace>
  <inkml:trace contextRef="#ctx0" brushRef="#br0" timeOffset="14184.05">16616 3109 0,'0'-13'16,"-13"26"15,13 0-15,0 0-16,0 1 15,0-1 1,13 0-16,0-13 16,0 0-1,1 0 1,-1-13-1,0 13-15,-13-13 0,0-1 0,13 14 16,-13-13-16,0 0 16,13 0-16,-13-1 31,0 41 0,14-14-31,-14 0 16,13 1-1,-13-1 1,13-13-16,0 0 0,1 0 16,-1 0-1,0 0-15,0-13 16,1-1-16,-1 1 16,-13 0-16,13 0 0,-13-1 15,0 1-15,0 0 0,0-14 0,13 14 0,-13 0 16,0 0-16,0 0 15,0-1-15,0 1 0,-13 0 0,13 0 16,0-1-16,0 1 0,0 0 16,0 0-1,-13 39 17,13-13-32,0 1 0,0 12 15,0-13-15,0 1 0,0-1 16,13 0-16,-13 0 0,0 14 0,0-14 15,0 0-15,13 0 0,-13 1 16,0-1-16,13-13 16,-13 13-16,14-13 0,-1 0 15,0 13-15,0-13 0,-13-13 16,14 13-16,-1 0 0,0 0 0,0-13 16,0 13-16,1-13 15,-1-1-15,0 14 16,-13-13-16,13 13 15,-13-13-15,0 0 16,0-1 0,-13 14-1,0 14 1,0-14-16,-1 13 16,14 0-1,-13-13-15,13 13 0,0 1 16,-13-14-1,13 13-15,0 0 16,13-13 0,0 0-16,1 0 15,-1-13-15,0 13 16,-13-13-16,13 13 0,1 0 16,-14-14-16,13 14 15,0 14 1,0-14 15,-13 13-31,14-13 16,-1 0-16,0-13 15,0 13 1,-13-14-16,13 14 0,1-13 0,-14 0 16,13 13-16,-13-13 0,13-1 0,-13-12 15,13 0-15,-13-1 16,0 14-16,0 0 0,14-14 0,-14 14 15,0 0-15,0 0 0,0-1 16,0 1-16,0 26 31,0 1-15,0-1-16,13 0 0,-13 0 16,0 0-16,13 14 0,-13-14 0,0 0 15,13 1-15,-13-1 0,0 0 16,14 0-16,-14 0 0,0 1 15,13-14-15,-13 13 0,0 0 16,-13 0 0,-1-26-1,1 13-15,0 0 16,0-13-16,-1 13 16,1-13-16,0-1 31,13 1-31,13 0 15,0 0-15,1 0 16,-1-1 0,0 14-16,-13-13 0,13 13 0,1 0 15,-14-13-15,13 13 0,0 0 0,0 0 16,0 0 0,1 13-16,-1-13 15,-13 13-15,13-13 0,-13 14 16,13-1-1,-13 0-15,14 0 47</inkml:trace>
  <inkml:trace contextRef="#ctx0" brushRef="#br0" timeOffset="14344.2">17423 2831 0,'-13'0'31,"13"13"-31</inkml:trace>
  <inkml:trace contextRef="#ctx0" brushRef="#br0" timeOffset="14919.88">17502 2897 0,'13'0'16,"-13"13"-16,0 1 31,0-1-31,0 0 0,0 0 15,14-13-15,-14 14 0,0-1 16,13-13-16,0 13 0,0-13 16,1 0-1,-1-13-15,0 13 0,0-13 0,-13-1 16,13 14-16,-13-13 0,14-13 16,-14 12-16,0 1 15,0 0-15,0 0 0,-14 0 16,1 13-16,13-14 15,-13 14-15,0 0 0,0 0 16,-1 0-16,1 0 16,0 0-1,39 14 17,-12-14-17,-1 0-15,0 13 16,0-13-16,0 13 15,1-13-15,-1 13 0,-13 0 16,13-13-16,0 14 16,1-14-16,-1 13 15,0-13 1,0 0-16,1 0 16,-14-13-16,13 13 0,0 0 15,-13-14-15,13 14 0,0 0 0,-13-13 16,14 13-16,-1-13 15</inkml:trace>
  <inkml:trace contextRef="#ctx0" brushRef="#br0" timeOffset="15220.78">16338 3691 0,'66'-27'0,"-132"54"16,172-67-16,-66 27 0,12-13 0,1 12 15,14-12-15,-15-1 0,15 14 16,-1-13-16,0-1 0,0 1 0,66-14 15,-66 27-15,-13 0 0,53-27 16,-66 27-16,0 0 16,-1 13-16,-12-14 0,-14 1 0,13 13 15,-12 0-15,-14-13 0,13 13 0</inkml:trace>
  <inkml:trace contextRef="#ctx0" brushRef="#br0" timeOffset="15490.79">16550 3651 0,'-40'27'0,"27"-27"15,39 0 1,1 0-16,-1 0 0,27-14 16,13 1-16,0 0 0,14 0 0,-1 0 15,0-1-15,-12-12 0,12 13 16,-13-14-16,-13 14 0,13 0 0,-26-1 15,0 1-15,-1-13 0,-12 13 0,26-1 16,-40 1-16,13 13 16,-12-13-16,-1 13 0,0-13 15,0 13-15,-52 0 47</inkml:trace>
  <inkml:trace contextRef="#ctx0" brushRef="#br0" timeOffset="16645.84">17555 1680 0,'27'-13'31,"-14"13"-31,0 0 0,0 0 15,0 0-15,14 0 0,-14-13 0,14 13 16,-1 0-16,1 0 0,-1 0 16,-13-14-16,14 14 0,-1 0 0,1 0 15,-14 0-15,13-13 0,-12 13 0,-1 0 16,13 0-16,-13 0 0,1 0 16,-1 0-16,0 0 15,0-13-15,-39 13 31</inkml:trace>
  <inkml:trace contextRef="#ctx0" brushRef="#br0" timeOffset="17401.87">17595 1548 0,'-27'13'31,"27"0"-31,-13-13 16,13 14-16,-13-14 0,13 13 0,-13 0 16,13 0-16,-14-13 0,14 13 15,-13 1-15,13-1 0,-13 0 16,13 0-16,0 1 0,0-1 15,0 0-15,13-13 0,-13 13 16,13 0-16,-13 1 0,14-14 0,-1 13 16,0 0-16,0-13 0,14 13 0,-14-13 15,0 14-15,0-14 0,14 13 16,-14-13-16,0 0 0,1 0 16,-1 0-16,0 13 0,0-13 0,1 0 15,-1 0-15,0 0 0,0 0 16,0 0-1,1 0-15</inkml:trace>
  <inkml:trace contextRef="#ctx0" brushRef="#br0" timeOffset="18912.93">4286 5953 0,'0'53'31,"0"-40"-31,13 14 0,-13-1 0,0-13 16,0 14-16,14-1 0,-14 1 15,0-1-15,13-13 0,-13 14 16,0-14-16,0 14 0,0-14 0,13 0 16,-13 0-16,0 1 0,0-1 15,0 0-15,0 0 16</inkml:trace>
  <inkml:trace contextRef="#ctx0" brushRef="#br0" timeOffset="19208.06">4260 5966 0,'-40'40'31,"40"-27"-31,0 0 0,-13 1 15,13-1-15,0 0 0,-13 0 0,13 1 16,0-1-16,0 0 0,0 0 0,-14 1 16,14-1-16,0 0 0,0 0 15,0 0-15,0 1 0,0-1 16</inkml:trace>
  <inkml:trace contextRef="#ctx0" brushRef="#br0" timeOffset="19793.75">4194 6046 0,'13'0'16,"0"0"-16,0 0 15,1 0-15,-1 0 0,0 13 16,0-13-16,0 0 0,1 13 16,-1-13-16,0 0 0,0 0 15,-13 13-15,14-13 0,-1 0 16,0 0 0,-13 14-16,13-14 15,1 0 1,-1 0 15</inkml:trace>
  <inkml:trace contextRef="#ctx0" brushRef="#br0" timeOffset="22910.75">3836 11364 0,'0'13'16,"0"0"0,14 1-16,-1-14 0,0 0 0,0 13 15,1-13-15,12 0 0,-13 13 16,14-13-16,-1 0 0,1 0 16,-1 0-16,1 0 0,12 0 0,-12 0 15,-1 0-15,14-13 0,13 13 16,-27-13-16,14-1 0,0 1 0,-1 0 15,1 0-15,-14-14 0,1 14 0,13-14 16,-14 14-16,1-13 0,-1 13 16,-13-14-16,14 14 0,-14 0 0,0-1 15,0 1-15,1 0 0,-14 0 0,13-1 16,0 1-16,-13 0 0,0 0 16,0 0-16,0-1 0,0 1 0,0 0 15,0-14-15,0 14 0,-13 0 16,13 0-16,-13-14 0,-1 14 0,14 0 15,-13 0-15,0-14 0,0 14 16,-1 0-16,1-1 0,0 1 0,0 0 16,-14 13-16,14-13 0,-13 0 0,12-1 15,-12 14-15,-1-13 0,14 0 16,-13 13-16,-1-13 0,14 13 0,-13-14 16,-1 14-16,14 0 0,-14 0 0,1 0 15,13 0-15,-14 0 0,1 0 16,-1 0-16,1 0 0,0 14 15,-1-14-15,-13 0 0,27 13 0,-27-13 16,27 13-16,-13 0 0,13-13 0,-14 14 0,14-14 16,-14 13-16,14 0 15,-13 0-15,12 0 0,-12 14 16,13-14-16,-14 14 0,14-1 0,0-13 16,13 14-16,-13-1 0,-1 1 15,14-14-15,0 13 0,-13 1 0,13-1 16,0 1-16,13-14 0,-13 13 0,0 1 15,14-1-15,-1 1 0,0-1 16,0 1-16,14-1 0,-14 1 0,13-14 16,1 0-16,-1 0 0,1 1 15,-1-14-15,1 13 0,12-13 0,-12 0 0,-1 13 16,1-13-16,-1 0 0,-12 0 16,12-13-16,0 13 0,-12 0 15,12 0-15,-13-13 0,1 13 0,-1 0 16,0-14-16,0 14 0,0 0 15,1-13-15,-1 13 0,0 0 16,-13-13-16,13 13 0</inkml:trace>
  <inkml:trace contextRef="#ctx0" brushRef="#br0" timeOffset="28138.74">19010 1257 0,'0'-13'15,"0"39"32,0-13-47,14 0 0,-14 14 16,0-14-16,0 0 0,0 1 0,0-1 15,0 13-15,13-12 0,-13-1 16,0 0-16,0 0 0,0 0 0,0 1 16,0-1-16,13 0 0,-13 0 0,0 1 15,0-1 1,13-13-16</inkml:trace>
  <inkml:trace contextRef="#ctx0" brushRef="#br0" timeOffset="28655.68">19235 1296 0,'0'-26'15,"-13"52"1,13-12-1,0-1-15,0 0 0,0 0 16,0 1-16,0-1 0,13 0 0,-13 14 16,13-27-16,-13 13 0,14 0 15,-14 0-15,13 0 0,0-13 0,0 14 16,1-14-16,-1 0 0,0 0 0,0 0 16,1 0-16,-1 0 15,0 0-15,0-14 0,0 14 0,1-13 16,-1 13-16,-13-13 0,13 13 15,-13-13-15,13 0 0,-13-1 0,0 1 16,0 0-16,-13 0 16,13-1-16,-13 14 0,13-13 0,0 0 15,-13 0-15,-1-1 0,1 1 16,0 0-16,0 13 16,0 0-16,13-13 0,-14 13 15,1 0 1,0 13-16,13 0 15</inkml:trace>
  <inkml:trace contextRef="#ctx0" brushRef="#br0" timeOffset="31003.77">5596 5503 0,'0'-13'0,"-13"0"16,-1 0-1,1 13-15,0-14 0,0 14 16,0 0-16,-1 0 0,1 0 16,0 0-16,0 0 0,-1 0 15,1 14-15,0-1 0,0 0 16,0 0-16,13 1 0,-14-1 0,1 0 15,13 0-15,0 0 0,0 1 16,0-1-16,0 0 0,0 0 16,0 1-16,13-14 0,1 13 15,-1-13-15,13-13 16,-13 13-16,1 0 0,-1-14 16,0 1-16,0 0 0,-13 0 0,14-1 15,-1 1-15,0 0 0,-13 0 0,13 13 16,-13-13-16,13-1 0,-13 1 15,14 13-15,-1 13 16,-13 1 0,0-1-16,0 0 0,0 0 0,13 14 15,-13-14-15,0 13 0,0-12 16,0-1-16,0 13 0,13-12 0,-13-1 16,0 0-16,0 0 0,0 0 0,14 1 15,-14-1-15</inkml:trace>
  <inkml:trace contextRef="#ctx0" brushRef="#br0" timeOffset="31291.08">5239 5424 0,'0'0'16,"-13"26"-16,-14 1 0,27-14 0,0 0 15,0 14-15,-13-1 0,13 1 16,0-1-16,13 14 0,-13 0 0,0-1 16,13 1-16,1-14 0,-14 14 0,13-13 15,0-1-15,0-13 0,-13 14 16,13-14-16,1 0 0,-1 0 0,0 1 15,0-14-15,1 13 0,-1-13 16,0-13-16,0 13 0,14 0 0</inkml:trace>
  <inkml:trace contextRef="#ctx0" brushRef="#br0" timeOffset="31594.34">5569 5384 0,'40'0'32,"-27"14"-32,1-1 0,-1 0 0,13 13 15,1 1-15,-1-1 0,1 1 16,-14-1-16,13 1 0,1 12 0,-14-12 15,14-1-15,-14 14 0,0-14 0,-13 1 16,0-1-16,0-12 0,0 25 0,0-12 16,-13 12-16,0-12 0,-1 13 15,-12-1-15,13-12 0,-1-14 0,1 13 16,-13-12-16,12-1 0,-12 0 0,13 0 16</inkml:trace>
  <inkml:trace contextRef="#ctx0" brushRef="#br0" timeOffset="32654.75">18613 2686 0,'-26'13'47,"13"-13"-47,-14 13 16,14-13-16,0 13 0,-14-13 15,1 13-15,-1 1 0,1-14 0,13 13 16,-14 0-16,1 0 0,-1-13 0,14 14 16,-13-14-16,12 13 0,1-13 15,0 0-15,0 13 0,0-13 0,-1 0 16,1 0-1</inkml:trace>
  <inkml:trace contextRef="#ctx0" brushRef="#br0" timeOffset="32962.01">18269 2672 0,'-39'0'16,"39"14"-16,-13-14 15,13 13-15,-14-13 0,1 13 16,0 0-16,0 0 0,-1 1 16,14-1-16,0 0 15,-13 0-15,13 1 0,0-1 16,0 0-16,13 0 15,-13 1-15,14-14 16,-14 13-16,13-13 0,0 13 16,0-13-16,1 0 0,12 0 0,-13 0 15,0 0-15,14 0 0,-1 0 16,-12-13-16,12 13 0,1 0 0</inkml:trace>
  <inkml:trace contextRef="#ctx0" brushRef="#br0" timeOffset="33275.28">19341 2566 0,'0'-13'0,"0"40"31,0-14-31,0 0 0,0 0 16,13 1-16,-13-1 0,0 0 15,0 0-15,0 1 0,0-1 16,0 0-16,14-13 15,-14 13-15,13-13 0</inkml:trace>
  <inkml:trace contextRef="#ctx0" brushRef="#br0" timeOffset="33639.65">19513 2606 0,'-13'27'47,"13"-14"-47,0 13 15,0-12-15,13-1 16,0 0-16,0-13 0,-13 13 16,14-13-16,-1 0 0,0 13 0,14-13 15,-14 0-15,0 0 0,0-13 0,1 13 16,-1 0-16,0-13 15,0 0-15,0 13 0,-13-13 16,0-1-16,0 1 0,0 0 0,0 0 16,0-1-16,-13 1 15,0 0-15,0 0 0,0-1 16,-1 14-16,1 0 0,0 0 16,0 0-16,-14 0 15,14 0-15,0 0 16,-1 14-16,1-14 0</inkml:trace>
  <inkml:trace contextRef="#ctx0" brushRef="#br0" timeOffset="33795.82">19950 2619 0,'-14'-13'16</inkml:trace>
  <inkml:trace contextRef="#ctx0" brushRef="#br0" timeOffset="34991.4">4921 10954 0,'0'39'31,"0"-25"-31,0-1 0,0 0 16,0 0-16,0 1 0,13-1 0,-13 13 16,0-13-16,0 1 0,0-1 15,14 0-15,-14 0 0,0 1 0,0-1 16,0 0-16,13-13 0,-13 13 16,13-13-1</inkml:trace>
  <inkml:trace contextRef="#ctx0" brushRef="#br0" timeOffset="35343.68">5120 11007 0,'-14'53'31,"28"-40"-31,-14 0 16,13 0-16,0 0 16,0 1-16,1-14 15,-1 0-15,0 13 0,0-13 0,1 0 16,-1-13-16,0 13 0,0 0 0,0-14 16,1 14-16,-1-13 0,0 0 15,-13 0-15,13 13 0,-13-13 0,0-1 16,0 1-16,0 0 0,0 0 0,-13-1 15,0 1-15,0 13 16,13-13-16,-14 13 0,1-13 0,0 13 16,0 0-16,0 0 0,-1 0 15,1 0-15,0 13 0,0-13 16,-1 13-16,1 0 16,0 1-16</inkml:trace>
  <inkml:trace contextRef="#ctx0" brushRef="#br0" timeOffset="35965.75">4974 11443 0,'13'-13'31,"-13"0"-31,27 13 0,-14-13 0,0-1 0,14 1 15,-1 13-15,1-26 0,12 12 0,-25 1 16,12 13-16,1-13 0,-1 0 16,-13-1-16,14 14 0,-1-13 0,-13 13 15,1-13-15,-1 13 0,0 0 0,0 0 16</inkml:trace>
  <inkml:trace contextRef="#ctx0" brushRef="#br0" timeOffset="36182.75">4948 11589 0,'-14'13'15,"28"-26"-15,12 13 32,-13-13-32,14 13 15,-14 0-15,0-14 0,14 14 16,-14-13-16,13 0 0,-12 13 0,12-13 15,1-1-15,-14 1 0,13 13 0,-12-13 16,-1 0-16,13-14 0,-13 14 16,1-13-16,-1 12 0,0-25 0,0 12 15</inkml:trace>
  <inkml:trace contextRef="#ctx0" brushRef="#br0" timeOffset="37667.68">5411 10861 0,'0'0'0,"13"-13"0,0 13 15,-13-13-15,13 13 0,1-14 0,-1 14 16,0 0-16,0-13 0,1 13 16,-1 0-1,0 13-15,0-13 16,-13 14-16,13-14 0,-13 13 0,0 0 16,14 0-16,-14 1 15,13-1-15,-13 0 16,13 0-16,-13 1 0,0-1 0,13 0 15,1 0-15,-14 0 0,13 14 0,-13-14 16,13 0-16,0 1 0,-13-1 16,14 0-16,-1 0 0,-13 0 0,13 1 15,-13-1-15,13 0 0,-13 0 0,13-13 16,-13 14-16,0-1 0,14 0 16,-14 0-16,0 1 0,0-1 15,-14 0-15,14 0 0,-13 0 16,0 1-16,0-14 0,0 13 15,-14 0-15,1-13 0,12 0 0,-12 0 16,-1 0-16,1 0 0,-14-13 16</inkml:trace>
  <inkml:trace contextRef="#ctx0" brushRef="#br0" timeOffset="43843.84">7898 4379 0,'-27'0'0,"14"0"0,0 0 31,53 0-31,-14 0 16,14 0-16,-1 0 15,14 0-15,0-13 0,27 13 0,-14-14 16,13 14-16,1-13 0,-1 13 0,0-13 16,1 13-16,-1-13 0,0 13 15,1-14-15,-1 14 0,-13-13 0,-13 13 16,13 0-16,-26-13 0,13 13 0,-13 0 15,-14 0-15,-13-13 0,14 13 0,-14 0 16,0 0-16,0 0 0,1 0 16,-1 0-16,-13 13 15,-27 0-15,14 0 16,0-13-16,-27 14 16,1-1-16</inkml:trace>
  <inkml:trace contextRef="#ctx0" brushRef="#br0" timeOffset="44351.59">8096 5067 0,'40'0'0,"-14"0"0,1 0 15,26 0-15,0-13 0,13 13 0,0-14 16,0 1-16,13 13 0,-12-13 0,-14 13 15,-1-13-15,1 13 0,-13 0 0,13-14 16,-13 14-16,-1 0 0,-12 0 16,-1 0-16,-12 0 0,12-13 0,-13 13 15,0 0-15,1 0 0,-1 13 16,-13 1 0</inkml:trace>
  <inkml:trace contextRef="#ctx0" brushRef="#br0" timeOffset="44758.78">8229 5649 0,'26'0'0,"-13"0"15,0 0-15,27 0 0,0 0 16,13-13-16,13 13 0,0 0 0,0-14 15,14 14-15,-14 0 0,0-13 0,0 13 16,0-13-16,-13 13 0,0 0 16,0 0-16,-13-13 0,-1 13 15,-12 0-15,-1 0 0,1 0 0,-1 0 16,-13 0-16,1 0 0,-1 0 0,0 0 16,-13 13-16,13-13 15,-26 13-15,0 0 16,0-13-16,-14 14 0</inkml:trace>
  <inkml:trace contextRef="#ctx0" brushRef="#br0" timeOffset="45162.75">8109 6734 0,'0'0'0,"67"0"15,-41 0-15,27-14 0,0 14 0,13 0 16,0-13-16,0 13 0,14 0 0,-14 0 16,13-13-16,-13 13 0,14 0 0,-1-13 15,-26 13-15,13 0 0,-13 0 16,0 0-16,-13 0 0,-1-13 0,1 13 16,-13 0-16,-14 0 0,13 0 0,-13 0 15,14 0-15,-14 0 0,0 0 16,1 0-16,-28 13 31,1 0-31</inkml:trace>
  <inkml:trace contextRef="#ctx0" brushRef="#br0" timeOffset="45557.78">7990 7527 0,'27'0'0,"39"-13"16,-26 13-1,13-13-15,0 0 0,13 13 0,0-14 16,13 14-16,14-13 0,-14 0 15,1 13-15,-1-13 0,14 0 0,-1 13 16,-12-14-16,12 1 0,-12 13 0,-14-13 16,13 0-16,-13 13 0,-13-14 15,0 14-15,0 0 0,-13 0 0,-1-13 16,-12 13-16,-1 0 0,1 0 16,-1 0-16,-13 0 0,14 0 0,-14 0 15,0 0-15,0 0 0,1 0 16,-1 0-16,-13 13 0,13-13 15,0 0-15,-26 14 32</inkml:trace>
</inkml:ink>
</file>

<file path=ppt/ink/ink16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2:04:33.032"/>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brush xml:id="br2">
      <inkml:brushProperty name="width" value="0.05292" units="cm"/>
      <inkml:brushProperty name="height" value="0.05292" units="cm"/>
      <inkml:brushProperty name="color" value="#00B050"/>
    </inkml:brush>
  </inkml:definitions>
  <inkml:trace contextRef="#ctx0" brushRef="#br0">19381 701 0,'13'13'0,"0"40"16,-13-26 0,13-1-16,-13-13 0,14 14 0,-14 13 15,13-14-15,-13 0 0,13-26 0,0 27 16,-13-1-16,14-12 0,-1 12 0,0-13 16,-13 1-16,13-1 0,0 0 15,-13 0-15,14-13 0,-1 13 0,0-13 16,0-13-16,1 0 15,-1 13-15,0-26 0,0 12 0,-13-12 16,14-1-16,-1-12 0,0 12 16,-13-12-16,13-1 0,-13 0 15,0 1-15,13-1 0,-13 13 0,0 14 16,14-13-16,-14 12 0,0 1 0,0 0 16,0 0-16,0 0 0,0-1 15</inkml:trace>
  <inkml:trace contextRef="#ctx0" brushRef="#br0" timeOffset="777.03">19976 860 0,'-13'-13'0,"0"13"15,-14 0 1,27 13-16,-13-13 0,0 13 15,-1-13-15,14 13 0,-13 1 0,0-1 16,13 0-16,0 0 0,-13 0 16,13 1-16,0-1 0,0 0 0,0 0 15,13 1-15,-13-1 0,13 0 16,0-13-16,-13 13 16,14-13-16,12 0 15,-13-13-15,1 0 16,-1 13-16,-13-13 15,13-1-15,0 1 0,-13 0 0,13 0 16,-13-1 0,14 14-16,-1 0 15,-13-13 1,13 13-16,0 0 0,1 13 16,-1-13-16,0 0 15,-13 14-15,13-14 16,-13 13-16,0 0 0,14-13 0,-14 13 15,0 1-15,0-1 0,13 0 16,-13 0 0,0 1-16,0-41 62,0 14-62,0 0 0,13-1 16,-13 1-16,13 0 0,0 0 15,-13-1-15,14 14 0,-1-13 16,0 13 0,0 0-16,1 0 15,-1 0-15,-13 13 16,13-13-16,0 0 0,-13 14 16,0-1-16,14-13 0,-14 13 0,0 0 15,0 1-15,0-1 16,0 0-16,0 0 15,13 1 1</inkml:trace>
  <inkml:trace contextRef="#ctx0" brushRef="#br0" timeOffset="988.2">20333 794 0,'0'-13'0</inkml:trace>
  <inkml:trace contextRef="#ctx0" brushRef="#br0" timeOffset="1695.16">20611 833 0,'0'0'15,"-13"0"-15,0 0 0,-1 0 0,14 14 16,-13-14-16,0 13 0,0 0 16,-1-13-16,1 13 0,13 1 15,-13-1-15,13 0 0,-13 0 0,13 0 16,-13 1-1,26-1 1,-13 0-16,13-13 16,0 0-16,0 0 15,1-13-15,-1 13 0,-13-13 16,13 13-16,-13-14 0,13 14 16,1-13-16,-14 0 0,13 0 15,-13 0-15,13-1 0,-13 1 16,0 40 46,0-14-46,0 0 0,27 13 46,-1-26-31,-13 0-15,0 0 15,1 0-15,-1 0-1,0 0 1,0 0 0,1 0-16,12 0 15,-13 0-15,0 0 16</inkml:trace>
  <inkml:trace contextRef="#ctx0" brushRef="#br0" timeOffset="2078.86">21008 781 0,'-13'0'0,"-1"13"16,1-13-16,13 13 15,-13-13-15,13 13 0,-13-13 0,13 13 16,0 1-16,-13-1 0,13 0 15,0 0-15,0 1 0,0-1 16,13-13-16,0 0 16,13 0-1,-12 0-15,-1-13 16,0 13-16,0-14 0,1 14 16,-1-13-1,-13 26 1,13 1-1,0-1 1,1-13 0,-1 0-16,0 13 0,0-13 15,0 0-15,1 0 0,-1 0 16,0 0-16,0 0 0</inkml:trace>
  <inkml:trace contextRef="#ctx0" brushRef="#br0" timeOffset="3239.06">22027 635 0,'-14'-13'16,"-12"26"-1,13-13-15,-1 13 16,14 0-16,-13 1 0,0-1 0,13 13 15,-13-12-15,13-1 0,-13 13 0,13-12 16,0 12-16,0-13 0,0 0 16,13 1-16,-13 12 0,13-13 0,-13 1 15,13-1-15,0 0 0,1-13 0,-1 13 16,0-13-16,0 0 0,1 0 16,-1 13-16,13-26 0,-13 13 0,1 0 15,12 0-15,-13-13 0,1 13 0</inkml:trace>
  <inkml:trace contextRef="#ctx0" brushRef="#br0" timeOffset="3499.98">22304 701 0,'0'0'0,"-13"27"46,13-14-46,0 0 16,0 0-16,-13 1 0,13-1 0,0 0 16,0 0-16,0 0 15,0 1-15,0-1 0,0 0 16,0 0 0,13 1-16</inkml:trace>
  <inkml:trace contextRef="#ctx0" brushRef="#br0" timeOffset="3797.87">22278 728 0,'0'0'0,"0"-27"0,0 14 16,13 0-16,0 13 15,-13-14 1,27 28-16,-14-14 0,-13 13 16,13-13-16,1 13 0,-1 0 0,0 1 15,0-1-15,-13 0 0,13-13 16,-13 13-16,14 1 0,-14-1 0,0 0 16,0 0-16,-14-13 0,14 13 15,-13 1-15,13-1 0,-13-13 0,0 13 16,13 0-16,-13-13 0,-1 0 15,14 14-15,-13-14 0,0 0 16</inkml:trace>
  <inkml:trace contextRef="#ctx0" brushRef="#br0" timeOffset="4426">22622 873 0,'0'0'0,"13"-13"0,-13 0 0,0-1 16,13 14-16,-13-13 16,0 0-16,-13 0 15,0 0 1,0 26-1,-1 0 1,1 0-16,13 0 16,0 1-1,13-1-15,1-13 16,-1 0 0,0 0-16,0 0 15,1 0 1,-14-13-16,13 13 0,-13-14 0,13 14 15,-13-13-15,13 0 0,-13 0 16,13 13-16,-13-13 0,0-1 16,14 14-16,-14-13 15,13 26 17,0-13-32,-13 14 15,13-14-15,-13 13 0,14 0 16,-14 0-16,13-13 15,-13 13-15,13-13 0,0 14 16,1-1 0,-1-13-1,0-13 1,-13-1 0,13 14-16,-13-13 15,0 0 1,13 0-16,-13 0 15,14-1-15,-1 1 16,0 0 0,0 13-1</inkml:trace>
  <inkml:trace contextRef="#ctx0" brushRef="#br0" timeOffset="4731.92">23006 476 0,'13'0'0,"0"0"16,0 13-16,0-13 0,1 14 0,-1-1 15,13 13-15,1 1 0,-14-1 16,14-12-16,-14 12 0,0 0 0,0 1 15,0-14-15,1 14 0,-14-14 0,13 13 16,-13-12-16,0-1 0,0 13 16,0-13-16,0 1 0,0-1 0,0 0 15,0 0-15,-13 1 16,13-1-16,-14-13 16,1-13-1</inkml:trace>
  <inkml:trace contextRef="#ctx0" brushRef="#br0" timeOffset="5083.92">23336 370 0,'27'-13'0,"-54"26"15,67-26-15,-27 26 0,0-13 0,1 0 16,-14 14-16,13-14 0,-13 13 0,13 0 16,-13 0-1,-13 14-15,13-14 0,-13 13 0,-1-12 16,1-1-16,0 0 0,13 0 0,-13 1 16,13-1-16,-14 0 0,14 0 15,0 1-15,14-1 16,-1 0-16,0-13 15,0 0-15,1 0 0,-1 0 0,13 0 16,-12 0-16,-1 13 0,13-13 16,-13 0-16,1-13 0,12 13 0,-13 0 15,1 0-15,-1 0 0,0 0 0,0 0 16,-13-13-16,14 13 0</inkml:trace>
  <inkml:trace contextRef="#ctx0" brushRef="#br0" timeOffset="30139.84">2699 2183 0,'79'-13'16,"-26"13"-16,-13 0 0,105-14 16,-65 14-16,-1-13 0,93 13 15,-79-13-15,-1 13 0,-12 0 0,12 0 16,173-13-1,-186 13-15,1 0 0,-1 0 0,0 0 16,-26 0-16,13 0 0,-13 0 16,0 0-16,-13 0 0,-14 0 0,14 0 15,-14 0-15,1 0 0,-14 0 0,0 0 16,14 0-16,-14 0 0,0 0 16,0-14-16,1 14 15,-41 0 16</inkml:trace>
  <inkml:trace contextRef="#ctx0" brushRef="#br0" timeOffset="30469.76">4114 2183 0,'0'0'16,"80"13"-1,-54-13-15,27 0 0,0 13 16,79-13-16,-79 0 0,27 0 16,-1 13-16,-13-13 0,13 0 0,1 0 15,-14 0-15,0 0 0,0 0 16,-13 0-16,0 0 0,0 0 0,0 0 15,-13 0-15,-14 0 0,14 0 16,-14 0-16,-13 0 0,14 0 16,-14 0-16,14 0 0,-14 0 0,0-13 15,0 13-15,0 0 16,-13-13 0,0 0-16</inkml:trace>
  <inkml:trace contextRef="#ctx0" brushRef="#br0" timeOffset="30826.74">5543 1521 0,'53'-13'15,"-27"13"-15,1-13 0,-1 13 0,27 0 16,0-13-16,0 13 0,13 0 0,0 0 16,14 0-16,303 0 31,-330 0-31,0 0 0,-13 0 0,0 0 15,-14 0-15,1 0 0,-1 0 16,0 0-16,-12 0 0,12 0 0,-13 0 16,1 0-16,-1 0 0,0 13 15,-39-13 1</inkml:trace>
  <inkml:trace contextRef="#ctx0" brushRef="#br0" timeOffset="31167.71">5821 1693 0,'26'14'0,"1"-14"16,-1 0-16,1 0 0,12 0 0,14 0 15,0 0-15,13 0 0,-13 0 0,13 0 16,-13 0-16,0 0 0,13 0 0,-13 0 15,0 0-15,0 13 0,-13-13 16,-14 0-16,14 0 0,0 0 0,-14 0 16,1 0-16,-1 0 0,0 0 0,1 0 15,-14 0-15,14 0 0,-14 0 16,0 0-16,0 0 0,1 0 16,-1 0-16,0 0 0,0 0 15,0 0-15,-26 13 31,0 0-15,0-13-16,0 13 0,-1-13 16</inkml:trace>
  <inkml:trace contextRef="#ctx0" brushRef="#br0" timeOffset="32042.07">9327 3228 0,'0'40'47,"0"-27"-47,0 0 16,0 14-16,0-14 0,0 13 16,0 1-16,0-14 0,13 13 15,-13 1-15,0-14 0,0 13 0,13 14 16,-13-27-16,0 1 0,0-1 0,0 0 15,13 0-15,-26 1 16,26-14-16,-13 13 0,0 0 0</inkml:trace>
  <inkml:trace contextRef="#ctx0" brushRef="#br0" timeOffset="32287.01">9141 3519 0,'0'-13'0,"14"-1"0,25 1 15,-25 0 1,12 13-16,-13-13 0,14 13 16,-1-13-16,-13 13 0,14 0 0,-1-14 15,-13 14-15,14 0 0,-1 0 0,-12-13 16,12 13-16,-13 0 0,1 0 0,12-13 15,-13 13-15,0 0 0,14 0 16,-14 0-16,0-13 0</inkml:trace>
  <inkml:trace contextRef="#ctx0" brushRef="#br0" timeOffset="32878.8">10120 3241 0,'0'-13'16,"-13"13"-1,0 13 16,0 0-15,13 1-16,-14-14 0,1 13 0,0 0 16,0-13-16,-1 13 0,1 1 0,0-1 15,-13 0-15,12 0 0,1 0 16,-13 1-16,-1-1 0,27 0 16,-13-13-16,0 13 0,-1 1 15,1-1-15,26 0 31,1-13-31,-1 0 0,0 0 0,0 0 16,1 0-16,12 0 0,-13 0 0,14 0 16,-1 0-16,1 0 0,-1 0 15,1 0-15,-1-13 0,1 13 0,-1 0 16,-13-13-16,14 13 0,-14 0 16,0 0-16,0-14 0,1 14 0,-1 0 15,0-13-15,-13 0 31</inkml:trace>
  <inkml:trace contextRef="#ctx0" brushRef="#br0" timeOffset="33136.06">10147 3228 0,'-13'40'31,"13"-27"-31,-14 27 16,14-27-16,0 13 0,0 1 16,-13-14-16,13 13 0,0-12 0,0 12 15,0-13-15,-13 14 0,13-14 16,0 0-16,0 0 0,0 1 0,0-1 16,0 0-16,0 0 15,13 1 1,0-14-16,1-14 15</inkml:trace>
  <inkml:trace contextRef="#ctx0" brushRef="#br0" timeOffset="33460.83">10993 3188 0,'14'-13'0,"-14"53"32,0-27-17,-14 0-15,14 0 0,0 1 16,0-1-16,0 0 0,0 0 15,0 1-15,0-1 0,0 13 0,-13-13 16,13 14-16,0-14 16,0 0-16,0 1 0,0-1 15,0 0 1,0 0-16</inkml:trace>
  <inkml:trace contextRef="#ctx0" brushRef="#br0" timeOffset="33686.75">10729 3347 0,'13'-13'0,"0"13"16,1 0-16,-1 0 15,0 0-15,0 0 0,14-13 0,-14 13 16,13 0-16,1 0 0,-14 0 0,14 0 15,-1 0-15,0 0 0,1 0 16,-1 0-16,-12 0 0,12 0 16,-13 0-16,27-14 0,-27 14 15,14 0-15,-14 0 0</inkml:trace>
  <inkml:trace contextRef="#ctx0" brushRef="#br0" timeOffset="34039.94">11681 3228 0,'-13'0'0,"0"13"0,0-13 16,-1 0-16,1 13 0,0 1 0,0-14 15,0 13-15,-14-13 0,14 13 16,0 0-16,-1-13 0,14 14 15,-13-14-15,0 13 0,13 0 16,-13 0 0,26 0-16,0 1 0,0-14 15,1 13-15,12-13 0,-13 0 16,14 13-16,-1-13 0,1 0 16,-14 0-16,13 0 0,1 0 0,-1 0 15,1 0-15,-1 0 0,14-13 16,-27 13-16,0 0 0,1-13 15,-1 13-15,0 0 0,-13-14 16,0 1-16</inkml:trace>
  <inkml:trace contextRef="#ctx0" brushRef="#br0" timeOffset="34262.07">11642 3228 0,'0'0'0,"0"13"0,-14 0 16,14 1-16,14-1 16,-14 0-16,0 0 0,0 14 15,0-14-15,13 13 0,-13-12 0,0 12 16,0 1-16,13 12 16,-13-12-16,0-14 0,0 0 15,0 14-15,0-14 0,-13 13 0,13-12 16,0-1-16,-13-13 0,13 13 15</inkml:trace>
  <inkml:trace contextRef="#ctx0" brushRef="#br0" timeOffset="35259.01">12462 3241 0,'13'0'31,"0"0"-31,1 0 0,-1 0 0,0 0 16,27 0-16,-27 0 15,0 0-15,0 0 0,14 0 0,-14 0 16,0 0-16,1 0 0,-1 0 16,0 0-16,0 0 0,0 0 15,1 0-15,-1 0 16,0 0-16,0-13 15,1 13-15</inkml:trace>
  <inkml:trace contextRef="#ctx0" brushRef="#br0" timeOffset="35629.15">13163 3162 0,'-53'39'32,"27"-39"-32,12 14 0,-12-1 0,13 0 15,-14 0-15,14 1 0,-13-14 16,12 13-16,1 0 0,0 0 0,0-13 16,13 14-16,-14-1 0,1-13 0,13 13 15,0 0 1,0 0-16,13-13 15,1 0-15,-1 0 0,0 0 16,14 0-16,-14 0 0,13 0 0,-12 0 16,12 0-16,0 0 0,27-13 15,-39 13-15,12 0 0,0 0 16,-12 0-16,12 0 0,-13-13 0,1 13 16,-1 0-16,0 0 15,0 0-15,-13-13 16,0 0-16</inkml:trace>
  <inkml:trace contextRef="#ctx0" brushRef="#br0" timeOffset="35891.06">13084 3149 0,'0'-14'0,"-14"54"31,14-27-31,0 0 16,0 14-16,0-14 0,0 14 16,0-1-16,0 1 0,-13-1 15,13 14-15,0-14 0,0 1 16,0 12-16,0-26 0,0 1 16,0-1-16,0 0 0,0 0 15,0 1-15,0-1 16</inkml:trace>
  <inkml:trace contextRef="#ctx0" brushRef="#br0" timeOffset="36434.87">13930 3268 0,'-13'0'15,"53"0"17,-27 0-32,0 0 15,0 0-15,1 0 0,12 0 16,-13 0-16,1 0 0,12 0 0,-13 0 15,1 0-15,-1 0 0,0 0 0,0 0 16,0 0-16,1 0 0,-1 0 16,0 0-16,0 0 0</inkml:trace>
  <inkml:trace contextRef="#ctx0" brushRef="#br0" timeOffset="36804.75">14605 3175 0,'0'0'15,"-26"13"17,26 0-32,-14-13 0,1 14 15,0-14-15,0 13 0,-1 0 0,1 0 16,0-13-16,0 14 0,13-1 0,-14-13 15,1 13-15,13 0 16,-13-13-16,13 14 0,0-1 16,13 0-16,-13 0 15,13-13-15,1 0 0,-1 0 16,13 13-16,-12-13 0,12 0 0,1 0 16,-1 0-16,-13 0 0,14 0 15,-1 0-15,1 0 0,-14 0 0,0 0 16,0 0-16,14-13 0,-14 13 15,0 0-15,0-13 0,1 13 16,-14-13-16,0 0 16,0-1-16,-14 14 15</inkml:trace>
  <inkml:trace contextRef="#ctx0" brushRef="#br0" timeOffset="37022.91">14671 3175 0,'-13'13'0,"26"-26"0,-26 39 0,0-26 16,13 14-16,0-1 0,0 0 16,0 0-16,0 14 0,-14-14 0,14 14 15,0-14-15,0 13 0,0-13 0,0 14 16,0-1-16,14-12 0,-14 12 16,0-13-16,0 0 0,0 1 0,0-1 15,0 0-15,0 0 0,0 1 16,0-1-1</inkml:trace>
  <inkml:trace contextRef="#ctx0" brushRef="#br0" timeOffset="37521.99">16364 3215 0,'-13'0'0,"40"-14"31,-14 14-31,0 0 0,14 0 16,-14 0-16,13 0 0,1 0 15,-14 0-15,13-13 0,-12 13 0,12 0 0,-13 0 16,1 0-16,-1 0 0,0 0 15,0 0-15</inkml:trace>
  <inkml:trace contextRef="#ctx0" brushRef="#br0" timeOffset="37738.71">16298 3334 0,'27'0'0,"-14"0"15,13-13-15,-12 13 0,-1 0 16,13 0-16,1 0 0,-1 0 16,27 0-16,-26 0 15,-1 0-15,1 0 0,-1 0 0,-13 0 0,14 0 16,-14 0-16,0 0 0,0 0 16,1 0-16,-1 13 0,0-13 15,0 0 1</inkml:trace>
  <inkml:trace contextRef="#ctx0" brushRef="#br0" timeOffset="46694.81">17621 2990 0,'0'-13'0,"-13"-1"16,0 1 15,0 26-15,13 1 0,-14-1-16,1 0 15,13 0-15,0 0 0,-13 1 16,13-1-16,0 0 0,0 0 0,0 1 15,0-1-15,0 13 16,0 1-16,0-14 0,13 0 16,-13 0-16,13 1 0,-13-1 0,14 0 15,-1-13-15,0 13 0,0 1 0,27-14 16,-27 13-16,0-13 16,1 0-16,-1 0 0,0 0 0,14 0 15,-14-13-15,0 13 0,0 0 0,0-14 16,1 14-16,-1-13 0,0 13 0,0-13 15,-13 0-15,14-1 0,-1 1 16,-13 0-16,13 0 0,-13 0 0,0-1 16,13 1-16,-13 0 0,0 0 15,-13-1-15,13 1 0,0 0 16,-13 0-16,0-1 16,-1 1-16,1 13 0,0-13 0,0 13 15,-1-13-15,1 13 0,0-13 0,-13 13 16,12 0-16,1 0 0,0-14 15,0 14-15,-14 0 0,14 0 16,0 14-16,-1-14 0,1 0 16,0 0-16,0 13 0,13 0 0,-13-13 15,13 13-15,-14 0 0,14 1 0,0-1 16</inkml:trace>
  <inkml:trace contextRef="#ctx0" brushRef="#br0" timeOffset="48489.15">17357 3572 0,'-14'0'16,"41"0"-1,-1 0-15,-12 0 16,12 0-16,14 13 0,-1-13 16,14 0-16,0 0 0,0 0 0,13 0 15,-13 0-15,27 13 0,-14-13 0,13 0 16,-13 14-16,-13-14 0,13 0 15,-13 0-15,0 13 0,-13-13 16,13 0-16,-14 0 0,-12 0 0,-1 13 0,-12-13 16,12 0-16,-13 0 15,1 0-15,-1 0 0,0 0 0,0 0 16,-52 0 0,-14-13-16,0 13 0,-27-13 15,-12-1-15,-41 1 0</inkml:trace>
  <inkml:trace contextRef="#ctx0" brushRef="#br0" timeOffset="49806.5">7091 3995 0,'-13'13'16,"13"1"-16,0-1 16,0 0-16,0 0 0,-14 1 15,14-1-15,0 0 0,0 0 16,0 1-16,0-1 16,0 0-1,14-39 16,-1 12-31,-13 1 0,13-13 0,0 12 16,1 1-16,-1 0 0,-13-14 16,13 27-16,0-13 0,0 0 15,1 0-15,-1 13 0,0 0 16,0 0-16,1 13 16,-1-13-16,-13 13 0,13 0 15,0 1-15,0-1 0,-13 0 16,14 0-16,-14 1 0,13-1 15,-13 0-15,13-13 0,-13 13 16,13 1-16,1-14 16,-1 0-16</inkml:trace>
  <inkml:trace contextRef="#ctx0" brushRef="#br0" timeOffset="49987.88">7474 4008 0,'0'-13'16,"0"0"-1,14 13-15,-1-13 0,0 13 16,0-13-16,1 13 0,-1 0 16,0 0-1,0 13-15</inkml:trace>
  <inkml:trace contextRef="#ctx0" brushRef="#br0" timeOffset="50160">7488 4114 0,'0'0'16,"13"-26"31,0 26-47,0 0 0,1-13 15,-1-1-15,27 1 0,-27 0 16,13 0-16,1-1 0</inkml:trace>
  <inkml:trace contextRef="#ctx0" brushRef="#br0" timeOffset="50455.96">7898 3889 0,'13'0'16,"-26"0"-16,26-13 0,-26 40 62,13-14-62,-13 0 0,-1 0 16,14 1-16,-13-14 0,13 13 0,-13-13 15,13 13-15,0 0 16,-13-13-16,13 13 0,0 1 16,13-1-16,0-13 15,-13 13-15,13-13 0,1 0 16,-1 0-16,0 13 0,0-13 0,1 0 15,-1 0-15,0 0 0,0 0 16,0-13-16,1 13 0,-1 0 0,0 0 16,-13-13-16,13 13 0,1 0 15,-14-13-15,13-1 0,-13 1 16,0 0-16</inkml:trace>
  <inkml:trace contextRef="#ctx0" brushRef="#br0" timeOffset="50652.88">8004 3850 0,'0'0'0,"-14"0"0,1 13 16,13 0-16,-13-13 0,13 13 16,0 1-16,-13-1 0,13 0 0,0 14 0,0-14 15,0 0-15,0 13 0,0-12 16,0 12-16,13 1 0,-13-14 16,0 13-16,13-12 0,-13-1 0,0 0 15,13 13-15,-13-12 0,0-1 0,14-13 16,-14 26-16,0-12 15</inkml:trace>
  <inkml:trace contextRef="#ctx0" brushRef="#br0" timeOffset="51411.52">18256 3863 0,'-26'13'32,"13"-13"-32,13 13 0,-14-13 0,1 14 15,-13-1-15,12 0 0,1 0 0,-13 1 16,13-1-16,-1 0 0,1 0 0,13 0 15,-13 1-15,0-14 0,-1 26 16,1-13-16,13 1 16,13-1-16,-13 0 15,14 0-15,-1-13 16,0 14-16,0-14 0,1 0 0,12 0 16,14 0-16,-27 0 0,13 0 15,1 0-15,-1 0 0,-13-14 0,14 14 16,-1-13-16,-12 0 15,12 13-15,-13-27 0,1 14 0,-1 0 16,-13 0-16,0-1 16</inkml:trace>
  <inkml:trace contextRef="#ctx0" brushRef="#br0" timeOffset="51611.93">18269 3850 0,'-13'0'0,"26"0"0,-39 13 15,13-13-15,0 13 0,13 0 16,-14 1-16,1 12 0,0 14 15,13-14-15,0-13 16,-13 14-16,13-1 0,0-12 16,0 39-16,0-40 0,13 13 15,-13 14-15,0-27 0,0 0 16,0 1-16,13-1 0,-13 0 16,0 0-16,13-13 0,14-13 15,-14 13-15,0-13 0</inkml:trace>
  <inkml:trace contextRef="#ctx0" brushRef="#br0" timeOffset="51914.28">19844 3347 0,'0'0'0,"26"0"15,1 0-15,-14 0 16,0 0-16,14 0 15,-14 0-15,0 0 0,27-13 16,-14 26-16,-13-13 16</inkml:trace>
  <inkml:trace contextRef="#ctx0" brushRef="#br0" timeOffset="52111.75">19844 3506 0,'26'0'32,"-13"0"-32,1 0 15,-1 0-15,0 0 0,0 0 0,14-14 16,26 14-16,-27-13 16,1 13-16,52-13 0,-26 0 15,79-14-15</inkml:trace>
  <inkml:trace contextRef="#ctx0" brushRef="#br0" timeOffset="52511.07">21127 3162 0,'-26'0'0,"12"13"0,1-13 16,13 13-16,-13-13 0,13 13 16,-13 1-16,13-1 0,0 0 15,0 14-15,0-14 0,13 0 16,-13 0-16,13 1 0,0-1 0,14 13 16,-1-13-16,1 1 0,-14-14 15,27 13-15,-14-13 16,-13 0-16,14 0 0,-14-13 0,13 13 15,-12-14-15,-1 14 0,0-13 16,-13 0-16,13-27 0,-13 27 16,0 0-16,-13-14 0,0 1 15,13 13-15,-13-1 0,-1 14 16,1-13-16,0 0 0,-27 13 16,27 0-16,0 0 0,0 0 0,-1 0 15,1 0-15,0 13 0,0 0 16,-1-13-16,14 14 0,0-1 15</inkml:trace>
  <inkml:trace contextRef="#ctx0" brushRef="#br0" timeOffset="52737.12">21616 3254 0,'14'0'0,"-41"27"47,14-1-47,-40 14 16,0 13-16,-39 39 15,39-39-15,13-13 16,13-13 0,27-14-1</inkml:trace>
  <inkml:trace contextRef="#ctx0" brushRef="#br0" timeOffset="52940.68">21855 3321 0,'-27'13'16,"-13"13"-1,14-13-15,0 14 0,-14-1 16,-40 40-16,-12 14 15,-1-14-15,40-26 16,-145 132 0,171-146-16,-12 14 15,-1 0 1</inkml:trace>
  <inkml:trace contextRef="#ctx0" brushRef="#br0" timeOffset="55756.12">8890 2818 0,'0'-13'0,"0"171"15,0-92-15,0 1 16,0 78-16,0-65 0,-13-1 16,13-13-16,0 13 0,0-12 15,0 12-15,0-26 0,0 0 0,0 0 16,13-14-16,-13 1 0,0 0 16,13-14-16,-13-13 0,0 1 0,0-1 15,13 0-15,-13-53 16,0 27-1</inkml:trace>
  <inkml:trace contextRef="#ctx0" brushRef="#br0" timeOffset="56669.96">8572 2752 0,'120'-14'31,"-68"14"-31,-12 0 16,26 0-16,0-13 0,14 13 15,-1 0-15,1 0 0,-1-13 16,0 13-16,14 0 0,0 0 0,-1 0 15,14 0-15,-13 0 0,12 0 16,28 0-16,12 0 0,-12 0 0,-1-13 16,0 13-16,14-13 0,-1-1 0,1 1 0,12 0 15,1 0-15,0-1 0,0 14 16,-1-13-16,14 0 0,-13 0 16,13 13-16,-13-14 0,0 1 0,-1 13 15,1-13-15,-13 13 0,-14 0 0,13-13 16,1 13-16,-14 0 0,-26-13 15,26 13-15,-26 0 0,0 0 0,0-14 16,-13 14-16,12 0 0,-12-13 0,0 13 16,-14 0-16,0 0 0,-13-13 0,-13 13 15,0 0-15,0 0 0,-13 0 16,-14-13-16,1 13 0,-1 0 0,-13 0 16,1 0-16,-1 0 0,0 0 0,0 0 15,1 0-15,-14-14 0,13 14 16,0 0-16,0 0 15,1 0-15,-14 14 16,0-1 0,0 0-16,0 14 0,-14 12 15,1 1-15,13 0 0,0 26 0,-13 0 16,13 0-16,-13 0 0,13 14 0,0-14 16,-14 13-16,14 0 0,0-12 0,0 12 15,0-13-15,14 0 0,-14 0 16,13-13-16,0 13 0,0-13 0,1-13 15,-14 0-15,13-1 0,0 1 16,0-13-16,-13-1 0,13 1 0,-13-14 16,0 0-16,14 0 0,-14 0 15,0 1-15,0-1 0,0 0 0,0 0 16,-27 1-16,14-14 16,0 13-16,0-13 0,-14 13 15,1-13-15,-27 13 0,13-13 0,-26 0 16,0 14-16,-27-14 0,1 13 15,-14-13-15,-27 13 0,-12 0 0,-14 0 0,0-13 16,-13 14-16,0-1 16,-13 0-16,0-13 0,-13 13 0,-1-13 15,1 14-15,-1-14 0,1 0 0,-14 13 16,14-13-16,-14 0 0,14 13 16,-14-13-16,13 13 0,1-13 0,0 13 15,-1 1-15,14-14 0,13 13 0,-13 0 16,26-13-16,-13 13 0,27 1 0,12-14 15,1 13-15,0-13 0,26 13 16,13-13-16,1 13 0,12-13 0,1 14 16,26-14-16,0 0 0</inkml:trace>
  <inkml:trace contextRef="#ctx0" brushRef="#br0" timeOffset="57605.12">22463 3149 0,'-26'0'16,"12"13"-16,1-13 16,0 13-16,0 0 0,-27 14 0,14-1 15,-1-13-15,-26 27 0,14-13 0,-54 39 16,53-40-16,-13 14 16,0-14-16,27-13 0,-14 14 0,-13-1 15</inkml:trace>
  <inkml:trace contextRef="#ctx0" brushRef="#br0" timeOffset="57800.92">22476 3268 0,'-53'26'16,"27"1"-16,-14-14 0,-52 40 15,39-14-15,-13-12 0,-80 65 16,80-65-16,-13 26 0,12-14 16,15-12-16,-1 13 0,13-14 15</inkml:trace>
  <inkml:trace contextRef="#ctx0" brushRef="#br0" timeOffset="63151.66">10200 7025 0,'0'-14'31,"0"41"-31,0-14 16,13 14-16,-13-14 0,0 0 15,0 14-15,0-14 0,13 13 0,-13-13 16,0 14-16,0-14 0,0 14 0,0-14 16,13 0-16,-13 13 0,0-12 15,0-1-15,0 0 0,0 0 16,0 1-16,0-1 31</inkml:trace>
  <inkml:trace contextRef="#ctx0" brushRef="#br0" timeOffset="63349.89">10134 7289 0,'0'-13'31,"13"13"-31,0-13 16,0 13-16,0 0 0,1-13 15,-1 13-15,13 0 0,-12-14 0,-1 14 16,13-13-16,1 0 0,-1 13 16,-13-13-16,1 13 15,12-14-15</inkml:trace>
  <inkml:trace contextRef="#ctx0" brushRef="#br0" timeOffset="63652.04">10729 7051 0,'-27'27'16,"14"-27"-1,0 13-15,0 0 0,-1 0 16,1-13-16,0 14 0,0-1 0,0 0 15,-1 0-15,1-13 16,13 13-16,-13 1 0,13-1 16,13 0-16,0-13 15,1 13-15,-1-13 16,0 0-16,13 0 0,-12 0 0,-1 0 16,0 0-16,0 0 15,1 0-15,-1 0 0,0 0 0,0 0 16,-13-13-16,14 13 0,-1 0 0,0-13 15</inkml:trace>
  <inkml:trace contextRef="#ctx0" brushRef="#br0" timeOffset="63870.71">10729 7091 0,'-13'13'16,"13"0"-1,-14-13-15,14 14 0,0-1 16,0 0-16,0 0 0,0 0 0,0 1 16,0 12-16,0-13 0,0 14 15,0-14-15,0 13 0,0-12 0,0-1 16,0 0-16,0 0 0,0 1 0,0-1 16,0 0-1</inkml:trace>
  <inkml:trace contextRef="#ctx0" brushRef="#br0" timeOffset="64254.66">9988 7011 0,'-13'27'16,"0"-14"-16,13 14 0,0-14 16,0 13-16,-14-12 0,14 25 15,0 1-15,-13-14 0,13 14 0,0 0 16,0-14-16,-13-13 0,13 14 0,0-1 16,0 1-16,0-14 0,13 0 15,-13 0-15,13 1 0,-13-1 0,14 0 16,-1-13-16</inkml:trace>
  <inkml:trace contextRef="#ctx0" brushRef="#br0" timeOffset="64589.94">10927 6906 0,'0'0'0,"0"13"0,0 0 15,0 14-15,0-1 16,0 0-16,0 1 0,0-1 0,0 1 15,0-1-15,0 1 0,0 12 0,0-12 16,0-1-16,0 1 0,0-1 0,0-13 16,0 14-16,0-14 0,0 0 15,0 1-15,0-1 0,14-13 0,-14 13 0,13-13 16,0 13 0</inkml:trace>
  <inkml:trace contextRef="#ctx0" brushRef="#br0" timeOffset="65099.21">11589 6998 0,'0'-13'0,"0"39"31,0-12-31,0-1 0,0 0 16,0 0-16,0 14 0,0-14 0,0 14 15,0-14-15,0 0 0,0 13 16,0-12-16,0-1 0,0 0 16,0 0-16,0 1 0,0-1 0</inkml:trace>
  <inkml:trace contextRef="#ctx0" brushRef="#br0" timeOffset="65350">11390 7197 0,'14'-14'15,"-1"14"-15,0 0 16,0 0-16,0 0 0,14-13 0,-14 13 16,14 0-16,-1 0 0,1-13 0,-1 13 15,0 0-15,-12 0 0,12-13 16,1 13-16,12 0 0,-25 0 16,12 0-16,-13 0 0,0 0 15</inkml:trace>
  <inkml:trace contextRef="#ctx0" brushRef="#br0" timeOffset="65977">12581 6866 0,'0'26'31,"0"-12"-31,13-1 16,-13 0-16,0 14 0,0-14 0,0 13 16,0-13-16,0 14 0,0-14 15,0 0-15,13 1 0,-13 12 0,0-13 16,0 1-16,0-1 0,0 0 16,0 0-1</inkml:trace>
  <inkml:trace contextRef="#ctx0" brushRef="#br0" timeOffset="66176.75">12435 7078 0,'14'-14'15,"-1"14"-15,0 0 16,-13-13-16,27 13 0,-14 0 15,13 0-15,-13-13 0,14 13 16,-1 0-16,-12-13 0,12 13 0,1-14 0,-1 14 16,0-13-16,1 13 15</inkml:trace>
  <inkml:trace contextRef="#ctx0" brushRef="#br0" timeOffset="66473.92">13189 6853 0,'-26'13'0,"26"0"0,-13-13 0,0 13 16,-1 1-16,-12-1 0,13-13 15,-1 13-15,1 0 0,0 1 0,0-1 16,-14 0-16,14 0 16,0 0-16,0 1 15,26-1 1,0 0-1,0-13-15,1 0 16,12 0-16,-13 0 0,0 0 0,14 0 16,-14 0-16,14 0 0,-14-13 0,0 13 15,0 0-15,0 0 0,1-13 16,-1 13-16,0 0 0,0-14 0,-13 1 16</inkml:trace>
  <inkml:trace contextRef="#ctx0" brushRef="#br0" timeOffset="66670.37">13137 6906 0,'-14'26'0,"14"-13"16,0 1-16,14 78 31,-14-65-31,0-14 0,13 0 0,-13 14 16,0-14-16,0 13 0,0-13 0,0 1 15,0-1-15,0 0 16,0 0-16,-13 1 0,-1-1 16</inkml:trace>
  <inkml:trace contextRef="#ctx0" brushRef="#br0" timeOffset="67032.48">12224 6826 0,'-13'27'0,"13"12"15,0 67 17,0-66-32,0-14 0,0 14 0,0 0 0,0-14 15,0 1-15,13 12 0,-13-12 16,13-1-16,-13-13 0,0 14 0,13-14 15,0 0-15,1-13 0,-1 14 16,0-14-16,0 0 0,1 0 0</inkml:trace>
  <inkml:trace contextRef="#ctx0" brushRef="#br0" timeOffset="67439.61">13481 6707 0,'0'13'15,"0"-26"-15,0 40 0,13-14 0,-13 0 0,0 14 16,13-1-16,-13 0 0,13-12 16,0 52-16,-13-40 15,0 1-15,14-1 0,-14 1 0,0-14 0,0 13 16,0-12-16,0 12 0,0-13 15,-14 14-15,14-14 0,0 0 16,-13 0-16,0 1 0,0 12 16,0-13-1</inkml:trace>
  <inkml:trace contextRef="#ctx0" brushRef="#br0" timeOffset="68192.11">13996 6760 0,'0'0'0,"0"40"31,0-27-31,0 0 0,0 0 16,0 1-16,0 12 0,0-13 0,14 14 15,-14-14-15,0 0 0,0 14 0,0-14 16,13 0-16,-13 14 16,0-14-16,0 0 0,0 0 0,0 1 15</inkml:trace>
  <inkml:trace contextRef="#ctx0" brushRef="#br0" timeOffset="68382.7">13798 6945 0,'93'0'16,"-67"0"-16,1 0 16,-1 0-16,-13 0 0,14-13 15,12 13-15,-12 0 0,-1 0 0,1 0 16,-1 0-16,-13-13 0,14 13 0,-14 0 15</inkml:trace>
  <inkml:trace contextRef="#ctx0" brushRef="#br0" timeOffset="68822.86">14499 6588 0,'13'27'16,"-13"-14"-16,0 13 16,0-12-16,-13 12 0,13-13 0,0 14 15,0-1-15,0 1 0,0-1 16,0 0-16,0 1 0,0-14 15,0 14-15,0-14 0,0 0 0,0 0 16,0 1-16,0-1 0,13-13 0,-13 13 16,14-13-16,12 0 15,-26-13-15,13 13 16,1 0-16</inkml:trace>
  <inkml:trace contextRef="#ctx0" brushRef="#br0" timeOffset="69051.9">14751 6800 0,'13'0'31,"0"0"-31,0-13 16,0 13-16,1 0 15,-1-14-15,0 14 0,0 0 16,1 0-16,-1 0 0,0 0 0,0 0 16,-13-13-16,13 13 0</inkml:trace>
  <inkml:trace contextRef="#ctx0" brushRef="#br0" timeOffset="69379.73">15266 6668 0,'0'13'16,"-26"0"-1,26 0-15,-13 0 0,-14 1 16,14-1-16,0 0 16,0 0-16,-1-13 0,1 14 0,0-1 15,0-13-15,13 13 0,-14 0 16,28 0-1,-1-13 1,0 14-16,0-14 0,1 0 16,-1 0-16,13 0 0,1 0 15,-14 0-15,13 0 0,-12 0 16,12 0-16,-13 0 0,1 0 0,12 0 0,-13 0 16,1 0-16,-1-14 0,0 14 15,0 0-15,-13-13 0,13 13 16,-13-13-16</inkml:trace>
  <inkml:trace contextRef="#ctx0" brushRef="#br0" timeOffset="69596.97">15280 6707 0,'-14'13'0,"28"-26"0,-28 40 0,1-27 0,13 13 15,0 0-15,-13 0 0,13 1 16,0 12-16,0-13 0,0 14 15,0-14-15,0 13 0,-13 1 0,13 13 16,0-27-16,0 0 0,0 13 16,0-12-16,0-1 0,0 0 15,13 0-15,-13 1 16,13-14 0,14-14-16</inkml:trace>
  <inkml:trace contextRef="#ctx0" brushRef="#br0" timeOffset="69890.6">15610 6509 0,'14'13'0,"-14"0"0,0 0 0,0 27 16,13-13-16,-13-1 15,0 1-15,0-1 0,0 0 16,13 27-16,-13-26 0,0-1 0,0 1 16,0-1-16,0-13 0,0 14 15,0-14-15,0 0 0,0 1 0,0-1 16,0 0-16,13-13 15,-13 13-15</inkml:trace>
  <inkml:trace contextRef="#ctx0" brushRef="#br0" timeOffset="71305.9">16047 6628 0,'0'-13'0,"13"39"31,-13-13-15,0 1-16,0-1 15,0 0-15,13 0 0,-13 14 0,0-14 16,0 0-16,0 0 0,0 1 0,0-1 15,0 0-15,0 0 0,0 0 16,0 1-16,0-1 16</inkml:trace>
  <inkml:trace contextRef="#ctx0" brushRef="#br0" timeOffset="71502.87">15915 6773 0,'0'0'0,"26"-13"32,-13 13-32,1 0 15,12 0-15,-13 0 0,1 0 0,12-13 16,0 13-16,-12 0 0,12 0 0,-13 0 16,14 0-16,-14 0 0,0 0 15,14 0-15,-14 0 0,0-13 0,0 13 16,1 0-16,-1 0 0</inkml:trace>
  <inkml:trace contextRef="#ctx0" brushRef="#br0" timeOffset="72058.69">16510 6416 0,'0'0'0,"13"27"15,-13-14 1,0 0-16,0 14 0,13-14 16,-13 13-16,0 1 0,0-1 0,0 1 15,0-14-15,0 13 0,0 14 16,0-14-16,0 1 0,0-14 0,0 0 15,0 1-15,14-1 0,-14 0 16,0 0-16,0 0 0,13 1 16</inkml:trace>
  <inkml:trace contextRef="#ctx0" brushRef="#br0" timeOffset="72280">16682 6654 0,'13'0'16,"0"0"-16,-13-13 0,14 13 15,-1 0-15,0 0 0,0-13 16,1 13-16,-1 0 0,0 0 0,0-13 15,1 13-15,-1 0 0,13 0 0,-13-14 16,1 14-16,12-13 0</inkml:trace>
  <inkml:trace contextRef="#ctx0" brushRef="#br0" timeOffset="72603.88">17251 6522 0,'-40'0'16,"40"13"-16,-13-13 0,0 13 16,-14-13-16,14 14 0,0-1 0,0 0 15,-14 0-15,14-13 0,0 14 16,-1-1-16,1 0 0,0 0 16,0-13-16,13 14 0,-14-1 15,28 0 1,-1-13-16,0 0 15,0 13-15,14-13 0,-14 0 16,14 0-16,-1 0 0,0 0 0,-12 0 0,12 0 16,1 0-16,-1 0 15,-13-13-15,14 13 0,-14 0 0,0 0 16,0-13-16,1 13 0,-1 0 0,0-13 16,0 13-16,-13-14 0</inkml:trace>
  <inkml:trace contextRef="#ctx0" brushRef="#br0" timeOffset="72819.32">17304 6522 0,'0'13'0,"0"-26"16,-13 39-16,13-12 0,-14-14 16,14 13-16,0 0 0,0 14 15,0-14-15,0 13 0,0 14 16,0-27-16,0 14 15,0-14-15,0 13 0,14-12 0,-14-1 16,0 0-16,0 0 0,13 0 0,-13 1 16,0-1-16,13 0 0,0-13 31</inkml:trace>
  <inkml:trace contextRef="#ctx0" brushRef="#br0" timeOffset="73169.66">17555 6310 0,'0'40'0,"0"-27"0,0 0 0,0 27 16,0-13-16,0-1 0,0 1 16,0-1-16,0 0 0,0 1 0,0-1 15,0 1-15,0-1 0,0 1 16,0-1-16,0 1 0,0-14 0,13 0 15,-13 0-15,0 1 0,0-1 0,0 0 16,14-13-16,-14 13 16,13-13-16</inkml:trace>
  <inkml:trace contextRef="#ctx0" brushRef="#br0" timeOffset="74743.73">18468 6615 0,'26'0'31,"-12"13"-31,-1-13 16,0 0-16,0 0 0,1 0 16,12 0-16,-13 0 0,0 0 15,1 0-15,-1 0 0,0 0 0,0 0 16</inkml:trace>
  <inkml:trace contextRef="#ctx0" brushRef="#br0" timeOffset="74951.87">18481 6760 0,'13'13'15,"14"-26"1,-14 13-16,0 0 15,1 0-15,-1 0 0,0 0 0,0-13 16,0 13-16,1 0 16,-1 0-16,0 0 0,0 0 15,-13-13-15,14 13 0,-1 0 0,0 0 16</inkml:trace>
  <inkml:trace contextRef="#ctx0" brushRef="#br0" timeOffset="76214.83">19460 6376 0,'0'27'32,"-13"-14"-17,13 0-15,0 14 0,0-14 0,-13 14 16,13 25-16,-14-38 0,14 12 15,-13 1-15,13-14 0,0 13 0,-13-12 16,13-1-16,0 13 0,-13-13 16,13 1-16,0-1 0,-13 0 0,13 0 15,0 1 1</inkml:trace>
  <inkml:trace contextRef="#ctx0" brushRef="#br0" timeOffset="76651.58">19844 6324 0,'0'0'16,"-27"13"-16,-52 93 31,52-80-31,14 1 0,0-1 0,0 0 16,13 1-16,-13 13 0,13-14 15,0-13-15,0 1 0,0 12 16,13-13-16,-13 0 0,13 1 15,0-1-15,0 0 0,1-13 0,-1 13 0,0-13 16,0 14-16,1-14 16,-1-14-16,0 14 15,0-13-15,-13 0 16,0 0-16,-13-1 0,13 1 16,-13 0-16,0 13 15,13-13-15,-14 13 0,1 0 0,0-13 16,-14 26-16,14-13 15,0 0-15,13 13 0,-13 0 0,-14-13 16</inkml:trace>
  <inkml:trace contextRef="#ctx0" brushRef="#br0" timeOffset="77101.66">19103 7078 0,'40'0'0,"-27"0"16,278 0-1,-225 0 1,13 0-16,1 0 0,-27-14 0,13 14 15,0 0-15,-13 0 0,13 0 16,-13 0-16,0 0 0,0-13 0,-14 13 16,1 0-16,-13 0 0,-1 0 15,-13 0-15,14-13 0,-14 13 0,0 0 16,0-13-16,-13-1 31</inkml:trace>
  <inkml:trace contextRef="#ctx0" brushRef="#br0" timeOffset="78016.83">19791 7395 0,'-27'0'15,"14"0"-15,0 0 16,-14 0-16,14 13 0,-13-13 16,-1 14-16,1-14 0,-1 13 0,14 0 15,-13 0-15,12-13 0,-12 13 0,13 1 16,0-14-16,-1 13 0,1 0 15,0 0-15,13 1 0,0-1 16,13 0-16,0 0 16,1-13-16,12 14 15,-13-14-15,14 0 0,-1 13 0,1-13 16,-14 0-16,13 0 0,1 0 16,-1 0-16,1 0 0,-1 0 0,-13 0 15,14 0-15,-14-13 0,0 13 0,1 0 16,-1-14-16,0 14 0,-13-13 15,13 0-15</inkml:trace>
  <inkml:trace contextRef="#ctx0" brushRef="#br0" timeOffset="78227.64">19751 7382 0,'-13'0'16,"26"0"-16,-39 13 0,26 0 0,-14 1 15,14-1-15,-13 13 16,13-13-16,-13 14 0,13-1 0,-13 14 15,0-13-15,13 12 0,-14 1 0,1-14 16,13 1-16,-13-1 0,13 1 16,-13-1-16,13-13 0,0 14 0,0-14 15,-14 0-15,14 1 0,14-1 16,-1-26-16,0 13 16,14-14-16,25-39 15</inkml:trace>
  <inkml:trace contextRef="#ctx0" brushRef="#br0" timeOffset="78579.88">21167 6906 0,'26'0'16,"80"-14"0,-80 28-1,-12-14-15,12 0 0,-13 0 16,1 13-16</inkml:trace>
  <inkml:trace contextRef="#ctx0" brushRef="#br0" timeOffset="78766.75">21180 7064 0,'26'0'31,"-12"0"-15,12 0-16,-13 0 0,14-13 15,-1 13-15,-13 0 0,27 0 16,-27-13-16,27 13 0,-14 0 0,14-13 0,-13 13 15,-1-14-15,1 14 16</inkml:trace>
  <inkml:trace contextRef="#ctx0" brushRef="#br0" timeOffset="79088.1">22199 6826 0,'-27'0'15,"14"13"1,0-13-16,-1 14 0,1-14 16,-13 13-16,12 0 0,-12-13 0,13 13 15,-14 1-15,14-14 0,0 13 16,0-13-16,-1 13 0,14 0 0,-13 1 16,13-1-1,13-13-15,1 13 0,-1 0 16,0-13-16,14 0 0,-14 13 15,13-13-15,1 14 0,-1-14 16,1 0-16,-14 0 0,13 0 0,1 0 16,-14 0-16,0 0 0,0 0 15,1-14-15,12 14 0,-13-13 16,-13 0-16,0 0 0,14 0 0,-14-1 16</inkml:trace>
  <inkml:trace contextRef="#ctx0" brushRef="#br0" timeOffset="79306.1">22079 6866 0,'-26'40'15,"52"-80"-15,-52 93 0,13-27 0,13-12 16,-13 12-16,-1 0 0,14 14 0,-13 0 16,0-14-16,13 1 0,0-1 15,-13 1-15,13 26 0,0-40 16,0 0-16,-14 13 0,14-12 15,0-1-15,14 0 0,-1 0 16,13-26 0,-12 0-1</inkml:trace>
  <inkml:trace contextRef="#ctx0" brushRef="#br0" timeOffset="80275.13">23389 6853 0,'-79'-14'32,"52"14"-32,-12 14 0,-1-14 15,0 0-15,1 13 0,-1-13 0,13 13 16,-12-13-16,12 0 0,1 13 16,-1-13-16,14 0 0,-13 14 15,12-14-15,1 0 0,0 0 0,0 0 16,0 0-16,-1 0 15,1 0-15</inkml:trace>
  <inkml:trace contextRef="#ctx0" brushRef="#br0" timeOffset="80548.62">22900 6681 0,'-40'0'15,"80"0"-15,-93 13 0,40-13 0,-1 13 16,-12 0-16,13 1 0,-1-1 16,-12 0-16,26 14 0,-13-14 0,-1 0 15,14 0-15,0 14 0,0-14 0,14 13 16,-14-12-16,13 12 0,0-13 0,14 14 16,-1-14-16,1 13 0,-1-12 15,14-1-15,-14 0 0,1 0 0,-1-13 16,14 14-16,-27-14 15,0 0-15,0 0 0,1 0 16,-54 13 0,0-13-16,-13 0 0</inkml:trace>
  <inkml:trace contextRef="#ctx0" brushRef="#br0" timeOffset="81480.25">20466 5477 0,'-53'-53'16,"106"106"-16,-146-132 0,53 52 0,-13 1 0,14 12 16,-14 1-16,0 13 0,0 0 15,-13 0-15,0 0 0,-1 13 16,1 14-16,0-1 0,0 1 0,13-1 16,-26 27-16,-1 0 0,-65 79 15,65-52-15,14-1 0,-13 0 0,13 14 16,0 0-16,13-1 0,-66 107 15,79-93-15,-13-14 0,-13 120 16,39-120-16,1 14 0,13 93 16,13-120-16,13 27 15,13 0-15,1 0 0,26-1 0,-14-12 16,28 0-16,-1-14 0,0 0 16,27 1-16,-14-14 0,14 0 0,-1-13 15,14-13-15,-13-1 0,-1-25 16,-12-1-16,105-13 0,-93-13 15,14-1-15,13-25 0,-13-1 0,0 0 16,0-13-16,0 0 0,-14-26 0,14 13 16,79-93-16,-105 67 15,-1-1-15,0 0 0,-13-13 16,40-105-16,-66 105 0,-14 0 16,-12 0-16,-1 0 0,-13 14 0,-13-14 15,-1 0-15,1 0 0,-26 14 16,-1 12-16,0 1 0,-13 0 0,-53-67 15,40 93-15,13-13 0,-79-27 16,66 41-16,-93-41 16,93 66-16,0-12 0,0 12 15,0 14-15,-1-13 0,1 12 0,0 1 16,-40 13-16,53 0 0,14 0 16,-1 13-16,14-13 0,12 14 15,1-14-15</inkml:trace>
  <inkml:trace contextRef="#ctx0" brushRef="#br0" timeOffset="81778.81">22318 5384 0,'0'-13'16,"-106"79"-1,66-39-15,0-1 0,-39 53 16,26-39-16,0-13 16,14 12-16,-1 1 0,0-14 15,0 1-15,14-1 0,0 1 0,-1-14 16,1 14-16,-27 12 0,39-39 15,1 13-15,0 1 0,0-14 16</inkml:trace>
  <inkml:trace contextRef="#ctx0" brushRef="#br0" timeOffset="82090.72">21696 5543 0,'-27'0'0,"1"13"16,-133 106 15,133-79-31,-1-14 0,1 1 0,13-1 16,-1 27-16,1-39 15,13-1-15,13 13 0,-13-13 0,14 1 16,-1 12-16,0-13 0,13 1 0,-12-1 15,12 0-15,1-13 0,-1 0 16,14 13-16,-14-13 0,14 0 16,-14 0-16,14 0 0,-13 0 0,12 0 0,-12-13 15,-1 13-15,1 0 0,-14 0 0,13 0 16,-12 0-16,-1 0 16,0 0-16</inkml:trace>
  <inkml:trace contextRef="#ctx0" brushRef="#br0" timeOffset="83870.93">23058 4736 0,'0'0'0,"-26"26"31,26-12-31,0-1 0,-13 0 16,13 0-16,-13 27 0,13-13 16,0-14-16,-14 13 0,14-13 15,0 1-15,-13 12 0,13-13 0,0 1 16,0-1-16,0 0 0,0 0 0,0 1 16,0-1-16,-13-13 0,13 13 15,0 0 1</inkml:trace>
  <inkml:trace contextRef="#ctx0" brushRef="#br0" timeOffset="84659.45">23257 4776 0,'0'0'0,"0"39"31,0-25-31,0-1 0,0 0 16,-13 0-16,13 14 0,0-14 15,0 13-15,0-12 0,-14 12 16,14-13-16,0 1 0,0-1 0,0 13 15,0-12-15,0-1 0,0 0 16,0-39 15,0-1-15,14 14-16,-14-14 0,0 14 16,13-13-16,-13-1 0,13 1 0,-13 13 15,13-1-15,-13 1 0,14 0 0,-1 0 16,0-1-16,0 14 0,0 0 15,1 0-15,-1 14 16,0-1-16,0 0 0,-13 0 16,14 14-16,-14-14 15,0 0-15,0 0 0,0 1 16,0-1-16,-14 0 0,1 0 0,13 1 16,-13-1-16,0 0 0,-14 0 15,14 1-15,0-1 0,0-13 16,-1 0-16,1 0 15,0 0-15</inkml:trace>
  <inkml:trace contextRef="#ctx0" brushRef="#br0" timeOffset="85287.02">23588 5001 0,'0'-14'0,"0"28"0,13-41 0,-13 14 0,0 0 16,0-1-16,0 1 15,0 0-15,-13 13 16,-1 0 0,1 13-1,0 0-15,13 1 16,-13-14-16,13 13 15,0 0-15,0 0 0,13 1 16,-13-1-16,13-13 16,0 13-16,1-13 15,65-26 17,-66-1-17,0 14-15,-13 0 0,27-14 31,-27 14-31,13 13 16,27 66 47,-27-66-63,-13 13 0,0 1 15,13-14-15,-13 13 0,13-13 16,-13 13-1,14-13-15,-1 0 0,-13-13 16,13 13 0,0-13-16,1 13 15,-1-14-15,0 1 0,0 0 16,1 0 15,-1-1-31,0 14 31,-39 14 1</inkml:trace>
  <inkml:trace contextRef="#ctx0" brushRef="#br0" timeOffset="85776.8">24104 4670 0,'13'13'16,"-13"0"0,0 1-16,0 12 0,0-13 15,-13 14-15,13-14 0,0 13 16,0 1-16,0-14 0,-14 14 0,14-14 16,14 13-16,-14-13 0,0 1 0,0 12 15,0-13-15,0 1 0,0-1 16,0 13-16,0-12 0,0-1 15,0 0-15,0 0 0</inkml:trace>
  <inkml:trace contextRef="#ctx0" brushRef="#br0" timeOffset="86068.92">22860 5384 0,'0'0'0,"53"-13"31,-13 0-31,-1 13 0,14-13 16,0 13-16,13-14 0,0 14 0,14-13 15,-14 0-15,13 0 16,-13-1-16,1 14 0,-1-13 0,0 0 15,26-13-15,-52 26 0,13-14 16,-13 1-16,-27 0 16,0 13-16,0 0 0</inkml:trace>
  <inkml:trace contextRef="#ctx0" brushRef="#br0" timeOffset="86836.32">23270 5543 0,'0'13'62,"0"0"-46,0 1-16,0-1 15,0 0 1,0 0-16,-13-13 16,13 14-1,0-41 32,13 14-31,-13 0-16,0-1 0,13 14 0,-13-26 15,14 26-15,-14-13 16,13 13-16,0 0 16,0 0-1,0 0-15,-13 13 0,14 0 16,-1 0-1,-13 1 1,13-14-16,-13 13 16,13 0-1,1 0 1,-1-13 0</inkml:trace>
  <inkml:trace contextRef="#ctx0" brushRef="#br0" timeOffset="87450.75">23588 5490 0,'0'27'46,"0"-1"-46,13-13 16,-13 0-16,13-13 16,-13 14-16,13-14 0,1 13 15,-1-13 1,0 0-16,0-13 16,-13-1-16,0 1 15,0 0 1,-13 0-16,13 0 15,-13 13-15,13-14 0,-13 14 16,-1 0 0,1 14-1,13-1 1</inkml:trace>
  <inkml:trace contextRef="#ctx0" brushRef="#br0" timeOffset="95285.88">12872 5662 0,'13'13'0,"14"14"16,-1-27-1,-13 13-15,1 0 0,-1-13 16,13 13-16,-12-13 0,-1 14 0,13-14 16,-13 13-16,14-13 0,-14 0 0,0 13 15,1-13-15,-1 0 16,0 0-16,0 0 0,0 0 0,1 0 15,-1 0-15,0 0 0,0 0 16,-13-13-16,14 13 0</inkml:trace>
  <inkml:trace contextRef="#ctx0" brushRef="#br0" timeOffset="95534.57">13176 5583 0,'40'26'16,"-27"-13"-1,0 1-15,1-1 0,-1 0 0,-13 0 16,13 1-16,-13-1 0,13 0 16,-13 0-16,0 0 0,0 14 0,-13-14 15,13 0-15,-13 14 0,0-14 0,-14 14 16,14-14-16,0 13 0,-14-13 15,14 1-15,0-1 0,0-13 0,13 13 16,-14-13-16</inkml:trace>
  <inkml:trace contextRef="#ctx0" brushRef="#br0" timeOffset="96600.16">13864 5543 0,'-13'26'31,"13"-12"-16,0-1-15,-13 0 0,13 0 16,0 14-16,-14-14 0,14 0 0,0 1 0,0-1 16,0 0-16,-13 0 15,13 0-15,0 1 0,0-1 16,0 0-16,0 0 0,0 1 31,13-41-15,-13 14-16,14 0 15,-1-40-15,-13 40 0,13-14 16,-13 1-16,13-1 0,1 14 16,-1-27-16,-13 27 0,13 0 15,0-14-15,-13 14 16,14 13-16,-1-13 16,0 26-16,0-13 15,-13 13-15,13 1 0,1-1 16,-1 0-16,-13 0 15,13 0-15,0 1 0,-13-1 0,14 0 16,-14 0-16,13 1 0,-13-1 0,13 0 16,-13 0-16,13 1 15,-13-1 1,14-26 31,-14-1-47,0 1 15,13 13-15,-13-13 0,13 0 16,-13-1-16,13 14 0,0-13 16,1 0-1,-1 13 1,0 13 0,0-13-16,-13 13 15,14-13-15,-14 14 0,13-1 0,-13 0 16,13 0-16,-13 1 15,13-1-15,-13 0 0,0 0 16,0 0-16,14-13 0,-14 14 16,0-1-1,13 0 1,0-13-16</inkml:trace>
  <inkml:trace contextRef="#ctx0" brushRef="#br0" timeOffset="97274.8">14473 5741 0,'0'-13'16,"0"-26"-1,0 25-15,0 1 16,0 0-16,0 0 0,-14-1 16,14 1-1,-13 26 1,0-13-16,0 14 0,13-1 16,-13 0-16,-1 0 0,14 1 15,0-1-15,0 0 16,0 0-16,14-13 0,-14 13 15,13 1-15,0-14 0,0 0 16,0 0-16,1 0 0,-1-14 16,13 14-16,-12-13 0,-1 13 0,13-13 15,-12 0-15,12 0 0,-13-1 16,0 1-16,1 0 16,-14 0-1,-27 13 1,27 13-1,-13 0 1,0-13-16,13 13 0,-13 1 16,13-1-16,13-13 31,0-13-15,0 13-16,0 0 15,1-14-15,-1 14 16,0 0-16,0 0 15,1 0-15,-1 14 16,0-14 0,0 13-1,1-13 1,-1 0-16,0 0 0,0 0 16,0 0-1,1 0-15,-14-13 0,26 13 16,-13-14-1,1 14-15,-1-13 16</inkml:trace>
  <inkml:trace contextRef="#ctx0" brushRef="#br0" timeOffset="97794.99">15187 5503 0,'0'40'31,"0"-27"-15,13 0-16,-13 1 0,0 12 0,0 1 16,0-14-16,0 0 15,0 0-15,0 14 16,0-14-16,14 0 0,-14 0 16,0-52 15,13 26-31,-13-14 0,0 1 15,13-41-15,0 41 0,-13 0 0,13-1 16,-13 1-16,14 12 0,-1 1 16,-13 0-16,13 13 0,-13-13 15,13 13-15,1 0 0,-1 0 0,0 0 16,0 13-16,14 0 0,-14 0 16,0 1-16,0 12 15,1-13-15,12 14 0,-26-14 16,13 0-16,-13 0 0,14 1 15,-14-1-15,0 0 0,13 0 0,-13 1 16,0-1-16,0 0 0,-13 0 16</inkml:trace>
  <inkml:trace contextRef="#ctx0" brushRef="#br0" timeOffset="98320.85">15240 5675 0,'26'-26'31,"1"13"-15,-14-1-16,0 14 15,14-13-15,-1 0 0,-12 0 0,25-1 16,-26 1-16,40-26 0,-39 12 16,-1 14-16,0 0 0,0-1 15,1 1-15,-1-13 0,0 13 16,0-1-16,-13 1 15,13 13-15,-13 27 16,-13-14 0,13 0-16,0 0 0,0 0 15,-13 14-15,13-1 0,0 1 0,-13 12 16,0-12-16,13-14 16,0 0-16,-14 1 0,14-1 0,0 0 15,0 0-15,14-39 31,-14 13-15,13-1-16,-13 1 0,13 0 0,0 13 16,14-27-16,-14 27 15,0-13-15,0 13 0,1 0 16,-1 0-16,0 13 0,0-13 16,0 14-16,-13-1 15,14-13-15,-14 13 0,-14 14 16,1-14-16,0 0 15,0 0-15,0 1 16,-1-14-16,14 13 0,-13-13 0</inkml:trace>
  <inkml:trace contextRef="#ctx0" brushRef="#br0" timeOffset="99867">16021 5530 0,'-27'0'15,"54"0"-15,-67 0 0,27 0 0,-1 0 16,1 0-16,13 13 16,-13 0-1,26 0-15,-13 1 16,0-1-16,0 0 0,13 0 15,-13 1-15,0-1 16,-13 0-16,0 0 0,0 1 16,-1-14-16,1 13 0,0-13 15,0 0-15,0 0 16,-1 0-16,1 0 0,13-13 0,-13 13 16,0 0-16,13-14 15,13 1 1,0 13-16,0-13 15,1 13-15,-1 0 0,0-13 16,0 13-16,0 0 0,14 0 16,-14 0-1,0 0-15,1 0 0,-14 13 16,13-13-16,-13 13 16,13-13-16,0 13 15,1-13-15,-1 0 16,13 0-16,-13 0 15,14-13-15,-14 13 0,-13-13 16,13 13-16,1-13 0,-1 13 16,0-27-16,0 14 15,-13 0-15,-13-1 16,0 14 0,0 0-16,-1 0 15,1 14-15,0-14 0,0 0 16,13 13-16,-14 0 15,28 0 1,-1-13-16,0 0 0,0-13 16,1 13-16,12-13 15,-13 13-15,14-13 0,-1-14 16,-13 14-16,1 0 0,-1-14 16,0 14-16,0-13 0,1-1 15,-14 14-15,13 13 16,-13-26-1,-13 65 1,13-26-16,-14 14 16,1-1-16,13 1 15,0-1 1,0 1-16,13-14 16,1 13-16,-1-26 15,0 0 1,0 0-16,14 0 0,-14-13 15,0 0-15,0 13 16,1-13 0,-1 26 15,-13 0-31,13-13 16,0 13-1,14-26 1,-14 13-16,0 0 15,0-13-15,1 0 0,-1 13 16,0 0 0,0-14-16,1 28 15,-14-1 1,13-13 0,0 13-1,14-13-15,-27-13 16,13 13-16,40-40 15,-14 14 1,-25-1-16,-1 1 0,0-1 16,14 1-16,-14 0 0,0-14 15,0 13-15,-13 14 0,13 0 16,-13 0-16,0-1 0,-13 41 31,0-14-31,13 14 0,-13-1 16,0 1-16,-1-1 0,14 0 0,0 14 15,0-13-15,0-14 16,0 0-16,0 13 0,14-12 0,-14-1 16,13 0-16,0 0 0,0 1 15,0-14-15,14 0 16,-14 0-16,0 0 0,1 0 16,12-14-16,-13 1 0,-13 0 15,13 0-15,1-1 16,-14 1-16,0 0 15,-14 39 17,14-12-32,0-1 15,0 0 1,14-13-16,-14 13 16,13-26-16,0 13 15,-13-13-15,13 0 16</inkml:trace>
  <inkml:trace contextRef="#ctx0" brushRef="#br0" timeOffset="100087.55">16484 5437 0,'-14'13'0,"54"-13"31,-14 0-16,1-13-15,-1 13 0,27 0 0,-13 0 0,0-13 16,13 13-16,13 0 16,-40-13-16,1 13 0,-1 0 15,1 0-15,-1 0 0,-13 0 0,0-13 16,1 13-16,-1 0 0</inkml:trace>
  <inkml:trace contextRef="#ctx0" brushRef="#br0" timeOffset="102387.57">17449 5305 0,'0'26'32,"0"-12"-32,-13-1 0,13 0 15,0 0-15,0 14 0,-13-14 0,13 0 16,0 14-16,0-14 0,0 13 16,-13-12-16,13-1 0,0 13 15,0-13-15,0 1 0,0-1 16,0 0-16</inkml:trace>
  <inkml:trace contextRef="#ctx0" brushRef="#br0" timeOffset="102660.58">17462 5278 0,'14'-13'15,"-1"13"-15,-13-13 0,13 13 0,14 13 16,-14-13-16,0 0 16,-13 13-16,13-13 0,1 14 15,-1-1-15,0 0 0,-13 0 0,0 14 0,0-14 16,0 0-16,0 1 0,-13-1 16,13 13-16,-13-13 0,-1 1 15,1 12-15,-13-13 0,12 1 0,1-1 16,-13 0-16,12 0 0,-12-13 0,13 0 15,0 13-15,-1-13 0,-12-13 16</inkml:trace>
  <inkml:trace contextRef="#ctx0" brushRef="#br0" timeOffset="104942.63">17449 5503 0,'13'0'16,"1"0"-1,-1 0-15,-13-13 16,13 13-16,-13-13 0,13 13 0,-13-13 16,14-1-16,-1 1 0,-13 0 15,0 0-15,0 0 16,0-1-1,-13 14 1,-1 0-16,1 14 16,13-1-16,-13 0 15,13 0-15,0 0 0,0 1 16,0-1-16,13-13 0,-13 13 16,13-13-16,-13 13 0,14-13 0,-1 0 15,0 0-15,0 0 16,1 0-16,-1 0 0,0 0 0,0-13 15,0 13-15,1-13 0,-14 0 0,13 13 16,-13-14-16,13 1 0,-13 0 16,13 0-16,-13 0 15,14 13-15,-14-14 0,13 1 16,-13 40 15,13-27-31,-13 13 0,13 0 16,-13 0-16,14 0 0,-14 1 15,13-1-15,-13 0 16,13-13-16,0 13 0,0-13 16,1 0-16,-1 0 15,0 0-15,0-13 0,1 13 16,-14-13-16,13 13 0,0-13 16,0 13-16,1-14 0,-1 1 15,0 0-15,0 0 0,-13 0 16,13 13-1,1-14-15,-41 28 47,27-1-31,0 0-16,0 0 0,0 0 16,0 1-1,13-14 1,1 13-16,-1-26 15,0 13 1,0 0-16,1 0 0,-14-14 0,13 14 16,0 0-16,0-13 0,1 0 15,-1 13-15,0-13 16,0 13 0,0 13-1,-13 0 1,0 0-1,0 1 1,0-1-16,14-13 16,-14 13-16</inkml:trace>
  <inkml:trace contextRef="#ctx0" brushRef="#br0" timeOffset="105074.65">18217 5265 0,'0'-13'0</inkml:trace>
  <inkml:trace contextRef="#ctx0" brushRef="#br0" timeOffset="105410.64">18441 5345 0,'0'0'0,"0"13"15,0 0-15,0 0 16,0 1 15,14-14-31,-1-14 16,0 1-16,0 13 15,-13-13-15,14 0 0,-14-1 16,13 14-16,-13-13 0,13 0 16,-13 39 15,0-12-15,0-1-16,13-13 15,-13 13-15,14-13 0,-1 13 16,0-13-16,0 0 15,0 0-15,1 0 0,12 0 0,-13 0 16,14 0-16,-1-13 0,1 13 0</inkml:trace>
  <inkml:trace contextRef="#ctx0" brushRef="#br0" timeOffset="110010.54">10954 6548 0,'-27'-26'0,"54"52"0,-67-52 0,27 13 16,-14 0-16,14-1 0,-27 1 0,1-13 15,-1 12-15,0 1 16,1 0-16,-14 13 0,13-13 0,-13 13 16,0-14-16,0 14 0,14 0 0,-14 14 15,-27-14-15,27 13 0,-13 0 0,0 14 16,13-14-16,-13 13 0,13 1 16,0-1-16,0 1 0,0 12 0,14 1 15,-14-13-15,13 12 0,0 1 0,-52 52 16,52-39-16,0-13 15,14 13-15,-14-13 0,14 13 16,-1 0-16,1-1 0,13-12 0,-14 13 16,14 26-16,0-39 0,13-13 15,0-1-15,0 0 0,13 14 16,0 0-16,1-14 0,-1 1 0,26 12 16,-12-12-16,13-1 0,12 1 0,-12-1 15,13 1-15,0-1 0,13-13 16,0 1-16,14-1 0,-14 13 0,13-26 15,1 14-15,-1-1 0,14-13 0,-14 13 16,14-13-16,12 0 0,-12 0 16,0 0-16,12 0 0,-12-13 0,13 13 15,0-13-15,-1 13 0,-12 0 0,39-14 16,-26 14-16,13-13 0,-13 13 0,0-13 16,-13 13-16,12 0 0,28-13 15,-14 13-15,13-14 0,-39 14 0,12-13 16,28 0-16,-14 13 0,13-13 0,-13 0 15,0-1-15,0 1 0,-26 0 16,26 0-16,0-1 0,-13 1 16,-14 13-16,1-13 0,0 0 0,-1 13 15,1-14-15,0 14 0,-1-13 0,1 13 16,-1 0-16,1-13 0,-14 13 0,14-13 16,-14 13-16,14-13 0,-14 13 15,1-14-15,-1 14 0,0-13 0,1 13 16,-1-13-16,1 13 0,-14-13 0,13 13 15,-13 0-15,14-14 0,-14 14 16,-13 0-16,13-13 0,-13 13 16,0 0-16,-1-13 0,15 13 0,-1-13 15,-13 13-15,0 0 0,0-14 0,-1 14 16,-12-13-16,13 13 0,0-13 16,-13 0-16,-1 13 0,1-13 0,0-1 15,-1 14-15,1-13 0,-13 13 0,-1-13 16,0 13-16,1-13 0,-1 13 0,1-14 15,-1 14-15,1-13 0,-1 0 16,-13 13-16,14-13 0,-1 13 0,1-14 16,-14 14-16,14-13 0,-14 13 15,13-13-15,1 13 0,-14-13 0,13 0 16,27-1-16,-26 1 16,12 13-16,14-26 0,-13 12 15,-14 14-15,1-13 0,-1 13 0,1-13 16,-1 13-16,1-13 0,-1 13 15,1-13-15,12-1 0,-12 14 16,-1-13-16,-12 0 0,12 13 0,-13-13 16,14-1-16,-14 1 0,13 13 15,-12-13-15,12-14 0,1 1 16,-1 13-16,-13 0 0,14-27 16,-14 27-16,0-14 0,14-13 15,-14 27-15,-13-13 0,13 13 16,-13-1-16,0-12 0,13 13 15,-13-1-15,0-12 0,0 13 0,0-14 16,0 14-16,-13-13 0,13 12 0,0-12 16,0 13-16,0-14 0,-13 1 15,13-1-15,-13 1 0,13 13 0,0-14 16,-14-26-16,1 14 0,0 12 16,13 14-16,-27-27 0,27 14 15,-13 12-15,0-12 0,0 13 16,0 0-16,-14-1 0,14 1 0,0 0 15,-14 0-15,-13-14 0,14 14 16,0 13-16,-1-13 0,1-1 16,12 14-16,-12-13 0,-14 13 15,14-13-15,-1 13 0,-26-13 16,27 13-16,-1-13 0,-39 13 16,27-14-16,-1 14 0,-13 0 15,13 0-15,-52 0 0,-14 0 16,53 0-16,13 0 0,-66 0 15,54 0-15,-1 0 16,0 0-16,0 0 0,-13 0 16,13 0-16,-66 14 0,39-14 15,27 0-15,-26 0 0,13 0 0,-14 13 16,14-13-16,-13 13 0,13-13 0,-14 0 16,14 13-16,-13-13 0,13 0 15,-14 13-15,1-13 0,13 0 0,-13 14 16,12-14-16,-65 13 0,66-13 15,0 0-15,0 0 0,-1 13 16,-12-13-16,-40 13 0,53-13 16,0 0-16,-40 14 0,53-1 15,-13-13-15,13 0 0,-13 13 0,13-13 16,-13 0-16,-40 13 16,53-13-16,0 0 0,-40 14 15,41-14-15,12 0 0,-53 13 16,40-13-16,14 0 0,12 0 15,-26 0-15,14 0 0,-1 0 16,-13 0-16,13 0 0,1 0 0,-14 0 16,13 0-16,-13 0 0,13 0 0,-12 0 15,-1 0-15,13 0 0,-13 13 16,0-13-16,13 0 0,-13 0 0,14 13 16,-1-13-16,-13 0 0,13 0 15,-12 0-15,12 13 0,-13-13 0,13 0 0,-13 14 16,14-14-16,-14 13 0,0-13 15,0 13-15,-53 0 16,40-13-16,0 14 0,13-1 0,-13-13 16,13 13-16,0 0 0,-13-13 15,0 14-15,13-1 0,-13-13 0,-1 13 16,14 0-16,-13 0 0,-66 14 16,79-14-16,-79 14 0,66-1 15,13-13-15,-13 1 0,13 12 16,0-26-16,13 13 0,0 0 0,-26 14 15</inkml:trace>
  <inkml:trace contextRef="#ctx0" brushRef="#br0" timeOffset="112636.58">22079 7567 0,'53'-26'31,"-39"12"-31,12 1 0,1 0 16,12 0-16,1-1 0,0 14 15,-14-13-15,14 0 0,-14 13 0,1-13 16,-1 13-16,-13-13 0,14 13 0,-14 0 16,0-14-16,0 14 0,1 0 15,-1 0-15,0 0 16</inkml:trace>
  <inkml:trace contextRef="#ctx0" brushRef="#br0" timeOffset="112902.55">22172 7620 0,'0'13'0,"27"-13"31,-14-13-16,0 13-15,13-13 0,1 13 0,-1-13 16,1 13-16,-1-14 0,1 14 16,-1 0-16,-13-13 0,14 13 0,-14 0 15,0-13-15,14 13 0,-14 0 16,0 0-16,0-13 0,1 13 16,-1 0-1,0 0-15,-13 13 31</inkml:trace>
  <inkml:trace contextRef="#ctx0" brushRef="#br0" timeOffset="115099.75">8268 11523 0,'27'13'32,"-14"-13"-32,0 0 0,14 0 0,-14 0 15,0 0-15,14 0 0,-14 0 0,0 0 16,13 0-16,-12 0 0,-1 0 16,0 0-16,0 0 15</inkml:trace>
  <inkml:trace contextRef="#ctx0" brushRef="#br0" timeOffset="115283.5">8361 11695 0,'13'13'15,"0"-13"1,14 0 0,-1 0-16,-13-13 0,1 13 15,-1 0-15,27 0 16,-27-14-16,0 14 0,13 0 0,-12 0 15,-1-13-15,0 13 0,0-13 16,1 13-16</inkml:trace>
  <inkml:trace contextRef="#ctx0" brushRef="#br0" timeOffset="118919.66">10134 10319 0,'-14'26'47,"14"-13"-47,-13 1 0,13 12 0,0-13 16,0 1-16,-13 12 0,13-13 0,0 14 16,-13-14-16,13 0 0,0 14 15,0-14-15,-14 0 0,14 0 16,0 1-16,0-1 0,-13 0 0,13 0 15,0 0-15,0 1 16</inkml:trace>
  <inkml:trace contextRef="#ctx0" brushRef="#br0" timeOffset="119142.75">9882 10504 0,'0'-13'0,"13"13"31,1 0-15,-1 0-16,0 0 0,0 0 0,14 0 16,-14 0-16,0 0 0,0 0 15,1 0-15,-1 0 0,13 0 0,1 0 16,-14 0-16,0 0 0,14-13 15,-14 13-15</inkml:trace>
  <inkml:trace contextRef="#ctx0" brushRef="#br0" timeOffset="119566.59">10358 10358 0,'-13'0'15,"40"0"1,-14-13-1,0 13 1,0 0-16,1 0 0,-1 0 0,0 0 16,0 13-16,1-13 15,-1 14 1,-13-1-16,13 0 16,-13 0-16,0 1 0,0-1 15,-13 0-15,13 0 0,0 1 0,0-1 16,0 0-16,0 0 0,0 0 15,-13 1-15,13-1 0,0 0 16,0 0-16,0 1 16,0-1-1</inkml:trace>
  <inkml:trace contextRef="#ctx0" brushRef="#br0" timeOffset="119750.56">10372 10530 0,'26'0'31,"1"-13"-31,-14 13 16,0 0-16,0 0 0,1 0 0,12-13 16,-13 13-1,0 0-15,-13-13 0,14 13 16</inkml:trace>
  <inkml:trace contextRef="#ctx0" brushRef="#br0" timeOffset="120149.05">9618 10332 0,'0'26'16,"0"-12"-1,-14 12-15,14-13 16,0 14-16,-13-14 0,13 14 0,-13 25 16,13-25-16,0-1 0,-13 14 15,13-14-15,0 1 16,0-14-16,0 0 0,13 1 0,-13-1 15,13 0-15,0 0 0,1 1 16</inkml:trace>
  <inkml:trace contextRef="#ctx0" brushRef="#br0" timeOffset="120533.45">10702 10226 0,'-13'93'31,"0"-80"-31,13 13 0,-13 27 16,13-26-16,-14-14 0,14 14 0,-13-1 15,13-13-15,0 27 16,0-27-16,-13 14 0,26-14 15,-13 0-15,13 0 16,1-13-16</inkml:trace>
  <inkml:trace contextRef="#ctx0" brushRef="#br0" timeOffset="121207.55">11112 10319 0,'0'26'31,"0"-13"-31,0 27 16,0-27-16,0 1 0,0 12 15,0-13-15,0 1 0,0 12 16,0-13-16,-13 0 0,13 1 16,0 12-16,0-13 0,0 1 0,0-1 15,0 0-15,-13 0 16</inkml:trace>
  <inkml:trace contextRef="#ctx0" brushRef="#br0" timeOffset="121408.65">10967 10491 0,'0'0'16,"13"-13"0,0 13-1,1 0-15,-1 0 0,13-14 16,-12 14-16,-1 0 0,0 0 15,0 0-15,0 0 0,14 0 16,-1 0-16,-12 0 0</inkml:trace>
  <inkml:trace contextRef="#ctx0" brushRef="#br0" timeOffset="122424.6">11615 10319 0,'0'0'15,"0"26"17,0-13-32,0 1 0,0-1 0,-13 0 15,13 0-15,0 14 0,0-14 16,0 0-16,0 14 0,0-14 0,-13 0 15,13 14-15,0-14 0,0 0 16,0 0-16,0 1 0,-13-1 0,13 0 16,0 0-16</inkml:trace>
  <inkml:trace contextRef="#ctx0" brushRef="#br0" timeOffset="122680.02">11867 10372 0,'0'26'31,"0"-13"-31,0 1 16,-14-1-16,14 0 0,0 14 15,0-14-15,0 0 0,0 0 16,-13 0-16,13 1 0,0-1 16,0 0-16,0 0 15</inkml:trace>
  <inkml:trace contextRef="#ctx0" brushRef="#br0" timeOffset="122880.66">11787 10517 0,'0'-13'15,"13"13"1,1 0-16,12-13 16,-13 13-16,1 0 15,-1 0-15,0 0 0,0 0 16,0 0-16,1 0 0,-1-13 15</inkml:trace>
  <inkml:trace contextRef="#ctx0" brushRef="#br0" timeOffset="123078.69">12171 10358 0,'0'14'16,"-13"-1"-1,13 0-15,0 0 0,-14 1 16,14-1-16,0 0 16,0 0-16,0 1 0,0-1 15,0 0-15,0 0 16</inkml:trace>
  <inkml:trace contextRef="#ctx0" brushRef="#br0" timeOffset="123748.17">12462 10173 0,'0'27'16,"0"-14"-16,-13 13 16,13-12-16,0 12 0,-14 1 15,14-14-15,0 40 31,-13-27-15,-13 199 78,39-212-47</inkml:trace>
  <inkml:trace contextRef="#ctx0" brushRef="#br0" timeOffset="124178.77">13084 10292 0,'13'-13'15,"-26"53"17,13-27-32,0 0 0,0 14 15,0-14-15,0 0 0,0 14 16,0-14-16,0 0 0,-14 0 0,14 27 15,0-27-15,0 0 16,0 1-16,0-1 0,-13 0 0,13 0 16</inkml:trace>
  <inkml:trace contextRef="#ctx0" brushRef="#br0" timeOffset="124415.5">12912 10478 0,'39'-14'32,"-25"14"-32,12 0 15,1 0-15,-1 0 16,199 0 15</inkml:trace>
  <inkml:trace contextRef="#ctx0" brushRef="#br0" timeOffset="124880.61">13666 10266 0,'0'0'15,"13"13"1,-13 0-16,0 1 0,0-1 0,0 26 16,13 1-16,-13-27 15,0 27-15,0-13 16,-13-14-16,13 13 0,0-13 0,0 1 16,0-1-16,0 13 0,0-12 15,0-1-15,0 0 16,0 0-16</inkml:trace>
  <inkml:trace contextRef="#ctx0" brushRef="#br0" timeOffset="125359.08">13930 10451 0,'14'0'16,"-1"0"0,0 0-16,0 0 15,14 0 1,-14 0-16,0 0 0,0-13 16,1 13-16,12 0 0,-13 0 0,1 0 15,-1-13-15</inkml:trace>
  <inkml:trace contextRef="#ctx0" brushRef="#br0" timeOffset="125676.14">14380 10253 0,'-40'13'15,"80"-26"-15,-93 39 0,53-13 0,-13-13 0,0 14 16,0 25-16,-1-12 15,14-14-15,0 27 16,0-27-16,14 13 16,65 14 31,-66-40-47,-13-13 15,-40-14 32,40 14-31</inkml:trace>
  <inkml:trace contextRef="#ctx0" brushRef="#br0" timeOffset="126064.81">14592 10094 0,'0'13'15,"0"0"1,0 1-16,0-1 0,0 0 0,0 0 16,-13 14-16,13-1 0,0 1 0,0-1 15,-14 1-15,14-1 0,0 0 16,0 1-16,-13-1 0,13 1 15,0-1-15,-13-12 0,13 12 0,-13 14 16,13-14-16,0-13 0,0 1 16,13-14-16,-13 13 0,13-13 15,0 0-15,1 0 0</inkml:trace>
  <inkml:trace contextRef="#ctx0" brushRef="#br0" timeOffset="126523.81">15015 10239 0,'-13'40'31,"13"-27"-31,0 1 0,0-1 0,13 13 16,-13-13-16,0 14 0,0-14 15,0 14-15,0-14 0,0 0 0,0 14 16,0-14-16,0 0 0,0 0 0,0 0 15,0 1-15,13-1 0</inkml:trace>
  <inkml:trace contextRef="#ctx0" brushRef="#br0" timeOffset="126714.83">14856 10411 0,'27'0'32,"-1"14"-32,-13-14 0,1 0 15,12 0-15,1 0 0,-1 0 16,1 0-16,-1 0 0,0 0 0,1 0 0,-1 0 16,1 0-16</inkml:trace>
  <inkml:trace contextRef="#ctx0" brushRef="#br0" timeOffset="127181.79">15690 10226 0,'0'40'16,"0"-27"-1,0 0-15,0 14 0,0-14 16,0 13-16,0 1 0,-13-14 0,13 27 15,0-14-15,0-12 0,0 12 16,0-13-16,0 0 0,0 1 0,-14-1 16,14 0-16,0 0 0,14-13 15,-14 14-15</inkml:trace>
  <inkml:trace contextRef="#ctx0" brushRef="#br0" timeOffset="127444.66">15835 10478 0,'27'-14'31,"-14"14"-31,0 0 16,0 0-16,14-13 15,-14 13-15,0 0 0,1 0 16</inkml:trace>
  <inkml:trace contextRef="#ctx0" brushRef="#br0" timeOffset="127842.62">16259 10279 0,'13'0'16,"-26"0"-16,39 13 0,-26 1 15,13-1 1,-13 0-16,0 0 0,-13 14 16,0-14-16,0 0 15,-1 0-15,14 1 0,-13-1 0,0-13 16,13 13-16,-13-13 0,13 13 16,-14-13-16,14 14 0,-13-14 0,13 13 15,13-13 1,1 0-1,-1 13-15,-13-26 0,13 13 16,0 0-16,1 0 0,-1 0 0,13 0 16,-12 0-16,-1-13 0,0 13 15,0 0-15,0-14 0,1 14 0,-1-13 16,0 13-16,-13-13 0,13 13 0,-13-13 16,14 13-16</inkml:trace>
  <inkml:trace contextRef="#ctx0" brushRef="#br0" timeOffset="128312.46">16550 10107 0,'0'27'0,"0"-1"0,-14-13 16,-25 120 0,39-94-1,-13-12-15,-1-1 0,14 1 0,0-1 16,-13 1-16,13-14 0,0 13 15,0-13-15,-13 1 0,13-1 0,0 0 16,0 0-16,0 1 0,13-1 16,0 0-1</inkml:trace>
  <inkml:trace contextRef="#ctx0" brushRef="#br0" timeOffset="128808.71">16828 10279 0,'26'13'31,"0"-13"-31,-12 0 16,-1 0-16,0 0 15,0 0-15,1 0 0,12 0 16,-13 14 0</inkml:trace>
  <inkml:trace contextRef="#ctx0" brushRef="#br0" timeOffset="128998.12">16814 10411 0,'-13'14'0,"26"-14"47,1 0-47,-1 0 15,0 0-15,0 0 0,0 0 16,14 0-16,-14 0 0,0 0 16,1 0-16,12 0 15,-13 0-15,0 0 0,1 0 16,-1 0-16</inkml:trace>
  <inkml:trace contextRef="#ctx0" brushRef="#br0" timeOffset="135082.57">17965 10028 0,'-13'26'15,"13"-13"1,0 1-16,-13-1 0,0 27 15,13-27-15,-14 0 0,14 13 16,-13-12-16,13-1 0,-13 0 0,13 14 16,-13-14-16,13 0 0,-14 14 15,14-14-15,-13 0 16</inkml:trace>
  <inkml:trace contextRef="#ctx0" brushRef="#br0" timeOffset="135438.57">18164 10067 0,'0'-13'16,"-27"26"-1,27 1-15,-13-14 0,0 13 0,13 13 16,-13-12-16,-1 12 0,1-13 15,13 14-15,-13-14 0,13 13 0,0 1 16,0-14-16,0 0 0,0 14 16,13-14-16,-13 0 0,13 0 0,1 1 15,-1-1-15,0-13 0,0 13 16,0-13 0,1-13-16,-14 0 15,0-1-15,0 1 16,0 0-16,-14 13 15,14-13-15,-13 13 0,0 0 16,0 0-16,0 0 0,-1 0 16,1 0-16,0 13 0,0-13 0,-1 13 15,1-13-15</inkml:trace>
  <inkml:trace contextRef="#ctx0" brushRef="#br0" timeOffset="135710.49">17634 10557 0,'27'-13'16,"-14"13"-16,40 0 15,-26 0-15,-1 0 0,0-14 16,1 14-16,13 0 0,-14 0 0,14 0 15,-14 0-15,1 0 0,12-13 16,14 13-16,-39 0 0,12 0 16,-13 0-16,0 0 0,1 0 15,-1 0-15,0 0 0,-26 13 32</inkml:trace>
  <inkml:trace contextRef="#ctx0" brushRef="#br0" timeOffset="136090.81">17939 10702 0,'0'-13'0,"-27"26"15,27 1 1,-13-14-16,0 13 0,0-13 16,-1 13-16,1 0 0,0 1 15,0-1-15,-1-13 0,1 13 0,0 0 16,13 0-16,-13-13 16,13 14-16,0-1 15,0 0-15,13-13 16,0 13-16,0-13 15,1 0-15,-1 0 0,0 0 16,0 0-16,1 0 0,12 0 16,1 0-16,-14 0 0,0-13 15,0 13-15,0-13 0,1 0 16,-1-1-16,-13 1 0,13 13 0,-13-13 16,13 0-16</inkml:trace>
  <inkml:trace contextRef="#ctx0" brushRef="#br0" timeOffset="136280.09">18005 10649 0,'-13'0'0,"26"0"0,-40 14 16,14-1-16,13 0 0,-13 0 15,0 1-15,13-1 0,-13 0 16,13 0-16,-14 27 0,1-14 16,13 1-16,-13 13 0,0-27 15,13 0-15,0 14 16,0-14-16,0 0 0,0 0 15,13-13-15,0 0 0,0 0 16,1 0-16,12-13 0</inkml:trace>
  <inkml:trace contextRef="#ctx0" brushRef="#br0" timeOffset="136562.57">18561 10358 0,'52'0'31,"-38"0"-31,-1 0 16,0 0-16,0 0 0,1 0 0,12 0 16,-13 0-16,0 0 15,1 14-15</inkml:trace>
  <inkml:trace contextRef="#ctx0" brushRef="#br0" timeOffset="136744.57">18481 10504 0,'27'0'15,"-14"0"-15,0 0 16,14 0-16,-14 0 0,13 0 0,-13 0 16,14 0-16,26-13 15,-40 13-15,13 0 0,1-13 16,-1 13-16</inkml:trace>
  <inkml:trace contextRef="#ctx0" brushRef="#br0" timeOffset="137559.84">19791 10319 0,'-13'26'16,"-1"-26"-16,14 13 15,0 1-15,0-1 16,-13 0-16,13 0 0,0 1 16,0-1-1,13-40 17,1 14-32,-14 0 15,0 0-15,0-1 0,13-25 16,-13 26-16,13 13 0,-13-14 15,0 1-15,13 0 0,-13 0 16,14 13 0,-1 13-1,-13 13-15,66 40 47,-40-66-31,-12 0-16,-1-26 15,0 26-15,13-26 16,14-27 0,-40 39-16,27 1 15,-14 13 1,0 80 15,-13-67-15,0 13-16,-13 1 15,13-14-15,0 0 16,0 0-16,0 1 16,13-14-1</inkml:trace>
  <inkml:trace contextRef="#ctx0" brushRef="#br0" timeOffset="138042.76">20320 10186 0,'0'-13'16,"0"26"0,-26 1-1,26-1-15,-14 0 0,1 14 16,13-1-16,-13-13 16,13 27-16,-13-27 15,13 0-15,0 1 0,-14 12 16,14-13-16,0 1 15,0-1-15,14-40 47,-14 14-47,13 0 0,-13 0 16,13-14-16,0 1 0,1-14 0,-1 14 16,0 12-16,13-25 15,-12 25-15,12-12 16,-13 26-16,1 0 15,12 0-15,-13 13 16,1 0-16,-1-13 0,-13 14 16,13-1-16,-13 13 0,0-12 15,0-1-15,-13 13 0,0-12 16,-1-1-16,1 13 0,0-13 16,-27 27-16,14-27 15,12-13-15,-25 27 0,26-27 16,-14 13-16,14-13 0,0 0 0,-1 0 15,1 0-15,13-13 16,13 0 0,1 13-16</inkml:trace>
  <inkml:trace contextRef="#ctx0" brushRef="#br0" timeOffset="138273.18">20770 10239 0,'26'0'32,"-13"0"-32,1 0 15,-1 0-15,0 0 0,0 0 0,1 0 16,-1 0-1,0 0-15</inkml:trace>
  <inkml:trace contextRef="#ctx0" brushRef="#br0" timeOffset="138474.22">20624 10358 0,'0'0'0,"40"-13"31,-27 13-31,14 0 16,-14 0-16,0 0 0,14 0 15,-14-13-15,26 13 0,-12 0 16,13-13-16,13 13 16,-1-13-1</inkml:trace>
  <inkml:trace contextRef="#ctx0" brushRef="#br0" timeOffset="138895">21696 10147 0,'0'-13'16,"0"52"15,-13-26-31,-1 14 0,1-27 16,-13 26-16,-14 1 16,27-14-16,-14 0 15,1 14-15,-1-14 16,14 0-16,0-13 15,13 13-15,13 1 32,0-14-32,1 0 0,12 0 15,-13 0-15,14 0 16,12 0-16,-12 0 0,-1 0 16,41 0-16,-54-14 15,26 14-15,-12 0 0,-14-13 0,0 13 16,1 0-16,-1-13 15,-13 0-15</inkml:trace>
  <inkml:trace contextRef="#ctx0" brushRef="#br0" timeOffset="139116.43">21775 10120 0,'-13'14'16,"26"-28"-16,-39 28 0,26-1 0,-13 0 15,13 13-15,0-12 0,-14-1 16,14 13-16,0 1 0,-13-1 16,13 1-16,-13-1 0,13-13 0,-13 40 15,13-26-15,-14-14 0,14 27 16,-13-27-16,13 0 0,-13 0 16,13 1-16,-13-1 15</inkml:trace>
  <inkml:trace contextRef="#ctx0" brushRef="#br0" timeOffset="140312.03">19460 9710 0,'93'0'15,"-54"-13"-15,14 13 0,80 0 16,-54 0-16,27 0 0,555 26 31,-515-26-31,13 14 0,-1-14 16,1 13-16,0 0 0,0 0 0,-14 1 15,1-14-15,-14 13 0,0 0 0,-52 0 16,12-13-16,-26 13 0,14 1 16,-41-14-16,1 0 0,-14 13 0,1-13 15,-1 0-15,-12 0 0,-1 0 0,0 0 16,0 0-16,1 13 0,-1-13 15,0 0-15,-13 13 16,0 1-16,0-1 0,0 13 16,0 1-16,0-1 0,-13 14 15,13 0-15,-13-14 0,13 1 0,0 12 16,0 1-16,0-14 0,0 41 16,0-41-16,0 0 0,0 1 15,0-1-15,0 1 0,0-1 0,0-12 16,0 12-16,0-13 0,0 14 0,0-14 15,13 0-15,-13 0 0,0 1 16,0-1-16,0 0 0,-13 0 16,-1 0-16,1-13 15,-13 14-15,-1-14 0,1 0 16,-14 13-16,0-13 0,-13 0 16,-52 0-16,52 0 0,-27 0 15,1 0-15,0-13 0,-1 13 16,1 0-16,-106 0 0,105 0 15,-12 0-15,-1 0 0,14 0 16,-1 13-16,1-13 0,0 0 0,12 13 16,-12-13-16,13 13 0,-14-13 15,1 14-15,13-14 0,-13 13 0,-67 0 16,80 0-16,13 1 0,0-14 16,0 13-16,0-13 0,0 0 0,0 13 15,0-13-15,1 0 0,25 13 0,-13-13 16,14 0-16,13 0 0,-14 0 0,1 0 15,-1 0-15,14 0 0,-27 0 16,14 0-16,13 13 16,-14-13-16,14 0 0,0-13 0,-14 13 15,14 0-15,0 0 0,-14 0 0,14 0 16,0-13-16,0 13 0,-14 0 16,14-13-16,0 13 0,13-13 0,-13 13 15,-1-14-15,1 1 0,0 13 16,13-13-16,-13 0 0,0-1 15,13 1-15,0 0 0,0 0 16,0-1-16,0 1 0,0 0 16,0-13-16,0 12 0,0-12 0,13-14 15,-13 1-15,13-1 0,0 13 0,-13-12 16,13-1-16,-13 0 0,14-13 16,-1 14-16,-13-1 0,0 0 15,13 14-15,-13-14 0,0 14 0,0-1 0,0-26 16,-13 27-16,13-1 15,0 1-15,0-1 0,-13 1 0,13 13 0,-14 0 16,14-1-16,-13 1 0,13 0 16,-13 0-16,13-1 0,-13 1 15,26 0 17,0 26-32,14-13 15,-14 0-15,13 0 0,1 0 16,-1 0-16,40 0 0,-13 0 15,0 0-15,0 0 0,-13 0 0,13 0 16,0 0-16,26 0 16,-26 0-16,-13 13 0,-14-13 0,1 0 15,-1 0-15,0 0 0</inkml:trace>
  <inkml:trace contextRef="#ctx0" brushRef="#br0" timeOffset="142699.76">18256 9353 0,'-26'-13'16,"52"26"-16,-65-26 0,12 0 0,14 13 0,0-14 16,-14 14-16,1-13 0,-14 0 15,14 0-15,-27-1 0,13 1 0,0 0 16,-79-13-16,53 12 0,-66-25 16,52 25-16,1 1 15,-93-27-15,93 27 0,-27-13 16,-119-14-16,132 27 0,-26 0 15,0-14-15,13 14 0,-13-14 16,0 14-16,0-13 0,0-1 0,13 1 16,-13-1-16,0 14 0,0-13 0,0-1 15,0 1-15,-132-14 16,132 14-16,-120-27 16,120 26-16,0 14 0,-132-40 15,132 40-15,0-14 0,-13 1 0,12 13 16,1-14-16,0 1 0,0 13 15,-13-14-15,13 14 0,0-14 0,-106-12 16,132 26-16,-12-14 16,-15 14-16,28 0 0,13-14 0,-14 14 15,0 0-15,1-1 0,12 1 0,-92-13 16,80-1-16,12 27 16,1-13-16,0-13 0,12 26 0,-12-14 0,13 1 15,-13 0-15,12 0 0,1 0 16,0 13-16,0-14 0,13 1 15,0 13-15,0-13 0,14 13 0,-14-13 16,0 13-16,13-14 0,0 14 0,1-13 16,-1 13-16,14 0 15,-1-13-15,1 13 0,-1 0 0,1 0 16,-1 0-16,14 0 0,-13-13 0,-1 13 16,14 0-16,-14 0 0,14 0 0,0 0 15,0 0-15,-14 0 0,14 0 16,0 0-16,0 0 0,-1 0 0,1 13 15,0-13-15,0 0 0,-1 0 16,-12 13-16,13-13 0,-1 0 16,1 13-16,0-13 0,-13 0 0,12 14 15,1-14-15,0 13 0,0-13 0,-14 0 16,14 13-16,0-13 0,-14 13 0,14-13 16,-13 0-16,12 14 15,-12-14-15,-14 13 0,14-13 0,-1 13 16,1-13-16,-1 0 0,1 13 0,13-13 15,-14 13-15,1-13 0,13 0 16,-1 14-16,-25-14 16,25 0-16,1 13 0,0-13 0,0 13 15,0-13-15,-14 0 16,14 13-16,0-13 0,-1 0 16,1 14-16,0-14 15,0 0-15,-1 0 0,1 13 0,0-13 0,-27 0 16,27 13-16,0-13 15,0 0-15,-1 0 0,1 0 16,0 0-16,0 0 0,-1 0 16,14-13-16,0 0 31</inkml:trace>
  <inkml:trace contextRef="#ctx0" brushRef="#br0" timeOffset="143173.25">9102 7898 0,'-14'0'16,"1"0"-1,0 0-15,0 13 0,0-13 16,-1 13-16,1 1 0,-13-1 0,12 0 15,1 0-15,0 0 0,0 1 0,-14 12 16,14-13-16,0 1 16,0 12-16,13-13 15,-14 0-15,14 1 0,0-1 16,14-13-16,-14 13 0,0 0 16,13 1-16,0-1 0,0-13 0,0 13 15,1 0-15,12 1 0,-13-1 16,14 0-16,39 0 0,-40 0 0,1 1 15,-1-14-15,14 13 0,-27-13 16,14 0-16,12 13 0,-12-13 16,-14 0-16,14 0 0,-14 13 15,0-13-15,0 0 0,0 0 16,1 0-16,12 0 16,-13 14-16,1-14 15,-1 0 1,0 0-1,-13 13-15,13-13 16,-13 13-16,0 0 16,14-13-16</inkml:trace>
  <inkml:trace contextRef="#ctx0" brushRef="#br0" timeOffset="144746.1">19381 10821 0,'-27'0'0,"14"0"16,0 0-16,0 14 0,-27-1 15,-185 40 1,159-27-16,13-12 16,-13-1-16,0 0 0,-67 27 15,67-27-15,-13 0 0,-1 0 16,1 1-16,-14-1 0,14 0 0,-27-13 15,14 13-15,-41 0 0,14-13 16,-13 14-16,0-14 0,-1 13 0,28-13 16,-28 0-16,1 0 0,26 0 0,-26 0 15,13 0-15,-13 0 0,-1 0 16,-105 0-16,106 0 0,-14 0 16,14 0-16,26 0 0,-39 0 15,12-13-15,1 26 0,26-13 0,0 0 16,-13 0-16,-92-13 0,105 13 15,-26 0-15,26 0 0,0 0 16,0 0-16,0-14 0,14 14 0,-14 0 16,0 0-16,0 0 0,0 0 0,14-13 15,-14 13-15,13 0 0,-13 0 16,14 0-16,-14 0 0,13 0 0,1 0 16,-1-13-16,1 13 0,-1 0 15,0 0-15,1 0 0,12 0 0,-12 0 16,12-13-16,1 13 0,-80 0 15,80 0-15,0-13 0,-67 13 16,93 0-16,-26 0 0,-40 0 16,52 0-16,-52 0 15,53 0-15,13 0 0,-66 0 16,66 0-16,0 0 16,-66 0-16,67 0 0,12 0 15,-13 0-15,0 13 0,0-13 0,0 0 16,0 0-16,0 0 0,14 13 0,-14-13 15,-53 0-15,66 13 16,-13-13-16,27 0 0,-27 0 16,13 13-16,14-13 0,-14 0 0,14 0 15,-1 0-15,-13 14 0,-12-14 16,12 0-16,0 0 16,14 0-16,12 0 0,-25 13 15,26-13-15,-1 0 0,1 0 16,0 0-16,0 0 15,-1 0-15,1 0 16,0 0-16,0 0 16,0 13-16,-1-13 31,1 0-15</inkml:trace>
  <inkml:trace contextRef="#ctx0" brushRef="#br0" timeOffset="145420.56">9181 10941 0,'13'0'15,"-39"13"17,13 0-32,13 0 15,-14-13-15,1 13 0,13 1 16,-13-1-16,13 0 0,-13 0 0,-1-13 16,1 14-16,13-1 0,-13 0 15,13 0-15,-13 0 0,0 14 31,13-14-31,-14 0 0,14 1 0,0 39 47,0-40-31,14-13-16,-14 13 0,13 0 16,0 0-1,0-13-15,0 0 16,1 14-16,-1-14 0,0 13 15,0-13-15,1 0 0,-1 13 16,13-13-16,1 13 16,12-13-16,-12 14 15,-14-14-15,0 0 0,14 13 16,-14-13-16,0 0 0,0 13 16,1-13-1,-1 0-15,0 0 16,0 0 15,-13-13-31,0 0 0,-13-14 16,0-52-16</inkml:trace>
  <inkml:trace contextRef="#ctx0" brushRef="#br0" timeOffset="148776.14">9909 12078 0,'-14'0'16,"41"-13"15,-14 13-31,0 0 16,1 0-16,-1 0 16,0 0-1,0 0-15,0 0 16,-13 13-16,0 0 15,0 1-15,0-1 16,0 13-16,-13-12 16,13-1-16,0 13 0,-13-12 0,13-1 0,-13 13 15,13-13-15,-13 1 0,13 12 16,-14-13-16,14 1 0,-13 12 16,13-13-16,-13 0 0,13 1 15,0-1 1</inkml:trace>
  <inkml:trace contextRef="#ctx0" brushRef="#br0" timeOffset="148982.43">9803 12277 0,'26'0'31,"-13"0"-15,1 0-16,-1 0 16,13 0-16,-12 0 0,-1 0 0,13 0 15,-12 0-15,-1 0 0,0 0 16,13-14-16,-12 14 0,-1 0 16,0 0-16,0 0 0,-13-13 15</inkml:trace>
  <inkml:trace contextRef="#ctx0" brushRef="#br0" timeOffset="149290.51">9631 11959 0,'-27'13'0,"14"1"0,-13 12 16,26-13-16,-14 14 0,1-14 15,13 13-15,-13 1 0,13-1 0,0 1 16,0-1-16,0 1 0,13 26 16,0-27-16,-13 1 0,14-1 15,118 53 1,-119-65-1,14-14-15,-1 0 0,-13 0 0,27 0 16,-14-14-16,1 14 0,-1-13 16</inkml:trace>
  <inkml:trace contextRef="#ctx0" brushRef="#br0" timeOffset="149615.9">10160 11880 0,'13'0'0,"14"0"15,-14 13-15,13 13 16,-12-12-16,-1 12 15,0-13-15,-13 14 0,13-14 0,1 14 0,-14-1 16,0 0-16,0 1 0,0-1 16,-14 14-16,14-13 0,-13-14 0,-13 40 15,26-40-15,-14 13 16,1-12-16,0-1 0,13 0 0,-13-13 16,-1-13-1,28 0 1</inkml:trace>
  <inkml:trace contextRef="#ctx0" brushRef="#br0" timeOffset="150040.6">10464 11840 0,'40'0'32,"-40"13"-17,0 1-15,0-1 0,0 0 16,-13 0-16,0 0 0,13 1 15,-14-1-15,1 0 16,0 0-16,13 1 16,-13-14-16,13 13 15,13-13 17,0 0-32,0 0 15,1 0-15,-1 0 0,0 0 16,0-13-16,0 13 0,1 0 0,-1 0 15,0 0-15,0 0 0,1 0 16,-1 0-16</inkml:trace>
  <inkml:trace contextRef="#ctx0" brushRef="#br0" timeOffset="150867.12">8401 12343 0,'-14'-13'0,"14"26"16,0 0 0,0 0-16,0 0 0,0 1 0,14 12 15,-14 1 1,13-14-16,0 13 0,-13-12 0,26 12 16,-26-13-16,14 0 0,-1 1 15,0-14-15,-13 13 16,13-13-16,1-13 15,-1 13-15,-13-14 16,13 1-16,-13 0 16,0 0-16,0-14 0,0 14 0,0 0 15,13-14-15,-13 14 0,0 0 0,0 0 16,13-1-16,-13 1 0,0 0 16,14 0-16,-1 0 15</inkml:trace>
  <inkml:trace contextRef="#ctx0" brushRef="#br0" timeOffset="151328.34">8718 12330 0,'-26'39'31,"12"-39"-31,14 13 16,0 1-16,-13-1 0,13 0 16,0 0-16,0 1 0,0-1 15,0 0 1,13-13-16,1-13 31,-1 13-15,0-13-16,-13-1 15,13 14-15,-13-13 16,13 13-16,1 0 16,-14 13-1,0 1-15,13-14 16,-13 13 0,0 0-1,13-39 16,0 26-15,-13-14-16,0 1 0,14 13 16,-14-13-16,13 0 15,-13-1-15,13 14 16</inkml:trace>
  <inkml:trace contextRef="#ctx0" brushRef="#br0" timeOffset="152922.93">10980 12065 0,'0'-13'31,"-13"39"-31,13-13 16,0 1-16,-13-14 0,13 13 15,0 13-15,-13-12 0,13-1 0,0 0 16,-14 14-16,14-14 0,0 0 0,-13 13 15,13-12-15,0-1 0,-13 0 16,13 0-16,0 1 0,-13-1 16,13 0-16</inkml:trace>
  <inkml:trace contextRef="#ctx0" brushRef="#br0" timeOffset="153148.54">10769 12277 0,'0'-14'0,"26"28"31,-13-14-31,14 13 16,-14-13-16,0 0 15,0 0-15,14 0 0,-14 0 0,14 0 16,-14-13-16,13 13 0,1 0 15,-1-14-15,27 14 0,-27-13 16</inkml:trace>
  <inkml:trace contextRef="#ctx0" brushRef="#br0" timeOffset="153783.57">11814 12039 0,'0'-14'31,"0"54"-15,-14-40-16,14 13 0,0 0 0,0 1 16,0-1-16,-13 0 15,13 0-15,0 1 0,0 25 16,-13-25-16,13 12 0,-13-13 15,13 0-15,0 1 16,0-1-16</inkml:trace>
  <inkml:trace contextRef="#ctx0" brushRef="#br0" timeOffset="154105.41">11695 11986 0,'0'0'0,"-27"0"0,14 0 15,0 13-15,13 0 16,-27 14-16,27-14 0,-26 26 15,26-25-15,-13 12 0,13-13 16,-14 14-16,14-14 0,0 14 16,0-14-16,0 0 0,0 0 0,0 14 15,14-1-15,-1-13 16,0 14-16,0-27 0,0 13 16,1-13-16,25 13 0,-25-13 15,-1-13-15</inkml:trace>
  <inkml:trace contextRef="#ctx0" brushRef="#br0" timeOffset="154400.46">11972 11999 0,'14'-13'0,"-14"-1"16,66 54 15,-66-27-31,13-13 16,0 40-16,-13-27 16,0 14-16,0-14 15,0 0-15,0 0 0,0 1 16,-13-1-16,13 13 0,-13-12 15,13-1-15</inkml:trace>
  <inkml:trace contextRef="#ctx0" brushRef="#br0" timeOffset="154811.34">12184 11840 0,'13'0'15,"1"0"-15,-14 13 16,13-13-16,-13 14 0,0-1 15,0 0-15,0 0 16,0 0-16,-13-13 0,13 14 0,0-1 16,0 0-16,-14 0 15,14 1 1,0-1 0,14-13-1,-1 0 1,0 0-16,0 0 15,0 0-15,14 0 16,-14 0-16,0 0 16,1 0-16,-1 0 0,0 0 15,0 0-15</inkml:trace>
  <inkml:trace contextRef="#ctx0" brushRef="#br0" timeOffset="155103.16">12898 11959 0,'-13'13'31,"13"1"-31,-13-1 15,13 0-15,0 0 0,-13 1 0,13 12 16,0-13-16,-13 0 0,-1 14 16,14 13-16,0-27 15,-13 0-15,13 0 0,0 1 16,0-1-16,0 0 0,0 0 16</inkml:trace>
  <inkml:trace contextRef="#ctx0" brushRef="#br0" timeOffset="155362.79">12502 12171 0,'39'-13'31,"-26"13"-31,1 0 0,-1 0 0,13 0 16,-12 0-16,12 0 0,1 0 0,-14 0 15,13 0-15,1 0 0,-1 13 16,1-13-16,-14-13 0,0 13 16,14 0-16,-1 0 15,-13 0-15,0 0 0</inkml:trace>
  <inkml:trace contextRef="#ctx0" brushRef="#br0" timeOffset="156034.47">13441 11933 0,'-27'0'31,"27"13"-31,-13 0 0,13 0 0,-13 1 15,13-1-15,-13 13 0,13-12 0,-14 12 16,14-13-16,-13 27 0,13-14 16,0 1-16,0-14 15,0 14-15,0-1 0,13-26 16,-13 13-16,14 14 0,-1-27 16,-13 13-16,13-13 0,0 0 15,1 13-15,-1-13 16,0 0-16,0 0 0,1-13 15,-1 13 1,0 0-16</inkml:trace>
  <inkml:trace contextRef="#ctx0" brushRef="#br0" timeOffset="157310.5">13586 12131 0,'27'13'31,"-14"-13"-31,0 0 16,0 0-16,1 14 15,-1-14-15,0 0 16,0 0-16,1 0 16,-1 0-1</inkml:trace>
  <inkml:trace contextRef="#ctx0" brushRef="#br0" timeOffset="157699.6">14049 11999 0,'-26'0'0,"52"0"0,-65 0 15,25 13-15,1 0 0,0-13 16,0 14-16,13-1 0,-13 0 15,-1 0-15,14 0 0,-13 1 16,13 12-16,-13-13 0,13 1 0,0-1 16,0 0-16,13 0 0,-13 1 0,0-1 15,13-13-15,-13 13 0,14-13 16,-1 0-16,-13 13 0,13-13 0,0 0 16,0 0-16,-13-13 15,14 13-15,-14-13 16,0 0-1,0-1-15,-14 1 16,1 13 0,0 0-16,13-13 15,-13 13-15,0 0 0,-1-13 16</inkml:trace>
  <inkml:trace contextRef="#ctx0" brushRef="#br0" timeOffset="158037.64">13996 11853 0,'27'14'31,"-14"-1"-31,0 0 16,-13 0-16,14 0 0,-1 1 0,0-1 16,-13 13-16,13-12 0,1 12 15,-14-13-15,13 14 0,-13-1 0,0-13 16,0 14-16,13-14 0,-26 0 16,13 14-16,0-14 0,0 14 0,-13-14 15,13 0-15,-14 13 0,1-12 16,0-1-16,0 0 15,-1-13-15,1 0 16,13-13-16</inkml:trace>
  <inkml:trace contextRef="#ctx0" brushRef="#br0" timeOffset="158511.57">14261 11748 0,'0'0'0,"13"13"0,1-13 16,-1 13-16,0 0 15,-13 0-15,0 1 0,0-1 16,0 0-16,0 0 16,0 1-16,0-1 0,-13 0 0,13 0 15,-13 0-15,13 1 0,0-1 16,-14-13-16,14 13 15,0 0-15,27-13 47,-1 0-31,-13 0-16,1 0 16,-1 0-16,0 0 0,0 0 0,1 0 15,-1 0-15,0 0 0,0 0 16,0 0-16,1 0 0,-1 0 0,0 0 15,0 0-15</inkml:trace>
  <inkml:trace contextRef="#ctx0" brushRef="#br0" timeOffset="159079.41">14896 12012 0,'0'-13'0,"0"39"31,0-12-15,0-1-16,0 0 15,0 13-15,0-12 0,0-1 0,0 0 16,0 0-16,0 1 0,0-1 16,0 0-16,13 0 0,-13 1 15,-13-1-15,26 0 0,-13 0 0,0 0 16,0 1-16</inkml:trace>
  <inkml:trace contextRef="#ctx0" brushRef="#br0" timeOffset="159286.68">14724 12211 0,'-13'0'0,"53"0"31,-27 0-31,0 0 16,0-14-16,14 14 0,-1 0 15,-13 0-15,14 0 0,-1 0 16,14 0-16,-14 0 0,1 0 0,-1-13 0</inkml:trace>
  <inkml:trace contextRef="#ctx0" brushRef="#br0" timeOffset="159615.47">15558 12158 0,'26'26'63,"-13"-26"-63,14-13 16,-14 13-16,0 0 0,14 0 0,-14 0 15,0 0-15,0 0 0,0-13 16</inkml:trace>
  <inkml:trace contextRef="#ctx0" brushRef="#br0" timeOffset="160015.73">15888 12052 0,'13'0'0,"1"0"16,-1 0-16,0 0 15,-13 13-15,13 0 16,-13 0 0,0 1-16,-13-1 0,0 0 15,13 0-15,-13-13 0,-1 14 16,1-1-16,0 0 15,0 0 1,26-13 0,0 0-16,0 0 15,1 0-15,-1 14 0,0-28 16,0 14-16,1 0 0,-1 0 0,0 0 16,0 0-16,1 0 0,-1 0 15,0 0-15,0 0 0</inkml:trace>
  <inkml:trace contextRef="#ctx0" brushRef="#br0" timeOffset="160313.69">15372 11933 0,'-39'39'16,"78"-78"-16,-92 92 0,40-53 0,0 13 16,13 13-16,-13-12 0,13-1 0,0 13 15,0-13-15,0 14 0,0-14 16,13 14-16,0-1 0,0 1 0,1-1 15,12-13-15,-13 14 0,14-14 0,-1 0 16,1 0-16,-1 1 0,1-14 16,-1 0-16,1 13 0,12-26 15,-12 13-15,12 0 0,1 0 0</inkml:trace>
  <inkml:trace contextRef="#ctx0" brushRef="#br0" timeOffset="160645.81">16153 11800 0,'66'27'15,"-66"-14"1,13 0-16,0 14 0,1-14 0,-1 0 16,0 14-16,0-1 15,1-13-15,-14 14 0,13-14 0,-13 0 16,0 14-16,0-14 0,0 0 0,0 0 16,0 1-16,-13-1 0,13 0 0,-14 0 15,14 1-15,-13-1 0,0 0 16,0-13-16,-1 0 15</inkml:trace>
  <inkml:trace contextRef="#ctx0" brushRef="#br0" timeOffset="161071.79">16431 11615 0,'13'13'0,"0"14"16,-13-14-1,0 0-15,0 1 0,-13-1 0,13 0 16,-13 14-16,-1-14 16,14 0-16,0 0 0,-13 0 0,13 1 15,0-1 1,13 0-16,-13 0 16,14-13-16,-1 0 0,0 14 15,0-14-15,1 0 0,12 13 0,-13-13 16,14 0-16,-14 0 0,0 0 0,14 0 15,-14 0-15,13 0 0,-12 0 16,-1 0-16,13 0 0,-13 0 0,1 0 16,-1 0-1,0 0-15</inkml:trace>
  <inkml:trace contextRef="#ctx0" brushRef="#br0" timeOffset="162685.79">17013 12131 0,'0'0'0,"39"0"31,-25 0-31,-1 0 16,0 0-16,14 0 0,-14 0 0,0 13 16,0-13-16,0 0 0,1 0 15,-1 0-15</inkml:trace>
  <inkml:trace contextRef="#ctx0" brushRef="#br0" timeOffset="162876.1">16973 12290 0,'26'13'15,"-12"-13"1,-1 0-16,0 0 16,0 0-16,1-13 0,12 13 0,-13 0 15,1 0-15,-1 0 0,13 0 0,-13 0 16,1 0-16,-1 0 0</inkml:trace>
  <inkml:trace contextRef="#ctx0" brushRef="#br0" timeOffset="171852.99">18653 11919 0,'13'-13'62,"-13"0"-62,-13 0 16,13 0 0,-13 13-1,0 0-15,-1 0 16,1 13-16,-13 0 0,13-13 16,-1 13-16,1 0 0,0 1 15,0-1-15,-14 0 0,27 0 0,-13 1 16,0-1-16,13 0 0,0 0 15,0 1-15,13-14 16,0 0-16,0 0 16,1-14-16,-1 14 0,0-13 15,0 0-15,1 0 0,-1 13 0,0-14 16,0 1-16,0 13 16,1 0-1,-14 13-15,0 1 0,0-1 16,0 0-16,0 0 0,-14 14 15,14-14-15,0 0 0,-13 0 16,13 14-16,0-14 0,0 0 0,-13 1 16,13-1-16,0 0 0,-13-13 15,13 13-15,13 1 16,0-14 0</inkml:trace>
  <inkml:trace contextRef="#ctx0" brushRef="#br0" timeOffset="172182.67">18865 11959 0,'0'-13'16,"-66"53"15,132-67-31,-132 67 0,52-27 0,14 0 16,0 1-16,0 12 15,0-13-15,14-13 0,-14 13 16,13 1-16,13-14 16,40-40 15,-66 27-31,0 0 16,0-1-16,0-12 0,0 13 15,0-1-15,0 1 0,-13 0 16,0 0-16,0-1 15,-14 28-15,14-14 16,0 13-16,0 0 0,-14 0 16,14 1-16,0-1 0,-1 0 15,-12 14-15</inkml:trace>
  <inkml:trace contextRef="#ctx0" brushRef="#br0" timeOffset="172571.69">18164 12528 0,'26'-13'31,"-13"13"-31,14 0 15,12 0-15,1 0 0,13 0 16,13 0-16,0-13 0,14 13 0,-14-14 16,13 14-16,1-13 0,-14 13 15,13-13-15,-26 13 0,53-13 16,-66 13-16,13 0 0,-27 0 16,0-14-16,-12 14 0,-1 0 15,0 0-15,0 0 16,1 0-16,-1 0 0,0 0 15</inkml:trace>
  <inkml:trace contextRef="#ctx0" brushRef="#br0" timeOffset="174335.54">18759 12846 0,'-27'13'31,"27"0"-31,-13 0 0,0-13 16,0 13-16,0 1 0,-1-1 0,1 0 15,0 0-15,0 1 0,-1-14 0,14 13 16,-13 0-16,0 0 0,0 1 16,13-1-16,0 0 15,0 0-15,13-13 16,0 13-1,0-13-15,1 0 0,-1 14 0,0-14 16,0 0-16,1 0 0,-1 0 0,13 0 16,-13 0-16,1 0 0,12-14 15,-13 14-15,1 0 0,-1-13 16,0 0 0</inkml:trace>
  <inkml:trace contextRef="#ctx0" brushRef="#br0" timeOffset="174534.81">18812 12885 0,'-13'0'16,"26"0"-16,-40 13 0,14 1 15,0-1-15,13 0 16,-13 0-16,13 1 0,-14 12 0,1-13 16,13 14-16,-13-14 0,13 0 0,0 14 15,-13-14-15,13 0 0,0 14 16,-13-14-16,13 0 0,0 0 15,0 0-15,13-13 16</inkml:trace>
  <inkml:trace contextRef="#ctx0" brushRef="#br0" timeOffset="175468.33">19579 12290 0,'-13'0'0,"26"-13"31,0 13-15,1 0-16,-1 0 16,0 0-16,0 0 15,1 13 1,-1-13-16,-26 13 16,13 0-16</inkml:trace>
  <inkml:trace contextRef="#ctx0" brushRef="#br0" timeOffset="175655.47">19539 12396 0,'0'13'0,"-13"-13"31,26-13-31,1 26 16,-1-13 0,0 0-1,0 0-15,1 0 16,-1 0-1,0 0-15,0 0 16,1 0-16</inkml:trace>
  <inkml:trace contextRef="#ctx0" brushRef="#br0" timeOffset="177374.47">20227 12105 0,'-13'0'31,"26"-27"0,1 27-31,-1 0 16,0 0-16,0 0 16,1 13-16,-1-13 15,0 14-15,-13-1 16,0 0-16,-13 0 16,0 1-16,-1-1 15,14 0-15,-13-13 16,13 13-16,-13-13 0,0 14 15,26-1 17,0-13-17,0 0-15,1 13 0,-1-13 16,0 0-16,0 13 0,-13 0 16,13-13-16,-13 14 0,14-1 15,-14 0-15,0 0 16,0 1-16,0-1 15,-14-13-15,14 13 0,-13-13 16,0 13-16,0 0 0,0-13 16,-1 0-16,1 14 0,0-14 0,0 0 15,-1 0-15,1 0 16,0 0-16,0 0 16,-1 0 15</inkml:trace>
  <inkml:trace contextRef="#ctx0" brushRef="#br0" timeOffset="185298.36">20174 12197 0,'14'14'31,"-28"-1"-31,14 0 16,0 0-16,0 0 0,0 1 0,0-1 15,0 0-15,0 0 0,14 1 16,-14-1-16,13-13 16,13 0-1,-12 0-15,-1-13 16,0-1-16,0 1 0,14-13 0,-14 12 16,0 14-16,-13-13 0,13 13 15,-13-13-15,0 39 31,-13-12-15,13-1-16,0 0 16,13 0-16,1-13 15,-1 0-15,0-13 16,0 0-16,1 0 16,-14-1-16,13 1 15,-26 0-15,-1 0 0,14 0 16,-13 13-16,0-14 0,0 14 15,-14 0-15,14-13 0,0 13 0,0 0 16,-1 0-16,1 0 0,0 13 16,0-13-16</inkml:trace>
  <inkml:trace contextRef="#ctx0" brushRef="#br0" timeOffset="185792.4">20902 12025 0,'13'-13'0,"-26"26"0,40-26 0,-14 0 15,13 13-15,-13 13 16,1-13-16,-1 13 16,-13 1-16,0-1 15,-13 0-15,13 0 0,-14 0 0,1 1 16,-13 12-16,13-13 0,-1 14 0,-12-14 15,13 0-15,-1 14 16,1-27-16,0 13 0,0 0 16,13 0-16,-14 1 15,28-1 1,-1-13-16,0 0 16,0 0-16,1 0 15,12 0-15,-13 0 0,14 0 0,-14 0 16,0 0-16,0 0 15,1 0-15,-1-13 0,0 13 0,0 0 16,1-14-16</inkml:trace>
  <inkml:trace contextRef="#ctx0" brushRef="#br0" timeOffset="186111.68">21167 12052 0,'39'-13'31,"-78"26"-31,92-26 0,-40 26 0,0-13 16,-13 13-1,0 0-15,0 0 16,-13 1-16,0-1 0,-1 13 0,1-12 16,0 12-16,0-13 0,-1-13 15,1 27-15,0-14 16,13 0-16,0 0 15,13 1 1,0-14-16,1 0 16,-1 0-16,0 0 15,0 0-15,1 0 0,-1 0 16,0 0-16,0 0 0,0-14 0,1 14 16,-1 0-16,-13-13 0,13 13 15,0-13-15</inkml:trace>
  <inkml:trace contextRef="#ctx0" brushRef="#br0" timeOffset="186280.04">21458 12144 0,'0'-13'0,"0"26"0,0-39 15,-14 26 1</inkml:trace>
  <inkml:trace contextRef="#ctx0" brushRef="#br0" timeOffset="186625.41">21709 12012 0,'0'0'0,"-13"-13"16,-14 13-1,14 0-15,0 13 0,0-13 16,-1 0-16,1 0 0,13 13 16,-13-13-16,26 14 15,-13-1-15,13 0 16,1 0-16,-14 0 15,13-13-15,-13 14 0,13-14 16,-13 13-16,13 0 16,-13 0-16,-13 1 15,0-1-15,0-13 16,-1 0-16,1 13 0,0-13 16,-13 0-16,12 13 0,-25 1 15,12-14-15,1 13 0,-27 0 16,0 0-16</inkml:trace>
  <inkml:trace contextRef="#ctx0" brushRef="#br0" timeOffset="187143.36">20915 12422 0,'14'0'15,"-1"-13"-15,0 13 16,27 0-16,-14 0 0,-13 0 16,14 0-16,-1 0 0,1 0 15,12 0-15,-12 0 16,-1-13-16,1 13 0,-14 0 0,13 0 16,-12 0-16,-1 0 15,0 0 1</inkml:trace>
  <inkml:trace contextRef="#ctx0" brushRef="#br0" timeOffset="187315.44">20876 12488 0,'119'14'47,"79"-41"-16,-171 27-31,-1-13 16,14 0-16,-27-1 0,27 1 15,-27-13-15,-489 118 0,965-198 0,-476 93 0</inkml:trace>
  <inkml:trace contextRef="#ctx0" brushRef="#br0" timeOffset="187974.34">20915 11576 0,'14'26'46,"-14"-13"-30,0 0-16,0 14 0,0-14 16,0 0-16,13 1 0,-13-1 15,0 0-15,0 0 0,13-13 16,-13 14-16,13-1 0,0 0 16,1-26-1,-1 13-15,0-13 0,-13-1 16,13 14-16,-13-13 0,14-13 0,-14 12 15,13 1-15,-13 0 0,0-14 16,13 14-16,-13 0 0,0 0 16,13 13-16,-13-13 0,0-1 0,14 1 15,-1 26 17</inkml:trace>
  <inkml:trace contextRef="#ctx0" brushRef="#br0" timeOffset="188505.94">21312 11523 0,'-13'0'0,"26"0"0,-53 0 16,27 0-1,13 13-15,-13-13 0,13 13 0,-13-13 16,0 13-16,13 1 0,-14-14 0,14 13 15,-13 0-15,13 0 16,0 0-16,0 1 16,0-1-16,13 0 15,1-26 1,-1 13-16,-13-13 16,13 13-16,-13-14 0,13 14 0,-13-13 15,13 13-15,-13-13 16,14 0-16,-1 13 31,0 0-15,0 0-16,-13 13 0,14 0 15,-14 0-15,0 1 16,13-14-16,-13 13 0,0 0 0,0 0 16,0 1-1,0-1-15,0 0 16,26-26 15,-26 0-15,14 13-16,-14-14 0,0 1 0,13 13 15,0-13-15,0 0 16,0-1 0,1 14-1,-1 0-15,0 0 16</inkml:trace>
  <inkml:trace contextRef="#ctx0" brushRef="#br0" timeOffset="194058.36">22238 12052 0,'13'0'16,"1"0"-16,12 0 15,-13 0-15,1 0 16,-1 0-16,0 0 0,0 0 16,1 0-16</inkml:trace>
  <inkml:trace contextRef="#ctx0" brushRef="#br0" timeOffset="194252.29">22238 12158 0,'-13'13'0,"39"-13"31,1-13-15,-14 13-16,0 0 16,1 0-16,-1 0 0,0 0 15,0 0-15,1 0 0,-1 0 16,0 13-16,0-26 0,0 26 0</inkml:trace>
  <inkml:trace contextRef="#ctx0" brushRef="#br0" timeOffset="196971.52">23297 11814 0,'13'-14'16,"0"14"0,-13 14-1,-13-1 1,13 0-1,-13 0-15,-1 1 0,1-1 16,-13 0-16,12 0 0,1 0 0,-13 1 16,13-1-16,-1 0 0,1 0 0,0 1 15,0-14-15,13 13 0,-14-13 16,14 13-16,0 0 16,0 1-16,14-14 0,-1 0 15,0 13-15,14-13 16,-14 0-16,0 0 0,0 0 0,14 0 15,-1 0-15,-13 0 0,14 0 0,-14 0 16,13 0-16,-12 0 0,12 0 16,-13 0-16,1 0 0,-1 0 15,0 0-15,0-13 16</inkml:trace>
  <inkml:trace contextRef="#ctx0" brushRef="#br0" timeOffset="197290.63">23349 11814 0,'0'-14'16,"0"28"-16,0-1 31,-13 0-31,13 0 0,0 14 16,-13-1-16,0 1 0,13-1 15,-13-13-15,-1 14 0,14-14 16,-13 14-16,13-14 0,-13 13 0,0-13 16,13 1-16,-14-1 0,14 0 0,0 0 15,-13-13-15,13 14 0,0-1 16,13-13 15,1-13-15</inkml:trace>
  <inkml:trace contextRef="#ctx0" brushRef="#br0" timeOffset="197486.31">23548 11986 0,'0'-14'16</inkml:trace>
  <inkml:trace contextRef="#ctx0" brushRef="#br0" timeOffset="197968.21">23733 11814 0,'0'0'0,"13"0"0,1 0 16,-1 0-16,0 13 0,0-13 16,0 0-16,1 0 15,-14 13-15,13-13 0,-13 13 16,13 1-16,-13-1 16,0 0-16,0 0 15,0 0-15,0 1 0,0-1 16,0 13-16,0-12 0,0-1 15,0 0-15,0 0 0,0 1 16,0-1-16,0 0 16,0 0-16,0 0 31</inkml:trace>
  <inkml:trace contextRef="#ctx0" brushRef="#br0" timeOffset="198175.4">23720 12012 0,'0'0'16,"26"-13"0,-12 13-16,-1 0 0,0 0 15,0 0-15,0 0 0,1 0 0,12 0 16,-13 0-16,1 0 0,-1 0 15,0 0-15,0 0 0,1 0 0,-1 0 16,0 0-16,0 13 0,0-13 16</inkml:trace>
  <inkml:trace contextRef="#ctx0" brushRef="#br0" timeOffset="198562.51">23204 12369 0,'26'0'15,"-12"-13"-15,12 13 0,-13 0 16,199-13 0,-159 0-1,0 13-15,0 0 0,-14 0 0,1-14 16,0 14-16,-14 0 15,1 0-15,-1 0 0,1 0 0,-14 0 0,0 0 16,0 0-16,1 0 0,-28 14 31</inkml:trace>
  <inkml:trace contextRef="#ctx0" brushRef="#br0" timeOffset="198811.67">23151 12475 0,'119'13'31,"-92"-13"-31,12 0 0,-12 0 16,26 0-16,-14 0 0,14 0 15,0-13-15,-13 13 0,0 0 0,-1 0 16,-12 0-16,-1 0 0,14-13 15,-27 13-15,13 0 0,-12 0 0,12 0 16,-13-13-16,1 13 16,-1-14-16,0 1 0,-13 0 15,0 0-15,0-1 0</inkml:trace>
  <inkml:trace contextRef="#ctx0" brushRef="#br0" timeOffset="199264.86">23191 11523 0,'26'-14'16,"-13"14"-16,1 0 0,12 14 15,1-14-15,12 0 0,-12 0 0,12 0 16,1 0-16,13 13 0,-13-13 16,-14 0-16,1 0 0,-1 0 15,1 13-15,-1-13 0,-13 0 0,0 0 0,1 13 16</inkml:trace>
  <inkml:trace contextRef="#ctx0" brushRef="#br0" timeOffset="199512.57">23125 11655 0,'105'-13'32,"-91"13"-32,12 0 0,14 13 15,-14-13-15,14 0 16,13 0-16,-13-13 0,12 13 0,-12 0 16,0 0-16,0 0 0,-1 0 0,-12 0 15,12 0-15,-12 0 0,-1 0 16,1 13-16,12-13 0,-25 13 15,-1-13-15</inkml:trace>
  <inkml:trace contextRef="#ctx0" brushRef="#br0" timeOffset="200146.22">23482 12700 0,'0'-13'16,"0"26"-16,-13 0 46,-1 0-46,1 1 16,-27 39-16,14-27 0,13 1 16,-14 12-16,1-12 0,-1-1 0,1 1 15,13-1-15,-14 1 0,14-14 0,0 13 16,0-13-16,-1 1 0,1 12 16,0-13-16,13 1 15,13-41 16</inkml:trace>
  <inkml:trace contextRef="#ctx0" brushRef="#br0" timeOffset="200668.39">23297 12700 0,'13'-13'0,"-13"0"32,13 13-32,0 0 15,0-14-15,1 14 16,-1 0-16,0-13 0,0 13 16,1 0-16,25-13 0,-25 13 15,-1 0-15,26-13 0,-25 13 16,-1 0-16,0 0 15,0 0-15,1 13 16,-14 0-16,13-13 16,-13 13-16,0 1 0,0-1 15,0 0-15,0 0 16,0 0-16,0 1 0,0-1 0,0 0 16,13 0-16,-13 1 15,0-1 1,0 0-16,13 0 15,-13 1 1,0-1-16,-13 0 0,13 0 16,-13 0-16</inkml:trace>
  <inkml:trace contextRef="#ctx0" brushRef="#br0" timeOffset="201278.44">23019 13494 0,'0'0'0,"-13"-13"0,-1 13 15,1 0-15,0 0 16,0 0-16,-1 0 0,1 0 0,0 0 15,0 0-15,-1 0 0,1 13 16,0-13-16,0 0 0,0 0 16,13 13-16,13 0 31,0-13-31,-13 13 0,13-13 16,0 14-16,1-14 0,12 0 0,-13 13 15,1-13-15,-1 13 0,13-13 0,-12 13 16,-1-13-16,0 14 15,0-14-15,-13 13 0,13 0 16,-26 0 0,0-13-16,0 13 15,0-13-15,-1 14 0,1-14 16,0 0-16,0 13 0,-1-13 0,1 0 16,0 0-16,0 0 0,-1 0 15,1 0-15,0 0 16,0 0-16,0-13 15,26-1 1</inkml:trace>
  <inkml:trace contextRef="#ctx0" brushRef="#br0" timeOffset="201525.77">23230 13322 0,'14'-13'0,"-28"26"0,28 0 31,-14 0-15,0 0-16,0 1 15,0-1-15,0 0 0,0 0 0,-14 1 16,14 12-16,0-13 0,0 1 16,0-1-16,-13 0 0,13 0 0,0 0 15,0 1-15,0-1 0,13 0 31</inkml:trace>
  <inkml:trace contextRef="#ctx0" brushRef="#br0" timeOffset="201862.23">23204 13322 0,'13'-13'15,"0"13"-15,-13-14 16,14 14-16,-1 0 0,13 0 16,-12 14-16,-1-14 0,0 0 0,0 13 15,0 0-15,1 0 16,-1-13-16,0 13 0,0 1 0,1-1 15,-14 13-15,0 1 0,0-14 16,0 0-16,0 1 0,-14-1 16,14 0-16,-13 0 0,0 0 0,13 1 15,-13-1-15,-1 0 0,1-13 0,13 13 16,-13-13-16,0 0 0,0 0 16,-14 0-1,14 0-15,0 0 0</inkml:trace>
  <inkml:trace contextRef="#ctx0" brushRef="#br0" timeOffset="202980.2">22635 13269 0,'0'0'0,"27"0"16,-14-13-16,0 13 0,13 0 0,14-14 15,-13 1-15,12 0 0,1 13 16,0-13-16,-1-1 0,1 1 16,0 13-16,13-13 0,-14 13 0,1-13 15,0 13-15,-14-13 0,1 13 0,12 0 16,-12 0-16,-1 0 0,1 0 0,-1 0 16,14 0-16,-14 0 0,1 13 15,-1-13-15,1 13 0,-14-13 0,13 0 16,-12 13-16,12-13 0,-13 13 15,1-13-15,-1 14 0,0-14 16,0 13-16,0 0 0,1 0 0,-1-13 16,0 14-16,-13-1 0,13 0 0,-13 0 15,14 1-15,-14-1 0,13 0 16,-13 0-16,0 0 0,13 14 16,-13-14-16,0 14 0,13-1 15,-13-13-15,0 14 0,13-14 16,-13 0-16,0 0 0,0 1 0,0-1 15,0 0-15,0 14 0,0-14 16,0 0-16,0 0 0,-13 0 0,13 1 16,-13-1-16,13 0 15,-13 0-15,13 1 0,-13-1 0,-1-13 16,1 13-16,0 0 0,0 1 0,-1-1 16,-12 0-16,13-13 0,-14 13 15,14 0-15,-13 1 0,-1-1 0,1 0 16,-14-13-16,14 13 0,-14 1 0,13-1 15,1-13-15,-1 13 0,1-13 16,-14 13-16,14-13 0,-1 14 0,1-14 16,0 0-16,-1 13 0,1-13 0,-1 0 15,1 0-15,12 0 16,-12 0-16,0 0 0,-1 0 0,1 0 16,-1 0-16,14 0 0,-14 0 0,1 0 15,0-13-15,12 13 0,-12-14 0,-1 14 16,14-13-16,-13 13 0,-1-13 15,1 0-15,13 13 0,-14-14 16,14 14-16,-14-13 0,14 13 0,0-13 0,-27 0 16,27 13-16,-13-14 15,12 1-15,1 13 0,0-13 16,-14 0-16,27 0 16,-13-1-16,0-12 0,0 13 0,13-1 15,-13 1-15,13 0 16,0-14-16,-14 1 0,14 0 15,0 12-15,0-12 0,0 13 0,0-1 16,0-12-16,0 13 0,0 0 0,14-14 16,-14 14-16,0 0 0,13-1 15,-13 1-15,13 0 0,13-14 16,-26 14-16,14 0 0,-1 0 0,0 0 16,0-1-16,1 1 0,12 13 15,-13-13-15,0 0 0,27-1 16,-27 1-16,14 0 0,-14 0 15,0 13-15,1-14 0,-1 1 0,0 13 16,0 0-16,0-13 0,1 13 16,-1 0-16,0-13 0,0 13 15,1 0-15,-1 0 16,0 0-16,-13 13 16,13-13-16,1 0 0,-1 0 15</inkml:trace>
  <inkml:trace contextRef="#ctx0" brushRef="#br0" timeOffset="207302.43">23270 10253 0,'-40'0'62,"27"0"-62,0 0 16,0 0-16,0 0 16,-1 0-16,1 0 0,0 0 0,0 0 15,-1 0-15,1 0 0,0 0 0,0 0 16,-1 0-16,1 0 0,0 0 16,0 0-16,0 0 0,-1 0 15,1 0-15,0 0 0,0 0 16,-1 0-16,1 0 15,-13 0 1,12-14 15</inkml:trace>
  <inkml:trace contextRef="#ctx0" brushRef="#br0" timeOffset="207791.34">22966 10107 0,'-27'0'31,"14"13"-15,13 1-16,-13-14 16,0 13-16,-1 0 0,14 0 0,-13 0 0,0 1 15,0-1-15,0 0 0,-1 0 16,14 1-16,-13-1 15,13 0-15,-13 0 0,13 1 16,13-14 0,-13 13-16,13-13 0,1 0 15,-14 13-15,13-13 0,0 0 16,0 0-16,0 0 16,1 0-16,-1 13 0,0-13 15,0 0 1,1 13-1</inkml:trace>
  <inkml:trace contextRef="#ctx0" brushRef="#br0" timeOffset="-209802.76">5292 13414 0,'0'-13'63,"13"13"-48</inkml:trace>
  <inkml:trace contextRef="#ctx0" brushRef="#br0" timeOffset="-209394.18">6429 12039 0,'14'0'16</inkml:trace>
  <inkml:trace contextRef="#ctx0" brushRef="#br0" timeOffset="-206301.42">21722 10425 0,'-13'13'62,"13"0"-46</inkml:trace>
  <inkml:trace contextRef="#ctx0" brushRef="#br0" timeOffset="-204949.26">6006 7064 0,'13'0'0,"-13"-13"31,-13 40-15,0-27-16,0 13 15,-1 13-15,1-12 0,0-1 0,-14 13 16,14-13-16,0 14 0,-27-1 15,40-12-15,-13-1 0,0 13 16,13-13-16,-13-13 0,13 14 16,0-1-1,13 0-15,0-13 0,0 0 16,1 0-16,12 0 0,-13-13 0,14 13 16,-1 0-16,-13 0 0,14-13 15,-1 13-15,-13 0 0,14-14 0,-14 14 16,0-13-16,1 13 0,-1 0 0,0-13 15,0 13-15,1 0 16,-14-13-16,0 0 16,0-1-16</inkml:trace>
  <inkml:trace contextRef="#ctx0" brushRef="#br0" timeOffset="-204737.4">6006 7078 0,'-13'0'0,"26"0"0,-39 0 15,26 13-15,-14-13 0,14 13 16,0 0-16,0 1 0,0-1 0,0 13 16,-13-13-16,13 14 0,0-1 15,0 1-15,0-1 0,0 1 0,0-14 16,0 13-16,-13-12 0,13 12 0,0-13 16,0 1-16,0-1 0,0 0 15,13 0-15,-13 0 16</inkml:trace>
  <inkml:trace contextRef="#ctx0" brushRef="#br0" timeOffset="-204506.32">5662 7038 0,'-40'26'0,"80"-52"0,-80 66 0,27-27 15,0 0-15,0 14 0,13-14 0,-27 40 16,27-14-16,0-12 0,0-1 16,0 1-16,13-1 0,-13 14 15,14-14-15,-1 1 0,13-1 0,-12 1 16,-1-1-16,13-13 0,-12-13 0,12 14 16,-13-14-16,14 13 0,-1-13 15,-13 0-15,14 0 0,-14-13 0,14-1 16</inkml:trace>
  <inkml:trace contextRef="#ctx0" brushRef="#br0" timeOffset="-204225.37">6046 6813 0,'66'13'16,"-53"0"-16,14 1 16,-1-1-16,0 13 0,1 1 0,-1 13 15,14-1-15,-27 1 0,14 0 0,-1 39 16,-13-26-16,-13-13 16,0 52-16,0-52 0,-13 0 15,0-1-15,-13 14 0,12-13 16,1-14-16,-13 14 0,-1-14 0,14 1 15,-14-1-15,14-12 0,-13-1 0,-1 0 16</inkml:trace>
  <inkml:trace contextRef="#ctx0" brushRef="#br0" timeOffset="-203468.8">6588 10570 0,'-26'27'16,"12"-14"-1,1 0-15,0 0 0,0 0 16,0 1-16,-1-1 0,1 0 15,13 0-15,-13 1 0,0-1 16,13 0-16,0 0 0,0 1 16,13-14-16,-13 13 15,13-13-15,0 0 16,1 0-16,-1 0 0,0 0 16,0 0-16,0 0 0,1 0 0,12-13 15,-13 13-15,1 0 0,-1-14 0,0 14 16,0-13-16,1 13 0,-14-13 15,13 13-15,0-13 0,-13-1 16</inkml:trace>
  <inkml:trace contextRef="#ctx0" brushRef="#br0" timeOffset="-203249.98">6641 10504 0,'-13'0'0,"26"0"0,-39 0 16,26 13-16,-14-13 0,14 13 15,0 1-15,0-1 0,0 0 16,-13 0-16,13 1 0,13-1 0,-13 13 16,0-13-16,0 14 0,0-14 0,0 14 15,14-14-15,-14 0 0,0 14 16,0-14-16,0 0 0,13 0 0,-13 0 16,0 1-16,0-1 0,0 0 15</inkml:trace>
  <inkml:trace contextRef="#ctx0" brushRef="#br0" timeOffset="-202993.01">6204 10411 0,'-26'40'16,"-40"66"-1,39-27 1,27-39-16,0 0 0,0-1 16,0 1-16,0 0 0,14-1 15,-1-12-15,13 13 0,1-14 0,26 27 16,-14-40-16,-12 14 0,39-14 16,-40 0-16,1-13 15,-1 0-15,14-13 0,-13 0 0,12-1 16,-12 1-16,12 0 0,-12-14 0</inkml:trace>
  <inkml:trace contextRef="#ctx0" brushRef="#br0" timeOffset="-202678.19">6668 10200 0,'13'-14'0,"40"41"15,-40-14-15,27 0 16,-14 14-16,0-1 0,14 1 0,-13-1 16,-1 14-16,1-14 0,-14 14 15,13 39-15,-13-39 0,-13 13 16,0-13-16,-13 13 0,13-14 15,-13 14-15,-13 0 0,12-13 0,1 0 16,0-14-16,-14 14 0,14-14 0,0 1 16,0-1-16,-1-13 0,1 0 15,0 1-15,0-14 0,13 13 0,-13-13 16</inkml:trace>
  <inkml:trace contextRef="#ctx0" brushRef="#br0" timeOffset="-196056.32">23773 12462 0,'13'0'47,"0"13"-47,0-13 0,1 0 15,-1 0-15,0 13 0,0-13 16,1 0-16,-1 0 0,0 0 15,0 0-15,1 0 0,-1 14 16,0-14-16,0 0 0,0-14 16,1 14-16</inkml:trace>
  <inkml:trace contextRef="#ctx0" brushRef="#br0" timeOffset="-195459.3">23760 12356 0,'-14'0'0,"41"0"47,-1 0-47,-13 0 16,1 0-16,-1 0 0,0 0 15,0 0-15,1 0 0,-1 0 16,0 0-16,0 13 16,1-13-16,-1 0 0,0 0 15,0 0-15,0 0 16,1 0-16,-1 0 16,0 0-1,0 0 1,1 0 140</inkml:trace>
  <inkml:trace contextRef="#ctx0" brushRef="#br0" timeOffset="-188398.48">22450 10835 0,'-13'-14'0,"39"41"31,-13-27-31,-13 13 0,14 0 16,-1 1-16,0-1 0,0 0 15,14 14-15,-14-1 0,0-13 16,0 0-16,-13 1 0,14-1 16,-1 0-16,-13 0 0,13 1 15,0-1-15,-13 0 16,14 0 0</inkml:trace>
  <inkml:trace contextRef="#ctx0" brushRef="#br0" timeOffset="-188009.6">22595 10941 0,'0'0'0,"0"-14"16,27 28 15,52 91 16,-66-91-47,-13-1 0,14 0 16,-14 0-16,0 0 15,0 1-15,0-1 16,-14 0-16,1 0 0,-13 1 16,-1-14-16,1 13 15,-14 0-15,14-13 16,-27 13-16,40 1 16,-1-14-16,1 0 15,0 13-15</inkml:trace>
  <inkml:trace contextRef="#ctx0" brushRef="#br0" timeOffset="-187106.56">24381 12277 0,'14'0'47</inkml:trace>
  <inkml:trace contextRef="#ctx0" brushRef="#br0" timeOffset="-171062.62">11853 503 0,'-13'0'15</inkml:trace>
  <inkml:trace contextRef="#ctx0" brushRef="#br0" timeOffset="-166173.12">24381 11946 0,'-26'0'0,"26"-13"15,-13 13 17,-1 0-32,1 13 15,0-13-15,0 0 0,0 0 16,-14 0-16,14 13 0,0-13 15,-14 0-15,14 13 0,0-13 16,-1 0-16,1 0 0,0 14 16,0-14-16,0 0 15,-1 0 1</inkml:trace>
  <inkml:trace contextRef="#ctx0" brushRef="#br0" timeOffset="-165906.62">24196 11853 0,'-26'14'0,"-14"12"31,40-13-31,-13-13 0,13 13 0,-13-13 15,13 14-15,0-1 0,0 0 16,0 0 0,13-13-16,-13 14 0,13-14 0,0 0 15,-13 13-15,13-13 0,1 0 0,-1 0 16,0 0-16,0 0 0,1 0 16</inkml:trace>
  <inkml:trace contextRef="#ctx0" brushRef="#br0" timeOffset="-164806.65">22212 10226 0,'-27'0'79,"27"13"-79,-13-13 0,13 14 15,-13-14-15,13 13 0,-13-13 0,-1 13 16,1 0-16,0 1 15,0-14-15,13 13 0,-14-13 16,14 13-16,-13-13 0,13 13 16,-13-13-1</inkml:trace>
  <inkml:trace contextRef="#ctx0" brushRef="#br0" timeOffset="-164413.59">22066 10226 0,'0'-13'16,"-13"26"0,0 0-1,0 1-15,13-1 16,-14 0 0,14 0-16,-13-13 0,13 14 0,0-1 15,-13-13-15,13 13 0,0 0 0,-13 0 16,13 1-16,13-1 15,0 0 1,0 0-16,1-13 16,-1 14-16,0-14 0,0 0 15,0 0-15,14 0 0,-14 0 0,0 13 16,14-13-16,-14 0 0,0 0 16</inkml:trace>
  <inkml:trace contextRef="#ctx0" brushRef="#br1" timeOffset="-159394.41">20915 9406 0,'-39'26'32,"25"-12"-32,-12 12 15,-1 1-15,1-1 0,13 0 0,-27 1 16,27-1-16,-27 1 0,14 13 0,-1-14 15,1-13-15,13 14 0,-14-1 16,1-13-16,12 14 0,1-14 0,0 0 16,0-13-16,13 13 0,-13 1 0,-1-1 15,1-13 1,26-27 15</inkml:trace>
  <inkml:trace contextRef="#ctx0" brushRef="#br1" timeOffset="-159081.65">20518 9512 0,'14'13'16,"-1"-13"-1,0 13-15,0 14 0,1-14 0,12 0 16,-13 14-16,14-14 0,-1 13 16,1 1-16,-1-14 0,1 13 0,-1-12 15,-13-1-15,0 13 0,14-12 16,-14-1-16,0 0 0,1 0 16,-1-13-16,-13 13 0,13-13 0,0 14 15,1-14 1,-1 0-1,0-14-15,0 14 0,0-13 16,1 13-16,-1 0 0,0-13 16</inkml:trace>
  <inkml:trace contextRef="#ctx0" brushRef="#br1" timeOffset="-158748.62">22212 9525 0,'-13'0'0,"26"0"0,-40 0 0,14 0 0,13 13 16,-13-13-16,0 13 0,-14 1 15,14-1-15,0 0 0,-14 14 0,1-14 16,-1 13-16,14-12 0,-13-1 0,12 0 16,-12 13-16,13-12 0,0-14 15,-1 13-15,1 0 0,0 0 0,0 1 16,-1-14-16,14 13 0,-13-13 16,13 13-16,-13 0 0,0-13 15,-1 0 1</inkml:trace>
  <inkml:trace contextRef="#ctx0" brushRef="#br1" timeOffset="-158473.53">21709 9591 0,'27'13'31,"-14"1"-31,0-1 0,0 0 16,14 0-16,-1 14 0,1-14 16,-1 13-16,1-12 0,-14-1 15,13 0-15,-13 0 0,1 14 0,12-14 16,-13-13-16,1 13 0,-14 0 0,13 1 16,0-1-16,0-13 0,-13 13 15,13-13-15,-13 13 0,14-13 0,-1 14 16,0-14-16,0 0 15,1 0-15,-1 0 0,0 0 0</inkml:trace>
  <inkml:trace contextRef="#ctx0" brushRef="#br1" timeOffset="-158159.33">23191 9790 0,'0'-14'16,"0"28"-16,-13-28 0,-14 28 15,14-14-15,0 0 0,-1 13 0,-12 0 16,13 0-16,-14 0 0,1 14 15,-1-14-15,1 14 0,-1-14 0,14 13 0,-13-12 16,12-1-16,1 0 0,-13 13 16,13-26-16,-1 14 0,14-1 15,-26 0-15,26 0 0,-13 1 0,-1-14 16,14 13-16,-13-13 0</inkml:trace>
  <inkml:trace contextRef="#ctx0" brushRef="#br1" timeOffset="-157924.21">22741 9909 0,'13'0'16,"0"0"0,-13 13-16,14-13 0,-1 13 0,0 0 15,14 1-15,-14-1 0,13 0 16,1 0-16,-14 0 0,13 1 0,1-1 15,-14 0-15,0-13 0,14 13 0,-14 1 16,0-1-16,0-13 0,1 13 16,-1-13-16,-13 13 0,-13-13 15,-14 0 1</inkml:trace>
  <inkml:trace contextRef="#ctx0" brushRef="#br1" timeOffset="-157402.45">19817 9419 0,'0'0'0,"-13"27"16,0-14-1,0 0-15,-1 14 0,-12-1 16,13 0-16,-14 1 0,1-1 0,-1 1 16,14-1-16,-13-12 0,12 12 0,1-13 15,0 0-15,0 14 0,-1-14 16,1 0-16,0-13 0,0 14 16,13-1-16,-13-13 0,-1 0 0</inkml:trace>
  <inkml:trace contextRef="#ctx0" brushRef="#br1" timeOffset="-157169.95">19420 9538 0,'14'27'31,"-1"-27"-31,-13 13 0,13 0 0,0 0 0,27 14 16,-14-1-16,1-12 0,-1 12 15,1-13-15,-1 14 16,1-14-16,-14 0 0,13 0 0,-12 1 16,12-1-16,-13 0 0,1 0 0,-1 0 15,-13 1-15,13-1 0,-13 0 16,0 0-16</inkml:trace>
  <inkml:trace contextRef="#ctx0" brushRef="#br1" timeOffset="-156865.71">19447 10160 0,'-27'13'32,"14"0"-17,0 1-15,0-1 0,0 0 16,-1 14-16,1-1 0,-13 1 16,12-14-16,-12 13 0,13-13 15,-1 14-15,-12-14 0,13 0 0,13 1 16,-13-1-16,-1 0 0,1-13 0,13 13 15</inkml:trace>
  <inkml:trace contextRef="#ctx0" brushRef="#br1" timeOffset="-156610.39">19169 10213 0,'40'26'16,"-27"-12"0,0-1-16,14 0 0,-14 0 15,13-13-15,-12 14 0,12-1 0,1 0 16,-1 0-16,14 0 0,-14 1 16,1-1-16,39 27 0,-27-27 15,41 13-15,-54-12 0,14-1 16,-14 0-16,14 13 0,-13-12 15</inkml:trace>
  <inkml:trace contextRef="#ctx0" brushRef="#br1" timeOffset="-156287.08">20373 10702 0,'-40'40'31,"27"-13"-31,0-14 16,-14 26-16,14-25 16,-13 12-16,-1 14 0,14-14 15,0-12-15,-1-1 0,1 0 0,0 0 16,13 0-16,-13-13 16</inkml:trace>
  <inkml:trace contextRef="#ctx0" brushRef="#br1" timeOffset="-156082.5">20135 10742 0,'39'27'32,"-25"-27"-32,-1 13 15,13 0-15,-12 0 0,25 0 0,1 1 16,0-1-16,-1 0 0,1 0 15,0-13-15,-1 14 0,-12-14 0,-1 13 16,14-13-16,-13 0 0,12 0 16,-12 0-16</inkml:trace>
  <inkml:trace contextRef="#ctx0" brushRef="#br1" timeOffset="-155789.58">21947 10689 0,'0'0'0,"-13"-13"16,-13 26-16,26 0 15,-14-13-15,1 14 0,-13-1 0,12 0 16,1 14-16,0-14 0,-14 0 16,14 13-16,-13-12 0,13 12 0,-1-13 15,1 1-15,-13 12 0,12-13 16,14 1-16,-13-14 16</inkml:trace>
  <inkml:trace contextRef="#ctx0" brushRef="#br1" timeOffset="-155558.8">21577 10702 0,'0'-13'0,"0"26"0,13-26 16,13 26-16,1 1 16,-14-14-16,14 13 15,-1 0-15,14 0 0,-1 1 16,1-1-16,-13 0 0,12 0 0,-12 0 0,12 1 15,-12-1-15,13 0 0,-14 0 16,0-13-16,14 14 0,-13-1 16,-1-13-16,14 13 0,-14 0 0,1 1 0,12-14 15,-12 13-15</inkml:trace>
  <inkml:trace contextRef="#ctx0" brushRef="#br2" timeOffset="-149416.83">22794 11470 0,'0'-14'0,"0"41"16,0-1-16,0 1 15,0 13-15,0 12 0,0 15 0,0-1 0,-13-13 16,13 26-16,-14-13 16,14 14-16,-13-14 0,13 13 0,-13-13 15,0 0-15,-1 0 0,1-13 0,13 0 16,-13-13-16,13 0 0,0-14 0,-13 1 15,13-14-15,0 13 0,0-12 16,0-1-16,0-53 16,13 27-1,-13-27-15,13 0 0,-13-12 16,13-1-16,1 0 0</inkml:trace>
  <inkml:trace contextRef="#ctx0" brushRef="#br2" timeOffset="-148649.62">22754 11245 0,'0'-13'16,"40"-1"-1,-27 14-15,0-13 0,27 13 16,0 0-16,13-13 0,0 13 15,13-13-15,13 13 0,0-14 16,1 14-16,-1-13 0,14 13 0,-1-13 16,1 13-16,0 0 0,-1-13 15,1 13-15,13 0 0,-14 0 0,1 0 16,-14 0-16,14 0 0,-14 0 0,53 0 16,-65 0-16,-14 0 0,13 0 15,-27 0-15,14 0 0,13 0 16,-39 0-16,-1 13 0,1-13 15,-14 0-15,13 0 0,-12 0 0,-1 0 16,0 13-16,0-13 0,1 0 16,-1 13-16,0 1 15,-13-1-15,0 0 0,13 0 16,-13 14-16,0-14 0,0 13 0,0 1 16,0 13-16,0-14 0,-13 27 15,13-13-15,0 13 0,0 0 0,0-1 16,0 1-16,13 0 0,-13 13 0,0-13 15,0 0-15,14 13 0,-14-13 16,13 0-16,-13 0 0,13 0 16,-13-13-16,13-1 0,0 14 0,-13-13 15,14 0-15,-14-1 0,13 1 0,-13-13 16,13 12-16,-13-26 0,13 14 16,-13-14-16,0 14 0,0-14 0,0 0 0,0 0 15,0 1-15,0-1 0,-13 0 16,0 0-16,0-13 15,-1 0-15,1 13 0,-13-13 0,-1 0 16,-12 0-16,-14 0 0,0 0 0,0 0 16,-13 0-16,0 0 0,-14 14 15,-12-14-15,-1 0 0,14 0 0,-14 13 16,0-13-16,14 13 0,-14 0 0,14 1 16,-14-1-16,14 0 0,0 14 15,-1-14-15,14 0 0,0 13 16,0-12-16,0 12 0,13-13 0,13 1 15,-13-1-15,14 0 0,12-13 0,1 13 16,12-13-16,-12 0 0,13 14 16,0-14-16,-1-14 15,28 1-15,-14 0 0,26-14 16,0-12-16,14-1 0,0 0 16,13 1-16,0-14 0,13-13 0</inkml:trace>
  <inkml:trace contextRef="#ctx0" brushRef="#br2" timeOffset="-148057.59">24699 11377 0,'-13'-13'15,"13"39"32,0 1-31,0-14-16,0 0 15,0 0-15,13 1 16,0-14 0,14-14-1,-14 14-15,0-13 0,0 13 16,0-13-16,14 0 0,-14 0 0,0-1 16,14 1-16,-14 0 0,14 0 0,-14-1 15,13 1-15,-13 0 0,1 0 16,-1 13-16,0-14 0,0 1 0,1 13 15,-1 0-15,0 0 16,-13 27 0,0-14-16,-13 0 15,13 0-15,-13 1 0</inkml:trace>
  <inkml:trace contextRef="#ctx0" brushRef="#br2" timeOffset="-147500.78">24448 12330 0,'0'13'31,"0"0"-31,0 0 0,0 0 16,0 1-16,0-1 0,0 0 16,0 0-16,13 1 15,-13-1-15,13-13 0,0 0 16,0 0-1,1 0-15,-1 0 0,0 0 0,14-13 16,-14 13-16,0-14 0,13 14 0,1-13 16,-14 13-16,14-13 0,-14 0 15,13 13-15,-12-14 0,-1 1 0,0 13 16,0 0-16,0-13 0,1 13 16,-1-13-16,0 0 15</inkml:trace>
  <inkml:trace contextRef="#ctx0" brushRef="#br2" timeOffset="-147137.65">24739 11986 0,'0'26'47,"0"-13"-32,0 1-15,0-1 16,13 0-1,-13 0-15,13-13 16,0 0-16,0 0 0,1-13 16,-1 13-16,13-13 15,1 0-15,13-14 0,-1 14 0,-12 0 16,12-1-16,-12-12 0,12 13 0,-12 13 16,-1-14-16,1 1 0,-14 13 15,14 0-15,-14-13 0</inkml:trace>
  <inkml:trace contextRef="#ctx0" brushRef="#br2" timeOffset="-146018.3">24011 11404 0,'-13'-14'31,"13"1"-31,0 0 0,0 0 16,0-14-16,0 1 0,0-1 15,-14-12-15,14-1 0,0 0 16,0-13-16,0 14 0,0 12 15,0 1-15,0-14 0,-13 27 0,13-14 0,0 14 16,0 0-16,0 0 0,0-1 16,0 1-16,13 40 31,-13-14-31,14 0 0,-14 14 16,13-1-16,0-13 0,0 27 15,-13-14-15,14-12 0,-1 12 0,0-13 16,-13 0-16,13 1 0,-13-1 0,14 0 15,-14 0-15,0 1 0,0-1 16,-14 0 0,1-13-16,0 0 15,0 0-15,-1 13 0,-12-13 16,-1 0-16,1 14 0,0-14 0,-1 13 16,1-13-16,-1 0 0,1 13 0,-1-13 15,14 0-15,0 0 0,0 13 16,-1-13-16,1-13 0,26 0 31,-13 0-31,27-1 0,-14 1 16,13-13-16,1-1 0,-1 1 0,1-1 15,13 1-15,-14-1 0,14 1 0,-14-1 16,14 1-16,-14 0 0,1-1 16,-1 14-16,-13 0 0,14-1 15,-14 1-15,0 13 0,-13-13 0,14 39 16,-28-12-1,14-1-15,0 13 0,-13 1 0,0-1 16,0 14-16,-1 0 0,1-14 16,0 14-16,0-1 0,0-12 0,-1 13 15,1-14-15,13-13 0,-13 0 0,13 14 16,0-14-16,0 0 16,0 1-16,13-14 15</inkml:trace>
  <inkml:trace contextRef="#ctx0" brushRef="#br2" timeOffset="-145366.04">24434 11179 0,'0'-40'16,"-13"27"-16,13-14 0,0 14 0,0-13 0,0-1 16,0 1-16,0-1 0,0 1 15,0 13-15,0-14 0,0 14 16,0-14-16,0 14 0,0 0 0,0 0 0,0-1 15,13 1 1,1 26 0,-1 1-16,-13-1 15,13-13-15,-13 13 0,13 0 16,0 1-16,-13-1 0,14 0 0,-1 0 16,-13 1-16,13-1 15,-13 0 1,-13 0-1,13 0-15,-13-13 0,-1 0 16,1 14-16,-13-14 0,13 13 16,-14-13-16,14 13 0,-14-13 0,14 0 0,-13 13 15,12-13-15,1 0 0,0 0 0,0 0 16,0 0-16,-1 0 16,14-13-1,0 0-15,14 0 0,-1-14 0,13 1 16,1-1-16,12 1 0,-12-14 15,13 0-15,26-12 0,-27 25 16,-12 1-16,-1 12 0,14-12 0,-27 13 16,14 13-16,-14-14 0,0 14 15,0 14-15,-26-1 16,13 0-16,-13 14 0,0 12 16,-14 1-16,-13 13 0,14 0 0,0-13 15,-14 12-15,13 1 0,-12 0 16,-1 0-16,14-13 0,-1 13 0</inkml:trace>
  <inkml:trace contextRef="#ctx0" brushRef="#br2" timeOffset="-143921.5">22318 12912 0,'-14'-27'15,"14"14"1,0 0-16,0 0 0,0-14 15,0 14-15,0-14 0,0 14 0,0-13 16,0-1-16,0 14 0,0 0 16,14 0-16,-14-1 0,0 1 0,0 0 15,0 0-15,0-1 0,13 14 32,0 14-32,0-1 0,1-13 15,-1 13-15,0 0 0,0 1 0,0-14 16,1 13-16,-1-13 0,-13 13 15,13-13-15,0 13 0,1-13 0,-14 13 16,13-13 0,-40 0 15,14 0-31,0 0 0,0 14 16,-1-14-16,1 0 0,-13 13 0,13-13 15,-1 13-15,-12-13 0,13 0 16,-1 13-16,1-13 0,0 0 0,0 0 15,-1 0-15,1 0 16,13-13 0,13 0-16,1-14 0,-1 14 15,0 0-15,14-13 0,-1-1 16,1 14-16,-14 0 0,13-14 0,-13 27 16,1-13-16,-1 0 0,0 13 15,0 0-15,1 0 16,-14 13-16,0 0 0,0 0 15,0 14-15,-14-1 0,1 14 16,0 0-16,0-1 0,-1-12 0,-12 26 16,13-14-16,-14 1 0,14 0 0,-13-14 15,12 14-15,1-14 0,0 14 16,0-13-16</inkml:trace>
</inkml:ink>
</file>

<file path=ppt/ink/ink16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2:09:29.643"/>
    </inkml:context>
    <inkml:brush xml:id="br0">
      <inkml:brushProperty name="width" value="0.05292" units="cm"/>
      <inkml:brushProperty name="height" value="0.05292" units="cm"/>
      <inkml:brushProperty name="color" value="#00B050"/>
    </inkml:brush>
  </inkml:definitions>
  <inkml:trace contextRef="#ctx0" brushRef="#br0">5636 4114 0,'53'0'109,"13"0"-93,119 0-16,27 0 15,184 27-15,107-27 16,40 0-16,25 0 16,-25 0-16,-40 0 15,-107 13-15,-52 27 16,-145-27-16,-93-13 15,-93 0-15</inkml:trace>
  <inkml:trace contextRef="#ctx0" brushRef="#br0" timeOffset="843.92">10067 3903 0,'27'13'125,"26"13"-125,26 14 15,1 0-15,-1-1 16,-26-12-16,13-1 15,0 14-15,-39-40 16,12 26-16,-26-12 16,1-14-16,-14 13 109,0 13-93,0-12-16,0 12 15,-27 0-15,14 1 16,0-14-16,-14 14 16,14 12-16,0-25 15,0-1-15,-1 0 16,1 0-1,13 0 1,-13-13-16,0 0 47,13 14-47,-27-1 16</inkml:trace>
  <inkml:trace contextRef="#ctx0" brushRef="#br0" timeOffset="1690.02">7038 8057 0,'40'0'47,"39"26"-31,40-13-16,40 0 16,66 1-16,26-14 0,-66 0 15,186 0-15,-1 0 16,-119 0-16,-39 0 15,-106 0-15,-27-14 16,-65 1 0</inkml:trace>
  <inkml:trace contextRef="#ctx0" brushRef="#br0" timeOffset="2408.51">9340 7924 0,'26'14'78,"1"12"-78,12-13 16,94 53 0,-80-52-1,-14 12-15,-12-26 16,12 0 0,-25 0 15,-14 13 47,0 0-62,0 1-1,0-1 1,-14 13-16,1 14 15,0-27 1,13 1-16,0-1 31</inkml:trace>
  <inkml:trace contextRef="#ctx0" brushRef="#br0" timeOffset="5475.98">14314 3664 0,'13'-26'0,"0"26"16,-13-13-1,0 0-15,-13 52 31,13-26-15,-13 1-16,0-1 0,0 13 0,-1-12 16,14-1-16,-13 0 0,0 0 0,13 1 15,-13-1-15,13 0 16,0 0-16,-14-13 0,14 13 0,0 1 16,14-1-1,-1-13-15,0 0 0,0 0 16,14 0-16,-14 0 0,13 0 15,-12 0-15,12-13 0,-13 13 0,14 0 16,-14 0-16,13-14 0,-12 14 0,-1 0 16,0 0-16,0 0 15</inkml:trace>
  <inkml:trace contextRef="#ctx0" brushRef="#br0" timeOffset="5684.14">14327 3664 0,'-13'0'16,"26"0"-16,-39 0 15,26 14-15,0-1 0,0 0 16,0 0-16,0 14 0,-13-1 16,13 1-16,0-1 0,0 14 0,0 0 15,0-14-15,0 1 0,0-1 0,0 0 16,0 1-16,0-1 0,0 1 15,0-14-15,13 0 0,-26 14 0,26-14 16,-13 0-16</inkml:trace>
  <inkml:trace contextRef="#ctx0" brushRef="#br0" timeOffset="5974.21">13996 3598 0,'-26'40'0,"-14"106"31,27-94-31,13-12 0,0 13 0,13-13 0,-13 13 16,14-14-16,-1 1 0,0-13 0,0 12 16,14-12-16,-14-1 0,13-13 15,-12 1-15,12-1 0,-13-13 0,14 0 16,-14 0-16,13 0 0,1-13 0,-1-1 16</inkml:trace>
  <inkml:trace contextRef="#ctx0" brushRef="#br0" timeOffset="6206.99">14592 3440 0,'39'39'0,"-78"-78"0,92 91 15,-27-25-15,-13-1 0,14 14 16,-1 0-16,-12 13 0,-1 0 0,0 0 0,0-1 15,-13 15-15,0-1 0,0-13 16,-13 13-16,0 0 0,13 0 16,-27-13-16,14 13 0,0-13 0,0 13 15,-1-13-15,1-13 0,0 0 16</inkml:trace>
  <inkml:trace contextRef="#ctx0" brushRef="#br0" timeOffset="8410.02">14129 7011 0,'-27'27'47,"14"-14"-47,0 0 0,0 14 16,-1-1-16,-12 1 0,13-1 15,-14-13-15,14 14 0,13-14 0,-13 0 16,0 1-16,13-1 0,-14 0 0,14 0 15,0 0-15,0 1 16,14-1-16,-1-13 16,0 0-16,0 0 0,0 0 0,1 0 15,-1 0-15,13 0 0,-12 0 16,12-13-16,-13 13 0,14 0 16,-14-14-16,13 14 0,-12 0 0,-1 0 15,0-13-15,0 13 0,1-13 16,-1 13-1,-13-13-15,0 0 16</inkml:trace>
  <inkml:trace contextRef="#ctx0" brushRef="#br0" timeOffset="8598.45">14142 7104 0,'79'79'0,"-158"-158"0,66 53 16,0 26-16,-1 0 0,14-14 0,-13 14 16,0 14-1,13-1-15,0 0 0,-13 14 16,13-1-16,0 0 0,-14 14 0,14 0 15,0-1-15,0 1 0,-13 0 0,13 0 16,0-14-16,0 0 0,0 1 16,0-1-16,0-12 0,0 12 0,-13-13 15,26 1-15,-13-1 0,0 0 0</inkml:trace>
  <inkml:trace contextRef="#ctx0" brushRef="#br0" timeOffset="8850.7">13586 6945 0,'-53'27'16,"106"-54"-16,-132 67 0,53-14 0,12 14 0,1-13 16,0 12-16,0 14 0,13-13 15,0 13-15,0 0 0,13 0 16,13 13-16,-12-27 0,12 14 0,0-13 0,14 0 15,0-1-15,-1-12 0,-12-1 16,13-12-16,-1-1 0,14 0 16,-13-13-16,-14 13 0,14-13 0,0-13 0,-14 13 15,14-13-15,0 0 0,-14-1 16,1-12-16,-1 13 0,0-1 16,1 1-16</inkml:trace>
  <inkml:trace contextRef="#ctx0" brushRef="#br0" timeOffset="9233.98">14420 6945 0,'26'14'15,"-26"-1"-15,13 0 0,54 159 31,-67-132-31,0 13 0,0-1 16,0-12-16,0 13 0,0-13 0,0-1 0,0 1 16,-14 0-16,14-14 0,-13 1 15,13-1-15,0-13 0,-13 14 16,0-1-16,13-12 0,-14-1 0,14 13 16,-13-12-16,0-1 0,13 13 0</inkml:trace>
  <inkml:trace contextRef="#ctx0" brushRef="#br0" timeOffset="9713.7">13824 8480 0,'0'-40'15,"0"80"-15,0-93 0,0 40 0,0 0 16,0-1-16,0 1 0,14 0 0,-14 0 0,0-1 16,13 1-16,-13 0 15,13 13-15,0 0 16,-13 13-16,14-13 15,-14 13-15,13-13 0,-13 14 0,13-1 16,0 0-16,1 0 16,12-13-1,-13-13-15,0 13 0,-13-13 16,14 0-16,-1-1 0,0 1 16,0 13-16,-13-13 0,14 13 15,-1 0-15,0 0 16,-13 13-16,13 0 15,-13 1-15,0-1 16,14 0-16,-14 0 16,0 1-16,13-14 0,13 0 31,-26-14-31</inkml:trace>
  <inkml:trace contextRef="#ctx0" brushRef="#br0" timeOffset="9895.81">14235 8295 0,'13'-40'15,"-26"80"-15,39-93 0,-26 40 16,13 13-16,-13-14 0,0 1 15,14 26 1,-14 1-16,13-1 0,-13 0 16,0 0-16,0 0 0,13 1 15,-13 12-15,0-13 0,0 14 0,0-14 16,0 0-16,0 14 0,0-14 16,0 0-16,0 0 15,0 1-15</inkml:trace>
  <inkml:trace contextRef="#ctx0" brushRef="#br0" timeOffset="10135.79">14327 8162 0,'0'-26'0,"40"-1"31,-14 41-31,-12-14 0,-1 0 15,0 13-15,0 0 0,0 0 0,1 1 16,-1 12-16,-13-13 0,13 14 0,-13-1 16,0 1-16,-13 12 0,13-12 0,-27 13 15,14-14-15,0 0 0,0 14 16,-14-27-16,14 14 0,0-14 0,-14 0 16,14 0-16,0-13 0,0 0 0,0 0 15,-1 0-15,14-13 0,-13 0 16,13 0-16</inkml:trace>
  <inkml:trace contextRef="#ctx0" brushRef="#br0" timeOffset="10699.09">18058 6813 0,'-53'53'31,"40"-40"-31,-14 14 0,14-1 15,-13 1-15,12-1 0,-12 0 0,13 1 16,-1-1-16,1-12 0,0-1 0,0 0 16,13 0-16,0 1 0,-14-14 15,14 13-15,0 0 0,0 0 16,14 0-16,-1-13 16,0 14-16,0-14 0,1 0 15,12 0-15,-13-14 0,14 14 16,-1 0-16,-13 0 0,14-13 0,-14 13 15,0-13-15,14 13 0,-14-13 16,0 13-16,1-13 0,-1 13 16,0-14-16,0 1 15,-13 0-15</inkml:trace>
  <inkml:trace contextRef="#ctx0" brushRef="#br0" timeOffset="10921.87">18018 6813 0,'-26'40'32,"26"-27"-32,-14 0 0,14 14 0,0-1 15,0 1-15,0-1 0,0 14 0,0-1 16,0 14-16,0-13 0,0 0 16,0-1-16,0-12 0,0-1 0,0 1 15,0-1-15,0 1 0,0-14 16,14 13-16,-14-12 0,0-1 15,13 0-15,0-13 16,0-13-16</inkml:trace>
  <inkml:trace contextRef="#ctx0" brushRef="#br0" timeOffset="11078.1">18322 7117 0,'0'0'16,"0"-13"-16,-13 0 16,26 13-1</inkml:trace>
  <inkml:trace contextRef="#ctx0" brushRef="#br0" timeOffset="11415.5">18441 6892 0,'0'0'0,"0"-13"0,14 0 15,-1 0-15,0 13 0,0-14 16,14 14-16,-14 0 0,0-13 15,1 13-15,-1 0 0,0 0 0,0 0 16,0 0-16,-13 13 0,14-13 0,-1 14 16,0-14-16,0 13 0,-13 0 0,14 0 15,-14 1-15,13-1 0,-13 0 0,13 14 16,-13-14-16,13 0 16,-13 13-16,0-12 0,13-1 0,-13 0 15,0 0-15,0 1 0,14-1 0,-14 0 16,0 0-16,0 1 0,13-14 15,-13 13-15</inkml:trace>
  <inkml:trace contextRef="#ctx0" brushRef="#br0" timeOffset="11596.77">18547 7117 0,'0'0'0,"14"-26"15,-1 26-15,13-13 0,-13-1 16,14 14-16,-1-13 0,14 0 16,-14-14-16,14 27 0,-13-13 0,-1 0 15,1 13-15,-1 0 0,-13 0 0,0 0 16,14 0-16,-27 13 0</inkml:trace>
  <inkml:trace contextRef="#ctx0" brushRef="#br0" timeOffset="12083.96">18428 7938 0,'-13'0'16,"-53"13"0,39 0-16,14 0 15,-13-13-15,12 13 0,1 1 0,0-1 16,0 0-16,0-13 0,13 13 0,0 1 15,0-1-15,0 0 16,13-13-16,0 13 0,-13 0 0,13 1 16,14-1-16,-14 0 0,0 0 0,14-13 15,-14 14-15,0-1 0,0 0 0,1-13 16,-1 13-16,0 1 0,-13-1 16,13 0-16,-13 0 0,0 0 0,0 1 15,-13-1-15,13 0 16,-13 0-16,0 1 0,-1-1 15,-12 0-15,13 0 0,-1 1 0,1-14 16,0 0-16,0 13 0,-1-13 0,1 0 16,0-13-1,0 13-15,13-14 0,0-12 16</inkml:trace>
  <inkml:trace contextRef="#ctx0" brushRef="#br0" timeOffset="12303.25">18574 7898 0,'0'-13'0,"0"92"31,0-66-31,-13 14 16,13-1-16,0-13 0,0 14 0,-14-1 15,14 1-15,0-1 0,0-13 0,0 14 16,0-14-16,14 0 0,-14 14 0,0-14 15,13 0-15,0-13 16</inkml:trace>
  <inkml:trace contextRef="#ctx0" brushRef="#br0" timeOffset="12606.37">18547 7752 0,'27'-26'0,"-54"52"0,67-52 0,-27 26 15,0 0-15,1 0 0,12 0 0,1 13 16,-1-13-16,14 13 0,-14 1 16,14 12-16,-14-13 0,1 14 0,-14-1 15,13 1-15,-26-14 0,14 13 16,-14 1-16,-14-14 0,1 27 0,0-14 15,0 14-15,-14-14 0,14 1 0,-13-1 16,-1 1-16,1-14 0,12 13 16,1-12-16,-13-14 0,13 13 0,-1-13 15,1 0-15,0 0 0,0 0 0,-1 0 16,1 0-16,0-13 16,0-1-16</inkml:trace>
  <inkml:trace contextRef="#ctx0" brushRef="#br0" timeOffset="13429.89">17978 7845 0,'0'-13'16,"14"-1"-16,-1 14 0,0-13 0,14 0 15,12 0-15,1-14 0,13 14 0,0-13 16,0 12-16,13-12 0,-13 13 0,13-1 16,-13-12-16,0 13 0,13 0 15,-26-1-15,-1 1 0,14 0 0,-13 0 16,-14-1-16,14 14 0,-27 0 0,14-13 15,-14 13-15,0 0 0,0 0 16,1 0-16,-1 0 0,0 0 16,0 0-16,1 13 0,-1 1 15,-13-1-15,13 0 16,-13 0-16,13 14 0,-13-1 0,13 1 16,1-1-16,-14 1 0,13 12 15,0 1-15,0-14 0,1 14 0,-1-13 16,0-1-16,0 1 0,1 12 15,-1-26-15,0 14 0,0-1 0,-13-12 16,13 12-16,1-13 0,-1 14 0,-13-14 16,13 0-16,-13 0 0,13 14 0,-13-14 15,0 0-15,0 1 0,0 12 16,-13-13-16,13 0 0,-13 14 0,13-14 16,-13 14-16,-14-1 0,14 1 0,-13-14 15,-1 13-15,1 1 0,-1-1 16,-13-13-16,14 14 0,-27-1 0,13-13 15,-13 14-15,1-1 0,-1 1 16,-14-1-16,15-12 0,-15 12 0,15 0 0,-15 1 16,14-1-16,-13 1 15,13-14-15,14 14 0,-1-14 0,0 0 16,14 0-16,-1-13 0,14 13 0,0-13 16,0 0-16,-14 0 0,14 0 15,0 0-15,0-13 0,-1 13 16,1-13-16,0 0 0,0-14 0,-1 1 15,1-1-15,0-12 0,0-1 0,-14-13 16,14 0-16,0-13 16,0 13-16,-1-13 0,1 0 0,0 0 15,13 13-15,-13-13 0,13 26 0,0-13 16,-14 13-16,14 14 0,0-1 0,0 14 16,0-13-16,0 13 0,-13-1 15,13 1-15,0 0 0,0 0 0,13 13 16,-13-14-16,0 1 0,14 0 15,-14 0-15,13 13 0,0-14 16,0 14-16,1-13 0,-1 0 16</inkml:trace>
  <inkml:trace contextRef="#ctx0" brushRef="#br0" timeOffset="15502.15">9803 11179 0,'13'13'31,"0"-13"-31,14 0 0,-14 0 15,13 0-15,-12 0 0,12 13 16,1-13-16,-1 0 0,0 0 0,1 0 16,-1 0-16,1 0 0,-1 0 0,1 0 15,-14 0-15,13 13 0,1-26 16,-14 13-16,14 0 0,-1 0 0,-13 0 16,14-13-16,-14 13 0,13 0 0,-12-13 15,12 13-15,-13 0 16</inkml:trace>
  <inkml:trace contextRef="#ctx0" brushRef="#br0" timeOffset="16591.47">14592 11218 0,'13'-13'15,"0"13"-15,0 0 0,1 0 16,-1 0-16,13-13 0,-12 13 16,12 0-16,1 0 0,25 0 0,-12-13 15,13 13-15,-13 0 0,13-14 0,0 14 16,-14 0-16,14 0 0,0 0 16,13 0-16,0 0 0,14-13 15,-1 13-15,14 0 0,-14 0 0,14-13 16,-1 13-16,14-13 0,0 13 0,13 0 15,13-14-15,-13 14 0,-13-13 16,27 13-16,-1-13 0,-26 13 0,-1 0 16,1-13-16,13 13 0,-13-13 0,0 13 15,-13 0-15,-1-14 0,1 14 0,-1 0 16,-12-13-16,-1 13 0,1 0 16,-27-13-16,-1 13 0,1 0 15,-26 0-15,-1 0 0,1-13 0,-14 13 16,0 0-16,0 0 0,1 0 15,-1-14-15,-26 1 47,-14 26-31,14-13-16</inkml:trace>
  <inkml:trace contextRef="#ctx0" brushRef="#br0" timeOffset="18227.91">966 11708 0,'79'13'31,"-26"-13"-31,13 0 0,14 13 0,-1-13 16,14 0-16,-1 14 0,1-14 0,52 13 15,-26-13-15,14 0 0,-1 13 16,0-13-16,-26 0 0,26 0 15,-26 0-15,0 0 0,-13 0 0,-1 0 16,1 0-16,-14 0 0,14 0 16,-27 0-16,13-13 0,-26 13 0,0 0 15,0-13-15,-27 13 0,14 0 0,-27 0 16,14 0-16,-14-14 0,0 14 16,14 0-16,-14 0 0,0 0 15,0 0-15,1 0 16,-1 0-16,0-13 15,0 13 17,1 0-1,-1 0 78,-13 13-15,-27-26 203,14 26-281</inkml:trace>
  <inkml:trace contextRef="#ctx0" brushRef="#br0" timeOffset="19989.9">3413 11814 0,'-13'-14'32,"13"54"-1,0-27-31,0 1 0,0-1 16,0 13-16,0-13 0,0 14 15,13-1-15,-13 1 0,0-1 0,13-12 16,1 12-16,-14 0 0,13-12 0,0-1 15,-13 13-15,13-12 0,-13-1 16,13 0-16,1 0 0,-14 1 16,13-1-16,-13 0 15,13-13 1,-26 0 0</inkml:trace>
  <inkml:trace contextRef="#ctx0" brushRef="#br0" timeOffset="22053.91">2011 6734 0,'0'0'0,"26"-27"0,27 1 31,-40 26-31,1 0 0,-1 0 0,0 0 16,0 0-16,1 0 0,-1 0 0,0 0 15,0 13-15,0-13 0,1 0 16,-1 13-16,0-13 0,0 13 0,1 1 16,-1-14-16,0 13 0,-13 0 0,13 0 15,1 1-15,-14-1 0,13 0 16,-13 0-16,0 0 0,13-13 0,-13 27 16,0-14-16,13 0 0,-13 1 0,0-1 15,13 0-15,-13 0 16,0 14-16,0-14 0,14 0 0,-14 0 15,0 1-15,13-1 0,-13 13 0,0-12 16,13-1-16,-13 0 0,13 0 16,-13 1-16,14-1 0,-14 0 0,13 0 15,0 0-15,0 1 0,-13-1 16,14-13-16,-1 13 0,-13 0 16,13-13-16,0 0 0,0 14 0,1-14 15,-1 0-15,0 0 0,0 0 16,1 0-16,-1 0 0,13 0 15,-12-14-15,-1 14 16,0 0-16,0-13 0,0 13 0,1 0 16,-1-13-16,0 0 15,0-1-15,1 14 16,-1-13-16,0 13 16,-13 13-1,13-13-15,1 14 16,-1-1-16,0 0 0,-13 0 15,13 1-15,0-1 0,1 0 0,12 0 16,-13 14-16,14-1 0,-14-13 16,13 14-16,1-14 0,-1 0 0,1 14 15,-1-14-15,14 13 0,-14-12 0,1-1 16,13 13-16,-1-12 16,-12-1-16,12 13 0,1-12 0,0 12 15,-1-13-15,-12 0 0,26 14 0,0-1 16,-14 1-16,14-1 0,-13 1 15,13-1-15,-13 1 0,13 12 16,-14-12-16,14 13 0,-13-14 0,13 14 16,-13-1-16,12 1 0,-12 0 0,13 13 15,-13-14-15,13 14 0,-14-13 0,1 13 16,0-13-16,-1-1 0,41 27 16,-41-39-16,-12-1 0,-1 1 15,1-14-15,-14 0 0,0 0 0,14 1 16,-14-1-16,-26-40 31,-14 27-15</inkml:trace>
  <inkml:trace contextRef="#ctx0" brushRef="#br0" timeOffset="23527.02">1323 6985 0,'-13'0'47,"-1"0"-32,14 13-15,-13-13 0,13 13 0,-13-13 16,13 14-16,-13-1 0,13 0 16,-13 0-16,-1 1 0,14-1 0,-13 0 15,0 0-15,13 1 0,-13-1 0,13 0 16,0 0-16,0 0 15,0 14-15,0-14 0,13 14 0,0-1 16,0 14-16,1-14 0,-1 14 0,0 0 16,13-1-16,-12-12 0,12 26 0,-13 0 15,14-1-15,-14 1 0,14 0 16,-14 0-16,0 0 0,13 0 0,-26 0 16,14 13-16,-14-13 0,0 0 0,0 0 15,-14 13-15,1-13 0,0-13 16,0-1-16,0 1 0,-1 0 0,1-14 15,-13 1-15,12-1 0,1 0 0,0-12 16,0-1-16,-1 0 16,1 0-16,0-13 0,0 14 0,0-14 15,-1 0-15,14-14 32,14 1-32,-1 13 15,0 0-15,0 13 0,14-13 0,-14 0 16,13 14-16,14-1 0,0 0 15,-14 0-15,14 14 0,-14-14 0,14 13 16,-13 1-16,25-1 0,-25 14 0,13-13 16,-1 12-16,-12 1 0,12 0 15,-12-1-15,-1 1 0,1 0 16,12-1-16,-12 1 0,-1 0 0,14 13 16,-13-14-16,-1 1 0,14 0 0,-14 13 15,27 26-15,-13-39 16,-14-1-16,14-12 0,0 13 0,-1-14 15,1 0-15,0 14 0,-1-13 0,1-1 16,13 0-16,-13 1 16,13-1-16,-14 1 0,14-1 0,-13-12 0,0-1 15,12 13-15,-12-13 0,0-13 0,-1 14 16,1-1-16,-13 0 0,12 0 16,-12-13-16,-14 14 0,13-14 15,1 13-15,-14-13 0,0 0 0,14 0 16,-14 0-16,0 0 0,1 0 0,-1 0 15,0-13-15</inkml:trace>
  <inkml:trace contextRef="#ctx0" brushRef="#br0" timeOffset="24934.94">3545 10200 0,'0'0'0,"0"-14"32,0-12-32,0 13 15,0 0-15,0-1 0,0 1 0,0-13 16,-13 12-16,13-12 0,-13-1 16,0-12-16,-1 12 0,-12-12 0,13 12 15,-14 1-15,1-1 0,13 1 0,-14-1 16,-12 14-16,12 0 0,-13 0 15,14-1-15,-1 14 0,1-13 0,-14 13 16,14 0-16,-1 13 0,-26-13 16,14 14-16,-1-14 0,0 13 0,14 0 15,0 14-15,-1-14 0,1 13 16,12 1-16,-12-1 0,26 1 0,-13 12 16,13 1-16,0 0 0,0-1 0,13 1 15,0 0-15,0 13 0,14 0 16,-14-14-16,27 1 0,-14 0 0,14-14 15,0 1-15,-1-1 0,1-13 0,13 1 16,-13-14-16,12 13 0,1-13 16,-13 0-16,13-13 0,-13-1 0,-1 1 15,1 0-15,-14-14 0,14 1 0,0-27 16,-27 27-16,0 12 16,-13-12-16,0-1 0,0 1 15,-13-1-15,0-12 0,0 12 0,-14 1 16,1-1-16,12 1 0,-12 13 0,0-1 15,-1 1-15,14 0 0,-14 13 16,14-13-16,-13 13 0,13-13 16,-14 13-16,14-14 0,-14 14 0</inkml:trace>
  <inkml:trace contextRef="#ctx0" brushRef="#br0" timeOffset="25811.21">1085 6747 0,'39'26'0,"-78"-52"0,92 52 0,-27-12 0,-13-14 16,14 13-16,13 0 0,-1 0 16,1 0-16,0-13 0,13 14 0,-14-14 15,1 0-15,13 0 0,-13 0 0,12 0 16,-12 0-16,13-14 0,-13 1 16,13 0-16,-14 13 0,1-26 0,0 12 15,-1 1-15,1-13 0,-13-1 16,-1 1-16,0-1 0,1 1 15,-14-1-15,14-26 0,-27 27 0,0 0 16,-14-14-16,1 0 0,-13 0 16,-1-12-16,-12 12 0,-1 0 15,0 0-15,-13 14 0,0-14 0,-13 14 16,-13 13-16,13-1 0,-93 1 16,80 13-16,-1 0 0,14 13 15,-13 14-15,12-14 0,-12 14 0,13 12 16,-13 14-16,12-13 0,15 0 0,-41 52 15,53-39-15,14 0 0,-1 0 16,14 0-16,13 0 0,-13-14 16,13 1-16,13 0 0</inkml:trace>
  <inkml:trace contextRef="#ctx0" brushRef="#br0" timeOffset="27251.77">13560 7488 0,'-40'-14'0,"27"14"0,0 0 15,-14 0-15,-12 0 0,-1 14 16,-13-1-16,0-13 0,0 13 0,0 0 16,0 1-16,0-1 0,1 0 15,-1 14-15,13-27 0,-13 13 0,27 0 16,-14 0-16,13 0 0,1 1 0,-1-14 16,14 13-16,-13-13 0,13 0 15,13 13-15,-14-13 0,1 0 0</inkml:trace>
  <inkml:trace contextRef="#ctx0" brushRef="#br0" timeOffset="27502.95">12607 7461 0,'-39'27'0,"78"-54"0,-92 80 16,40-40-16,-13 27 0,13-13 15,-1 12-15,-12-12 0,13 12 0,13 1 16,-14 0-16,14-14 0,-13 1 0,26-1 16,-13 1-16,14-1 0,12 1 15,1-1-15,12-13 0,1 0 0,0 1 16,13-14-16,-1 13 0,1-13 0,0 0 16,13-13-16,14 13 15,-14-14-15,-13 14 0,13-13 0,-13 0 16</inkml:trace>
</inkml:ink>
</file>

<file path=ppt/ink/ink1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36:37.777"/>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7183 2858 0,'0'0'0,"27"13"15,-14-13 1,27 0-16,-1 0 0,14 13 16,0-13-16,13 0 0,14 13 0,-1-13 0,1 0 15,12 13-15,-12-13 0,-1 0 0,14 0 16,-14 14-16,0-14 16,14 0-16,-14 0 0,-13 13 0,1-13 15,-15 0-15,1 0 0,0 0 0,0 0 16,-13 0-16,-14 0 0,1 13 15,-1-13-15,-12 0 0,12 0 0</inkml:trace>
  <inkml:trace contextRef="#ctx0" brushRef="#br0" timeOffset="947.75">13018 3003 0,'52'0'31,"-25"0"-31,13 0 16,12 0-16,1 0 0,0 0 0,13 0 16,-13 0-16,0 0 0,13 13 15,1-13-15,-15 0 0,1 0 0,0 0 16,13 0-16,-26 0 0,0 0 0,0 0 15,-14 0-15,0 0 0,-12 13 16,12-13-16,-13 0 0,1 0 0,-1 0 16,0 0-16,0 0 0,1 0 15</inkml:trace>
  <inkml:trace contextRef="#ctx0" brushRef="#br0" timeOffset="2079.52">16417 3003 0,'27'0'16,"145"0"-1,-80 13-15,1-13 0,0 0 16,-1 0-16,14 0 0,0 0 0,-13 0 16,12 13-16,1-13 0,-13 14 15,-1-14-15,1 13 0,-14-13 0,1 0 16,-1 13-16,-26-13 0,0 0 15,0 13-15,-13-13 0,-1 0 0,-12 0 16,-14 0-16,13 14 0,-12-14 0,-1 0 16,0 0-16,0 0 0,1 0 15,-1 0-15,0 0 0,0 0 16,0 13-16,14-13 0,-14 0 16,0 0-16,14 13 0</inkml:trace>
  <inkml:trace contextRef="#ctx0" brushRef="#br0" timeOffset="4302.64">1244 3704 0,'172'0'32,"-120"0"-32,28 0 0,12 0 0,14 0 0,0 0 15,26 13-15,14-13 0,-14 0 0,14 0 16,-1 14-16,-12-14 15,12 0-15,1 13 0,-1-13 0,-39 0 16,26 0-16,-26 0 0,0 0 0,0 0 16,-14-13-16,1 13 0,-14 0 0,1 0 15,-14 0-15,-13 0 0,0 0 16,0 0-16,-14 0 0,-12 0 0,-1 0 16,1 0-16,-1 0 0,1 0 0,-14 0 15,13 0-15,-13 0 0,1 0 16,-1 13-16,0-13 0,14 0 0,-14 0 15,13 0-15,1 0 0,-1 0 0,1 0 16,12 0-16,14 0 16,13 0-16,14 0 0,-1 0 0,1-13 15,-1 13-15,0 0 0,14-14 16</inkml:trace>
  <inkml:trace contextRef="#ctx0" brushRef="#br0" timeOffset="4938.26">6548 3664 0,'80'-13'0,"-54"13"0,27 0 15,0 0-15,13-13 0,27 13 0,-14 0 16,14 0-16,13-13 0,-14 13 16,14 0-16,0 0 0,0 0 15,-14 0-15,14 0 0,-13 0 0,-1 0 16,-12 0-16,-1 0 0,-13 0 16,-13 0-16,0 13 0,0-13 0,-26 0 15,12 0-15,-26 0 0,14 0 0,-14 0 16,0 0-16,1 0 0,-1 0 15,0 0-15,0 0 0,-26 13 63</inkml:trace>
  <inkml:trace contextRef="#ctx0" brushRef="#br0" timeOffset="8907.07">7091 3982 0,'-13'13'0,"26"-26"0,-40 26 16,27 0-16,-13-13 0</inkml:trace>
  <inkml:trace contextRef="#ctx0" brushRef="#br0" timeOffset="10123.2">7131 3453 0,'13'-13'31,"-40"26"126,14-13-142,0 13 79,53-13-63,-27 0-31,0 0 0,13 0 16,1 0-16,-1 0 0,1 0 15,12 0-15,-12 0 0,13 0 0,-14 0 16,14 0-16,-14 0 0,14 0 0,-14 0 16,14 0-16,-13 0 0,-1 0 15,-13 0-15,14 0 0,-14 0 0,0 0 16,14 0-16,-14 0 0,0 0 16,0 0-16,1 0 15,-41 13 1,27 0-1,-13-13-15</inkml:trace>
  <inkml:trace contextRef="#ctx0" brushRef="#br0" timeOffset="10444.62">7395 3519 0,'0'0'0,"-13"26"31,13-12-31,0 12 16,-13-13-16,13 14 0,-14 12 0,1 1 15,13 0-15,-13-14 0,0 14 16,-1-14-16,14 1 0,-13-1 0,13 1 15,-13-14-15,13 0 0,0 1 0,-13 12 16,13-13-16,0 0 16,0 1-16,-13-14 0,13 13 0,0 0 15,0 0-15,-14-13 16</inkml:trace>
  <inkml:trace contextRef="#ctx0" brushRef="#br0" timeOffset="10811.74">6853 4326 0,'0'26'31,"0"-12"-31,0-1 15,0 0 1,0 0-16,0 1 16,-14-1-16,14 0 0,0 0 15,0 0 1</inkml:trace>
  <inkml:trace contextRef="#ctx0" brushRef="#br0" timeOffset="10950.44">6866 4128 0</inkml:trace>
  <inkml:trace contextRef="#ctx0" brushRef="#br0" timeOffset="11296.18">6945 4260 0,'0'66'31,"0"-53"-31,0 0 16,0 1 0,0-1-16,14-13 15,-1-13 1,0 13-16,0-14 16,0 1-16,1 13 15,-14-13-15,13 13 16,0 0-16,0 0 0,1 0 15,-1 0 1,0 13 0,0-13-16,-13 13 0,14-13 15,-1 0-15</inkml:trace>
  <inkml:trace contextRef="#ctx0" brushRef="#br0" timeOffset="11683.01">7276 4180 0,'0'-13'0,"-13"40"47,13-14-47,0 0 0,0 0 16,-13 14-16,13-14 0,0 13 0,0-12 16,0 12-16,0-13 0,0 1 15,0-1-15,0 0 0,0 0 16,0 1-16,0-1 0,0 0 15,0 0 1,0-52 0,0 25-16,0 1 15,13 0-15,0-14 0,-13 14 0,13-13 16,0 12-16,-13 1 0,14 0 16,-1 13-16,-13-13 0,13 13 0,0-13 15,1 26 1,-1 0-16,-13 0 15,0 0 1,0 1-16,0-1 0,-13-13 0,13 13 16,0 0-16,-14-13 0,14 14 0,-13-1 15</inkml:trace>
  <inkml:trace contextRef="#ctx0" brushRef="#br0" timeOffset="12056.28">7461 4247 0,'13'-14'32,"-13"28"-17,0-1-15,14-13 16,-14 13-16,13 0 15,-13 0-15,13-13 16,-13 14-16,13-14 16,14-14-1,-14 14 1,-13-13-16,13 13 0,-13-13 16,14 13-16,-1 0 31,0 0-31,-13 13 15,0 0-15,0 1 16,13-14-16,-13 13 16,13 0-1,1-13-15,-1-13 16</inkml:trace>
  <inkml:trace contextRef="#ctx0" brushRef="#br0" timeOffset="12258.75">7871 4035 0,'0'0'0,"14"-27"0,-14 14 16,0 26 15,13 1-31,-13-1 16,0 0-16,0 0 0,13 1 16,-13 12-16,0-13 0,13 1 0,-13 25 15,0-26-15,14 1 16,-14-1-16,0 0 0,0 0 0,0 1 0,0-1 15,0 0-15,0 0 16</inkml:trace>
  <inkml:trace contextRef="#ctx0" brushRef="#br0" timeOffset="12571.49">7885 4233 0,'39'-53'15,"-25"40"1,-1 0-16,13 13 0,-13-13 0,1 0 16,-1-1-16,0 14 0,-13-13 0,13 13 15,1-13-15,-1 13 16,0-13-16,0 26 16,0-13-16,1 13 15,-1 0-15,0 1 16,0-1-16,1 0 0,-14 0 15,13 0-15,-13 1 16,0-1-16,0 0 16,-13-13-16,13 13 0,-14 1 15,1-14-15,0 13 16,0-13-16,-1 0 16</inkml:trace>
  <inkml:trace contextRef="#ctx0" brushRef="#br0" timeOffset="12846.91">7131 4630 0,'79'-26'0,"-158"52"0,211-65 0,-79 25 16,13 1-16,-13 0 0,13 0 0,0-1 16,0-12-16,-13 13 0,13-1 15,0 1-15,-13 0 0,0 0 0,-13 0 16,0-1-16,-14 1 0,1 13 16,-1-13-16,-13 13 0,0 0 0,1-13 15,-1 13-15</inkml:trace>
  <inkml:trace contextRef="#ctx0" brushRef="#br0" timeOffset="13198.9">7157 4657 0,'-13'13'16,"119"-13"-1,-54-13 1,1-1-16,-13 14 0,26-13 0,0 0 15,1 0-15,-1-14 0,-13 14 0,0 13 16,-1-13-16,-12 0 0,0 13 16,0-14-16,-14 1 0,0 13 0,-12 0 15,12-13-15,-13 13 0,1 0 0,-1 0 16,0-13-16,0 13 16,0 0-16,1-14 15,-1 14-15,-13-13 31,13 13-31,0 0 16,-13-13 0,0 0 15</inkml:trace>
  <inkml:trace contextRef="#ctx0" brushRef="#br0" timeOffset="24558.95">6813 5424 0,'13'0'0,"80"0"31,-67 0-31,1 0 0,-1 0 0,1 0 16,-1 0-16,1 0 0,-14 0 0,13 0 16,1 0-16,-14 0 0,13 0 15,-12 0-15,-1 0 0,13 0 0,-12-13 16,-1 13-16</inkml:trace>
  <inkml:trace contextRef="#ctx0" brushRef="#br0" timeOffset="24854.04">7104 5239 0,'27'0'15,"-14"0"-15,13 13 16,-13 0-16,1 0 0,12 1 0,-13-1 15,1 0-15,-1 0 0,0 1 16,13-1-16,-26 0 0,14 0 0,-1 1 16,-13 12-16,0-13 0,13 0 15,-13 1-15,-13-1 0,13 0 0,-13 0 16,-1 1-16,1-1 0,0 13 16,0-13-16,-14 1 0,14-1 0,-13-13 15,12 13-15,1 0 0,-13-13 0,13 14 16,-1-14-16</inkml:trace>
  <inkml:trace contextRef="#ctx0" brushRef="#br0" timeOffset="26293">8599 5186 0,'-27'-13'31,"1"26"-31,13 0 16,0-13-16,-1 13 0,1 14 15,0-14-15,0 13 0,-1-12 0,1 12 16,0-13-16,13 14 0,-13-14 16,13 0-16,0 1 0,0 12 0,0-13 15,0 0-15,13 1 0,-13-1 16,13-13-16,0 0 0,1 0 15,12 0-15,-13 0 0,14 0 0,-1-13 16,-13-1-16,27 1 0,-13 0 0,-1-13 16,1-1-16,-14 1 0,13-1 15,-13 1-15,1-1 0,-1 1 0,-13-1 16,13 14-16,-13-13 0,13 12 0,-13 1 16,0 0-16,0 0 0,0-1 15,14 14-15,-14-13 0,-14 40 31,14-14-31,-13 0 16,13 0-16,0 14 0,-13-14 16,13 0-16,-13 14 0,13-14 0,0 0 15,0 0-15,0 1 0,-14-1 0,14 0 16,0 0 0,14 1-16,-1-14 15,-13 13 1,13-13-16,0 13 15,1-13 1,-14 13-16,13-13 0,0 0 16,0 14-16,1-14 15,-1-14-15,0 14 0,13 0 16,-12 0 0,-1 0-16,0 0 15,0 14 1,1-14-16,-14 13 15,13 0 1</inkml:trace>
  <inkml:trace contextRef="#ctx0" brushRef="#br0" timeOffset="26410.88">9049 5265 0,'0'0'0,"-13"0"0,-1 0 16</inkml:trace>
  <inkml:trace contextRef="#ctx0" brushRef="#br0" timeOffset="26631.08">9221 5040 0,'0'27'15,"0"-14"-15,-13 13 16,13 1-16,0-1 0,-14 14 0,14 0 16,-13-1-16,0-12 0,0 13 0,13-14 15,-14 1-15,14-1 0,0-13 0,-13 0 16,13 1-16,0-1 15,0 0-15,0 0 0,0 1 16</inkml:trace>
  <inkml:trace contextRef="#ctx0" brushRef="#br0" timeOffset="27083.77">9499 5040 0,'0'-13'16,"0"40"-1,0-1-15,0-13 0,-14 14 16,14-1-16,0 1 0,0-1 0,-13 14 16,13-14-16,0 1 0,-13-1 0,13 1 15,0-14-15,0 13 0,-13-12 16,13-1-16,0 0 0,0 0 0,0 0 15,0 1-15,0-1 0,-27-26 47,14 13-15,0 0-32,-14 0 0,14 0 15,0 0-15,0 13 0,-1-13 0,1 13 16,0 0-16,0-13 15,13 14-15,-14-1 0,14 0 16,14-13-16,-1 13 16,0-13-16,0 0 0,1 0 15,12-13-15,-13 13 16,0 0-16,1 0 0,-1 0 0,0-13 0,14 13 16,-14 0-16,0 0 0,0-13 0</inkml:trace>
  <inkml:trace contextRef="#ctx0" brushRef="#br0" timeOffset="27527.75">9657 5398 0,'14'26'31,"-14"-13"-31,0 0 16,0 1-16,0-1 0,0 0 15,-14-13-15,14 13 0,0 1 16,0-1 0,14-40 31,-1 14-32,-13 0-15,13 13 0,0-13 0,-13-1 16,13 14-16,1 0 0,-1-13 0,0 13 15,0-13-15,1 13 0,-1 0 16,0 0-16,0 0 16</inkml:trace>
  <inkml:trace contextRef="#ctx0" brushRef="#br0" timeOffset="27891.03">9975 5517 0,'0'0'15,"13"-14"-15,-13 1 0,0 0 16,0 0 0,-13 13-1,-14 0 1,27 13-1,14 0 1,-1-13 0,0 0-16,-13 13 0,13-13 15,0 0-15,-13 14 0,14-14 16,-1 0-16,0 13 16,0-13-16,-13 13 15,0 0 1,-13 0-1,0 1 1</inkml:trace>
  <inkml:trace contextRef="#ctx0" brushRef="#br0" timeOffset="28183.77">10186 5477 0,'14'0'32,"-14"13"-32,0 0 15,0 1 1,0-1 0,13-13 15,0 0-16,0 0 1,1 0-16,-1 0 16,0-13-1,0-1-15,1 14 16,-14-13-16,13 13 0</inkml:trace>
  <inkml:trace contextRef="#ctx0" brushRef="#br0" timeOffset="28347.79">10398 5450 0,'13'14'31,"-13"-1"-31,14-13 0,-14 13 0,0 0 16,0 1-16,13-14 15,-13 13-15,0 0 0,0 0 16,0 0-16,-13-13 0,13 14 16,0-1-16,-14-13 0,14 13 0,-13-13 15,13 13-15,-13 1 0,0-14 16</inkml:trace>
  <inkml:trace contextRef="#ctx0" brushRef="#br0" timeOffset="28589.68">9115 5689 0,'40'0'0,"-27"0"0,27 0 15,-1 0-15,1 0 0,26 0 16,-13 0-16,0-14 0,13 14 0,0 0 16,0-13-16,0 13 0,-13 0 0,0 0 15,0-13-15,-13 13 0,0 0 16,-14 0-16,0 0 0,-12-13 16,12 13-16,-13 0 0,1 0 15</inkml:trace>
  <inkml:trace contextRef="#ctx0" brushRef="#br0" timeOffset="28858.77">9155 5794 0,'66'0'0,"79"0"16,-92 0-16,0 0 15,0 0-15,13-13 0,-13 13 0,0 0 16,0 0-16,0 0 0,0-13 0,-27 13 16,14 0-16,-27 0 0,14 0 15,-1 0-15,0-13 16,-12 13-16,-1 0 0,0 0 0,0 0 16,1 0-1</inkml:trace>
  <inkml:trace contextRef="#ctx0" brushRef="#br0" timeOffset="32053.34">11840 5398 0,'27'0'0,"52"-14"16,-53 14-1,1 0-15,-14 0 0,14-13 16,-1 13-16,0 0 0,-12 0 0,12 0 16,-13 0-16,1 0 0,-1 0 0,0-13 15,0 13-15,1 0 0,-1 0 16</inkml:trace>
  <inkml:trace contextRef="#ctx0" brushRef="#br0" timeOffset="32331.06">12105 5212 0,'79'14'16,"-52"-14"-1,12 13-15,-12-13 0,12 13 0,-12 0 16,-1 0-16,-13 1 0,1-1 15,-1-13-15,0 13 0,0 0 0,1 1 16,-14-1-16,0 0 16,0 0-16,0 1 0,-14-1 15,1 0-15,13 0 0,-13-13 16,0 13-16,-1 1 0,1-14 16,13 13-16</inkml:trace>
  <inkml:trace contextRef="#ctx0" brushRef="#br0" timeOffset="33058.98">12925 5252 0,'-27'-26'16,"14"26"-1,0 13-15,0-13 0,0 13 0,-1 0 16,1 0-16,0 1 0,0-1 16,13 0-16,-14 0 0,14 1 15,-13-1-15,13 0 0,0 0 0,0 1 16,0-1-16,0 0 0,13 0 15,-13 0 1,14-13-16,-1 0 16,13 0-16,-12 0 15,-14-13-15,13 13 16,-13-13-16,13 0 0,-13 0 16,13-1-16,-13 1 15,0 0 1,13 13-16,-13-13 15,14 26 17,-14 0-17,0 0-15,0 1 16,13-14-16,-13 13 16,0 0-1,13-13-15,0 0 16,1 0-1,-1 0 1,0 0 0,0 0-16,-13 13 15,14-13-15,-14 13 16,13-13 0,-13 14-16,13-14 0,-13 13 15,13-13 1,0 0-1,1-13 1,-1 13-16,0 0 16,0-14-1,1 14-15,-1-13 16,0 13-16</inkml:trace>
  <inkml:trace contextRef="#ctx0" brushRef="#br0" timeOffset="34116.25">13666 5239 0,'-14'0'16,"1"0"-16,0 0 16,13 13-16,-13-13 0,0 13 15,13 0-15,-14 1 0,1-1 0,0 0 16,13 0-16,-13 1 0,13-1 0,0 0 15,0 0-15,0 1 16,0-1-16,13 0 16,13-13-16,-26-13 15,14 13-15,-1-13 0,0 13 16,0-14-16,0 1 0,1 0 0,-1 0 16,-13-1-16,13 1 0,0 0 15,-13 0-15,14-1 0,-14 1 16,0 0-16,13 13 0,-13-13 15,0 39 32,-13-13-47,13 14 16,13-14-16,-13 0 16,13-13-1,-13 14-15,13-14 0,1 0 0,-1 0 16,0 0-16,0 0 0,0-14 0,1 14 15,-1 0-15,0-13 16,0 13-16,1-13 0,-1 13 0,0-13 16,0 13-16,1-14 0,-1 14 15,-13 14 17,0-1-17,-13 0-15,13 0 16,13 1-16,0-1 15,0-13-15,0 13 16,1-13-16,-1-13 0,0 13 16,0 0-16,1 0 15,-1-13-15,0-1 0,0 14 0,1-13 16,-1 0-16,0 0 0,0-1 0,0-12 16,1 13-16,-1-14 0,-13 1 0,13 13 15,-13-14-15,13 1 0,-13 12 16,14 1-16,-14 0 0,0 0 0,0 0 15,13-1-15,-13 1 0,-13 40 32,13-14-17,0 0-15,-14 13 0,14-12 0,0-1 16,0 0-16,0 0 16,0 1-16,0-1 0,0 0 0,14 0 15,-14 1-15,13-14 0,-13 13 16,13-13-16,0 0 0,1 0 15,-1-13-15,0 13 16,0 0-16,-13-14 16,13 14-16,1 14 15,-1-14-15,-13 13 16,13-13-16,-13 13 16,0 0-16,13-13 0,1 0 31,-1 0-16</inkml:trace>
  <inkml:trace contextRef="#ctx0" brushRef="#br0" timeOffset="34241.87">14579 5040 0</inkml:trace>
  <inkml:trace contextRef="#ctx0" brushRef="#br0" timeOffset="34436.82">14089 5159 0,'40'0'16,"-14"0"-16,-13 0 0,14 0 16,-14-13-16,14 13 0,-1 0 0,1 0 15,-1-13-15,14 13 0,-14 0 16,1 0-16,-1 0 0</inkml:trace>
  <inkml:trace contextRef="#ctx0" brushRef="#br0" timeOffset="34907.9">14751 5226 0,'-14'26'31,"14"-13"-31,0 0 16,0 1-16,14-1 16,-14 0-1,13-13 1,0 0-16,13 0 15,-12-13-15,-1 13 0,-13-13 16,13 13-16,0-14 0,1 1 0,-1 13 16,0-13-16,0 13 0,0-13 15,1 13-15,-14-13 16,13 13-16,0 13 16,0-13-16,-13 13 0,0 0 15,14-13-15,-14 13 0,0 1 16,0-1-1,0 0-15,13-13 0,-13 13 16,13 1 0</inkml:trace>
  <inkml:trace contextRef="#ctx0" brushRef="#br0" timeOffset="35053.28">15094 5318 0,'0'0'0,"0"-13"16,14 13-1,-14-13 32,13 13-31</inkml:trace>
  <inkml:trace contextRef="#ctx0" brushRef="#br0" timeOffset="35439.18">15386 4961 0,'0'13'16,"0"14"-16,0-14 0,0 0 0,-14 0 15,14 14-15,0 12 0,-13-25 16,13 12-16,0-13 0,0 14 16,0-14-16,0 0 0,0 14 15,0-14-15,-13 0 0,13 0 16,0 1-16,0-1 16</inkml:trace>
  <inkml:trace contextRef="#ctx0" brushRef="#br0" timeOffset="35846.99">15280 5265 0,'0'-13'16,"13"13"-16,0-13 16,0 13-16,1 0 15,-1-13-15,0 13 0,0 0 0,1-14 16,-1 14-16,0-13 15,0 13-15,0 0 16,1 0-16,-1 0 16,0 13-16,-13 1 15,0-1-15,13 0 16,-13 13-16,-13-26 16,13 14-16,0-1 0,0 0 15,13 0 1,1-13-1,-1-13-15,0 13 16,0-13-16,1 13 0,-1-13 16,0 13-16,0 0 15,-13-14-15,13 14 0,1-13 16,-1 13-16,-40-13 31</inkml:trace>
  <inkml:trace contextRef="#ctx0" brushRef="#br0" timeOffset="35999.75">15015 5093 0,'0'0'0</inkml:trace>
  <inkml:trace contextRef="#ctx0" brushRef="#br0" timeOffset="37155.83">15558 5186 0,'-14'-13'16,"1"39"15,0-13-15,13 1-16,0-1 0,-13 0 15,13 0-15,0 0 16,0 1-16,13-1 15,-13 0-15,26-13 16,-12 0-16,-1 0 16,0 0-16,0 0 0,0 0 15,1 0-15,-1 0 0,0 0 16,0 0-16,14 0 0,-14 0 16,-13 13-16,13-13 15,-13 14-15,0-1 16,0 0-16,0 0 0,-13 1 15,13-1-15,-13 0 0,-14 13 0,14-26 16,0 14-16,0-1 0,-1 0 16,1-13-16,0 13 0,0-13 15,13 14-15,-13-14 0,26-27 32,-13 14-32,26 0 0,-13-1 15,27-12-15,-13 0 0,-1 12 0,0-12 16,14-1-16,-13 14 0,-1-13 0,1 12 15,-14 1-15,0 13 16,13-13-16,-12 0 0,-1 13 0,0-13 16,0 13-16,1-14 0</inkml:trace>
  <inkml:trace contextRef="#ctx0" brushRef="#br0" timeOffset="37275.99">16100 5186 0,'0'-13'15</inkml:trace>
  <inkml:trace contextRef="#ctx0" brushRef="#br0" timeOffset="41852.1">3559 6456 0,'-14'0'0,"1"13"15,0 0-15,0 1 16,-14 12-16,14 0 0,0 1 0,-14 13 16,14-1-16,0-12 0,0 12 0,-14-12 15,27 13-15,-13-14 0,13-13 16,0 14-16,-13-14 0,13 0 0,13 0 16,-13 1-16,0-1 0,13 0 0,0 0 15,1-13-15,-1 0 16,0 0-16,0 0 15,1 0-15,-1-13 0,-13 0 16,0 0 0,0-1-1,0 1-15,-13 13 0,-1-13 16,1 13 0,0 0-16,0 0 0,-1 0 15</inkml:trace>
  <inkml:trace contextRef="#ctx0" brushRef="#br0" timeOffset="42054.98">3678 6628 0,'13'-13'15,"-13"39"1,0-13-16,0 1 15,-13 12-15,13-13 0,-14 14 16,14-1-16,-13-13 0,13 14 0,-13-1 16,13-13-16,-13 1 0,13 12 0,0-13 15,0 1-15,0-1 16</inkml:trace>
  <inkml:trace contextRef="#ctx0" brushRef="#br0" timeOffset="42415.21">3876 6720 0,'0'0'0,"-26"0"15,12 14 1,-12-14-16,13 13 0,-14 0 16,14 0-16,0 1 0,-14-1 0,14 0 15,0 0-15,0 0 0,-1 1 16,14-1-16,0 0 15,0 0-15,14-13 16,-1 0-16,0 0 0,0 0 0,1 0 16,-1-13-16,13 13 0,-12 0 15,12-13-15,-13 13 0,0-13 16,1 13-16,-1 0 0,0-14 0,0 14 16,1 0-16,-1 0 15,0 14-15,0-14 16,-13 13-16,0 0 0,0 0 15,0 1-15,0-1 16,0 0-16,0 0 16,0 1-16</inkml:trace>
  <inkml:trace contextRef="#ctx0" brushRef="#br0" timeOffset="42538.85">4008 6760 0</inkml:trace>
  <inkml:trace contextRef="#ctx0" brushRef="#br0" timeOffset="42912.4">4379 6628 0,'0'26'0,"0"1"16,-13-14-16,13 0 0,0 14 0,-14-14 16,14 0-16,0 0 0,0 14 15,0-14-15,0 0 0,-13 0 0,13 1 16,0-1-16,0 0 15,-13-13 1,0 0 0,-1 0-1,1 0-15,0 13 16,0-13-16,0 0 0,-1 14 0,1-1 16,-13-13-16,26 13 0,-14-13 0,1 13 15,13 1-15,-13-14 0,13 13 16,0 0-1,13-13-15,14 0 16,-14 0-16,0 0 0,0-13 16,14 13-16,-14 0 0,13-13 0,14-1 15</inkml:trace>
  <inkml:trace contextRef="#ctx0" brushRef="#br0" timeOffset="43492.01">5106 6985 0,'-13'0'32,"13"-13"-17,0 0-15,-13 13 0,13-14 0,-13 1 16,13-13-16,0 12 0,-13-12 16,13 13-16,0-27 0,13 14 0,-13-14 15,13 0-15,0 14 0,0-1 0,1 14 16,-1 0-16,0-14 0,0 27 15,1-13-15,-1 0 0,0 13 0,0 0 16,1 0-16,-1 13 16,-26 14-1,-1-14-15,1 13 0,-27 1 16,14-1-16,-1 1 0,-12 12 0,-1-25 16,14 12-16,-14 0 0,13-12 0,1-1 15,0 13-15,12-26 0,-12 14 0,13-1 16,-1 0-16,1-13 15,13 13-15,13 1 16,1-14-16,-1 0 16,0 0-16,14 0 0,-1 0 15,0-14-15,1 14 0,13 0 0,-14 0 16,1-13-16,-1 13 0,0 0 0,1-13 16,-14 13-16,14 0 0,-14 0 15,0-13-15,0 13 0,1 0 16,-1 0-16,0-14 15</inkml:trace>
  <inkml:trace contextRef="#ctx0" brushRef="#br0" timeOffset="44855.17">6522 6734 0,'13'0'0,"-26"0"16,39-14-16,-52 28 31,13-1-31,0-13 16,-1 13-16,-12-13 0,13 13 0,-14-13 15,14 14-15,0-1 0,-14-13 16,14 0-16,13 13 0,-13-13 0,0 0 16,13 13-16,0 0 15,13-13-15,0 0 16,0 14-16,14-1 15,-14-13-15,0 0 0,0 13 0,1-13 0,-1 13 16,0-13-16,-13 14 16,0-1-1,-13 0-15,0-13 0,-1 13 0,-12 1 16,-1-14-16,-12 13 0,12 0 0,1-13 16,-1 13-16,1-13 0,-1 13 15,14-13-15,0 0 0,0 0 0</inkml:trace>
  <inkml:trace contextRef="#ctx0" brushRef="#br0" timeOffset="45810.73">6866 6654 0,'0'40'32,"0"-27"-32,-13 0 0,13 1 15,0 12-15,0-13 0,-14 14 0,14-1 16,0-13-16,-13 1 0,13 12 16,0-13-16,0 1 0,-13-1 0,13 0 15,0 0-15,0 1 0,-13-14 16,26-27 15,0 27-15,-13-13-16,13 0 0,1 13 15,-1-14-15,0 14 0,0 0 0,1 0 16,-14-13-16,13 13 0,13 13 16,-12-13-16,-14 14 15,0-1-15,0 0 16,-14-13-16,14 13 0,-13 1 15,0-14-15,0 13 0,-1-13 16,1 0-16,0 13 0,0-13 0,-1 0 16,1 0-16,0 0 15</inkml:trace>
  <inkml:trace contextRef="#ctx0" brushRef="#br0" timeOffset="46144.12">7170 6853 0,'-13'-14'16,"-13"28"-16,12-14 16,1 0-16,0 13 15,0 0-15,-1-13 0,14 13 16,-13-13-1,26 14 1,1-28-16,12 14 16,-13 0-1,1-13-15,-1 13 0,0 0 16,0 0-16,0 13 16,-13 1-1,0-1-15,0 0 16,0 0-16,0 1 15,0-1 1,14 0-16</inkml:trace>
  <inkml:trace contextRef="#ctx0" brushRef="#br0" timeOffset="46472.15">7355 6773 0,'14'-13'0,"-28"40"31,14-14-15,0 0-16,-13-13 15,13 13-15,0 0 0,-13 1 16,26-1 0,0-13-1,1 0-15,-1 0 16,0 0-1,0 0-15,1 0 0,-14 13 0,13-13 16,-13 13-16,0 1 16,0 12-1,-13-26-15,13 13 0,-14 1 0,1-14 16,13 13-16,-13 0 0,0 0 16</inkml:trace>
  <inkml:trace contextRef="#ctx0" brushRef="#br0" timeOffset="46602.53">7514 6906 0,'13'-14'0,"-26"28"0,40-14 31,-27 13-31,0 0 16,-14 0-16,14 1 15,-13-1 1</inkml:trace>
  <inkml:trace contextRef="#ctx0" brushRef="#br0" timeOffset="46723.28">7567 6760 0</inkml:trace>
  <inkml:trace contextRef="#ctx0" brushRef="#br0" timeOffset="47151.56">7832 6932 0,'0'-13'31,"0"0"-31,-27 26 16,14 0-16,0 0 16,0-13-1,13 14-15,0-1 16,-14-13-16,28 13 15,-1-13 1,13-13-16,-13 13 16,1 0-16,-1-13 0,13 13 0,-12 0 15,-1 0-15,0 0 16,0 0-16,1 0 0,-14 13 0,13-13 16,0 13-16,-26 0 31,13 0-31,-13-13 0,13 14 15,-14-14-15,14 13 0,-13-13 16,0 0-16,0 13 0</inkml:trace>
  <inkml:trace contextRef="#ctx0" brushRef="#br0" timeOffset="47699.14">8639 6906 0,'26'0'15,"-13"0"-15,27-14 16,-27 14-16,0 0 0,1 0 16,-1 0-16,0 0 0,0 0 15,1 0-15,-1 0 0,0 0 0,0 0 16,1 0-16,-1 0 0</inkml:trace>
  <inkml:trace contextRef="#ctx0" brushRef="#br0" timeOffset="47943.42">8811 6720 0,'26'0'0,"-26"14"0,66 12 31,-53-13-31,1 1 0,-1-1 0,0 0 15,0 0-15,1 0 0,-1 1 0,-13-1 16,13-13-16,-13 26 0,0-12 16,-13-1-16,13 0 0,-13 0 0,-1 1 15,1-1-15,0 13 0,0-13 0,13 1 16,-14-1-16,14 0 0,-13 0 16</inkml:trace>
  <inkml:trace contextRef="#ctx0" brushRef="#br0" timeOffset="48812.18">9763 6615 0,'0'-14'15,"0"1"1,13 40-1,-13-14-15,0 13 0,0-12 16,-13 12-16,13 0 0,0 1 16,0-1-16,0-12 0,0 12 0,0-13 15,0 14-15,13-14 0,-13 0 0,0 0 16,14 1-16,-1-1 16,0-13-16,0 0 15,-13-13-15,13 13 0,1-14 0,-1 14 16,-13-26-16,13 13 0,-13-1 15,13-12-15,1 13 0,-14 0 0,0-14 16,13 14-16,-13 0 0,0-1 0,13 1 16,-13 0-16,0 0 15,13 13-15,-13-13 16</inkml:trace>
  <inkml:trace contextRef="#ctx0" brushRef="#br0" timeOffset="48990.82">10107 6720 0,'13'80'31,"-13"-67"-15,0 0-16,0 0 0,0 1 15,-13-1-15,13 0 16,0 0-16</inkml:trace>
  <inkml:trace contextRef="#ctx0" brushRef="#br0" timeOffset="49426.21">10306 6668 0,'0'13'15,"-14"0"-15,14 0 0,0 0 16,14 1-16,-14-1 0,0 0 16,0 0-16,0 1 15,0-1-15,0 0 0,0 13 16,0-12-16,-14-1 15,1-13 1,13 13-16,-13-13 0,0 13 16,-1-13-16,1 0 0</inkml:trace>
  <inkml:trace contextRef="#ctx0" brushRef="#br0" timeOffset="49590.98">10425 6734 0,'0'26'31,"0"-13"-31,0 1 0,0-1 16,-14 0-16,14 0 16,-13 0-16,13 1 0,-13-1 15,13 0-15,0 0 0</inkml:trace>
  <inkml:trace contextRef="#ctx0" brushRef="#br0" timeOffset="49958.83">10702 6522 0,'-13'13'0,"26"-26"0,-26 39 0,13-12 15,0 12-15,-13-13 0,13 14 0,0-1 16,-13-12-16,13 12 0,-14 0 0,14 1 16,0-14-16,0 0 0,-13 14 15</inkml:trace>
  <inkml:trace contextRef="#ctx0" brushRef="#br0" timeOffset="50295.12">10583 6800 0,'14'-13'15,"25"-14"1,-26 27-16,14 0 0,-14-13 16,0 13-16,14 0 0,-14-13 0,14 13 15,-14 0-15,0-14 0,0 14 0,0 0 16,1 0-16,-1 0 16,0 0-16,-13 14 15,13-14-15,-13 13 0,0 0 16,0 0-1,0 1-15,-13-1 16,13 0-16,0 0 16,-13-13-1,13 13-15</inkml:trace>
  <inkml:trace contextRef="#ctx0" brushRef="#br0" timeOffset="50926.75">10967 6575 0,'0'26'47</inkml:trace>
  <inkml:trace contextRef="#ctx0" brushRef="#br0" timeOffset="51446.65">11086 6707 0,'-13'40'16,"13"-27"0,0 0-1,0 1-15,-13-14 16,26 13 15,0-13-15,0 0-1,14 0 1,-14 0 0,0-13-16,0 13 15,1 0-15,-1-14 16,0 14-16,0 0 0,1-13 15,-1 13-15,0 0 16,0 0 0,-13 13-1,13-13-15,-26 14 16,13-1-16,0 0 0,0 0 16,-13-13-16,13 13 15,-13 1-15,13-1 0,-13-13 16,39-13 15,-13 13-31,0-14 0,1 1 16,-1 0-16,13-13 0,-12 12 0,25-25 15,-25 25-15,-1 1 16,0 0-16,0 0 0,-13 0 16,13-1-16</inkml:trace>
  <inkml:trace contextRef="#ctx0" brushRef="#br0" timeOffset="52539.36">3056 8864 0,'-13'13'0,"-1"53"31,14-53-31,0 0 0,-13 1 16,13-1-16,0 0 0,0 0 15,0 14 1,13-40 15,-13-1-31,14 1 16,-14 0-16,0 0 0,13-27 16,-13 27-16,0-14 0,0 14 15,13-13-15,-13 12 0,0 1 0,13 0 16,-13 0-16,0-1 0,0 1 15,14 13-15,-14-13 0,13 13 32,0 13-17,-13 0-15,0 1 0,13-1 16,-13 0-16,14 0 0,-14 1 16,13-14-16,-13 13 15,13 0-15,0-26 31,0 13-31,-13-13 0,14-1 16,-1 1-16,-13 0 0,13 13 16,0-13-16,-13-1 0,14 14 0,-14-13 15,13 13-15,0 0 16,0 13-16,1 1 16,-14-1-16,0 0 15,13 0-15,-13 1 0,0-1 0,0 0 16,0 0-16,13 0 0,-13 1 15,0-1-15,0 0 0,0 0 0,0 1 16,0-1-16,0 0 16,13-13-16,-13 13 15</inkml:trace>
  <inkml:trace contextRef="#ctx0" brushRef="#br0" timeOffset="52846.78">3625 8956 0,'0'0'0,"0"-13"0,13 0 0,-13-1 16,0 1-16,-13 0 15,0 26 16,-1-13-31,14 13 0,0 1 16,0-1-16,-13 0 16,13 0-16,0 1 15,0-1-15,13 0 0,-13 0 16,14-13-16,-1 14 16,0-14-16,0 13 0,14-13 15,-14 0-15,13-13 0,-12 13 0,12 0 16</inkml:trace>
  <inkml:trace contextRef="#ctx0" brushRef="#br0" timeOffset="53379.6">4048 8916 0,'-40'-13'31,"27"13"-31,0 0 16,0 0-16,13 13 0,-13-13 15,-1 14-15,1-1 16,13 0-16,-13-13 0,13 13 0,-13 1 16,13-1-16,0 0 15,0 0 1,13 1 0,0-14-16,0-14 15,1 14 1,-1-13-16,0 0 15,0 0 1,0 13 0,-13-14-16,14 14 15,-1 14 1,-13-1 0,0 0-1,0 0 1,13-13-1,0 0 17,1 0-17,-1 0 1,0 0-16,0 0 31,1 0-15,-1 0-16,0 0 15,0-13-15,0 13 0,1 0 16</inkml:trace>
  <inkml:trace contextRef="#ctx0" brushRef="#br0" timeOffset="53830.97">4842 8797 0,'53'-13'31,"-40"26"-15,0 1-16,0-14 0,-13 13 15,14 0-15,-14 0 0,13 1 0,-13-1 16,0 13-16,0-13 0,0 1 0,-13 12 16,13-13-16,-14 14 0,14-14 15,-13 0-15,0 1 0,13-1 16,-13 0-16,13 0 0,-13 0 0,13 1 16,-14-1-16,14 0 0,-13 0 15</inkml:trace>
  <inkml:trace contextRef="#ctx0" brushRef="#br0" timeOffset="53990.71">4842 9340 0,'-13'0'16,"26"-13"15,0-1-31,0 14 15,1-13-15</inkml:trace>
  <inkml:trace contextRef="#ctx0" brushRef="#br0" timeOffset="54303.68">5636 8824 0,'26'0'15,"-13"0"-15,14 0 0,-14 0 16,13 0-16,-12 0 0,12 0 0,-13 0 16,14 0-16,-14 0 0,0 0 15,1 0-15,-1 0 0,0 0 16</inkml:trace>
  <inkml:trace contextRef="#ctx0" brushRef="#br0" timeOffset="54486.68">5702 9009 0,'26'13'31,"-13"-13"-31,1 0 16,-1 0-16,0 14 0,14-14 0,-14 0 15,0 0-15,0 0 0,1 0 16,-1 0-16,0 0 0,0 0 0</inkml:trace>
  <inkml:trace contextRef="#ctx0" brushRef="#br0" timeOffset="55646.66">3797 7554 0,'0'26'16,"0"-12"0,0-1-16,0 0 0,0 0 15,0 0-15,0 1 16,0-1-16,0 0 0,0 0 15,0 1-15,-13-1 16,26 0 0</inkml:trace>
  <inkml:trace contextRef="#ctx0" brushRef="#br0" timeOffset="56171.75">4008 7527 0,'14'0'15,"12"0"1,-13 14-16,1-1 15,-14 0 1,0 0-16,-14 1 0,14-1 16,-13 0-16,13 0 15,-13-13-15,13 13 16,13 1-16,-13-1 16,13 0-16,-13 0 0,14-13 15,-14 14-15,13-1 16,-26 0-1,13 0-15,-14-13 0,1 14 16,0-14-16,0 0 16,-1 13-16,1-13 0,0 0 15,0 0-15,0 0 0,-1 0 0</inkml:trace>
  <inkml:trace contextRef="#ctx0" brushRef="#br0" timeOffset="56459.8">3638 7395 0,'-66'93'31,"53"-80"-31,13 13 0,-14 1 0,14-1 15,0 1-15,-13-1 0,13 1 0,0-1 16,0 1-16,13-1 0,-13-13 16,14 14-16,-14-14 0,13 13 15,0-12-15,0-1 0,1 0 0,-1 0 0,0 1 16,0-14-16,0 0 0,14 13 16,-14-13-16,14 0 0,-1-13 15,-13 13-15</inkml:trace>
  <inkml:trace contextRef="#ctx0" brushRef="#br0" timeOffset="56779.92">4247 7276 0,'39'26'0,"-78"-52"0,105 66 0,-53-14 16,13 1-16,1-1 0,-1 1 0,-12-1 16,12 14-16,-13-14 0,0 14 0,1-14 15,-14 14-15,13-14 0,-13 14 0,0-13 16,-13 12-16,13-12 0,-14 12 15,1-12-15,-13-1 0,13 1 0,-1-1 16,-12 1-16,13-14 0,-14 13 0,14-12 16,-14-14-16</inkml:trace>
  <inkml:trace contextRef="#ctx0" brushRef="#br0" timeOffset="58507.24">7250 7488 0,'-14'26'16,"14"-13"0,-13 1-16,13-1 0,-13 13 15,13-12-15,-13-1 0,13 0 16,-14 13-16,14-12 0,-13-1 0,13 0 15,-13 0-15,13 1 0,0-1 0,0 0 16,-13 0-16</inkml:trace>
  <inkml:trace contextRef="#ctx0" brushRef="#br0" timeOffset="58839.92">6998 7289 0,'-26'27'0,"52"-54"0,-65 80 15,25-40-15,1 1 0,13 12 16,-13 14-16,0-14 0,13 1 16,-14 12-16,14-12 0,0-1 15,0 1-15,0-14 0,0 13 0,0 1 16,0-14-16,0 14 0,14-14 0,-14 0 16,13 0-16,0 1 0,-13-1 15,13 0-15,1-13 0</inkml:trace>
  <inkml:trace contextRef="#ctx0" brushRef="#br0" timeOffset="59183.07">7488 7250 0,'0'0'0,"26"39"0,-13-12 0,1-14 0,-14 13 15,13 1-15,0-1 0,-13 14 16,13-14-16,-13 14 0,14-13 15,-14-1-15,0 1 0,0-1 0,-14 14 16,1-1-16,0-12 0,-14 13 0,1-1 16,-14 1-16,14 0 0,-14-1 15,0-25-15,1 25 0,12-12 0,-12-14 16,12 13-16</inkml:trace>
  <inkml:trace contextRef="#ctx0" brushRef="#br0" timeOffset="62698.93">10478 6615 0</inkml:trace>
  <inkml:trace contextRef="#ctx0" brushRef="#br0" timeOffset="63158.85">10067 6588 0,'0'13'31</inkml:trace>
  <inkml:trace contextRef="#ctx0" brushRef="#br0" timeOffset="78928.95">6932 8758 0,'0'39'15,"0"-25"-15,-13 12 16,13-13-16,0 14 0,0-14 0,0 13 15,0 1-15,0-14 0,-13 14 16,13-14-16,0 13 0,0-12 0,0-1 16,0 0-16,0 0 0,0 0 0,0 1 15</inkml:trace>
  <inkml:trace contextRef="#ctx0" brushRef="#br0" timeOffset="79680.47">7131 8797 0,'13'0'0,"13"0"31,-26 14-31,13-14 0,-13 13 15,0 0-15,-13 0 0,0 1 16,13-1-16,-13 0 16,13 0-16,-13-13 0,13 13 0,0 1 15,0-1-15,0 0 16,13 0-16,0 1 16,0-1-16,-13 0 15,0 0 1,-13 1-16,0-1 15,0-13-15,13 13 0,-27-13 16,14 13-16,-14 0 0,14 1 16,0-14-16,0 0 0,13 13 0,-14-13 15</inkml:trace>
  <inkml:trace contextRef="#ctx0" brushRef="#br0" timeOffset="79862.31">7395 8797 0,'40'27'31,"-40"-14"-31,13 0 0,-13 1 0,0-1 16,0 0-16,0 13 0,0-12 16,0-1-16,0 0 0,0 0 0,0 14 15,0-14-15,0 0 0,0 1 16,0-1-16,-13-13 0</inkml:trace>
  <inkml:trace contextRef="#ctx0" brushRef="#br0" timeOffset="80027.5">7250 8996 0,'0'-13'0,"0"26"0,13-26 31,-13-1-31,13 14 0,0 0 0,0 0 15,1 0-15,-1-13 0,0 13 16,0 0-16,1 0 0,-1-13 0,13 13 16,-12-13-16,-1 13 0</inkml:trace>
  <inkml:trace contextRef="#ctx0" brushRef="#br0" timeOffset="80283.82">7766 8665 0,'0'0'0,"13"40"16,-13-27-16,0 0 15,0 0-15,0 14 16,0-1-16,0-12 0,0 25 15,0-12-15,0-14 0,0 0 16,0 0-16,0 1 0,0-1 16,0 0-16,0 0 15</inkml:trace>
  <inkml:trace contextRef="#ctx0" brushRef="#br0" timeOffset="80623.14">7990 8718 0,'0'0'15,"14"13"16,-14 0-15,0 1-16,0-1 16,13 0-16,-13 0 15,0 1-15,0-1 16,0 0-16,0 0 0,-13 1 16,13-1-16,-14 0 0,14 0 15,-13-13-15,0 13 0,0 1 16</inkml:trace>
  <inkml:trace contextRef="#ctx0" brushRef="#br0" timeOffset="80794.87">8215 8678 0,'14'0'0,"-1"0"0,0 40 31,-13-27-31,0 0 16,0 1-16,13-1 0,-26 0 0,13 14 16,0-14-16,0 0 0,0 0 15,0 1-15,0-1 0</inkml:trace>
  <inkml:trace contextRef="#ctx0" brushRef="#br0" timeOffset="80953.75">8123 8864 0,'0'-14'16,"53"-12"15,-40 26-31,13-13 0,14-1 16,0 1-16,-14 13 0,1-13 0</inkml:trace>
  <inkml:trace contextRef="#ctx0" brushRef="#br0" timeOffset="81259.1">8705 8678 0,'13'14'0,"-13"-1"0,0 26 31,0-25-31,0-1 0,0 0 16,0 0-16,0 1 0,0-1 0,0 13 15,0-12-15,0-1 16,0 0-16</inkml:trace>
  <inkml:trace contextRef="#ctx0" brushRef="#br0" timeOffset="81867.34">8916 8665 0,'14'27'32,"-28"-14"-17,14 0-15,0 0 0,-13 0 16,13 1-1,13-1-15,-13 0 16,14-13-16,-14 13 16,13 1-16,-13-1 0,0 0 15,13-13-15,-13 13 16,-13 1-16,13-1 16,-13 0-16,-1-13 15,1 13-15,0 0 0,0-13 16,0 14-1</inkml:trace>
  <inkml:trace contextRef="#ctx0" brushRef="#br0" timeOffset="82116.19">9247 8639 0,'13'26'16,"-13"-13"-16,0 1 16,0-1-16,0 0 15,0 0-15,0 0 0,-13-13 0,13 14 16,0-1-16,-13 0 15</inkml:trace>
  <inkml:trace contextRef="#ctx0" brushRef="#br0" timeOffset="82313.81">9128 8758 0,'13'-14'31,"1"14"-31,-1 0 15,0-13-15,0 13 0,27 0 16,-14-13-16,-12 13 0,12 0 16,-13-13-16,14 13 0,-14 0 0,13 0 15,-12-13-15,-1 13 0,0 0 16,0 0-16,1 0 0,-1 0 0</inkml:trace>
  <inkml:trace contextRef="#ctx0" brushRef="#br0" timeOffset="82632.25">9618 8559 0,'13'0'15,"-13"13"-15,0 54 32,0-54-32,0 0 15,0 0-15,0 1 0,-13-1 0,13 0 16,0 0-16,0 0 0,0 1 15,0-1-15</inkml:trace>
  <inkml:trace contextRef="#ctx0" brushRef="#br0" timeOffset="82971.8">9750 8572 0,'13'0'15,"0"0"-15,1 0 16,-14 14-16,13-14 16,-13 13-16,-13 0 15,13 0-15,0 1 16,0-1-1,0 0-15,0 0 16,0 1-16,0-1 16,0 0-16,-14 0 0,14 0 15,-13-13-15,13 14 16,-13-14-16,13 13 0,-13-13 16,-1 13-16,1 0 15</inkml:trace>
  <inkml:trace contextRef="#ctx0" brushRef="#br0" timeOffset="83172.07">10041 8572 0,'13'0'0,"0"0"0,-13 27 31,0-14-31,0 0 16,0 1-16,0-1 0,0 0 0,-13-13 16,13 13-16,0 1 0,0-1 0,0 0 15,-13 0-15</inkml:trace>
  <inkml:trace contextRef="#ctx0" brushRef="#br0" timeOffset="83332.16">9962 8705 0,'13'0'15,"-26"0"-15,26-13 0,0 13 0,0 0 16,0-14-16,1 14 0,-1 0 16,13-13-16,1 13 0,-14-13 0,14 13 15</inkml:trace>
  <inkml:trace contextRef="#ctx0" brushRef="#br0" timeOffset="83672.47">10583 8546 0,'0'13'0,"0"27"31,-13-27-31,13 0 0,-13 1 16,13-1-16,-13 13 0,-1-12 16,14-1-16,0 0 15,-13 0-15,13 0 0</inkml:trace>
  <inkml:trace contextRef="#ctx0" brushRef="#br0" timeOffset="84064.06">10729 8572 0,'0'-13'0,"13"13"31,-26 13-15,0 1-1,13-1-15,0 0 16,13-13-16,-13 13 16,13-13-16,-13 14 0,13-14 15,1 13-15,-1 0 16,0 0-16,-13 1 15,13-14-15,-26 13 16,13 0-16,-13 0 16,0-13-16,-1 0 0,14 13 15,-13-13-15,0 0 0,0 14 0,-1-14 16,1 0-16,0 0 0,0 13 0</inkml:trace>
  <inkml:trace contextRef="#ctx0" brushRef="#br0" timeOffset="85219.03">11165 8572 0,'-13'27'0,"13"-14"0,0 0 0,-26 80 31</inkml:trace>
  <inkml:trace contextRef="#ctx0" brushRef="#br0" timeOffset="85386.25">11126 8705 0,'0'0'0,"13"0"0,-13-13 16,13 13-16,0 0 15,1 0-15,-1 0 0,0 0 16,14-14-16,-14 14 0</inkml:trace>
  <inkml:trace contextRef="#ctx0" brushRef="#br0" timeOffset="85550.81">11483 8572 0,'13'0'0,"-26"0"0,26 27 46,-26-27-46,13 13 16,0 0-16,-13 1 0,13-1 16,0 0-16,0 0 15,-14 1-15</inkml:trace>
  <inkml:trace contextRef="#ctx0" brushRef="#br0" timeOffset="85887.83">11655 8572 0,'13'14'31,"-13"-1"-31,-13 0 16,13 0-16,0 1 15,0-1-15,0 0 16,0 0-16,0 1 16,0-1-16,0 0 0,0 0 15,0 0-15,-13 1 0,13-1 0,-14 0 16,14 0-16,-13-13 15,13 14-15,-13-14 0,13 13 16</inkml:trace>
  <inkml:trace contextRef="#ctx0" brushRef="#br0" timeOffset="86059.02">11919 8599 0,'14'13'16,"-1"14"-16,-13-14 16,-13 0-16,13 0 15,0 1-15,-14-14 0,14 13 16,-13 0-16,13 0 0</inkml:trace>
  <inkml:trace contextRef="#ctx0" brushRef="#br0" timeOffset="86218.73">11774 8718 0,'0'0'15,"13"-13"-15,0 13 0,14-13 16,-14 13-16,0-14 0,14 14 16,-14-13-16,13 13 0,1-13 0,13 13 15,-14-13-15,1 13 0,-1-14 0</inkml:trace>
  <inkml:trace contextRef="#ctx0" brushRef="#br0" timeOffset="86427.65">12435 8533 0,'-13'26'0,"13"-13"15,0 1-15,0-1 0,0 0 16,0 0-16,0 1 16,0 12-16,0-13 0,0 1 15,13-1-15,-13 13 0,14-26 16</inkml:trace>
  <inkml:trace contextRef="#ctx0" brushRef="#br0" timeOffset="86780.11">12885 8520 0,'13'13'15,"1"13"-15,-14 1 16,0-14-16,0 0 15,0 0-15,0 27 0,0-27 16,0 1-16,0 12 16,-14-13-16,14 0 0</inkml:trace>
  <inkml:trace contextRef="#ctx0" brushRef="#br0" timeOffset="86932.97">12832 8665 0,'14'0'16,"78"-26"15,-65 12-31,-14 14 16</inkml:trace>
  <inkml:trace contextRef="#ctx0" brushRef="#br0" timeOffset="87093.08">13361 8467 0,'0'0'16,"0"26"0,-13-13-1,13 1-15,0-1 0,-13 13 16,0 1-16,13-14 16,0 0-16,0 0 0,0 1 0,0-1 15,0 0-15</inkml:trace>
  <inkml:trace contextRef="#ctx0" brushRef="#br0" timeOffset="87306.97">13705 8480 0,'0'26'31,"0"-12"-31,0-1 16,0 0-16,0 0 0,0 0 0,-13 14 16,13-14-16,0 0 0,-13 1 15,13-1-15,0 0 16,-13 0-16</inkml:trace>
  <inkml:trace contextRef="#ctx0" brushRef="#br0" timeOffset="87468.29">13560 8665 0,'26'-13'16,"-12"13"0,-1 0-16,0 0 0,13-13 0,-12 13 15,12 0-15,1-14 0,-14 14 0</inkml:trace>
  <inkml:trace contextRef="#ctx0" brushRef="#br0" timeOffset="87937.92">14129 8440 0,'0'40'15,"0"-27"-15,0 0 16,0 1-16,0-1 0,0 13 16,0-13-16,-13 14 0,13-14 0,0 0 15,0 1-15,0-1 0,0 0 0,-14 0 16,14 1-16,0-1 16</inkml:trace>
  <inkml:trace contextRef="#ctx0" brushRef="#br0" timeOffset="88175.86">14433 8427 0,'0'13'31,"0"0"-16,0 1-15,0-1 0,0 0 0,0 0 16,0 1-16,0-1 0,-13 13 0,13-13 16,0 1-16,-13-1 0,-1 0 15,14 0-15,0 1 0,0-1 0,0 0 16</inkml:trace>
  <inkml:trace contextRef="#ctx0" brushRef="#br0" timeOffset="88359">14340 8612 0,'14'-13'0,"52"13"31,-53 0-31,0-13 16,0 13-16,1 0 0,12 0 0</inkml:trace>
  <inkml:trace contextRef="#ctx0" brushRef="#br0" timeOffset="88616.05">14883 8387 0,'0'40'15,"-13"-40"-15,13 13 0,0 14 16,0-14-16,0 0 0,0 0 16,-14 14-16,14-14 0,0 0 0,-13 14 0,13-14 15,-13 0-15,13 14 0,0-14 16,-13-13-16,13 13 0,0 0 15</inkml:trace>
  <inkml:trace contextRef="#ctx0" brushRef="#br0" timeOffset="88852.48">15094 8401 0,'0'26'16,"-13"-26"-16,13 13 0,0 0 16,-13 1-16,13-1 0,0 13 0,-13-12 0,13-1 15,0 0-15,-13 0 16,13 0-16,0 1 0,0-1 0,0 0 16,-14 0-16,14 1 0,0-1 0,0 0 15,0 0 1</inkml:trace>
  <inkml:trace contextRef="#ctx0" brushRef="#br0" timeOffset="89415.62">14975 8599 0,'27'0'31,"-14"0"-16,0 0-15,1 0 0,-1 0 0,0 0 16,0 0-16,14 0 0,-27-13 0,26 13 16,-13 0-16,1 0 0,-1 0 15,0-14-15</inkml:trace>
  <inkml:trace contextRef="#ctx0" brushRef="#br0" timeOffset="89631.59">15505 8387 0,'-14'53'0,"14"-13"16,-13-27 0,13 0-16,0 1 0,-13 12 15,13-13-15,0 0 0,-13 14 0,13-14 16,-14 0-16,14 1 0,-13 12 0,13-13 15,-13 1-15,13-1 0,-13 0 16</inkml:trace>
  <inkml:trace contextRef="#ctx0" brushRef="#br0" timeOffset="91629.9">9750 8665 0</inkml:trace>
  <inkml:trace contextRef="#ctx0" brushRef="#br0" timeOffset="92014.8">10716 8705 0</inkml:trace>
  <inkml:trace contextRef="#ctx0" brushRef="#br0" timeOffset="92694.68">11562 8705 0</inkml:trace>
  <inkml:trace contextRef="#ctx0" brushRef="#br0" timeOffset="96404.06">7567 9353 0,'212'13'0,"-120"-13"0,755-39 32,-662 25-32,0 1 15,14 0-15,13 0 0,-14 13 0,80-27 16,-80 27-16,14-13 0,52 0 0,-65 0 16,-1-1-16,1 1 0,-1 0 0,-13 0 15,1 13-15,-14-14 0,0 14 16,-14-13-16,-12 13 0,-40 0 15,0 13-15,-27-13 0,14 0 0,-27 14 16,-27-14-16,-12 13 0,-1-13 0,-12 0 16,-1 13-16,-26-13 0</inkml:trace>
  <inkml:trace contextRef="#ctx0" brushRef="#br0" timeOffset="96775.6">10372 9671 0,'13'13'15,"-13"13"-15,-13-13 0,13 1 16,0-1-16,-27 40 0,14-14 15,0-12-15,13-14 16,-27 27-16,27-27 0,0 0 16</inkml:trace>
  <inkml:trace contextRef="#ctx0" brushRef="#br0" timeOffset="96930.74">10649 9657 0,'0'0'15,"0"27"-15,0-14 16,0 0-16,-26 40 0,13-13 16,0-14-16,-1 1 0,1 12 15,0-12-15,0 13 0,-1-14 16,1 40-16</inkml:trace>
  <inkml:trace contextRef="#ctx0" brushRef="#br0" timeOffset="97668.93">6218 11099 0,'53'-26'15,"-40"26"-15,13-13 16,1 13-16,-1-14 0,1 14 15,-1-13-15,1 13 0,-1 0 16,1-13-16,-14 13 0,13 0 0,-13-13 16,1 13-16,-1 13 15</inkml:trace>
  <inkml:trace contextRef="#ctx0" brushRef="#br0" timeOffset="97868.36">6112 11311 0,'0'13'0,"0"-26"0,13 39 0,0-26 16,1 0-16,-1 0 0,0 0 15,13 0-15,1 0 0,13 0 16,-14-13-16,1 13 0,-1 0 0,14-13 16,-14 13-16,1 0 0,-14-13 0,13 13 15,-12 0-15,12 0 0,-13 0 16,0-14-16,1 14 0,-1 0 0,0 0 15,0 0-15</inkml:trace>
  <inkml:trace contextRef="#ctx0" brushRef="#br0" timeOffset="109031.96">8599 10888 0,'26'-14'32,"-12"14"-17,-1 0-15,0 0 16,0 0-1,1 0-15,-1 0 0,0 0 16,0 0 0,-13 14-16,13-1 0,-13 0 15,0 0-15,14-13 0,-14 14 0,0-1 16,0 0-16,0 0 0,0 0 16,13 14-16,-13-14 0,0 0 15,-13 1-15,13-1 0,0 0 0,0 0 0,0 0 16,0 1-1,0-1-15,0 0 0,-14-13 0,14 13 16,0 1-16,-13-1 16</inkml:trace>
  <inkml:trace contextRef="#ctx0" brushRef="#br0" timeOffset="109230.63">8612 11086 0,'13'-13'15,"-26"26"-15,40-26 0,-14 13 16,0 0-16,0 0 0,14 0 0,-14 0 16,0 0-16,0 0 0,1 0 0,12 0 15,-13 0-15,1 0 0,-1 0 16,0-13-16,14 13 0</inkml:trace>
  <inkml:trace contextRef="#ctx0" brushRef="#br0" timeOffset="109779.66">9194 10888 0,'14'26'31,"-14"-13"-15,13 1-16,-13-1 0,13 0 0,-13 0 16,13 0-16,-13 1 0,0-1 15,0 0-15,0 0 0,0 1 16,0-1-16,-13 0 0,0 0 0,13 0 16,-13-13-16,-1 14 0,1-1 15,0-13-15,13 13 0,-13-13 0,-1 0 16,1 13-16,26-39 31,1 26-15,-1-13-16,0-1 0,0 1 0,1 0 15,-1 0-15,-13 0 0,13-1 16,0 1-16,-13 0 0,13 0 0,-13-1 16,0 1-16,14 0 0,-14 0 0,0 0 15,-14-1-15,14 1 16,-13 0-16,0 13 15,0-13-15,0 13 0,-14 0 16,27 13-16,-13-13 0,0 0 16,-1 13-16</inkml:trace>
  <inkml:trace contextRef="#ctx0" brushRef="#br0" timeOffset="109991.05">9551 10848 0,'0'13'15,"0"-26"-15,0 39 0,14-26 0,-14 14 0,0-1 16,0 13-16,13-12 0,-13-1 0,0 0 16,13 13-16,-13-12 0,0-1 15,0 0-15,0 0 0,0 1 0,0-1 16,0 0-16,0 0 0,13 0 15</inkml:trace>
  <inkml:trace contextRef="#ctx0" brushRef="#br0" timeOffset="110211.83">9459 10993 0,'0'0'16,"40"0"-16,-27 0 0,0 0 0,0 0 16,0 0-16,14 0 0,-14 0 0,0 0 15,1-13-15,12 13 0,-13 0 0,1 0 16,-1 0-16,13 0 0,-13 0 16,1-13-16,-1 13 0,0 0 0,0 0 15,1 0-15</inkml:trace>
  <inkml:trace contextRef="#ctx0" brushRef="#br0" timeOffset="111434.87">10358 10874 0,'0'0'0,"-26"0"63,13 0-63,0 0 0,-1 0 15,14 14-15,-13-14 16,13 13-16,0 0 16,0 0-16,13-13 0,-13 14 15,0-1-15,14 0 0,-14 0 0,13 0 0,-13 1 16,13-14-16,-13 13 0,0 0 15,0 0-15,0 1 16,-13-14-16,13 13 0,-13-13 0,-1 0 16,1 13-16,0-13 0,0 0 15,-1 0-15,1 13 0,0-13 16,0 0-16,-1 0 0</inkml:trace>
  <inkml:trace contextRef="#ctx0" brushRef="#br0" timeOffset="112199.99">11324 10835 0,'27'0'16,"-14"0"-16,0 0 0,0-14 15,1 14-15,-1 0 0,0 0 16,0 0-16,0 0 0,-13 14 16</inkml:trace>
  <inkml:trace contextRef="#ctx0" brushRef="#br0" timeOffset="112351.19">11245 11007 0,'0'13'31,"13"-13"-31,0 13 0,0-13 16,14 0-16,-14 0 0,0 0 15,14-13-15,-14 13 0,14 0 16,-1 0-16</inkml:trace>
  <inkml:trace contextRef="#ctx0" brushRef="#br0" timeOffset="113055.58">12621 10769 0,'-14'-14'16,"28"28"-16,-41-28 0,14 14 0,0 0 15,26 27 17,0-14-32,-13 0 0,13 0 15,1 14-15,-14-14 16,13 0-16,-13 1 0,0-1 0,0 0 16,0 0-16,0 1 0,-13-1 0,13 0 15,-14 0-15,1 0 0,0 1 16,0-14-16,-1 13 0,1-13 15,0 13-15,0-13 0,0 0 16,13-13 0,13 0-16,0 13 15,0-14-15,0 1 0,1 13 0,-1-13 16,0 0-16,14 0 0,-14-1 16,0 1-16,0 0 0,1 13 15,-1-13-15,0-1 0,-13 1 0,13 0 16,-13 0-16,0-1 0,-13 1 15,13 0-15,-13 13 16,0-13-16,-1 13 0,1-13 0,0 13 16,0 0-16,-1 0 0,1 0 0,0 0 15,0 0-15</inkml:trace>
  <inkml:trace contextRef="#ctx0" brushRef="#br0" timeOffset="113383.02">12938 10755 0,'-26'14'31,"12"-14"-31,1 13 16,13 0-1,0 0-15,0 0 16,0 1-16,13-1 16,-13 0-16,14 0 15,-14 14-15,0-14 0,13 0 16,-13 1-16,0-1 0,0 0 16,-13-13-16,13 13 0,0 0 15,-14 14-15,1-27 0,0 13 16,0 0-16,0 1 0,-1-1 15,1 0-15,0 0 0,0 0 0,-1-13 16,1 14-16</inkml:trace>
  <inkml:trace contextRef="#ctx0" brushRef="#br0" timeOffset="113622.76">12224 11284 0,'0'0'0,"39"-13"32,-12 13-32,-1-13 0,1 13 0,-1 0 0,14-13 15,0 13-15,13-13 0,-14 13 16,1 0-16,0-14 0,-1 14 16,-12 0-16,-1 0 0,14 0 0,-27 0 15,14 0-15,-1 0 0,-13 0 0,1 0 16,-1 0-16,-13 14 0,13-14 15</inkml:trace>
  <inkml:trace contextRef="#ctx0" brushRef="#br0" timeOffset="113929.39">12449 11390 0,'0'27'31,"0"-14"-31,0 0 16,0 0-16,-14 1 0,14-1 15,0 0-15,0 0 16,-13 14-16,13-14 0,0 0 15,-13 1-15,13-1 0,0 0 0,-13 0 16,13 0-16,-14 1 16,14-1-16,14-13 15</inkml:trace>
  <inkml:trace contextRef="#ctx0" brushRef="#br0" timeOffset="114679.86">12819 10663 0,'13'0'16,"1"0"0,-1 0-16,0 0 0,0 13 0,0-13 15,-13 13-15,14-13 0,-1 13 0,0 1 16,-13-1-16,13 0 15,-13 0-15,0 1 16,0-1-16,0 0 0,-13 0 0,0-13 16,13 13-16,-13 14 0,-1-27 15,1 13-15,0 14 0,13-14 0,-13 0 16,0 0-16</inkml:trace>
  <inkml:trace contextRef="#ctx0" brushRef="#br0" timeOffset="115182.8">12793 11324 0,'-27'93'31,"27"-80"-31,-26 13 16,12 14-16,1-13 0,0-1 0,0 1 15,-14-1-15,27-13 0,-13 14 0,0-14 16,0 0-16</inkml:trace>
  <inkml:trace contextRef="#ctx0" brushRef="#br0" timeOffset="120859.87">14129 11073 0,'26'0'32,"-13"0"-32,1 0 15,-1 0-15,0 0 0,0 0 0,1 13 16,-1-13-16,0 0 0,0 0 0</inkml:trace>
  <inkml:trace contextRef="#ctx0" brushRef="#br0" timeOffset="121035.69">14129 11218 0,'-13'0'15,"26"14"1,0-14-16,0 13 15,0-13-15,1 0 0,-1 0 0,13 0 16,-12 0-16,12 0 0,1 0 16,-1 0-16,-13 0 0,27-13 0,-14 13 15</inkml:trace>
  <inkml:trace contextRef="#ctx0" brushRef="#br0" timeOffset="121452.25">14803 10888 0,'53'0'16,"-39"0"-16,-1 0 15,13 0-15,-13 13 0,1-13 0,-1 0 16,0 13-16,0-13 0,1 13 16,-1-13-16,0 14 0,-13-1 0,13-13 15,-13 13-15,14 0 0,-14 0 0,0 1 16,0-1-16,0 0 0,0 0 15,0 1-15,0 12 0,-14-13 0,14 0 16,0 1-16,0-1 0,-13 0 0,13 0 16,0 1-16,0-1 0,-13 0 15,13 0-15,0 1 16,0-1-16</inkml:trace>
  <inkml:trace contextRef="#ctx0" brushRef="#br0" timeOffset="121643.17">14896 11165 0,'40'-13'31,"-27"13"-31,0 0 0,14 0 16,-14 0-16,0 0 0,0 0 0,1 0 15,-1 0-15,13 0 0,-13-13 0,1 13 16,-1 0-16,0 0 16</inkml:trace>
  <inkml:trace contextRef="#ctx0" brushRef="#br0" timeOffset="121840.69">15372 11112 0</inkml:trace>
  <inkml:trace contextRef="#ctx0" brushRef="#br0" timeOffset="122199.56">15624 10993 0,'-27'0'16,"14"0"-16,0 14 0,-40 12 31,53-13-31,0 1 16,0-1-16,0 0 16,13 0-16,-13 0 0,13 1 15,-13-1-15,0 0 16,0 0-16,0 1 0,0-1 15,-13 0-15,0 0 16,0 1-16,-1-1 0,1 0 16,-13 0-16,-14 0 0,27 1 15,-14-1-15,14-13 0,0 13 0,0-13 16,-1 13-16,1-13 0</inkml:trace>
  <inkml:trace contextRef="#ctx0" brushRef="#br0" timeOffset="122404.8">15888 11152 0,'-66'40'31,"40"-14"-31,-14-12 0,13-1 16,-12 13-16,-1-13 0,0 1 0,1 12 15,12-13-15,-12 14 0,12-14 0,-13 0 16,27-13-16,13 14 0,-13-14 0</inkml:trace>
  <inkml:trace contextRef="#ctx0" brushRef="#br0" timeOffset="122591.78">15968 11218 0,'-27'14'0,"14"-1"16,-14 0-16,14-13 0,-13 13 0,-1 0 15,-184 107 17,184-107-32,1 0 0,13 0 0,-1-13 15,1 13-15</inkml:trace>
  <inkml:trace contextRef="#ctx0" brushRef="#br0" timeOffset="127830.57">20294 10835 0,'13'0'0,"-26"0"16,39 0-16,-13 13 15,-13 0-15,0 0 0,13 1 16,-13 12-16,0 1 0,0 12 0,0 1 0,0 13 15,0-14-15,0 1 0,-13 0 0,13 0 16,0-14-16,-13 14 0,13-14 16,-13 1-16,13-1 0,0-13 15,-13 14-15,13-14 0,-14 0 0,14 0 16,0 1-16,-13-14 0,13 13 16</inkml:trace>
  <inkml:trace contextRef="#ctx0" brushRef="#br0" timeOffset="128251.17">20439 10874 0,'-13'0'0,"-80"67"16,67-41-16,13-13 15,-14 14-15,1-1 0,-1 1 16,1-14-16,-1 13 0,1-13 0,13 14 15,-1-14-15,1 0 0,0 1 0</inkml:trace>
  <inkml:trace contextRef="#ctx0" brushRef="#br0" timeOffset="128474.79">20426 10927 0,'40'27'0,"-80"-54"0,93 67 0,-40-27 15,0 0-15,0 1 0,1-1 16,12 0-16,-13 0 0,1 1 0,-14-1 16,13 0-16,0 0 0,0-13 15,-13 13-15,14 1 0,-1-1 16</inkml:trace>
  <inkml:trace contextRef="#ctx0" brushRef="#br0" timeOffset="131790.09">19328 11959 0,'0'-13'0,"0"26"0,13-26 15,-26 39 17,0-26-17,-1 14-15,1 12 0,0-13 16,0 1-16,-14-1 0,14 13 0,0-13 15,0 1-15,-1-1 0,1 0 0,0 0 16,0 1-16,13-1 0,-14 0 16,14 0-16,-13-13 0,13 14 0,-13-1 15,13 0 1,13-13-16,0 13 16,1-13-16,-1 0 0,13 0 15,-12 0-15,-1 13 0,0-13 16,0 0-16,0 0 0,14 0 0,-14 0 15,0 0-15,1-13 0,-1 13 16,0 0-16,0 0 0,1 0 16,-14-13-16</inkml:trace>
  <inkml:trace contextRef="#ctx0" brushRef="#br0" timeOffset="132040.68">19354 12012 0,'-26'93'32,"13"-67"-32,-1-13 0,14 14 15,-13-1-15,13 1 0,-13-1 0,13-13 16,-13 14-16,13-1 0,-14-12 0,14-1 15,0 13-15,0-13 0,14 1 16,-14-1-16,13 0 0,0-13 16,0 0-16,1 13 0,12-13 0,1-13 15</inkml:trace>
  <inkml:trace contextRef="#ctx0" brushRef="#br0" timeOffset="132388.73">20241 12065 0,'53'0'31,"-40"0"-31,13 0 0,1 0 16,12 0-16,-12 0 0,-1 0 0,14 0 16,-14 0-16,1 13 0,-1-13 0,1 0 15,-14 0-15,14 0 0,-14 0 0,0 0 16,13 0-16,-12 0 0,-1 0 15,0 0-15,0 0 16,1 0-16</inkml:trace>
  <inkml:trace contextRef="#ctx0" brushRef="#br0" timeOffset="132731.57">20717 11906 0,'53'27'32,"-40"-14"-32,0 0 15,0-13-15,1 13 0,12 1 16,-13-1-16,1 0 0,12-13 0,-13 13 0,1 1 15,-1-1-15,0 0 16,0 0-16,-13 0 0,13 1 0,1-1 16,-14 0-16,0 0 0,0 1 0,0-1 15,0 0-15,-14 14 0,14-14 16,-13 0-16,0 0 0,13 0 0,-13 1 16,0-1-16,13 0 0,-14-13 0,1 13 15,13 1-15,13-14 16</inkml:trace>
  <inkml:trace contextRef="#ctx0" brushRef="#br0" timeOffset="133691.87">21947 11946 0,'0'40'31,"0"-27"-15,0 0-16,-13 0 0,13 14 15,0-14-15,0 0 0,0 0 0,0 1 16,0-1-16,0 0 0,0 0 0,0 1 16,0-1-16,0 0 0,0 0 15,13-13-15,-13 14 16,13-1-16</inkml:trace>
  <inkml:trace contextRef="#ctx0" brushRef="#br0" timeOffset="134662.81">22159 11986 0,'26'-14'0,"-52"28"0,66-28 15,-14 14-15,-13 0 16,0 14-16,1-14 16,-1 13-16,-13 0 15,13-13-15,-13 13 0,0 1 16,0-1-16,0 0 0,-13 0 15,13 0-15,-13-13 0,13 14 16,-14-1-16,1-13 0,13 13 0,-13 0 16,13 1-16,-13-14 15,13 13 1,13 0-16,0-13 16,0 0-16,1 0 15,-1 0-15,0 0 16,0 0-16,1 0 0,-1 0 0,0 0 0,0 0 15,1 0-15,12 0 16,-13 13 0,0-13-1</inkml:trace>
  <inkml:trace contextRef="#ctx0" brushRef="#br0" timeOffset="136362.81">22172 11986 0,'-13'13'0,"39"-26"94,-12 13-94,-1 0 16,0 0-16,0 0 15,0 0-15,1 0 16,-14 13-16,13-13 16,-13 13-16,13-13 0,-13 13 15,0 1-15,0-1 16,-13 0-16,13 0 15,-13 0 1,-1 1-16,1-14 16,13 13-16,-13-13 0,13 13 15,-13-13-15,13 13 16,-13-13-16,26 14 47,0-14-47,0 0 0,14 0 15,-14 0 1,0-14-16,0 14 0,1 0 16,-1 0-16,0 0 0,0 0 15,1 0 1,-1 0-16,0 0 16,0 0-16,0 0 31</inkml:trace>
  <inkml:trace contextRef="#ctx0" brushRef="#br0" timeOffset="139178.97">22199 11959 0,'13'-13'63,"-13"0"-48,13 13 1,0 0-16,0 0 16,1 13-1,-1-13-15,-13 13 16,13-13-16,-13 13 15,0 1 1,0-1-16,-13-13 0,13 13 16,-13 0-16,-1-13 0,14 14 15,-13-14-15,13 13 0,-13-13 0,13 13 16,-13-13-16,13 13 0,-13-13 16,13 13-16,0 1 31,13-14-31,-13 13 15,13-13-15,0 0 16,0 0-16,1 0 0,-1 0 16,0 0-16,0 0 0,-13 13 15,14-13-15,-1 0 0,0 0 16</inkml:trace>
  <inkml:trace contextRef="#ctx0" brushRef="#br0" timeOffset="140815.71">19315 11972 0,'13'-13'31,"-26"26"16,13 1-31,-14-14-16,1 13 0,0 0 15,0-13-15,-14 13 0,14 1 0,-13 12 0,-1-13 16,14 0-16,-14 14 0,1-14 15,13 0-15,-1 1 0,1-1 16,0 0-16,0 0 0,0-13 0,13 14 16,-14-1-16,14 0 15,-13-13-15,13 13 0,13 0 16,1-13-16,-1 0 16,0 0-16,0 0 0,14 0 15,-14 0-15,13 0 0,-12 0 0,12 0 16,1-13-16,-14 13 0,13 0 0,-13 0 15,1 0-15,-1-13 0,13 13 16,-12 0-16,-1 0 16,0 0-16,0-13 0,1 13 15,-1 0 1</inkml:trace>
  <inkml:trace contextRef="#ctx0" brushRef="#br0" timeOffset="141124.63">19368 11999 0,'-14'26'31,"14"-12"-31,0-1 16,0 13-16,0-13 0,-13 14 0,13-1 15,0 1-15,0-1 0,-13 1 0,13-1 16,0-13-16,0 14 0,0-14 16,0 14-16,0-14 0,-13 13 0,13-13 15,0 1-15,0-1 0,0 0 16,0 0-16,13-13 15,-13 14-15</inkml:trace>
  <inkml:trace contextRef="#ctx0" brushRef="#br0" timeOffset="142043.16">20373 12052 0,'26'0'31,"-12"0"-31,-1 0 0,0 0 16,0 0-16,14 0 0,-14 0 0,13 0 16,-12 0-16,12 0 0,1 13 15,-1-13-15,-13 0 0,14 0 16,-1 0-16,1 0 0,-1 0 0,-13 0 15,14 0-15,-14 0 0,13 0 16,-12 0-16,-1 13 0,0-13 0,0 0 16,1 0-16,-1 0 0,0 0 15</inkml:trace>
  <inkml:trace contextRef="#ctx0" brushRef="#br0" timeOffset="142898.97">20704 11893 0,'-14'-13'16,"28"39"46,-14-13-62,13-13 16,-13 14 0,13-14-16,-13 13 15,13-13 1,1 13-1,-1-13 1,0 13-16,0-13 16,-13 14-16,13-14 0,-13 13 15,14-13-15,-1 0 0,-13 13 16,13 0-16,0-13 16,-13 14-16,14-14 0,-1 13 0,-13 0 15,13-13-15,0 13 16,1-13-16,-14 13 15,13-13 1,0 14 0,0-14-1,-13 13-15,13-13 32,1 13 14,-28 0 1,14 1-15,-13-1-32,13 0 15,0 0-15,-13-13 0,13 14 0,-13-1 16,0 0-16,13 0 0,-14 0 15,1-13-15,13 14 0,-13-14 16,13 13-16,-13-13 0,13 13 0,-14-13 16</inkml:trace>
  <inkml:trace contextRef="#ctx0" brushRef="#br0" timeOffset="144408">15452 11589 0,'-14'26'47,"14"-13"-47,-13 1 0,13 12 15,-13 1-15,13-1 0,-13 14 0,0-14 16,-1 14-16,14-14 0,-13 1 16,13-1-16,-13-13 0,13 14 0,0-1 15,0-12-15,-13 12 0,13-13 0,0 14 16,0-14-16,0 0 0,0 0 15,0 1-15,13-14 0,-13 13 16,0 0-16,13-13 0,0 13 0,1-13 16,-1 0-16,0 0 0,13 0 0,1 0 15,-1 0-15,14 0 0,13 0 16,0 0-16,0 0 0,0-13 0,26 13 16,0 0-16,1-13 0,-1 13 0,1 0 15,-1 0-15,14-13 0,-14 13 16,0 0-16,1 0 0,-1-14 15,-13 14-15,14 0 0,-14 0 0,13-13 16,-26 13-16,13 0 0,-13 0 16,0 0-16,0 0 0,-13-13 0,-1 13 15,-12 0-15,12 0 0,-12 0 0,-14 0 16,0 0-16,14 0 0,-14 0 16,0 0-16,14-13 15,-14 13 1,-40-13 31</inkml:trace>
  <inkml:trace contextRef="#ctx0" brushRef="#br0" timeOffset="145480.18">17238 11880 0,'26'0'93,"-13"0"-15,-13 13 266,14-13-328,-14 13-1,13-13-15,-13 13 16,13-13-16,0 0 16,-13 14-16,13-14 0,1 13 0,-1-13 15,0 13-15,0-13 16,1 0-16,-1 13 0,0-13 0,-13 14 16,13-14-16,0 0 0,1 0 0,-1 13 15,0-13-15,0 13 16,1 0-16,-14 1 15,0-1-15,0 0 16,-14 0-16,14 0 0,-13 14 0,0-14 16,0 0-16,-1 14 0,-12-1 15,0 1-15,12-1 0,-12-13 0,13 14 16,-1-14-16,-12 0 0,13 1 0,0-1 16,-1 0-16,14 0 0,-13-13 15,13 13-15</inkml:trace>
  <inkml:trace contextRef="#ctx0" brushRef="#br0" timeOffset="148483.69">17568 12039 0,'27'-14'0,"-54"28"0,80-28 0,-40 14 15,1-13-15,12 13 0,1-13 0,12 13 16,1-13-16,13-1 0,0 1 0,13 0 16,0 0-16,0-1 0,14 1 15,-1 0-15,0 0 0,1 0 0,-1-1 16,14 1-16,-14 0 0,0 0 0,14-1 16,-14 1-16,1 0 15,-1 0-15,-13 0 0,14-1 0,-14 1 16,13 0-16,-13 0 0,1-1 0,-1 1 15,0 0-15,-13 13 0,-14-13 16,1-1-16,13 14 0,-26-13 0,-1 13 16,0-13-16,1 13 0,-14 0 0,14-13 15,-14 13-15,0 0 0,0 0 16,0-13-16,1 13 0,-1 0 0,0-14 16,0 14-16,1 0 0,-1 0 0,0-13 15,14 13-15,-14 0 0,0 0 16,0 0-16,0-13 0,1 13 0,-1 0 15,0 0-15,0 0 16,1-13-16,-1 13 16,0 0-16,0 0 31,1 0-15,-1 0-16,0 13 31,-39-26 188,26-1-204,-14 14 1,1 0-1,13-13 17,-13 13-1,13-13 16,13 0-16,-13-1 0,0 1-15,0 0 0,0 0-1,13 0-15,-13-1 0,14 1 16,-14 0-16,0 0 15,13-1-15,-13 1 0,0 0 0,13 0 16,-13-1-16,13-12 0,-13 13 0,13 0 16,1-14-1,-14 14-15,13-14 0,-13 14 0,13 0 16,-13 0-16,0-1 0,13 1 0,-13 0 16,14 0-16,-14 0 0,0-1 15,13 1-15,-13 0 0,13 0 16,-13-1-16,0 1 0,0 0 15,13 13-15,-13-13 16,0 0-16,14-1 16,-28 14 46,1 0-46</inkml:trace>
  <inkml:trace contextRef="#ctx0" brushRef="#br0" timeOffset="149095.72">20466 10888 0,'-14'-14'16,"1"28"0,0-14-16,0 13 15,-1-13-15,1 13 0,0 0 0,-14 1 16,14-1-16,0 0 0,0 0 0,-14 14 16,1-14-16,13 13 0,-1-12 15,1-1-15,-13 0 0,12 0 0,1 0 16,0 14-16,0-14 0,0-13 0,-1 13 15,14 1-15,-13-1 0,0-13 16,13 13-16,-13-13 0,13 13 0,-14 1 16,1-14 15,26-14 0,1 14-31,-14-13 0,13 13 16,-13-13-16,13 0 0,0-1 0,1 1 15,-1 0-15,0 0 0,0-14 0,0 14 16,1 0-16,-1-14 0,0 14 16,0 0-16,1 0 0,-1-1 0,0 14 15,-13-13-15,13 13 0,1-13 0,-1 13 16,-13-13-16,13 13 0,0 0 16,0 0-16,1 13 15,-1-13-15,0 0 0,0 13 0,1 0 16,-1-13-16,0 14 0,14-1 0,-14 0 15,0 0-15,0-13 0,-13 14 16,13-1-16,1-13 0,-14 13 0,13 0 16,0-13-16,-13 13 0,13-13 15,1 14 1,-28-1 15</inkml:trace>
  <inkml:trace contextRef="#ctx0" brushRef="#br0" timeOffset="151263.87">20241 11007 0,'-14'0'0,"-39"26"31,40 1-31,0-14 0,-13 13 16,-1-13-16,14 14 0,-14-1 0,1 1 16,13-14-16,-14 27 15,1-27-15,13 0 0,-1 0 0,14 1 16,-13-1-16,0-13 0,13 13 0,-13-13 15,13 13-15,-14-13 0,14 14 16,27-28 31,-14 1-47,0 0 16,1 0-16,-1-1 15,-13 1-15,13 0 0,0 0 16,14-14-16,-14 1 0,13 13 0,-12-14 15,12 1-15,1-1 0,-1 1 0,0 13 16,-12-14-16,12 14 0,-13 0 16,14-1-16,-14 1 0,14 0 0,-14 13 15,13-13-15,-13 0 0,1-1 0,-1 14 16,13 0-16,-12-13 0,-1 13 16,0 0-16,0 0 0,1 0 15,-1 0-15,0 0 0,0 0 0,0 0 16,1 13-16,-1-13 0,0 14 0,14-14 15,-14 13-15,0 0 0,0-13 16,1 13-16,-1 0 0,0 1 0,0-14 16,-13 13-16,13 0 0,1-13 0,-1 13 15,0 1-15,0-14 16,-13 13-16,14-13 0,-14 13 16,13-13-16,0 13 15,0-13 1,-13 13-1</inkml:trace>
  <inkml:trace contextRef="#ctx0" brushRef="#br0" timeOffset="154406.9">16457 7355 0,'27'0'0,"-14"-13"31,-40 13 32,14 0-48,0 0-15,0 0 16,-1 0-16,1 0 15,0-13-15,0 13 0,-1 0 0,1 0 16,-13 0-16,13 0 0,-14 0 0,1 0 16,-1 0-16,14 0 0,-27 0 15,1 0-15,-1 0 0,-13 0 0,0 0 16,0 0-16,0 0 0,0 0 0,0 0 16,0 0-16,1 13 0,-15-13 15,15 0-15,-1 13 0,0-13 0,0 14 16,0-14-16,0 0 0,0 13 0,13 0 15,1-13-15,-1 13 0,0-13 16,14 0-16,-14 14 0,0-1 16,14-13-16,-14 13 0,14-13 0,-1 13 15,-12-13-15,-1 13 0,14-13 0,-1 14 16,1-14-16,-1 13 0,1-13 16,12 13-16,-12-13 0,13 13 0,0-13 15,-1 0-15,1 0 0,0 14 0,0-14 16,-1 0-16,1 0 15,0 13-15,0-13 16,-1 0 0,1 13 15,26-13 63</inkml:trace>
  <inkml:trace contextRef="#ctx0" brushRef="#br0" timeOffset="155391.14">14658 7289 0,'0'-13'15,"0"26"-15,13-26 0,-26 39 63,0-12-63,-1-1 0,1 0 0,0 14 15,0-14-15,0 0 0,-1 0 0,1 14 16,-13-14-16,12 13 0,1-12 16,0-1-16,0 0 0,13 0 0,-14 1 15,1-1-15,13 0 0,-13 0 0,0 1 16,13-1 0,-13-13-16,13 13 0,-14 0 15,28 0 16,-1-13-15,0 0-16,0 0 0,0 0 16,14 0-16,-14 0 0,14 14 0,-1-14 15,1 0-15,-1 0 16,0 0-16,-12 13 0,12-13 0,1 0 0,-14 0 16,13 13-16,-12-13 0,12 0 0,-13 0 15,0 0-15,1 0 0,-1 0 16,0 13-16,0-13 15,1 0-15,-1 0 16,0 0 0,0 0 15,0 0 0,-13 14 0,0-1-15</inkml:trace>
  <inkml:trace contextRef="#ctx0" brushRef="#br1" timeOffset="168183.65">14340 6773 0,'27'0'16,"-14"0"-16,0 14 0,1-14 16,-14 13-16,13 0 15,0-13-15,0 13 0,-13 0 0,27 14 16,-14-27-16,-13 13 0,13 0 15,-13 1-15,0-1 0,13-13 16,-13 13-16,0 0 0,14-13 0,-14 14 16,13-1-16,0-13 15,0-13 1</inkml:trace>
  <inkml:trace contextRef="#ctx0" brushRef="#br1" timeOffset="168415.5">14698 6734 0,'0'-14'16,"-27"41"-1,27-14-15,-13 0 16,0 1-16,-1-1 0,1 13 16,0 1-16,-13 12 0,12-12 0,1-1 15,0-12-15,0 12 0,-1 0 0,1 1 16,0-14-16,0 0 0,-1 14 15,1-14-15,13 0 0,-13 14 0,13-14 16,-13 0-16,13 0 0,-13 1 0,13-1 16</inkml:trace>
  <inkml:trace contextRef="#ctx0" brushRef="#br1" timeOffset="168871.63">15042 6456 0,'-14'79'31,"1"-39"-31,13 0 16,-13-14-16,0 14 0,13-1 16,-14 1-16,1 0 0,13-14 0,-13 14 15,0 0-15,13-1 0,-14-12 0,1-14 16,13 13-16,-13 1 0,13-14 16,0 14-16,-13-14 0,13 0 15,-13 0-15,13 1 16,13-14-1</inkml:trace>
  <inkml:trace contextRef="#ctx0" brushRef="#br1" timeOffset="169442.71">15399 6998 0,'0'-13'31,"0"0"-16,13 0-15,-13-1 0,0 1 16,0 0-16,0 0 16,13-1-16,-13 1 0,0 0 15,0 0-15,13 13 0,-13-14 0,0 1 16,14 0 0,-1 26-1,-13 0-15,13-13 16,-13 14-16,0-1 0,13-13 15,-13 13-15,0 0 0,14-13 0,-14 14 16,13-14-16,-13 13 0,13-13 16,0 0-1,14 0-15,-14-13 16,0-1-16,0 1 16,-13 0-16,14 0 0,-1-1 0,-13 1 15,13-13-15,-13 13 0,0-14 16,13 1-16,-13 12 0,14-12 0,-14 13 15,0-14-15,0 14 0,0 0 0,0 0 16,0-1-16,0 1 16,0 0-16,13 0 15</inkml:trace>
  <inkml:trace contextRef="#ctx0" brushRef="#br1" timeOffset="172941.81">15346 11456 0,'13'-26'16,"0"26"-16,1-13 15,-1 13-15,0 0 0,-13-13 16,13-1-16,14 14 0,-14-13 0,0 13 15,0-13-15,1 13 0,12-13 0,-13-1 16,1 14-16,-1-13 0,0 13 16,0-13-16,0 13 0,1-13 15,-1 13-15,0-14 16</inkml:trace>
  <inkml:trace contextRef="#ctx0" brushRef="#br1" timeOffset="173606.63">15438 11536 0,'14'-27'63,"-1"27"-63,0 0 0,0-13 16,1 13-16,12-13 0,1 0 15,-14 13-15,0-14 0,0 14 16,0-13-16,1 13 0,-1-13 15,0 13-15,0 0 0,-13-13 0,14 13 16,-1 0-16,0-13 16,0 13-16,0 0 31,1-14-15,-1 14 30,0-13 158</inkml:trace>
  <inkml:trace contextRef="#ctx0" brushRef="#br1" timeOffset="174126.62">15571 11337 0,'13'-13'15,"0"13"-15,0-13 16,1 13-16,-1-13 0,0 13 15,0-14-15,1 14 0,-1-13 16,13 0-16,1 0 0,-14 13 16,0-13-16,0 13 0,1-14 0,-1 1 15,0 13-15,0-13 0,1 13 16,-1 0-16,0-13 0,0 13 0,-13-14 16,13 14-16,1-13 15,-1 13-15</inkml:trace>
  <inkml:trace contextRef="#ctx0" brushRef="#br1" timeOffset="174596.77">15624 11456 0,'39'-39'31,"-25"26"-31,-1-1 0,13 14 16,-13-13-16,14 0 0,-14 0 0,0-1 15,14 1-15,-14 0 16,14 0-16,-14 13 0,0-14 0,0 1 0,14 0 16,-14 0-16,0 13 0,0-13 15,1 13-15,-14-14 0,13 14 0,0-13 16,0 0-16,1 13 16,-1-13-16,0 13 31,-13-14-31,13 14 15,-26 14 64,0-1-64</inkml:trace>
  <inkml:trace contextRef="#ctx0" brushRef="#br1" timeOffset="184431.78">12885 9274 0,'53'66'16,"-40"-40"0,14 1-16,-1 12 0,1-12 0,-1 13 15,14-1-15,0 1 0,-1-14 0,1 14 16,13-13-16,-13-1 0,26-13 15,-13 14-15,0-14 0,13 0 16,13 0-16,0-13 0,1 0 0,-1 0 0,1 0 16,12-13-16,1 0 0,-1 0 15,14-14-15,-13 14 0,-1 0 16,1-14-16,-14 14 0,1-13 0,-1 12 16,0 1-16,-12 0 0,-1 0 0,0-1 15,-26 1-15,13 0 0,-27 13 16,0-13-16,-12 13 0,12 0 0,-13-13 15,1 13-15,-1 0 0,0 0 0,-13-14 16,13 14-16,1 0 16,-1-13-16</inkml:trace>
  <inkml:trace contextRef="#ctx0" brushRef="#br1" timeOffset="184746.28">15121 9300 0,'26'-13'15,"-12"13"-15,-1 13 0,13-13 16,-12 0-16,12 13 0,0-13 0,1 0 16,-1 14-16,1-1 0,-14-13 15,14 13-15,-14 0 0,0 0 0,0 1 16,0-1-16,-13 13 0,14-12 16,-14 12-16,-27 27 0,1-27 15,-1 14-15,-12 0 0,-1 0 0,0-14 16,1 14-16,-1-14 0,0 14 15,0-14-15</inkml:trace>
  <inkml:trace contextRef="#ctx0" brushRef="#br1" timeOffset="187943.97">18944 11919 0,'0'40'0,"0"-80"0,0 120 15,13-54-15,-13 14 0,0 13 0,0 0 16,0 13-16,14 0 0,-14-13 0,0 0 15,0 0-15,-14 0 0,14 0 16,0-14-16,0 14 0,0-13 0,0-14 16,-13 14-16,13-13 0,0-14 0,-13 0 15,13 14-15,0-14 0,0 0 16,-13-13-16</inkml:trace>
  <inkml:trace contextRef="#ctx0" brushRef="#br1" timeOffset="190019.89">18984 11893 0,'66'-13'16,"-53"13"-16,14-13 16,-1 13-16,1-14 0,-1 14 0,27 0 15,-13-13-15,52 0 16,-39 13-16,66-13 15,-39 13-15,-27-14 0,13 14 0,-13 0 16,0-13-16,224-13 16,-197 26-16,-1-13 15,-13 13-15,0-14 0,14 14 0,-14-13 0,0 13 16,0-13-16,0 0 0,14 13 16,-14-14-16,0 1 0,0 0 15,0 0-15,0-1 0,14 1 0,-14 0 16,0 0-16,-13-14 0,13 14 0,0 0 15,0 0-15,1-1 0,-14 14 16,-14-13-16,14 0 0,0 0 0,-13 13 16,13-14-16,-14 1 0,14 13 0,-13-13 15,0 13-15,52-13 16,1 0-16,-1 13 16,-39-14-16,-13 14 0,0 0 15,-14 0-15,27-13 0,-13 13 16,-1 0-16,1 0 0,0 0 0,0 0 15,-1 0-15,1 0 0,-14 0 0,14 0 16,-13 0-16,-1 0 0,0 0 16,1 0-16,-1 0 0,1 0 0,-14 0 15,0 0-15,1 0 0,-1 0 0,0 0 16,0 0-16,0 0 0,1 0 16,-1 0-16,0 0 15,0 0-15,1 0 31,-1 0 1,-13 13-17,0 1-15,0-1 16,0 0-16,0 0 0,0 0 16,0 14-16,0-1 0,0-12 0,0 12 15,0 1-15,0-1 0,0 0 16,0 1-16,0-14 0,0 14 0,0-1 15,0 1-15,0-1 0,0-13 0,0 14 16,0-14-16,0 13 0,0 1 16,0-14-16,0 13 0,0-12 15,0 12-15,0-13 0,0 14 0,0-14 16,0 0-16,0 1 0,0-1 0,0 0 16,0 0-16,0 0 0,0 1 15,0-1-15,0 0 16,0 0-1,0 1-15,0-1 16,0 0 31,-13 0-31,-1-13-16,1 14 31,0-14-31,0 0 0,13 13 15,-14-13-15,1 0 0,0 0 0,0 13 16,-14-13-16,14 0 0,-13 13 16,-1-13-16,1 0 0,-1 13 0,1-13 15,-1 14-15,1-14 0,-1 13 0,1-13 16,-1 13-16,1-13 0,0 13 16,-1-13-16,1 14 0,-1-14 0,1 13 15,-1-13-15,-12 13 0,12-13 0,1 13 16,-1-13-16,14 0 0,-14 13 0,1-13 15,13 0-15,-14 14 0,1-14 16,13 0-16,-14 13 0,1-13 16,13 0-16,-14 13 0,14-13 0,-14 0 15,1 13-15,13-13 0,-14 0 16,1 14-16,13-14 0,-14 0 0,14 13 16,-14-13-16,-12 0 0,12 13 0,1-13 15,-1 0-15,1 13 0,-1-13 16,1 0-16,0 14 0,-1-14 0,1 0 15,-1 13-15,14-13 0,-14 0 0,1 13 16,13-13-16,-14 13 0,1-13 16,-1 0-16,1 13 0,13-13 0,-14 0 15,14 0-15,-13 0 0,12 14 16,1-14-16,-13 0 0,12 0 0,1 0 16,-13 0-16,12 0 0,1 0 15,-13 0-15,13 0 0,-14 13 0,14-13 16,-14 0-16,14 0 0,-13 0 0,-1 0 15,14 13-15,-13-13 0,-1 0 16,14 0-16,-14 0 0,1 13 0,0-13 16,-1 0-16,14 0 0,-27 0 0,27 0 15,-14 14-15,1-14 0,0 0 16,12 0-16,-12 0 0,-1 0 0,1 13 16,-1-13-16,14 0 0,-13 0 0,-14 0 15,14 0-15,-1 13 16,1-13-16,-14 0 0,14 0 0,-14 0 15,13 0-15,1 13 0,-14-13 0,14 0 16,-1 0-16,-12 0 0,12 0 0,1 0 16,-1 0-16,14 0 0,-13 0 15,-1 0-15,1 0 0,-1 0 0,1 0 16,13 14-16,-14-14 0,1 0 0,-14 0 16,13 0-16,1 13 0,0-13 15,-1 0-15,1 0 0,-1 0 16,1 0-16,13 13 0,-14-13 0,1 0 0,-1 0 15,1 0-15,-1 0 0,14 0 16,-13 0-16,12 0 0,1 0 16,-13 0-16,12 0 0,-12 0 0,13 0 15,-1 0-15,-12 0 0,13 0 0,0 0 16,-1 0-16,1 0 0,0 0 16,0 0-16,-14 0 0,14 0 0,0 13 15,0-13-15,-1 0 0,1 0 0,0 0 16,0 0-16,-1 0 0,1 0 15,0 0-15,0 13 0,-1-13 0,1 0 16,0 0-16,0 0 0,0 0 16,-14 14-16,14-14 0,0 0 0,-1 0 0,1 13 15,0-13-15,-14 0 16,14 0-16,0 13 0,0-13 0,0 0 16,-1 13-16,1-13 0,0 0 0,0 0 15,-1 14-15,-12-14 0,13 0 16,-1 13-16,1-13 0,0 0 15,0 0-15,0 0 0,-1 13 16,1-13-16,0 0 16,0 13-1,-1-13-15,1 0 16,0 0 15,0 0-15,39-13 15</inkml:trace>
  <inkml:trace contextRef="#ctx0" brushRef="#br1" timeOffset="191759.81">20757 13044 0,'13'0'0,"-13"13"47,0 0-47,13 1 0,-13 12 0,0-13 15,0 14-15,0-14 0,0 13 0,0 1 16,13-1-16,-13 1 0,0-1 16,0 1-16,0-1 0,0 1 0,0-1 15,13-13-15,-13 14 0,0-14 0,0 0 16,0 14-16,0-14 0,0 0 15,0 0-15</inkml:trace>
  <inkml:trace contextRef="#ctx0" brushRef="#br1" timeOffset="192151.72">20836 13097 0,'-13'26'0,"-1"-26"15,-25 53 1,26-40-16,13 1 15,-14-1-15,1 0 0,0 14 0,0-14 0,-1 0 16,1 0-16,0 1 16,0-1-16,13 0 0</inkml:trace>
  <inkml:trace contextRef="#ctx0" brushRef="#br1" timeOffset="192423.98">20730 13150 0,'27'0'0,"-14"13"15,0 0-15,0-13 16,27 40-1,-27-27-15,0-13 0,-13 13 16,14-13-16,-1 14 0,-13-1 16,13-13-16,-13 13 0,13-13 0,-13 13 15,14-13-15,-14 14 0</inkml:trace>
  <inkml:trace contextRef="#ctx0" brushRef="#br1" timeOffset="197652.2">6668 8586 0,'0'39'31,"13"-25"-31,-13 12 0,0 14 0,0 13 16,13 13-16,-13-13 0,13 13 0,-13-13 16,0 13-16,13-13 0,-13-13 15,0 13-15,0-1 0,0-12 0,14 0 16,-14-1-16,0 1 0,0-13 15,13-14-15,-13 13 0,0-12 0,0-1 16,0 0-16,0 0 0</inkml:trace>
  <inkml:trace contextRef="#ctx0" brushRef="#br1" timeOffset="199516.8">6694 8625 0,'53'0'32,"-40"0"-32,0 0 0,14 0 0,-14 0 15,13 0-15,1 0 0,-1 0 0,1 0 16,26-13-16,0 13 0,0 0 16,0 0-16,13-13 0,0 13 0,13-13 15,-13 13-15,14 0 0,-14-14 0,26 1 16,-12 13-16,-1-13 0,1 13 15,78-13-15,1 0 16,-66 13-16,-14-14 0,0 14 16,1-13-16,-1 13 0,1-13 15,-14 13-15,13-13 0,0 13 0,-12-14 16,12 14-16,0-13 0,-12 13 0,12-13 16,-13 13-16,0-13 0,0 13 15,14-13-15,-14 13 0,0-14 0,53 1 16,-13 0-16,-40 13 15,-26 0-15,13 0 16,0-13-16,-14 13 0,14 0 0,-13-14 16,13 14-16,-27 0 0,14 0 0,0 0 0,-1 0 15,1-13-15,-14 13 16,14 0-16,-13 0 0,12 0 0,-12-13 16,-1 13-16,1 0 0,-14 0 0,13 0 15,1 0-15,-1-13 0,-13 13 16,14 0-16,-14 0 0,0 0 0,14 0 15,-14-14-15,0 14 0,1 0 0,-1 0 16,0 0-16,13 0 0,-12 0 16,-1-13-16,0 13 0,0 0 0,14 0 15,-14 0-15,0 0 0,0 0 16,14-13-16,-14 13 0,14 0 16,-1 0-16,-13 0 0,1 0 15,12 0-15,-13 0 0,0 0 0,1 0 16,12 0-16,-13 0 15,1 0-15,-1 0 0,0-13 16,0 13-16,1 0 16,-1 0-16,0 0 15,0 0 17,0 0-1,1 0 0,-1 0 0,0 0-15,0 0 0,1 0-1,-1 0 1,0 0-1,0 0-15,1 0 16,-1 0-16,13 0 16,1 0-1,-14 0 1,0 0-16,0 0 16,1 0-1,-1 0 1,0 0 15,-13 13-15,0 0-1,0 0 1,0 1-16,0-1 16,0 0-16,0 0 0,0 1 15,0-1-15,0 0 0,13 0 16,-13 1-16,0-1 0,0 0 0,0 0 15,0 0-15,0 1 0,0-1 0,0 0 16,0 0-16,0 1 0,0-1 0,0 0 16,-13 0-16,13 0 0,0 1 15,0-1-15,0 0 0,0 0 0,0 1 16,-13-1-16,13 0 0,0 0 0,0 1 16,0-1-16,0 0 0,0 0 15,-13 0-15,13 1 0,0-1 0,0 0 16,0 0-16,0 1 0,0-1 0,0 0 15,0 0-15,0 1 16,13-1-16,-13 0 0,0 0 16,0 0-16,0 1 15,0-1-15,13-13 16,-13 13-16,0 0 16,0 1-1,0-1 1,0 0-1,-13-13-15,0 0 16,13 13-16,-14-13 16,1 0-16,0 0 0,0 14 0,-1-14 15,-12 0-15,0 13 0,-14-13 16,-13 13-16,13-13 0,-13 13 0,-13-13 16,-13 13-16,-1 1 0,1-14 15,-14 13-15,1 0 0,-1 0 0,-39-13 16,13 14-16,0-1 0,0 0 0,-14 0 15,14 1-15,0-1 0,0 0 16,0 0-16,0 0 0,0 1 0,26-1 16,1 0-16,-14 0 0,-13 1 0,0 12 15,13-13-15,-13 0 0,26 1 16,1-1-16,-14 13 0,-13-12 16,40-1-16,-14 13 0,14-12 0,12-1 15,-12 0-15,26 0 0,0 0 0,14 1 0,-14-14 16,26 13-16,1-13 15,-1 13-15,14-13 0,0 0 0</inkml:trace>
  <inkml:trace contextRef="#ctx0" brushRef="#br1" timeOffset="200316.69">12316 8414 0,'-13'53'15,"13"-40"-15,0 13 16,0 1-16,0 26 0,0-14 0,0 14 15,0-13-15,0 13 0,0 0 0,0-13 16,-13-1-16,26 14 0,-13-26 16,0-1-16,0 1 0,0-1 0,0 0 15,0-12-15,0-1 0,0 0 16,0 0-16</inkml:trace>
  <inkml:trace contextRef="#ctx0" brushRef="#br1" timeOffset="201606.36">12382 8361 0,'318'-13'16,"-239"-1"0,1 14-16,-1 0 0,14 0 0,-14-13 15,14 13-15,-1 0 0,-12 0 0,12 0 16,14 0-16,-13 0 0,-1 0 16,1 0-16,0 0 0,-1 0 0,-12 0 15,12 0-15,1 0 0,-14 0 0,14 0 16,-14 0-16,0 0 0,-12 0 15,-1 0-15,0 0 0,-13 0 0,0-13 16,0 13-16,0 0 0,-14 0 16,14-13-16,-13 13 0,-14 0 15,1 0-15,-1-14 0,1 14 0,-14 0 16,13 0-16,-12-13 0,12 13 0,-13 0 16,1 0-16,-1-13 0,13 13 15,-13 0-15,1 0 0,-1 0 16,0 0-16,0-13 0,1 13 0,-1 0 0,0 0 15,0 0-15,1 0 16,-1 0-16,0 0 0,0 0 16,0 0-16,1 0 0,-14-13 15,13 13-15,0 0 16,0 0-16,1 0 0,-1 0 0,0 0 16,0 0-16,0 0 0,1-14 0,-1 14 15,0 0-15,14 0 16,-14 0-1,0 0 1,0-13 0,-13 26-1,14 1-15,-14-1 16,0 0-16,0 0 16,0 14-16,-14-14 0,14 13 15,0-12-15,0 12 0,0-13 0,0 14 16,0-1-16,0 1 0,14-1 0,-14-13 15,0 14-15,0-14 0,0 13 16,0-12-16,0 12 0,0-13 0,0 1 16,13-1-16,-13 0 0,0 0 0,0 1 15,0-1-15,0 0 16,0 0-16,0 0 16,0 1-1,-13-1 1,-1-13-16,1 0 15,-13 13-15,12-13 0,1 0 16,-13 0-16,12 0 16,-12 13-16,-14-13 0,14 0 0,-1 0 0,-12 0 15,-1 14-15,-13-14 0,0 0 16,14 0-16,-28 0 0,14 13 16,1-13-16,-1 0 0,0 0 15,-13 13-15,-1-13 0,1 0 0,-13 13 0,13-13 16,0 14-16,-14-14 0,14 0 15,13 13-15,-26-13 0,13 13 0,-14-13 16,14 13-16,-13-13 0,13 13 0,-1-13 16,15 0-16,-1 14 0,-14-14 0,1 13 15,13-13-15,-13 13 0,13-13 16,-13 0-16,13 13 0,0-13 16,0 0-16,1 14 0,-1-14 0,0 0 15,0 13-15,0-13 0,0 0 16,13 13-16,-13-13 0,14 0 0,-1 13 15,14-13-15,-14 0 0,13 0 0,1 14 16,-1-14-16,1 0 0,13 0 16,-14 0-16,14 0 0,-13 13 0,12-13 15,1 0-15,-13 0 0,12 0 0,1 13 16,0-13-16,0 0 0,-14 0 16,14 0-16,0 13 0,0-13 0,-1 0 15,1 0-15,-13 0 16,12 0-1,1 0-15,0 0 16,13 13 0,-13-13-16,0 0 31</inkml:trace>
  <inkml:trace contextRef="#ctx0" brushRef="#br1" timeOffset="202914.05">4035 12726 0,'79'0'0,"-52"0"0,-1 0 0,27-13 16,26 13-16,-12 0 16,25-13-16,-12 13 0,12-13 0,1 13 15,105-13-15,-26-1 16,-79 14-16,-14-13 0,-13 13 15,1 0-15,-15 0 0,-12 0 0,0 0 16,-14-13-16,1 13 0,-14 0 0,0 0 16,0 0-16,1 0 0</inkml:trace>
  <inkml:trace contextRef="#ctx0" brushRef="#br1" timeOffset="203270.76">3836 12938 0,'-13'13'16,"26"-26"-16,1 26 16,25-13-16,14-13 0,13 13 15,1-13-15,25 0 0,-12-1 0,12 1 16,14 0-16,-13 13 0,-1-13 0,1 0 15,13-1-15,-27 14 0,14-13 16,-14 13-16,0-13 0,-26 13 16,0 0-16,0 0 0,-13 0 0,-14 0 15,1-13-15,-1 13 0,1 0 16,-14 0-16,13 0 0,-12 0 0,-1 0 16,0 0-16,0 0 0,0 0 15,1 0 1,-1 0-1,0-14 1,0 1-16,1 13 16</inkml:trace>
  <inkml:trace contextRef="#ctx0" brushRef="#br1" timeOffset="204071.53">14605 10755 0,'13'80'31,"-26"-27"-31,13-14 0,0 27 15,-13-13-15,13 0 0,-13 13 0,13-26 16,-14 13-16,14-13 0,0-1 0,-13 1 16,13 0-16,0-1 0,0-12 15,-13-14-15,13 0 0,0 14 0,13-14 16,-13 0-16</inkml:trace>
  <inkml:trace contextRef="#ctx0" brushRef="#br1" timeOffset="204582.62">14618 10702 0,'80'-13'0,"-160"26"0,213-26 16,-67 13-16,13-13 0,0 13 15,14 0-15,0 0 0,-1 0 0,1 0 16,-1 0-16,1 0 0,0 0 0,-14 0 16,0 0-16,1 13 0,-1-13 15,-26 0-15,0 13 0,0-13 16,-13 14-16,-1-14 0,-12 0 0,-1 13 16,1-13-16,-14 13 0,13-13 15,-12 13-15,-1-13 0,0 14 0,0-1 16,0 0-16,-13 13 0,14-12 0,-14 12 15,0 1-15,0-1 0,13 1 16,-13-1-16,0 0 0,0 1 0,0-1 16,0 14-16,0-14 0,0 1 0,0-1 15,0 14-15,0-13 0,0-1 16,0 0-16,0-12 0,0 12 0,0 1 16,0-14-16,0 13 0,0-12 0,0-1 15,0 0-15,0 0 0,-13 0 0,13 1 16,-14-1-16,1 0 15,0 0-15,-13 1 0,-14-1 0,13 0 16,-26-13-16,1 13 0,-15 1 0,1-14 16,0 13-16,0-13 0,13 0 15,-13 0-15,-13 0 0,12-13 0,1 13 16,13 0-16,-13-14 0,13 14 0,0 0 16,0-13-16,14 13 0,-14 0 15</inkml:trace>
  <inkml:trace contextRef="#ctx0" brushRef="#br1" timeOffset="205291.62">13798 11827 0,'0'-13'31,"-13"39"-15,13-13-16,-13 1 0,13 12 15,0-13-15,0 0 0,0 14 0,0-14 16,0 14-16,-14-14 0,14 0 15,0 0-15,0 14 0,0-14 0,0 0 16,0 0-16,14 1 0,-1-1 16,13 0-1,-13-13-15,14-13 0,-1 0 0,14-1 16,13 1-16,-13-13 0,13-1 0,0 1 16,-1-1-16,15 1 0,-14-1 15,-1-12-15,1 12 0,0 1 0,0-1 16,-13 1-16,0 13 0,-1-14 0,-12 14 15,-1 13-15,-13-13 0,1 0 16,-1 13-16,0-14 0,0 14 0,1 0 16,-1 0-16</inkml:trace>
  <inkml:trace contextRef="#ctx0" brushRef="#br1" timeOffset="206878.98">6681 12700 0,'26'0'31,"-13"0"-31,14 0 0,-1 0 16,27-13-16,0 13 0,13 0 0,0 0 15,14-13-15,-1 13 0,1 0 16,-1 0-16,0-14 0,14 14 16,0 0-16,-14-13 0,14 13 0,-1-13 15,1 13-15,-14 0 0,14-13 16,-14 13-16,14 0 0,-14 0 0,0 0 16,-26-14-16,13 14 0,-26 0 0,0 0 15,-14 0-15,1 14 0,-1-14 16,-13 0-16,1 0 0,-14 13 15,-14-13 1</inkml:trace>
  <inkml:trace contextRef="#ctx0" brushRef="#br1" timeOffset="207218.03">6945 12938 0,'-26'0'0,"66"13"31,-14-13-31,27 0 0,0 0 0,13 0 16,13-13-16,1 13 0,-1 0 0,14-13 16,-1 0-16,1 13 0,13-14 15,-14 14-15,1-13 0,-14 13 0,14-13 16,-14 13-16,1-13 0,-1 13 0,-13 0 15,-13-13-15,0 13 0,0 0 16,-27-14-16,14 14 0,-27 0 0,14 0 16,-1 0-16,-13 0 0,1 0 15,-1 0-15,0-13 0,0 13 16,1 0-16,-1 0 0,0-13 16,0 0-16,1 13 0,-1-14 15,0 1-15,0 13 0</inkml:trace>
  <inkml:trace contextRef="#ctx0" brushRef="#br1" timeOffset="208446.69">9446 12568 0,'13'0'16,"0"-14"-1,0 14-15,-13-13 0,14 13 0,-1-13 16,0 13-16,0-13 16,0 0-16,1-1 0,-1 14 15,0-13-15,0 13 0,1-13 16,-1 0-16,0-1 0,0 1 15,1 0-15,-1 0 0,0-1 16,-13 1-16,13 13 0,0-13 16,-13 0-16,14 0 0,-14-1 0,0 1 15,13 0-15,-13 0 0,0-1 0,0 1 16,0 0-16,-13 0 16,13 0-16,-14-1 0,14 1 0,-13 0 15,0 0-15,0 13 0,0-14 0,-1 1 16,1 0-16,-13 0 0,12-1 15,1 1-15,-13 0 0,12 0 0,-12 0 16,0-14-16,-1 14 0,14 0 0,-14-1 16,1-12-16,-1 13 0,1-1 15,0 1-15,-1 0 0,1 0 16,-14 0-16,14-1 0,-1 1 0,-13-13 16,14 12-16,-14 1 0,14 0 15,-14 13-15,0-13 0,14 0 0,-14-1 16,1 1-16,-1 0 0,-13 13 0,26-13 15,-12 13-15,-1-14 0,0 14 16,14-13-16,-1 13 0,1-13 0,-14 13 16,-13-13-16,27 13 15,0-14-15,-14 14 0,13 0 0,-26 0 16,14-13-16,-14 13 0,13 0 16,0 0-16,1 0 0,-1 0 0,14 0 0,-14 0 15,0 0-15,1 0 0,-1 0 16,13 13-16,-12-13 0,12 0 15,-12 14-15,-1-14 0,0 13 0,14-13 16,-1 13-16,1-13 0,-14 13 16,14-13-16,-1 14 0,1-1 0,-14-13 15,14 13-15,-1 0 0,-13-13 16,27 14-16,-13-1 0,-1-13 0,1 13 16,-1 0-16,1-13 0,0 13 0,-1 1 15,14-14-15,-14 13 0,1 0 0,-1-13 16,14 13-16,-13 1 0,-1-14 15,14 13-15,-13 0 0,-1-13 0,14 13 16,-14 0-16,14-13 0,-13 14 16,13-1-16,-1-13 0,-12 13 15,13-13-15,-1 13 0,-12-13 0,13 14 16,0-1-16,-14-13 0,14 13 0,0 0 16,-1-13-16,1 14 0,-13-1 15,12 0-15,1 0 0,0 0 0,-13-13 16,12 14-16,1 12 0,0-13 15,0 1-15,-1-1 0,1 13 0,0-12 16,13-1-16,-13 13 0,-1 1 0,1-14 16,13 13-16,-13-12 0,13 12 0,-13 0 15,13-12-15,0 12 16,-13 1-16,13-14 0,0 13 0,0 1 16,0-1-16,13 1 0,-13-1 0,13 14 15,0-14-15,14 14 0,-14-14 16,13 1-16,14 13 0,13-14 0,-13 1 15,26-14-15,-13 13 0,26-13 0,0 1 16,14-14-16,13 13 0,13-13 16,-13 13-16,26-13 0,0 0 0,14 0 15,-53-13-15,12 13 0,1 0 0,-13-13 16,13 13-16,-14-14 0,1 14 16,-14-13-16</inkml:trace>
  <inkml:trace contextRef="#ctx0" brushRef="#br1" timeOffset="209409.72">9472 12515 0,'0'0'0,"13"0"0,-39 0 32,-1 0-32,1 13 15,-14 0-15,1 0 0,-28 14 16,15-14-16,-28 14 0,14-1 0,-13 1 15,-27 12-15,13 1 0,14-14 0,-1 1 16,1-1-16,13 1 0,-13-1 16,-1 1-16,14-14 0,0 13 0,13-12 15</inkml:trace>
</inkml:ink>
</file>

<file path=ppt/ink/ink17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2:11:07.912"/>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5887 3810 0,'-26'-13'16,"12"0"-16,1 13 0,-13 0 15,12 0-15,1 0 0,0 0 0,-14 13 16,14 0-16,-13-13 0,-1 26 0,1-12 16,-1 12-16,1-13 0,13 14 15,-1-14-15,1 0 0,0 14 0,13-14 16,0 0-16,0 0 0,0 1 15,0-1-15,13 0 0,0 0 16,14-13-16,-14 0 16,0-13-16,1 0 0,-1 0 15,0-1-15,14 1 0,-1-13 16,-13-1-16,0 14 0,1 0 16,-1 0-16,0-1 0,-13 1 15,13 13-15,-13-13 0,14 13 0,-1 0 16,-13 13-16,13 0 15,-13 1-15,0-1 0,13 13 0,-13-12 16,0 12-16,0 0 0,0-12 16,0 12-16,0 1 0,0-14 0,0 13 15,0 1-15,0-14 0,-13 0 0,13 0 16,0 14-16,0-14 16,0 0-16,0 1 0,0-1 15,13-26 1</inkml:trace>
  <inkml:trace contextRef="#ctx0" brushRef="#br0" timeOffset="423.87">6257 3916 0,'-13'0'0,"0"0"0,0 0 15,-27 13-15,0 0 0,14-13 16,-1 14-16,1-1 0,13-13 16,-1 13-16,1-13 0,0 13 15,13 0-15,-13-13 16,26 14-16,0-14 15,0 13-15,1-13 0,-1 0 16,13 13-16,-12-13 0,-1 0 16,13 13-16,-12-13 0,-1 0 0,0 14 0,0-14 15,0 13-15,1-13 16,-14 13-16,13-13 0,-13 13 16,0 1-16,-13-1 0,-1 0 15,14 0-15,-13-13 0,-13 13 16,13 1-16,-1-1 0,-12 0 0,-1 14 15,14-27-15,0 13 0,0-13 16,-1 0-16,14 13 0,-13-13 16</inkml:trace>
  <inkml:trace contextRef="#ctx0" brushRef="#br0" timeOffset="657.11">6522 3863 0,'26'13'32,"-26"0"-17,0 1-15,0-1 0,-13 0 16,13 14-16,0-1 16,0 0-16,-13-12 0,13 12 0,-13 1 0,13-1 15,-13 1-15,-40 105 31,39-119-31</inkml:trace>
  <inkml:trace contextRef="#ctx0" brushRef="#br0" timeOffset="799.21">6350 4022 0,'0'-14'15,"0"1"17,13 13-32,14 0 0,-14 13 15,0-13-15</inkml:trace>
  <inkml:trace contextRef="#ctx0" brushRef="#br0" timeOffset="939.11">6694 4061 0,'0'0'0,"13"0"0,0 0 15,1 0 17,-14 14-17,0-1-15,0 0 16</inkml:trace>
  <inkml:trace contextRef="#ctx0" brushRef="#br0" timeOffset="1246.28">5503 4670 0,'-13'0'0,"26"-13"15,27-14-15,92-12 16,-66 25-16,67-12 16,-54 13-16,-13-1 15,0 1-15,14 13 0,52-26 0,-92 26 16,13-14-16,0 14 0,26-13 16,-53 13-16,1-13 15,-1 13-15,1 0 0,-14 0 16</inkml:trace>
  <inkml:trace contextRef="#ctx0" brushRef="#br0" timeOffset="1544.53">5609 4749 0,'53'-13'16,"-26"13"-1,12 0-15,14-13 0,13 0 16,0-1-16,67 1 0,-67 0 16,0 0-16,-13 13 0,53-27 15,-67 27-15,1-13 0,-13 13 16,12 0-16,-25-13 0,12 13 0,-13 0 16,0 0-16,14-13 15,-14 13-15,14 0 0,-27-14 16,-40 28 15,27-14-31,-1 13 16,1-13-16</inkml:trace>
  <inkml:trace contextRef="#ctx0" brushRef="#br0" timeOffset="2782.07">9895 5186 0,'0'26'47,"0"-12"-47,14-1 0,-14 13 16,0 14-16,0-27 16,0 14-16,-14 12 0,14-12 15,0 12-15,0-12 0,0-14 16,0 27-16,-13-27 0,13 0 15,0 0-15,13-13 16,-13 14-16</inkml:trace>
  <inkml:trace contextRef="#ctx0" brushRef="#br0" timeOffset="2970.19">10134 5477 0</inkml:trace>
  <inkml:trace contextRef="#ctx0" brushRef="#br0" timeOffset="3271.78">10597 5212 0,'0'27'0,"0"-14"16,-14 13-16,14-12 0,0 12 15,-13-13-15,13 14 0,0-1 0,-13 1 16,13-1-16,0-13 0,-13 14 0,13-1 16,0-12-16,0 12 0,0-13 15,-14 14-15,14-14 0,0 0 16,0 14-16,0-14 15</inkml:trace>
  <inkml:trace contextRef="#ctx0" brushRef="#br0" timeOffset="4055.07">11192 5265 0,'0'0'0,"0"13"31,-13 1-31,13-1 16,0 0-16,-14 146 31,14-133-16,0 14-15,0-27 16,0 0 0,-13-13-16</inkml:trace>
  <inkml:trace contextRef="#ctx0" brushRef="#br0" timeOffset="4262.74">10914 5477 0,'0'0'16,"13"-13"0,1 13-16,-1 0 0,13 0 15,14 0-15,-14 0 16,27-14-16,0 14 0,0 0 16,-26 0-16,-14-13 15,13 13-15,14 0 16,-14 0-16,-12 0 0,-1 0 15,0 0-15,-13-13 0</inkml:trace>
  <inkml:trace contextRef="#ctx0" brushRef="#br0" timeOffset="4788.79">11695 5212 0,'0'27'31,"-14"-14"-31,14 13 0,0-12 16,0-1-16,14 13 0,-28-12 15,14 12-15,0-13 0,0 14 16,0 12-16,0-25 0,0-1 15,0 0-15,0 0 0,0 1 0,0-1 16,0 0-16,0 0 16</inkml:trace>
  <inkml:trace contextRef="#ctx0" brushRef="#br0" timeOffset="4970.14">11880 5490 0,'-27'-26'15,"14"26"17</inkml:trace>
  <inkml:trace contextRef="#ctx0" brushRef="#br0" timeOffset="5396.92">12065 5212 0,'26'-13'32,"-12"13"-32,-1 0 15,0 0-15,0 0 0,1 0 16,-1 0-16,0 0 0,0 0 15,-13 13-15,14-13 0,-1 14 16,0-1-16,-13 0 0,0 0 16,13 0-16,-13 1 0,0-1 0,0 13 15,0 1-15,0-14 16,0 0-16,0 1 0,0 12 0,0-13 16,-13 0-16,13 1 15,13-1-15,-13 0 16</inkml:trace>
  <inkml:trace contextRef="#ctx0" brushRef="#br0" timeOffset="5622.55">11999 5424 0,'40'-13'15,"-80"26"-15,106-26 16,93 0 15,-67 13-15,27-14 15,-105 14-15</inkml:trace>
  <inkml:trace contextRef="#ctx0" brushRef="#br0" timeOffset="6110.06">10173 5993 0,'0'0'0,"27"0"16,-1 0-16,14-13 0,13 13 16,92-27-16,-65 27 15,12-13-15,1 13 0,39-13 0,-13-1 16,-13 14-16,13-13 0,13 13 0,-39-13 15,13 13-15,26-13 0,53 0 16,1-1-16,-107 14 16,0-13-16,-13 13 0,-13 0 15,-13 0-15,26-13 0,-39 13 16,-1 0-16,-13 0 0,1 0 0,-1 0 31,-40 13-31,1-13 16</inkml:trace>
  <inkml:trace contextRef="#ctx0" brushRef="#br0" timeOffset="6586.94">11311 6165 0,'13'-13'0,"0"-1"0,1 14 15,-1 0-15,13 0 0,-12-13 16,-1 13-16,0 0 0,0 13 15,0-13-15,1 0 16,-1 14-16,-26 12 16,13-13-16,-14 0 0,1 1 15,-13-1-15,-1 0 0,14 0 16,-13 1-16,12-1 0,1 0 0,0 0 16,0 1-16,26-1 31,0-13-31,0 0 0,1 0 0,12 0 15,1 0-15,-1-13 16,14 13-16,-14-14 0,-13 14 16,27-13-16,-27 13 15,14-13-15,-14 13 0,-13-13 16,-13-1 0,0 14-16</inkml:trace>
  <inkml:trace contextRef="#ctx0" brushRef="#br0" timeOffset="7124.11">8811 5993 0,'0'0'0,"26"0"16,-13 0-16,1 0 15,-1 0-15,0 0 0,0 0 16,0 0-16</inkml:trace>
  <inkml:trace contextRef="#ctx0" brushRef="#br0" timeOffset="7344.11">8758 6138 0,'53'14'47,"-40"-14"-47,0 0 16,14 0-16,-14 0 15,13-14-15,14 14 0</inkml:trace>
  <inkml:trace contextRef="#ctx0" brushRef="#br0" timeOffset="7853.2">13018 5649 0,'26'-13'31,"-13"13"-31,0 0 0,1 0 16,-1-14-16,0 28 0,0-28 0,1 28 0,-1-14 15,0 0-15</inkml:trace>
  <inkml:trace contextRef="#ctx0" brushRef="#br0" timeOffset="8048.13">13070 5821 0,'27'0'16,"-14"-13"-1,0 13-15,1 0 0,-1 0 16,0 0-16,13-14 0,-12 14 16,12 0-16,-13 0 15</inkml:trace>
  <inkml:trace contextRef="#ctx0" brushRef="#br0" timeOffset="11035.52">13864 5345 0,'-13'26'0,"13"-13"16,0 1-16,0 25 0,0-26 16,0 1-16,-13 25 15,13-12-15,0-14 0,0 13 0,-14-12 16,14-1-16,0 40 16,0-40-1,0 0 1</inkml:trace>
  <inkml:trace contextRef="#ctx0" brushRef="#br0" timeOffset="11182.89">14023 5569 0</inkml:trace>
  <inkml:trace contextRef="#ctx0" brushRef="#br0" timeOffset="11915.13">14446 5411 0,'-13'13'31,"0"0"-31,0 0 0,-1 1 16,1-1-16,0 0 16,0 0-16,-1 1 0,-12 12 15,13-13-15,0 0 0,-14 14 16,27-14-16,-13-13 0,13 13 0,-13-13 15,13 14 1,13-1-16,0-13 16,0 0-16,1 0 0,-1 0 15,13 0-15,-13 0 16,1 0-16,-1 0 0,0 0 16,14 0-16,-1-13 0,-13 13 0,0 0 15,1 0-15,-1 0 0,0-14 16,0 14-16,1 0 15,-1 0-15</inkml:trace>
  <inkml:trace contextRef="#ctx0" brushRef="#br0" timeOffset="12170.31">14459 5411 0,'-13'0'16,"0"13"-1,0 0-15,13 0 16,-13 1-16,-1 25 0,1 1 16,13-27-16,0 14 0,-13 12 15,13-25-15,0 12 0,0-13 16,-13 27-16,13-27 15,0 0-15,0 1 16,0-1-16,13-13 16</inkml:trace>
  <inkml:trace contextRef="#ctx0" brushRef="#br0" timeOffset="13002.37">14671 5517 0,'-13'13'31,"13"0"-31,0 0 0,0 0 16,0 1-16,0-1 16,0 0-16,0 0 15,0 1 17,13-28-17,0 1 1,-13 0-16,14 13 0,-14-13 0,13 13 15,0-14-15,0 1 16,1 13-16,-1 0 16,0 0-16,0 0 15,0 13-15,1 1 16,-1-1 0,0-13-1,0-13 1,1 13-1,-1-14-15,0 14 16,-13-13-16,13 13 16,0 0-16,1 0 15,-1 13-15,0-13 16,-13 14-16,13-14 0,-13 13 16,0 0-16,0 0 15,14-13-15,-28 14 0,14-1 16,0 0-16,0 0 0,0 1 15</inkml:trace>
  <inkml:trace contextRef="#ctx0" brushRef="#br0" timeOffset="13283.19">14076 5940 0,'0'0'0,"26"-13"16,-12 13-16,12 0 15,0 0-15,1-14 0,13 14 16,13 0-16,-14-13 0,14 13 0,0 0 16,0 0-16,0-13 0,39 13 15,-52 0-15,0 0 0,-14 0 16,1 0-16,-1 0 0,14 0 15,-27 0-15,0 0 0,1 0 0,-1 0 16</inkml:trace>
  <inkml:trace contextRef="#ctx0" brushRef="#br0" timeOffset="13567.17">14063 6099 0,'132'-27'32,"-79"27"-32,53-13 15,13 0 1,-66-1-16,92 1 16,-52 0-16,-67 13 15,27 0-15,-26-13 0,12 13 16,1 0-1,-27 0-15,0 0 16,1 0-16,-1 0 16,-13-13-1,13 13-15,0 0 16</inkml:trace>
  <inkml:trace contextRef="#ctx0" brushRef="#br0" timeOffset="16251.84">3519 2527 0,'40'0'15,"-27"0"-15,13-13 16,1 13-16,12 0 0,14 0 15,0 0-15,0 0 0,13-14 16,-13 14-16,13 0 0,1 0 0,-1 0 0,0 0 16,0 0-16,-13-13 0,0 13 15,53 0-15,-67 0 0,-12 0 16,-1 0-16,-12 0 0,12 0 0,-13 0 16,0 0-16,-52 13 31,26-13-16</inkml:trace>
  <inkml:trace contextRef="#ctx0" brushRef="#br0" timeOffset="16530.04">3426 2646 0,'0'0'0,"14"13"16,-1-13-16,0 0 15,13 0-15,14 0 0,13 0 0,0 0 16,0 13-16,0-13 0,79 0 16,-79 0-16,66 0 15,-13 0-15,-53 0 0,172-13 47,-199 13-31,-132-53 15</inkml:trace>
  <inkml:trace contextRef="#ctx0" brushRef="#br0" timeOffset="16972.25">3585 1905 0,'13'-13'16,"1"13"-16,-1-13 0,13 13 15,1 0-15,12-14 0,1 14 0,13 0 16,53-13-16,-53 0 15,53 13-15,-53 0 0,-14-13 16,67 13-16,-66 0 0,-1 0 16,-12 0-16,13 0 0,-14 0 15,14 0-15,-14 0 16,-13 0-16,1 0 0,-1 0 16</inkml:trace>
  <inkml:trace contextRef="#ctx0" brushRef="#br0" timeOffset="17295.3">3810 2024 0,'26'0'0,"-12"0"0,-1 0 15,13 0-15,1-13 0,39 13 16,-13 0-16,0 0 0,-13-13 16,52 13-16,1 0 15,-27-14-15,0 14 16,-53 0-16,14 0 16,-14 0-16,0 0 0,0 0 0,1 0 15,-1-13-15,0 13 0,0 0 16,-39 13 15,13 1-15,-1-14-16</inkml:trace>
  <inkml:trace contextRef="#ctx0" brushRef="#br0" timeOffset="24954.1">17926 6615 0,'0'0'15,"0"26"1,0-13 0,0 14-16,0 12 0,0 1 15,0 13-15,13 13 0,-13 14 0,0-1 16,0 0-16,13 27 0,-13 0 15,13 13-15,0 0 0,-13 0 0,14-13 16,-14 13-16,13 0 0,-13 13 0,0-26 16,0 13-16,0 0 0,0 0 0,-13-13 15,13 0-15,-14-13 0,14 13 16,-13-14-16,13-12 0,-13-1 0,13 0 16,0 1-16,-13-1 0,13-13 0,0 0 15,-13 0-15,13 27 0,-14-53 16,14-1-16,-13-12 15,13-1-15,0-12 0,-13-1 0,13 0 16,0 0-16,-13 0 0,13-39 31,0 13-31,13-14 0,-13 14 16,0-13-16,13-1 0,-13 1 0</inkml:trace>
  <inkml:trace contextRef="#ctx0" brushRef="#br0" timeOffset="25771.16">17383 9366 0,'27'-13'16,"12"0"-16,-26 13 0,27 0 15,0-13-15,0 13 0,12-14 16,1 14-16,14-13 0,-1 0 0,0 13 16,0-13-16,13 13 0,1-14 0,-1 14 15,93-13-15,-79 0 16,-1 13-16,1 0 0,13 0 0,0-13 16,-14 13-16,27 0 0,14 0 0,-1 0 15,-26 0-15,26 0 0,-26 0 16,26 0-16,0 0 0,1 13 15,-1-13-15,-26 0 0,13 0 0,-13 0 16,0 0-16,-1 0 0,28 0 0,-14 0 16,-13 0-16,-1 0 0,1 0 0,0 0 15,-13 0-15,12-13 0,67 13 16,-92 0-16,-1 0 0,53 0 16,-65 0-16,-14 0 0,-1 0 15,1-13-15,-13 13 0,-13 0 0,12 0 16,-12 0-16,-1 0 0,1 0 15,-1 0-15,0 0 0,1 0 0,-1 0 16,1 0-16,-14 0 0,14-14 0,-1 14 16,0 0-16,-12 0 15,12 0-15,27 0 0,-40 0 16,14 0-16,39-13 0,-53 13 16,27 0-16,-14 0 0,14 0 0,-14 0 15,14 0-15,-13 0 0,12 0 16,-12 0-16,-1 0 0,14 0 0,-14 0 15,1 0-15,-1 0 0,1 0 16,-1 0-16,1 0 0,-14 0 0,13 0 16,-12 0-16,-1 0 0,0 0 0,0 0 15,0 0-15,1 0 0,-1 0 16,0-13-16,0 13 16,1 0-1,-41 0 16,14 0-31,0-13 16,-14 13-16</inkml:trace>
  <inkml:trace contextRef="#ctx0" brushRef="#br0" timeOffset="29325.08">18045 9221 0,'26'-27'32,"-13"27"-32,1 0 15,-1 0-15,13-13 16,-13 13-16,1-13 15,-1 13-15,0-13 0,0 13 0,14-14 16,-14 14-16,0-13 0,0 13 16,14-13-16,-14 0 0,14 13 0,-14-14 15,0 1-15,0 0 0,14 13 0,-14-13 16,0 0-16,0 13 0,1-14 16,-1 1-16,0 13 0,0-13 0,1 0 15,-1 13-15,0-14 0,0 1 0,1 0 16,-1 13-16,-13-13 0,13-1 15,0 1-15,0 13 0,1-13 16,-1 0-16,0 0 0,0-1 16,1 1-16,-1 0 0,0 0 15,0-1-15,0 1 16,1 0-16,-1 0 16,0-1-16,0 1 0,1 0 15,-1 0-15,0 0 16,0 13-16,-13-14 0,14 1 0,-1 0 15,0 13-15,0-13 0,0-1 16,-13 1-16,14 13 0,-1-13 0,-13 0 16,13 13-16,0-14 0,-13 1 0,14 13 15,-14-13-15,13 0 0,0 13 16,-13-13-16,13-1 0,1 14 0,-14-13 16,13 0-16,0 0 0,0-1 15,0 14-15,-13-13 0,14 0 0,-1 0 16,0 0-16,14-1 0,-14 1 15,-13 0-15,13 0 0,0-1 16,1 14-16,-1-13 0,-13 0 0,13 0 16,0 13-16,0-27 0,1 14 15,-1 0-15,0 0 16,0-1-16,1 1 0,-1 0 16,0 0-16,-13-1 0,27-12 15,-14 13-15,-13-1 16,13 14-16,-13-13 0,13 0 15,-13 0-15,13 13 0,-13-13 0,14-1 16,-1 1-16,-13 0 0,13 0 16,0-1-16,-13 1 0,14 0 15,-1 0-15,-13 0 16,13-1-16,0 1 0,0 0 16,1-14-16,-1 14 0,-13 0 15,13 13-15,-13-13 16,13-1-16,-13 1 0,14 0 15,-1 0-15,0 0 0,-13-1 16,13 14-16,-13-13 0,14 0 16,-14 0-16,13 13 0,-13-14 0,13 1 15,0 0-15,-13 0 0,13 13 16,1-14-16,-1-12 16,0 26-16,-13-13 0,13 13 15,-13-13-15,14 13 0,-14-14 0,13 1 16,0 0-16,0 0 15,-13-1-15,14 1 0,-1 13 16,-13-13-16,13 0 16,-13-1-16,13 1 0,0 0 15,1 0 1,-14 0-16,13 13 0,-13-14 16,13 1-16,0 0 0,-13 0 15,14 13-15,-14-14 0,13 1 0,0 0 16,-13 0-16,13 13 15,-13-14-15,13 1 0,1 0 16,-1 0-16,0 0 16,0 13-16,-13-14 15,14 14-15,-14-13 0,13 13 16,-13-13-16,13 13 0,-13-13 0,13 13 16,1-14-16,-1 1 15,0 13-15,0 0 0,-13-13 16,13 13-16,1-13 15,-1 13-15,0 0 16,0-13-16,1 13 16,-1 0-16,13-14 15,-12 14 1,-1 0-16,0 0 0,0 0 16,0 0-16,1 0 15,-1 14-15,0-14 16,0 0-16,1 0 0,-1 0 0,0 0 15,0 13-15,14-13 16,-14 0 0,0 13-16,14-13 15,-27 13-15,26-13 16,-13 13-16,1-13 16,-14 14-16,13-14 0,0 13 15,0 0 1,1-13-16,-14 13 0,13 1 15,0-14 1,0 13-16,-13 0 16,13-13-16,-13 13 0,14-13 15,-14 13-15,13-13 0,-13 14 16,13-1-16,0 0 16,-13 0-1,14 1-15,-14-1 16,13-13-16,-13 13 15,0 0-15,13 1 0,-13-1 16,13 0-16,-13 0 16,13 0-16,1 1 15,-14-1-15,13 0 16,0 0-16,0 1 16,-13-1-16,14 0 0,-1 0 0,0 14 15,0-14-15,1 13 16,-1 1-1,0-14-15,0 0 0,0 14 16,-13-14-16,14-13 0,-1 13 16,-13 1-16,13-1 0,0 0 15,1 13-15,-1-12 16,0-1-16,-13 0 0,13-13 0,1 13 16,-1 1-16,0-1 0,0 0 0,0 0 15,-13 1-15,14-1 16,-1-13-16,-13 13 0,13 0 15,0 0-15,1 1 0,-1-1 16,-13 0-16,13-13 0,-13 13 16,13 1-16,0-14 0,1 26 15,-1-13-15,0-13 0,-13 13 16,13 1-16,1 12 16,-1-26-16,0 27 15,0-14-15,1 0 16,-14 0-16,13-13 0,-13 14 0,13-1 15,0 0-15,-13 0 16,13-13-16,-13 13 0,14 1 16,-1-1-16,-13 0 0,13-13 0,-13 13 15,13 1-15,1-14 0,-14 13 16,13 0-16,0 0 0,0 1 16,1-1-1,-1 0-15,0 0 16,13 0-16,-12 1 15,12-1-15,-13 0 16,1-13-16,-1 13 16,0-13-16,0 14 0,1-1 15,-1-13-15,0 13 0,0-13 0,0 13 16,1-13-16,-1 0 0,0 13 16,0-13-16,1 14 0,12-14 15,-13 13-15,1-13 0,12 13 16,-13-13-16,14 13 15,-1 1-15,-13-14 16,1 0-16,-1 13 0,0-13 16,13 0-16,-12 13 15,12 0-15,596 159 203,-609-172-203,0 0 16,14 14-16,-14-14 16,0 0-16,1 13 0,-1-13 15,13 0-15,-13 0 0,1 13 16,12-13-16,1 0 0,-14 0 16,0 0-16,0 0 0,14 13 15,12-13-15,-12 13 16,-1-13-16,1 0 15,-1 14-15,-12-14 16,-1 0-16,0 0 16,0 13-16,0-13 0,1 0 0,12 0 15,-13 13-15,1-13 0,-1 0 16,0 0-16,0 13 16,0-13-16,1 0 15,-1 0-15,0 14 16,0-14-16,1-14 31,-41 1-15,14 13-16,-27 0 15,1-13-15,25 13 16,-25 0-16</inkml:trace>
  <inkml:trace contextRef="#ctx0" brushRef="#br0" timeOffset="30517.78">20294 6787 0,'13'13'0,"-13"0"0,0 0 15,0 0 1,0 1-16,0-1 16,0 0-16,0 0 0,0 14 15,0-14-15,0 0 0,0 1 16,0-1-16,0 0 0,0 0 0,0 0 15,0 1-15,0-1 0,13 0 0</inkml:trace>
  <inkml:trace contextRef="#ctx0" brushRef="#br0" timeOffset="32207.96">20333 7223 0,'0'13'0,"0"14"32,0-14-17,0 0-15,0 0 16,0 1-16,0-1 0,0 0 16,0 0-16,0 1 15,13-1-15,-13 0 16,0 0-16,0 1 0,0-1 15,0 0-15,0 0 0,14 0 16,-14 1 0,0-1-16,0 0 15,0 0 1,0 1-16,0-1 16,0 0-1,0 0 1,0 1-16,0 12 15,0-13 1,0 0-16,0 1 16,0-1-16,0 0 15,0 0-15,0 1 16,0-1-16,0 0 16,0 0-1,0 1 1,0-1-1,0 0 1,0 0-16,0 0 16,0 1-1,0-1-15,0 0 16,0 0-16,0 1 16,0-1-16,0 0 15,0 0-15,0 1 16,0-1-1,-14 0 1,14 0-16,0 0 16,14 1-1,-14-1-15,0 0 16,0 0-16,0 1 16,0-1-1,0 0-15,0 0 16,-14-13-16,14 13 15,0 1-15,0-1 16,0 0 0,0 0-16,0 1 15,0-1 1,0 0-16,0 0 16,0 1-16,-13-14 15,26 13-15,-13 0 16,0 0-16,0 0 15,0 1 1,0-1-16,0 0 16,0 0-16,0 1 15,0-1 1,0 0 0,0 0-16,0 1 0,14-14 15,-14 13-15,0 0 16,0 0-1,0 0-15,0 1 16,0-1-16,13 0 16,-13 0-1,0 1 1,0-1 0,0 0-1,0 0 1,0 0-1,0 1-15,0-1 16,0 0 0,0 0-1,0 1 1,0-1-16,0 0 16,0 0 15,0 1-16,0-1 1,0 0 0,13 0-1,-13 0 1,0 1 0,0-1-1,13 0 1,-13 0-1,0 1-15,0-1 32,14-13-32,-14 13 15,0 0 1,0 1-16,13-14 16,-13 13-16,13 0 31,-13 0-31,13-13 15,-13 13-15,14 1 16,-14-1-16,0 0 16,13-13-16,-13 13 15,0 1 1,0-1-16,13 0 0,-13 0 16,0 1-1,0-1-15,0 0 16,-13 0-16,13 0 0,0 1 15,13-14-15,-13 13 0,0 0 0,0 0 16,0 1-16,0-1 16,0 0-16,0 0 0,0 1 15,0-1-15,0 0 16,0 0-16,0 0 16</inkml:trace>
  <inkml:trace contextRef="#ctx0" brushRef="#br0" timeOffset="35568.31">20492 9260 0,'13'-13'16,"-13"40"31,0-14-47,0 0 16,0 0-16,0 1 0,0-1 0,0 0 15,0 0-15,0 0 16,-13 1-16,13-1 0,0 0 15,0 0-15,0 1 16,13-1 0,-13 0-1,13-13 1</inkml:trace>
  <inkml:trace contextRef="#ctx0" brushRef="#br0" timeOffset="36318.15">20307 9763 0,'0'27'47,"0"-14"-31,0 0-16,0 0 0,0 0 15,0 1-15,-13 12 16,13-13-16,0 1 0,0-1 0,0 0 16,0 0-16,-14 14 15,14-14-15,0 0 16</inkml:trace>
  <inkml:trace contextRef="#ctx0" brushRef="#br0" timeOffset="36522.05">20466 9922 0</inkml:trace>
  <inkml:trace contextRef="#ctx0" brushRef="#br0" timeOffset="36928.11">20717 9816 0,'0'13'16,"-53"67"31,40-80-47,13 13 0,-13-13 15,13 13-15,13 14 63,0-27-63,0 0 16,53 0 30,-52 0-30,-14-14 0,13 14-1</inkml:trace>
  <inkml:trace contextRef="#ctx0" brushRef="#br0" timeOffset="37150.06">20743 9869 0,'-13'-13'0,"0"26"31,13 0-31,0 0 16,-13 1-16,13-1 0,0 0 0,0 0 16,0 14-16,0-14 0,0 0 15,0 14-15,13-1 0,-13 1 16,0-14-16,0 13 15,0-12-15,0-1 0,0 0 16</inkml:trace>
  <inkml:trace contextRef="#ctx0" brushRef="#br0" timeOffset="38665.37">20849 9909 0,'-13'13'47,"13"0"-32,0 0-15,0 1 16,0-1 0,13-13-1,0 0 16,1-13-15,-1 13-16,0-14 16,0 14-1,1 14-15,-1-1 16,0 0 15,13-13 16,-26-13-47,14 13 0,-1-13 16</inkml:trace>
  <inkml:trace contextRef="#ctx0" brushRef="#br1" timeOffset="135575.16">19341 9181 0,'13'-13'0,"-26"53"62,13-27-46,0 0-16,-13 0 15,13 0-15,0 1 0,0-1 16,0 0-16,-13 0 0,13 1 16,0-1-16,13 0 15,-13 0-15,0 0 0,0 1 16,0-1-16</inkml:trace>
  <inkml:trace contextRef="#ctx0" brushRef="#br1" timeOffset="136386.84">19116 9776 0,'27'0'94,"-14"-13"-94,0 13 15,0 0 1,1 0-1,-1 0-15</inkml:trace>
  <inkml:trace contextRef="#ctx0" brushRef="#br1" timeOffset="136714.81">19368 9671 0,'0'26'16,"0"-13"0,-14 0-16,14 1 15,0-1-15,0 0 0,0 14 16,0-14 0,14-13-16</inkml:trace>
  <inkml:trace contextRef="#ctx0" brushRef="#br1" timeOffset="137554.57">21497 9274 0,'14'13'47,"-14"0"-47,0 0 16,0 1-16,0-1 0,0 0 15,0 0-15,0 0 0,0 1 16,-14-1-16,14 0 16,0 14-16,0-14 0,0 0 15,0 0-15,0 1 0</inkml:trace>
  <inkml:trace contextRef="#ctx0" brushRef="#br1" timeOffset="137865.6">21484 9671 0,'13'0'31,"-13"13"-31,0 0 16,0 0-1,0 0-15,0 1 16,0-1 0,0 0-16,-13 0 0,13 1 15,0-1 1</inkml:trace>
  <inkml:trace contextRef="#ctx0" brushRef="#br1" timeOffset="138085.94">21405 9776 0,'13'0'47,"0"0"-32,0-13-15,1 13 16,-1 0-16,0 0 0,0 0 16,1 0-16,-1 0 0</inkml:trace>
  <inkml:trace contextRef="#ctx0" brushRef="#br1" timeOffset="138285.62">21709 9697 0,'13'13'32,"-13"0"-32,0 1 15,0-1 1,0 0-16,0 0 15,0 1 1,14-14-16,-14 13 0,13-13 16</inkml:trace>
  <inkml:trace contextRef="#ctx0" brushRef="#br1" timeOffset="138798.51">22463 9274 0,'13'26'32,"-13"-13"-17,0 1-15,0-1 0,0 0 16,0 0-16,0 0 15,0 1-15,0-1 0,0 0 16,0 0-16,0 1 0,0-1 0,0 0 16,0 0-16,0 1 0,0-1 15</inkml:trace>
  <inkml:trace contextRef="#ctx0" brushRef="#br1" timeOffset="139062.57">22463 9684 0,'0'-13'16,"13"39"-1,-13-13 1,0 0-16,0 1 15,0-1-15,-13-13 0,26 13 16,-13 0-16,0 1 0,0-1 16,0 0-16,0 0 15</inkml:trace>
  <inkml:trace contextRef="#ctx0" brushRef="#br1" timeOffset="139242.74">22384 9763 0,'0'0'0,"-13"0"0,39 0 32,-13-13-32,0 13 15,1 0-15,-1 0 16</inkml:trace>
  <inkml:trace contextRef="#ctx0" brushRef="#br1" timeOffset="139482.75">22688 9671 0,'13'0'16,"14"13"-1,-14-13 1,-13 13-16,0 0 15,0 0-15,0 1 16,0-1 0,0 0-16,0 0 15,13-13 1,0 0-16,1 0 0,-1 0 0,0 0 16,0 0-16,1-13 0,12 13 15,-13 0-15,0 0 0,14-13 0</inkml:trace>
  <inkml:trace contextRef="#ctx0" brushRef="#br1" timeOffset="140323.67">18680 9221 0,'0'39'31,"0"-25"-31,0-1 16,-14 0-16,14 0 0,0 1 16,0-1-16,0 0 0,0 0 0,0 0 15,0 1-15,0-1 0,0 0 16,0 0-16,0 1 0</inkml:trace>
  <inkml:trace contextRef="#ctx0" brushRef="#br1" timeOffset="140545.7">18441 9657 0,'0'14'0,"40"-14"31,-40-14-31,27 14 16,-14 0-16</inkml:trace>
  <inkml:trace contextRef="#ctx0" brushRef="#br1" timeOffset="140863.14">18706 9604 0,'13'0'0,"0"0"15,14 0 1,-27 14-16,13-14 16,-13 13-16,-13 0 0,13 0 15,-13 1-15,13-1 0,-14-13 16,14 13-16,-13 0 0,13 0 15,-13-13-15,0 14 0,13-1 0,-13 0 32,13 0-17,13-13 1,13 0-16,-13 0 16,1 0-16,12 0 15,-13-13-15,1 13 0,-1 0 0,0 0 16</inkml:trace>
  <inkml:trace contextRef="#ctx0" brushRef="#br1" timeOffset="141585.94">23389 9247 0,'-26'40'31,"26"-27"-31,-14 0 0,14 1 0,0-1 16,-13 0-16,13 0 0,0 0 16,0 1-16,0 12 0,0-13 0,0 1 15,13-1-15,-13 0 0,0 0 16,0 14-16,0-14 0,0 0 0,0 0 16,0 1-16</inkml:trace>
  <inkml:trace contextRef="#ctx0" brushRef="#br1" timeOffset="141846.91">23429 9697 0,'0'0'16,"0"13"31,0 0-47,0 1 15,0-1-15,0 0 0,0 0 16,0 1 0,-13-1-16,13 0 0</inkml:trace>
  <inkml:trace contextRef="#ctx0" brushRef="#br1" timeOffset="142033.65">23283 9816 0,'0'0'16,"0"-13"-16,0 0 16,14 13-1,-1 0-15,0 0 0,0 0 16,0-14-16,1 14 0,-1 0 0,0 0 15,0 0-15,1 0 0,-1 0 16,0-13-16,0 13 0,1 0 0,-1 0 16</inkml:trace>
  <inkml:trace contextRef="#ctx0" brushRef="#br1" timeOffset="142462.79">23654 9644 0,'13'0'16,"0"0"0,-13 13-16,0 1 15,0-1 1,0 0 0,0 0-16,0 0 15,13-13-15,1 14 16,-1-14-16,0 13 15,0-13 1,-13 13-16,0 0 0,0 1 16,-13-1-16,0 0 15,0 0 1,-1 0-16,1-13 0,0 14 16,0-14-16,0 0 0</inkml:trace>
  <inkml:trace contextRef="#ctx0" brushRef="#br1" timeOffset="143273.79">18071 9274 0,'13'13'15,"-13"13"1,0-12-16,0-1 16,0 0-16,0 0 0,0 0 0,0 1 15,0-1-15,0 13 0,0-12 16,0-1-16,0 0 0,0 0 0,0 1 15,0-1-15,14 0 0,-14 0 16,0 0-16,0 1 0</inkml:trace>
  <inkml:trace contextRef="#ctx0" brushRef="#br1" timeOffset="143521.47">17965 9750 0,'40'0'47,"-27"-13"-32,0 13-15,1 0 0,-1 0 0,0 0 16</inkml:trace>
  <inkml:trace contextRef="#ctx0" brushRef="#br1" timeOffset="144145.73">18203 9644 0,'27'0'15,"-14"13"1,-26 1-1,13-1 1,0 0 0,0 0-16,13 0 15,0 1 1,-13-1 0,0 0 15,0 0-31,-13 1 15,0-1 1</inkml:trace>
  <inkml:trace contextRef="#ctx0" brushRef="#br1" timeOffset="157211.46">18640 8956 0,'0'-13'62,"13"0"-46,-13-1 0,0 1-1,13 40 48,-13-14-63,0 0 0,0 0 0,0 1 15,0-1-15,-13 13 0,13-12 0,0 12 16,0-13-16,0 0 0,0 14 16,0-14-16,-13 0 0,13 14 0,0-14 15,0 0-15,0 1 0,0-1 0,0 0 16,13 0-16,-13 0 16</inkml:trace>
  <inkml:trace contextRef="#ctx0" brushRef="#br1" timeOffset="158326.57">22463 8850 0,'-13'0'78,"13"14"-62,0-1-1,0 0-15,-13 0 0,13 0 16,0 1-16,0 12 0,0-13 0,-14 14 15,14-1-15,0 1 0,0-14 16,0 13-16,0 1 0,-13-1 0,13-12 16,0 12-16,0-13 0,-13 27 0,0-27 15,13 14-15,0-14 0,0 0 16,0 0-16,0 1 0</inkml:trace>
  <inkml:trace contextRef="#ctx0" brushRef="#br1" timeOffset="159094.47">19328 8467 0,'-27'39'0,"1"-25"0,13 12 16,-14 0-16,-12 27 0,12-13 0,-26 13 15,13 0-15,1 0 0,-1 0 0,-225 251 32,252-291-17</inkml:trace>
  <inkml:trace contextRef="#ctx0" brushRef="#br1" timeOffset="159540.81">20069 7713 0,'-53'92'0,"13"-39"0,-13 27 0,-13-1 16,13 13-16,-13 1 0,0 0 0,-291 462 31,304-489-31,13 1 16,14-14-16,-14-1 0,13-12 0,14 0 15,-13-14-15,12 1 0,1-14 16,13 0-16,0 0 0,0 1 0</inkml:trace>
  <inkml:trace contextRef="#ctx0" brushRef="#br1" timeOffset="159918.63">20876 7554 0,'-27'53'0,"1"-27"0,-14 27 16,0 0-16,-13 13 0,-13 14 0,0 12 0,-13 1 16,13-1-16,-14 14 0,1-13 15,13-1-15,-14 1 0,14 0 0,0-1 16,13-12-16,0-14 0,14-13 0,-1 0 15,13 0-15,1-14 0,-1 1 16,1-14-16,13 1 0,0-14 16,13 0-16,-14 1 0</inkml:trace>
  <inkml:trace contextRef="#ctx0" brushRef="#br1" timeOffset="160323.5">21220 8004 0,'-14'26'0,"1"-13"15,-119 146 1,66-80-16,13-12 0,-13 12 16,-80 66-16,80-65 0,0-14 15,-14 13-15,14-12 0,13-1 16,-26 26-16,39-52 15,14 0-15,-1-1 0,1-12 0,13-1 16,-1 1-16,1-14 0,0 0 0,13 0 16,-13-13-16,13 14 0,26-28 31,-13 14-31</inkml:trace>
  <inkml:trace contextRef="#ctx0" brushRef="#br1" timeOffset="160693.6">21643 8652 0,'0'0'16,"-66"79"15,39-39-31,1-14 0,-14 27 16,14-13-16,-14 0 0,14 13 0,-14-14 15,0 14-15,0-13 0,14 0 16,-14-1-16,14 1 0,-1-14 0,-12 27 16,26-39-16,-1-1 0,14 0 15,0 0-15</inkml:trace>
  <inkml:trace contextRef="#ctx0" brushRef="#br1" timeOffset="161049.53">22318 8665 0,'-14'27'32,"1"-14"-32,0 0 0,0 13 0,-14 1 0,14 13 15,-13-14-15,-1 1 0,1 12 0,-1 1 16,1-14-16,-14 14 0,14-13 15,-1-1-15,1 0 0,-1 1 16,1-1-16,13-12 0,-14 12 0,14-13 16,0 1-16,-1-14 0,14 13 0,-13 0 0</inkml:trace>
  <inkml:trace contextRef="#ctx0" brushRef="#br1" timeOffset="161285.66">22450 8837 0,'-13'27'0,"-1"-27"15,-12 26-15,0-13 0,-1 14 0,-66 65 16,54-65-1,-1 12-15,14-12 0,-14-1 16,0 1-16,1 13 0,12-14 0,-13-13 16,14 14-16</inkml:trace>
  <inkml:trace contextRef="#ctx0" brushRef="#br1" timeOffset="163371.67">19328 7527 0,'0'14'16,"-13"39"15,13-40-16,0 0-15,0 0 0,0 0 16,-14 1-16,14-1 0,0 0 0,0 0 16,0 1-16,0-1 0,0 0 15,0 0-15,0 1 0,0-1 0,-13 0 16,13 0-16,0 0 16,0 1-16,0-1 0,0 0 0,0 0 15,0 1-15,0-1 16,0 0-16,0 0 15,0 1-15,0-1 0,0 0 16,0 0-16,0 0 16,0 1-16,0-1 15,0 0-15,0 0 0,0 1 16,-13-1 0,13 0-16,0 0 0,0 0 15,0 1-15,0-1 0,0 0 16,0 0-16,-13 1 15,13-1-15,0 0 16,0 0-16,0 1 0,0-1 0,0 0 16,0 0-16,0 0 15,0 1-15,0-1 0,0 0 16,0 0-16,0 1 0,0-1 16,0 0-16,0 0 0,0 1 15,0-1-15,0 0 0,0 0 16,0 0-16,0 1 15,0-1-15,0 13 16,0-12 0,0-1-1,0 0-15,0 0 16,0 0-16,0 1 16,13-1-1,-13 0 1,0 0-1,0 1 1,13-14-16,-13 13 16,0 0-16,0 0 15,0 1 1,13-1-16,-13 0 16,0 0-1,0 0-15,0 1 16,0-1-16,14 0 0,-14 0 15,0 1-15,0-1 0,13 0 16,-13 0-16,0 1 16,0-1-16,0 0 15,13-13-15,-13 13 0,0 0 16,0 1-16,0-1 16,13 0-16,-13 0 0,0 1 15,0-1-15,0 0 0,0 0 16,0 1-16,0-1 15,0 0-15,0 0 0,0 0 16,0 1-16,0-1 16,0 0-16,14 0 15,-14 1-15,-14-1 16,14 0 0,0 0-1</inkml:trace>
  <inkml:trace contextRef="#ctx0" brushRef="#br1" timeOffset="165430.54">19341 7594 0,'13'-14'32,"-13"1"-32,0 0 47,14 13-16,-1 13-31,0-13 15,0 0-15,0 13 16,1-13-16,-1 0 0,0 0 16,14 0-16,-14 0 0,13 0 15,-13 0-15,14 0 0,-1 0 0,1 0 16,-1 0-16,1 0 0,-1-13 0,1 13 16,-1 0-16,1 0 0,-1 0 15,1 0-15,-14 0 0,13-13 0,1 13 16,-14 0-16,13 0 0,1 0 0,-14 0 15,13 0-15,1 0 0,-14-13 16,14 13-16,-1 0 0,-13 0 0,14 0 16,-1 0-16,1 0 0,-1 0 0,1 0 15,-1 0-15,1 0 0,-1 0 16,0-14-16,1 14 0,-1 0 0,14 0 16,-13 0-16,-14 0 0,13 0 0,1 0 15,-1 0-15,-13 0 0,14 0 16,-14 0-16,14 0 0,-14 0 15,0-13-15,13 13 0,-12 0 0,12 0 16,-13 0-16,14 0 0,-14 0 16,0 0-16,14 0 0,-14 0 0,0-13 15,0 13-15,14 0 0,-14 0 0,0 0 16,14 0-16,-14 0 0,0-13 0,0 13 16,14 0-16,-14 0 0,0 0 15,1 0-15,-1 0 0,0 0 16,0 0-16,1 0 0,-1 0 0,0 0 15,0 0-15,0-14 0,1 14 16,-1 0-16,0 0 0,0 0 0,1 0 16,-1 0-16,0 0 0,0 0 0,0-13 15,1 13-15,-1 0 16,0 0-16,0 0 0,1 0 16,-1 0-16,0-13 15,0 13-15,1 0 31,-1 13-15,-13 0 0,0 1-1,0-1-15,0 0 0,0 0 16,0 1-16,-13-1 0,13 0 16,0 14-16,-14-14 0,14 0 0,0 0 15,-13 14-15,13-14 0,-13 0 0,13 14 16,0-14-16,-13 0 0,13 14 0,0-14 15,-14 0-15,14 0 0,0 0 16,-13 14-16,13-14 0,0 0 0,0 1 16,-13-1-16,13 0 0,0 0 0,0 1 15,-13-1-15,13 0 0,0 0 16,0 0-16,-14 1 0,14 12 16,0-13-16,0 1 15,0-1-15,0 0 16,0 0-16,0 14 15,0-14-15,0 0 16,0 0-16,-13 1 16,13-1-16,0 0 0,0 0 15,0 1-15,0-1 0,0 0 16,0 0-16,0 0 16,0 1-16,0-1 15,0 0-15,0 0 0,-13 1 16,13-1-16,0 0 0,0 0 15,0 1-15,0-1 16,0 0-16,0 0 0,0 0 0,0 1 16,0-1-16,0 0 15,0 0-15,0 1 16,0-1-16,0 0 16,0 0-16,0 0 15,13 1 1,-13-1-1,0 0-15,0 0 16,13 1 0,-13-1-16,14 0 15,-14 0 1,0 1-16,13-1 16,-13 0-1,13 0-15,-13 0 16,13 1-16,-13-1 0,14 0 15,-14 0 1,13-13-16,-13 14 0,0-1 16,13 0-16,-13 0 0,13 1 15,-13-1 1,14 0-16,-14 0 16,13 0-16,-13 1 15,13-1 1,-13 0-1,0 0-15,0 1 16,13-1-16,-13 0 16,0 0-16,0 1 15,0-1-15,13-13 0,-13 13 16,0 0-16,0 0 16,0 1-16,0-1 15,14 0-15,-14 0 16,0 1-16,-14-1 15,14 0-15,0 0 16</inkml:trace>
  <inkml:trace contextRef="#ctx0" brushRef="#br1" timeOffset="165991.14">21220 7117 0,'-14'14'31,"1"-1"-15,13 0-16,-13 0 0,-27 27 16,27-27-16,0 0 0,0 14 15,-1-14-15,1 0 0,0 14 0,0-14 16,-1 0-16,14 0 0,-13-13 16,0 14-16,13-1 0,-13 0 0,13 0 15,-14-13-15,14 14 0,-13-14 16</inkml:trace>
  <inkml:trace contextRef="#ctx0" brushRef="#br1" timeOffset="166252.73">20968 7329 0,'13'-13'0,"-39"26"16,13 0-1,0 0-15,-1 1 16,14-1-16,-13 0 0,0 14 16,13-14-16,0 0 15,0 0-15,13-13 16,-13 13-16,13-13 0,1 0 0,-1 0 16,0 0-16,0 0 0,14 0 15,-14-13-15,13 13 0,1 0 0,-14 0 16,14-13-16,-14 13 0,13 0 15</inkml:trace>
  <inkml:trace contextRef="#ctx0" brushRef="#br1" timeOffset="166981.47">21497 6535 0,'0'0'16,"-26"13"-1,13 1-15,-1-1 16,1 13-16,13-12 0,-26 12 0,13 40 16,-1-53-16,1 14 0,13-14 15,0 14-15,0-14 0,0 13 16,0-13-16,0 1 0,0-1 0,13 0 16,-13 0-16,27 1 0,-14-14 15,0 13-15,0-13 16,1 0-16,-1-13 15,-13-1-15,13 14 16,-13-13-16,0 0 0,0 0 16,0-1-1,-13 1-15,13 0 0,-13 13 16,-1 0-16,1 0 16,13 13-16,-13-13 15,0 0-15</inkml:trace>
  <inkml:trace contextRef="#ctx0" brushRef="#br1" timeOffset="167509.4">21590 6668 0,'0'39'15,"0"-26"-15,0 1 16,0-1-16,0 0 0,-13 0 16,13 1-16,-13-1 0,-1 0 0,1 0 15,13 0-15,-13-13 0,13 14 16,-13-14 0,26-14-1,-13 1 1,13 13-16,0-13 0,1 0 15,-1 0-15,13-1 16,-13 1-16,-13 0 0,14 13 0,-1-13 16,-13-1-16,13 1 0,-13 0 15,13 0-15,-13 0 16,0-1-16,-13 14 16,13-13-16,-13 13 15,0 0 1,-1 0-16,1 0 15,0 13-15</inkml:trace>
  <inkml:trace contextRef="#ctx0" brushRef="#br1" timeOffset="167770.71">22053 6588 0,'0'0'0,"-13"40"31,0-14-15,13-12-16,-14-1 0,1 0 16,0 13-16,0-12 0,-1 12 0,1-13 0,0 1 15,0-1-15,0 0 0,-1 0 16,1 0-16,0 1 0,13-1 15,-13 0-15,-1-13 0,14 13 16</inkml:trace>
  <inkml:trace contextRef="#ctx0" brushRef="#br1" timeOffset="167894.99">21762 6707 0</inkml:trace>
  <inkml:trace contextRef="#ctx0" brushRef="#br1" timeOffset="168033.81">22040 6760 0</inkml:trace>
  <inkml:trace contextRef="#ctx0" brushRef="#br1" timeOffset="170683.55">18640 8983 0,'-13'0'62,"13"-14"-30,0 1-32,0 0 0,-14 13 15,14-13-15,0-1 0,0 1 0,0 0 16,-13 0-16,13 0 0,0-14 16,-13 14-16,13 0 0,0-1 0,-13 1 15,13 0-15,-13 0 0,13-1 16,0 1-16,0 0 15,-14 13-15,14-13 16,0 0-16,14 13 47,-1 0-31,0-14-16,0 14 15,0 0-15,1 0 0,-1 0 16,0 0-16,0 0 0,14-13 0,-14 13 15,13 0-15,-12 0 0,12 0 16,1-13-16,-1 13 0,1 0 16,12 0-16,-12 0 0,12 0 0,-12 0 0,13-13 15,-1 13-15,1 0 0,-14 0 16,14 0-16,-13 0 0,12-14 16,-12 14-16,12 0 0,14 0 15,-13 0-15,13-13 0,-27 13 16,1 0-16,-1 0 0,1 0 0,-1 0 15,-13 0-15,14-13 0,-1 13 16,1 0-16,-1 0 0,14 0 16,-14-13-16,-12 13 0,12 0 15,-13 0-15,1 0 0,25 0 16,-26 0-16,14-14 0,-14 14 16,14 0-16,-14 0 0,0 0 15,0 0-15,0-13 16,27 13-16,-27 0 0,1 0 15,12-13-15,-13 13 0,14 0 16,12 0-16,-12-13 16,13 13-16,-27 0 0,13 0 15,14 0-15,-14-13 16,-12 13-16,-1 0 0,13 0 0,-12 0 0,-1 0 16,13 0-16,-12 0 0,12 0 15,-13 0-15,27-14 0,-27 14 16,14 0-16,-14 0 0,0 0 15,14 0-15,-14 0 0,13 0 16,-13-13-16,1 13 0,25 0 16,-12 0-16,-14 0 0,13 0 0,-12-13 15,12 13-15,-13 0 0,14 0 16,-14 0-16,0 0 0,14 0 0,-14 0 16,0-13-16,14 13 0,-14 0 0,27 0 15,-14 0-15,-13 0 0,14 0 16,-14 0-16,13-14 15,1 14-15,52 0 16,-52 0-16,12-13 16,-25 13-16,12 0 0,1 0 15,92 0 17,-93-13-32,-13 13 0,14 0 15,12 0-15,-25 0 16,39 0-16,-14-13 15,-12 13 1,-14 0-16,27 0 16,-27 0-16,0 0 0,27 0 15,-14-13-15,-12 13 16,-1 0 0,0 0-16,0 0 15,0 0-15,1 0 16,-1-14-16,0 14 0,0 0 15,1 0 1,-1 0-16,0 0 16,0-13-16,0 13 15,1 0 1,-1 0-16,0 0 16,0 0-16,1 0 15,-1-13 1,0 13-1,0 0 1,1 0 15,-1 0 1,0 0-17,0 0 32,0 0-31,1 0-1,-1 0-15,0 0 32,0 0-17,1-13 1,-1 13 15,0 0 0,0 0-15,-13 13 0,14-13-1,-1 13 16,-13 0-31,0 1 16,0-1 0,0 0-16,0 0 15,13 0-15,-13 1 16,0-1-16,0 0 16,0 0-1,0 1-15,0-1 16,-13-13-16,13 13 0,0 0 15,0 0 1,0 1 0,0-1-16,0 0 15,0 0 1,13 1 0,-13-1-1,0 0-15,0 0 16,0 1-16,0-1 15,0 0 1,0 0-16,0 0 16,0 1-16,0-1 15,0 0-15,0 0 16,0 1-16,0-1 16,0 0-16,0 0 15,0 1 1,0-1-16,0 0 31,13-26 0,-13 0-31</inkml:trace>
  <inkml:trace contextRef="#ctx0" brushRef="#br1" timeOffset="171117.52">22873 7924 0,'-26'27'31,"13"-27"-31,13 13 0,-14 13 16,-39 14-16,27-13 0,-1-14 15,1 13-15,-27 27 16,0-13-16,27-27 0,-14 14 16,14-14-16,12 0 15,1 0-15,0-13 16</inkml:trace>
  <inkml:trace contextRef="#ctx0" brushRef="#br1" timeOffset="171454.62">22542 8057 0,'-26'13'0,"13"-13"16,-14 26-16,1 14 15,13-27 1,13 0-16,-14 14 0,1-1 16,13-12-16,0 12 15,0 0 1,13-12-16,27-1 15,0 0 1,-14-13-16,-13 0 16,1 0-16,-1 0 0,0 0 0,14 0 15,-14 0 1,0-13-16</inkml:trace>
  <inkml:trace contextRef="#ctx0" brushRef="#br1" timeOffset="172089.24">23363 7567 0,'13'-13'0,"-26"-27"16,-1 40-1,1 0-15,-13 0 16,13 0-16,-1 0 0,1 0 16,-13 13-16,12-13 0,1 14 0,0-1 15,-27 0-15,40 0 16,-13-13-16,0 14 0,13-1 15,0 0 1,26-13-16,-12-13 0,-1 13 16,0 0-16,0-13 0,14-1 0,-14 1 15,13 0-15,-12 0 0,-1 13 16,0-14-16,0 1 0,0 13 16,1-13-16,-1 13 0,-13 53 31,0-40-16,0 14-15,0-14 0,-13 0 16,13 0-16,0 14 0,0-14 0,-14 0 16,14 0-16,0 1 0,0-1 15,0 0-15,0 0 16,0 1-16</inkml:trace>
  <inkml:trace contextRef="#ctx0" brushRef="#br1" timeOffset="172513.68">23707 7488 0,'-14'0'15,"-12"0"-15,13 0 16,0 13-16,-1-13 0,1 0 0,0 13 16,0-13-16,-1 0 0,1 13 0,0-13 15,13 14 1,13-1 0,0-13-16,-13 13 0,14-13 0,-1 13 15,0-13-15,0 0 16,1 14-16,-1-1 0,0-13 15,-13 13-15,13-13 0,0 13 16,-13 0 0,0 1-16,-13-1 15,13 0-15,-13-13 0,0 13 16,0-13-16,-1 0 0,14 14 16,-13-14-16,0 0 0,-14 13 15,14-13 1</inkml:trace>
  <inkml:trace contextRef="#ctx0" brushRef="#br1" timeOffset="172855.62">24077 7448 0,'-13'26'16,"0"-12"0,13-1-16,-14 0 0,1 14 15,0-14-15,0 0 0,-1 0 16,1 1-16,0-1 0,13 0 16,-13 0-16,0 0 0,13 1 0,-14-1 15,1 0-15</inkml:trace>
  <inkml:trace contextRef="#ctx0" brushRef="#br1" timeOffset="172987.65">23932 7541 0</inkml:trace>
  <inkml:trace contextRef="#ctx0" brushRef="#br1" timeOffset="173133.61">24090 7594 0,'0'0'0,"0"-14"15,14 14 16</inkml:trace>
  <inkml:trace contextRef="#ctx0" brushRef="#br1" timeOffset="175059.61">18058 9988 0,'0'26'47,"0"1"-47,0-14 0,0 0 15,0 1-15,0 12 0,-13 1 16,13-1-16,0 14 0,-14-14 0,14 14 16,-13-14-16,13 14 0,-13 0 0,13-14 15,0 1-15,-13-1 0,13 1 16,0-14-16,0 13 0,0-13 0,-14 14 16,14-14-16,0 0 0,0 1 0,0-1 15,0 0-15,0 0 16,0 0-16,0 1 0,0-1 15,0 0 1,14 0 0,-1-13-1,0 0-15,0 0 16,1 0-16,-1 0 0,0 0 16,14 0-16,-1 0 0,0 0 15,1 0-15,13 0 0,12 0 0,1 0 16,40 0-16,-27 0 0,-13 0 15,0 0-15,13 0 0,13 0 16,67-13-16,-67 13 0,1 0 16,-1 0-16,1 0 0,-1 0 15,0 0-15,1 13 0,-1-13 16,14 0-16,-14 0 0,0 0 16,14 0-16,-14 0 0,14 0 0,92 0 15,-105 0-15,12 14 0,-12-14 16,12 0-16,-12 0 0,-1 0 15,13 13-15,-12-13 0,-1 0 0,80 0 16,-80 0-16,1 0 0,-1 13 16,0-13-16,1 0 0,-1 0 0,67 13 15,-80-13-15,53 0 16,-66 0-16,13 0 0,13 0 16,40 0-16,-52 0 15,52 0-15,-66 0 0,-1 0 16,41 0-16,-40 0 0,-13 0 15,-14 0-15,14 0 0,-14 0 16,1 0-16,-1 0 0,1 0 0,-14 0 16,0-13-16,0 13 0,14 0 0,-14 0 15,0 0-15,1 0 0,-1 0 16,0 0-16,-13-13 16,13 13-16,0 0 0,1 0 0,-1 0 15,0 0-15,0-13 16,1 13-16,-1 0 0,0 0 15,0 0-15,93-14 32,-93 14-32,1-13 0,-1 13 15,13 0-15,1 0 16,39-26 0,-40 26-16,-12-14 15,38-12 16,-38 13-15,-14 0 0,0-1-16,13 1 0,-13-53 15,0 40 1,0 12-16,0-12 0,0-27 16,0 26-16,0 14 0,0-13 15,0 13-15,0-14 16,0 14-16,-13 0 0,13-1 0,0-12 15,0 13-15,0-1 16</inkml:trace>
  <inkml:trace contextRef="#ctx0" brushRef="#br1" timeOffset="175541.66">21577 11179 0,'0'26'31,"0"-13"-31,0 1 16,-13 12-16,13-13 0,-14 40 15,14-13-15,0 0 0,-13-1 16,13-12-16,0-1 0,0 1 0,0-1 15,-13 1-15,13-1 0,0-13 16,0 14-16,-13-1 0,13-13 0,-14 1 16,14-1-16,0 0 0</inkml:trace>
  <inkml:trace contextRef="#ctx0" brushRef="#br1" timeOffset="175852.5">21431 11523 0,'0'0'16,"-13"26"-1,13-13 1,0 1-16,0-1 0,0 13 16,0-13-16,0 1 0,0 12 0,0-13 15,0 14-15,0-14 0,13 0 16,-13 1-16,0-1 0,0 0 0,0 0 15,27 14 1,-14-27-16,66-27 31,-65 14-31,12 0 0,-13 0 0,0 13 16,14-14-16,-14 1 16,0 13-1,1 0-15</inkml:trace>
  <inkml:trace contextRef="#ctx0" brushRef="#br1" timeOffset="176406.83">21405 12488 0,'-27'-26'0,"14"26"16,0 0-16,0 0 0,-1 0 16,-12 13-16,13-13 0,-40 27 0,40-27 15,-27 26-15,27-13 16,-1 0-16,1 1 0,0-1 16,13 0-16,0 0 15,13-13-15,0 0 0,1 0 16,-1-13-16,13 13 0,-12-13 15,12 0-15,14-1 0,-1-12 16,-25 26-16,-1-13 16,0 0-16,0 13 0,1 0 15,-14 26 1,13-26-16,-13 13 0,-13 14 16,13-1-16,0-13 15,0 14-15,-14-14 0,14 14 16,0-1-16,-13-13 0,13 0 0,-13 14 0,13-14 15,0 14-15,-13-27 16,26 13-16</inkml:trace>
  <inkml:trace contextRef="#ctx0" brushRef="#br1" timeOffset="176778.47">21709 12502 0,'-26'0'16,"52"0"-16,-79 0 0,40 0 15,0 13-15,-14-13 0,14 0 16,0 13-16,-14-13 0,14 13 0,0 0 16,0-13-16,13 14 0,-14-14 15,28 13 1,12-26-1,-13 13-15,1-14 0,-1 14 16,0-13-16,0 13 0,0 0 0,1-13 16,12 13-16,-13 13 15,-13 0 1,0 1-16,0-1 0,0 0 16,0 0-16,0 14 0,0-1 15,-13-12-15,13 12 0,0-13 0,-13 0 16,13 1-16,0-1 0,0 13 15,0-12 1</inkml:trace>
  <inkml:trace contextRef="#ctx0" brushRef="#br1" timeOffset="176899.73">21881 12740 0,'13'0'15,"-13"-14"1,14 1 15</inkml:trace>
  <inkml:trace contextRef="#ctx0" brushRef="#br1" timeOffset="177385.77">22212 12515 0,'26'0'31,"-13"0"-31,1 0 16,-1 0-16,27 0 0,-27 0 15,13 0-15,-12 13 16,-1-13-16,0 0 0,0 0 0,-13 13 15,13-13-15,-13 13 0,14 1 0,-14-1 16,0 0-16,13 0 16,-13 1-16,0-1 0,-13 0 15,13 14-15,0-14 0,0 13 16,-14-13-16,14 1 0,0-1 0,0 0 16,-13 0-16,13 1 15,0-1-15,-13-13 16,0 0-1</inkml:trace>
  <inkml:trace contextRef="#ctx0" brushRef="#br1" timeOffset="177555.86">22251 12740 0,'-13'0'15,"26"0"-15,-13-14 16,14 14-1,12 0-15,-13-13 0,14 13 16,-14-13-16,14 13 0,-1 0 0,0-13 16,14 13-16,-13-13 0,12-1 15,-12 1-15,12 0 0</inkml:trace>
  <inkml:trace contextRef="#ctx0" brushRef="#br1" timeOffset="177758.71">22992 12435 0,'-66'40'0,"132"-80"0,-52 40 15,-28 27 1,1-27 0,13 13-16,-13 0 0,0 14 15,-14 12-15,1 1 16,12-13-16,-52 65 0,53-52 16,0-14-16,-14 1 0,14-1 15,0 1-15,0-14 0,-1 0 16,14 0-16,-13-13 0,13 14 0</inkml:trace>
  <inkml:trace contextRef="#ctx0" brushRef="#br1" timeOffset="177888.72">22741 12554 0,'-13'-13'31</inkml:trace>
  <inkml:trace contextRef="#ctx0" brushRef="#br1" timeOffset="178022.2">23045 12674 0,'27'13'0,"-41"0"31,1-13-16,0 0-15,-13 0 16,12-13-16</inkml:trace>
  <inkml:trace contextRef="#ctx0" brushRef="#br1" timeOffset="190814.65">9710 8215 0,'0'-13'31,"-13"40"63,13-14-94,0 0 15,0 0-15,0 0 0,0 14 16,0 13-16,-13 13 16,13-27-16,0-13 0,0 14 15,-13 92 16,-1-106-15,14 0-16,14 0 16</inkml:trace>
  <inkml:trace contextRef="#ctx0" brushRef="#br1" timeOffset="191047.64">10054 8374 0,'0'-13'31,"-13"13"1</inkml:trace>
  <inkml:trace contextRef="#ctx0" brushRef="#br1" timeOffset="191495.39">10478 8255 0,'-14'13'15,"14"0"-15,-13-13 0,0 14 16,13-1-16,-13-13 0,-1 13 16,1 0-16,0 1 0,0-1 0,-1 0 15,-12 0-15,13 1 0,0-1 0,-1 0 16,1 0-16,0 0 16,0 1-16,-1-1 0,1-13 15,13 13-15,0 0 31,13 1-31,1-14 0,-1 0 16,0 0-16,14 0 0,-14 13 16,0-26-16,0 13 0,0 0 15,14 0-15,-14 0 0,0 0 16,1 0-16,-1 0 0,0 0 16,0 0-16,1 0 0,-1-14 15</inkml:trace>
  <inkml:trace contextRef="#ctx0" brushRef="#br1" timeOffset="191755.65">10358 8348 0,'-13'39'31,"13"-25"-31,-13 12 16,13-13-16,0 0 0,0 14 0,-13-14 15,13 0-15,0 14 0,-13-14 16,13 0-16,0 14 0,0-14 0,0 0 0,-14 0 16,14 1-16,0-1 15,0 0 1,0 0-16</inkml:trace>
  <inkml:trace contextRef="#ctx0" brushRef="#br1" timeOffset="192154">9671 8824 0,'105'-27'31,"-52"27"-31,-13-13 0,0 13 16,-1 0-16,14-13 0,-13 13 0,-14-13 16,27 13-16,-13-14 15,-14 14-15,1 0 0,-1-13 0,1 13 16,-14 0-16,14 0 0,-14 0 0,0 0 15,0 0 1</inkml:trace>
  <inkml:trace contextRef="#ctx0" brushRef="#br1" timeOffset="192397.78">9538 8996 0,'40'0'16,"-27"0"-16,14-13 0,-14 13 15,27 0-15,-14 0 0,0-14 0,14 14 16,0 0-16,-1-13 0,1 13 0,-13 0 16,-1-13-16,14 13 0,-14-13 15,27-1-15,-40 14 0,14-13 16,26 0-16,-27 0 0,1 0 15,12-1-15,-12 1 0,-1 0 16</inkml:trace>
  <inkml:trace contextRef="#ctx0" brushRef="#br1" timeOffset="192849.61">10769 8229 0,'0'-14'0,"13"14"0,-13-13 16,66 13 15,-66 13-31,13-13 0,0 14 0,1 12 15,-14 0-15,13 1 16,-13-1-16,0 1 0,0-14 16,0 14-16,0-14 0,-13 13 0,13 1 15,0-1-15,-14-13 0,1 14 16,13-14-16,-13 13 0,13-12 16,-13 12-16,13-13 0,-14 1 0,14-1 15,-13 13-15</inkml:trace>
  <inkml:trace contextRef="#ctx0" brushRef="#br1" timeOffset="193017.67">10848 8877 0,'-13'-13'31</inkml:trace>
  <inkml:trace contextRef="#ctx0" brushRef="#br1" timeOffset="195661.64">9988 10200 0,'0'13'15,"0"0"1,0 0-16,0 1 0,0-1 0,0 0 16,0 14-16,-13-14 0,13 13 15,0-13-15,0 1 0,0 12 16,0 1-16,-13-14 0,13 13 15,0-12-15,0-1 0,0 0 16,0 0-16,-14-13 0,14 13 16</inkml:trace>
  <inkml:trace contextRef="#ctx0" brushRef="#br1" timeOffset="195916.78">10134 10438 0,'0'-13'15</inkml:trace>
  <inkml:trace contextRef="#ctx0" brushRef="#br1" timeOffset="196424.93">10398 10226 0,'27'0'31,"-14"0"-31,0 0 0,0 0 16,1 0-16,-1 0 15,0 0-15,0 0 0,0 0 0,1 0 16,-1 13-16,0-13 16,0 14-16,1-1 15,-14 0-15,0 0 16,0 1-16,0-1 0,0 0 16,0 0-16,0 0 0,-14 1 15,14-1-15,0 0 0,0 0 16,-13 14-16,13-14 0,0 0 0,0 1 15,0-1-15,0 0 16,0 0-16,0 0 16</inkml:trace>
  <inkml:trace contextRef="#ctx0" brushRef="#br1" timeOffset="196638.42">10398 10478 0,'27'-14'32,"-14"14"-32,0 0 0,0 0 15,14 0-15,-14 0 0,0 0 16,0 0-16,14 0 0,-14 0 0,14-13 15,-14 13-15,0 0 0</inkml:trace>
  <inkml:trace contextRef="#ctx0" brushRef="#br1" timeOffset="197489.5">11060 10385 0,'26'13'31,"-13"-13"-15,0 0-16,1 0 0,-1 0 16,0 0-16,14 0 0,-14 0 15,0 0-15,0 0 0,1 0 16,-1 0-16</inkml:trace>
  <inkml:trace contextRef="#ctx0" brushRef="#br1" timeOffset="197941.68">11470 10266 0,'0'26'31,"0"-12"-15,-14-14-16,14 13 0,0 0 15,0 27-15,0-27 0,0 0 0,0 0 16,0 1-16,0-1 0,0 0 16,0 0-16,0 1 0,0-1 15,0 0-15,0 0 16</inkml:trace>
  <inkml:trace contextRef="#ctx0" brushRef="#br1" timeOffset="198098.56">11602 10464 0,'0'-13'0</inkml:trace>
  <inkml:trace contextRef="#ctx0" brushRef="#br1" timeOffset="198375.37">11946 10253 0,'-13'13'0,"13"0"16,0 0-1,0 1-15,-14-1 0,14 13 16,0-13-16,0 1 0,0-1 0,-13 0 16,13 0-16,0 1 0,0-1 15,0 0-15,-13 0 16,13 1-16,-13-14 0</inkml:trace>
  <inkml:trace contextRef="#ctx0" brushRef="#br1" timeOffset="198893.94">9657 10160 0,'-13'40'0,"26"-80"0,-39 106 0,13-39 0,13-1 15,-14 14-15,1-1 0,0 41 16,13-40-16,0 12 0,0-12 16,13 0-16,0-1 0,1-12 0,12 13 15,1-14-15,25 1 0,-12-1 16,79 14-16,-66-27 0,79-13 15,-52-13-15,-1 13 0,1-14 16</inkml:trace>
  <inkml:trace contextRef="#ctx0" brushRef="#br1" timeOffset="199385.58">12158 10001 0,'26'13'15,"-52"-26"-15,65 40 0,-39-14 0,14 0 0,-1 14 16,-13-14-16,13 13 0,0 14 16,-13-14-16,13 1 0,-13 39 15,0-39-15,0-1 0,-13 14 16,0-1-16,0-12 0,0 13 0,-1-14 16,-12 0-16,-1 1 0,1-1 0,-1 1 15,1-1-15,-27 1 0,13-1 16,14-26-16,-1 13 0,1 1 0,-14-14 15,14 0-15</inkml:trace>
  <inkml:trace contextRef="#ctx0" brushRef="#br1" timeOffset="200113.37">10438 10967 0,'66'0'0,"-132"0"0,158 0 0,-52 0 0,13 0 15,0 0-15,0 0 0,13 0 16,13 0-16,14 0 0,-14 0 0,14 0 15,0 0-15,12-13 0,-12 13 16,13 0-16,0 0 0,0 0 0,-14-13 0,14 13 16,-13 0-16,-1 0 0,1 0 15,-14 0-15,0 0 0,41 0 16,-68 0-16,-12 0 0,-13 0 16,-1 0-16,-13 0 0,1 0 0,-28 13 31</inkml:trace>
  <inkml:trace contextRef="#ctx0" brushRef="#br1" timeOffset="200565">11417 11284 0,'-27'27'16,"14"-27"-1,0 13-15,0 0 0,-14 1 0,14-14 16,0 13-16,-14 0 0,14 0 16,0-13-16,0 14 0,-1-1 0,1-13 15,13 13-15,-13-13 0,13 13 16,-13-13-16,13 13 0,13 1 16,0-14-16,0 0 15,14 0-15,-14 0 16,13 0-16,27 0 0,-13 0 15,-13 0-15,39 0 0,-40 0 16,1 0-16,-1 0 0,1-14 16,-14 14-16,13 0 0,-13 0 15,1 0-15,-1 0 0,0-13 16</inkml:trace>
  <inkml:trace contextRef="#ctx0" brushRef="#br1" timeOffset="200797.41">11430 11271 0,'-13'13'0,"26"-26"0,-26 40 16,13-14-16,0 0 0,-13 14 0,13-14 16,0 27-16,0-14 15,-14 27-15,14-27 16,-13 1-16,13-1 0,0 1 0,-13-1 0,13-13 15,0 1-15,0-1 0,0 0 16,0 0-16,13 1 0,0-14 16,1 0-16,12 0 15</inkml:trace>
  <inkml:trace contextRef="#ctx0" brushRef="#br1" timeOffset="207620.03">20241 9406 0,'-27'13'15,"14"-13"1,0 0-1,13 13 1,-14-13-16,1 0 0,0 0 16,0 0-16,-14 0 15,14 14-15,0-14 0,0 0 0,-27 0 16,27 0-16,-14 0 0,-12 0 16,12 13-16,14-13 15,-14 0-15,14 0 0,-13 0 0,13 0 16,-1 13-16,1-13 0,0 0 0,0 0 15,-1 0-15,1 0 16,0 0-16,0 13 16,-1-13-16,1 0 31,0 0-15,0 0-1</inkml:trace>
  <inkml:trace contextRef="#ctx0" brushRef="#br1" timeOffset="208126.99">19804 9327 0,'-40'13'32,"27"-13"-32,-13 0 15,12 13-15,1-13 0,0 0 0,0 13 16,-14 0-16,14 1 16,0-14-16,0 13 0,-1-13 15,1 13-15,0 0 0,0-13 16,13 14-16,-14-14 15,14 13-15,-13 0 0,13 0 16,0 1-16,0-1 0,0 0 16,0 0-16,13 0 0,-13 1 15,14-1-15,-14 0 16,26 0-16,-13 1 16,1-1-16,-1-13 0,0 13 15,0 0-15,1-13 16,-1 0-16,-13 14 0,13-14 15,0 13-15</inkml:trace>
  <inkml:trace contextRef="#ctx0" brushRef="#br1" timeOffset="208686.61">19248 10226 0,'40'0'0,"-27"0"15,27 27 17,-27-27-32,-13 13 0,0 0 15,-13 0-15,13 1 0,-13-1 0,0 0 16,-1 13-16,-12 1 0,13-14 0,-14 0 15,-12 14-15,25-14 16,1 0-16,0 1 0,0-14 16,-1 13-16,1 0 15,40 0 17,-14-13-32,0 0 15,0 0-15,14 0 16,-14 0-16,13 0 0,-12 0 15,-1 0-15,0 0 16,0 0-16,1 0 0,-1 0 0,0 0 16,14-13-16,-14 13 0,13 0 0,1 0 15,-1-13-15,1 13 0</inkml:trace>
  <inkml:trace contextRef="#ctx0" brushRef="#br1" timeOffset="209538.66">21299 10147 0,'40'-13'47,"-27"13"-47,0 0 16,14 0-16,25 0 15,-12 0-15,40 0 16,-41 0-16,14 0 0,0 0 0,13-14 16,-26 14-16,0 0 15,-14 0-15,27 0 0,-13 0 16,-14 0-16,-13 0 0,1 0 16,-1 0-16,0 0 0,0 0 15,0 0-15,1 0 16,-1 0-1,-13-13-15,13 13 32</inkml:trace>
  <inkml:trace contextRef="#ctx0" brushRef="#br1" timeOffset="209947.19">21974 9975 0,'13'13'32,"0"0"-17,0-13-15,1 13 16,-1-13-16,13 14 0,-13-1 15,1-13-15,-1 13 16,13 0-16,-12-13 0,-1 0 16,-13 14-16,13-14 0,0 13 15,-13 0 1,14-13-16,-28 13 0,14 1 16,-13-1-16,0 0 15,0 0 1,-1-13-16,14 13 0,-39 14 15,25-14-15,1 14 16,0-14-16,0 0 16</inkml:trace>
  <inkml:trace contextRef="#ctx0" brushRef="#br1" timeOffset="210393.57">21841 10411 0,'14'0'0,"-28"0"16,41 0-16,-14 0 0,0 0 16,1 0-16,-14 14 15,13-1-15,-26 13 16,-1-12-16,1-1 16,0 0-16,0 0 0,-14 0 15,27 1-15,-13-14 0,0 13 16,-1 0-16,1 0 31,40-13-15,-14 0-1,0 0-15,0 0 0,1 0 16,-1 0-16,13 0 0,-12 14 0,-1-14 0,0 0 16,13 0-16,-12 0 15,-1 0-15,0 0 16,0 0-16,1 0 0,-1 13 15</inkml:trace>
  <inkml:trace contextRef="#ctx0" brushRef="#br1" timeOffset="211518.25">12171 11496 0,'26'-13'47,"-12"13"-47,-1 0 16,0 0-16,13 0 0,-12 0 0,-1 0 15,13 0-15,14 0 16,-27 0-16,14-13 0,-1 13 16,1 13-16,-14-26 15,0 26-15,0-13 31</inkml:trace>
  <inkml:trace contextRef="#ctx0" brushRef="#br1" timeOffset="211933.66">12211 11377 0,'13'0'16,"-40"13"15,27 1-31,-13-14 0,-13 26 15,12-26-15,1 13 16,-13 0-16,12 14 16,-12-14-16,26 0 0,-13-13 15,13 14-15,-13-14 16,13 13-16,0 0 16,0 0-16,0 1 0,13-1 15,0-13 1,0 13-16,0-13 15,1 13-15,-1-13 16,0 0-16,14 0 16,-14 0-16,0 0 15,0 0-15</inkml:trace>
  <inkml:trace contextRef="#ctx0" brushRef="#br1" timeOffset="214413.17">14208 11562 0,'13'-13'15,"-13"0"-15,0 0 16,0-1-16,0 1 16,-13 0-16,0 0 15,0 13 1,-1 0-16,1 0 0,0 0 15,-27 13-15,27-13 0,-13 13 16,12 0-16,-12 1 16,13-1-16,-1 0 0,1 0 0,0 1 0,13-1 15,-13 13-15,13-13 16,26 1 0,-13-14-16,133-93 31,-120 80-31,27-27 15,14 14 32,-67 39-47,0 27 16,0-27 0,-27 106 15,27-106-31,0 14 0,0 12 15,0-25 1</inkml:trace>
  <inkml:trace contextRef="#ctx0" brushRef="#br1" timeOffset="-214645.82">14684 11509 0,'-26'-13'31,"13"26"-15,-14-13-16,14 14 0,0-1 0,0-13 15,-1 13-15,1 0 0,0-13 16,0 14-16,-1-1 0,1 0 15,26 0 17,1-13-32,-1 13 0,0-13 15,0 0-15,1 0 0,-1 14 16,0-14-16,0 13 0,0 0 16,1-13-16,-14 13 15,13-13-15,-13 14 0,0-1 16,0 0-16,-13 0 15,-1-13-15,14 14 0,-13-14 16,0 13-16,0 0 0,-14-13 0,1 13 16,13-13-16,-1 13 0,1-13 15,0 0-15,-14 0 16,27-13 0,14 0-1</inkml:trace>
  <inkml:trace contextRef="#ctx0" brushRef="#br1" timeOffset="-214430.16">15094 11390 0,'0'27'15,"0"-14"1,-13 0-16,13 0 0,-13 14 0,0-14 15,13 14-15,-13-1 0,-1-13 16,1 27-16,13-14 16,-13 1-16,0-14 0,13 27 15,-14-40-15,14 13 16,0 0-16</inkml:trace>
  <inkml:trace contextRef="#ctx0" brushRef="#br1" timeOffset="-214278.79">14870 11549 0,'-14'-13'15,"41"0"17,-27 26-17</inkml:trace>
  <inkml:trace contextRef="#ctx0" brushRef="#br1" timeOffset="-214174.97">15055 11549 0,'106'13'31,"-93"-13"-15,-132-13-1</inkml:trace>
  <inkml:trace contextRef="#ctx0" brushRef="#br1" timeOffset="-212950.09">3360 1773 0,'-13'-14'15,"26"67"1,-13-26 0,0-1-16,13 14 0,-13 0 15,0-1-15,0 41 0,0-27 16,0-14-16,14 1 0,-14-14 0,0 1 16,0 13-16,0-14 0,0-13 15,0 14-15,0-14 0,0 27 16,0-27-16,0 0 0,0 0 15,0 1-15,0-41 32,0 14-32,0 0 0,0-1 0</inkml:trace>
  <inkml:trace contextRef="#ctx0" brushRef="#br1" timeOffset="-211669.2">3201 1786 0,'0'-13'0,"-13"13"16,13-14 0,13 14-1,1 0-15,-1 0 0,0-13 16,14 13-16,-1 0 0,14-13 15,13 13-15,-14-13 0,54 0 16,-40-1-16,13 1 0,0 0 0,-13 13 16,13-13-16,0-1 0,1 1 15,-1 13-15,-13-13 0,0 0 0,-1 13 16,1-13-16,-13 13 0,13-14 16,26 1-16,-26 0 0,-26 13 15,-1 0-15,1-13 0,-1 13 0,-13 0 16,1 0-16,12 0 0,-13-14 15,0 14-15,1 0 0,-1 0 16,0 0 0,0 0-16,1 0 15,-1 0 1,-13 14 15,13-14-31,-13 13 0,0 0 16,13 0-16,-13 1 0,0-1 15,13 0-15,-13 13 0,0-12 0,14 12 16,-14 1-16,13 12 0,-13 27 16,13-26-16,-13-13 0,0-1 15,0 0-15,0 1 0,0-1 16,0 1-16,0-1 0,0 1 0,0-1 16,0-13-16,0 14 0,0-14 0,0 14 0,0 12 15,0-26 1,0 14-16,0-14 0,0 0 0,0 1 15,0-1-15,0 13 0,0-12 16,0-1-16,0 0 0,0 0 16,0 0-16,0 1 0,0-1 15,0 0-15,0 0 0,0 1 16,0-1 0,0 0 15,0 0 0,-13-13 16,0 0 0,-1 0-32,1 0 1,0 0-16,0 14 0,0-14 16,-1 0-16,1 0 0,0 0 15,-14 0-15,-25 13 0,25-13 16,-13 0-16,-26 13 0,27-13 16,-14 13-16,13-13 0,-13 13 15,13-13-15,-52 27 16,39-27-16,13 13 0,-52 0 0,52 1 15,0-14-15,0 13 0,14-13 16,0 13-16,-1-13 0,-13 13 16,14 1-16,13-14 0,-1 0 15,1 0-15,-13 13 0,13-13 16,-1 0-16,1 0 0,0 13 16,0-13-1,-1 0 1,1 0-16,0 0 31,0 0-15,-1 0 109,1 0-110,0-13 1,13 0-16</inkml:trace>
  <inkml:trace contextRef="#ctx0" brushRef="#br1" timeOffset="-211075.54">4802 1773 0,'13'0'16,"1"0"15,-1 0-31,0-14 0,40 1 16,-40 13-16,27-13 0,0 0 0,26-14 15,-27 27-15,14-26 16,-26 26-16,-1-13 16,-12 13-16,12-14 0,-13 14 0,27 0 15,-27-13-15,0 13 0,1 0 16,-1 0-16,0 0 15,-13-13-15,13 13 16,-13-13 0</inkml:trace>
  <inkml:trace contextRef="#ctx0" brushRef="#br1" timeOffset="-210762.39">5278 1442 0,'0'-13'15,"0"26"-15,14-26 0,12 13 16,1 0 0,-14 0-16,13 0 0,-12 13 15,12-13-15,-13 0 0,0 13 0,14-13 16,-1 13-16,-12-13 15,-1 14-15,0-1 0,0-13 16,-13 13-16,13 0 0,-13 1 16,-13 12-16,13 1 15,-26-1-15,-1 0 16,14 1-16,0-14 0,13 0 16,-13 1-16,-1-1 15,1 0-15</inkml:trace>
  <inkml:trace contextRef="#ctx0" brushRef="#br1" timeOffset="-210190.95">6297 1349 0,'-159'119'109,"146"-119"-93,0 93 93,198-305-109,-145 411 16,-14-199-16,40-40 15</inkml:trace>
  <inkml:trace contextRef="#ctx0" brushRef="#br1" timeOffset="-210101.11">6310 1336 0,'0'529'62</inkml:trace>
  <inkml:trace contextRef="#ctx0" brushRef="#br1" timeOffset="-208990.18">6787 1376 0,'0'-13'78,"-27"26"140,27 0-202,-13-13-16,0 13 16,-1-13-16,14 14 0,-13-14 15,13 13-15,-13-13 0,13 13 16,13 0 0,0 0-16,1 1 15,-1-14-15,0 13 0,0 0 16,1 0-16,-14 1 15,13-14-15,-13 13 0,13-13 16,-13 13-16,0 0 0,0 1 16,0 12-16,-13-26 15,13 13-15,-13 0 0,-1-13 16,-12 14-16,-1-1 0,14-13 16,0 13-16,0-13 0,0 0 0,-1 0 15,1 0-15,0 0 16,0 0-16,-1 0 15</inkml:trace>
  <inkml:trace contextRef="#ctx0" brushRef="#br1" timeOffset="-208377.47">7011 1416 0,'0'26'32,"0"-13"-32,0 0 0,0 1 15,0-1-15,0 27 16,0-27-16,0 0 0,0 14 16,0-14-16,0 13 0,0-13 0,0 1 15,0-1-15,0 0 16,0 0-16,0 1 15,0-54 17,0 27-32,0-1 0,0-12 15,14 13-15,-14-14 0,13-12 16,0-28-16,-13 41 0,13 13 16,1-14-16,-1 1 0,-13 13 15,13-1-15,0 1 0,1 13 16,-1 0-16,-13-13 0,13 13 0,0 13 15,0-13-15,1 13 16,-1 1-16,-13-1 0,13 0 0,-13 0 16,0 1-16,0-1 0,0 0 0,-13 13 15,13 1-15,-13-1 0,-27 27 16,14-26-16,12-1 0,-25 14 16,25-27-16,-12 0 0,-1 1 15,14-14-15,-13 0 16,13 0-16,-1 0 0</inkml:trace>
  <inkml:trace contextRef="#ctx0" brushRef="#br1" timeOffset="-207724.65">6376 1138 0,'-26'26'16,"26"-13"-16,-13 1 15,-14-1-15,14 13 0,-27 27 16,14-40-16,-1 14 16,1-1-16,0 1 0,12-1 0,-25 14 15,25-27-15,1 0 0,-13 1 16,26-1-16,-14 0 15,14 0-15,0 1 16,14-14-16,-1 0 16,0 0-16,0 13 0,14-13 0,-14-13 15,14 13-15,-1 0 0,0 0 0,1 0 16,13 0-16,-14 0 0,1 0 16,25-14-16,-25 14 15,-1 0-15,-12-13 0,12 13 0,-13-13 16,1 13-16,25-27 31</inkml:trace>
  <inkml:trace contextRef="#ctx0" brushRef="#br1" timeOffset="-207501.18">6297 1191 0,'13'39'16,"-26"-78"-16,26 118 0,1-66 0,-14 14 16,13 39-16,0-26 15,0-1-15,0 27 0,14 1 16,-14-1-16,-13-40 16,13 14-16,-13 13 15,0-14 1,0-12-16,-13-14 0</inkml:trace>
  <inkml:trace contextRef="#ctx0" brushRef="#br1" timeOffset="-205843.9">18018 463 0,'-26'13'31,"26"0"-31,-14 1 0,1 12 16,13-13-16,-26 27 0,26-13 0,-13 12 15,-1-12-15,1-1 0,13 1 16,-13-1-16,13 1 0,0-14 0,0 13 16,0-13-16,0 1 0,0 12 15,13 1-15,0-14 16,-13 0-16,14-13 0,-1 0 0,-13 13 15,13-13-15,0 0 0,0 0 16,1-13-16,-1 13 16,-13-13-16,13 13 0,-13-13 15,0-1-15,13 1 16,-13 0-16,-13-14 16,13 14-16,0 0 15,-13 13 1,13-13-16,-13 13 15</inkml:trace>
  <inkml:trace contextRef="#ctx0" brushRef="#br1" timeOffset="-205217.62">18322 542 0,'-13'0'0,"26"0"0,-39 0 16,13 0-16,-1 14 15,1-1-15,13 0 0,0 0 16,0 1-16,0-1 0,0 0 16,13 0-16,-13 0 0,14 1 15,-14-1-15,13 0 0,-13 14 0,13-14 16,0 13-16,-13-12 0,0-1 15,14 0-15,-28 0 16,14 0-16,0 1 16,-13-14-16,13 13 0,-13 0 0,0-13 15,-1 0 1,1 0-16,0-13 16,0 13-16,13-13 15,13-14 1,-13 14-16,13 13 0,-13-13 15,13 0-15,-13-1 0,14 1 0,-1-27 16,0 27-16,-13 0 16,13 0-16,-13-1 0,0-12 15,0 13-15,0 0 0,-13-1 16,13 1-16,-13 0 0,0 0 16,13-1-16,-14 14 15,1 0-15,13-13 16,-13 26-16,0-13 15,13 14-15,0-1 0,13 0 16</inkml:trace>
  <inkml:trace contextRef="#ctx0" brushRef="#br1" timeOffset="-204911.34">18732 661 0,'27'-13'31,"-14"13"-31,0 0 16,1 0-16,12 0 0,-13-13 0,14 13 15,-14 0-15,13 0 0,-12 0 16,12 0-16,-13 0 0,1-13 0,-1 13 16,0 0-16,0 0 0,1 0 0,-1 0 15,0 0-15,0-13 0,0 13 16,1 0 0,-14-14-16</inkml:trace>
  <inkml:trace contextRef="#ctx0" brushRef="#br1" timeOffset="-204609.84">18957 437 0,'0'-14'0,"40"14"31,-27 0-31,1 14 0,-1-14 0,0 0 16,27 13-16,-27 0 15,0-13-15,0 13 0,1 0 16,-1-13-16,0 27 0,0-14 16,-13 0-16,0 1 0,0-1 15,0 0-15,-13 0 0,13 1 16,-13 12-16,13-13 0,-13-13 16,-1 13-16,14 1 0,-26 12 15,26-13-15,-13 1 16</inkml:trace>
  <inkml:trace contextRef="#ctx0" brushRef="#br1" timeOffset="-204157.42">19698 476 0,'0'0'15,"13"-13"1,1 13-16,-1 13 15,0-13-15,14 0 16,-27 13-16,13-13 0,0 14 16,-13-1-16,0 0 0,0 0 15,0 1-15,-13-1 0,0 13 16,-1-12-16,1-1 0,0 0 16,13 0-16,-13-13 15,13 13-15,-14 1 16,28-1-1,-1-13-15,0 0 16,0 0-16,14 0 0,-14 0 16,14 0-16,12 0 0,14 0 15,-40 0-15,14 0 16,-1 0-16,-13-13 0,14 13 16,13 0-16,-14-14 0</inkml:trace>
  <inkml:trace contextRef="#ctx0" brushRef="#br1" timeOffset="-203775.07">20479 410 0,'-40'0'0,"80"0"0,-93 0 0,40 0 0,-1 0 16,-12 0-16,13 0 0,-1 13 15,1 1-15,0-14 16,0 13-16,0 0 0,13 0 16,0 0-16,0 1 15,13-14-15,-13 13 0,13-13 16,-13 13-16,13 0 16,0-13-16,-13 14 0,14-14 0,-1 13 15,0 0-15,0 0 16,1 1-16,-14-1 15,0 0 1,0 0-16,-14 0 0,1 1 16,0-1-16,0 0 15,-1-13-15,1 13 16,0-13-16,0 0 31</inkml:trace>
  <inkml:trace contextRef="#ctx0" brushRef="#br1" timeOffset="-203550">20651 503 0,'0'-14'0,"0"28"0,13-14 31,-13 13-31,0 0 15,0 0-15,-13 1 0,13-1 16,0 0-16,0 0 0,0 1 0,0 25 16,0-26-16,0 1 0,0-1 15,0 0-15,0 0 0,0 1 16,0-1-16</inkml:trace>
  <inkml:trace contextRef="#ctx0" brushRef="#br1" timeOffset="-203195.22">20717 384 0,'13'0'0,"0"0"15,-13-14-15,93 54 32,-80-27-32,0-13 0,1 14 15,-14-1-15,13 0 0,0 13 16,-13-12-16,13-1 0,-13 0 16,0 14-16,-13-14 0,13 13 0,-13-12 15,0-1-15,-1 13 0,1-13 16,-13 1-16,12-1 0,-12 0 15,13 0-15,-14 1 0,14-14 0,-13 13 16,12-13-16,-25 13 0,26-13 16,-1 0-16,1 0 15</inkml:trace>
  <inkml:trace contextRef="#ctx0" brushRef="#br1" timeOffset="-201704.05">19711 9538 0,'-13'0'62</inkml:trace>
  <inkml:trace contextRef="#ctx0" brushRef="#br1" timeOffset="-201035.89">21114 9525 0</inkml:trace>
  <inkml:trace contextRef="#ctx0" brushRef="#br1" timeOffset="-198828.26">18349 1376 0,'-13'-13'16,"13"-1"-16,-14 1 15,1 13-15,13-13 0,-13 13 16,0 0-16,-1 0 15,1 0-15,0 0 0,0 13 16,0 0-16,-14 1 0,14-1 0,-14 0 16,1 14-16,13-14 0,0 0 0,-1 13 15,14-12-15,-13-1 0,0 0 16,13 0-16,0 1 0,0-1 0,0 0 16,13 0-16,14-13 15,-14 0-15,0-13 16,0 0-16,0 13 0,14-13 0,-14-1 15,0-12-15,14 13 0,-14-1 0,13-12 16,-12 13-16,-14 0 16,13 13-16,-13-14 0,13 14 15,0 0-15,-13 14 0,14-1 16,-14 0 0,0 0-16,0 14 0,0-14 15,0 0-15,0 0 0,0 1 0,0-1 16,0 13-16,0-12 0,0-1 15,0 0-15,0 0 0,0 0 16,13-13-16,0 0 16,0 0-16</inkml:trace>
  <inkml:trace contextRef="#ctx0" brushRef="#br1" timeOffset="-198440.15">18693 1349 0,'13'-13'0,"-26"26"0,26-39 15,-26 39 17,0-13-32,-1 13 0,1-13 15,13 14-15,-13-14 0,0 13 0,-1-13 16,14 13-16,-13-13 0,0 13 15,13 1 1,13-14-16,-13 13 16,13-13-16,1 13 15,-1 0-15,0-13 16,-13 13-16,13 1 16,-13-1-16,0 0 15,-13 0 1,13 1-16,-13-14 0,0 13 15,-1-13-15,14 13 0,-13-13 16,0 0 0</inkml:trace>
  <inkml:trace contextRef="#ctx0" brushRef="#br1" timeOffset="-198207.08">19090 1416 0,'13'-14'0,"-26"28"0,39-28 0,-13 14 16,1 0-16,-1 0 0,0-13 15,0 13-15,1 0 16,-1 0-16,0 0 0,0 0 15,0-13-15,1 13 0,-1 0 0,0 0 16,0-13 0</inkml:trace>
  <inkml:trace contextRef="#ctx0" brushRef="#br1" timeOffset="-197927.84">19275 1177 0,'13'-13'32,"14"26"-17,-14 1 1,0-14-16,0 13 0,-13 0 0,14 0 16,-1 1-16,0-14 0,-13 13 0,13 0 15,-13 0-15,13 0 0,-13 1 16,0-1-16,0 0 0,0 0 15,-13-13-15,13 14 0,0-1 0,-13 13 16,0-12-16,0-1 16,13 0-16,-14-13 0</inkml:trace>
  <inkml:trace contextRef="#ctx0" brushRef="#br1" timeOffset="-197577.6">20135 1217 0,'-27'27'16,"14"-27"-16,0 13 0,-14 0 15,14 0-15,-27 14 16,40-14 0,-13-13-16,13 13 0,-13-13 0,13 13 15,0 1-15,0-1 16,13-13-16,0 0 16,1 13-16,-1-13 0,13 0 15,14 0-15,-27 0 0,14 0 16,-1 0-16,1 0 0,-1 0 15,1-13-15,-14 13 0,13 0 16,1 0-16,-14-13 0,0 13 0,0 0 0,1-14 16,-1 14-16,-13-13 0</inkml:trace>
  <inkml:trace contextRef="#ctx0" brushRef="#br1" timeOffset="-197347.17">20280 1124 0,'-13'14'15,"13"-1"1,0 0-16,-13 0 16,26 1-16,-13 12 0,0-13 0,0 40 15,0-26-15,13-1 0,-13-13 16,0 14-16,0-1 0,14-12 16,-14 12-16,0-13 0,0 0 0,0 14 15,13-1-15,-13-12 16,13-1-1,13-13 1,-26-13-16,27 13 0</inkml:trace>
  <inkml:trace contextRef="#ctx0" brushRef="#br1" timeOffset="-197010.45">20677 1138 0,'-53'0'16,"40"0"-16,-27 13 31,27-13-15,13 13-16,13 0 16,-13 1-16,14-1 0,-1 13 15,0-12 1,0-1-16,-13 0 0,14 0 15,-1 14-15,-13-14 16,0 0-16,-13 14 16,-1-14-16,1 0 15,-13 0-15,12 1 16,1-1-16,0-13 16,0 0-16,-1 0 0,1 0 15</inkml:trace>
  <inkml:trace contextRef="#ctx0" brushRef="#br1" timeOffset="-196307.15">20955 1151 0,'-13'13'32,"13"0"-32,-13 1 0,13-1 0,0 13 15,0-12-15,0 12 0,0-13 0,0 14 16,0-14-16,0 13 0,0-12 15,0 12-15,-14-13 0,14 1 16,0-1-16,0 0 0,0 0 0,0 0 16,0 1-16,0-1 0,-13-40 47,13 14-47,0 0 0,0-13 0,13-1 15,-13 1-15,0-1 0,0 1 16,14-1-16,-14 14 0,13-13 0,-13-1 15,13 14-15,0 0 0,-13-1 0,27-12 16,-14 26-16,0 0 16,0 0-16,1 0 15,-1 13-15,0-13 0,-13 13 16,13 1-16,1-1 0,-14 0 0,0 0 0,13 14 16,-13-14-16,0 0 0,-13 0 15,13 14-15,-14-14 0,14 14 16,-13-14-16,-13 13 0,12 1 0,-12-1 15,-1-13-15,1 14 0,0-14 0,-1 0 16,1 1-16,12-1 0,-12 0 16,13-13-16,-27 13 0,27-13 15,0 0-15,-1 0 0,1 0 0,13-13 16</inkml:trace>
  <inkml:trace contextRef="#ctx0" brushRef="#br1" timeOffset="-195503.17">22199 675 0,'0'-14'0,"0"1"16,0 0-1,0 0-15,-14 13 0,14-13 16,-13 13-16,0 0 16,0 0-16,-1 0 0,1 0 15,0 13-15,-14-13 0,14 13 0,-13 0 16,13 0-16,-14 1 0,14-1 15,0 0-15,-1 0 0,1 1 0,13 12 16,0-13-16,13 1 16,1-14-16,-1 0 15,0-14-15,0 14 0,14-13 16,-14 13-16,13-13 0,-12 0 16,-1-14-16,13 14 0,-12 0 0,-1-1 0,0 1 15,0 0-15,1 0 16,-1 13-1,-13 13-15,0 0 16,0 0-16,0 1 0,0-1 16,0 13-16,0-12 0,-13-1 15,13 13-15,0-12 0,0 12 0,-14-13 0,14 0 16,0 1-16,0-1 0,0 0 16,0 0-16,0 1 15,0-1-15,14-13 0,-1 0 16</inkml:trace>
  <inkml:trace contextRef="#ctx0" brushRef="#br1" timeOffset="-194950.41">22569 609 0,'-27'-14'16,"14"14"-16,-66 0 31,66 14-31,-1-14 0,-12 26 15,13-13-15,0 0 16,-1 1-16,14-1 0,-13 13 16,13-12-16,0-1 15,13-13-15,-13 13 0,14-13 16,-1 0-16,0 0 0,0 0 16,0 0-16,1 0 0,-1-13 0,0 0 15,14-1-15,-14 1 16,0 13-16,0-13 0,0 0 0,1 13 15,-1-14-15,-13 1 16,13 13-16,0 0 16,1 13-1,-14 1-15,0-1 16,0 0-16,0 14 16,0-14-16,0 0 0,0 14 15,0-14-15,0 0 16,0 0-16,0 0 0,0 1 15,0-1-15,0 0 0,0 0 16,13 1-16</inkml:trace>
  <inkml:trace contextRef="#ctx0" brushRef="#br1" timeOffset="-194747.57">22820 648 0,'-13'-13'15</inkml:trace>
  <inkml:trace contextRef="#ctx0" brushRef="#br1" timeOffset="-194305.98">22926 516 0,'13'-13'15,"1"13"1,-1 0-16,0 0 0,14 0 15,-14 13-15,0-13 16,0 0-16,0 0 16,1 13-16,-1-13 15,-13 13-15,0 1 0,13-14 16,-13 13-16,0 0 0,0 0 16,0 1-16,13-1 0,-13 0 0,0 0 15,0 0-15,0 1 0,0-1 0,0 0 16,0 14-16,0-1 15,0-13-15,-13 1 0,13-1 16,13 0-16,-13 0 0,0 0 16,14 1-1,-14-1 1</inkml:trace>
  <inkml:trace contextRef="#ctx0" brushRef="#br1" timeOffset="-194082.2">22953 794 0,'0'0'16,"13"-13"0,0 13-16,0 0 15,1 0-15,-1 0 16,0 0-16,0-14 0,0 14 15,1 0-15,12 0 0,-13 0 0,1-13 0,-1 13 16,0 0-16,0 0 0,1-13 16</inkml:trace>
  <inkml:trace contextRef="#ctx0" brushRef="#br1" timeOffset="-193758.12">23521 609 0,'27'-14'15,"-14"14"1,14 0-16,12 0 16,-12 0-16,12 0 15,-25 14-15,-1-14 0</inkml:trace>
  <inkml:trace contextRef="#ctx0" brushRef="#br1" timeOffset="-193574.02">23521 741 0,'0'0'15,"40"0"16,-27 0-15,1-13-16,12 13 0,-13 0 16,1 0-16,12 0 0,0 0 0,-12-14 0,12 14 15</inkml:trace>
  <inkml:trace contextRef="#ctx0" brushRef="#br1" timeOffset="-192982.43">24408 357 0,'0'-13'0,"13"13"15,-26 0-15,26 0 0,0 0 16,-39 0-16,-1 13 0,41-13 0,-28 0 0,1 13 15,0 1-15,-27 25 16,27-12-16,-13-1 0,12 1 0,-12 12 16,13-12-16,-1 13 15,14-27-15,0 13 16,27 1-16,-54-14 0,27 0 0,14-13 0,-14 13 16,39-13-16,14 0 0,-119 27 15,79-14-15,133-13 0,-252 13 0,199-13 16,-93 14-16,-40-14 0,53 0 0,27 0 15,-14 0-15,-65 0 0,52 0 16,0-14-16,0 14 0,-13-13 16,14 0-16,-14 0 15,0-1-15,-14 14 0,14-13 16,-13 13-16,13-13 0,-13 13 0,0-13 16,-1 13-16,1 0 0,0 0 15,0 0-15,-1 0 0,1 0 16,0 0-16,0 0 0,-14 13 15</inkml:trace>
  <inkml:trace contextRef="#ctx0" brushRef="#br1" timeOffset="-192818.68">24646 794 0,'13'0'16,"-26"0"-16,26-13 16</inkml:trace>
  <inkml:trace contextRef="#ctx0" brushRef="#br1" timeOffset="-184166.22">14751 10649 0,'26'-13'15,"-13"13"-15,0 0 16,1 0-16,-1 0 0,0 0 16,14 0-16,-14 0 0,0 0 0,13 0 15,-12 0-15,-1-13 0,0 13 0,0 13 16,1-13-16,-1 0 0</inkml:trace>
  <inkml:trace contextRef="#ctx0" brushRef="#br1" timeOffset="-183925.53">14737 10808 0,'53'0'31,"-40"0"-31,1 0 0,-1 0 16,0 0-16,0 0 0,14 0 15,-14 0-15,0 0 16,0 0 0,1 0-16,-1 0 15</inkml:trace>
  <inkml:trace contextRef="#ctx0" brushRef="#br1" timeOffset="-181943.39">16100 10425 0,'0'0'0,"-13"13"31,13 0-15,-14-13-16,14 13 0,0 1 0,0-1 15,0 0-15,0 13 0,0-12 16,0-1-16,0 0 0,0 0 0,0 1 16,0-1-16,0 0 0,14-13 0,-14 13 15,13 0-15,0 1 16,0-14-16,1 0 0,-1 0 15,0 0-15,0 0 0,0-14 16,1 14-16,-1 0 0,0-13 0,0 0 16,1 0-16,-14 0 0,13 13 15,-13-14-15,0 1 0,0 0 16,0 0-16,0-14 16,-13 14-16,13 0 0,-14 0 15,14-1-15,-13 14 0,0-13 16,0 0-16,-1 13 15,1 0-15,0 0 16,0 0-16,0 0 0,-1 0 16,14 13-16,-13-13 0,13 13 15</inkml:trace>
  <inkml:trace contextRef="#ctx0" brushRef="#br1" timeOffset="-181769.5">16404 10504 0</inkml:trace>
  <inkml:trace contextRef="#ctx0" brushRef="#br1" timeOffset="-181395.79">16616 10385 0,'-13'26'31,"13"-12"-31,-14-1 0,14 0 15,0 0-15,0 1 0,-13-1 16,13 0-16,0 0 0,0 0 16,-13 1-1,13-1-15,0 0 16,13-13 0</inkml:trace>
  <inkml:trace contextRef="#ctx0" brushRef="#br1" timeOffset="-180931.75">16828 10385 0,'-27'13'16,"14"-13"-16,-14 13 0,14-13 15,13 14-15,-13-14 16,0 0-16,13 13 0,-14-13 15,28 13 1,-1-13 0,0 0-16,0 13 0,1-13 15,-1 0-15,-13 14 16,13-14-16,-13 13 16,13-13-16,-13 13 15,-13 0-15,13 0 0,-13 1 16,0-1-1,-1-13-15,1 13 0,0 0 16,0-13-16,-1 0 0,14 14 0,-26-14 16,13 0-1,0 0 1</inkml:trace>
  <inkml:trace contextRef="#ctx0" brushRef="#br1" timeOffset="-180342.25">16920 10425 0,'0'0'0,"13"13"31,-13 0-15,0 0-16,-13 1 15,13-1 1,0 0 0,0 0-1,13-26 1,1 13-1,-1-13-15,0 13 0,-13-13 16,13 13-16,-13-14 0,13 14 16,1 0-16,-14-13 15,13 13-15,0 13 16,0-13-16,-13 14 16,14-14-1,-14 13-15,0 0 16,13 0-1,0-26 17,0 13-32,-13-13 15,14 13-15,-1 0 16,0 0 0,0 13-1,0-13-15,-13 13 16,14-13-1,-14 13-15,0 1 16,-14-14-16</inkml:trace>
  <inkml:trace contextRef="#ctx0" brushRef="#br1" timeOffset="-180091.55">16338 10835 0,'53'-27'31,"-27"27"-31,1 0 0,-1 0 16,27-13-16,-13 13 15,-14 0-15,1-13 0,13 13 0,-14 0 16,0 0-16,41-13 15,-54 13-15,13 0 0,-12 0 0,-1 0 16,0 0-16</inkml:trace>
  <inkml:trace contextRef="#ctx0" brushRef="#br1" timeOffset="-179913">16563 10874 0,'26'0'0,"-12"0"0,12 0 16,-13 0-16,1-13 0,12 13 16,14 0-16,-14-13 15,-13 13-15,27-13 0,-13 13 16,-14 0-16,0 0 0,0-14 16,0 14-16</inkml:trace>
  <inkml:trace contextRef="#ctx0" brushRef="#br1" timeOffset="-162801.4">423 7250 0,'-13'39'31,"13"-26"-31,0 1 0,0-1 16,-13 0-16,13 0 0,0 1 0,0-1 15,0 13-15,0-12 0,0-1 16,-13 0-16,13 13 0,0-12 0,0 12 16,-14-13-16,14 1 0,0 12 15,0-13-15,-13 14 0,13-14 0,0 13 16,-13 1-16,13-14 0,0 14 0,0-1 15,-13-13-15,13 14 0,0-14 16,0 27-16,0-14 16,0-13-16,0 27 0,0-13 0,0-14 15,0 13-15,0-13 0,0 14 16,0-14-16,0 14 0,0-14 16,0 0-16,0 13 0,0-12 0,0-1 0,13 13 15,-13-12-15,0-1 0,0 0 16,0 0-16,0 1 0,0-1 15,0 0-15,13 0 0,-13 0 16,0 1-16,0-1 16,0 0-16,0 0 0,0 1 15,0-1-15,0 13 16,0-12-16,13-1 16,-13 0-16,0 0 15,0 0-15,0 1 0,0-1 16,0 0-16,0 0 15,0 1-15,0-1 16,0 0-16,0 0 0,14 0 16,-14 1-16,0-1 0,0 0 15,0 0-15,0 1 0,0-1 0,0 0 16,13 0-16,-13 14 0,0-14 0,0 0 16,0 0-16,0 14 0,0-14 15,0 0-15,13 14 0,-13-14 16,0 14-16,0-14 0,0 0 0,0 13 15,0 1-15,0-14 0,0 14 0,0-14 16,0 13-16,0-12 0,0 12 0,0-13 16,0 14-16,0-14 0,0 27 15,0-14-15,0-13 0,0 14 0,-13-1 16,13-13-16,0 14 16,0-1-16,0 1 0,0-1 0,-13 1 15,13-1-15,0 1 0,0-1 0,0-13 16,0 14-16,-14-1 0,14 1 0,0-1 15,0 1-15,0-1 0,-13-13 16,13 14-16,0-1 0,0 1 0,0-1 16,0 1-16,-13-14 0,13 13 0,0-13 15,0 14-15,0-1 0,-13-12 16,13 12-16,0-13 0,0 14 16,0-14-16,0 13 0,0-12 0,0 12 15,-13-13-15,13 14 0,0-14 0,0 0 16,0 1-16,0-1 15,0 0-15,0 0 16,-14-39 15,14 13-15</inkml:trace>
  <inkml:trace contextRef="#ctx0" brushRef="#br1" timeOffset="-161523.43">106 9935 0,'13'0'46,"14"0"-30,-14 0-16,0 0 0,0 0 0,0 0 16,14 0-16,-1 0 0,-12 0 15,12 0-15,14 0 0,-14-13 0,1 13 16,12 0-16,-12 0 0,26 0 0,-14 0 16,14-13-16,-13 13 0,13 0 15,-13 0-15,13-14 0,-14 14 0,14 0 16,0 0-16,0-13 0,0 13 0,0 0 15,26-13-15,-13 13 0,0-13 16,1 13-16,-14-14 0,-1 14 16,1 0-16,0-13 0,0 13 0,0 0 15,0 0-15,-13-13 0,13 13 0,-14 0 16,1 0-16,0 0 0,-14 0 16,14 0-16,0 0 0,-14 0 0,0 0 15,14 0-15,13 0 0,-27 0 16,1 0-16,13 0 0,-27 0 15,27 0-15,-14 0 0,-13 0 16,27 0-16,-14 0 0,1 0 0,-1 0 16,1 0-16,-1 0 0,1 0 0,12 0 15,-12 0-15,-1 0 0,14 0 16,-14 0-16,14 0 0,-13 0 0,12-13 16,-12 13-16,12 0 0,-12 0 0,13 0 15,-1 0-15,-12 0 0,26 0 16,-14 0-16,1-13 0,13 13 0,-13 0 15,-1 0-15,1 0 0,0 0 0,-1 0 16,1 0-16,-14 0 0,14 0 0,0 0 16,0-14-16,-1 14 0,1 0 15,-14 0-15,14 0 0,-13 0 0,12 0 16,-12 0-16,12 0 0,-12-13 0,13 13 16,-14 0-16,14 0 0,-14 0 15,1 0-15,-1 0 0,-13 0 16,14-13-16,-1 13 0,1 0 0,-14 0 15,13 0-15,-12 0 0,25-13 16,-26 13-16,1 0 0,12 0 16,-13 0-16,14-14 0,-14 14 0,0 0 15,14 0-15,-14 0 0,13 0 0,-12 0 16,-1-13-16,13 13 0,-12 0 16,-1 0-16,0 0 0,14 0 0,-14-13 15,0 13-15,0 0 0,0 0 0,27 0 16,-27 0-16,1-13 0,-1 13 15,0 0-15,0 0 0,0 0 16,1 0-16,-1 0 0,0 0 16,0 0-16,1-13 0,-1 13 0,0 0 15,0 0-15,1 0 16,-1 0-16,0 0 0,0-14 16,0 14-16,1 0 0,-1 0 15,0 0-15,0 0 16,-13-13-16,14 13 15,-1 0-15,0 0 16,0 0 0,1 0-1,-1 0 1,-13-13 0</inkml:trace>
  <inkml:trace contextRef="#ctx0" brushRef="#br1" timeOffset="-158286.33">410 9909 0,'13'0'0,"1"-14"16,-1 14-16,0 0 16,0-13-16,0 13 15,-13-13-15,14 13 0,-1-13 16,0 13-16,0-14 0,14 1 15,-14 0-15,0 0 0,14-14 16,-14 27-16,13-26 16,-12 13-16,-1-1 0,0 1 0,0 0 15,1 0-15,-1 0 0,0-1 0,0-12 16,1 13-16,-1-1 16,0 1-16,-13 0 0,13 0 15,0-1-15,-13 1 0,14 0 0,-1 0 0,0-27 16,0 27-1,-13 0-15,14-1 0,-14 1 0,26-13 16,-13-1-16,0 14 16,1 0-16,-1-14 0,66-65 47,-52 52-47,-1 14 15,67-120 16,-80 133-31,0 0 16,1-14-16,118-171 63,-119 184-48,0 1-15,14-13 0,-14 13 16,0-1-16,0 1 0,14-13 15,-14 12-15,0-12 16,-13 13-16,14-1 0,-1 1 0,0-13 16,14-1-16,-27 14 15,13 0-15,0 0 0,-13-1 16,13 1-16,-13 0 0,13-13 0,1 12 16,-14 1-16,13 13 0,-13-13 15,13 0-15,-13-1 0,13 1 16,1 0-16,-1 0 0,-13-1 15,13 1-15,-13 0 0,13 0 0,0 0 16,-13-1-16,14 1 16,-1 0-16,-13 0 0,13-1 15,0 1-15,-13 0 16,14 0-16,-14-1 0,13 1 16,0 0-16,0 0 15,1 0-15,-14-1 16,13 14-16,-13-13 0,13 13 15,-13-13-15,13 0 16,0-1-16,1 1 16,-14 0-16,13 13 15,-13-13-15,13 13 0,-13-13 16,13 13-16,-13-14 0,14 14 16,-14-13-16,13 13 0,0-13 15,0 0-15,1-1 16,-1 14-16,-13-13 15,13 13-15,-13-13 0,13 13 16,0-13-16,1 13 16,-1-14-16,-13 1 15,13 13-15,0-13 16,1 13-16,-1-13 16,0 0-1,0 13-15,0-14 16,1 14-16,-14-13 15,13 13-15,0 0 0,0-13 16,1 13 0,-1-13-16,0 13 0,0 0 15,1-14-15,-1 14 16,0 0-16,0-13 16,0 13-16,1 0 15,-1 0 1,0 0-16,0-13 15,1 13-15,-1 0 16,0 13-16,0-13 0,1 0 16,-1 0-16,0 0 15,0 0-15,0 0 0,-13 13 16,14-13-16,-1 0 0,0 0 16,-13 14-16,13-14 0,1 0 15,-14 13-15,13 0 16,0-13-1,0 13-15,1 1 16,-1-14-16,-13 13 16,13-13-16,-13 13 0,13-13 15,-13 13-15,13-13 16,-13 13-16,14-13 0,-14 14 16,13-1-16,-13 0 31,13-13-31,-13 13 0,13 1 0,-13-1 15,14 0-15,-14 0 0,0 1 16,13-14-16,-13 13 16,0 0-16,13 0 0,-13 0 15,13 1-15,-13-1 0,0 0 16,14 0-16,-14 1 0,13-1 16,0 0-16,-13 0 15,13 0-15,-13 1 0,0-1 0,13 0 16,-13 0-16,14 1 0,-1 12 0,0 1 15,0-14 1,-13 0-16,14 13 16,-1 1-16,-13-14 0,13 0 15,0 1-15,0 12 0,1-13 16,-1 1-16,-13-1 16,26 13-16,-12-13 15,-14 1-15,13-1 0,0 0 16,-13 0-16,13 1 0,1-1 15,12 13-15,-26-13 16,13 1-16,0-1 0,1 0 16,-1 0-16,0 1 0,0-1 15,1-13-15,12 26 0,-13-12 16,1-14-16,-1 13 0,0 0 16,0-13-16,14 26 0,-14-12 15,0-1-15,14 0 16,-14-13-16,0 13 0,0 1 15,0-1-15,14 0 16,-1 14-16,-12-27 0,12 26 16,-13-26-16,40 40 15,-13-27 1,0 13 0,-27-26-16,79 53 31,-52-39-31,-27-1 15,40 13-15,-39-13 16,52 14 0,-13-1-1,-14-12-15,-12-1 16,-1 0 0,14 0-16,0 14 15,12-1 1,1-13-1,-39 1 1,-1-14-16,27 13 0,-1 0 16,1 0-1,-27 1-15,14-1 0,-1 0 16,1 0-16,12 0 16,27 27-1,-13-13 1,-26-14-16,-1 0 0,14 14 15,-14-14-15,40 13 16,-26-13-16,-27 1 16,1-14-16,-1 0 0,-13 13 15,-13-13 1,-1 0-16,-12 0 16,-1 0-16</inkml:trace>
  <inkml:trace contextRef="#ctx0" brushRef="#br1" timeOffset="-157171.36">2487 9684 0,'-13'26'31,"13"-13"-31,0 1 0,13-1 16,-13 0-16,0 0 0,0 1 15,0-1-15,0 13 0,0-13 16,0 14-16,0-14 0,0 0 0,0 27 16,-13-13-16,13-14 0,0 0 15,0 0-15,0 0 0,0 1 16,0-1-16,0 0 0,0 0 0,0 1 15,0-1-15,0 0 16,0 0 0,13-39 15</inkml:trace>
  <inkml:trace contextRef="#ctx0" brushRef="#br1" timeOffset="-156466.12">2262 10398 0,'0'40'31,"0"-14"-15,0-12-16,0-1 0,0 0 16,0 13-16,0-12 0,0-1 0,-13 13 15,13-12-15,0-1 0,-13 0 16,13 13-16,0-12 0,-14-1 15,14 0-15,0 0 16</inkml:trace>
  <inkml:trace contextRef="#ctx0" brushRef="#br1" timeOffset="-156305.39">2408 10570 0,'-14'-13'31</inkml:trace>
  <inkml:trace contextRef="#ctx0" brushRef="#br1" timeOffset="-155947.78">2646 10438 0,'-13'13'31,"-1"0"-31,1-13 15,0 14-15,13-1 0,-13 0 0,-1-13 16,1 13-16,0 0 0,0 1 16,0-1-1,13 0 1,13-13 0,0 13-1,0-13-15,0 0 0,1 0 16,-1 0-16,0 0 0,0 0 15,1 0-15,-1 0 0,0 0 16,0 0-16,1-13 0,-1 13 16,0 0-16,0-13 15</inkml:trace>
  <inkml:trace contextRef="#ctx0" brushRef="#br1" timeOffset="-155724.21">2725 10464 0,'-13'0'16,"0"14"-16,13-1 15,0 0-15,-13-13 0,13 13 0,0 14 16,0-14-16,-14 0 0,14 14 16,0-14-16,-13 0 0,13 27 15,0-27-15,0 0 0,0 0 16,-13 1-16,13-1 0,0 0 0,0 0 15</inkml:trace>
  <inkml:trace contextRef="#ctx0" brushRef="#br1" timeOffset="-155113.54">2871 10464 0,'0'27'31,"0"-14"-31,-13-13 16,13 13-16,0 0 16,0 1-16,-14-14 15,14 13 1,27-40 15,-14 27-15,-13-13-16,13 13 0,0-13 15,1 13 1,-1 0 0,0 0-1,-13 13-15,0 0 16,0 1 0,13-1-1,1-40 16,-1 14-15,-13 0-16,13 13 16,0 0-1,0 0-15,1 0 16,-1 0 0,-13 13-16,0 0 31</inkml:trace>
  <inkml:trace contextRef="#ctx0" brushRef="#br1" timeOffset="-148423.21">3413 9776 0,'0'-13'78,"-13"26"-15,13 1-48,0-1-15,0 0 16,0 0-16,0 0 0,0 1 0,-13-14 15,13 13-15,0 0 0,0 0 0,0 1 16,-14-1-16,14 0 0,0 0 16,0 1-16,-13-14 15,26 13-15,-13 0 16</inkml:trace>
  <inkml:trace contextRef="#ctx0" brushRef="#br1" timeOffset="-147447.43">3307 10332 0,'14'13'47,"-14"0"-47,0 1 16,0-1 0,0 0-16,0 14 15,0-14-15,0 0 16,0 0-1,0 1-15,0-1 16,-14-13-16</inkml:trace>
  <inkml:trace contextRef="#ctx0" brushRef="#br1" timeOffset="-147286.68">3453 10425 0,'13'0'16</inkml:trace>
  <inkml:trace contextRef="#ctx0" brushRef="#br1" timeOffset="-146607.75">3612 10345 0,'13'0'15,"-13"-13"-15,13 13 16,-26 13 31,0-13-32,-1 0-15,14 13 16,-13-13-16,0 0 0,13 14 16,-13-14-16,13 13 15,0 0 17,13-13-32,0 0 15,-13 13-15,13-13 16,1 14-16,-1-14 15,-13 13-15,0 0 32,0 0-17,0 1-15,-13-14 16,-1 0-16,14 13 16,-13-13-16,0 0 15,0 0 1</inkml:trace>
  <inkml:trace contextRef="#ctx0" brushRef="#br1" timeOffset="-146179.86">3744 10358 0,'0'14'0,"-13"-14"16,-1 0-16,14 13 15,-13-13-15,26 13 32,1 0-17,-1-13 1,0 14 0,0-1-1,1-13 1,-14 13-1,-14 0 1,1 1 0,0-14-16,0 0 15,-1 0 1</inkml:trace>
  <inkml:trace contextRef="#ctx0" brushRef="#br1" timeOffset="-144318.36">3254 9525 0,'0'26'63,"0"-12"-63,0-1 15,-13 0-15,13 0 16,0 1-16,0-1 15,0 0 1,-13-13-16,13 13 16</inkml:trace>
  <inkml:trace contextRef="#ctx0" brushRef="#br1" timeOffset="-143898.4">3413 9538 0,'-13'0'15,"-14"13"1,14 1 0,26-1 15,1-13-15,-1 13-16,0-13 15,-13 13-15,13-13 0,1 14 16,-1-1-1,-13 0 1,-13 0 0,-1 1-1,1-1 1,0-13 0,0 0-1</inkml:trace>
  <inkml:trace contextRef="#ctx0" brushRef="#br1" timeOffset="-143355.5">3559 9565 0,'0'26'32,"0"-13"-17,0 1 1,0-1 0,0-40 62,0 14-78,0 0 15,0 0-15,13 13 0,-13-14 16,0 1-16,13 0 16,-13 0-1,13 13-15,-13-13 16,14 13-16,12 13 15,-13-13 1,-13 13-16,13-13 0,-13 13 16,14-13-16,-14 13 15,0 1-15,-14-1 16,14 0-16,-13 0 16,0-13-1,13 14-15,-13-14 0,0 0 0,13 13 16,-14-13-16,1 0 15,0 0-15</inkml:trace>
  <inkml:trace contextRef="#ctx0" brushRef="#br1" timeOffset="-139334.47">1826 9697 0,'0'26'125,"0"-12"-109,0-1 0,0 0-16,-14 0 15,14 1-15,0-1 16,0 0 0,0 0-16,0 0 0,0 1 15,0-1-15,0 0 31,0 0-15</inkml:trace>
  <inkml:trace contextRef="#ctx0" brushRef="#br1" timeOffset="-137291.49">1601 10372 0,'0'13'32,"0"0"-17,0 0-15,0 1 16,0-1-16,0 0 15,0 0-15,0 1 0,-13-1 16,13 0-16,0 0 0,0 14 16,-14-27-1,14 13-15</inkml:trace>
  <inkml:trace contextRef="#ctx0" brushRef="#br1" timeOffset="-137135.18">1707 10464 0</inkml:trace>
  <inkml:trace contextRef="#ctx0" brushRef="#br1" timeOffset="-136629.39">1826 10319 0,'26'13'31,"-26"0"-16,0 0 1,0 1-16,0-1 0,0 0 16,0 0-1,0 1 1,13-14 15,1 0-31,-14 13 16,13-13-16,0 0 15,-13 13-15,0 0 16,13 1 0,-26-1-1,13 0-15,-13 0 0,0 0 16,-1-13 0,1 0-16,0 0 15,0 0 1</inkml:trace>
  <inkml:trace contextRef="#ctx0" brushRef="#br1" timeOffset="-136175.3">2103 10319 0,'-13'0'16,"0"13"-16,0-13 15,0 0-15,13 13 0,-14-13 0,1 0 16,0 13-16,0 1 31,26-14-15,0 13-16,0 0 16,1-13-1,-14 13-15,13 1 0,0-1 16,-13 0-1,-13 0 1,0 1 0,-1-1-16,1-13 0,0 0 15,13 13-15,-13-13 16,-1 13-16</inkml:trace>
  <inkml:trace contextRef="#ctx0" brushRef="#br1" timeOffset="-134267.47">1786 10358 0,'13'-26'156,"0"13"-125,1 13-15,-1 0-1,0 0 1,0 0-16,1 13 16,-1-13-1,-13 13-15,13 0 16,-13 1-16,0-1 16,-13 0-1,13 0-15,0 1 16,-13-1-16,13 0 15,-14 0 1,14 1-16,-13-14 0,0 13 16,0 0-1,-1 0-15,1 0 32,0 1-17,0-1 32,26 0 141,0-13-173,0 0-15,1 0 16,-1 0-16,0 0 15,0 0-15,1 0 16,-1 0 0,0 13-16,0-13 15,0 0 17,1 0-17</inkml:trace>
  <inkml:trace contextRef="#ctx0" brushRef="#br1" timeOffset="-130871.46">4260 9737 0,'0'26'63,"0"-13"-63,0 1 0,0-1 15,-13-13-15,13 13 0,0 0 16,0 0-16,0 1 0,0-1 16,-14 0-16,14 0 15,0 1-15,0-1 31,14-40 16,-14 14-47,0 0 0,0 0 16,0-1-16,0 1 16,0 0-16,13 0 0,-13 0 15,0-1-15,0 1 16,0 0-16,13 13 15,-13 26 17,-13-26-17,13 14-15,0-1 0,0 0 0,0 0 16,0 0-16,-13 1 0,13-1 16,0 0-16,0 0 15,0 1 1,0-1-16,0-40 47,0 1-32,0 13-15,0-1 0,0 1 16,0 0 0,0 0-16,13 13 15</inkml:trace>
  <inkml:trace contextRef="#ctx0" brushRef="#br1" timeOffset="-128750.34">4101 10332 0,'13'13'16,"-13"0"0,0 1-16,14-14 15,-14 13-15,0 0 0,0 0 16,0 1-16,0-1 16,0 0-1,0 0-15,-14-13 16,14 14-16</inkml:trace>
  <inkml:trace contextRef="#ctx0" brushRef="#br1" timeOffset="-128603.08">4220 10411 0</inkml:trace>
  <inkml:trace contextRef="#ctx0" brushRef="#br1" timeOffset="-127962.49">4313 10306 0,'26'0'63,"-13"0"-48,1 0 1,-1 0-1,0 0-15,-13 13 16,0 0 0,13 0-1,-13 0-15,0 1 0,0-1 16,0 0 0,-13 0-16,13 1 15,0-1-15,0 0 16,0 0-16,0 1 15,0-1 1,13-13 0</inkml:trace>
  <inkml:trace contextRef="#ctx0" brushRef="#br1" timeOffset="-125475.35">4934 9697 0,'-13'26'47,"13"-12"-32,0-1-15,0 0 0,-13 0 0,13 1 16,0-1-16,0 0 16,0 0-16,0 0 0,0 1 0,-13-1 15,13 0-15,0 0 0,0 1 0,0-1 16,0 0-16,0 0 15,0 1 1</inkml:trace>
  <inkml:trace contextRef="#ctx0" brushRef="#br1" timeOffset="-124541.61">4882 10306 0,'0'26'31,"0"-13"-31,-14 0 16,14 1-16,0-1 16,0 0-16,0 0 0,-13 1 15,13-1-15,0 0 0,0 0 16</inkml:trace>
  <inkml:trace contextRef="#ctx0" brushRef="#br1" timeOffset="-124400.52">4987 10385 0,'0'-13'32,"14"13"-32</inkml:trace>
  <inkml:trace contextRef="#ctx0" brushRef="#br1" timeOffset="-123803.43">5120 10292 0,'-14'0'15,"1"0"-15,0 0 16,13 14-16,13-1 31,0 0-31,1 0 16,-1 0-16,-13 1 15,13-1-15,-13 0 16,0 0-16,0 1 16,-13-1-16,13 0 0,-13-13 15,13 13-15,-14-13 0,1 14 16,0-14-1,13-14 17,0 1-32,13 13 15,-13-13-15,13 13 0,1-13 16,-14-1-16,13 14 0,0-13 0,0 13 0,-13-13 16,14 0-16,-1 13 15,-13-14-15,13 1 0,-13 0 16,0 0-16,0 0 15,0-1-15,-13 1 16,0 13 0,-1 0-1,1 0 1</inkml:trace>
  <inkml:trace contextRef="#ctx0" brushRef="#br1" timeOffset="-123335.27">5424 10266 0,'0'0'15,"-26"13"17,12 0-32,1-13 15,0 14-15,0-1 16,-1-13-1,28 13 1,-14 0 0,13-13-16,0 0 15,-13 13-15,13-13 0,1 14 16,-1-14 0,-13 13-16,0 0 15,0 0 1,-13 1-16,-1-1 15,1-13-15,0 13 0,-14-13 0,14 13 16,-13 1-16,-1-1 0,1-13 0,-14 13 16,0 0-16</inkml:trace>
  <inkml:trace contextRef="#ctx0" brushRef="#br1" timeOffset="-121661.31">1217 9829 0,'0'13'16,"0"1"-16,0-1 0,-13 27 15,13-27 1,0 0-16,-13 0 0,13 1 16</inkml:trace>
  <inkml:trace contextRef="#ctx0" brushRef="#br1" timeOffset="-120329.11">979 10478 0,'0'13'31,"0"0"-15,13-13-16,-13 13 0,0 0 16,0 1-16,0-1 0,0 0 15,0 0-15,0 1 0,0-1 16,-13 0-16,13 0 0,0 0 15,0 1-15,0-1 0,0 0 16,0 0 0,0 1-16</inkml:trace>
  <inkml:trace contextRef="#ctx0" brushRef="#br1" timeOffset="-120168.21">1111 10623 0,'13'0'32</inkml:trace>
  <inkml:trace contextRef="#ctx0" brushRef="#br1" timeOffset="-116818.24">1230 10517 0,'14'13'31,"-14"1"-16,0-1-15,0 13 16,0-12-16,0-1 16,0 0-16,0 0 0,13 0 15</inkml:trace>
  <inkml:trace contextRef="#ctx0" brushRef="#br1" timeOffset="-110198.04">503 9895 0,'0'40'31,"0"-27"-31,0 1 0,0-1 16,-14 0-16,14 0 15,0 0-15,0 1 0,0-1 16,0 0-16,0 0 0,0 1 0,0-1 16,0 0-1</inkml:trace>
  <inkml:trace contextRef="#ctx0" brushRef="#br1" timeOffset="-109410.77">185 10464 0,'-26'14'32,"26"-1"-32,0 0 0,-13 0 15,13 0-15,0 1 16,0-1-16,0 0 0,0 0 15,13 1-15,-13-1 16,13-13-16,-13 13 0,13-13 16,-13 13-16,13-13 15,1 0-15,-1 0 16,0-13-16,0 0 16,-13 0-1,0-1 1,0-12-1,-13 13-15,13-1 16,0 1-16,-13 13 16,13-13-16,-13 13 0,13-13 15,-14 13-15,1 13 32</inkml:trace>
  <inkml:trace contextRef="#ctx0" brushRef="#br1" timeOffset="-109263.52">318 10504 0</inkml:trace>
  <inkml:trace contextRef="#ctx0" brushRef="#br1" timeOffset="-108734.39">516 10425 0,'-27'0'31,"14"0"-31,13 13 0,-13-13 16,0 13-16,0-13 0,13 13 15,-14 1-15,1-14 0,13 13 0,-13-13 16,0 13-16,13 0 0,-14 0 16,28 1-1,-1-14 1,0-14 0,0 14-1,-13-13-15,14 13 0,-1-13 16,0 0-1,0 13 1,-13 13 0,0 0-16,13-13 15,-13 13-15,0 1 0,0-1 16,-13 0-16,13 0 16,0 1-16,0-1 15,0 0-15,0 0 16,0 0-1</inkml:trace>
  <inkml:trace contextRef="#ctx0" brushRef="#br1" timeOffset="-108298.23">688 10478 0,'-13'0'0,"-40"13"15,40 0 1,-1-13-16,1 13 16,0-13-1,13 13 1,13 1 0,-13-1-1,13-13-15,-13 13 16,0 0-16,14-13 15,-28 14 1,14-1-16,0 0 16,-13-13-16,0 13 15,0-13-15,-1 13 16</inkml:trace>
  <inkml:trace contextRef="#ctx0" brushRef="#br1" timeOffset="-98607.72">13322 2593 0,'-13'0'0,"-1"0"16,54 0 0,-14 13-16,-12-13 15,12 0-15,1 0 0,-1 0 0,14-13 16,-1 13-16,14 0 0,0 0 0,0 0 16,-13 0-16,13 0 0,-14-13 15,-12 13-15,13 0 0,-14 0 0,1 0 16,-14 0-16,26 0 0,-25 0 15,-1 0-15,0 0 16</inkml:trace>
  <inkml:trace contextRef="#ctx0" brushRef="#br1" timeOffset="-98275.55">13481 2725 0,'39'0'15,"-26"0"-15,1 0 0,12 0 16,-13 0-16,1 0 16,12 0-16,0 0 0,1 0 0,-14 0 0,14-13 15,-1 13-15,1 0 0,-14 0 0,13 0 16,-13 0-16,14-13 15,-14 13-15,0 0 0,1 0 0,-1 0 16,0 0-16,0 0 16,1 0-1,-1 0-15,-13 13 16,13-13-16,0 0 0,0 13 16,1-13-16</inkml:trace>
  <inkml:trace contextRef="#ctx0" brushRef="#br1" timeOffset="-97626.27">15862 2566 0,'0'0'0,"26"0"31,1 0-31,-14 0 0,13 0 15,14-13-15,-13 13 0,25 0 16,1 0-16,-13 0 0,-14 0 16,27 0-16,-13 0 0,13 0 0,-13 0 15,-14 0-15,14 0 0,-14 0 0,1 0 16,-1 0-16,1 0 0,-14 0 16,0 0-16,14 0 0,-14 0 0,0 13 15,0-13-15</inkml:trace>
  <inkml:trace contextRef="#ctx0" brushRef="#br1" timeOffset="-97174.29">15875 2686 0,'26'0'32,"1"0"-32,-14 0 0,14 0 0,-1 0 15,1 0-15,-1 0 0,14 0 16,-14 0-16,14 0 0,-14 0 16,14 0-16,-14 0 0,14 0 0,-13 0 0,12 0 15,-12 0-15,-1 0 16,1 0-16,-1 0 0,-13 0 0,1 0 15,12 0-15,-13 0 0,0 0 0,1 0 16,-1 0-16,0 0 16,0 0-16,1-14 15,-1 14-15,0 0 16,0-13 15,1 0 16,-1 26 0</inkml:trace>
  <inkml:trace contextRef="#ctx0" brushRef="#br1" timeOffset="-93046.35">13084 3334 0,'-14'0'0,"67"0"32,-26-13-32,12 13 0,-12 0 0,26 0 15,-13-14-15,-1 14 0,1 0 16,0-13-16,-14 13 0,14 0 15,-14 0-15,1 0 0,12-13 0,-12 13 0,-1 0 16,1 0-16,-14 0 0,13 0 0,-12 0 16,-1 0-16,0 0 0,0 0 15,1-13-15,-1 13 0</inkml:trace>
  <inkml:trace contextRef="#ctx0" brushRef="#br1" timeOffset="-92742.57">13044 3440 0,'-13'0'0,"39"0"31,1 0-31,-14 0 0,27 0 0,-1 0 15,14-14-15,0 14 0,-13-13 0,13 13 16,0-13-16,0 13 0,-1-13 16,1 13-16,-13 0 0,13-14 0,-27 14 15,14 0-15,-13-13 0,-14 13 0,13 0 16,-13 0-16,1 0 0,-1 0 16,0 0-16</inkml:trace>
  <inkml:trace contextRef="#ctx0" brushRef="#br1" timeOffset="-92295.41">13626 3585 0,'13'13'0,"-13"1"16,13-1-16,-13 0 0,0 13 0,14 14 15,-1 0-15,-13 0 0,13 12 0,14 15 16,-14-14-16,0-1 0,14 15 16,-14-14-16,13-1 0,-13 1 0,14 0 15,-14 0-15,0-13 0,14 0 0,-14-1 16,0 1-16,1-14 0,-1 1 16,-13-1-16,13-12 0,-13-1 0,13 0 15,-13 0-15,13 0 0,-13 1 0,0-1 16,14 0-1,-41-26 48,14 13-63</inkml:trace>
  <inkml:trace contextRef="#ctx0" brushRef="#br1" timeOffset="-91910.43">13705 4604 0,'14'13'31,"-1"0"-15,0 0-16,0-13 0,1 14 15,-1-1-15,0 0 0,0-13 0,0 13 16,1 1-16,25-1 0,-25 0 16,-1 0-16,0-13 0,0 0 15,-13 13-15,14-13 0,-1 0 0,0 14 16,13-28-16,-12 14 15,-1-13-15,0 0 0,0 0 16,1 0-16,-1-1 0,0-12 16,0 13-16,1-1 0,-1 1 0,0-13 15,0 13-15,0-1 0,-13 1 0,14 0 16,-14 0-16,0-1 0,13 1 16,-13 0-16,-13 0 0</inkml:trace>
  <inkml:trace contextRef="#ctx0" brushRef="#br1" timeOffset="-73663.36">17066 3426 0,'0'14'16,"0"-1"-16,0 0 15,0 0-15,0 0 0,0 14 16,0-14-16,-14 14 0,14-1 0,0 14 15,0-1-15,-13 1 0,13 0 0,0 13 16,0 0-16,-13 13 0,0 66 16,13-79-16,0 13 0,-14 14 15,14-14-15,-13 0 0,13 0 16,0 0-16,-13 14 0,13-14 0,-13 0 16,13 0-16,-13 0 0,13 13 0,-14-12 15,14 12-15,-13-13 0,0 0 0,13 14 16,-13-14-16,-1 13 0,1-13 15,13 0-15,-13 14 0,13-14 0,-13 0 16,0 14-16,13-14 0,-14 0 0,14 0 16,-13 0-16,13 0 0,-13-13 15,0 13-15,-1 0 0,14-13 16,-13 14-16,0-15 0,0 15 0,-1-14 16,1 13-16,0-13 0,0-1 0,0 15 15,-1-14-15,1 13 0,0-13 16,0 13-16,13 0 0,-14-13 0,1 13 15,0-13-15,0 0 0,-1 0 0,1 0 16,0 0-16,0-1 0,0 1 0,-1 0 16,1-13-16,13 0 0,-13-1 15,0 1-15,-1 13 0,14-13 16,-26 39-16,26-39 0,-13-1 0,13-12 16,-14 13-16,14-1 0,-13-12 0,13-1 15,0 1-15,0-1 16,-13 1-16,13-1 0,0-13 0,0 14 15,-13-1-15,13-13 0,0 14 0,0-14 16,-13 0-16,13 14 0,0-14 0,0 0 16,-14 0-16,14 1 15,0-1-15,0 0 16,-13 0-16,13 1 16,0-1-16,0 0 0,-13 0 15,13 0-15,0 1 0,0-1 16,-13 0-16,13 0 0,0 1 15,0-1-15,-14 0 0,14 0 16,0 1-16,-13-41 47,13 14-47,0 0 16,0-1-16</inkml:trace>
  <inkml:trace contextRef="#ctx0" brushRef="#br1" timeOffset="-73187.48">16100 8506 0,'13'14'47,"-13"-1"-47,0 0 0,0 0 16,0 0-16,0 1 0,13-1 0,-13 0 15,0 0-15,0 1 0,0-1 16,0 0-16,0 0 0,14-13 16,-14 14-16,13-1 0,0-13 15,13 0 1,-12 0-16,-1 0 0,0 0 16,14-13-16,-14 13 0,13-14 0,1 14 15,-1-13-15,1 0 0,12 0 0,-12 13 16,-1-14-16,1 1 15,-14 13-15,13-13 0,1 0 0,-14 13 16,0-14-16,14 1 0,-14 13 0,0-13 0,1 0 16,-1 0-16,0-1 15,0 14-15,-13-13 0</inkml:trace>
  <inkml:trace contextRef="#ctx0" brushRef="#br0" timeOffset="-64983.13">8705 5120 0,'-13'26'16,"13"1"-16,-27 158 15,14-106-15,13 14 0,-13 13 0,13-1 16,0-12-16,-14 13 0,14-14 0,0-12 16,-13 12-16,13-12 0,0-1 15,0 1-15,0-1 0,0-13 0,0-13 16,-13-13-16,13 13 0,0-14 16,0-12-16,0-1 0,0-13 0,0 1 15,-13-1-15,13-26 16,-14-1-16,14-12 15,0-14-15,0 1 0,0-1 0</inkml:trace>
  <inkml:trace contextRef="#ctx0" brushRef="#br0" timeOffset="-63342.26">8401 5212 0,'13'0'16,"-26"0"-16,39 0 0,0-13 15,-12 13-15,-1 0 0,0 0 16,14 0-16,-1 0 0,0 0 0,1 0 16,13 0-16,-1-13 0,14 13 15,-13 0-15,13 0 0,0-13 16,0 13-16,13-14 0,0 1 0,13 13 16,-12-13-16,-1 13 0,0-13 0,0 13 15,13-14-15,-13 1 0,1 13 16,12-13-16,-13 13 0,0-13 0,14 13 15,-14-13-15,0 13 0,13-14 0,-13 14 16,14-13-16,-1 0 0,1 13 16,-14 0-16,13-13 0,0 13 0,1-14 15,-14 14-15,13-13 0,1 13 0,-1-13 16,-13 13-16,14 0 0,-1 0 0,-13-13 16,14 13-16,-1 0 15,-13-14-15,0 14 0,0 0 0,14 0 16,-14 0-16,-13-13 0,13 13 0,0 0 15,13 0-15,-26 0 0,14-13 16,-1 13-16,13 0 0,0 0 0,-12 0 16,-15 0-16,15-13 0,-1 13 0,0 0 15,13 0-15,-13-13 0,14 13 16,-14 0-16,0-14 0,0 14 0,0 0 16,1-13-16,-1 13 0,-13 0 0,13 0 15,-13-13-15,13 13 0,13 0 16,-13 0-16,0-13 0,-13 13 15,14 0-15,-15 0 0,15-14 0,-1 14 16,-13 0-16,13-13 0,0 13 0,-13 0 16,0 0-16,0-13 0,0 13 15,0 0-15,-1 0 0,-12 0 0,0-13 16,-14 13-16,1 0 0,-1 0 0,1 0 16,-1 0-16,-13 0 0,1 0 0,12-14 15,-13 14-15,0 0 0,1 0 16,-1 0-16,13 0 15,-12 0-15,-1 0 16,0 14 0,0-14-16,1 0 15,-14 13-15,13-13 0,-13 13 16,13-13-16,0 13 0,-13 1 0,13-14 16,1 26-16,-1-13 0,0 14 15,14-1-15,-14 14 0,0 0 0,0-1 16,1 1-16,-14 13 0,13 0 0,-13 0 15,0 13-15,0-13 0,0 13 16,0 0-16,13 0 0,-13-13 0,13 13 16,-13-13-16,13 0 0,-13 0 0,14-13 15,-1 13-15,-13-14 0,13 1 0,0 0 16,-13-1-16,14 1 16,-1-13-16,-13 12 0,13-26 0,-13 14 15,0-1-15,13-12 0,-13 12 0,0-13 16,0 1-16,14 12 0,-14-13 15,0 0-15,0 1 0,0-1 0,13-13 16,-13 13-16,0 0 0,0 1 16,0-1-16,-13 0 15,13 0 1,-14-13-16,1 0 0,0 14 16,-14-14-16,1 13 0,-1-13 15,-12 13-15,-1-13 0,-13 13 0,0-13 16,-13 0-16,0 13 0,-13-13 15,-1 14-15,1-14 0,-1 0 0,-12 13 16,12-13-16,-25 13 0,-28-13 0,28 13 16,-28-13-16,1 14 0,-14-1 15,1-13-15,-1 13 0,1 0 0,-1-13 16,1 14-16,-1-1 0,1 0 0,-14 0 16,13-13-16,1 13 0,-14-13 0,14 14 15,-1-14-15,1 13 0,-1-13 16,14 0-16,-14 0 0,1 13 0,13-13 15,-14 13-15,14-13 0,-1 14 0,-12-1 16,13-13-16,13 13 0,13 0 16,-13 0-16,13-13 0,-13 14 15,13-1-15,13-13 0,1 13 0,-1-13 16,1 13-16,12-13 0,1 14 0,-14-14 16,27 13-16,-13-13 0,-1 13 15,27-13-15,0 0 0,0 13 0,1-13 16,12 0-16,0 14 0,1-14 0,12 0 15,1 0-15,12 0 0,-12 13 0,13-13 16,-1 0-16,1 0 0,0 0 16,0 0-16,0 13 0,-1-13 15,1 0 1,13 13-16,-13-13 16,0 13 15,26-26 125,-13 0-156</inkml:trace>
  <inkml:trace contextRef="#ctx0" brushRef="#br0" timeOffset="-61738.93">15796 5675 0,'13'0'16,"-26"-26"15,13 13-31,-14-1 16,14 1-16,-13 0 0,0 0 0,0-14 15,-1 1-15,1-14 0,0 14 16,0-14-16,-14 0 0,27 1 0,-26-1 15,26 0-15,-13 14 0,-1-14 16,1 14-16,13 12 0,-13 1 0,13-13 0,-13 12 16,13 1-1,26 26 1,-13 1 0,1-1-16,-1 0 0,13 14 15,-12-1-15,12-13 0,0 14 0,1-1 16,-14 1-16,14-14 0,-14 13 15,13-12-15,-12-1 0,-1 0 0,0 0 16,0 1-16,0-1 16,-13 0-16,0 0 15,-13-13-15,13 13 16,-13-13-16,0 0 16,0 14-16,-14-14 0,14 0 0,-14 13 15,14-13-15,-13 0 0,-1 0 0,14 13 16,-13-13-16,-1 0 0,14 0 0,0 0 15,-1 13-15,1-13 0,0 0 16,0-13-16,13 0 16,0 0-1,13-1-15,0-12 0,14 0 16,-1-1-16,1 1 0,-1-1 16,0 1-16,1-1 0,-1 1 0,1-1 15,-1 14-15,1 0 0,-14 0 0,0-1 0,0 1 16,1 13-16,-1 0 15,-13 13 1,0 1-16,-13 12 0,13 1 0,-14 12 16,-12-12-16,13 12 0,0 1 0,-1 0 15,-12-1-15,13 1 0,-1 0 16,-12-14-16,13 14 0,-1-14 0,1 1 16,0-1-16,13-12 0,-13-1 0,13 13 15,0-13-15,-13-13 0,13 14 16,13-1-1</inkml:trace>
  <inkml:trace contextRef="#ctx0" brushRef="#br0" timeOffset="87083">6773 2593 0,'14'0'78,"65"0"-62,27 0-16,158 0 0,-92 0 15,93 0-15,92 0 16,14 0-16,131 0 16,-237 13-16,-133-13 15,0 13 1,-118-13-16</inkml:trace>
  <inkml:trace contextRef="#ctx0" brushRef="#br0" timeOffset="94282.9">12938 1773 0,'13'66'0,"40"53"16,13 26 0,27 67-16,-67-66 0,14-41 15,-13-25 1,-14 39-16,27 0 15,-40-53-15,0 13 16,13-26-16,-13-39 16,-13-14 77,-27-67-77</inkml:trace>
  <inkml:trace contextRef="#ctx0" brushRef="#br0" timeOffset="96712.15">12766 1588 0,'0'13'31,"13"-13"-16,1 13-15,12 13 16,14-26-16,-1 14 16,54-1-16,145 0 15,-79-13-15,0 0 16,13 0 0,0 0-16,26 0 15,-39 0-15,-53-13 0,-27 13 16,-26-13-16,0 13 15,-27 0 1,-12 0-16,-1 0 16,0 0-16,13 0 15,14-14-15,13 14 16,26 0-16,54 0 16,25 0-16,-38 0 15,316 0 16,-317 0-31,-26 0 0,26 0 16,-53 0 31,-40-13-47,80 13 47,-66 0-47,-14 0 15,1 0-15,-14 0 16,14 0 0,-1 0-16,-13 0 15,40 0 1,-40 0-16,40 0 16,-13 0-16,0 0 15,-1-13-15,-12 13 16,-14 0-16,0 0 15,-13-13 1,14 13-16,-1 0 16,0 0 15,0 0-15,0 0 15,1 0 0,-14 13-15,13 13-16,0 14 15,0 0-15,-13-1 16,0-12-16,14 26 16,-14-13-1,0 12-15,0-25 16,13 13-16,-13-1 0,0-12 15,0-1-15,13 1 16,-13 12 0,0-25-16,0 12 15,0-13-15,13 40 16,1-26 0,-1 52-16,-13-53 15,0-12-15,13 25 16,0-12-16,0-1 15,-13 1-15,0-14 16,0 0-16,14 27 16,-1 0-1,-13-14 1,-27-26 171,-12 0-187,-14 0 16,13 0-16,0 0 16,1 13-16,12-13 15,-12 0-15,12 14 16,-13-14-16,14 0 16,-27 0-16,-1720-14 187,1720 14-187,14 0 16,-41 0-16,14-13 15,13 13-15,14 0 16,-14 0-16,13 0 16,0 0-16,-13 0 15,-13 0-15,13 0 16,-26 0-16,39 0 15,-13 0 1,14 0-16,12 0 0,-12 0 16,-1 0-16,13 0 15,14 0-15,0 0 16,-14 0-16,1 0 16,0 0-16,12 0 15,-12 0 1,-1 0-16,1 0 15,0 0-15,-1 0 16,1 0-16,-14 0 0,27 0 16,-27 0-16,14 0 15,-27 0-15,13 0 16</inkml:trace>
</inkml:ink>
</file>

<file path=ppt/ink/ink17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2:12:05.214"/>
    </inkml:context>
    <inkml:brush xml:id="br0">
      <inkml:brushProperty name="width" value="0.05292" units="cm"/>
      <inkml:brushProperty name="height" value="0.05292" units="cm"/>
      <inkml:brushProperty name="color" value="#FF0000"/>
    </inkml:brush>
    <inkml:brush xml:id="br1">
      <inkml:brushProperty name="width" value="0.05292" units="cm"/>
      <inkml:brushProperty name="height" value="0.05292" units="cm"/>
      <inkml:brushProperty name="color" value="#0070C0"/>
    </inkml:brush>
  </inkml:definitions>
  <inkml:trace contextRef="#ctx0" brushRef="#br0">503 3175 0,'13'0'94,"0"13"-78,0-13-16,1 0 15,-1 0 1,0 0-16,0 0 0,1 0 16,12 0-16,-13 0 0,40 0 15,-13 13-15,0-13 0,12 0 16,1 0-16,0 0 0,80 0 16,-41 14-16,67-14 15,26 0-15,-105 0 0,12 0 16,1 0-16,13 0 0,79 0 15,-93 0-15,107 13 16,-27-13-16,-93 0 16,67 13-16,-27-13 0,-27 0 15,-65 0 1,-1 0-16,1 0 0,12 0 0,-25 0 16,-1 0-16,0 0 0,0 0 15,1 0-15,-1 0 16,-26 13 31,-1-13-47</inkml:trace>
  <inkml:trace contextRef="#ctx0" brushRef="#br0" timeOffset="1000.7">4657 3056 0,'0'0'0,"39"13"31,-25-13-31,12 0 15,27 13-15,-13-13 16,-1 0-16,1 0 0,13 14 0,-13-14 16,39 0-16,-53 0 15,27 0-15,0 0 0,-13 0 16,-27 0 0,0 0-16,1 0 0,-1 0 0,0 0 15,14 0-15,-14 0 31</inkml:trace>
  <inkml:trace contextRef="#ctx0" brushRef="#br0" timeOffset="3791.39">10107 3056 0,'27'0'31,"-14"0"-31,0 0 0,0 0 15,14 0-15,-1 0 0,14 0 0,0 13 16,12-13-16,15 0 0,-14 0 0,26 0 16,-13 13-16,13-13 0,1 0 15,-1 0-15,14 0 0,-14 0 0,14 14 16,-14-14-16,14 0 0,-1 0 16,-12 0-16,-1 0 0,0 0 15,1 0-15,-14 0 0,0 13 0,-13-13 0,0 0 16,-13 0-16,26 0 0,-40 0 15,1 0-15,-14 0 0,0 0 16,0 0-16,14 0 0,-14 0 16,14 0-16,-14 0 31</inkml:trace>
  <inkml:trace contextRef="#ctx0" brushRef="#br0" timeOffset="5024.1">12859 3016 0,'26'13'47,"-13"-13"-31,1 0-16,-1 0 15,0 0-15,0 0 0,14 14 16,-14-14-16,14 0 0,-1 0 0,0 0 16,14 0-16,-13 0 0,25 0 15,1 0-15,0 0 0,13 0 0,-13 0 16,0 0-16,13 0 0,14 0 0,-14 0 16,13 0-16,-13 13 0,1-13 15,-14 0-15,13 0 0,-13 0 0,13 0 16,-13 0-16,0 13 0,13-13 0,-13 0 15,0 0-15,-1 13 0,1-13 16,0 0-16,-13 0 0,13 0 0,0 0 16,-27 14-16,14-14 0,0 0 0,-14 0 15,14 0-15,-14 0 16,14 0-16,-14 0 0,1 0 0,13 0 16,-14 0-16,14 0 0,-14 0 0,1 13 15,-1-13-15,1 0 0,-1 0 16,0 0-16,-12 0 0,12 0 0,1 0 15,-14 0-15,13 0 0,1 0 0,-14 0 16,13 13-16,1-13 0,-1 0 16,-12 0-16,12 0 0,1 0 0,-14 0 15,13 0-15,1 0 0,-14 0 0,13 13 16,1-13-16,-14 0 0,13 0 16,-12 0-16,12 0 0,-13 0 15,14 0-15,-14 0 0,0 0 0,1 0 16,12 0-16,-13 0 0,0 0 15,1 0-15,12 0 0,-13 0 16,1 0-16,-1 0 16,0 0-16,-39-13 31,12 0-15</inkml:trace>
  <inkml:trace contextRef="#ctx0" brushRef="#br0" timeOffset="5936.58">12713 2355 0,'-13'0'0,"0"0"32,52 13-17,-25-13 1,-1 0-16,0 0 0,14 0 0,-1 13 16,1-13-16,-1 0 0,27 0 0,0 0 15,0 0-15,0 0 0,13 0 16,0 13-16,79-13 0,-65 0 15,79 14-15,-80-14 0,0 13 16,14-13-16,-14 13 16,14-13-16,-14 13 0,14-13 0,0 0 0,-14 14 15,13-14-15,1 13 0,-14-13 16,14 0-16,0 13 0,-14-13 16,14 0-16,-14 13 0,0-13 0,1 14 15,-1-14-15,-13 13 0,-13-13 0,13 0 16,-13 0-16,0 0 0,-13 13 15,0-13-15,-1 0 0,-12 0 0,-1 0 16,-13 0-16,14 0 0,-14 0 0,0 13 16,1-13-16,-1 0 0,0 0 15,0 0-15,0-13 16,-52 26 15,26-13-31,-1 0 0,-12 0 16</inkml:trace>
  <inkml:trace contextRef="#ctx0" brushRef="#br0" timeOffset="8273.08">7395 11536 0,'0'26'62,"0"-12"-46,0-1-16,-13 0 0,13 0 15,0 0-15,0 1 0,-13-1 16,13 0-16,0 0 16,-14 1-16,14-1 15,0 0-15,14-26 47,-14 0-31,0-1-16,0 1 15,0 0-15,13 0 16,-13-1-16,0 1 16,13 0-1,-13 39 32,0-12-31,-13-1-16,13 0 15,0 0 1,0 1-16,0-1 47</inkml:trace>
  <inkml:trace contextRef="#ctx0" brushRef="#br0" timeOffset="9044.27">7382 11999 0,'-13'0'0,"-14"26"32,27-12-32,0-1 0,0 0 15,0 0-15,-13-13 0,13 13 16,0 1-16,13-14 0,-13 13 16,0 0-16,0 0 0,13 1 15,1-1 1,-1-13-1,0 0-15,0 0 16,1-13-16,-1 13 0,0-14 16,0 1-16,0 0 31,-13 0-31,0-1 0,0 1 16,0 0-1,0 0-15,0 0 16,-13 13-16,13-14 0,-13 14 15,13-13-15,-13 13 0,0 0 16,-14 0 0,14 0-16,0 0 0,-1 0 15,1 0-15,0 0 0,0 13 0,-1-13 16,1 14-16,0-1 16</inkml:trace>
  <inkml:trace contextRef="#ctx0" brushRef="#br0" timeOffset="9727.41">8414 11893 0,'-13'0'31,"13"13"-15,0 0-16,-14-13 15,14 27-15,0-14 16,0 0-16,0 1 0,-13-1 16,13 0-16,0 0 0,0 1 15,0-1-15,0 13 16,0-13-1,0 1-15,13-14 16</inkml:trace>
  <inkml:trace contextRef="#ctx0" brushRef="#br0" timeOffset="9998.44">8334 11999 0,'14'-13'32,"-1"13"-17,0 0-15,14-14 16,-14 14-1,0 0-15,0 0 16,0 0-16,1 0 0,-1 0 16,0 0-16,0 0 0</inkml:trace>
  <inkml:trace contextRef="#ctx0" brushRef="#br0" timeOffset="10204.06">8718 11893 0,'-13'13'47,"13"0"-47,-13 1 0,13-1 16,0 0-16,-14 0 0,14 1 15,0-1-15,-13 0 16,13 0-16,0 1 15</inkml:trace>
  <inkml:trace contextRef="#ctx0" brushRef="#br0" timeOffset="11105.08">5953 12184 0,'13'-13'0,"1"13"15,-1 0 1,0-13 0,0 13-16,0 0 15,1 0-15,-1 0 16,0 0-16,0 0 15,1 0 1,-1 0-16</inkml:trace>
  <inkml:trace contextRef="#ctx0" brushRef="#br0" timeOffset="11400.05">6271 12039 0,'0'13'32,"0"0"-17,0 13-15,0-12 16,0-1-16,0 0 0,0 0 15,0 1-15,0-1 16,0 0-16,0 0 0,0 1 0,0-1 16,0 0-16,0 0 15,13 0 1</inkml:trace>
  <inkml:trace contextRef="#ctx0" brushRef="#br0" timeOffset="12236.18">9631 11880 0,'-13'0'31,"13"13"-31,0 0 0,-14 27 32,14-27-32,0 0 0,0 1 15,0-1-15,0 0 16,-13 0-16,13 1 0,13-1 15,-13 0 1,0 0 0</inkml:trace>
  <inkml:trace contextRef="#ctx0" brushRef="#br0" timeOffset="12459.23">9499 12025 0,'0'0'0,"-14"0"16,28-13 15,-1 13-31,0-13 16,0 13-1,14 0-15,-1 0 16,-13 0-1,1 0-15,-14-13 0</inkml:trace>
  <inkml:trace contextRef="#ctx0" brushRef="#br0" timeOffset="12860.34">9829 11853 0,'13'-13'0,"14"26"31,-27 1-15,0-1-1,0 0-15,0 0 0,0 0 16,-13-13-16,13 14 0,0-1 15,-14-13-15,14 13 0,0 0 16,-13-13-16,13 14 16,0-1-1,0 0 1,13-13 0,14 0-1,-14 13-15,0-13 0,1 0 16,-1 0-16,0 0 15,0 0-15,1 0 16</inkml:trace>
  <inkml:trace contextRef="#ctx0" brushRef="#br0" timeOffset="13765.17">4815 12316 0,'0'-13'31,"14"13"-16,-1 0 1,0 0-16,0 0 31,1 0-31</inkml:trace>
  <inkml:trace contextRef="#ctx0" brushRef="#br0" timeOffset="14190.93">5080 12171 0,'0'-13'0,"13"13"16,0 0-1,-13 13-15,14-13 0,-1 13 16,-13 0-16,0 1 16,0-1-16,0 0 15,0 0-15,0 0 0,-13 1 0,13-1 16,-14 13-16,1-12 0,0-1 16,13 0-16,-13-13 0,13 13 15,0 0-15,-13-13 16,13 14-16,-14-1 31,28-13-15,-1 0-1,0 0 1,13 0-16,-12 0 16,-1 0-16,0-13 15,0 13-15,1 0 16,-1-14-16</inkml:trace>
  <inkml:trace contextRef="#ctx0" brushRef="#br0" timeOffset="14907.19">10927 11893 0,'0'0'16,"0"13"15,0 14-16,0-14-15,0 0 16,0 0-16,0 1 0,0-1 0,14 0 16,-14 0-16,0 1 0,0-1 15,0 0 1,0 0-16</inkml:trace>
  <inkml:trace contextRef="#ctx0" brushRef="#br0" timeOffset="15128.81">10835 12065 0,'-14'0'0,"41"-13"31,-14 13-15,14-13-1,-14 13-15,0 0 0,14 0 16,-14 0-16,0-14 0,0 14 0,0 0 16,1 0-16,-1-13 0,13 13 15</inkml:trace>
  <inkml:trace contextRef="#ctx0" brushRef="#br0" timeOffset="15619.28">11192 11880 0,'13'0'0,"0"0"16,1 0-16,-1 39 31,-13-25-15,0-1-16,-13 0 15,13 0 1,13 1 0,0-14-1,0 0-15,0 13 16,1-13-16,-1 13 0,0 0 16,-13 1-1,0-1-15,-13-13 16,13 13-16,-13-13 0,-1 13 15,1 0-15,0-13 0,-13 14 0,12-14 16,1 0-16,0 13 16,0-13-16,-1 0 0,1 13 0,0-13 15</inkml:trace>
  <inkml:trace contextRef="#ctx0" brushRef="#br0" timeOffset="16353.33">3307 12409 0,'27'-13'0,"-14"13"16,0 0-16,0 0 15,1 0-15,-1 0 16,0 0-16,0 0 0,1 0 0,-1 0 15,0-14-15,0 14 16,0 0-16,1 0 0</inkml:trace>
  <inkml:trace contextRef="#ctx0" brushRef="#br0" timeOffset="16992.39">3625 12277 0,'13'-14'32,"0"14"-32,0 14 0,1-14 15,-1 13-15,-13 0 16,0 0-16,0 1 16,0-1-16,-13 13 15,13-13 1,-14 1-16,1-1 15,26 0 17,1-13-32,-1 0 0,0 0 15,0 13-15,1-13 0,-1 14 16,13-14-16,-26 13 16,14-13-16,-14 13 0,0 0 15,0 1 1,-14-1-16,1-13 0,13 13 15,-13 0-15,0-13 0,-1 13 0,-12-13 16,13 14-16,-1-1 0,1-13 16,0 13-16,-13-13 0,12 13 0</inkml:trace>
  <inkml:trace contextRef="#ctx0" brushRef="#br0" timeOffset="25219.14">3731 13097 0,'26'66'31,"-13"-66"-31,1 13 0,-1 0 16,0 1-16,27 12 0,-14-13 16,1-13-16,-1 14 0,-13-1 0,14-13 15,-1 13-15,-13-13 16,14 0-16,-1 0 0,-12 0 0,12 0 0,-13 0 16,14 0-16,-1 0 0,-13-13 0,14 13 15,-14 0-15,14-13 0,-14 13 16,0-14-16,13 14 0,-12-13 15,12 13-15,-13-13 0,14 0 0,-14-1 0,14 14 16,-14-13-16,13 0 16,-13 0-16,14 0 0,-14 13 0,14-14 15,-14 1-15,0 0 0,0 13 0,14-13 16,-14 13-16,0-14 0,0 14 16,27-13-16,-27 0 0,1 13 15,25-13-15,-26 13 16,14-13-16,-14 13 0,14-14 0,-1 14 15,1 0-15,25-13 0,-12 0 16,13 13-16,13-13 0,-26-1 16,-14 14-16,14 0 15,-13 0-15,12-13 0,27 13 16,-39 0-16,-1 0 0,14 0 0,-14 0 16,1 0-16,-1 0 0,14 0 15,-14 0-15,14 0 0,0 0 0,-14 0 16,27 0-16,-13 0 0,0 0 0,-14 0 15,14 0-15,13 0 0,-14 0 0,-12 0 16,12 0-16,14 0 0,-13 0 16,-13 0-16,12 0 0,1 0 15,26 13-15,-26-13 0,-14 0 16,1 14-16,12-14 0,-12 0 0,-1 13 16,1-13-16,-1 13 0,1-13 15,-1 13-15,27 1 0,-26-14 16,-14 13-16,13-13 0,-13 0 15,14 13-15,-14-13 0,14 13 0,-14-13 16,0 13-16,13-13 0,-12 0 0,-1 14 16,0-14-16,0 13 0,1-13 15,-1 0-15,-13 13 0,13-13 16,0 0 0,1 13-16,-1-13 15,0 0 1,0 0-1,0-13 1,1 0 0,-1 0-1,0-1 1,-13 1-16,13 13 0,-13-13 16,14 13-16,-1-13 0,-13 0 15,13-1-15,0 14 0,1-13 16,-14 0-16,13 13 0,0-13 15,0 13-15,0-14 0,1 1 0,-1 13 16,0-13-16,14 0 0,-1-1 16,-13 14-16,14-13 0,-14 13 15,40-13-15,-27 0 0,14 0 16,-14 13-16,14-14 16,0 14-16,198-13 46,-172 13-46,0-13 16,-39 13-16,52 0 0,212 13 47,-145-13-47,-54 13 16,1-13-16,-40 0 15,26 14-15,225-1 31,-198 0-15,-40-13-16,-13 13 0,0-13 0,66 0 16,-66 13-16,13-13 15,14 0-15,39 14 0,0-14 16,0 0-16,-66 0 16,13 0-16,-13-14 0,13 14 15,-13 0-15,13 0 0,-13-13 0,0 13 16,0 0-16,0-13 0,-14 13 0,54-13 15,-53 0-15,-1 13 0,1-14 16,0 1-16,13-13 16,13-1-16,-40 14 0,27-27 15,-26 27 1,-14 0-16,13 0 0,1-14 16,-14 27-1,-13-13-15,-40 26 31,27 0-31,0 1 16</inkml:trace>
  <inkml:trace contextRef="#ctx0" brushRef="#br0" timeOffset="25993.3">10001 13348 0,'-53'0'15,"40"0"1,-13 0-16,12 13 0,1-13 15,0 0-15,0 0 0,-1 0 16,1 14-16,0-14 16,13 13-1,0 0 1,13-13 0,0 13-16,1-13 0,-1 14 15,0-14-15,0 13 0,1 0 16,-1-13-16,0 13 0,0-13 15,-13 14-15,14-1 0,-1 0 16,-13 0-16,0 0 16,0 1-16,-13-14 0,-1 13 15,14 0-15,-13-13 16,0 0-16,0 13 0,-1-13 0,1 14 16,-13-14-16,12 0 0,1 13 0,0-13 15,-13 0-15,12 0 16,1 0-16,0 0 0,0 0 15,-1 0-15</inkml:trace>
  <inkml:trace contextRef="#ctx0" brushRef="#br0" timeOffset="26393.24">10173 13414 0,'0'27'47,"0"-14"-47,0 0 0,13-13 15,-13 14-15,0-1 0,0 0 16,0 0-16,0 0 15,0 14-15,0-14 16,0 0-16,0 1 16,0-1-1</inkml:trace>
  <inkml:trace contextRef="#ctx0" brushRef="#br0" timeOffset="26752.43">10107 13454 0,'0'-13'0,"13"0"0,27-1 31,-27 28-15,0-14-16,1 0 0,-1 13 15,0 0-15,0 0 0,1 1 16,-1-1-16,-13 0 0,13 0 16,-13 0-16,0 1 15,0-1-15,0 0 0,0 0 0,-13 1 0,13-1 16,-13 0-16,-1 0 0,1-13 15,0 27-15,0-27 16,-1 0-16,14 13 0,-13-13 16,0-13-16,13-1 15</inkml:trace>
  <inkml:trace contextRef="#ctx0" brushRef="#br0" timeOffset="27608.56">10636 13441 0,'-13'13'16,"13"0"-1,0 1-15,-13-1 0,13 0 16,0 0-16,0 0 0,0 1 15,0-1-15,0 0 0,13 0 16,-13 1-16,13-14 16,-13 13-16,13-13 0,1 0 15,-1 0 1,0 0-16,0-13 0,-13-1 16,0 1-16,14 0 15,-14 0-15,-14-1 0,14 1 16,0 0-16,0 0 0,-13-14 15,13 14-15,0 0 0,0 0 16,-13-1-16,26 1 16,14 26 15,-14-13-31,0 14 16,0-1-16,1 0 0,-14 0 15,26 14-15,-13-14 0,-13 13 16,13 1-1,-13-14-15,14 27 32,-14-67-1,0-12-15,13 25-16,-13 1 15,13 0-15,27-27 31,-27 40-31,0 0 0,1-13 0,-1 13 16,13 0-16,-13 0 16</inkml:trace>
  <inkml:trace contextRef="#ctx0" brushRef="#br0" timeOffset="28475.18">11443 13388 0,'27'0'46,"-14"0"-46,0 13 0,0-13 16,1 0-16,-1 0 0,0 0 16,0 0-1,1 13-15,-14 1 16,0-1-16,-14-13 16,14 13-16,-13 0 0,0 1 15,0-1-15,13 0 16,-14-13-16,1 13 0,0 0 15,0 1-15,-1-1 16,14 0-16,-13-13 16,13 13-16,0 1 15,0-1-15,13-13 16,-13 13-16,14-13 16,-1 13-16,0-13 0,0 0 15,1 0-15,-1 0 0,0 0 16,0 0-1,1-13-15,-1 13 0,0-13 16</inkml:trace>
  <inkml:trace contextRef="#ctx0" brushRef="#br0" timeOffset="28708.28">11245 13547 0,'26'0'31,"-13"0"-31,14 0 16,-14 0-16,0 0 0,1-14 16,12 14-16,-13 0 0,1 0 0,-1 0 15,0 0-15,13 0 0,-12-13 16,25 13-16,1 0 15</inkml:trace>
  <inkml:trace contextRef="#ctx0" brushRef="#br0" timeOffset="28951.81">11748 13494 0,'-14'0'15,"41"-13"17,-14 13-32,13 0 15,-12 0 1,-1 0-16,0-14 0</inkml:trace>
  <inkml:trace contextRef="#ctx0" brushRef="#br0" timeOffset="29718.24">12263 13375 0,'-26'13'0,"13"-13"16,0 13-16,-1-13 16,14 13-1,0 1 1,0-1-16,14-13 16,-1 13-16,0 0 15,0 1 1,0-14-16,-13 13 0,14-13 0,-14 13 15,13-13-15,-13 13 16,0 0-16,-13 1 16,13-1-16,-14-13 15,14 13-15,-13-13 0,0 13 0,-13-13 16,12 0-16,1 0 0,-13 0 16,12 0-16,-12 0 15,13 0-15,-1 0 0,1 0 16,0-13-16</inkml:trace>
  <inkml:trace contextRef="#ctx0" brushRef="#br0" timeOffset="30635.01">12515 13361 0,'-13'0'0,"-14"14"16,14-14 0,13 13-16,-13-13 0,13 13 15,-14 0-15,14 1 0,-13-1 0,13 0 16,-13 0-16,13 1 0,0-1 0,-13 0 16,13 0-16,0 0 15,13 1-15,-13-1 0,13-13 16,-13 13-16,13-13 0,1 0 15,12 0 1,-13-13-16,1 13 0,-1-13 16,0 13-16,0-14 0,0 1 15,1 0-15,-1 0 16,0 13-16,-13-13 16,13 26 15,-13 0-31,0 0 0,0 0 15,0 1 1,0-1-16,14 0 16,-1-13-1,53-119 142,-53 132-142,0-13-15,-13 14 16,14-1-16,-14 0 15,0 0-15,13 0 16,-13 1-16,0-1 16,0 0-1,13-26 17,0 0-32,1-1 15,-14 1-15,13-13 16,0 13-16,0 13 0,-13-14 15,14 1-15,-1 0 16,-13 0-16,13 13 0,0 0 16</inkml:trace>
  <inkml:trace contextRef="#ctx0" brushRef="#br0" timeOffset="30997.14">13057 13507 0,'13'-26'0,"1"12"0,-14 1 15,13 13-15,-13-13 16,-13-14-1,-1 41 1,1-14 0,0 0-16,13 13 0,-13-13 15,13 13-15,-13-13 0,13 13 0,-14 1 16,1-1-16,13 0 0,-13 0 16,13 0-16,0 1 15,13-1-15,-13 0 16,13 0-16,1-13 15,-1 0 1,0 0-16,0-13 16,0 13-16,1 0 0,-14-13 0,13 13 15</inkml:trace>
  <inkml:trace contextRef="#ctx0" brushRef="#br0" timeOffset="31175.31">13454 13533 0,'0'0'16,"13"-13"15</inkml:trace>
  <inkml:trace contextRef="#ctx0" brushRef="#br0" timeOffset="34687.94">9816 13150 0,'40'0'31,"-27"0"-15,27 0-1,-27 0-15,13 0 0,1 0 0,-1 0 16,1 0-16,12 0 0,1 0 16,13-13-16,-13 13 0,13 0 0,0 0 15,-1 0-15,15-14 0,-1 14 0,0 0 16,0-13-16,0 13 0,14 0 0,-14-13 15,13 13-15,0-13 0,1 13 16,-1-14-16,1 1 0,-1 13 16,93-13-16,-79 0 0,-14 0 15,14 13-15,-1-14 0,-13 14 16,14-13-16,-14 0 0,1 13 0,12-13 16,-12 13-16,-1-14 0,14 14 0,-14-13 15,-13 13-15,14-13 0,-14 13 16,0-13-16,0 13 0,-13-14 0,0 14 15,0-13-15,0 13 0,-14-13 0,14 0 16,-13 13-16,-13 0 0,-1-13 16,0 13-16,1 0 0,-14 0 0,0 0 15,1-14-15,-1 14 0,0 0 16,0 0-16,1 0 0,-1 0 16,0-13-16,0 13 31,0 0-16,1 0 1,-14 13 0,13 1-1,-13-1-15,0 0 16,0 0-16,0 0 16,13 1-16,-13-1 0,0 0 0,0 0 15,0 14-15,0-14 0,0 14 16,0-1-16,0 0 0,0 1 15,0-1-15,0 14 0,0-14 0,0 1 16,0-1-16,0 14 0,13 0 16,-13-1-16,0-12 0,0-1 0,0 1 15,14-1-15,-14-12 0,0 12 0,0 0 16,13-12-16,-13-1 0,0 27 16,0-27-16,0 0 0,13 0 15,-13 0-15,0 1 0,0-1 16,0 0-16,0 0 15,0 1 1,0-1 0,-13 0-1,0 0 1,-1 1-16,1-14 16,0 13-16,0-13 15,-14 0-15,14 13 0,-13-13 0,-1 0 16,1 13-16,-14-13 0,-13 13 15,-26 1-15,26-14 16,13 13-16,-13-13 0,-53 13 0,27 0 16,-40 1-16,66-14 15,0 13-15,-13-13 0,13 0 16,0 13-16,-13-13 0,13 13 0,-13-13 16,0 14-16,0-14 0,13 0 0,-14 13 15,1-13-15,0 13 0,0-13 0,13 13 16,-13-13-16,0 13 0,13-13 15,-13 14-15,0-1 0,13-13 16,0 13-16,0-13 0,0 13 0,0-13 0,-53 27 16,53-27-16,-39 13 15,39 0-15,0 1 0,13-14 16,-13 13-16,0-13 0,14 13 0,-14-13 16,0 0-16,13 13 0,-13-13 15,14 13-15,-1-13 0,-13 0 16,13 0-16,14 0 0,-14 0 0,0 14 0,-13-14 15,14 0-15,-1 0 0,0 0 16,1 13-16,-1-13 0,14 0 16,-14 0-16,13 0 0,-26 0 15,27 13-15,0-13 0,12 0 0,-12 0 16,13 0-16,-14 0 0,14 0 0,0 0 16,-14 0-16,14 0 0,0 0 15,0 0-15,-14 0 16,14 0-16,0 0 15,-1-13-15,1 13 16,0 0-16,13-13 16,-13 13-16,13-14 15,-13 1-15,13 0 16,0 0-16,0 0 0,0-1 16,-14 1-16,14 0 0,0-14 0,-13 14 15,13-13-15,0-1 0,-13 1 0,13-1 16,-13-39-16,-1 40 15,1-27-15,13 0 16,-26-13-16,12 13 16,14 26-1,-13-12-15,0 12 16,0-12-16,0-1 16,13 13-16,0 14 15,-14 0-15,14 0 16,-26-53 62,39 66-62,0 0-16,14 0 15,-14 0-15,0 0 16,27 0-16,0-14 0,-27 14 15,40-13-15,0 0 16,-27 0-16,1 13 16,-1 0-16,67-14 15,-80 1-15,27 13 0,-1 0 16,-26 0-16,1 0 16,-1 0-16,0 0 0,0 0 15,1 0-15,-14 13 16</inkml:trace>
  <inkml:trace contextRef="#ctx0" brushRef="#br0" timeOffset="44415.96">6271 7157 0,'13'0'63,"-26"13"-32,13 0-16,0 1 1,0-1 0,0 0-1,0 0-15,0 1 16,0-1 0,0 0-16,0 0 15,13 0-15,-13 1 16,0-1-1,0 0-15,0 0 0,0 1 16,0-1-16,13-13 16,-13 13-16,0 0 15,0 1-15,0-1 16,0 0 0,0 0-16,0 0 31,0 1-31,0-1 15,0 0 1,0 0-16,0 1 16,0-1-1,0 0 1,0 0 0,0 1-1,0-1 1,0 0-1,0 0 1,0 0 0,-13 1-1,13-1 1,0 0 0,0 0-1,0 1 1,-13-14-16,13 13 0,0 0 15,0 0 1,0 1 0,0-1-16,-14 0 15,14 0 1,0 0-16,0 1 16,0-1-1,0 0-15,0 0 16,0 1-1,0-1-15,0 0 16,0 0-16,0 1 16,0-1-16,-13 0 15,13 0 1,0 0-16,0 1 16,0-1-1,0 0-15,0 0 16,0 1-1,0-1-15,-13 0 0,13 0 16,0 0 0,0 1-1,0-1-15,0 0 0,0 0 16,0 1-16,0-1 16,-13 0-16,13 0 15,0 1 1,0-1-16,0 0 15,0 0 1,0 0-16,0 1 16,0-1-16,0 0 15,0 0 1,0 1-16,0-1 16,0 0-16,0 0 15,0 1-15,0-1 16,0 0-16,0 0 15,0 0-15,0 1 16,0-1-16,0 0 0,0 0 16,0 1-1,0-1-15,0 0 16,0 0-16,0 0 16,0 1-16,0-1 15,0 0 1,0 0-16,13-13 15,-13 14-15,0-1 16,0 0 0,0 0-16,0 1 15,0-1 1,0 0-16,13-13 16,-13 13-16,0 0 15,0 1-15,0-1 0,0 0 16,0 0-16,0 1 15,0-1 1,0 0-16,0 0 0,13 1 16,-13-1-16,0 0 15,0 0-15,0 0 16,0 1-16,0-1 16,0 0-16,0 0 15,0 1-15,14-1 0,-14 0 16,0 14-16,0-14 15,0 0-15,0 0 0,0 0 16,0 1-16,0-1 0,0 0 16,0 0-16,13 1 0,-13-1 15,0 0-15,0 0 0,0 1 16,0-1-16,0 0 0,0 0 16,0 0-16,0 1 15,0-1-15,0 0 0,0 0 16,0 1-16,0-1 0,0 0 15,0 0-15,0 0 0,0 1 16,0-1-16,0 0 0,0 0 16,0 1-16,0-1 15,0 0-15,0 0 0,0 1 16,0-1-16,0 0 16,0 0-16,0 0 0,0 1 15,0-1-15,0 0 0,0 0 16,0 1-16,0-1 0,0 0 15,0 0-15,0 1 0,0-1 16,0 0-16,0 0 0,0 0 16,0 1-16,0-1 0,0 0 15,0 0-15,0 1 16,0-1-16,0 0 0,-13 0 16,13 0-16,0 1 0,0-1 15,0 0-15,0 0 16,0 1-16,0-1 0,0 0 15,0 0-15,0 1 0,0-1 16,0 0-16,0 0 0,0 0 16,0 1-1,0-1-15,0 13 16,0-12-16,0-1 16,-14 0-16,14 0 15,0 1-15,0-1 16,0 0-16,0 0 0,0 0 15,0 1-15,-13-1 0,13 0 16,0 0-16,0 1 16,0-1-16,0 0 15,0 14-15,-13-27 16,13 13-16,0 0 16,0 0-16,0 0 0,0 1 15,0 12-15,-13-26 16,13 13-16,0 1 0,0-1 15,0 0 1,0 0-16,0 1 16,0-1-16,-14 0 0,14 0 15,0 0 1,0 1-16,0-1 0,0 13 16,0-12-1,0 12-15,0-13 16,0 0-1,0 1-15,0-1 0,0 0 16,0 0-16,0 1 16,0-1-16,0 0 15,0 0-15,0 1 16,0-1-16,0 0 0,0 0 0,0 0 16,0 1-16,0-1 0,0 0 0,0 0 15,0 1-15,0-1 16,0 0-16,0 0 15,0 1-15,0-1 0,0 13 16,0-13 0,0 1-16,0-1 15,0-53 17,0 27-32,0-27 15</inkml:trace>
  <inkml:trace contextRef="#ctx0" brushRef="#br0" timeOffset="47518.95">8480 7038 0,'13'13'0,"-26"0"16,13 1 0,0-1-16,0 0 0,-13 0 15,13 1-15,0-1 16,-14 0-16,14 0 0,0 14 16,0-14-16,0 0 0,0 14 0,-13-14 15,13 13-15,0 1 0,0-14 0,0 13 16,0 1-16,0-14 0,0 14 15,0-1-15,0-13 0,0 14 0,0-1 16,0-13-16,0 14 0,0-1 0,0-12 16,0 12-16,0-13 0,-13 14 15,13-14-15,0 13 0,0-12 16,0 12-16,0-13 0,0 1 0,0 12 16,0-13-16,0 0 0,-13 14 0,13-14 15,0 0-15,0 1 0,0-1 16,0 0-16,0 0 0,-13 1 0,13-1 15,0 0-15,0 0 0,0 0 0,0 1 16,0 12-16,0-13 16,0 1-16,-14-1 0,14 13 15,0-13-15,0 1 16,0-1-16,0 0 0,0 0 16,0 1-16,-13-14 0,13 13 15,0 0-15,0 0 0,0 1 16,0-1-16,0 0 0,0 0 15,0 0-15,0 1 0,0-1 16,0 0-16,0 0 16,-13 1-16,13-1 0,0 0 15,0 0-15,0 1 0,0-1 16,0 0-16,0 0 16,0 0-16,0 1 15,0-1-15,0 0 0,0 0 16,0 1-16,0-1 15,0 0-15,0 0 16,0 0-16,0 1 0,0-1 16,0 0-16,13 0 15,-13 1 1,0 12-16,0-13 16,0 1-16,0-1 15,0 0-15,0 0 0,0 0 16,0 1-16,0-1 0,0 0 15,0 0-15,0 1 0,0-1 16,0 0-16,0 0 0,0 1 0,0-1 16,-13 0-16,13 0 15,0 0-15,0 1 0,0-1 16,0 0-16,0 0 0,0 1 16,0-1-16,0 0 0,-13 0 0,13 1 15,0-1-15,0 0 0,0 0 16,0 0-16,0 1 0,0-1 15,0 0-15,0 0 0,0 1 16,0-1-16,-14 0 16,14 0-16,0 14 15,0-14-15,0 0 0,14 0 16,-14 1-16,0-1 16,0 0-16,0 0 15,0 1-15,0-1 0,0 0 16,0 0-16,0 0 0,0 1 15,0-1-15,0 0 0,0 0 16,0 1-16,0-1 16,0 0-16,0 0 0,0 1 15,0-1-15,0 0 0,0 0 16,0 0-16,0 1 16,0-1-16,0 0 0,0 0 15,0 1-15,0-1 0,-14 0 16,14 0-16,0 1 0,0-1 15,0 0-15,0 0 16,0 0-16,0 1 0,0-1 16,0 0-16,0 0 0,0 1 15,0-1-15,-13-13 16,13 13-16,0 0 0,0 0 16,0 1-16,0-1 0,0 0 15,0 0-15,0 1 0,0-1 16,0 0-1,0 0-15,0 1 16,0-1-16,0 0 16,0 0-1,0 0-15,0 1 16,0-1-16,13 0 16,-13 0-16,0 1 15,0-1 1,0 0-16,0 0 15,0 1-15,0-1 16,0 0 0,0 0-16,0 0 15,0 1-15,0-1 16,0 0-16,14 0 16,-14 1-16,0-1 15,0 0-15,0 0 0,0 1 16,0-1-16,0 0 15,0 0 1,0 0-16,0 1 0,0-1 16,13 0-16,-13 0 15,-13 1-15,26-1 16,-13 0 0,0 0-16,0 1 15,0-1 1,0 0-16,0 0 15,0 0 1,0 1-16,0-1 16,0 0-1,0 0-15,0 1 0,0-1 16,-13-13-16,13 26 16,0-13-16,0 1 15,0-1 1,0 0-16,0 0 15,0 1-15,0-1 32,13 0-32,-13 0 15,0 40 48,0-40-63,0 1 0,0-1 15,0 0 1,0 0 0,0 1-1,0-1-15,0 0 0,13 0 16,-13 1-16,0-1 16,0 0-16,0 0 15,0 0 1,13-26 31,-13 0-32,0-13-15,-13 12 16,13 1-16</inkml:trace>
  <inkml:trace contextRef="#ctx0" brushRef="#br0" timeOffset="53279">5027 9895 0,'0'-13'0,"0"0"47,0 39-16,-13-12-15,13-1-16,0 0 15,0 0-15,0 1 16,0-1-16,0 0 0,0 0 16,0 0-16,0 1 15,0-1-15,0 0 16,0 0-16,0 1 0,0-1 0,0 0 15,0 0-15,0 1 16,0-1-16,0 0 0,0 0 16,0 0-16,0 1 0,0-1 15,0 0-15,0 0 16,0 1-16,0-1 16,13-13-16,-13 26 0,0-12 15,0-1 1,0 0-1,-13 0-15,13 0 16,13 1-16,-13-1 16,0 0-1,0 0 1,0 1-16,0-1 16,0 0-1,0 0-15,0 1 16,13-1-16,-13 0 0,0 0 15,0 0-15,0 1 16,0-1-16,0 0 0,0 0 16,0 1-16,0-1 0,0 13 0,0-13 0,0 1 15,-13-1-15,13 0 0,0 0 16,0 1-16,0-1 0,0 0 16,0 0-16,0 1 0,0-1 15,0 0-15,0 0 16,0 0-16,0 1 31,0-1-15,0-40 15,13 14-31,-13 0 16</inkml:trace>
  <inkml:trace contextRef="#ctx0" brushRef="#br0" timeOffset="54775.05">9644 9842 0,'-13'27'62,"13"-14"-46,0 0-16,-13-13 0,13 14 16,0-1-16,0 0 0,0 0 15,-14-13-15,14 27 0,0-14 16,0 0-16,0 14 0,-13-14 0,13 0 15,0 0-15,0 1 0,0-1 0,0 0 16,0 0-16,0 1 0,0-1 16,0 0-16,0 0 0,0 0 15,0 1-15,0-1 0,0 0 0,0 0 0,0 1 16,0-1-16,0 0 0,0 0 16,0 1-16,0-1 0,0 0 15,0 0-15,0 0 0,13-13 16,-13 14-16,0-1 0,0 0 15,0 0-15,0 1 0,0-1 16,0 0-16,0 0 16,0 1-16,0-1 0,0 0 15,0 0 1,0 0-16,0 1 16,0-1-1,0 0 1,0 0-1,14 1 1,-14-1 0,0 0-1,0 0 1,13 0-16,-13 1 16,0-1-16,0 0 15,0 0-15,0 1 16,0-1-16,0 0 15,13 0-15,-13 1 16,0-1-16,0 0 16,0 0-16,0 0 0,0 1 15,0-1-15,0 0 16,0 0-16,0 1 16,0-1-16,0 13 15,0-12-15,0-1 16,0 0-1,0 0-15,0 0 16,0-39 47</inkml:trace>
  <inkml:trace contextRef="#ctx0" brushRef="#br0" timeOffset="57477.89">5609 9909 0,'-26'13'15,"12"-13"-15,1 13 0,0 0 16,-13 1-16,12 12 0,-12 0 0,-14 1 16,14 13-16,-14-1 0,0-12 15,14 12-15,-14 1 0,14-13 16,-1 12-16,1-12 0,-1-1 0,1 1 16,-1-1-16,14 1 0,-13-14 0,13 13 15,-1-12-15,14-1 0,-13 0 0,0-13 16,13 13-16,13 0 15,14-26 1,-14 0-16</inkml:trace>
  <inkml:trace contextRef="#ctx0" brushRef="#br0" timeOffset="57811.55">5808 9948 0,'-40'27'31,"27"-1"-31,-1 1 0,-12-1 0,0 14 16,-14 26-16,-13 13 15,13-26-15,14-13 0,-1 0 16,-12-1-16,25-12 0,-38 52 16,25-52-16,1-1 0,12 1 15,1-1-15,0-13 0,0 0 16,13 1-16,-14-1 0,14 0 16,27-26 15</inkml:trace>
  <inkml:trace contextRef="#ctx0" brushRef="#br0" timeOffset="58759.12">5331 10901 0,'0'-13'0,"0"26"0,-26-13 46,26 13-46,-13-13 0,13 13 16,-14 1-16,1-14 0,13 13 16,-13 0-16,0 0 0,0 0 0,-1 1 0,1-14 15,13 13-15,-13-13 16</inkml:trace>
  <inkml:trace contextRef="#ctx0" brushRef="#br0" timeOffset="59469.18">5054 11589 0</inkml:trace>
  <inkml:trace contextRef="#ctx0" brushRef="#br0" timeOffset="60278.05">9829 11258 0,'0'13'32</inkml:trace>
  <inkml:trace contextRef="#ctx0" brushRef="#br0" timeOffset="65920.19">3400 10993 0,'0'40'31,"0"-27"-31,0 1 16,0-1-16,0 13 0,0-13 0,-13 1 16,13 12-16,0-13 0,13 14 0,-13-14 15</inkml:trace>
  <inkml:trace contextRef="#ctx0" brushRef="#br0" timeOffset="67090.83">10980 10901 0,'0'26'16,"0"-12"-16,0-1 15,0 0-15,0 0 0,0 14 0,13-14 16,-13 13-16,0 14 15,0-27-15,0 14 0,0-1 16,0-13-16</inkml:trace>
  <inkml:trace contextRef="#ctx0" brushRef="#br1" timeOffset="-110346.18">14182 1442 0,'-40'0'0,"80"0"0,-93 0 0,40-13 16</inkml:trace>
  <inkml:trace contextRef="#ctx0" brushRef="#br1" timeOffset="-109566.58">14049 1561 0,'0'0'0,"40"0"32,-27 0-32,14 0 0,12 0 15,1 0-15,13-13 0,13 13 16,0 0-16,14 0 0,-1-13 0,14 13 16,-14 0-16,14 0 0,-1 0 15,14 0-15,-13 0 0,-1 0 0,1 0 16,13 0-16,0 0 0,-14 0 15,14 0-15,0 0 0,0 0 0,0 0 16,26-14-16,-26 14 0,-1 0 0,1 0 16,0 0-16,26-13 0,-26 13 15,0 0-15,0 0 0,0 0 0,26 0 16,-26 0-16,0 0 0,0 0 0,-1 0 16,-12-13-16,13 13 0,-14 0 0,1 13 15,0-13-15,-1 0 16,1 0-16,-14 0 0,1 0 0,-1 0 15,-13 0-15,0 0 0,-13 0 0,0 13 16,-13-13-16,-1 0 0,-12 0 16,-1 0-16,-12 0 0,-1 0 0,0 0 15,0 0-15,-52-13 32,25 13-32,-25 0 0,-1-13 15,-13 13-15,-26 0 0,13 0 16</inkml:trace>
  <inkml:trace contextRef="#ctx0" brushRef="#br1" timeOffset="-108969.29">14380 1376 0,'-13'0'0,"26"0"0,27 13 31,-14-13-31,27 0 0,0 0 16,26 0-16,1 0 0,12 0 0,1-13 15,13 13-15,0 0 0,0 0 0,39 0 16,-13 13-16,1-13 0,-1 0 16,-39 0-16,12 13 0,1-13 0,0 0 15,0 0-15,-14 0 0,1 14 16,-14-14-16,1 0 0,-1 13 0,-26-13 15,0 0-15,0 0 0,-13 13 16,-14-13-16,1 0 0,-1 0 0,-13 0 16,0 0-16,1 0 0,-41 13 31,1 0-31,-1-13 0,-26 14 0,-13-1 16</inkml:trace>
  <inkml:trace contextRef="#ctx0" brushRef="#br1" timeOffset="-108078.02">9512 4696 0,'-27'27'31,"27"-14"-31,-26 27 0,13-1 0,-1 14 16,-12 0-16,13 0 0,-14 0 0,1 13 15,13-13-15,-14 13 0,1-13 0,-1 0 16,1 0-16,13 0 15,-1-13-15,1-14 0,0 14 0,0-14 16,-1 14-16,14-27 0,-13 0 16,13 1-16,0-1 0,-13-13 15,13 13-15,0 0 16,-13-26 15</inkml:trace>
  <inkml:trace contextRef="#ctx0" brushRef="#br1" timeOffset="-107750.27">8890 5450 0,'0'40'31,"0"-27"-31,0 1 0,0-1 15,0 13-15,0 1 0,0-1 0,0 14 16,0-14-16,0 14 0,0 0 16,0-14-16,0 1 0,0-1 0,0 1 15,0 12-15,13-26 0,-13 14 16,0-14-16,13 0 0,1 1 16,-1-1-1,0-13-15,0 0 0,1 0 16,12 0-16,-13-13 0,1 13 15,-1 0-15,0-14 0,0 1 16,0 13-16,1-13 0,12 0 0,-13-1 16,14-12-16,-1 0 0,1 12 0,-14-12 15</inkml:trace>
  <inkml:trace contextRef="#ctx0" brushRef="#br1" timeOffset="-107189.2">9829 4088 0,'-13'13'31,"13"14"-31,-13-14 0,0 26 16,-14-12-16,14 13 0,0 12 0,-14-12 0,14 0 16,0 0-16,0-1 15,13 1-15,-14 0 0,14-14 0,0 1 16,0-14-16,0 13 0,0-13 0,14 1 15,-1-1-15,0 0 0,0 0 16,0-13-16,1 0 0,12 14 16,1-14-16,-14 0 0,13-14 0,1 14 15,-14 0-15,13-13 0,1 13 0,-1-13 0,-12 0 16,-1 13-16,0-14 0,0 1 16,0 0-16,1 0 15,-28-14-15</inkml:trace>
  <inkml:trace contextRef="#ctx0" brushRef="#br1" timeOffset="-106997.83">9499 4511 0,'-14'0'16,"28"0"-16,-28-13 0,28 0 16,-1 13-1,0-14-15,13 1 0,1 13 0,-1-13 16,14-13-16,39-1 0,-39 14 15,-13 13-15,12-13 0,1-1 16,-14 14-16,1 0 0,-1 0 16,1 0-16,-14 0 0,13 0 0,-12 14 15,-1-14-15</inkml:trace>
  <inkml:trace contextRef="#ctx0" brushRef="#br1" timeOffset="-106686.14">10173 4591 0,'13'-27'15,"1"14"-15,-14 0 0,13-1 16,-13 1-16,0 0 0,13 0 0,-13-1 16,0 1-1,0 0-15,0 0 16,-13 0-16,0 26 15,-1-13-15,14 13 16,-13 0-16,0-13 0,13 13 0,-13 1 16,13-1-16,0 0 0,0 0 15,0 1-15,13-1 0,0-13 16,-13 13-16,13-13 0,1 0 16,-1 13-16,0-13 0,0 0 0,14-13 15,-14 13-15,14 0 0,-14-13 0</inkml:trace>
  <inkml:trace contextRef="#ctx0" brushRef="#br1" timeOffset="-106415.14">10438 4352 0,'-40'14'31,"40"-1"-31,-13-13 0,13 13 0,0 0 16,0 1-16,13-1 0,-13 0 15,13 0-15,-13 0 0,14 14 16,-14-14-16,13 0 0,0 1 16,-13-1-16,0 0 0,13 0 15,-13 1-15,-13-14 0,13 13 0,-13 0 16,13 0-16,-13-13 0,-1 13 16,1-13-16,0 14 0,0-14 0,-1 0 15,-12 0-15,26-14 16,0 1-1,0 0-15,0 0 0</inkml:trace>
  <inkml:trace contextRef="#ctx0" brushRef="#br1" timeOffset="-106201.03">10610 4114 0,'13'-26'0,"-26"52"0,26-65 0,-13 78 31,0-25-31,-13 12 15,13 0-15,0 14 0,-13-13 0,13 12 16,0-12-16,0-1 0,0 1 16,0 12-16,0-12 0,13-14 0,-13 13 15,0 1-15,13-14 0,-13 14 0,0-14 16,13 0-16,-13 0 0,0 1 16,13-1-16</inkml:trace>
  <inkml:trace contextRef="#ctx0" brushRef="#br1" timeOffset="-106007.02">10398 4471 0,'-13'0'0,"39"-26"16,-12 26-1,-1-13-15,13 0 0,1 13 0,12-14 16,-12 1-16,13 0 0,-1 0 0,1 13 15,-14-14-15,14 1 0,-13 13 16,-1-13-16,0 13 0,1 0 16,-1 0-16,-12 0 0</inkml:trace>
  <inkml:trace contextRef="#ctx0" brushRef="#br1" timeOffset="-105218.05">10967 4524 0,'0'-13'16,"0"0"-16,0 0 0,0-1 0,13 1 16,-13 0-16,0 0 15,0 0-15,0-1 16,-13 14-16,13-13 15,-13 26-15,0-13 16,13 14-16,-14-1 0,1 0 16,13 0-16,-13 0 0,13 1 15,0-1-15,13 0 0,0-13 16,-13 13-16,27-13 0,-14 0 16,13-13-16,-12 13 0,12-13 15,14 0-15,-14-1 0,1 1 16,-1 0-16,1 0 0,-14 0 0,13 13 15,-12-14-15,-1 1 0,0 0 16,0 13-16,-13-13 0,13 13 16,-39 26-1,26-13 1,-13 1-16,13-1 16,0 0-16,0 0 0,0 0 15,0 1-15,13-1 16,0-13-16,0 0 15,1 0-15,-1 0 0,0 0 16,0-13-16,1 13 0,-1-14 0,0 14 16,0-13-16,1 0 0,-1 0 15,0 0-15,0-14 0,-13 14 0,13-14 16,1 1-16,-14-1 0,13-12 0,-13-1 16,13 0-16,-13 1 0,13-1 0,-13 0 15,0 14-15,0 13 0,-13-27 16,13 27-16,0 0 0,0-1 15,0 1-15,0 0 0,-13 13 0,13-13 16,-27 26 0,27 0-16,-13 14 15,0-14-15,13 26 0,-13-12 0,0 13 16,-1-1-16,14 1 0,-13 0 16,0-1-16,13-12 0,0 12 15,0-12-15,0-1 0,0-12 0,0 12 16,0 1-16,13 12 0,-13-26 15,13 1-15,-13-1 0,0 0 16,14 0-16,-14 1 0,13-1 0,-13 0 16,13-13-16,0 0 15,-13 13-15,13-13 16,1 0 0</inkml:trace>
  <inkml:trace contextRef="#ctx0" brushRef="#br1" timeOffset="-90656.18">6734 6879 0,'-146'516'0,"120"-437"0,-40 186 31</inkml:trace>
  <inkml:trace contextRef="#ctx0" brushRef="#br1" timeOffset="-90268.96">7554 6297 0,'-516'1045'32,"463"-913"-32,-13 54 0,13-41 0,13-12 15,-13 12-15,14-13 0,-1 1 16,0-14-16,1 0 0,12-13 0,1-14 15,-1-12-15,14-14 0,0-13 0,0 0 16,13-14-16,-14 1 0,14-14 0</inkml:trace>
  <inkml:trace contextRef="#ctx0" brushRef="#br1" timeOffset="-89930.29">7766 6787 0,'-80'158'16,"27"-52"-16,0 13 15,-13 0-15,-13 53 0,-14 0 0,14 13 0,-1-13 16,28-39-16,-15 39 0,14-27 0,1-13 16,-1 14-16,0-14 15,13 1-15,-13-1 0,27 0 0,-14-13 16,14-13-16,-1 0 0,14-40 0,0 13 16,-1-12-16,14-28 0,-13 14 0,13-13 15,0-14-15,0 1 0,0-14 16,13-13-16</inkml:trace>
  <inkml:trace contextRef="#ctx0" brushRef="#br1" timeOffset="-89634.84">8242 7355 0,'0'0'0,"-40"106"0,0-26 15,1 25-15,-14 1 0,13 13 16,-79 146-16,66-133 0,0 14 0,-13 39 16,13-53-16,13 14 15,-12-14-15,12 14 0,-13-1 0,13-13 0,-13-13 16,14 14-16,-1-27 0,13-1 0,-12-12 15,26-14-15,-14-12 0,14-15 16,-14 15-16,14-28 0,0 1 16,0-14-16,13 1 0</inkml:trace>
  <inkml:trace contextRef="#ctx0" brushRef="#br1" timeOffset="-89386.24">8718 7977 0,'-556'1164'31,"490"-1031"-31,13-1 15,-13 0-15,27-13 0,-14 0 16,13-13-16,0 0 0,14-13 0,-1-27 16,14 0-16</inkml:trace>
  <inkml:trace contextRef="#ctx0" brushRef="#br1" timeOffset="-87385.73">5900 8506 0,'0'14'32,"-13"-1"-32,0 13 0,0 1 15,-14 12-15,14 1 0,-14 0 0,1 13 16,13 13-16,-14-13 0,-12 0 16,12 0-16,1 0 0,-1-1 0,1 1 15,-14 0-15,14 0 0,-1-13 0,1 0 16,12-14-16,-12 0 0,13 1 15,0-1-15,13-12 0,-14-1 0,14 0 16</inkml:trace>
  <inkml:trace contextRef="#ctx0" brushRef="#br1" timeOffset="-87106.82">6310 8652 0,'-39'40'16,"12"-14"-16,1 14 0,-239 264 31,212-238-31,14 0 0,-1 0 0,0-13 15,14 13-15,-1-13 0,1 0 16,-1 0-16,14-26 0,0 12 0,0-12 16,13-1-16,0 1 0,0-14 15,0 0-15,13-13 0</inkml:trace>
  <inkml:trace contextRef="#ctx0" brushRef="#br1" timeOffset="-86721.04">8374 8453 0,'-53'27'0,"-119"145"15,106-93 1,0-13-16,0 14 0,0-1 0,-1 1 15,1-1-15,13 0 0,-13 1 16,13-14-16,14-13 0,12 13 0,-13-13 16,14-14-16,0 14 0,-1-26 0,14 13 15,0-27-15,-1 13 0,14-13 16,14 1-16</inkml:trace>
  <inkml:trace contextRef="#ctx0" brushRef="#br1" timeOffset="-86453.99">8983 8811 0,'-106'119'31,"53"-80"-15,13 1-16,-13 0 0,0 13 0,0 0 16,0 0-16,-13 13 0,27-13 0,-14-1 15,13 1-15,0 0 0,1 0 0,-1-13 16,14 0-16,-1-1 0,14-12 16,0-1-16,13-13 0,-14 1 0,14-1 15</inkml:trace>
  <inkml:trace contextRef="#ctx0" brushRef="#br1" timeOffset="-86247.03">9393 8916 0,'-40'53'0,"-145"172"15,145-172-15,0 0 16,-12 13-16,-68 53 16,81-66-16,-27 13 0,13-26 15,0 13-15,0-13 0</inkml:trace>
  <inkml:trace contextRef="#ctx0" brushRef="#br1" timeOffset="-84865.31">4048 10888 0,'0'0'0,"-13"0"16,0 0 0,-14 0-16,27 13 0,-13-13 15,0 13-15,-14 0 0,14 1 16,0-1-16,0 0 0,-1 0 0,1 0 15,0 1-15,0-1 0,-1-13 0,1 13 16,13 0-16,-13-13 0,13 14 16,-13-14-16,13 13 0</inkml:trace>
  <inkml:trace contextRef="#ctx0" brushRef="#br1" timeOffset="-84642.49">4392 10755 0,'0'0'15,"-26"27"1,12-14-16,1 13 16,0-12-16,0 12 0,-14 1 15,14 12-15,0-12 0,-14-1 0,14 1 16,0-1-16,0 1 0,-1-14 0,1 13 15,0-13-15,13 1 16,-13-1-16</inkml:trace>
  <inkml:trace contextRef="#ctx0" brushRef="#br1" timeOffset="-84424.08">4524 10345 0,'40'66'31,"-40"-26"-31,0 13 0,13 0 16,-13 13-16,0 0 0,0 0 16,0 0-16,0 1 0,0-14 0,0-1 15,0 1-15,0-13 0,0 13 0,0-27 16,0 1-16,0-1 0</inkml:trace>
  <inkml:trace contextRef="#ctx0" brushRef="#br1" timeOffset="-84206.18">4749 10332 0,'13'66'32,"-13"-26"-32,0 0 0,14 12 0,-14 1 15,0 0-15,13 0 0,-13-13 16,13 26-16,-13-26 0,0 13 16,13-14-16,1 1 0,-14-14 0,13 14 0</inkml:trace>
  <inkml:trace contextRef="#ctx0" brushRef="#br1" timeOffset="-83570.11">10054 10385 0,'0'26'15,"0"1"1,0-1-16,-13 1 0,13 12 0,0 1 16,0 13-16,0-13 0,0 13 0,0-14 15,0 1-15,0 13 0,0-13 16,0-14-16,13 1 0,-13-1 0,0 0 16,0-12-16,13 12 0,-13-13 0,0 1 15</inkml:trace>
  <inkml:trace contextRef="#ctx0" brushRef="#br1" timeOffset="-83355.88">10372 10544 0,'13'0'0,"-26"0"0,26 13 15,-13 0-15,0 0 0,0 1 0,0 12 16,0 0-16,0 1 0,-13-1 15,13 27-15,0-26 0,-14 12 16,14-12-16,0-1 0,0 1 16,-13-1-16,13-12 0,0 12 0,0-13 15,0 0-15,0 1 0,0-1 16</inkml:trace>
  <inkml:trace contextRef="#ctx0" brushRef="#br1" timeOffset="-83158.92">10676 10689 0,'0'13'0,"0"1"16,0 65-1,-13-53-15,13 1 16,-14-14-16,14 14 0,0-1 16,-13 1-16,13-1 0,-13 0 0,13-12 15,0 12-15,-13-13 0,13 1 0,0-1 16,0 0-16,0 0 0,0 0 15</inkml:trace>
  <inkml:trace contextRef="#ctx0" brushRef="#br1" timeOffset="-74966.97">18574 6271 0,'211'-14'0,"-118"14"0,0-13 0,542 0 31,-530 13-31,1 0 15,-13 0-15,13-13 0,0 13 16,-1 0-16,-12 0 0,13 0 0,-14 0 16,1 0-16,0 0 0,-1 0 15,-12 0-15,-1 0 0,14 0 0,-27 0 16,0 0-16,-13 0 0,13 0 0,-26 0 16,13 13-16,-14-13 0,-12 0 0,-1 0 15,1 0-15,-14 0 0,0 0 16,0 0-16,14 0 0,-14 0 15,0 0-15,0 0 16,-13-13 0,-13-1-1,0 14 1</inkml:trace>
  <inkml:trace contextRef="#ctx0" brushRef="#br1" timeOffset="-74057.92">15399 7051 0,'0'0'0,"-13"0"16,39 0-1,0 0 1,1-13-16,26 13 0,0 0 0,13 0 16,13-13-16,14 13 0,-14 0 0,27-14 15,26 14-15,1-13 0,12 13 0,1 0 16,-1 0-16,1 0 15,-14 0-15,14 0 0,-14 0 0,13 0 16,-39 0-16,0 13 0,-13-13 0,12 0 16,-12 14-16,0-14 0,-14 0 15,0 13-15,-12-13 0,-15 0 0,1 0 16,-13 13-16,-13-13 0,-1 0 0,-13 0 16,14 0-16,-14 0 0,0 0 0</inkml:trace>
  <inkml:trace contextRef="#ctx0" brushRef="#br1" timeOffset="-73577.11">15650 7302 0,'27'14'31,"-1"-14"-31,27 0 0,0 0 0,26-14 16,14 14-16,-1 0 0,14 0 16,27-13-16,-1 13 0,13 0 0,-12 0 15,12-13-15,-13 13 0,-12 0 0,-15 0 16,1 0-16,-13 0 0,-1 13 16,1-13-16,-14 0 0,-12 0 15,-15 0-15,1 0 0,-13 0 0,0 13 0,-14-13 16,1 0-16,-1 0 0,-13 0 15,14 0-15,-14 0 0,0 0 16,1 0-16,-1 0 16,0 0-16,-39-13 47</inkml:trace>
  <inkml:trace contextRef="#ctx0" brushRef="#br1" timeOffset="-68750.68">16748 8493 0,'13'13'15,"1"-13"1,-1 0-16,0 0 0,14 0 16,-1 14-16,0-14 0,41 0 15,-15 0-15,28 0 0,-1 0 0,1 0 16,12-14-16,1 14 0,-1-13 0,14 13 16,0-13-16,-13 13 0,13 0 15,-1-13-15,-12 13 0,0 0 16,-14-14-16,0 14 0,1 0 0,-27 0 15,0-13-15,-1 13 0,-12 0 16,-13 0-16,-1 0 0,0 0 0,-12 0 16,-1 0-16,0 0 0,0 0 15</inkml:trace>
  <inkml:trace contextRef="#ctx0" brushRef="#br1" timeOffset="-68446.02">17595 8599 0,'132'-13'15,"-92"13"-15,13 0 0,0 0 16,0 0-16,-1-14 0,15 14 15,-14 0-15,13 0 0,0 0 16,0 0-16,-13 0 0,13 14 0,-13-14 16,0 0-16,0 0 0,0 0 0,-14 0 15,-12 0-15,12 0 0,-12 0 16,-1 0-16,1 0 0,-1 0 0,1 0 16,-1 0-16,1 0 0,-1 0 0,14 0 15,0 0-15</inkml:trace>
  <inkml:trace contextRef="#ctx0" brushRef="#br1" timeOffset="-67662.79">22079 8652 0,'27'0'16,"-14"0"-16,14 0 0,-1 0 0,27 0 15,0 0-15,0 0 0,0 0 0,0 0 16,0 0-16,-1 0 0,1 0 16,-13 0-16,13-13 0,-13 13 0,-14 0 15,1 0-15,-1 0 0,-13 0 0,1 0 16,-1 0-16,0 0 0</inkml:trace>
  <inkml:trace contextRef="#ctx0" brushRef="#br1" timeOffset="-67133.81">17039 9512 0,'93'0'0,"-186"0"0,252 0 0,-93-13 16,27 13-16,-14-14 0,14 14 15,-1-13-15,1 13 0,-1 0 0,1-13 16,-14 13-16,14-13 0,-14 13 0,1 0 15,-14-14-15,-13 14 0,0 0 16,-14 0-16,-12-13 0,-14 13 16,14 0-16,-14 0 0</inkml:trace>
  <inkml:trace contextRef="#ctx0" brushRef="#br1" timeOffset="-66836.64">17092 9604 0,'79'-13'16,"-39"13"-16,13 0 0,26-13 16,-12 13-16,12-13 0,0 13 15,1 0-15,-1-14 0,0 14 0,1 0 16,-1 0-16,-13 0 0,1 0 0,-1 0 15,-13 0-15,13 0 0,-13 0 0,0 0 16,-1 0-16,-12 0 0,-13 0 16,-1 0-16,1 0 0,-14 0 0,13 0 15,-13 14-15,1-14 0,-1 0 16,-13 13-16,0 0 16,-13-13-16</inkml:trace>
  <inkml:trace contextRef="#ctx0" brushRef="#br1" timeOffset="-66184.91">16616 10689 0,'13'-13'31,"0"13"-31,14-13 16,12 13-16,1-14 0,0 1 0,26 13 15,0-13-15,13 0 0,-12 0 0,12-1 16,0 14-16,1-13 0,12 13 15,1-13-15,0 13 0,-1 0 16,-12-13-16,12 13 0,1 0 0,-14 0 0,1 0 16,-1 0-16,-26 13 0,13-13 0,-13 0 15,-13 0-15,-1 0 0,-12 0 16,-1 0-16,-13 0 0,14 0 0,-14 13 16,0-13-16,1 0 0</inkml:trace>
  <inkml:trace contextRef="#ctx0" brushRef="#br1" timeOffset="-65861.69">17462 10755 0,'40'0'0,"-27"0"15,1 0-15,12 0 0,-13 0 16,27 0-16,-14 0 0,14 0 0,0 0 16,13-13-16,0 13 0,13 0 15,0 0-15,13 0 0,-12-13 0,12 13 16,-13 0-16,13 0 0,-26 0 0,13 0 15,-13 0-15,0 0 0,0 0 0,-13 0 16,0 0-16,-14 0 0,14 0 16,-14 0-16,-13 0 0,14 0 0,-14 13 15,14-13-15,-14 0 0,13 0 0</inkml:trace>
  <inkml:trace contextRef="#ctx0" brushRef="#br1" timeOffset="-65204.8">20929 10808 0,'0'0'16,"66"0"-16,-27 0 0,14 0 15,0 0-15,13 0 0,14 0 0,-1 0 16,0-13-16,14 13 0,0 0 0,-14 0 15,14 0-15,-1 0 0,14 0 16,-13 0-16,-1 0 0,-12 0 0,12-13 16,-12 13-16,-1 0 0,-26 0 0,0 0 15,0 0-15,0 0 0,-14 0 0,-12 0 16,-1 0-16,-12 0 0,-1 0 16,0 0-16</inkml:trace>
  <inkml:trace contextRef="#ctx0" brushRef="#br1" timeOffset="-64612.89">15796 11456 0,'13'14'0,"13"-14"0,-12 0 0,25 0 15,14 0-15,0 0 0,26 0 16,14-14-16,0 14 0,12 0 16,1 0-16,27 0 0,-28 0 0,1 0 0,0 0 15,0 14-15,-13-14 0,-1 0 16,1 0-16,-14 13 0,0-13 0,-12 0 15,-14 13-15,-1-13 0,1 0 16,-26 13-16,13-13 0,-27 0 0,13 14 16,-13-14-16,1 0 0,-1 0 0,0 0 15</inkml:trace>
  <inkml:trace contextRef="#ctx0" brushRef="#br1" timeOffset="82891.03">1310 1217 0,'13'0'110,"40"0"-95,119 0 1,-27 27-16,146-14 16,119 13-16,93 1 15,212-27-15,-107 0 0,80 0 16,0 26-1,53-26-15,264 0 16,-211 0-16,-53 0 16,53 27-16,132-27 15,-278 0-15,-106 0 16,-145 0-16,-185 0 16,-27 0-16,-132 0 15</inkml:trace>
  <inkml:trace contextRef="#ctx0" brushRef="#br1" timeOffset="86620.35">3135 1614 0,'66'0'47,"80"0"-31,92 0-16,119 0 16,265 53-16,0-27 15,26 1 1,27-27-16,13 26 0,105 1 15,-250-27-15,-80 0 16,-106 0 0,-159 0-16,41 0 15,-187 0-15,-25 0 16,-14 0-16</inkml:trace>
</inkml:ink>
</file>

<file path=ppt/ink/ink17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2:28:06.233"/>
    </inkml:context>
    <inkml:brush xml:id="br0">
      <inkml:brushProperty name="width" value="0.05292" units="cm"/>
      <inkml:brushProperty name="height" value="0.05292" units="cm"/>
      <inkml:brushProperty name="color" value="#0070C0"/>
    </inkml:brush>
  </inkml:definitions>
  <inkml:trace contextRef="#ctx0" brushRef="#br0">9895 7435 0,'-13'0'16,"0"13"-16,0 0 0,-80 1284 141</inkml:trace>
  <inkml:trace contextRef="#ctx0" brushRef="#br0" timeOffset="996.56">9287 7633 0,'-13'0'16,"52"0"0,-25 0-1,-1 0-15,26 0 0,28 0 16,-41 0-16,27 0 15,66 0-15,-66 0 16,106 0-16,-80 0 0,0 0 16,120-13-16,26 0 15,-93 13-15,0-13 0,1-1 0,131 1 16,-131 0 0,144-14-16,14 1 0,-145-1 15,158 1-15,-145 0 16,13 12-16,159-12 15,13-1-15,-14 1 16,1 13-16,0-1 0,-172 1 16,-1 13-16,1 0 15,-13-13-15,-14 13 0,0-13 0,106 13 16,-132 0-16,-13-13 0,-1 13 16,1 0-16,-14 0 0,54-14 15,-80 14-15,-1 0 0,54-13 16,-79 13-16,-1 0 15,-13 0-15,1 0 16,12 0-16,-13 0 16,1 13-16,-14 1 15,0-1-15,13 0 0,-13 13 16,-13 41-16,13-14 16,0-14-16,13 14 0,-13 13 15,0-13-15,13 13 0,0 53 16,-13-66-16,13 53 15,1-53-15,-14-13 0,26 39 16,-26-39-16,40 79 16,-27-66-16,0 0 15,1-27-15,-1 1 16,-13-14-16,-13 0 0,13 0 16,-14 14-16,1-27 15,-13 13-15,-1 0 0,-13 0 0,-12 1 0,-81-1 16,41 0-16,12-13 15,-26 13-15,14-13 0,-331 27 16,290-14-16,-158 0 16,146-13-16,-1 14 0,-13-14 15,14 0-15,-14 0 0,14 13 16,-173-13-16,159 13 16,-171-13-16,-14 13 0,185 0 15,-13-13-15,-159 14 16,159-1-16,13-13 0,1 13 15,-147 0-15,14 1 16,27-1-16,-40 0 16,198-13-16,-93 13 15,107 1-15,-186 12 16,198-26-16,1 13 0,-80 0 16,27 1-16,-27 12 15,54-13 1,25-13-1,40 0 17,54-26-17,-1 26-15</inkml:trace>
  <inkml:trace contextRef="#ctx0" brushRef="#br0" timeOffset="1794.98">12290 7752 0,'-13'14'15,"26"-54"17,0 27-32,14-14 0,-14-13 15,26-26-15,1-13 16,-13 39-16,-1-13 16,1 0-16,-1 0 0,27-39 15,-27 52-15,-12 1 0,25-14 16,-25 0-16,-1 39 15,0-12-15,0 13 0,-13-14 16,13 27-16,-13-13 16,0 0-16,14 0 15</inkml:trace>
  <inkml:trace contextRef="#ctx0" brushRef="#br0" timeOffset="2202.98">12594 6866 0,'-13'-13'0,"26"-1"15,0 14 1,-13-13-16,14 13 16,-1-13-16,0 13 0,0-13 15,1 13-15,25-13 0,-26 13 16,14-14-16,-14 14 0,14-13 15,-14 26 1,0-13-16,0 0 0,1 14 16,-1-1-16,-13 0 0,0 0 15,13-13-15,-13 13 0,0 1 16,0-1-16,13 13 16,-13-12-16,0-1 0,0 0 15,0 0-15,0 1 16,0-1-16,0 0 15,13 0-15</inkml:trace>
  <inkml:trace contextRef="#ctx0" brushRef="#br0" timeOffset="5619.65">12991 6244 0,'13'0'16,"-13"-13"-16,14 13 31,-28 0 16,-12 0-31,13 0-16,-1 13 0,1-13 15,0 13-15,0-13 0,-1 14 0,1-14 16,0 13-16,0-13 0,0 13 15,-1 0-15,1-13 0,13 14 16,-13-14-16,13 13 0,-13-13 16,13 13-16,0 0 15,13-13 1,-13 13-16,13-13 16,0 0-16,1 0 15,-1 14-15,0-14 0,27 0 16,-27 0-16,0 13 0,14-13 15,-14 13-15,0-13 16,0 13-16,-13 1 0,0-1 16,-13 0-1,13 0-15,-13 1 0,0-14 0,-1 13 16,1 0-16,0-13 0,-14 13 16,14-13-16,0 0 0,-13 13 15,-14-13-15,27 0 0,-1 0 16,1 0-16,0 0 0,0 0 15,-1 0-15,1 0 0,0 0 16,0 0-16,39-13 31,-13 0-15</inkml:trace>
  <inkml:trace contextRef="#ctx0" brushRef="#br0" timeOffset="6075.71">13229 6204 0,'-13'-13'15,"13"26"1,-13 1 0,13-1-16,0 0 0,-14 0 0,14 1 15,-13-1-15,0 13 16,13-12-16,0 12 0,-13-13 0,13 0 15,0 1-15,0 12 16,0-13-16,0 1 16,13-1-16,0 0 0,0-13 15,-13 13-15,14-13 16,-1 0-16,0 0 0,0 0 0,1 0 16,-1 0-16,0 0 0,0 0 15,14-13-15,-1 13 16,-13-13-16,1 13 0,-1-13 15,0 13 1</inkml:trace>
  <inkml:trace contextRef="#ctx0" brushRef="#br0" timeOffset="6367.26">13044 6376 0,'-13'0'0,"13"-13"16,26 13-1,-26-13 1,13 13-16,1 0 0,-1-13 16,13 13-16,-12 0 0,-1-13 0,26 13 15,-25-14-15,-1 14 0,13-13 16,-12 13-16,-1 0 15,0 0-15,14-13 0,-14 13 16,0 0 0,0 0-16,0 0 15,1 0-15</inkml:trace>
  <inkml:trace contextRef="#ctx0" brushRef="#br0" timeOffset="7206.72">13560 6310 0,'-13'-13'0,"26"26"0,-40-26 16,14 13-16,0 0 15,0 0-15,0 13 16,-1-13-16,14 14 16,-13-14-16,0 13 0,0 13 15,-1-13 1,14 1-16,0-1 0,0 0 15,0 0 1,14-13 0,-1 0-16,0 0 15,0 0-15,1-13 16,-1 13-16,-13-13 16,13 13-16,-13-13 0,13-1 15,-13 1-15,0 0 16,13 13-16,-13-13 15,14 26 48,-14 0-63,13-13 16,-13 13-16,13-13 15,-13 14 1,13-14-16,1-14 15,-1 14 1,0 0 0,0-13-1,0 13 1,1 0 0,-1 0-1,-13 13 1,13-13-1,0 0 17,-13-13-32,14 13 15,-1 0 1,0 0 0,0 0-1,1 0-15,-14 13 16,13-13-16,0 0 15,0 0 1</inkml:trace>
  <inkml:trace contextRef="#ctx0" brushRef="#br0" timeOffset="8009.33">14102 6072 0,'0'-13'0,"-13"39"31,13-12-31,0-1 0,0 13 16,-13-12-16,13-1 0,0 13 16,0-13-16,0 1 0,13 25 15,-13-25-15,0 12 0,0-13 16,13 1-16,-13-1 15,14 0-15,-41-26 47,14 13-47,0 0 0,-1 0 0,-65-13 32,53 13-32,-14 13 0,13-13 15,-12 13-15,12 0 16,1 0-16,13 1 15,13-1 1,92 13 15,-39-26-31,26 0 16,-52-13-16,26 0 16,0 0-16,-14-1 15,-25 1-15,25-13 16,-25 13-16,-14-1 15,0 1 1,-14 13 0,1 0-16,13-13 15,13 39 32,1-26-31,-14 14-16,13-14 0,0 13 15,0-13-15,1 13 0,-1 0 16,-13 0-16,13-13 16,-13 14-1,0-1-15,13-13 16,-26 13-16,26-39 47,-13 12-32,0 1-15,13 13 16,-13-13-16,14 13 0,-1-13 16,0 13-16,-13-13 15,27 13-15,-14-14 16,0 14-16</inkml:trace>
  <inkml:trace contextRef="#ctx0" brushRef="#br0" timeOffset="8517.48">14684 6032 0,'0'0'15,"-13"27"1,13-14 0,0 0-16,-13 14 0,13-14 0,0 27 15,-13-27-15,13 13 16,0-12-16,0-1 0,13 0 0,-13 0 15,0 1-15,0-1 0,0 0 16,-13 0 0,-1-26-1,1 13-15,0 0 16,0 0-16,0 0 0,-1 13 0,1-13 16,0 0-16,0 14 0,-1-1 15,1-13-15,0 13 0,0-13 16,13 13-16,-14 0 0,1-13 0,13 14 0,13-1 31,1-13-31,12 0 16,-13 0-16,1 0 0,12 0 15,-13-13-15,1 13 0,-1 0 16,0 0-16,0-14 0,0 14 16</inkml:trace>
  <inkml:trace contextRef="#ctx0" brushRef="#br0" timeOffset="9229.53">15280 5940 0,'-27'53'31,"14"-40"-31,13 13 16,-13 27-16,13-26 15,0-14-15,0 27 0,0-14 16,-13-13-16,13 1 0,0-1 0,0 0 15,0 0-15,0 1 16,-14-28 0,1 1-1,13 0-15,0-14 0,-13 1 16,13-14-16,0 14 0,0-14 16,13 0-16,-13 14 0,13 0 0,1-14 15,25 0-15,-26 27 0,1 0 16,12 13-16,-13 0 15,1 0-15,12 0 0,-13 13 0,1 0 16,12 27-16,-13-27 0,0 0 16,1 27-16,-1-14 15,-13-12-15,0-1 0,0 13 16,-13 1-16,-1 13 0,-12-14 0,13-13 16,-14 14-16,14-14 0,0 0 15,-14 0-15,14 1 0,0-14 16,-14 13-16,14-13 0,0 0 15,0 0 1,39-13 0</inkml:trace>
  <inkml:trace contextRef="#ctx0" brushRef="#br0" timeOffset="9937.4">15610 6271 0,'14'-14'0,"-28"28"0,41-41 15,-27 14-15,13 0 0,-13-1 16,0 1-16,13 0 0,-13 0 16,0-14-16,0 14 0,-13 0 15,13 0-15,0-1 16,-13 14-16,0 0 15,-1 0-15,1 0 0,13 14 0,-13-14 16,0 26-16,0-26 16,13 27-16,-14-1 15,28-13 1,-1 14-16,0-27 16,-13 13-16,13-13 15,0 0-15,1 0 0,12-13 16,-13-1-16,14 1 15,-14 0-15,0 0 16,0 0-16,1 13 0,-1-14 16,0 1-16,0 13 15,14 0 1,-14 13 0,0 14-16,1-1 15,-1-26 1,0 27-16,-13-14 15,13 0-15,0-13 16,1 13-16,-1-13 16,0 0-1,-13-13-15,13 13 16,1-13-16,-1 0 0,0-1 16,0 1-16,1 0 0,-1 0 15,0 13-15,0-13 16,0 26-1,1-13-15,-1 0 16,-13 13-16,13 0 0,0 0 16,-13 1-16,14-1 15,-14 0 1,13-13-16,-13 13 16,0 1-16</inkml:trace>
  <inkml:trace contextRef="#ctx0" brushRef="#br0" timeOffset="10077.76">16192 5966 0,'0'-13'0,"0"-13"31</inkml:trace>
  <inkml:trace contextRef="#ctx0" brushRef="#br0" timeOffset="10885.4">16510 6112 0,'-13'-13'0,"26"26"16,-39-26-16,12 13 16,1 0-16,0 13 0,0-13 15,-1 13-15,1 0 0,-13 1 16,12-1-16,1 0 15,13 0-15,0 0 16,13-13 0,14 0-1,-14 0-15,0-13 0,14 13 16,-14-13 0,0 13-16,1 0 15,12 13-15,-13-13 16,-13 13-1,13-13-15,14 0 16,-14 0-16,0 0 16,1 0-16,-1-13 0,0 0 0,0 13 15,1-13-15,-1-14 0,0 14 16,0-13-16,0-1 0,1 1 0,12-14 16,-13 14-16,1-1 15,-1 14-15,-13 0 16,0 39-1,0-13 1,0 14-16,0-14 0,0 13 16,0-12-16,0 12 0,0-13 0,0 14 15,0-14-15,0 14 0,0-14 0,0 0 16,0 0-16,0 0 0,0 1 16,0-1-16,0 0 0,0 0 15,-13 1 1,-1-28 15,1 14-31,0-13 31,26 0-15,0 0 0,1 13-1,-1 0-15,0 0 0,0-14 16,1 14-16,-1 0 0,0-13 0,0 13 0,0 0 15,1 0-15,-1-13 0,13 13 16,-12-13-16,-1 13 16,0 0-1,-13-13 17</inkml:trace>
  <inkml:trace contextRef="#ctx0" brushRef="#br0" timeOffset="11055.48">17066 6152 0,'13'0'15,"-13"13"-15,13 0 0,-13 27 47,-13-27-47,13 0 16</inkml:trace>
  <inkml:trace contextRef="#ctx0" brushRef="#br0" timeOffset="11165.56">17092 6112 0,'-13'-13'0,"0"13"15</inkml:trace>
  <inkml:trace contextRef="#ctx0" brushRef="#br0" timeOffset="11522.44">17291 6204 0,'0'14'0,"0"-1"16,0 0-1,13-13 1,-13-13 15,13 0-31,-13-1 0,0 1 16,13 13-16,-13-13 16,13 26 30,1-13-30,-1 0-16,0 13 16,0-13-16,1 0 15,-1 0-15,0 0 16,0 0-16,0 0 16</inkml:trace>
  <inkml:trace contextRef="#ctx0" brushRef="#br0" timeOffset="11959.87">17926 5953 0,'-14'66'32,"1"-39"-32,0 12 0,0 1 15,-1 13-15,-12 0 0,13-13 0,-14 52 16,14-52-16,-13 0 0,26-1 16,-14-12-16,1-1 0,13-13 0,-13 1 15,13-1-15,0 0 0,0 0 16,13-13-16,0-13 15,1 0-15,25-27 0,-12 27 16,-1-13-16,1-14 0</inkml:trace>
  <inkml:trace contextRef="#ctx0" brushRef="#br0" timeOffset="12459.59">18243 6456 0,'-13'-13'16,"13"-1"-16,0 1 0,0 0 15,0-14-15,13 14 16,-13-13-16,0-14 0,0 27 15,0 0-15,0-1 0,0 1 16,0 0-16,0 0 16,13 13-16,-13 13 47,13 0-47,-13 0 0,14-13 0,-1 14 15,0-14-15,0-14 16,1 14-16,-1-13 15,0 0-15,0 13 0,1-13 16,-1-1-16,0 14 16,-13-13-16,13 26 15,-13 1 1,13-1-16,-13 0 0,0 0 16,0 1-16,0-1 0,0 0 0,0 0 15,14 1-15,-14-1 0,13 0 16,-13 0-16,26-13 15,-26 13-15,14-13 0,-1 0 0,0 0 16,0 0 0</inkml:trace>
  <inkml:trace contextRef="#ctx0" brushRef="#br0" timeOffset="13272.54">18799 6403 0,'0'-27'16,"0"54"-16,13-67 0,-13 27 15,0 0-15,0 0 0,0-1 16,-13 1-16,13 0 0,0 0 16,-14 13-1,1 13 1,0-13-16,0 13 15,13 0-15,-14 1 0,14-1 16,0 0-16,0 0 0,0 0 16,0 1-16,0-1 0,14-13 15,-1 13-15,0-13 0,14 13 16,-14-13-16,0 0 0,27 0 16,-14 0-16,14 0 15,-14-13-15,1 13 0,-1-13 16,-12 13-16,12-13 0,-13-1 0,14 1 15,-14 0-15,0 0 16,-13 0-16,0-1 16,13 14-16,-13-13 0,-13 0 15,0 13 1,-14 0 0,27 13-16,-13-13 0,0 13 15,0 1 1,13-1-1,0 0-15,0 0 16,13-13 0,-13 13-16,13-26 15,0 13 1,1 0-16,-1-13 16,0 13-16,0-13 15,1 13-15,-1 0 16,40 13 15,-40 0-31,0 0 31,0 1-15,14-28 15,-14 14-15,14-13-16,-14 13 15,0 0 1,0 0 0,1 0-16,-1-13 15,0 13-15,-26 26 32</inkml:trace>
  <inkml:trace contextRef="#ctx0" brushRef="#br0" timeOffset="13595.57">18071 6839 0,'212'-39'31,"-146"26"-31,-13-1 16,13 14-16,0-13 0,0 0 16,0 13-16,0-13 0,-13 13 0,14-14 15,-15 14-15,1 0 0,-13-13 0,0 13 16,-1 0-16,-12 0 0,13-13 15,-27 13-15,0 0 16,0 13-16,-39-13 16</inkml:trace>
  <inkml:trace contextRef="#ctx0" brushRef="#br0" timeOffset="13812.79">18031 6892 0,'-66'14'0,"53"-1"15,39-13 1,1 0 0,-1 0-16,27-13 0,-13 13 0,26-14 15,0 14-15,14-13 0,39-13 16,-66 26-16,0-14 0,-1 1 16,-12 13-16,13-13 0,-13 0 0,-14 13 15,1-13-15,-14 13 0,13 0 16,-12-14-16</inkml:trace>
  <inkml:trace contextRef="#ctx0" brushRef="#br0" timeOffset="14688.53">12369 6654 0,'0'-13'0,"0"-13"32,-13 26-32,0-14 15,0 14-15,-1-13 0,1 13 16,0 0-16,-14 0 15,14 0-15,-13 0 0,-40 0 0,-14 27 16,27-27-16,14 13 16,-14 0-16,13 0 0,-608 278 47,555-225-32,-13 14 1,-52 79 15,78-67 32,67-79-48</inkml:trace>
  <inkml:trace contextRef="#ctx0" brushRef="#br0" timeOffset="15159.32">10861 7078 0,'-13'13'0,"13"0"16,-13 14-16,13-14 0,-14 0 15,1 13-15,13-12 0,0-1 16,-13 13-16,0 14 0,13-27 16,0 0-16,-13 14 0,13-14 15,0 0-15,0 1 16,0-1-16,13 0 16,0-13-16,0 0 15,0-13-15,1 13 16,-1 0-16,0 0 0,0 0 15,14 0-15,-14-13 0,0 13 0,1 0 16,-1 0-16,0 0 16,0 0-16,0 0 0,1-14 15,-1 14-15,0 0 16,0 14 15</inkml:trace>
  <inkml:trace contextRef="#ctx0" brushRef="#br0" timeOffset="22700.44">13335 6681 0,'0'0'0,"-26"0"0,12 13 15,1-13 1,53-13 15,-27 13-31,13-13 16,14 13-16,13-14 0,-13 1 16,26 0-16,0 0 0,13-1 0,1 1 15,-1 0-15,1 0 0,12-14 0,-12 14 16,12 0-16,1 0 0,-1-1 15,1 14-15,-14-13 0,1 0 0,12 0 16,-12-1-16,-14 14 0,13-13 0,-13 13 16,-13-13-16,0 13 0,-13 0 15,0-13-15,-14 13 0,-13 0 16,14 0-16,-14 0 0,0 0 0,0-14 16,1 14-16,-1 0 0,-53 0 31,0 14-16,14-14-15,0 0 0,-27 13 0,13-13 16</inkml:trace>
  <inkml:trace contextRef="#ctx0" brushRef="#br0" timeOffset="23105.28">13388 6747 0,'-13'0'16,"52"0"-1,-25-13-15,12 13 16,14-14-16,52 1 16,-39 0-16,13 13 0,1-13 15,-1 0-15,0-1 0,0 1 0,0 0 16,0 13-16,0-13 0,1-1 0,-1 1 15,0 0-15,-13 0 0,13 13 16,-26-14-16,13 14 0,-14-13 0,-12 13 16,-1-13-16,1 13 0,-1 0 15,1-13-15,-14 13 0,0 0 16,0 0-16,0 0 0,1-13 16,-1 13-16,0 0 15,0 13 16,1-13 1,-14 13-17</inkml:trace>
  <inkml:trace contextRef="#ctx0" brushRef="#br0" timeOffset="24128.76">18574 6866 0,'39'0'16,"-25"0"-1,-1-13-15,0 13 0,0 0 16,14 0-16,-14 0 0,13 0 0,1-14 15,-1 14-15,1 0 0,-1 0 16,1-13-16,12 13 0,-12 0 0,-1-13 16,1 13-16,13 0 0,-27-13 15,13 13-15,-13 0 0,1 0 16</inkml:trace>
  <inkml:trace contextRef="#ctx0" brushRef="#br0" timeOffset="24397.46">18653 6906 0,'13'0'16,"-26"0"-16,53 0 15,-27 0-15,0-14 0,0 14 16,1 0-16,-1 0 0,0 0 0,0 0 16,1 0-16,-1 0 0,0 0 15,0 0-15,1 0 16,-1 0-16,0 0 16,0 0-16</inkml:trace>
  <inkml:trace contextRef="#ctx0" brushRef="#br0" timeOffset="28873.37">10372 8506 0,'0'-13'15,"-14"40"1,1-14-16,13 0 16,-13 13-16,0 1 0,0-1 15,-14 41-15,14-41 0,0 27 16,-1-40-16,1 27 0,0-14 15,13-12-15,-13-1 16,13 13-16,-14-13 0,14 1 16,0-1-16,-13-13 15</inkml:trace>
  <inkml:trace contextRef="#ctx0" brushRef="#br0" timeOffset="29681.18">10213 8546 0,'26'-13'16,"-12"0"-16,-1-1 0,0 14 15,-13-13-15,27 0 0,25-14 32,-52 14-32,14 13 15,-1 0-15,0 0 16,0 13-16,-13 1 16,14-14-16,-14 13 0,13 0 15,0 0-15,-13 1 16,0-1-16,13-13 0,-13 13 15,0 0-15,14-13 0,-14 13 16,13 1-16,-13-1 31,13-13-31,-13 13 16,0 0 15,-13-13 79,0 0-79,-1 0-16,1 0 17,13 14-17</inkml:trace>
  <inkml:trace contextRef="#ctx0" brushRef="#br0" timeOffset="60091.62">17529 2381 0,'26'-13'15,"1"13"1,12 0-16,1 0 0,26-13 0,0 13 15,14 0-15,12 0 0,1-13 16,13 13-16,-14 0 0,14 0 0,-13-14 16,13 14-16,-1 0 0,1 0 0,-13 0 15,-1 0-15,-12 0 0,12 0 16,-12 0-16,-14-13 0,0 13 0,-13 0 16,0 0-16,0 0 0,-14 0 15,1 0-15,-13 0 0,-1 0 16,-13 0-16,14 0 0,-14 0 0,0 0 15,0 0-15,1 0 16,-41-13 0,1 13-16</inkml:trace>
  <inkml:trace contextRef="#ctx0" brushRef="#br0" timeOffset="60379.98">18521 2408 0,'13'13'0,"0"-13"0,40 0 16,-26 0-16,12 0 0,80 0 15,-66 0-15,27 0 16,-1 0-16,-26 0 0,13 0 0,-13 0 16,13 0-16,-13 0 0,0 0 0,-13 0 15,13 0-15,13 0 0,-40-13 16,1 13-16,-14 0 15,13 13-15,-12-13 0,-1 0 0,0 0 16,0 0-16,-39 0 31,13 0-31,-1 13 16,-12-13-16,-1 0 0</inkml:trace>
  <inkml:trace contextRef="#ctx0" brushRef="#br0" timeOffset="62760.61">9459 3175 0,'26'0'32,"1"0"-32,-1 0 15,14 0-15,13 0 0,0-13 0,26 13 16,0 0-16,1 0 0,12 0 0,1 0 15,13 0-15,0 0 0,0 0 16,-1 0-16,28 0 0,12 0 16,-12 0-16,-28 0 0,28 0 0,-1 0 15,13 0-15,-12-13 0,-1 13 0,14 0 16,-14-14-16,13 14 0,133-26 16,-132 26-16,-14-13 0,0-1 0,133-12 15,-159 26-15,-14-13 16,14-1-16,79 1 15,-105 13-15,-1-13 0,0 13 0,41 0 16,-81-13-16,1 13 0,-14 0 16,1 0-16,-1 0 0,-12 0 15,-1 0-15,0 0 0,0 0 0,0 0 16,1 0-16,-1 0 0</inkml:trace>
  <inkml:trace contextRef="#ctx0" brushRef="#br0" timeOffset="63347.49">14870 3096 0,'0'-14'16,"39"14"0,-12 0-16,26-13 0,0 13 15,26 0-15,-13-13 0,27 13 16,-1 0-16,1-13 0,0 13 0,12 0 15,1 0-15,-13 0 0,13 0 16,-14 0-16,1 13 0,-14-13 0,1 0 16,65 0-16,-92 13 0,0-13 15,-13 0-15,13 13 0,-27-13 16,106 0 15,-118 0-31,-54-13 16,13 13-1</inkml:trace>
  <inkml:trace contextRef="#ctx0" brushRef="#br0" timeOffset="63659.27">15108 3149 0,'53'26'16,"26"-13"-1,67-13-15,12 0 16,-65 0-16,-1 0 16,1 0-16,92 0 0,-105 0 15,-1 0-15,14 0 0,-27 0 16,53-13-16,-66 13 0,0 0 16,13 0-16,-13 0 15,-27 0-15,1 0 0,-14 0 0,0 0 16,14 0-16,-14 0 15,0 0-15,0 0 16,1 0-16,-14-13 16,0 0 15,-14-1-31,1 14 16,0-13-1,13 0-15</inkml:trace>
  <inkml:trace contextRef="#ctx0" brushRef="#br0" timeOffset="-120485.44">16828 3770 0,'13'0'188,"40"0"-188,26 0 15,-13 0-15,27 0 16,1190 0 140,-1230 0-156,0 0 16,26 0-16,93-13 62,-119 13 720,13 0-767,0 0-15,27 0 16,-40 0-16,0 0 15,-27 0-15,-12 0 16,-1 0 47,0 0-32,0 0-16,14 0 1,-14 0-16,0 0 16,0 0-16,14 0 15,-14 0 1,-13-13 0,13 13-1,1 0-15,-1 0 16,0-27-1,0 27 1,0-13 0,1 13-16,-14-26 15,13 12-15,0 1 16,-13-13-16,0-1 16,13-12-16,-13 25 15,0-25-15,0-1 16,0-13-16,0 0 15,0 27-15,0-14 16,0 0-16,0 1 16,0 12-16,0 1 15,0 13-15,0-1 16,0-12-16</inkml:trace>
  <inkml:trace contextRef="#ctx0" brushRef="#br0" timeOffset="-119270.88">13507 8229 0,'13'0'109,"27"0"-93,13 0-16,39 0 15,-12 0-15,52 0 16,-53 0-16,27 0 15,357 0 32</inkml:trace>
  <inkml:trace contextRef="#ctx0" brushRef="#br0" timeOffset="-118847.23">13864 8414 0,'106'0'0,"-212"0"0,318 0 0,-106 0 16,-40 0-16,-26 0 15,-1 0-15,1 0 16,-27 0-16</inkml:trace>
  <inkml:trace contextRef="#ctx0" brushRef="#br0" timeOffset="-118123.23">12065 8321 0,'26'0'93,"14"0"-77,13 0 0,40 0-16,12 0 15,1 0-15,-26 0 16,-14 0-16,13 0 15,-52 0-15,-14 0 16</inkml:trace>
  <inkml:trace contextRef="#ctx0" brushRef="#br0" timeOffset="-114107.78">4220 4604 0,'79'0'125,"41"0"-125,25 0 15,14 0-15,66 0 16,-14 0-16,80 0 16,0 0-16,-39 0 15,-27 13-15,26-13 16,14 0-16,-80 13 15,-26-13-15,-40 0 16,-27 0-16,-12 0 16</inkml:trace>
  <inkml:trace contextRef="#ctx0" brushRef="#br0" timeOffset="-110443.4">4485 3903 0,'26'0'125,"40"0"-125,40 0 16,26 0-16,27 13 16,26-13-1,54 0-15,-41-13 16,14 13-16,-14 0 15,-13 0-15,-26 0 0,-66 0 16,39 0 0,-39 0-16,12 0 15,-52 0-15,0 0 16,-26 0-16,-1 0 16,14 0-16,-27 0 15,13 0 1,-12 0-16,-1 0 15,13 0-15,14 0 16,-13 0-16,12 0 16,-12 0-16,12 0 15,1 0-15,13 0 16,-13 0 0,13 0-16,-1 0 15,-12 0-15,13 0 0,-13 0 16,-1 0-16,-25 0 15,-1 0-15,0 0 16,0 0 62,1 0-47,25-14-15,1 1-16,0 0 16,-27 0-16,0 13 15,14 0-15,-27-14 16,13 14-16,0 0 47,0 0-16,-13 27 813,0-1-844,0 1 0,0-14 15,0 0 1,0 1-16,0 12 0,0-13 16,0 14-1,0-14 1,0 13-16,0-12 16,0 12-16,0-13 15,0 14-15,0-14 31,0 0-31,0 0 16,0 1-16,0-1 16,0 0-16,0 0 15,0 1 1,0-1-16,0 13 16,0-13 15,0 1-16,0-1 17,0 0-1,0 0 78,0 1-93,0 12-16,0 1 16,-13-14-1,13 0-15,0 0 16,-13-13-1,13 13 1,0 1 78,0-1-94,0 0 15,-13 0 1,-1 1 15,1-14-15,13 13 0,-26-13-1,12 0 16,1 0-15,0 0-16,0 0 16,0 0-1,-1 0-15,1 0 16,-13 0-16,12 0 16,1 0-16,0 0 15,-14 0-15,14 0 16,-66 13-16,39-13 15,14 0-15,-1 0 16,1 0-16,13 0 16,-1 0-16,1 0 31,-13 0-15,26 13-16,-14-13 15,-12 0-15,-1 14 16,14-14-1,0 0-15,0 0 16,0 0-16,-1 0 16,1 0-1</inkml:trace>
  <inkml:trace contextRef="#ctx0" brushRef="#br0" timeOffset="-108247.83">4683 3903 0,'-13'0'94,"0"0"-78,-1 0-16,1 0 15,-13 0-15,13 0 16,-27 0-16,0 0 16,14 0-1,-14 0-15,-13 0 16,13 0-16,-13 0 15,1 0-15,-1 0 16,13 0-16,14 0 16,-14 0-16,13 0 15,1 0-15,-1 0 16,1 0 15,26 13 172,0 13-187,13-12-16,0 12 16,-13-13-16,14 14 15,-1-1 1,0 14-16,-13 13 15,13-27-15,-13 14 16,0 0-16,14-1 16,-1 1-16,-13-27 15,0 27-15,13-27 16,-13 0 0,13 14-16,-13-14 15,0 0-15,14 0 16,-14 1-16,0-1 15,13 13-15,-13 1 32,13-27-32,-13 13 15,0 0-15,13 1 16,-13-1-16,13-13 312,14 0-296,-1 0-16,27 0 0,-13 0 16,13 0-1,13 0-15,-40 13 16,1-13-16,-14 0 16,0 0-16</inkml:trace>
  <inkml:trace contextRef="#ctx0" brushRef="#br0" timeOffset="-85031.9">10993 9975 0,'40'0'141,"13"0"-141,13 0 15,27 0-15,13 0 16,-27 0-16,0 0 16,1 0-1,-27-13-15,0 13 16,-14 0-16,-12 0 15,-1 0-15,-26-14 0,13 14 16</inkml:trace>
  <inkml:trace contextRef="#ctx0" brushRef="#br0" timeOffset="-83036.58">12634 9988 0,'13'13'125,"27"-13"-125,-1 0 15,54 0-15,39 0 16,-13 0-16,27 0 15,-27 0-15,13 0 16,27 0-16,-53 0 16,0 0-16,-67 0 15,41 0-15,-54 0 16,-13 0 0</inkml:trace>
  <inkml:trace contextRef="#ctx0" brushRef="#br0" timeOffset="-80489.45">12528 11496 0,'13'0'79,"0"0"-64,1-13-15,25 13 16,28-13-16,38-14 15,-12 14 1,26 13-16,27-13 0,-14 0 16,27-1-1,-1 1-15,14-27 0,133 27 16,-200 13-16,-52 0 16,-39 0-1,-1 0-15</inkml:trace>
  <inkml:trace contextRef="#ctx0" brushRef="#br0" timeOffset="-77318.79">3135 12316 0,'14'14'47,"52"25"-31,-27-12-16,41-1 15,52 1-15,0-27 16,54 26-16,25-26 16,41 0-16,39 0 15,251 0-15,-79 0 16,-26 27-16,26-27 16,-27 0-1,107 0-15,-147 0 0,-38 0 16,78 0-16,-79 0 15,146 13 1,-133-13-16,-92 0 16,-13 0-16,52 0 15,-171 0-15,13 0 16,-40 0-16,-13 26 16,-1-26-16,-65 0 15,-13 0-15,-1 0 16,-13 0-1</inkml:trace>
  <inkml:trace contextRef="#ctx0" brushRef="#br0" timeOffset="-72259.13">10716 11787 0,'0'40'62,"-14"13"-62,1 39 16,0-12-16,0-27 16,-1-14-16,1-12 15,0 26-15,13-14 16,-13 14-16,0-39 16,13-1-16,0 0 15,0 0 1</inkml:trace>
  <inkml:trace contextRef="#ctx0" brushRef="#br0" timeOffset="-71103.88">10636 11774 0,'13'0'125,"80"-13"-125,13 13 16,53 0 0,13 0-16,26 0 15,40 0-15,14 0 16,105 0-16,13 0 15,-118 0-15,12 0 16,-39 0-16,-27-13 16,-26 13-16,0-14 15,-13 1-15,-27 13 16,-52 0-16,12-26 16,-12 26-16,-14-14 15,13 14-15,-13 0 16,-13 0-16,27 0 15,-27 0-15,13 0 16,26 0-16,1 0 16,-27 0-16,27 27 15,-40-27-15,13 0 16,-26 0-16,-27 0 16,0 0-1,0 0-15,0 0 16,1 0-1,-1 0-15,13 0 16,14 0-16,-13 0 16,12 0-1,-26 0-15,14 0 16,-14 0-16,14 0 16,-1 0-16,0 0 15,1 0-15,-1 0 16,27 0-16,0 0 15,-13 0-15,39 0 32,-65 0-32,-1 0 15</inkml:trace>
</inkml:ink>
</file>

<file path=ppt/ink/ink17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2:41:49.207"/>
    </inkml:context>
    <inkml:brush xml:id="br0">
      <inkml:brushProperty name="width" value="0.05292" units="cm"/>
      <inkml:brushProperty name="height" value="0.05292" units="cm"/>
      <inkml:brushProperty name="color" value="#0070C0"/>
    </inkml:brush>
  </inkml:definitions>
  <inkml:trace contextRef="#ctx0" brushRef="#br0">1217 3664 0,'13'0'47,"1"27"-47,25 13 16,27 105-16,-39-65 15,-1-1-15,1-26 16,-1 251 62</inkml:trace>
  <inkml:trace contextRef="#ctx0" brushRef="#br0" timeOffset="730.9">1257 4101 0,'66'79'62,"0"1"-46,-13-27-16,-40-14 16,27 14-16,-14-13 0,1 26 15,-1-26 1,-12 0-16,-14-14 0,13 0 16,-13-12-1,13-1-15,-13-40 63,26-12-63,-12 12 15,-1-12-15,13 12 16,-12 14-16,12-53 16,0 39-16,-12 14 15,-1-13-15,0-1 16,-13 14-16,0 0 15,0-1-15,0 1 16,0 0 0</inkml:trace>
  <inkml:trace contextRef="#ctx0" brushRef="#br0" timeOffset="2070.86">5490 3744 0,'0'13'110,"13"27"-110,-13-14 15,27 27-15,-1-26 16,-26 12-16,13 27 16,14 1-16,-1-1 15,-26-27-15,14 14 16,-1 13-16,-13-39 16,0-1-16,0-12 15,13-1-15,-13 0 16</inkml:trace>
  <inkml:trace contextRef="#ctx0" brushRef="#br0" timeOffset="3183.78">5464 4207 0,'26'13'31,"40"27"-15,0 39-16,1-13 16,-41-13-16,27-13 15,-40 13-15,27-13 16,-14-14-16,-26 0 16,27-12-16,-40-28 125,13-25-110,0-14-15,13-13 16,13 13-16,-13 13 0,27-39 15,0 13 1,-1-40-16,1 40 16,-13 39-16,-27-13 15,0 27-15,13 0 16</inkml:trace>
  <inkml:trace contextRef="#ctx0" brushRef="#br0" timeOffset="4447.85">15055 5980 0,'26'0'110,"14"0"-95,26 0-15,53 0 16,-26 0-16,-14 0 15,27 0-15,39 0 16,14 0-16,-53 0 16,13 0-16,-92 0 15,-14 0-15,0 0 16,0 0 0</inkml:trace>
  <inkml:trace contextRef="#ctx0" brushRef="#br0" timeOffset="6861.21">15346 6972 0,'13'0'125,"80"0"-125,39 0 16,27 0-16,-14 0 16,14 0-16,-40 0 15,13 0-15,-52 0 16,-54 0-16,1 0 15</inkml:trace>
  <inkml:trace contextRef="#ctx0" brushRef="#br0" timeOffset="8774.12">14989 8057 0,'13'0'109,"0"0"-109,0-14 16,1 14-16,25-13 16,-12 0-16,12 13 15,28 0-15,12 0 16,0 0 0,1 0-16,-27 0 0,39 0 15,27 0-15,-26 0 16,-27 0-1,-13 0-15,0 0 0,-13 0 16,-1 0-16,1 0 16</inkml:trace>
  <inkml:trace contextRef="#ctx0" brushRef="#br0" timeOffset="11038.75">15094 9141 0,'27'-26'172,"-1"13"-172,-12 13 16,25-14-16,1-12 15,0 26-15,-1-26 16,1 12-16,39 1 15,-39 0-15,13 13 16,26 0-16,-26 0 16,53 0-16,-40 0 15,-13 0-15,-13 0 16,0 0-16,-14 0 16,-13 0-16</inkml:trace>
</inkml:ink>
</file>

<file path=ppt/ink/ink17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2:42:20.037"/>
    </inkml:context>
    <inkml:brush xml:id="br0">
      <inkml:brushProperty name="width" value="0.05292" units="cm"/>
      <inkml:brushProperty name="height" value="0.05292" units="cm"/>
      <inkml:brushProperty name="color" value="#0070C0"/>
    </inkml:brush>
  </inkml:definitions>
  <inkml:trace contextRef="#ctx0" brushRef="#br0">13335 7355 0,'-13'0'0,"0"0"63,-1 0-63,1 0 31,13 14 47,0 78-78,0 41 16,0-1-16,0 13 16,0 14-16,27 66 15,12 79-15,1 80 16,0-80-16,-1 0 15,1-39-15,0 185 16,-14-159-16,1-13 16,-1-14-16,14 1 15,-27-1-15,0-118 16,14 26 0,-14-27-16,0-52 15,-13 26-15,0-40 16,13-12-16,1-1 15,-14-13-15,0-14 0,0 1 16,0 13-16,0-13 16,0 26-1,0-26-15,0-1 16,0 1-16,0-14 16,0 1-16</inkml:trace>
  <inkml:trace contextRef="#ctx0" brushRef="#br0" timeOffset="2466.96">13388 7342 0,'40'0'109,"52"0"-109,93 0 0,1 0 16,316 0 0,-78 0-16,158-13 15,-13 13-15,79 0 16,106 0-16,-212 0 15,-13 0-15,-26 0 16,-66 0-16,65 0 0,-65 0 16,-40 0-1,-119 0-15,-14 0 16,-92 0-16,-13-13 16,13 13-16,-13 0 15,26 0-15,-26 0 16,-1 0-16,-25 0 15,25 0-15,28 0 16,25 0-16,41 0 16,12 0-16,-12 0 15,65 0-15,-158 0 16,0 0-16,-14-14 16,-39 1-16,0 13 15,-93 0-15,0 0 16,-13 13 93,0 67-109,14 52 16,-1 0-1,0 27-15,0-13 16,-13 39-16,27 66 16,-27-66-16,0 80 15,13 0-15,27 224 16,-1-158-16,1-53 16,-27-120-16,0 107 15,27 13-15,-27-106 16,1 13-16,25-53 15,-12-13-15,-27 40 16,13-79-16,0 12 16,-13 14-16,13-40 15,-13 13-15,0 1 16,0-54-16,0 27 16,0 0-1,0-13-15,0 13 16,0-14-16,0 1 15,0 0-15,0-14 16,0 14-16,0 53 31,0-54-15,0 1-16,0 13 16,0 159-16,0-41 31,0 1-16,0 27 17,0-159-32,-13-40 109,-40 0-109,0 0 16,-13 0-16,-40 0 15,-39 0 1,-14 0-16,-105 0 16,12 0-16,-105 0 15,172 0-15,-53 0 16,13 26-16,0-26 15,-66 13-15,66 0 16,-13 1-16,66 12 16,13-13-16,-79 1 15,39-1-15,1 0 16,-40 0-16,13-13 16,-26 0-16,39 0 15,-53 0-15,-12 0 16,-200 0-16,120 0 15,-40 0 1,-13-26-16,53 26 0,-119 0 16,79-13-16,198 13 15,-39 0-15,66 0 16,0 0-16,14 0 16,12 0-16,27 0 15,13 0-15,-39 0 16,79 0-16,-27 0 15,-26 0 1,-13 0-16,52 0 16,-52 0-16,53 0 15,-14 0-15,14 0 0,26 0 16,0-14 0,13 14-16,0-13 15,-39 0-15,26 13 16,13-13-16,1 13 15,-14 0-15,-13-14 16,13 14-16,-40-13 16,27 13-16,-27-26 15,27 26-15,-13 0 16,13 0-16,0-13 16,-93 13-16,106 0 15,13 0-15,27 0 16</inkml:trace>
  <inkml:trace contextRef="#ctx0" brushRef="#br0" timeOffset="4282.57">18746 13057 0,'26'-13'125,"1"0"-125,-1 0 16,40 13-16,14 0 15,-1 0-15,-39 0 16,39 0-16,-39 0 16,13 0-16,-14 0 15,-25 0-15,-1 0 16,13 0 0,-12 0 15,-41 0 78,-13 13-109,1-13 16,12 0-16,-26 13 15,14 0 1,-28-13-16,15 13 16,12-13-16,0 0 15,14 0-15,-1 14 16,-26-14-16,14 0 16,12 0-16,-13 13 15,27-13-15,0 0 47</inkml:trace>
  <inkml:trace contextRef="#ctx0" brushRef="#br0" timeOffset="9273.18">20161 13070 0,'27'-13'93,"-14"0"-93,0 13 16,0 0-16,27-13 16,-13 13-16,-14 0 15,13 0 1,1 0-16,-14 0 0,0 0 16,0 0-16,1 0 15,-1 0 1,13-13-16,-12 13 31</inkml:trace>
  <inkml:trace contextRef="#ctx0" brushRef="#br0" timeOffset="11764.17">20241 13269 0,'13'26'16,"-13"-12"0,0-1-16,0 0 15,0 0-15,0 0 0,0 1 16,0-1-16,0 0 0,0 0 16,0 1-16,-13-1 0,13 0 15,0 0-15,0 1 0,0-1 16,0 0-16,0 0 15</inkml:trace>
  <inkml:trace contextRef="#ctx0" brushRef="#br0" timeOffset="12237.15">20135 13441 0,'26'-13'15,"-13"26"1,1-13-16,-1 0 16,0 0-16,14 0 15,-14 0-15,0 0 0,0 0 16,14 0-16,-14 0 15,0 0 1,0 0-16</inkml:trace>
  <inkml:trace contextRef="#ctx0" brushRef="#br0" timeOffset="14345.84">20558 13282 0,'0'13'0,"0"1"16,0-1-16,0 0 15,0 0-15,0 0 16,0 1-16,0-1 0,0 0 16,0 0-16,13 1 0,-13-1 15,0 0-15,0 0 16,0 1-16,-13-1 16</inkml:trace>
  <inkml:trace contextRef="#ctx0" brushRef="#br0" timeOffset="15096.84">17224 13467 0,'27'0'47,"-14"0"-47,0 0 15,1 14-15,-1-14 0,0 0 0,0 0 16,14 0-16,-14 0 0,0 0 16,0 0-16,1 0 15,-1 13-15,0-13 16,0 0-16</inkml:trace>
  <inkml:trace contextRef="#ctx0" brushRef="#br0" timeOffset="15360.15">17555 13361 0,'0'-13'0,"0"53"31,0-27-31,0 0 15,0 1-15,0-1 16,0 0-16,0 0 0,0 1 16,0-1-16,13 0 15,-13 0-15,0 0 16</inkml:trace>
  <inkml:trace contextRef="#ctx0" brushRef="#br0" timeOffset="17585.89">21736 13282 0,'0'27'31,"0"-14"-31,0 0 0,0 0 15,0 0-15,0 1 0,0-1 16,0 0-16,0 0 16,0 1-16,0-1 0,0 0 0,0 0 15,0 1-15,0-1 16,0 0-16,0 0 0</inkml:trace>
  <inkml:trace contextRef="#ctx0" brushRef="#br0" timeOffset="17803.89">21643 13494 0,'0'-13'16,"-13"13"-16,13-14 31,13 14-15,0 0-16,0 0 15,1 0-15,-1 0 16,13 0-16,-12 0 0,-1 0 16,0-13-16,0 13 0,0 0 0,1 0 15</inkml:trace>
  <inkml:trace contextRef="#ctx0" brushRef="#br0" timeOffset="18196.68">21987 13335 0,'13'-13'0,"-26"26"0,39-26 16,-12 26-1,-1-13 1,-13 13-16,0 0 15,-13 1-15,13-1 0,-14 0 16,14 0-16,-13 1 0,13-1 16,-13 0-16,13 0 0,0 1 0,-13-14 15,13 13-15,0 0 16,0 0-16,13-13 16,13 0-1,-12 0-15,105-26 47,-93 26-16</inkml:trace>
  <inkml:trace contextRef="#ctx0" brushRef="#br0" timeOffset="19060.97">15915 13309 0,'-14'13'31,"14"0"-31,0 0 16,0 0-16,0 1 0,0-1 15,0 27 1,0-27-16,0 0 16,0 0-16,0 1 0,0-1 15,0 0-15</inkml:trace>
  <inkml:trace contextRef="#ctx0" brushRef="#br0" timeOffset="19657.96">15584 13467 0,'40'0'31,"-27"-13"-31,0 13 16,0 0-16,1 0 15,-1 0-15,0-13 0,0 13 0,0 0 16,1 0-16</inkml:trace>
  <inkml:trace contextRef="#ctx0" brushRef="#br0" timeOffset="20295.62">15809 13348 0,'0'0'15,"13"0"1,0-13-16,1 26 16,-1-13-16,0 0 15,-13 13-15,13-13 16,-13 14-16,0-1 0,0 0 15,0 0-15,0 1 16,0-1-16,0 0 0,0 0 16,-13 1-16,13-1 15,0 0-15,-13 0 0,13 0 16,0 1 0,0-1-1,13-13 16,0 0-15,0-13-16,14 13 0,-14 0 16,0-14-1,27 14-15,-27 0 0,1-13 16,-1 13-16,0 0 0,13-13 0,-12 13 16,-1 0-16,0 0 15,0-13-15,1 13 16,-1 0-16,0 0 15,0-13 1</inkml:trace>
  <inkml:trace contextRef="#ctx0" brushRef="#br0" timeOffset="21288.75">23297 13203 0,'13'-27'15,"0"27"1,0 13 15,-13 1-31,0-1 16,-13 0-1,13 0-15,-13-13 16,0 14-16,13-1 0,-14-13 16,28 13 15,-1-13-31,0 0 15,0 13 1,0-13-16,1 14 16,-1-14-16,-13 13 15,-66 26 32,53-39-47,-1-13 16,1 26-16,-40-13 15</inkml:trace>
  <inkml:trace contextRef="#ctx0" brushRef="#br0" timeOffset="22132.97">14221 13401 0,'27'-13'16,"-14"13"-16,0 0 16,1 0-1,-1 0-15,0 0 16,0 0-16,0 0 0,1 0 15</inkml:trace>
  <inkml:trace contextRef="#ctx0" brushRef="#br0" timeOffset="22653.08">14499 13282 0,'13'0'16,"1"13"-16,-14 1 15,0-1 1,0 0-16,-14 0 0,14 0 16,0 1-1,0-1 1,14 0-16,-1 0 15,0 1 1,0-14-16,-13 13 0,14-13 16,-14 13-16,13 0 0,-13 1 15,0-1-15,0 0 16,0 0-16,-13-13 0,13 13 16,-14-13-16,1 14 0,0-14 15,-14 13-15,14-13 0,-13 0 16,12 0-16,1 0 15,0-13 1</inkml:trace>
  <inkml:trace contextRef="#ctx0" brushRef="#br0" timeOffset="23592.83">22847 13361 0,'-13'14'16,"52"-28"46,-26 14-46,1 0-16,-1-13 0,0 13 15,0 0-15,1 0 0,-1-13 16,0 13 0</inkml:trace>
  <inkml:trace contextRef="#ctx0" brushRef="#br0" timeOffset="32493.27">8811 1323 0,'0'0'0,"26"-13"16,1 13 0,12 0-16,14-14 0,13 1 15,14 13-15,-1-13 0,14 0 0,-1 0 16,1 13-16,13-14 15,0 14-15,-14-13 0,14 13 0,0 0 16,-14 0-16,14-13 0,-13 13 0,-1 0 0,1 0 16,-14 0-16,1 0 0,-14 0 15,40 0-15,-53 0 16,-27 0-16,27 0 0,-40 0 16,1 0-16,-54 13 15,0-13 1,-13 0-16</inkml:trace>
  <inkml:trace contextRef="#ctx0" brushRef="#br0" timeOffset="32727.93">9194 1442 0,'-79'0'0,"52"0"0,14 0 16,53 0 0,13 0-16,106-13 15,-67 0-15,40-1 0,1 1 16,12 13-16,1-13 15,-1 0-15,133-1 0,-146 14 16,1-13-16,92 0 16,-120 0-16,67-1 0,-92 14 15,52-13-15,0-26 32</inkml:trace>
  <inkml:trace contextRef="#ctx0" brushRef="#br0" timeOffset="33312">8665 13 0,'0'0'0,"-13"27"15,13-1 1,-13 14-16,-1 66 16,1-27-16,0 0 0,-14 93 0,1-66 15,13 79-15,0-92 16,-1-27-16,14 80 0,0-93 15,0 39-15,0-52 16,0 0-16,0-27 0,0 13 0,14 1 16</inkml:trace>
  <inkml:trace contextRef="#ctx0" brushRef="#br0" timeOffset="34296.82">12475 26 0,'0'53'16,"0"0"-16,0 0 0,0 0 15,0 13-15,0-13 0,13 13 0,-13-13 16,14 27-16,-1-27 0,-13-14 15,13 27-15,0-39 16,-13-1-16,13 1 0,-13-14 0,0 13 16,14 1-16,-14-14 0,13 0 15,-13 14-15,0-14 16,13 0-16,-13 0 0,0 1 16,0-1-1,-13 0-15,13 0 0,-13-13 16,13 14-16,-14-14 0,1 0 0,0 13 15,0-13-15,0 13 16,-1-13-16,-12 0 0,-1 13 0,-26-13 0,14 0 16,-14 14-16,-26-14 0,-80 13 15,79-13-15,-25 13 0,-120 0 16,92-13-16,-1004 40 47,938-27-32,-79 14-15,199-27 16,0 13-16,-159 13 16,-27 14-1,225-27-15,-13 0 16,-13 1 0,0-1 15,53-13-31,0 0 15,39 0 17</inkml:trace>
  <inkml:trace contextRef="#ctx0" brushRef="#br0" timeOffset="41266.01">20280 13335 0,'-13'0'0,"0"13"93,13 0-77,0 1-16,-13-1 0,13 0 0,0 0 16,0 1-16,-14 12 0,14-13 15,0 1-15,0 12 0,0-13 0,0 0 16,0 14-16,-13-14 0,13 0 0,0 1 16,0-1-16,0 0 15,0 0-15,0 0 16,0 1-16,0-1 15</inkml:trace>
  <inkml:trace contextRef="#ctx0" brushRef="#br0" timeOffset="41528.21">20188 13481 0,'0'-14'15,"13"14"17,0 0-32,0 0 0,1 0 15,-1 0-15,0 0 16,14 0-16,-14 0 15,0 0-15,0 0 16,0 0-16,1 0 0</inkml:trace>
  <inkml:trace contextRef="#ctx0" brushRef="#br0" timeOffset="42028.31">20585 13388 0,'-14'13'47,"14"0"-47,0 1 16,0-1-16,0 0 0,-13-13 15,13 13-15,0 1 16,0-1-16,0 0 0,-13 0 0,13 0 16,0 1-1,0-1 1</inkml:trace>
  <inkml:trace contextRef="#ctx0" brushRef="#br0" timeOffset="44515.71">19116 12462 0,'-26'13'47,"12"-13"-15,14 13-1,-13-13 16,0-13 46</inkml:trace>
  <inkml:trace contextRef="#ctx0" brushRef="#br0" timeOffset="45657.77">18891 12382 0,'0'14'79,"13"-14"-64,-13 13-15,14-13 16,-14 13-16,13-13 15,0 0-15,0 13 16,1-13-16,-1 0 16,0 0-16,0 0 0,1 14 15,12-14-15,-13 0 0,14 0 16,-14 0-16,0 0 0,14-14 16,-14 14-16,0 0 0,14 0 15,-14 0-15,0 0 0,27 0 16,-1 0-16,-12 0 15,26 0-15,119 0 63,-159 0-63,13 0 16,-12 0-16,-1 0 0,66 0 46,-66 0-30,1 0-16,-1 0 16,0 0-16,27 0 31,-27 0-15,0 0 15,1 0 16,-28-13 31,14 0-47</inkml:trace>
  <inkml:trace contextRef="#ctx0" brushRef="#br0" timeOffset="46124.85">19711 12343 0,'14'13'46,"-1"0"-46,-13 0 16,13-13 0,-13 14-16,13-14 15,-13 13-15,14-13 0,-1 13 16,0-13 0,0 13-1,1-13-15,-1 0 31,-13 14-15,0-1 0,0 0-1,0 0-15,-13 1 0,-1-1 16,1 13-16,0 1 0,-14-1 16,1 1-16,-1 12 0,-12 1 0,12 0 15,-12-1-15,-41 41 16,54-41-16,-14 1 0,0 0 0</inkml:trace>
  <inkml:trace contextRef="#ctx0" brushRef="#br0" timeOffset="47313.78">22199 13547 0,'0'13'16</inkml:trace>
  <inkml:trace contextRef="#ctx0" brushRef="#br0" timeOffset="49200.21">18838 11986 0,'27'0'62,"-14"0"-46,0 0-1,0 0-15,1 0 0,12 0 16,-13 0-16,1 0 16,-1 0-16,0 0 0,0-14 15,1 14-15,12 0 0,-13 0 16,0 0-16,1 0 0,-1 0 15,0 0-15,0 0 0,1 0 16,-1 0-16,0-13 0,0 13 16,1 0-16,-1 0 0,0 0 0,0 0 15,0 0-15,1 0 16,-1 0-16,13 0 0,-12-13 0,898 39 172,-885-26-157,-1 0-15,27 0 16,-40 14-16,14-14 0,26 0 16,-27 0-16,1 0 0,-1 0 15,-13 0-15,14 13 0,-1-13 0,-12 0 16,12 0-16,-13 0 0,27 0 16,-27 0-16,0 13 0,27-13 15,-27 0-15,1 0 16,-1 0-16,0 0 0,13 0 0,-12 0 15,-1 13-15,0-13 0,0 0 0,1 0 16,-1 0-16,0 0 0,0 0 16,1 0-16,-1 0 0,0 0 15,0 0-15,0 0 0,1 0 0,-1 0 0,0 0 16,0 0 0,1 0-16,-1 0 0,0 0 15,0 0-15,1 0 0,-1 0 16,0 0-1,0 0-15,0 0 16,1 0-16,-1 0 16,0 0-16,0 0 15,1 0-15,-1 0 0,0 0 16,0 0-16,0 0 0,14 0 16,-27-13-16,13 13 0,0 0 15,1 0-15,-1 0 0,0 0 16,14 0-16,-14 0 15,0 0-15,0 0 16,0 0-16,1 0 16,-1 0-16,0 0 31,0 0-15,-26-26 93</inkml:trace>
  <inkml:trace contextRef="#ctx0" brushRef="#br0" timeOffset="49689.95">21418 11853 0,'13'14'47,"-13"-1"-31,13-13-16,1 0 15,-14 13-15,13-13 0,0 13 16,0-13-16,1 0 16,-14 13-16,13-13 0,0 0 15,-13 14-15,13-14 0,1 0 16,-1 0 0,0 13-16,0-13 15,-13 13 1,0 0-16,0 1 15,-13-1-15,0 0 16,0 14-16,-14-14 0,1 26 16,-14-12-16,-79 92 15,66-79-15,-53 39 0</inkml:trace>
  <inkml:trace contextRef="#ctx0" brushRef="#br0" timeOffset="51304.61">21101 12250 0,'0'27'0,"0"-14"0,0 0 15,0 0-15,-14 14 0,14-14 0,0 13 16,0 1-16,0 26 16,0-40-16,14 14 0,-14-1 15,0 0-15</inkml:trace>
  <inkml:trace contextRef="#ctx0" brushRef="#br0" timeOffset="51777.28">21167 13216 0,'-14'26'31,"14"-12"-31,0-1 16,0 0-16,0 0 0,-13 1 15,13-1-15,0 0 0,0 0 16,0 0-16,0 1 0,0-1 15,0 0-15,0 0 16</inkml:trace>
  <inkml:trace contextRef="#ctx0" brushRef="#br0" timeOffset="51964.88">21299 13269 0,'0'0'0,"0"-13"32,-13 13-17</inkml:trace>
  <inkml:trace contextRef="#ctx0" brushRef="#br0" timeOffset="52322.56">21352 13176 0,'-27'0'0,"14"13"15,0 1 1,0-1-16,-1 0 15,14 0 1,14-13 0,12-13-1,-13 13-15,1-13 16,-1 13 15,-13 13-31,0 0 16,-13 27-1,13-27 1,0 1-16,-14-1 0,1 13 16,13-13-1</inkml:trace>
  <inkml:trace contextRef="#ctx0" brushRef="#br0" timeOffset="52578.71">21497 13163 0,'-26'13'16,"13"0"-1,13 1-15,-14-1 16,14 0-16,-13 0 16,13 1-16,0-1 15,0 0 1,13-13-1,1-13 1,-28 0 15,-12 13-31,13 0 16,0 0-16</inkml:trace>
  <inkml:trace contextRef="#ctx0" brushRef="#br0" timeOffset="54232.86">18891 12052 0,'27'0'32,"-14"0"-32,0 0 15,0 0-15,1 0 0,-1 0 0,13 0 16,1 0-16,-1 0 0,1 0 15,-1 0-15,14 0 0,-14 0 16,14 0-16,-14 0 0,14 0 0,13 13 16,-13-13-16,52 0 0,-52 0 15,0 13-15,-1-13 0,1 0 16,0 0-16,13 13 0,-14-13 16,-12 0-16,26 0 0,-40 0 15,13 14-15,1-14 0,-1 0 16,-12 0-16,12 0 0,-13 0 15,0 0-15,14 0 0,-14 0 0,0 0 16,1 0-16,12 0 0,-13 13 0,1-13 16,-1 0-16,0 0 0,0 0 15,0 0-15,1 0 0,-1 0 0,0 0 16,0 0-16,1 0 0,-1 0 0,0 0 16,0 0-16,1 13 0,-1-13 15,13 0-15,-13 0 0,1 0 16,12 0-16,-13 0 0,27 0 15,-27 0-15,1 0 16,-1 0-16,0 0 0,0 0 0,0 0 16,1 0-16,25 0 0,-25 0 15,-1 0-15,13 0 16,1 0 0,-14 0-16,40 13 31,-27-13-16,54 0 17,-67 0-17,0 0-15,0 0 16,1 0-16,25 14 47,-25-14-47,-1 0 15,0 0 1,-13-14 47</inkml:trace>
  <inkml:trace contextRef="#ctx0" brushRef="#br0" timeOffset="54555.8">20876 12105 0,'13'13'47,"0"0"-32,0-13-15,1 0 16,-14 13-16,13-13 0,0 14 16,0-1-16,0-13 15,-13 13-15,0 0 16,0 1-16,-13 12 0,13-13 15,-26 14-15,-27 12 16,13 1-16,14-14 0,-14 1 16,-13 13-16,13-14 0,-12 1 0,-1 12 15</inkml:trace>
  <inkml:trace contextRef="#ctx0" brushRef="#br0" timeOffset="61058.9">11655 5133 0,'0'0'0,"26"13"31,-12-13-31,39 13 16,-27 1-16,67-1 0,-54 0 16,14-13-16,0 13 0,0 1 15,0-1-15,13 0 0,66 0 16,-66 0-16,1-13 0,-14 14 0,66-14 15,-53 0-15,-13 0 16,13 0-16,0 0 0,13 0 16,-12 0-16,12-14 0,-13 14 0,-13-13 0,0 13 15,0-13-15,39 0 0,-39 0 16,-13-1-16,0 14 0,-1-13 16,41-13-16,-54 12 0,1 14 15,12-26-15,1 13 16,-14-1-16,14-12 15,-13 0-15,12-14 16,-25 13 0,-14 14-16,0-132 47,-14 105-47,-12 0 15,26 27-15,-66-66 16,-159-80 15,185 132-31,-66-25 16,14 12-16,-305-66 47,251 80-47,67 12 15,-14 14 1,-13-13-16,80 13 15,-27 13-15,-26-13 0,26 14 16,-27-1-16,28-13 16,12 13-16,0 0 0,-52 14 15,12-14-15,54 0 16,-40 14-16,13-14 16,0 13-16,13 1 15,14-14-15,-14 13 16,13 1-16,1-14 0,0 14 15,12-1-15,1-13 0,0 14 16,0-14-16,-1 27 0,-12-1 16,26-12-16,-13-1 15,13 1-15,0-1 0,-14 14 16,14-14-16,14 1 0,-14-1 0,0 14 0,13 0 16,0-14-16,0 1 0,1 12 15,-1-12-15,13-1 0,-12 1 16,65 39-16,-53-40 15,41 1-15,-28-1 0,1-13 16,0 1-16,-1-1 0,1 0 16,53 14-16,-41-27 15,-12 13-15,13-13 0</inkml:trace>
  <inkml:trace contextRef="#ctx0" brushRef="#br0" timeOffset="61788.01">14949 4696 0,'-13'0'16,"26"0"-16,0 0 31,14-13-31,-14 13 16,0 0-16,14 0 0,-1 0 0,40 0 15,-39 0-15,-1 0 0,1 0 16,-1 0-16,0 0 0,1 0 16,13 0-16,-27 0 0,13 0 15,1 0-15,-14 0 0,0 0 16,0-13-16,1 13 15,-1 0-15,0 0 16,-13-13-16</inkml:trace>
  <inkml:trace contextRef="#ctx0" brushRef="#br0" timeOffset="62084.28">15227 4485 0,'39'0'16,"-25"13"-16,25-13 16,-25 13-16,12 0 15,1-13-15,-1 14 0,0-1 0,-12 0 16,12-13-16,1 13 0,-14 1 15,0-1-15,0 0 0,1 0 0,-1 0 16,-13 1-16,0-1 0,0 0 0,0 0 16,0 1-16,-13-1 0,-1 13 15,-12 1-15,-14 26 0,-13 0 16,27-40-16,-1 13 16,1-13-16</inkml:trace>
  <inkml:trace contextRef="#ctx0" brushRef="#br0" timeOffset="62691.78">16986 4432 0,'13'66'16,"-13"-53"-16,14 0 15,-14 14-15,0-14 16,0 14-16,13-1 0,-13-13 0,0 14 0,0-14 15,0 13-15,0-12 0,13 12 16,-13-13-16,0 0 0,0 1 16,0-1-16,0 0 15,13-13-15,-13 13 16</inkml:trace>
  <inkml:trace contextRef="#ctx0" brushRef="#br0" timeOffset="62880.03">17277 4630 0,'-13'-13'0,"13"0"32</inkml:trace>
  <inkml:trace contextRef="#ctx0" brushRef="#br0" timeOffset="63364.45">17529 4419 0,'-40'0'0,"80"0"0,-93 0 16,39 0-16,1 13 0,13 0 15,0 0-15,0 0 16,0 1-16,0-1 0,13 0 0,-13 0 16,14 14-16,12 26 15,-13-40-15,-13 13 16,14-12-16,-14-1 0,0 0 0,0 0 15,0 1-15,0-1 16,0 0-16,-14-13 0,14 13 16,-13-13-16,0 0 15,0 0-15,13-13 16,-14 13-16,14-26 16,27-67-1,-14 80 1,0-14-16,-13-105 62,-13 119-46,-13 13 15</inkml:trace>
  <inkml:trace contextRef="#ctx0" brushRef="#br0" timeOffset="63941.59">17793 4419 0,'0'13'16,"0"0"-1,0 0-15,0 0 16,0 1-16,0-1 0,0 0 0,0 0 16,13 1-16,-13-1 15,0 0 1,14-26 15,-1 13-31,-13-13 16,13 13-16,0-14 0,1 1 15,-1 13-15,0 0 0,-13-13 16,27 13-16,-27 13 16,13-13-16,0 0 15,-13 13-15,13 1 16,-13-1-16,0 0 15,27-26 17,-14 0-17,0-1-15,0 1 16,1 0-16,-1 13 0,0 0 16,0-13-16,14 13 15,-14 0-15,0 0 0,0 0 16,1 0-16,-1 0 0,0 13 15,0 0-15,-13 0 16,14-13-16,-14 14 0,-14-1 16,14 0-1,0 0-15,-13 1 0,13-1 0</inkml:trace>
  <inkml:trace contextRef="#ctx0" brushRef="#br0" timeOffset="71544.45">22714 12224 0,'0'-13'47,"-13"39"46,13-13-93,0 0 16,0 1-16,13-14 0,-13 13 0,0 0 16,0 0-16,0 1 15,0-1-15,0 0 16,0 0-16,14-26 62,-14 0-62,0 0 16,0-1-16,0 1 0,0 0 0,0 0 16,0-1-16,0 1 15,0 0-15,0 0 32,0 39-1,0-13-31,0 1 15,0-1-15,0 0 16,0 0-16,13 1 16,-13-1-1,0-40 32,0 14-31,0 0-1,13 39 32,-13-12-31,0-1-16,0 0 16,0 0-1,0-52 32,0 25-47,-13 1 0,13-13 16,0 12-16,0-12 0,0 0 15,0-27-15,0 13 0,0 0 0,-13-13 16,13 0-16,0 0 0,0 14 16,-14-67-16,14 66 0,0 1 15,0-1-15,0 0 0,0 14 16,0-1-16,0 1 0,-13-1 0,13 14 15,0-13-15,0 12 0,0 1 0,-13 0 16,13 0-16,0 0 0,0-1 16,0 1-16,0 0 0,0 0 15,0-1-15,0 1 16,-13 13-16,13 27 62,0-14-46,0 13-16,0-12 16</inkml:trace>
  <inkml:trace contextRef="#ctx0" brushRef="#br0" timeOffset="71886.06">22701 11430 0,'0'-13'16,"13"13"-16,-39 13 46,26 0-30,0 0-16,-13-13 0,13 14 16,-13 12-16,-1-13 0,14 1 0,-13-1 15,0 0-15,13 0 0,-13 1 16,-1-1-16,14 13 0,-13-26 0,13 13 16,-13 1-16,13-1 0,-13-13 15,13 13-15</inkml:trace>
  <inkml:trace contextRef="#ctx0" brushRef="#br0" timeOffset="72095.87">22648 11456 0,'0'-13'16,"27"26"-1,-14-13 1,-13 14-16,13-14 0,0 13 0,1 0 16,-1 0-16,0-13 0,0 14 0,14 12 15,-14-26-15,0 13 16,1 1-16,-1-14 0,0 0 0,0 13 16,0-13-16,1 0 0</inkml:trace>
  <inkml:trace contextRef="#ctx0" brushRef="#br0" timeOffset="72608.92">22490 10993 0,'-27'27'31,"27"-14"-31,0 0 0,-13 1 16,13-1-16,0 0 0,0 13 16,0-12-16,0-1 0,-13 0 0,13 14 15,0-14-15,0 0 16,0 0-16,0 1 0,0-1 16,0 13-16,13-13 0,-13 1 15</inkml:trace>
  <inkml:trace contextRef="#ctx0" brushRef="#br0" timeOffset="72787.45">22635 11205 0,'-13'-13'16,"13"0"-16</inkml:trace>
  <inkml:trace contextRef="#ctx0" brushRef="#br0" timeOffset="73418">22781 10967 0,'-14'0'0,"1"0"16,13 13-1,13 0-15,-13 1 0,0-1 16,14 0-16,-14 14 0,13-14 16,-13 0-16,0 0 0,13 0 15,-13 1-15,0 12 0,0-13 16,-13 1-16,13-1 0,-13 0 16,-1-13-1,14 13-15,-13-39 16,26 13-1,1-1 1,-14 1-16,13 0 0,13-14 16,-26 14-16,14 0 0,-1-13 15,0 12 1,-13 1-16,0 0 0,0 0 0,0-1 16,-13 1-16,0 0 15,13 0-15,-14 13 0,14-13 0,-13 13 16,0-14-1,0 14-15,-1 0 0,14 14 16,-26-14 0</inkml:trace>
  <inkml:trace contextRef="#ctx0" brushRef="#br0" timeOffset="73770.17">22331 10888 0,'-13'39'16,"-1"-25"-1,14 12-15,0 14 0,-13-1 0,0-12 16,13 12-16,-13 1 0,13-13 16,0-1-16,-14 27 15,14-40-15,0 14 0,0-14 0,-13 27 16,13-27-16,0 0 15,13-13-15,-13 13 16</inkml:trace>
  <inkml:trace contextRef="#ctx0" brushRef="#br0" timeOffset="74349.19">22225 10808 0,'13'-13'0,"120"-27"15,-94 40 1,14-13-16,53 0 16,-53 0-16,13 13 0,-13-14 0,0 14 15,0-13-15,0 13 0,-14-13 16,1 13-16,-13 0 0,-1 0 0,0 0 15,-12 0-15,12 0 0,-13 0 0,1 0 16,-1 0-16,0 0 0,0 13 16,1-13-16,-14 13 0,13 1 15,-13-1-15,0 0 0,0 0 0,13 27 16,-13-27-16,13 14 0,-13-1 16,0-13-16,13 14 15,1 26-15,-1-27 0,0 1 16,14 26-16,-1-14 0,-13-26 15,0 14-15,14-1 16,-14 1-16,0-14 16,1 27-16,-14-27 15,0 0-15,0 0 16,0 1-16,-14-14 0,1 13 16,0-13-16,0 13 0,-14 0 15,14-13-15,-13 14 0,-14-14 0,0 13 16,1 0-16,-14-13 0,13 13 0,0-13 15,-52 14-15,65-1 16,-13-13-16,14 0 0,0 13 16,12-13-16,-12 0 0,13 0 0,-14 0 15,14 0-15,0 0 0,-1-13 16,1 13-16,13-13 16,13-1-16</inkml:trace>
  <inkml:trace contextRef="#ctx0" brushRef="#br0" timeOffset="75001.92">22979 11073 0,'0'26'47,"0"-13"-32,0 1 1,0-1-16,0 0 16,0 0-16,0 1 31,13-28 0,1 1-15,-14 0-16,13 13 15,0-13-15,0 13 16,0 0 0,1 0-16,-1 13 15,0-13-15,-13 13 16,13-13 0,1 13-1,-1-26 1,0 13-1,0-13-15,1 13 16,-1 0 0,0 0-16,0 0 15,0 0-15,1 13 0,-1-13 16,0 0-16,-13 13 16,13-13-16,-13 14 15,14-14-15,-14 13 16,13 0-16</inkml:trace>
  <inkml:trace contextRef="#ctx0" brushRef="#br0" timeOffset="79796.66">20307 13388 0,'0'-13'16,"0"39"31,0-13-31,0 14-16,0-14 0,0 14 0,0-14 15,0 40-15,-13-27 0,13-13 16,0 14-16,0-1 0,0-13 15,0 14-15,-14-1 0,14-12 16,0 25-16,0-25 16,-13-14-16</inkml:trace>
  <inkml:trace contextRef="#ctx0" brushRef="#br0" timeOffset="80049.07">20108 13560 0,'14'-13'0,"-1"13"16,0 0-16,0 0 16,0 0-16,1 0 0,12 0 15,-13 0-15,1 0 0,12 0 16,-13 0-16,27 0 0,-27-14 15,27 14-15,-27 0 0,0 0 16,14 0-16,-14 0 0,0 0 16,14 0-16,-14 0 0</inkml:trace>
  <inkml:trace contextRef="#ctx0" brushRef="#br0" timeOffset="80887.77">21709 13361 0,'0'27'31,"-13"-14"-15,13 14-1,0-14-15,0 13 0,0-12 0,-13 12 16,13-13-16,0 14 0,0-14 0,0 0 16,-14 0-16,14 14 0,0-14 15,0 0-15,0 14 16,-13-14-1</inkml:trace>
  <inkml:trace contextRef="#ctx0" brushRef="#br0" timeOffset="81114.89">21590 13507 0,'13'-13'16,"133"-14"31,-120 14-32,1 13-15,-1-13 0</inkml:trace>
  <inkml:trace contextRef="#ctx0" brushRef="#br0" timeOffset="82349.48">22939 13282 0,'0'-13'32,"0"0"77,-13-1-109,13 1 16,0 0 15,0 0-15,0 52 30,13-25-46,-13-1 0,0 13 16,0-12-16,0-1 0,14 0 16,-14 0-16,0 0 0,13 1 15,-13 12-15,0-13 0,13-13 0,-13 14 16,0-1-16,13 0 0,-13 0 16,0 1-16,14-1 0</inkml:trace>
  <inkml:trace contextRef="#ctx0" brushRef="#br0" timeOffset="88723.15">9512 8109 0,'66'27'31,"-53"-14"-31,27-13 0,0 13 16,-1 1-16,14-14 0,-13 13 15,13-13-15,0 13 0,0-13 0,-1 0 16,1 0-16,0 0 0,0 0 16,0 0-16,0 0 0,0-13 0,0 13 15,0-13-15,39-1 0,-39 1 16,0 0-16,-13 0 0,0-1 15,-1 1-15,1 0 0,26-27 16,-26 27-16,-14-13 0,1-1 16,-1 14-16,1-13 0,-14-1 0,13 1 15,-12-1-15,-1-26 16,-13 27-16,0-1 0,-13 1 0,-1-40 16,-12 26-16,-1 0 0,-12-13 15,12 14-15,-26-1 0,-39-26 16,52 26-16,-26 0 0,13 1 15,0 12-15,0-12 0,-13 12 0,13 1 16,-13-1-16,13 1 0,-66-1 16,53 14-16,13 13 0,-13 0 15,-53 13-15,39 14 0,14-1 16,-13 1-16,-1 12 0,-12 14 16,-54 53-16,14 26 15,92-92-15,-52 79 0,65-53 16,-39 40-16,53-40 0,0-13 15,-1-13-15,14 53 16,14-54-16,-1 1 0,0 0 16,14 13-16,12-14 0,54 27 15,-40-39-15,66 13 16,13-1-16,-13-26 16,27 1-16,-80-14 15</inkml:trace>
  <inkml:trace contextRef="#ctx0" brushRef="#br0" timeOffset="95718.08">22251 13097 0,'-26'13'15,"13"-13"1,13 13-16,-13-13 0,13 14 16,-14-14-16,14 13 15,-13 0 1,13 0-16,13-13 15,1 13-15,12-13 16,-13 0 0,0 0-16,1 0 15,-1 0-15,0 0 0,0-13 16,1 13-16,-1 0 0,13 0 0,-12 0 16,-1 0-16</inkml:trace>
  <inkml:trace contextRef="#ctx0" brushRef="#br0" timeOffset="96120.09">22172 13137 0,'53'-14'31,"-27"14"-15,-12 0-16,12 0 0,1-13 0,-1 13 15,27 0-15,-27 0 16,14 0-16,0-13 0,-1 13 0,1 0 16,0 0-16,0 0 0,-1-13 15,41 13-15,-1 0 16,-53 0-16,14-14 0,-13 14 15,12 0-15,-12 0 0,12 0 0,-25 0 16,12 0-16,1 0 0,12 0 16,-25 0-16,-1 0 0,13 0 15,-13 0-15,1 0 16,-14-13-16,13 13 16,-13-13 15</inkml:trace>
  <inkml:trace contextRef="#ctx0" brushRef="#br0" timeOffset="96648.79">23111 12912 0,'0'-14'0,"14"28"31,-1-14-31,27 13 16,-27-13-16,0 0 0,13 13 15,-12-13-15,12 0 0,1 13 0,-14-13 16,13 0-16,-13 0 0,14 14 16,-14-14-16,14 13 0,-27 0 15,13-13-15,-13 27 0,0-14 16,-27 26 0,-65 54-1,-345 145 16</inkml:trace>
  <inkml:trace contextRef="#ctx0" brushRef="#br0" timeOffset="103729.42">11919 8136 0,'-92'79'16,"184"-158"-16,-237 185 0,105-80 16,1 14-16,-14-14 0,-80 67 15,94-53-15,-1-27 16,-13 27-16,13-14 0,1 0 16,25-12-1</inkml:trace>
  <inkml:trace contextRef="#ctx0" brushRef="#br0" timeOffset="103938.62">11999 8255 0,'-53'40'0,"26"-14"0,-25 27 15,12-26-15,-39 39 0,39-40 16,-26 27-16,13 0 16,26-27-16,-26 27 15,27-26-15</inkml:trace>
  <inkml:trace contextRef="#ctx0" brushRef="#br0" timeOffset="106580.79">5834 11165 0,'53'0'15,"-13"0"-15,-27 14 16,0-14-16,27 0 0,-27 0 16,0 0-16,0 0 0,1 13 15,-1-13-15,0 0 0,0 13 16,1-13-16,-14 13 0,0 1 15,-14-1-15,1 0 0,-13 0 16,-1 14-16,1-14 16,-1 13-16,1-12 0,-1-1 0,-25 27 15,25-27-15,14 0 0,-14 13 16,1 1-16,13-14 16,13 0-16,0 1 0,0-1 15,13-13-15,-13 13 16,26 0-16,1 1 0,-14-14 15,14 0-15,-1 13 0,0-13 16,14 0-16,-13 0 0,-1 0 16,27 0-16,-27-13 0,-12 13 15,25-14-15,-25 14 0,-1-13 16,0 13-16,-13-13 0</inkml:trace>
  <inkml:trace contextRef="#ctx0" brushRef="#br0" timeOffset="106835.28">5649 11430 0,'26'-13'0,"1"0"15,92-14 1,-79 27-16,-1-13 15,27 13-15,14-13 16,-54 13-16,27 0 0,-13-14 16,-1 14-16,67-13 15</inkml:trace>
  <inkml:trace contextRef="#ctx0" brushRef="#br0" timeOffset="107069.85">6800 11258 0,'66'0'31,"-40"0"-31,-12 0 16,12 0-16,1 0 0,-1 0 0,0 0 16,14 0-16,13-13 15,-40 13-15,1 0 16,-1 0-16</inkml:trace>
  <inkml:trace contextRef="#ctx0" brushRef="#br0" timeOffset="107327.21">7064 11046 0,'27'0'0,"-14"14"16,14-14-16,-14 13 15,0-13-15,0 13 0,0 0 16,14 0-16,-14 1 0,-13-1 0,13 0 15,-13 0-15,14 14 0,-28-1 16,14-12-16,0 12 16,-13-13-16,0 14 0,0-14 0,13 13 15,-14-12-15,1-1 0,0 0 16,-13 0-16</inkml:trace>
  <inkml:trace contextRef="#ctx0" brushRef="#br0" timeOffset="107915.01">7646 10901 0,'0'26'31,"0"1"-31,0-14 16,0 0-16,0 14 0,0-1 0,0 1 15,14-14-15,-14 13 0,0-13 16,0 14-16,0-14 0,0 0 0,0 14 16,0-14-16,0 0 15,13-39 16,0 13-31,-13-1 16,13 14-16,-13-13 0,14 13 0,-1-13 16,0 13-16,0 0 15,1 0-15,-1 13 16,0-13-16,13 13 0,-12 1 16,-1-14-16,-13 13 0,13 0 15,0 0-15,1-13 16,-14 14-16,13-14 15,27-14 1</inkml:trace>
  <inkml:trace contextRef="#ctx0" brushRef="#br0" timeOffset="108333.84">7990 11060 0,'-39'13'31,"26"0"-31,65-39 16,-104 65-16,65-26 15,0-13-15,0 0 16,14 0-16,-14 0 16,0-13-16,14 13 15,-14 13-15,0-13 16,0 27-1,0-1-15,1 14 16,-14-27-16,13 53 16,-13-52-16,-13 39 15,13-27-15,-14 1 16,1-14-16,0-13 0,0 13 16,13 0-16,-13-13 0,-1-13 15,1 0-15,13 0 16,0-1-16,-13 14 0,26-13 15,-13 0-15,0-14 16,13 1-16,1 13 0,-14-1 16,26 1-16,-13 0 0,0 0 15,14 0-15,-14-1 16,14 1-16</inkml:trace>
  <inkml:trace contextRef="#ctx0" brushRef="#br0" timeOffset="108926.46">8215 10848 0,'14'26'16,"-14"-12"-16,0 12 16,13 1-16,-13-1 0,0 14 15,13 26-15,-13-27 16,13 1-16,-13 0 0,0-14 0,0 1 0,13-1 16,-13 1-16,0-1 15,0 1-15,0-14 0,0 27 0,14-27 16,-14 0-16,-14-26 31,14-14-15,0 14-16,0-13 0,0-27 15,0 13-15,14 0 16,-1 14-16,-13-1 0,13 14 16,0 0-16,1-14 0,12 14 15,-13 13 1,1 0-16,-41 146 94</inkml:trace>
  <inkml:trace contextRef="#ctx0" brushRef="#br0" timeOffset="109813.96">8599 11046 0,'-79'80'47,"92"-54"-16,0-13-31,0-13 0,0 0 16,14-119-16,-27 238 0,13-132 16,0 0-16,1 0 0,-1 13 15,-13-14-15,0 1 0,13-13 16,-13-1-16,0 14 16,-13 13-16,13-13 0,-13 0 15,-1 13-15,1 13 16,0-13-16,0 13 15,-1 0-15,14 1 16,0-1-16,0 0 16,0 0-16,14 0 0,-1-13 15,0 0-15,0 0 0,14 0 16,-14 0-16,0 0 16,14-13-16,-14 13 0,27-26 15,-14-1-15,1-12 16,-14 12-16,0-26 0,0-13 15,1 13 1,-1 27-16,-13 13 0,0-14 16,13 1-16,-13 12 15,0 1-15,-13 40 32,13-14-32,0 13 0,0-12 15,0 38-15,0-25 16,0-1-16,0 1 0,0-1 0,13 27 15,-13 0-15,13-40 16,0 14-16,-13-14 16,14 0-16,-14 0 0,13 1 15,0-14-15,0 0 0,1 0 16,-1 0-16,0-14 16,0 1-16,-13 0 0,14 0 0,-14 0 15,13-14-15,0 1 0,-13 12 16,13-12-16,-13 0 0,0-1 0,13-13 15,-13 14-15,0 13 0,0-14 16,0 14-16,0 0 16,14 0-16,-14-1 15,-14 41 17,14-1-32,0-13 15,0 1-15,0-1 0,0 13 0,0-12 0,0-1 16,14 27-1,-1-14 1,0-26-16,14 13 16,-14-26-1,13 0-15,-12 13 16,-1-13 0,13 13-16,1 13 15,-14 0 1,0-13-16,0 13 15,1 0 1,-14-39 15</inkml:trace>
  <inkml:trace contextRef="#ctx0" brushRef="#br0" timeOffset="110010.58">8665 10914 0,'40'0'15,"-27"0"-15,0 0 16,14 0-16,-14-13 0,13 13 16,1 0-16,-1 0 0,27-13 15,0 13-15,-13-14 16,13 14-16,-27-13 15</inkml:trace>
  <inkml:trace contextRef="#ctx0" brushRef="#br0" timeOffset="110488.07">9525 10848 0,'0'0'0,"-13"0"15,26 13 17,-13 0-32,13-13 0,0 14 15,1-14-15,-1 26 0,0-26 16,-13 13-16,13 1 0,1-1 15,-14 0-15,-14 0 16,14 0 0,-13-13-16,0 14 0,0-14 0,-1 0 15,1 0-15,-26 0 16,25 0-16,1 0 0,0 0 16,0-14-16,13 1 15,0 0 1</inkml:trace>
  <inkml:trace contextRef="#ctx0" brushRef="#br0" timeOffset="110680.13">9737 10782 0,'13'13'0,"-13"0"15,13 0-15,-13 1 16,0 39-1,0-40 1,0 0-16,0 0 0,0 1 16,0-1-16</inkml:trace>
  <inkml:trace contextRef="#ctx0" brushRef="#br0" timeOffset="110825.35">9671 10689 0,'-14'0'31</inkml:trace>
  <inkml:trace contextRef="#ctx0" brushRef="#br0" timeOffset="111141.23">9895 10755 0,'-26'0'15,"13"14"-15,13-1 16,0 0-1,39 40 1,-25-40 0,-1 0-16,-13 1 15,0 25 17,-13-39-17,-40 14 16</inkml:trace>
  <inkml:trace contextRef="#ctx0" brushRef="#br0" timeOffset="112985.33">8718 12091 0,'-13'0'0,"0"0"0,-1 0 15,54-13 17,-27 13-32,0 0 0,14-13 15,-1 13-15,14 0 0,13-13 16,-40 13-16,14-13 0,-1 13 0,-13 0 15,1 0-15,-1 0 0,0 0 0,0 0 16,1 13-16,-14 0 16,-14 0-16,14 0 15,-13 1-15,-13 12 0,-1 1 0,-39 39 16,40-40 0,-1 1-16,-13 12 0,27-12 15,0-1-15,0-13 16,26 14-16,-13-14 15,13 0-15,0 1 0,1-14 16,12 13-16,-13-13 16,1 0-16,12 13 0,-13-13 0,0 0 0,1 0 15,12 0-15,-13 0 16,1-13-16,-1 13 0,27 0 0,-27-13 16,0 13-16,0-14 15,-13 1-15</inkml:trace>
  <inkml:trace contextRef="#ctx0" brushRef="#br0" timeOffset="113228.65">8652 12263 0,'0'0'16,"26"0"-1,1-13-15,-14 13 16,133-26 15,-120 26-31,27-13 0,0-1 16,0 14-16,-27 0 16,14-13-16,13 13 15,-27-13-15</inkml:trace>
  <inkml:trace contextRef="#ctx0" brushRef="#br0" timeOffset="113437.66">9551 12144 0,'27'-26'46,"-14"26"-46,0 0 0,1-13 16,-1 13-16,0 0 0,0 0 16,1-14-16,25 14 0,-26 0 15,14-13-15,-14 13 0</inkml:trace>
  <inkml:trace contextRef="#ctx0" brushRef="#br0" timeOffset="113813.8">10094 11708 0,'0'0'16,"-13"26"-1,13-12-15,0 12 16,0-13-16,-14 14 16,14-14-16,0 40 0,-13 0 15,13 0-15,0-40 16,0 13-16,0 1 0,13-14 16,-13 0-16,0 14 0,14-14 0,-14 0 15,13 0-15,13 1 0,-26-1 16,27 0-16,-1-13 15,-13 0 1,1-13-16,-1 13 0,0-13 16,0 13-16,-13-14 0,0 1 15,0 0-15</inkml:trace>
  <inkml:trace contextRef="#ctx0" brushRef="#br0" timeOffset="114021.4">9856 11986 0,'-14'0'16,"54"0"-1,-27 0 1,27 0 0,-13 0-16,-14-14 0,40 14 15,0-13-15,-27 0 0,27 0 16,-13 13-1,-14-14-15</inkml:trace>
  <inkml:trace contextRef="#ctx0" brushRef="#br0" timeOffset="114578.16">10530 11933 0,'-39'0'0,"26"13"16,-1 0-16,1 14 16,0-27-16,13 13 15,-13 0-15,13 0 0,0 1 0,0-1 16,0 0-16,13-13 16,-13 13-16,13-13 0,0 0 15,1 0-15,-1 0 16,0 0-16,0-13 0,0 0 0,14 0 15,-27-1-15,0 1 0,13 0 16,-13 0-16,0-1 16,13 1-16,-13 0 0,0 0 15,14 39 17,-14-13-17,13 1-15,-13-1 16,0 0-16,0 0 15,13 1-15,0 12 16,-13-13-16,13-13 0,-13 13 0,14-13 16,-14 14-16,13-14 15,0 0-15,0 0 16,1 0-16</inkml:trace>
  <inkml:trace contextRef="#ctx0" brushRef="#br0" timeOffset="115156.12">10716 11734 0,'-14'0'16,"1"14"-1,13-1 1,0 0-16,0 0 0,0 0 0,0 1 16,0-1-16,0 0 0,0 0 15,13 1-15,-13-1 0,0 0 0,0 0 16,0 0-16,0 1 16,14-1-16,-14 0 15,13-13-15,0-13 16,0 13-16,1-13 15,-1 13 1,0 0-16,0 0 16,0 0-16,1 0 0,-14 13 15,13-13-15,-13 13 16,13 0-16,-13 14 16,0-1-16,-13-12 15,0-1 1,-53 13 15,52-26-15,14-13-16,-13 13 15,13-26 1</inkml:trace>
  <inkml:trace contextRef="#ctx0" brushRef="#br0" timeOffset="115492.04">10993 11483 0,'-13'40'47,"0"-14"-47,13 80 16,0-80-16,0 14 15,0-27-15,26-264 0,-52 529 0,52-239 16,-26-25-16,14-1 16,12 0-16,1 0 15,-14-13-15,13-13 16,1 0-16,-14-14 16,-13 14-16,13 0 15,-13 0-15,0 0 0,0-1 16,-13 28-1,13-1 1,0 0-16,-13 13 0,13 1 16,13-1-16,-13 1 15,13-14-15,0 0 0,1 0 0,12 1 16,-13-14 0,1 13-16,12-13 15,-13 0-15,-13 13 0</inkml:trace>
  <inkml:trace contextRef="#ctx0" brushRef="#br0" timeOffset="116241.7">9313 12647 0,'199'-26'31,"-120"12"-31,14 1 0,-1 0 16,120-14-16,26 1 16,-119 13-16,-26 0 0,92-1 15,-13-12-15,-26-14 16,-67 27-16,53-27 15,-66 14-15,0-1 0,-13 1 16,14-1-16,91-65 16,-118 65-16,0 1 0,26-27 15,-40 27-15,1-1 0,26-39 16,-40 39-16,27-39 16,-27 27-16,-13 12 0,13-39 15,-13 0-15,-13 26 16,0-39-16,-14 39 15,-13-39-15,1 39 16,12 0-16,-52-26 0,0 0 16,-14 13-16,40 13 0,0 27 15,-53-40-15,40 40 16,-159-13-16,53 26 16,-13 13-1,-27 13-15,93 1 0,0-14 16,-92 40-16,-107 53 15,14 0 1,211-67-16,-92 54 16,-80 66-1,689 780 126,-146-966-141,-27-12 16,-132 26-16,79-27 15,-26 13-15,-13 1 16</inkml:trace>
  <inkml:trace contextRef="#ctx0" brushRef="#br0" timeOffset="117750.9">9075 11615 0,'-39'-13'0,"78"26"0,-105-26 16,40 0-16,12 13 0,-25 0 15,-1 13-15,-13 0 0,0 0 0,-13 1 16,0 12-16,0 14 0,-80 66 16,-13 13-16,80-53 15,13 13-15,-13 1 0,-54 92 16,80-93-16,0 0 0,27-13 16,-14 1-16,27-1 0,-13 26 0,12-52 15,41 39-15,13-12 16,-1-41-16,27 1 15,-13-14-15,13 0 0,14 0 0,12-13 16,94 0-16,-54-13 16,-13 0-16,119-27 0,-132 14 15,79-14-15,-26 0 16,-40 1-16,-66 25 0,-13-12 16,39 13-16,-66-1 15,27 1-15,-27 13 0,14-13 16</inkml:trace>
  <inkml:trace contextRef="#ctx0" brushRef="#br0" timeOffset="122065.52">9816 13256 0,'0'-14'16,"0"28"-16,0-41 15,0 14 1,-13 39-1,0 14 1,13-13-16,0-1 0,0 14 16,0-1-16,0 1 0,0-13 15,0 12-15,0 1 0,13-14 0,0 27 16,0-26-16,-13-14 0,27 13 0,-14-12 16,0-1-16,0 13 0,14-26 15,13 27-15,-27-27 16,26 0-16,-25 0 0,12 0 15,-13 0-15,1-13 0,12 13 16,1-14-16,-14 1 0,13 0 16,-26 0-1,13-1-15</inkml:trace>
  <inkml:trace contextRef="#ctx0" brushRef="#br0" timeOffset="122280.65">9485 13600 0,'27'-14'16,"-14"14"-16,0 0 16,14 0-16,-14-13 0,13 13 15,54-26-15,-41 12 16,1 14-16,0-13 0,39 0 0,-39 0 15,0 0-15,-14 13 0,0 0 16,14-14-16</inkml:trace>
  <inkml:trace contextRef="#ctx0" brushRef="#br0" timeOffset="122504.05">10517 13428 0,'27'0'47,"-27"-14"-47,13 14 0,13 0 16,-12-13-16,-1 13 0,13-13 15,1 0 1</inkml:trace>
  <inkml:trace contextRef="#ctx0" brushRef="#br0" timeOffset="122753.76">11060 12951 0,'-27'14'31,"27"-1"-31,0 212 47,27-477-47,-54 543 0,40-264 0,1 13 0,-1 26 16,0-40-16,0-13 0,14 27 16,-14-27-16,0 1 15,0-14-15,1 13 0,-1-13 16,0 0-16,0 0 0</inkml:trace>
  <inkml:trace contextRef="#ctx0" brushRef="#br0" timeOffset="122977.38">10782 13375 0,'-13'0'0,"26"0"15,-13-14-15,13 14 16,0-13-16,0 13 16,27-26-16,0 13 0,-14-1 0,54-12 15,-54 13-15,14-1 16,-1 1-16,1 13 0,40-26 16,-54 12-16,0 14 15</inkml:trace>
  <inkml:trace contextRef="#ctx0" brushRef="#br0" timeOffset="123435.25">11470 13084 0,'-27'13'15,"14"0"-15,0 0 16,0 1-16,13-1 0,0 0 15,0 0-15,-14 0 0,14 14 16,14-27-16,-14 26 16,13-12-16,0-1 0,0-13 15,0 13-15,1-13 16,12-13-16,-13 0 16,1-1-16,-14 1 15,13-13-15,0 12 16,-13 1-16,0-13 0,0 13 15,0-1-15,0 1 0,0 0 16,0 0-16,0-1 16,13 67 31,-13-26-47,14-1 0,12 27 15,-13-13 1,14-14-1,-14 1-15,13-14 16,-12-13 0,12 0-16,-13-13 15</inkml:trace>
  <inkml:trace contextRef="#ctx0" brushRef="#br0" timeOffset="123868.86">11748 12779 0,'-14'-13'16,"1"26"-1,13 1 1,0-1-16,0 0 15,0 14-15,0-1 16,13-13-16,-13 0 0,14 1 16,-14-1-16,13 0 15,0-13-15,0 13 0,0 1 16,1-1-16,-1-13 16,0 13-16,-13 0 15,13-13-15,-13 14 0,14-14 16,-14 13-16,0 0 15,0 0-15,0 0 16,-14 1-16,1-1 16,0 0-16,0-13 0,-1 0 15,1 13-15,0-13 16,0 0-16,0 0 16,-1 0-16,14-13 15,0 0-15,-13 13 0,13-27 16</inkml:trace>
  <inkml:trace contextRef="#ctx0" brushRef="#br0" timeOffset="124196.78">11959 12541 0,'-13'40'16,"13"-27"-16,-13 0 15,13 1-15,0-1 0,0 0 16,0 14-16,0-14 0,13 0 0,-13 0 16,13 27-16,0-40 0,-13 13 15,27 0-15,-14-13 16,0 0-16,1 0 0,-1-13 16,13 0-16,-13 13 15,1-13-15,-1 13 0,0 0 16,0 0-1,-13 13-15,14 0 16,-14 0-16,0 1 16,0-1-16,0 0 15,0 0-15,0 1 0,-14-1 16</inkml:trace>
  <inkml:trace contextRef="#ctx0" brushRef="#br0" timeOffset="124505.36">10636 13732 0,'80'-27'16,"-41"14"-16,94-40 15,39 0 1,26-13 0,-13 13-1,-79 27-15,-53 13 16,66-1-16,-92 14 16,-14 0-16,13 0 15,-13 0-15,1 0 16,-28 27-16</inkml:trace>
  <inkml:trace contextRef="#ctx0" brushRef="#br0" timeOffset="124725.84">10557 13970 0,'0'0'0,"40"-13"0,26-14 15,-27 14-15,54-13 16,39-14-16,-66 13 16,133-39-16,-67 27 15,0-14-15,54-27 16,-133 54 0,52-40-16,-65 39 0</inkml:trace>
  <inkml:trace contextRef="#ctx0" brushRef="#br0" timeOffset="125556.43">11986 11827 0,'39'-13'0,"-78"26"0,92-40 15,-40 14-15,13 0 0,1 0 16,-1 0-16,-13 13 16,14-14-16,-14 14 15,0 0-15,1 0 16,-1 14-16,0-1 15,0 13 1,-13-13-16,13 1 0,14 39 16,-1 13-16,14-13 15,-27-14-15,0-12 16,27 26-16,-27-14 0,14-12 0,13 26 16,-27-27-16,13 14 15,-13-27-15,14 27 16,-14-27-16,-13 0 0,13 0 15,-26 14-15,0 13 16,-14-14-16,1 1 16,-14 12-16,-39 27 0,39-26 0,-13 0 15</inkml:trace>
</inkml:ink>
</file>

<file path=ppt/ink/ink17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2:44:38.603"/>
    </inkml:context>
    <inkml:brush xml:id="br0">
      <inkml:brushProperty name="width" value="0.05292" units="cm"/>
      <inkml:brushProperty name="height" value="0.05292" units="cm"/>
      <inkml:brushProperty name="color" value="#0070C0"/>
    </inkml:brush>
  </inkml:definitions>
  <inkml:trace contextRef="#ctx0" brushRef="#br0">9790 7911 0,'13'0'94,"26"0"-78,-12 13-1,26-13 1,79 0-16,-39 14 15,-27-14-15,0 0 16,0 0-16,0 13 16,-39-13-16,-1 0 15,-26 13-15,14 13 32,12 54-17,0 12-15,1 14 16,-1 40-16,40 158 15,-13-66-15,-26 40 16,-1 13-16,-26-93 16,0 120-16,14 13 15,-14-1 1,26 41-16,-13-40 0,40 105 16,0-13-16,-26-52 15,39 79-15,13 105 16,-13-145-16,0-185 15,-39-225-15,-1 0 16,14 0 0,-14 0-16,1 0 15,-1 0 1</inkml:trace>
  <inkml:trace contextRef="#ctx0" brushRef="#br0" timeOffset="4887.51">1548 8427 0,'0'40'62,"0"26"-62,0-13 16,-13 26-16,-1 27 16,1 39-1,13-39-15,0 27 16,0-14-16,0-66 15,0 79-15,0-40 16,0 1-16,0-27 16,0 14-16,0 144 156,-13-250-156</inkml:trace>
  <inkml:trace contextRef="#ctx0" brushRef="#br0" timeOffset="7290.84">1336 8493 0,'53'13'47,"26"1"-47,1-1 16,39 0-16,0 13 16,79 14-16,1-13 15,-27-14-15,39 0 16,14-13-16,106 27 15,-106-14-15,-40-13 16,14 13-16,-41-13 16,67 13-16,-66-13 15,-27 0-15,27 0 16,-40 0-16,66 0 16,-119 0-16,80 0 15,-14 0 1,54-13-16,-54 13 15,0 0-15,-26-13 0,13 13 16,13-13 0,-66 13-16,1 0 15,-1-14-15,-13 14 16,0-13-16,-1 13 16,-12-13-16,26 13 15,0-13-15,-13 13 16,27 0-16,-27 0 15,-40 0-15,40 0 16,26-14-16,-26 14 16,-40 0 77,-13 14-77,0 39 0,0-1-16,0 81 15,0-27 1,-13-1-16,0 41 0,0-80 16,13 40-1,-14 26-15,1-39 16,13 13-16,-13-1 15,0-38-15,-1-1 16,1 0-16,0 27 16,13-14-16,0-26 15,-13-13-15,0-14 16,13 0 0,0 1-16,0-14 15,0 14-15,-27 65 31,27-79-15,-13 14 78,-14-27-79,-12 0 1,-27 0-16,-27 0 16,-53 0-16,27 0 15,-39 0-15,-14 0 16,-14 0-16,-52-13 16,13-1-16,27 1 15,-93 13-15,-13-26 16,26 13-16,159-1 15,-13 14 1,12 0-16,54 0 16,-13 0-16,26 0 15,13 0 1,-13 0-16,14 0 0,-14 0 16,13 0-16,14 0 15,-54 0-15,1 0 16,26 0-16,0 0 15,-13 0-15,26 0 16,-13 0 0,14 0-16,-14-13 0,-13 13 15,13-13-15,13 13 16,0 0-16,-13 0 16,14 0-1,-1 0-15,0 0 16,27 0-16,-13 0 15,-27 0-15,26-13 16,-26-1-16,0 14 16,-79-26-16,40 26 15,52 0-15,0 0 16,0 0-16,-26-13 16,-13 13-16,26-27 15,0 27-15,0-13 16,14 13-16,12-13 15,1 0-15,12 13 16,1 0-16,0-27 172,0 1-172,-1-1 16,1-13-16,-13 1 15,13-1-15,-14 0 16,14 1-16,13 25 15,0-12-15,0 0 16,0 12 0,0 1-16,0 0 15</inkml:trace>
  <inkml:trace contextRef="#ctx0" brushRef="#br0" timeOffset="10785.78">5424 10054 0,'0'0'0,"-13"0"15,-14 13-15,1 1 16,-14 25-16,-26 1 15,13 26-15,-26-13 16,-14 13-16,14 14 16,13-14-16,-14 0 15,1 0-15,-1 0 16,-52 14 0,40-1-1,39-66-15,39 0 16</inkml:trace>
  <inkml:trace contextRef="#ctx0" brushRef="#br0" timeOffset="11581.84">5477 10120 0,'-27'27'47,"14"-1"-47,13 14 15,-26 13-15,-1-13 16,-12 12-16,-1 15 15,-26-1 1,26-13-16,-26 13 0,0 40 16,13-53-16,13-14 15,-13-12-15,40-1 16,-13-13 0,12-13-1</inkml:trace>
  <inkml:trace contextRef="#ctx0" brushRef="#br0" timeOffset="13463.24">16140 10491 0,'92'0'63,"67"0"-48,225-40-15,-80 0 16,212-26 0,39-13-16,292-1 15,-119-25-15,-27 25 16,2024 54 15,-2500 26-15,-53-27-16,-106 27 15,-39 0-15</inkml:trace>
  <inkml:trace contextRef="#ctx0" brushRef="#br0" timeOffset="20562.91">8467 12277 0,'13'0'141,"13"0"-141,27-14 15,53 14-15,53 0 16,0 0-16,26 0 16,13 0-16,40 0 15,80 0-15,-54 0 16,-52 0 0,-13 0-16,-67 0 15,0 0-15,-79 0 16,-26 0-16,-14 0 15</inkml:trace>
  <inkml:trace contextRef="#ctx0" brushRef="#br0" timeOffset="21916">4630 12766 0,'27'0'109,"65"13"-93,1 14-16,66-27 15,79 0-15,-13 13 16,66-13 0,26 0-16,14 0 15,66 0-15,-186 0 0,-25 0 16,-54 0-1,-26 0-15,-67 0 16,-25 0-16</inkml:trace>
  <inkml:trace contextRef="#ctx0" brushRef="#br0" timeOffset="23897.66">4445 13388 0,'0'0'0,"13"0"16,27 0 15,-14 0-15,1 13-16,13 0 0,-1-13 15,14 0 1,79 0-16,-13 0 15,53 0-15,40 0 16,13 0-16,66 14 16,-26 12-16,65-13 15,-25 27-15,-120-27 16,-66 0-16,-26 1 16,12-1-16,-78-13 15</inkml:trace>
  <inkml:trace contextRef="#ctx0" brushRef="#br0" timeOffset="27362.7">18997 1429 0,'0'92'15,"0"-78"1,0 12-16,0 1 0,0-1 0,0 0 16,0 1-16,0 13 0,0-14 0,0 0 0,0-12 15,0 12-15,0 1 16,0-14-16,0 13 0,0-12 0,0-1 15,0 0-15,0 0 0,0 0 16,0 1-16,0-1 0,0 0 0</inkml:trace>
  <inkml:trace contextRef="#ctx0" brushRef="#br0" timeOffset="27525.46">19196 1773 0,'0'-27'32,"0"14"-17,13 13 17</inkml:trace>
  <inkml:trace contextRef="#ctx0" brushRef="#br0" timeOffset="28038.66">19500 1468 0,'-27'-13'16,"14"13"-16,0 0 16,13 13-16,-13-13 0,13 14 15,0-1-15,13 13 16,-13-12-16,13 25 0,-13-12 16,13-1-16,-13 1 0,14-1 15,-14-13-15,13 14 0,-13-1 0,0-13 16,0 14-16,0-14 0,0 0 0,-13 1 15,13-1-15,0 0 0,-14 0 16,14 1-16,-13-14 0,13 13 0,-13-13 16,0 13-16,-1-39 31,28 12-15,-14 1-16,13 0 0,0-14 0,0 14 15,-13-13-15,14 12 0,-1-25 0,0 12 16,-13 14-16,13-13 0,-13 12 15,13-12-15,-13 13 0,0 0 16,0-1-16,0 1 0,0 0 0,-13 0 16,13-1-16,-13 1 0,0 13 15,13-13-15,-27 13 16,14 13-16,0-13 0,13 13 16,-13-13-16,-1 14 0,14-1 15</inkml:trace>
  <inkml:trace contextRef="#ctx0" brushRef="#br0" timeOffset="28523.76">19778 1561 0,'13'0'16,"-13"13"-1,0 1 1,0-1 0,0 0-16,13-13 0,-13 13 0,0 0 15,0 1-15,0-1 16,0 0-16,0 0 31,13-26-15,1 0-1,-1 13 1,0 0-16,0 0 16,0 0-16,1 13 0,-1-13 15,-13 13-15,13-13 16,-13 14-16,13-14 16,-13 13-16,14-13 15,-1 13 1,0-13-1,0 0 1,0 0-16,1 0 16,-1 0-16,0 0 15,0 0-15,1 0 16,-14 13-16,0 0 0</inkml:trace>
  <inkml:trace contextRef="#ctx0" brushRef="#br0" timeOffset="28806.4">18918 2130 0,'79'-13'31,"-26"13"-31,-13-14 0,13 14 16,0-13-16,-1 13 0,15-13 0,-14 13 16,13-13-16,0 13 0,-13-13 15,0 13-15,0 0 0,-14 0 0,1-14 16,26 14-16,-53 0 16,14 0-16,-14 0 0,0 0 0,0 0 15,1 0-15</inkml:trace>
  <inkml:trace contextRef="#ctx0" brushRef="#br0" timeOffset="29091.59">18838 2249 0,'80'0'31,"-54"0"-31,14 0 0,13 0 16,39-13-16,-52 13 0,13-14 16,-13 14-16,-1 0 0,1 0 0,0-13 15,-14 13-15,14 0 0,-14 0 16,1-13-16,12 13 0,-25 0 0,12 0 16,1 0-16,-1-13 0,-13 13 0,1 0 15,-1 0-15,0 0 0,0 0 16,0 0-16</inkml:trace>
  <inkml:trace contextRef="#ctx0" brushRef="#br0" timeOffset="33965.65">20677 4075 0,'0'39'0,"0"-25"0,0-1 0,0 13 16,0-13-16,0 27 0,0-27 16,0 14-16,0-1 0,13-13 15,-13 14-15,0-14 0,0 14 16,0-14-16,0 0 0,0 0 0,0 14 15,0-14-15,0 0 0,0 0 0,0 1 16,0-1-16</inkml:trace>
  <inkml:trace contextRef="#ctx0" brushRef="#br0" timeOffset="34169.61">20823 4339 0,'13'0'0,"-26"0"0,26-13 16</inkml:trace>
  <inkml:trace contextRef="#ctx0" brushRef="#br0" timeOffset="35010.04">21220 4167 0,'-40'0'47,"27"0"-47,-1 13 15,1-13-15,13 14 16,0-1-16,0 0 15,13 0-15,-13 1 0,14-1 16,-14 0-16,13 0 0,0 14 16,-13-14-16,13 13 0,-13-12 15,0-1-15,0 0 0,14 0 16,-14 1-16,0-1 0,-14 13 16,1-13-16,-27 27 31,27-40-31,0-13 15,13 0 1,13-1-16,-13 1 16,13 0-16,1 0 0,-1 0 15,-13-1-15,13 1 0,-13 0 0,13 0 16,1-14-16,-14 14 16,0 0-16,0-14 0,0 14 15,0 0-15,0 0 16,-14-1-16,14 1 15,-13 13-15,0 0 0,13-13 16,-13 13-16,-1 0 16,1 13-16,13 14 31</inkml:trace>
  <inkml:trace contextRef="#ctx0" brushRef="#br0" timeOffset="35321.89">21497 4366 0,'27'13'31,"-14"-13"-15,0 0-16,1 0 0,12-13 16,-13 13-1,0 0-15,1 0 0,-1-14 16,0 14-16,0 0 15,-13-13-15</inkml:trace>
  <inkml:trace contextRef="#ctx0" brushRef="#br0" timeOffset="35593.46">21894 4167 0,'14'0'16,"-14"27"-1,0-14-15,13 0 16,-13 14-16,0-14 16,0 0-16,0 13 0,13-12 0,-13-1 15,0 13-15,0-12 0,0-1 0,0 0 16,13 0-16,-13 14 0,0-14 15,0 0-15,0 0 0,0 1 16,0-1 0</inkml:trace>
  <inkml:trace contextRef="#ctx0" brushRef="#br0" timeOffset="35766.65">22066 4366 0,'-13'-14'31</inkml:trace>
  <inkml:trace contextRef="#ctx0" brushRef="#br0" timeOffset="36089.68">22278 4233 0,'-13'14'31,"-1"-1"-31,14 0 16,-13 0-16,13 0 0,-13 1 0,0-1 15,13 0-15,-13 0 0,13 1 0,-14-1 16,14 0-16,0 0 16,0 1-16,0-1 15,0 0-15,14-13 0,-14 13 16,13-13-16,0 0 0,0 0 16,14 13-16,-14-13 0,0 0 15,0 0-15,1-13 0,-1 13 16,0 0-16,0 0 0,1 0 15,-14-13-15,13 13 0,0 0 0,-13-13 16,13 13-16,-13-13 0</inkml:trace>
  <inkml:trace contextRef="#ctx0" brushRef="#br0" timeOffset="36334.53">22357 4233 0,'-13'0'0,"0"27"31,13-14-31,-13 0 0,13 14 16,0-14-16,0 0 0,0 0 15,13 14-15,-13-14 0,0 14 0,0-14 0,13 0 16,-13 13-16,0-12 0,0-1 16,13 0-16,-13 0 0,0 1 0,0-1 15,0 0-15,0 0 0,0 1 16,0-1-16,0 0 0,0 0 15,0 0 1</inkml:trace>
  <inkml:trace contextRef="#ctx0" brushRef="#br0" timeOffset="36874.25">20558 4987 0,'53'-13'15,"-26"13"-15,12 0 0,27-13 16,14 0-16,-1 13 0,14-14 0,-1 1 15,27 0-15,0 0 16,0 0-16,-13-1 0,-13 1 0,13 13 0,-14-13 16,1 13-16,0-13 0,-1 13 0,1-14 15,-14 14-15,-13 0 16,0-13-16,-13 13 0,-13 0 0,0 0 16,-1 0-16,-12-13 0,-1 13 0,1 0 15,-14 0-15,0 0 0,0 0 0,1 0 16,-1 0-16,0 0 0,0 0 15,-52 0 17,25 0-17,1 0-15,0 0 0</inkml:trace>
  <inkml:trace contextRef="#ctx0" brushRef="#br0" timeOffset="37987.44">21564 5212 0,'-14'14'16,"14"-1"-16,0 0 16,0 0-16,0 0 15,0 1-15,0-1 0,14 13 0,-14-12 16,13-1-16,-13 0 0,13 0 0,0 1 15,0-1-15,1 0 0,-1-13 16,0 13-16,0-13 0,1 0 0,-1 0 16,0 0-16,0 0 0,1-13 15,-1 13-15,-13-13 0,0 0 16,13-1-16,-13 1 0,-13-13 16,13 12-16,0 1 0,-13 0 15,13 0-15,-14-1 0,1 1 0,13 0 0,-13 0 16,0 0-16,-1 13 15,1-14-15,-13 14 16,12 14-16,1-1 16</inkml:trace>
  <inkml:trace contextRef="#ctx0" brushRef="#br0" timeOffset="38147.94">21894 5186 0,'0'-13'32,"-13"39"-1,0-26-15</inkml:trace>
  <inkml:trace contextRef="#ctx0" brushRef="#br0" timeOffset="38361.61">22066 5106 0,'0'14'32,"13"-1"-32,-13 0 0,0 0 15,0 1-15,0-1 0,0 0 16,0 0-16,0 1 0,0-1 0,0 13 15,0-13-15,0 1 0,0-1 16,0 0-16,0 0 0,14 1 16,-14-1-16</inkml:trace>
  <inkml:trace contextRef="#ctx0" brushRef="#br0" timeOffset="38706.53">22318 5133 0,'0'-13'31,"-14"13"-31,1 13 16,0-13-16,13 13 0,-13-13 15,13 13-15,-14-13 0,14 14 16,0-1-16,0 0 0,14 0 15,-14 1-15,13-14 16,0 13-16,0 0 0,1 0 0,-1 0 16,0 1-16,0-1 15,-13 0-15,0 0 16,0 1-16,0-1 16,-13-13-16,0 13 0,0 0 0,-14-13 15,1 14-15,-1-1 0,14-13 0,-13 13 16,-1-13-16,1 0 0,-1 13 15,14-13-15,-14 0 0,14 0 0,-13 13 16</inkml:trace>
  <inkml:trace contextRef="#ctx0" brushRef="#br0" timeOffset="39279.75">23230 4524 0,'40'0'16,"-27"0"0,1-13-16,12 13 15,-13 0-15,14 0 0,-14 0 0,13 0 16,-12 0-16,-1 0 0,0 0 0,0 13 16</inkml:trace>
  <inkml:trace contextRef="#ctx0" brushRef="#br0" timeOffset="39441.81">23204 4749 0,'-13'0'0,"52"-13"31,-25 13-15,-1 0-16,0 0 0,0 0 0,1-13 15,-1 13-15,0 0 0,0 0 16,0-13-16,1-1 0,-1 14 15</inkml:trace>
  <inkml:trace contextRef="#ctx0" brushRef="#br0" timeOffset="50754.49">19592 4789 0,'27'0'0,"13"13"32,-27-13-32,-13 13 15,13-13-15,-13 27 16,-13-27-16,13 13 0,-13 0 0,13 1 15,-27-1-15,14 0 0,0 0 16,-1 14-16,1-14 0,-13 0 0,12 0 16,1 1-16,0-1 0,0 0 15,13 0-15,-13-13 0,-1 27 16,1-14-16,13 0 16,13 0-1,1 1-15,-1-14 0,0 0 16,0 0-16,0 0 0,1 0 0,12 13 15,-13-13-15,14 0 0,-14-13 0,14 13 16,-14 0-16,0 0 0,13 0 16,-12 0-16,-1-14 0,0 14 0,0 0 15</inkml:trace>
  <inkml:trace contextRef="#ctx0" brushRef="#br0" timeOffset="50965.48">19500 5001 0,'-13'0'0,"26"0"0,0-14 31,0 14-15,14 0-16,-14 0 0,13 0 15,-12-13-15,12 13 0,-13 0 0,14 0 16,-14 0-16,13-13 0,1 13 0,-14 0 15,14 0-15,-14 0 0,0 0 0,0 0 16,1-13-16,-1 13 0</inkml:trace>
  <inkml:trace contextRef="#ctx0" brushRef="#br0" timeOffset="51156.53">20069 4895 0,'13'-13'16,"-26"26"-16,39-26 0,1 13 15,-14 0 1,0 0-16,-13 13 16</inkml:trace>
  <inkml:trace contextRef="#ctx0" brushRef="#br0" timeOffset="51350.99">19950 5054 0,'-14'13'15,"54"-26"32,-27 13-47,0 0 16,1 0-16,-1 0 0,0 0 15,0 0-15,1 0 0,-1-14 0,0 14 16,0 0-16,1 0 16</inkml:trace>
  <inkml:trace contextRef="#ctx0" brushRef="#br0" timeOffset="52605.47">24117 4419 0,'13'0'0,"0"0"16,0 0 0,1 13-16,-1-13 0,-13 13 15,13 0 1,-26 0-16,13 1 15,-13-14-15,-1 13 0,1 0 0,0-13 16,0 13-16,0 1 0,-1-14 16,1 13-16,0-13 0,0 13 0,-1 0 15,1-13-15,13 14 16,13-14 0,1 0-1,-1 0-15,0 13 0,0-13 0,14 0 16,-14 13-16,0-13 0,0 13 15,1-13-15,-1 13 0,0-13 16,0 14-16,1-14 0,-1 13 16,-13 0-16,0 0 15,-13 1-15,-1-14 16,14 13-16,-26-13 0,13 13 0,-1-13 16,1 13-16,-13-13 0,13 0 0,-1 13 15,1-13-15,0 0 0,0 0 16,-1 14-16,1-14 0,0 0 0,0 0 15,-1 0-15</inkml:trace>
  <inkml:trace contextRef="#ctx0" brushRef="#br0" timeOffset="52874.49">24514 4723 0,'13'13'31,"-26"0"-15,-1 0-16,1 1 0,0-14 16,0 13-16,-14 0 0,14 14 15,-13-14-15,-14 0 0,13 14 0,1-14 16,0 0-16,12 0 0,-12 0 0,13 1 15,-14-1-15,14-13 0,0 13 16,-1 0-16,1-13 0,0 14 16</inkml:trace>
  <inkml:trace contextRef="#ctx0" brushRef="#br0" timeOffset="53072.45">24580 4802 0,'-40'40'15,"27"-14"1,-14-12-16,1-1 0,0 13 0,-1 1 16,-13-14-16,14 13 0,-40 14 15,39-13-15,1-1 16,-27 14-16,26-14 0,1-13 15,13 1-15</inkml:trace>
  <inkml:trace contextRef="#ctx0" brushRef="#br0" timeOffset="55686.68">6919 9247 0,'13'-13'32,"0"0"-32,1 0 0,-1 13 15,0-27-15,13 14 0,-12-14 0,25-12 16,1-1-16,13 0 0,-13 1 0,13-1 15,13-26-15,0 13 0,0-13 16,13 0-16,1-1 0,12 1 0,1-13 16,0 13-16,-1-14 0,1 1 15,13 0-15,119-93 0,-106 79 16,0 0-16,26-12 0,14-14 16,0 13-16,-40 26 0,26-26 0,14 1 15,0-1-15,-1 0 0,-25 27 16,39-27-16,0 0 0,-13 0 0,12 14 15,1-14-15,0 13 0,-13 0 0,-27 27 16,54-40-16,118-52 16,13-1-16,-131 66 0,91-26 15,-91 27-15,-41 39 0,1-13 16,-14 13-16,27-13 0,-14 13 16,146-66-16,-145 79 0,-1-13 15,160-40-15,-160 40 0,1 14 16,-1-1-16,1 0 0,-1 14 15,133-40-15,-132 39 0,-14 1 16,132-27-16,-131 40 0,-1 0 16,106-27-16,-132 40 0,-13-13 15,12 13-15,-12-14 0,13 14 16,-14 0-16,1 0 0,-14 0 0,14 0 16,-14 0-16,14 14 0,-14-14 0,1 0 15,-1 13-15,-13-13 0,14 13 16,-14-13-16,0 13 0,-13-13 15,13 14-15,0-14 0,40 13 16,-53-13-16,0 0 0,0 0 0,0 13 16,-14-13-16,14 0 0,-13 0 15,0 0-15,-1 0 0,1 0 0,13 0 16,-13 0-16,-14 13 0,1-13 16,-1 0-16,14 0 0,-14 0 15,1 0-15,-1 13 0,1-13 0,-14 0 16,13 0-16,1 14 0,-14-14 0,13 0 15,-12 0-15,-1 13 0,13-13 0,-12 0 16,-1 0-16,0 0 0,0 13 16,0-13-16,1 0 15,-1 0-15,0 0 16,0 0 0,1 0-16,-14-13 15</inkml:trace>
  <inkml:trace contextRef="#ctx0" brushRef="#br0" timeOffset="56019.48">19169 4260 0,'27'13'47,"-27"0"-47,13-13 0,13 13 15,-13 1-15,14-1 0,-14 0 0,14 0 16,-14 1-16,13-1 0,14 0 16,-27 14-16,27-14 0,-27 0 0,14 0 15,-14 0-15,0 1 0,0 12 16,0-13-16,-13 1 15,0 12-15,-13-13 0,0 14 0,-13-1 0,-1 1 16,-26-1-16,-66 40 16,40-13-16,-93 27 0,-13 25 15,92-65-15,-79 66 16,93-66-16,26-1 0,-13 1 0</inkml:trace>
  <inkml:trace contextRef="#ctx0" brushRef="#br0" timeOffset="57006.04">20968 3982 0,'0'0'16,"-13"0"-16,0-13 31,13 0-31,0-1 0,0 1 16,0 0-16,0 0 0,0-1 15,-13-12-15,13 13 16,0-14-16,0 14 0,0-13 0,0-1 0,0 1 16,0-1-16,-14 1 0,14-1 0,0 14 15,0-13-15,0 12 0,0 1 16,0 0-16,0 0 0,-13-1 15,13 1-15,0 0 16</inkml:trace>
  <inkml:trace contextRef="#ctx0" brushRef="#br0" timeOffset="57223.66">20955 3545 0,'-13'14'31,"0"-14"-31,-1 26 0,14-13 16,-13 1-16,0-1 0,13 0 0,-13 0 15,-1 0-15,14 1 0,-13-1 16,0 0-16,13 0 0,0 1 15,-13-1-15,13 0 16</inkml:trace>
  <inkml:trace contextRef="#ctx0" brushRef="#br0" timeOffset="57410.62">20929 3492 0,'39'27'31,"-39"-14"-31,13-13 0,1 13 16,-1-13-16,0 14 0,-13-1 0,13 0 15,1-13-15,-1 13 0,0 1 16,0-14-16,1 13 0,-1 0 16,0-13-16,-13 13 0,13-13 15</inkml:trace>
  <inkml:trace contextRef="#ctx0" brushRef="#br0" timeOffset="63845.31">19923 10530 0,'0'-13'16,"-13"40"15,13-14-31,0 0 0,0 14 16,0-14-16,-13 0 16,13 13-16,0-12 0,0 12 0,0-13 0,0 14 15,0-14-15,0 0 0,0 14 16,0-14-16,13 0 0,-13 0 0,0 1 15,0-1-15,0 0 16,0 0-16</inkml:trace>
  <inkml:trace contextRef="#ctx0" brushRef="#br0" timeOffset="64190.61">19791 10769 0,'0'0'0,"13"-14"16,0 14-16,1 0 16,-1-13-16,0 13 0,0 0 0,14-13 15,-14 13-15,0-13 0,14 13 0,-1-14 16,-13 1-16,14 13 0,-14-13 16,13 0-16,-12-1 0,12 14 0,-13-13 15,1 0-15,-1 13 0,-13-13 0,13 13 16,0 0-16,-13-13 0,13 13 15,1 0 1,-14 13 0,0 0-16,0 0 15,0 0-15,0 1 16,0-1-16,0 0 0,0 0 16,0 1-16,0-1 0,0 0 15,13 0-15,0 1 16,0-14-16,1 0 15</inkml:trace>
  <inkml:trace contextRef="#ctx0" brushRef="#br0" timeOffset="64561.33">21471 10411 0,'-13'0'0,"-1"14"16,14-1 0,0 0-16,0 0 0,-13 1 0,13 12 15,0-13-15,0 0 0,0 14 16,0-14-16,0 14 0,0-14 0,0 0 16,0 13-16,0-12 0,0-1 15,0 0-15,0 0 0,0 1 0,0-1 16,0 0-16</inkml:trace>
  <inkml:trace contextRef="#ctx0" brushRef="#br0" timeOffset="64742.11">21352 10636 0,'13'-13'15,"14"13"-15,-14 0 16,0 0-16,0 0 0,0 0 0,1 0 16,-1 0-16,0 0 0,0 0 15,1 0-15</inkml:trace>
  <inkml:trace contextRef="#ctx0" brushRef="#br0" timeOffset="65038.33">21775 10504 0,'0'0'16,"0"13"15,0 0-31,-13 1 16,0-1-16,0 0 0,-1 0 0,14 1 15,-13-1-15,0-13 0,13 13 16,-13 0-16,13 0 0,-14-13 15,14 14-15,0-1 16,14-13-16,-1 13 16,0-13-16,0 0 15,1 0-15,-1 0 0,0-13 0,0 13 16,14 0-16,-14 0 0,13-13 16,-12 13-16,-1 0 0,13-14 0,-12 14 15,-1-13-15</inkml:trace>
  <inkml:trace contextRef="#ctx0" brushRef="#br0" timeOffset="65345.55">22900 10319 0,'0'26'32,"0"-13"-32,0 1 0,0 12 15,0-13-15,0 1 0,0-1 16,0 0-16,13 14 0,-13-14 0,0 0 15,0 0-15,13 0 0,-13 1 0,0-1 16,0 0-16,13-13 0,-13 13 16</inkml:trace>
  <inkml:trace contextRef="#ctx0" brushRef="#br0" timeOffset="65560.82">22834 10504 0,'0'0'0,"-14"0"0,41-13 16,-14 13-1,0 0-15,0 0 16,1 0-16,-1 0 0,0 0 0,0 0 16,1-13-16,12 13 0,-13 0 15,1 0-15,12 0 16,-13 0-16,0-14 0</inkml:trace>
  <inkml:trace contextRef="#ctx0" brushRef="#br0" timeOffset="65927.35">23257 10319 0,'26'13'31,"-26"0"-15,0 0-16,0 1 0,0-1 15,0 0 1,14 0-16,-14 1 0,13-1 15,-13 0-15,13 0 0,0 1 16,0-1-16,-13 0 0,14 0 16,-14 0-16,0 1 0,0-1 15,0 0-15,0 0 0,-14 1 16,14-1-16,-13-13 0,0 13 16,-13 0-16,12 0 0,1 1 0,-13-14 15,12 13-15,1-13 0,0 0 0,-13 0 16</inkml:trace>
  <inkml:trace contextRef="#ctx0" brushRef="#br0" timeOffset="69936.9">19553 2355 0,'-14'-13'0,"41"26"47,-14 0-47,0 0 15,14 14-15,-1-1 0,1 1 0,-1 12 16,14 14-16,0-13 0,-14 13 0,14 0 15,39 53-15,-52-67 16,12 14-16,-12 0 0,12 0 0,-12-13 16,13-1-16,-14 14 0,14-13 15,-14-14-15,-13 14 0,14-13 0,-1-1 16,-12 1-16,-1-1 0,0-13 0,0 14 16,-13-14-16,13 0 0,-13 0 15,14 1-15,-14-1 16</inkml:trace>
  <inkml:trace contextRef="#ctx0" brushRef="#br0" timeOffset="70293.83">20280 2963 0,'40'53'32,"-27"-40"-32,-13 1 15,13 12-15,-13-13 0,14 1 0,-14 12 16,13-13-16,-13 1 0,13 25 15,-13-26-15,-13 1 0,13 12 16,0-13-16,-13 1 0,-1-1 0,-12 27 16,13-27-16,0 0 15,-1 0-15,1-13 0,0 13 0,0 1 16,-14-14-16,14 13 0,0-13 16,-1 0-16,1 13 15,0-13-15,0 0 0</inkml:trace>
  <inkml:trace contextRef="#ctx0" brushRef="#br0" timeOffset="71436.62">22185 4101 0,'-13'-13'16,"13"0"-16,0-1 15,0 1-15,0 0 0,0-14 16,0 1-16,0 0 0,0-14 0,0 0 15,0 0-15,0-12 0,0 12 0,0-13 16,0 13-16,13 1 0,-13-1 16,0 0-16,0 14 0,0-1 0,0 14 15,0-13-15,0 12 0,0 1 16,0 0-16,0 0 0,0-1 0,0 1 16,0 0-16,-13 13 15</inkml:trace>
  <inkml:trace contextRef="#ctx0" brushRef="#br0" timeOffset="71671.1">22212 3334 0,'-27'13'31,"14"0"-31,13 0 0,-13 1 16,0-1-16,13 0 0,-14 0 0,1 1 16,0 12-16,13-13 0,-13 0 15,-1 1-15,14-1 0,-13 0 0,0 0 16,13 1-16,0-1 0,-13 0 0,13 0 16</inkml:trace>
  <inkml:trace contextRef="#ctx0" brushRef="#br0" timeOffset="71870.58">22185 3360 0,'40'13'31,"-27"1"-31,0-1 16,1-13-16,-1 13 0,0 0 15,0 1-15,1-1 0,-1-13 16,-13 13-16,13-13 16,0 13-16,1-13 0,-1 13 0,13-26 15</inkml:trace>
  <inkml:trace contextRef="#ctx0" brushRef="#br0" timeOffset="72521.53">22159 2871 0,'0'13'31,"-13"0"-15,13 0-16,0 1 0,0-1 15,0 0-15,0 0 0,-14 14 16,14-14-16,0 0 0,0 14 16,0-14-16,0 0 15,27-26 16,-27 0-31,13-1 16,-13 1-16,13 0 0,-13 0 16,14 0-16,-1-1 15,0 14-15,-13-13 0,13 13 0,0 0 32,1 13-32,-1-13 0,-13 14 15,13-1 1,-13 0-1,0 0 1,13-39 15,1 26-31,-14-13 16,13-1-16,0 1 0,0 0 0,1 0 16,-1-1-16,0 14 15,0 0-15,-13-13 0,13 13 16,1 0-16,12 13 0,-13-13 15,1 14-15,-1-1 16,0-13-16,-13 13 0,13-13 16,-13 13-16,13 1 0,-13-1 15,14-13-15,-14 13 16,13-13-16,-13 13 16</inkml:trace>
  <inkml:trace contextRef="#ctx0" brushRef="#br0" timeOffset="73531.8">22701 2963 0,'13'-26'0,"-26"52"0,40-52 16,-27 13-16,0-1 0,13 14 0,-13-13 15,0 0-15,0 0 16,0 0-16,-27 13 31,27 13-31,-13 0 16,0 0-16,13 0 15,0 1-15,0-1 16,0 0-16,0 0 16,13 1-16,0-1 0,1-13 15,-1 0-15,0 13 16,0-13-16,14 0 0,-14 0 0,14-13 15,-14 13-15,13 0 0,-13-13 0,14 13 16,-14 0-16,0-14 0,14 1 16,-14 13-16,0-13 0,1 0 15,-14-1-15,13 14 0,-13-13 0,0 0 16,0 0 0,0 0-16,-13 13 15,-1 0-15,1 0 16,0 0-16,0 13 15,13 0 1,-14-13-16,14 13 0,-13-13 16,13 13-16,0 1 0,0-1 15,0 0 1,13-13-16,1 13 16,-1-13-1,0-13 1,0 13-16,1-13 15,-1 0-15,0 13 16,-13-14-16,13 14 16,-13-13-16,13 13 15,-13-13-15,14 13 0,-1 0 16,0-13-16,0 13 16,1 0-1,-1 13 1,0-13-16,-13 13 15,13 0-15,-13 1 16,14-1 0,-14 0-16,13 0 31,0-13 16,0-13-47,-13 0 15,13 13-15,-13-13 16,14 13-16,-14-14 16,13 14-16,0-13 15,0 13 1,-13-13 0,27 26-1,-14 0 1,0 1-1,-13-1-15,13 0 16,1 0 0,-1-13-1,0 0-15,0 0 16,1 0 0,-1 0-16,-13-13 0</inkml:trace>
  <inkml:trace contextRef="#ctx0" brushRef="#br0" timeOffset="75759.84">21736 5728 0,'13'0'16,"0"0"-16,0 0 16,14 13-16,-1-13 0,1 0 0,-1 14 15,1-14-15,-1 13 0,14-13 16,13 13-16,-14-13 0,1 0 16,53 0-16,-41 0 0,1 0 15,53-13-15,-53 0 0,-13 13 16,13-14-16,-14 1 0,14 0 15,40 0-15,-53 0 16,-1-1-16,-12 1 0,12-13 0,-12 12 0,-1 1 16,-12 0-16,25-14 15,-25 14-15,12-26 0,-26 25 16,13-12-16,-13 13 0,0-1 0,0-12 16,0 13-16,0-14 15,-13 1-15,0-14 0,0 0 16,-14 14-16,1 0 0,12 12 0,-39-39 15,-13 14 1,40 25-16,-14-12 0,0 13 0,-39-14 16,39 14-16,1 0 15,-14 0-15,13-1 0,0 1 0,-12 13 16,12-13-16,0 13 0,0 0 0,1 0 16,-1-13-16,0 13 0,-13 13 0,1-13 15,12 0-15,-13 13 0,13 0 0,1-13 16,-1 14-16,0-1 15,-79 40-15,93-40 0,-14 13 16,-13 14-16,27-27 16,-1 14-16,1-1 0,-27 27 15,40-26-15,-14 26 16,14-40-16,0 40 0,13-40 16,0 13-16,0-12 0,0 12 15,0-13-15,0 14 0,26 12 16,-13-25-16,1-1 0,38 27 15,-25-27-15,-1 0 0,41 0 16,277 80 31,-331-93-47</inkml:trace>
  <inkml:trace contextRef="#ctx0" brushRef="#br0" timeOffset="76034.67">22278 5887 0,'0'26'31,"0"1"-31,0-14 0,0 14 16,-27 25-16,14 15 15,0-1-15,0-40 0,0-13 16,-1 40-16,14-26 16,93-424-16,-199 820 0,106-396 15,0-14-15,-13 0 16,13 0-16,0 1 16,0-1-16</inkml:trace>
  <inkml:trace contextRef="#ctx0" brushRef="#br0" timeOffset="76404.78">22027 6284 0,'0'0'0,"-14"26"47,14-12-47,0-1 16,0 0-16,0 0 0,0 14 15,0-1-15,14-13 0,-14 1 0,0-1 16,0 13-16,13-12 16,-13-1-16,13-13 0,-13 13 15,13-13-15,0 0 16,1 0-16,-1 0 0,0 0 15,0-13-15,1 13 0,12-13 0,-13-1 16,1 14-16,12-13 0,-13 0 0,0 13 16,14-13-16,-14-1 0,0 14 0,1-13 15,12 13-15,-13 0 16,1 0 0,-14 13-16</inkml:trace>
  <inkml:trace contextRef="#ctx0" brushRef="#br0" timeOffset="77574.8">22251 6853 0,'-13'-14'15,"0"14"-15,0 0 0,-14 0 16,14 0-16,0 0 15,0 0-15,-1 0 0,1 14 16,0-14-16,13 13 16,0 0-1,0 0-15,13 1 0,0-1 16,1 0-16,-1 0 16,13 14-1,-12-14-15,25 40 31,-39-27-15,-39-26 0,12 14-16,-66-1 31,67-13-15,26-53 30</inkml:trace>
  <inkml:trace contextRef="#ctx0" brushRef="#br0" timeOffset="77818.6">22463 6787 0,'13'13'16,"-13"0"-1,0 0 1,0 0-16,0 1 0,0-1 16,-13 13-16,13-12 15,0-1-15,0 0 0,0 0 16,0 1-16,-13-1 0,13 0 0,0 0 16,0 0-16,0 1 15</inkml:trace>
  <inkml:trace contextRef="#ctx0" brushRef="#br0" timeOffset="78135.9">22437 6760 0,'79'-13'15,"-66"13"-15,14 0 0,-1 13 16,1 0-16,-14 1 16,13-1-16,-12-13 0,12 26 0,-13 1 15,-13-14-15,13 13 16,-26 1-16,0-14 15,-13 40-15,12-40 0,-12 14 16,-1-14-16,-12 13 0,12-12 16,1-1-16,-1 0 15,1 0-15,13-13 16,-1 0-16,1 0 0</inkml:trace>
</inkml:ink>
</file>

<file path=ppt/ink/ink17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2:47:44.329"/>
    </inkml:context>
    <inkml:brush xml:id="br0">
      <inkml:brushProperty name="width" value="0.05292" units="cm"/>
      <inkml:brushProperty name="height" value="0.05292" units="cm"/>
      <inkml:brushProperty name="color" value="#0070C0"/>
    </inkml:brush>
  </inkml:definitions>
  <inkml:trace contextRef="#ctx0" brushRef="#br0">2633 1654 0,'26'132'16,"-13"-92"-16,27 132 16,-40-133-16,13 1 15,0 0-15,-13-14 0,14 14 16,-1-1-16,-13-12 0,13-14 0,-13 14 15,13-1-15,-13-13 0,0 1 0,0-1 16,14 0-16</inkml:trace>
  <inkml:trace contextRef="#ctx0" brushRef="#br0" timeOffset="576.24">2500 1482 0,'0'-27'0,"14"14"16,-1 0-16,13 0 0,14-1 0,0 1 15,-1-13-15,14 12 0,0-12 0,13-1 16,0 1-16,1 13 0,-1-14 16,13 1-16,-13 13 0,14-14 0,-1 14 15,-13 0-15,0-14 0,0 14 0,1 0 16,-15 0-16,41-1 0,-66 14 16,12-13-16,-12 13 0,-1 0 15,-13 0-15,1 0 0,12 0 0,-13 13 16,1-13-16,-1 14 0,0-14 15,0 26-15,0-13 0,1 14 16,12-1-16,-13 1 0,1 12 0,12 41 16,1-41-16,-1 14 0,-13-13 0,14 13 15,-1 0-15,-13 0 0,14-14 16,-1 14-16,-13 0 0,80 159 31,-66-186-31,-14 14 0,0-13 16,0-1-16,-13 0 0,13-12 0,-13-1 15,0 13-15,0-12 0,0-1 0,0 13 16,-13-13-16,0 1 0,0 12 0,-14-13 16,1 14-16,-1-14 0,-12 14 15,-1-14-15,0 0 0,14 0 0,-14 0 16,1-13-16,-1 14 0,13-14 0,-12 0 16,12 13-16,1-13 15,-14 0-15,27 0 0,-14 0 0,1 0 16,-1 0-16</inkml:trace>
  <inkml:trace contextRef="#ctx0" brushRef="#br0" timeOffset="1917.14">7964 1588 0,'13'39'0,"-13"1"15,13 13-15,-13 0 0,14 13 0,-14-13 16,13 13-16,-13-13 0,0 0 15,13 0-15,-13-14 0,13 54 16,1-53-16,-14-1 0,13 1 16,-13-14-16,0 1 0,13-14 15,-13 14-15,0-14 0,13 0 0,-13 0 16</inkml:trace>
  <inkml:trace contextRef="#ctx0" brushRef="#br0" timeOffset="3414.17">8017 1521 0,'0'-13'0,"26"0"31,-12 13-31,12-13 16,-13 13-16,14 0 0,12-14 0,14 14 15,0-13-15,0 0 0,13 13 0,14-13 16,-14 0-16,13-1 0,-13 1 16,14 0-16,12 0 0,-12-1 0,12 1 15,1 0-15,0 0 0,-1-1 0,27-12 16,0 13-16,-13-14 0,13 14 15,0-13-15,-13 12 0,13 1 16,-13-13-16,13 12 0,-26 1 0,26-13 16,-27 13-16,27-1 0,-26 1 0,0 13 15,12-13-15,-12 0 0,13 13 16,-14-14-16,1 1 0,0 0 0,-1 13 16,1-13-16,-14 13 0,14-14 0,-14 14 15,1 0-15,-1 0 0,-13-13 16,13 13-16,-12 0 0,12-13 0,-26 13 15,13 0-15,-13 0 0,0 0 0,0 0 16,13 0-16,-13-13 0,0 13 16,0 0-16,0 0 0,0 0 15,-1 0-15,-12 0 0,13 0 0,-13 0 16,-1 0-16,-12 0 0,13 0 0,-14 0 16,14 0-16,-14 0 0,1 0 15,-1 0-15,1-13 0,-1 13 0,-13 0 16,14 0-16,-14 0 0,0 0 0,0 0 15,1 0-15,-1 0 0,0 0 16,0 0-16,0 0 16,1 0-16,-1 0 15,-13 13 1,13 0-16,-13 0 0,13 0 16,-13 1-16,14 12 0,-14-13 15,13 27-15,0-13 0,-13 12 16,13 1-16,1 0 0,-1-1 15,-13 1-15,13 13 0,0 0 0,14 0 16,-14 0-16,0 0 0,0 0 0,1-14 16,-1 1-16,0 13 0,0-14 15,1-12-15,-1 13 0,13 26 16,-13-40-16,1 1 0,-14-1 16,13-13-16,-13 14 0,13-1 0,0-12 15,-13-1-15,14 0 0,-14 13 0,0-12 16,13-1-16,-13 0 15,0 0-15,13-13 0,-13 14 0,0-1 16,-13-13-16,13 13 16,-13-13-16,-1 0 15,-12 0-15,13 0 0,-14 13 0,14-13 16,-13 0-16,-1 0 0,-13 0 16,14 0-16,-14 0 0,1 0 0,-14 0 15,0 13-15,-40-13 0,40 0 16,0 14-16,-39-14 0,39 13 15,0-13-15,0 0 16,13 13-16,-13-13 0,0 0 0,-26 13 16,13-13-16,0 0 0,-14 14 0,1-14 15,0 0-15,-1 13 0,1-13 0,-14 13 16,14-13-16,-14 13 0,1-13 0,12 14 16,-12-1-16,12-13 0,1 13 15,0-13-15,-1 13 0,1-13 0,-1 13 16,14-13-16,0 0 0,0 14 15,0-14-15,13 0 0,-26 0 0,12 13 16,-12-13-16,26 0 0,-26 0 0,13 0 16,-1 0-16,1 0 0,13 0 15,-79 0-15,79 0 0,-13 0 16,-53 0-16,53 0 0,13 0 16,0 0-16,0 0 0,13 0 15,-13 0-15,1 0 0,12 0 0,13 0 16,-25 0-16,12 13 0,13-13 15,-26 0-15,1 0 0,25 0 0,-26 0 16,13 13-16,14-13 0,-67 0 16,67 0-16,-14 0 0,14 0 15,-14 14-15,14-14 0,-14 0 0,14 0 16,-14 0-16,13 0 0,1 0 0,-14 13 16,14-13-16,-1 0 0,1 0 15,-1 0-15,1 0 0,-1 0 0,1 0 16,0 13-16,-1-13 0,14 0 15,-14 0-15,1 0 0,-1 13 0,14-13 0,-13 0 16,13 0-16,-14 0 16,1 14-16,12-14 0,1 0 0,0 13 15,-27-13-15,27 0 0,0 0 16,0 0-16,-1 0 16,1 0-16,0 0 15,39-13 16,-12 13-31,-1 0 0</inkml:trace>
  <inkml:trace contextRef="#ctx0" brushRef="#br0" timeOffset="4361.12">14010 1892 0,'79'0'16,"-26"-13"-16,-13-1 0,26 14 0,13-13 0,1 0 15,12 13-15,1-13 0,158 13 16,-119 0-16,14 0 0,-1 0 16,14 13-16,-13-13 0,12 13 0,1 0 15,0 1-15,-14-1 0,14 0 16,-13 0-16,-1 0 0,14 1 0,-27-1 15,146 13-15,-159-12 16,80 12-16,-120-13 0,14-13 16,52 14-16,-92-1 0,-13-13 15,26 0-15,-40 13 0,1-13 16,-14 0-16,0 0 0,1 0 16,-1 0-16,0 0 0,-26-26 31,0 26-31,-1-14 15,1 14-15,0-13 0,-27 0 16,27 0-16</inkml:trace>
  <inkml:trace contextRef="#ctx0" brushRef="#br0" timeOffset="4692.07">17529 1654 0,'0'0'0,"26"0"0,1 13 15,-1-13-15,0 13 0,14 0 16,0 1-16,0 12 0,12-13 0,-12 14 16,0-1-16,39 27 15,-39-26-15,-14-1 0,1 0 0,-1 1 16,1-14-16,-14 14 15,0-14-15,0 13 0,-13-12 0,0-1 0,0 13 16,0-13-16,0 1 0,-13 12 0,0-13 16,-13 14-16,-14-1 0,0-13 15,-13 14-15,-13-1 0,-79 1 16,65-14-16,-39 14 0,0-14 0,-13 0 16,-133 13-16,120 1 0,-1-14 15,-13 0-15</inkml:trace>
  <inkml:trace contextRef="#ctx0" brushRef="#br0" timeOffset="6222.14">9472 1230 0,'-26'-13'16,"26"0"-16,-14 0 16,1-27-16,0 13 15,0-12-15,-1-14 0,-25-40 16,26 40-16,-1 0 0,1-13 0,0 13 16,0 14-16,13-1 0,0 0 0,-14 14 15,14-1-15,0 14 0,0 0 0,0-14 16,0 14-16,0 0 15,14 13-15,-1 0 16,0 13-16,0 0 0,1 1 0,12-1 16,-13 13-16,14 1 0,-1-1 15,-13 1-15,14-1 0,-1 1 0,-12-14 16,-1 13-16,0-12 0,0-1 16,14 13-16,-14-12 0,-13-1 15,13-13-15,-13 13 16,-13 0-1,13 0-15,-13-13 0,-14 14 16,14-1-16,-13-13 0,12 13 0,-25 0 0,-1 1 16,0-1-16,14 0 0,-1-13 15,1 13-15,13-13 0,-14 13 16,14-13-16,0 0 0,0 0 16,-1 0-16,28-13 31,12 0-31,-13 0 0,14-14 0,-1 1 15,1-14-15,12 1 0,-12-1 16,-1 0-16,1 0 0,-1 14 0,1 0 16,-14-14-16,13 13 0,-13 14 15,1-13-15,-1 12 0,0-12 0,-13 13 16,13 13-16,-13-13 0,0 39 31,0 0-31,-13 1 0,0 26 16,0-13-16,-1 12 0,-12 1 15,13 14-15,0-15 0,-14-12 16,14 13-16,0-27 0,-1 14 0,1 0 16,0-14-16,0 14 0,-1-14 0,14 1 15,-13-14-15,0 0 0,13 14 16,-13-14-16,13 0 16,0 1-16,-13-14 0,13 13 0</inkml:trace>
  <inkml:trace contextRef="#ctx0" brushRef="#br0" timeOffset="10020.42">11179 900 0,'-14'-14'16,"14"1"-16,-13 13 0,13-13 0,0 0 15,-13-1-15,0-12 0,-1 0 16,1-14-16,0 13 0,0-12 0,0 12 16,-1 1-16,1-1 0,0 1 0,13 13 15,-13-14-15,13 14 0,-14 0 16,14-1-16,0 1 0,0 0 15,-13 13-15,13-13 0,27 13 16,-14 13 0,0 0-16,14 0 0,-14 1 0,0-1 15,0 0-15,14 0 0,-14 1 16,13-1-16,-12 0 0,-1 0 0,0 1 16,0-1-16,1 0 0,-1-13 0,-13 13 15,13-13-15,-13 13 0,13-13 16,-26 14-1,0-14-15,0 0 0,-1 0 16,1 0-16,-13 13 0,-1-13 16,1 0-16,-1 0 0,1 13 15,-1-13-15,-12 0 0,25 13 0,-12-13 16,0 0-16,12 0 0,1 0 0,0 0 16,0 0-16,-1 0 0,14-13 15,14-13 1,-1 12-16,0 1 0,14-13 15,25-14-15,-25 14 16,13-1-16,-14 14 0,14-14 0,-14 14 16,1 0-16,-14 0 0,13 0 15,-12 13-15,-1-14 0,0 14 16,0 0-16,-13 14 16,0-1-16,0 13 15,-13-13-15,0 14 0,0-1 0,-1 14 16,1-13-16,0 12 0,0-12 15,-1-1-15,14 1 0,-13-1 0,0 1 0,13-14 16,0 13-16,-13-13 0,13 1 16,13-1-16,-13 0 15,13-13-15,0 0 0</inkml:trace>
  <inkml:trace contextRef="#ctx0" brushRef="#br0" timeOffset="10752.37">12581 675 0,'0'0'15,"-13"-40"-15,13 27 0,-14-14 0,14 14 16,-13-13-16,13 12 0,-13-25 0,0 12 16,0 1-16,13-1 0,0 1 0,-14-1 15,14 14-15,0 0 0,0 0 16,-13 0-16,26-1 15,1 28 1,-1-1-16,0 0 0,0 13 16,0-12-16,1 12 0,12 1 15,-13-14-15,14 40 0,-1-40 16,-12 0-16,-14 14 0,13-14 0,0 0 16,0 0-16,0 1 0,-13-1 15,0 0-15,0 0 16,-13-13-16,13 13 15,-13-13-15,0 0 0,-14 0 0,14 14 16,-13-14-16,12 0 0,-12 0 16,-1 0-16,1 0 0,13 13 0,-14-13 15,14 0-15,-13-13 0,12 13 0,1 0 16,0 0-16,0 0 0,13-14 16,-14 14-16,14-13 0,0 0 0,0 0 15,14 0-15,-1-14 0,0 14 0,27-40 16,-14 26-16,14 1 15,-14 0-15,14-1 0,-13 1 16,39-14-16,-40 27 0,1 0 16,-1-1-16,1 1 0,-14 13 15,0 0-15,0 13 16,-13 1-16,0-1 16,0 13-16,-13-13 0,0 27 0,0-13 15,-1 12-15,1-12 0,0-1 16,0 14-16,-1-14 0,1 1 15,13-1-15,-13-13 0,13 14 0,0-14 16,0 0-16,0 1 0,0-1 0,0 0 16,0 0-16</inkml:trace>
  <inkml:trace contextRef="#ctx0" brushRef="#br0" timeOffset="11648.64">13917 1495 0,'13'-13'16,"-13"-14"-16,0 14 15,0 0-15,-13 0 0,13-14 0,0 1 16,0-1-16,0-13 0,-13 1 0,13 12 16,0 1-16,0-1 0,0 1 15,0 13-15,0-14 0,-13 14 0,13 0 16,0 0-16,0-1 0,13 14 15,0 0 1,0 14-16,1-1 16,-1 13-16,0-13 0,0 1 15,27 39-15,-27-40 0,14 0 0,-14 14 16,0-14-16,0 0 0,1 13 16,-1-12-16,0-1 15,0 0-15,-26 0 31,-13-13-31,12 0 16,1 0-16,0 0 0,-14 0 0,1 0 16,-14 0-16,14 0 15,-1 0-15,-12 0 0,12 0 0,1 0 16,-1 0-16,14 0 0,-13 0 0,12 0 16,1 0-16,0 0 0,0 0 0,-1-13 15,28 0 1,-14 0-16,26-14 15,1 1-15,-1 13 0,40-40 16,-39 26-16,12 14 16,-12-14-16,-1 1 0,14 13 0,-27 0 0,14-1 15,-14 14-15,0-13 0,0 13 0,1 0 16,-1 0 0,0 13-16,-13 1 0,-13 12 15,13-13-15,-13 14 0,-1-1 16,-12 40-16,13-39 15,-14-1-15,14 1 0,0-1 0,-1-13 16,1 14-16,0-14 0,13 0 0,-13 1 16,0-1-16,13 0 0,0 0 0,0 0 15,-14 1-15</inkml:trace>
  <inkml:trace contextRef="#ctx0" brushRef="#br0" timeOffset="12540.09">13996 2858 0,'-13'-27'0,"0"14"16,13 0-16,0-14 15,-13 14-15,13-14 0,0 1 0,-13 13 16,13-14-16,0 1 0,-14-1 0,14 1 15,0 13-15,0-14 0,0 14 16,0 0-16,0 0 0,0-1 0,0 1 16,14 13-16,12 13 15,-26 1 1,13-14-16,0 13 0,1 0 0,-14 0 16,13 0-16,0 1 0,0-1 0,-13 0 15,14 0-15,-1 1 0,-13-1 16,13 0-16,-13 0 0,13-13 15,-13 14-15,0-1 0,0 0 16,-13 0 0,0-13-1,0 0-15,-1 0 0,1 0 16,0 0-16,0 0 0,-1 0 16,1 0-16,0-13 15,0 13-15,0-13 0,13 0 16,0-1-16,0 1 0,0 0 15,13 0-15,-13-1 0,13-12 16,0 13-16,0-14 0,1 14 0,-1 0 16,0 0-16,0-1 0,1 1 0,-1 0 15,0 0-15,0 13 0,-13-14 16,14 14-16,-14-13 0,13 13 16,0 13-16,-13 1 15,0-1-15,0 13 16,-13-12-16,13 12 0,-13-13 15,-1 27-15,1-14 0,0 1 16,0-1-16,-1-12 0,1 12 0,-13 0 16,12 1-16,14-14 0,-13 0 15,0 1-15,13-1 16</inkml:trace>
  <inkml:trace contextRef="#ctx0" brushRef="#br0" timeOffset="12705.84">14367 2738 0,'13'-13'0,"-26"-13"31,0 26-31,13-13 16</inkml:trace>
  <inkml:trace contextRef="#ctx0" brushRef="#br0" timeOffset="16304.17">7779 3228 0,'13'-13'16,"0"13"-16,14 0 0,-1-14 15,54 1-15,-41 13 0,14-13 16,0 0-16,13 13 0,14-13 0,-14-1 16,13 1-16,0 0 0,1 13 0,-1-13 15,1-1-15,-1 14 0,-13-13 16,13 0-16,-12 13 0,-14 0 0,-1-13 15,1 13-15,0 0 0,-26 0 16,12 0-16,-12 0 0,-14 0 0,14 0 16,-14 0-16,0 0 0,13 0 15,-12 0-15,-1 0 0,0 0 0,0 0 16,1 0-16,-1 0 0,13 0 16,-12 13-16,-1-13 0</inkml:trace>
  <inkml:trace contextRef="#ctx0" brushRef="#br0" timeOffset="17213.07">10226 3135 0,'0'0'0,"40"14"31,-27-14-31,14 0 0,-1 0 16,67-14-16,-40 14 0,-1 0 15,1 0-15,0 0 0,0 0 16,0 0-16,0 0 0,0 0 15,0 0-15,-13 0 0,-1 0 0,1 0 0,0 0 16,-14 0-16,14 0 0,-14 0 16,1 0-16,-1 0 0,1 0 15,-14-13-15,13 13 0,-13 0 0,1 0 16,-1 0-16,0 0 0,0 0 0,1 0 16,-1 0-16,0 0 15,0 0-15,1 0 16,-1 0-16,0 0 15,0 0 17,0 0-1,1 0 47</inkml:trace>
  <inkml:trace contextRef="#ctx0" brushRef="#br0" timeOffset="51464.38">7474 4776 0,'0'-14'0,"27"1"16,-14 0-1,0 0 1,1 13-16,-14-13 0,13-1 15,0 1-15,0 0 0,1-14 0,-1 1 16,0 0-16,0-1 0,0-13 0,-13 14 16,14-14-16,-14 1 0,13-1 15,-13-13-15,-13 13 0,13 1 0,0-1 16,-14 13-16,14-12 0,-13 26 0,13-14 16,-13 14-16,13 0 0,-13-1 15,0 28 1,-1-1-16,14 13 0,-13 14 0,0 13 15,13 13-15,-13 0 0,13 0 16,0 0-16,0 1 0,13-1 0,-13 0 16,0 0-16,0-13 0,13 0 15,-13-13-15,13 12 0,-13-12 0,0-13 16,14 12-16,-14-25 0,0 12 16,0-13-16,0 0 0,13 1 0,-13-1 15,0 0-15,-27-13 16</inkml:trace>
  <inkml:trace contextRef="#ctx0" brushRef="#br0" timeOffset="51668.82">7316 5080 0,'-66'-13'0,"132"26"0,-159-39 0,67 26 15,12 0-15,1-14 0,0 14 0,0 0 16,13-13-16,-13 13 0,13-13 0,0 0 16,13-1-1,0 1-15,0 13 0,0-13 0,14 0 16,-1-1-16,14 1 0,0 0 15,-14 0-15,14 0 0,-14-1 0,14 1 16,-14 0-16,14 0 0,-13-1 16,12 1-16,1 0 0,-14 0 0,-12-1 15,12 14-15,1-13 0,-1 0 0,-13 13 16,14-13-16,-14 0 0,0 13 16</inkml:trace>
  <inkml:trace contextRef="#ctx0" brushRef="#br0" timeOffset="52044.84">7924 4591 0,'0'-14'15,"0"28"-15,-13-28 0,0 1 16,0 13-16,-1 0 0,-12 13 16,13-13-16,-1 14 15,1-14-15,0 13 0,13 0 0,-13 0 16,0 0-16,13 14 0,0-14 0,0 0 16,0 1-16,0-1 0,0 0 0,0 0 15,0 0-15,13 1 0,0-1 16,-13 0-16,13-13 0,0 0 15,1 0-15,-1 0 16,0 0-16,0 0 0,-13-13 16,14 0-16,-14-1 15,0 1-15,0 0 0,0 0 16,0 0-16,-14 13 16,14-14-16,0 1 15,14 40 32,-14-14-47,13 0 0,0 0 16,-13 0-16,13-13 0,1 14 15,-14-1-15,13-13 0,13 13 16,-13 0-16,1-13 16</inkml:trace>
  <inkml:trace contextRef="#ctx0" brushRef="#br0" timeOffset="52475.88">8136 4564 0,'0'-13'0,"0"0"31,26 26-15,-12-13-16,-14 13 0,13 0 15,0 1-15,-13-1 0,13 0 16,-13 0-16,0 0 16,14 1-16,-14-1 0,0 13 15,13-12 1,0-41-1,-13 14 1,0-14-16,13 14 0,-13 0 16,13 0-16,-13-14 15,14 14-15,-1 0 0,-13-14 0,13 14 16,-13 0-16,13 0 0,1 13 0,-14-14 16,13 14-16,-13-13 0,26 26 15,-12 1 1,-14-1-1,13-13-15,-13 13 0</inkml:trace>
  <inkml:trace contextRef="#ctx0" brushRef="#br0" timeOffset="52925.15">8559 4392 0,'13'-13'15,"1"26"1,-14 0-16,0 1 0,0-1 16,13 0-16,-13 0 15,0 0 1,13 1 0,0-28-1,1 14 1,-1-13-1,0 13-15,0 0 16,1 13-16,-1-13 16,0 0-16,-13 14 15,13-14-15,0 0 32,1 0-17,-1-14-15,0 14 16,0-13-1,1 13 1,-1-13-16,0 13 16,14 0-16,-14 0 15,-13 13-15,0 0 16,0 1-16,0-1 16,-13-13-16</inkml:trace>
  <inkml:trace contextRef="#ctx0" brushRef="#br0" timeOffset="53190.86">7752 5040 0,'93'-53'15,"-53"40"1,13 0-16,13-14 0,-13 14 0,13-13 15,66-1-15,-66 1 0,0 13 16,-13-1-16,13 1 0,-26 0 16,13 0-16,-13-1 0,13 1 0,-27 13 15,14-13-15,-14 13 0,1-13 0,-14 13 16,13 0-16,-12 0 0,-1 0 0,0 0 16</inkml:trace>
  <inkml:trace contextRef="#ctx0" brushRef="#br0" timeOffset="53489.85">8017 5014 0,'66'-13'31,"-53"-1"-31,27 14 0,0-13 0,52-13 16,-39 12-16,13 1 0,40-13 15,-53 13-15,-13-1 0,13 14 16,-14-13-16,1 0 0,0 13 16,-14 0-16,-13-13 0,14 13 15,-1 0-15,1-14 0,-14 14 0,0 0 16,0 0-16,1 0 0,-1 0 16,0-13-1</inkml:trace>
  <inkml:trace contextRef="#ctx0" brushRef="#br0" timeOffset="54209.74">9962 4379 0,'-14'0'15,"41"13"1,-1-13-1,-13 0-15,14-13 16,-1 13-16,1 0 0,-1 0 0,1 0 16,12-13-16,-12 13 0,-1 0 15,1-14-15,-1 14 0,1-13 0,-1 13 16,1 0-16,-14-13 0,13 13 0,-12 0 16,-1 0-16,0 0 0,-13-13 15,13 13-15,1 0 0,-14-14 16</inkml:trace>
  <inkml:trace contextRef="#ctx0" brushRef="#br0" timeOffset="54472.02">10253 4220 0,'26'0'0,"-13"0"0,1 0 15,12 0-15,-13 0 0,14 0 16,-14 0-16,13 13 0,1-13 0,-1 14 15,-12-14-15,12 13 0,0 0 0,-12 0 16,12 0-16,-13 1 0,1-1 0,-1 13 16,-13-12-16,13-1 15,-13 0-15,0 14 0,0-14 0,0 0 0,-13 13 16,13-12-16,-13 12 0,-1-13 16,1 1-16,0 12 0,0-13 15,13 1-15,-14-1 0,1 0 0,0 0 16,13 0-1</inkml:trace>
  <inkml:trace contextRef="#ctx0" brushRef="#br0" timeOffset="55425.23">11496 3942 0,'0'-13'0,"0"26"0,0 14 31,0-14-16,0 13-15,0 1 0,0-1 0,0 1 16,0-1-16,0 1 0,-13-1 0,13 1 16,0-1-16,0 1 15,0-1-15,0-13 0,0 0 0,0 1 16,0-1-16,13 0 0,-13 0 0,0 1 16,13-41 15,-13 14-31,0 0 0,0-1 15,14 14-15,-14-13 0,13 0 16,0 0-16,0 13 16,1 13-1,-1-13-15,0 0 0,0 13 16,0-13-16,1 0 0,-1 0 16,0 13-16,0-13 0,1 0 15,12 0-15,-13-13 0,1 13 0,-1 0 0,0-13 16,0 13-16,0-13 15,-13 0-15,14 13 0,-1-14 0,-13 1 16,0 0-16,0 0 0,13-1 0,-13 1 16,0 0-16,0 0 15,-26 26 17,26 0-32,0 0 0,0 1 0,-14-1 15,14 0 1,14 0-16,-14 1 0,13-1 0,0 0 15,0-13-15,1 13 16,-1-13-16,0 0 0,0-13 16,0 13-16,1-13 0,12 13 0,-13-13 15,1-1-15,-1 1 0,0 0 0,-13 0 16,13-1-16,1 1 0,-14 0 0,13 13 16,-13-13-16,13 0 15,-13 26 1,13 0-16,-13 0 15,0 0-15,0 1 0,13-1 16,-13 0-16,0 0 0,0 1 0,14-1 16,-14 0-16,0 0 0,0 0 15,13 1 1,0-14 0</inkml:trace>
  <inkml:trace contextRef="#ctx0" brushRef="#br0" timeOffset="55541.77">12105 4035 0,'0'13'0,"0"-26"0</inkml:trace>
  <inkml:trace contextRef="#ctx0" brushRef="#br0" timeOffset="56401.88">12290 4061 0,'-13'-13'15,"-14"13"1,27 13-1,-13-13-15,13 14 0,0-1 16,0 0 0,0 0-16,0 1 0,13-1 15,-13 0-15,13 0 0,1 14 16,-14-14-16,13 0 0,-13 0 16,0 1-16,0-1 0,0 0 0,0 0 15,0 0-15,0 1 0,-13-1 0,13 0 16,0 0-16,-14-13 0,1 14 15,13-1-15,-13-13 0,0 0 16,0 13-16,26-39 47,-13 12-47,13 14 0,0-13 16,0 0-16,-13 0 0,14-1 0,-1 1 15,0 0-15,0-13 0,1 12 16,12-25-16,-13-27 0,0 39 15,1 1-15,-14-1 0,0 1 0,13-1 16,-13 1-16,0 13 0,0-14 0,0 14 16,0 0-16,0-1 15,0 1-15,0 0 0,-13 53 47,13-27-47,0 0 0,0 0 0,0 14 16,0-14-16,0 0 0,0 0 15,0 1-15,0-1 0,0 0 16,0 0-16,0 1 0,13-14 16,-13 13-16,0 0 0,13-13 0,-13 13 15,13-13-15,-13 14 0,14-14 0,-1 0 16,13 0-16,-12-14 16,-1 14-16,0-13 0,13 0 15,-12 0-15,-1-14 0,13 1 0,-12-1 16,-1 1-16,0-14 0,0 14 0,1-1 15,-14 1-15,13 12 16,-13 1-16,0 0 0,13 0 0,-13 0 0,0-1 16,0 1-16,-26 26 31,26 1-31,0-1 0,-14 0 16,14 0-16,0 14 0,0-14 0,0 13 15,0-12-15,0 12 0,0-13 0,0 14 16,14-14-16,-14 13 0,0-12 15,13-1-15,-13 0 0,13 0 0,-13 1 16,13-1-16,-13 0 16,13-13-16</inkml:trace>
  <inkml:trace contextRef="#ctx0" brushRef="#br0" timeOffset="56572.18">12422 4008 0,'-13'-13'0,"39"13"32,-12-13-32,-1 13 0,0-13 15,14 13-15,-1-13 0,0-1 16,14 1-16,0 13 0,0-13 16,-1 0-16,1-1 0,0 1 0,-14 0 15,14 13-15,-14-13 0,1 13 0</inkml:trace>
  <inkml:trace contextRef="#ctx0" brushRef="#br0" timeOffset="56716.94">13163 3889 0,'13'0'0,"-13"-13"16,13 0 15,-26 13-15</inkml:trace>
  <inkml:trace contextRef="#ctx0" brushRef="#br0" timeOffset="61465.83">14671 4736 0,'0'-13'0,"0"39"46,0-13-30,0 14-16,0-14 16,-13 0-16,13 14 0,0-14 0,-13 0 15,13 14-15,0-14 0,0 0 16,-14 0-16,14 14 0,0-14 16,0 0-16,0 1 0,0-1 15,0 0-15,14 0 16</inkml:trace>
  <inkml:trace contextRef="#ctx0" brushRef="#br0" timeOffset="62700.77">15293 4895 0,'13'0'31,"0"0"-31,1 0 16,-1 0-16,0 0 0,0 13 16,1-13-16,-1 0 0,0 0 0,0 0 15,0 0-15,1 0 16,-1 0-16,0 0 0,14 0 16,-14 0-1,0 0-15</inkml:trace>
  <inkml:trace contextRef="#ctx0" brushRef="#br0" timeOffset="63087.85">15505 4776 0,'39'0'32,"-25"0"-32,-1 0 15,0 13-15,13-13 0,-12 0 16,-1 13-16,13-13 0,-12 13 0,-1-13 15,0 14-15,0-14 0,0 13 0,1-13 16,-1 13-16,-13 0 0,13 1 16,-13-1-16,-13 0 0,13 0 15,-13 0-15,-1 1 0,1-1 16,0 0-16,-13 0 0,12 1 0,1-1 16,-13 13-16,-1-12 0,14-1 0,0 0 15,0 0-15,-1 0 0,14 1 0,0-1 16</inkml:trace>
  <inkml:trace contextRef="#ctx0" brushRef="#br0" timeOffset="65362">16616 4683 0,'0'-13'15,"0"39"17,0-12-32,0-1 15,0 0-15,0 0 0,0 0 16,0 1-16,0-1 0,0 0 0,0 0 16,-13 14-16,13-14 0,0 0 15,0 1-15,0-1 0,0 0 16,0 0-16,0 0 15,13 1-15</inkml:trace>
  <inkml:trace contextRef="#ctx0" brushRef="#br0" timeOffset="66004.8">16894 4670 0,'0'0'16,"-14"0"-16,1 13 16,0 0-16,13 1 15,-13-1-15,13 0 0,0 0 16,0 0-16,0 1 0,0-1 0,0 0 16,0 0-16,13 1 15,-13-1-15,13-13 0,0 0 16,1 0-16,-1 0 15,0 0-15,0-13 0,1-1 16,-1 1 0,-13 0-16,0 0 0,0-1 15,-13 1-15,13 0 0,-14 13 16,14-13-16,-13 13 0,13-13 16,-13 13-16,0 0 0,-1 0 0,1-14 15,0 14-15,0 14 16,52-28 31,-25 14-47,-1 0 15,0 14 1,-13-1 0,13-13-16,-13 13 0,0 0 15,14-13-15,-14 13 0,13 1 16,0-1-16,0 0 15,0-13-15,1 0 0,-1 0 16,0 0-16,0 0 0,1 0 16,-1 0-16,0-13 15,0 0-15,1-1 16,-14 1-16,0 0 0,0 0 16,0-14-1,-14 14-15,1 13 16,13-13-16,-13 13 0,0 0 15,-1 13-15,1-13 16</inkml:trace>
  <inkml:trace contextRef="#ctx0" brushRef="#br0" timeOffset="66348.98">17357 4617 0,'-27'13'31,"27"0"-31,0 1 16,0-1-16,0 0 31,0 0-31,13-13 0,-13 14 16,14-14-16,-1 13 0,0-13 15,-13 13 1,13-13-16,1 0 16,-1 0-16,0 13 0,0-13 15,0 0 1,1 0 0,-1 0-1,0 0 1,0 0-1</inkml:trace>
  <inkml:trace contextRef="#ctx0" brushRef="#br0" timeOffset="67879.73">14671 5662 0,'0'-13'0,"13"0"15,1 13 1,-1 0-16,0-14 0,0 28 16,1-14-16,-1 0 0,0 13 15,0-13-15,0 13 0,-13 0 16,14 1-16,-14-1 16,0 0-16,0 0 0,-14 0 0,14 1 15,-13 12-15,0-13 0,-27 27 16,14-27-16,13 1 0,-1-1 15,1-13-15,0 13 0,0-13 16,-1 13-16,1-13 0,0 13 16,39-13 31,-12 0-47,-1 0 15,0 0-15,0 0 0,14 0 16,-14 0-16,0 0 15,14 0 1,-14 0-16,0 0 0,0 0 16,1 0-16</inkml:trace>
  <inkml:trace contextRef="#ctx0" brushRef="#br0" timeOffset="70484.7">15306 5808 0,'27'-14'0,"-14"14"16,0 0-16,0 0 0,1 0 16,-1 0-16,0-13 0,13 13 15,-12 0-15,12-13 0,-13 13 0,1 0 16,12 0-16,-13-13 0,1 13 0,-1 0 15,0 0-15,0 0 0,0 0 16,1-14-16</inkml:trace>
  <inkml:trace contextRef="#ctx0" brushRef="#br0" timeOffset="70791">15544 5596 0,'14'0'15,"65"0"1,-66 13 0,14-13-16,-14 13 0,0 1 0,0-1 15,0 13-15,1-12 0,-1 12 16,0-13-16,-13 14 0,0-1 0,13-13 15,-26 14-15,13-14 0,0 14 0,-13-1 16,13-13-16,-13 14 0,-1-14 0,14 13 16,-13-12-16,13-1 0,-13-13 0,13 13 15</inkml:trace>
  <inkml:trace contextRef="#ctx0" brushRef="#br0" timeOffset="71392.78">16616 5556 0,'0'27'32,"-13"-14"-32,13 0 15,0 0-15,0 1 0,0-1 16,0 0-16,0 14 0,0-14 0,0 0 15,0 0-15,0 0 0,0 1 0,0-1 16,0 0-16,0 0 0,0 1 16,0-1-1</inkml:trace>
  <inkml:trace contextRef="#ctx0" brushRef="#br0" timeOffset="71640.36">16841 5569 0,'13'27'16,"-26"-14"-16,13 0 15,0 1-15,0 12 0,0-13 16,0 1-16,0-1 0,0 0 0,-13 0 15,13 0-15,0 1 16,0-1-16,0 0 0,0 0 0,13-13 16,-13 14-16,13-14 0</inkml:trace>
  <inkml:trace contextRef="#ctx0" brushRef="#br0" timeOffset="71933.98">17026 5636 0,'0'-14'15,"-13"41"1,13-14-16,-14 0 16,14 1-16,0-1 0,0 0 15,0 0-15,14 0 0,-14 1 0,13-1 16,0-13-16,0 13 0,1-13 16,-1 0-16,13 0 0,-12 0 15,-1 0-15,0 0 0,0-13 0,0 13 16,1-13-16,-14-1 0,13 1 0,0 0 15,-13 0-15,0 0 16,-13-1-16,13 1 0,0 0 0,-13 13 16,13-13-16,-14-1 0,1 14 0,0-13 15,0 0-15,0 13 16,-1 0-16,1 0 16</inkml:trace>
  <inkml:trace contextRef="#ctx0" brushRef="#br0" timeOffset="72239.9">17383 5503 0,'0'-13'15,"-13"40"1,13-14 0,-13 0-16,13 0 15,-14 0-15,14 1 16,0 12-16,14-26 15,-14 13-15,13-13 0,-13 14 16,13-14-16,0 13 16,1-13-16,-1 13 0,0-13 15,0 0-15,-13 13 0,13-13 16,1 0-16,-1 0 16,0 0-16,0 0 15,1-13-15,-1 13 16,0-13-16</inkml:trace>
  <inkml:trace contextRef="#ctx0" brushRef="#br0" timeOffset="73064.85">14698 6575 0,'26'-13'0,"14"-1"16,-27 14 0,0 14-16,0-1 15,1 13 1,-14-12-16,0-1 16,0 0-16,13 0 15,-13 1-15,0-1 0,13-13 16,-13 13-16,13 0 0,-13 0 0,0 1 15,0-1-15,0 0 16,0 0-16,-13 1 16,0-1-16,0 0 0,-1-13 15,1 13-15,0-13 16,0 13-16</inkml:trace>
  <inkml:trace contextRef="#ctx0" brushRef="#br0" timeOffset="73260.03">15293 6615 0,'13'0'0,"-26"0"0,39 0 15,-26-14-15,14 14 16,-1 0-16,0 0 0,0 0 0,1-13 15,-1 13-15,0 0 0,0 0 16,0-13-16,1 13 0,-1 0 16,0 0-16,-13-13 15</inkml:trace>
  <inkml:trace contextRef="#ctx0" brushRef="#br0" timeOffset="73490.42">15438 6456 0,'0'-13'0,"14"13"0,25 13 31,-25 0-31,-1-13 16,0 13-16,-13 1 0,13-1 0,1 0 0,-14 0 16,13 0-16,-13 1 0,0-1 15,0 13-15,0-12 0,0-1 0,-13 0 16,13 0-16,0 1 0,0-1 15,0 0-15,0 0 0,0 0 16</inkml:trace>
  <inkml:trace contextRef="#ctx0" brushRef="#br0" timeOffset="74629.06">16497 6363 0,'13'0'0,"-26"0"0,39 0 0,-13 0 16,1 0-16,-1 0 0,0 0 15,0 0-15,1 13 0,-1-13 16,-13 14-16,13-14 0,-13 13 0,0 0 16,0 0-16,0 1 0,-13 12 0,0-13 15,-1 14-15,1-14 0,0 0 16,13 0-16,-13 14 0,13-14 0,-14-13 15,14 13-15,0 1 0,0-1 0,0 0 16,14 0 0,-1-13-16,0 0 15,0 0-15,1 0 0,-1 0 0,0-13 16,0 13-16,1 0 0,-1-13 0,0 13 16,0 0-16,0-13 15,1 13-15,-1-14 0,0 14 0,0-13 16,1 0-16,-1 13 15,-13-13-15,13 13 16,-13-14-16,13 14 16,-13-13-16,14 13 15,-14 13 32,0 1-31,13-14 31,0-14-47,0 1 15,0 13-15,-13-13 0,14 0 0,-14 0 16,13 13-16,-13-14 0,13 1 16,-13 0-16,0 0 0,0-1 15,0 1-15,-13 13 16,0 0-1,-1 13-15,1-13 0,13 14 16,-13-1-16,0 0 0,0 0 16,13 1-16,0-1 0,0 0 15,-14-13-15,28 26 16,-14-12-16,13-14 0,0 0 16,0 13-16,0-26 0,1 13 15,-1 0-15,0 0 0,0-14 0,14 14 16,-14-13-16,0 0 0,0 0 15,1 0-15,-14-1 0,13 1 16,-13 0-16,13 0 0,-26-1 16,-14 14 15,14 14-31,0-1 16,0 0-16,13 0 15,0 1-15,0-1 0,0 0 16,0 0-16,0 0 15,13-13-15,0 14 0,0-14 16,1 0-16,-1 0 0,0 0 16,0 0-16,1-14 0,-1 14 0,0 0 15,0-13-15,-13 0 0,14 13 0,-1-13 16,-13 0-16,0-1 0,13 14 0,-13-13 16,0 0-16,-13 0 0,13-1 0,0 1 15,-13 0-15,13 0 16,-14 13-16,1 0 15,0 0-15,0 0 16,13 13 0</inkml:trace>
  <inkml:trace contextRef="#ctx0" brushRef="#br0" timeOffset="75009.86">17330 6350 0,'0'0'0,"-13"26"32,13-12-17,-13-1 1,13 0-16,13 0 16,-13 1-16,13-14 15,0 13 1,1-13-1,-1 0-15,0 0 0,0 13 16,1-13-16,-1 0 16,0 0-16,0-13 15,0 13-15,1 0 0,-1 0 16,0 0-16,0 0 16,1 0-16,-1 0 0,0 0 0,0 0 15,1 0-15,-14-13 0,13 13 16,0 0-16,0 0 15,-13 13 1,-26-13 0,-1 13-16,14 0 0</inkml:trace>
  <inkml:trace contextRef="#ctx0" brushRef="#br0" timeOffset="75831">14870 7461 0,'13'-13'15,"-53"39"1,27-12-1,0-14-15,-1 13 0,-12 0 16,13 0-16,0 1 0,-1-1 0,1 0 16,0 0-16,0 1 0,-1-14 15,14 13-15,-13 0 0,13 0 0,0 0 16,0 1-16,0-1 16,13-13-16,1 13 0,-1-13 0,0 0 15,0 13-15,1-13 0,-1 0 16,0-13-16,13 13 0,-12 0 0,12-13 15,-13 0-15,14 13 0,-14-14 16,13 1-16,-12 0 0,-1-13 0,0 12 16,0 1-16,1 0 0,-14-14 15,13 14-15,-13 0 0,0 0 0,0-1 16,0 1-16,0 0 0,0 0 0,0 0 16,-13 13-16,13-14 0,0 1 15,-27 26 1,27 1-16,0-1 0,-13 0 15,13 0-15,0 0 0,0 14 16,-13-14-16,13 14 0,0-1 0,0-13 16,0 14-16,0-1 0,0 1 15,0-14-15,13 13 0,-13-12 0,0 12 16,0-13-16,0 1 0,13-1 0,-13 0 16,0 0-16,13-13 0,-13 13 15,14-13-15,-1 0 0,0 0 0,0 0 16,1 0-16,-1-13 0</inkml:trace>
  <inkml:trace contextRef="#ctx0" brushRef="#br0" timeOffset="76081.28">15544 7541 0,'40'0'31,"-14"0"-31,-12-14 0,-1 14 16,0 0-16,0-13 0,1 13 0,12 0 15,-13-13-15,0 13 0,1-13 0</inkml:trace>
  <inkml:trace contextRef="#ctx0" brushRef="#br0" timeOffset="76295.78">15703 7276 0,'26'13'31,"-26"0"-31,14 1 0,-1-1 0,-13 0 15,13 0-15,-13 1 16,13-1-16,1 13 0,-14-12 0,0-1 0,13 0 16,-13 0-16,0 0 0,0 1 15,13-1-15,-13 0 0,0 0 0,0 1 16,13-14-16,-13 13 0,14-13 16,-1 0-16</inkml:trace>
  <inkml:trace contextRef="#ctx0" brushRef="#br0" timeOffset="76853">16748 7131 0,'0'26'31,"0"-13"-31,0 0 16,0 1-16,0-1 0,-13 0 0,13 0 16,0 1-16,0 12 0,0-13 0,0 14 15,0-14-15,0 0 0,0 0 16,0 1-16,0-1 0,0 0 0,0 0 15,0 1-15</inkml:trace>
  <inkml:trace contextRef="#ctx0" brushRef="#br0" timeOffset="77106.97">16933 7144 0,'0'0'0,"14"26"32,-28-13-32,14 1 15,0-1-15,0 0 0,0 0 16,0 1-16,-13-1 0,13 0 16,0 0-16,0 0 0,0 1 15,0-1 1,0 0-16,13-13 31</inkml:trace>
  <inkml:trace contextRef="#ctx0" brushRef="#br0" timeOffset="77519.7">17013 7131 0,'0'0'0,"-14"0"15,1 13-15,0 0 0,0-13 16,0 13-16,-1-13 0,1 13 15,13 1-15,-13-1 0,0 0 0,-1 0 16,1 1-16,0-14 0,0 13 0,13 0 16,-13 0-16,13 0 0,-14-13 15,14 14-15,0-1 0,-13 0 16,26 0 0,-13 1-16,27-14 15,-14 0 1,0 0-16,0 0 0,14 0 0,-14 0 15,0 0-15,1 0 0,12-14 0,-13 14 16,0 0-16,1-13 0,-1 13 16,0-13-16,0 13 0,1-13 0,-1 13 15,0-14-15</inkml:trace>
  <inkml:trace contextRef="#ctx0" brushRef="#br0" timeOffset="77869.98">17171 7131 0,'14'26'32,"-14"-13"-32,0 0 15,0 1-15,13-1 16,-13 0-16,13 0 0,0-13 15,-13 14-15,14-14 0,-1 0 0,0 0 16,0 0-16,14 0 16,-14 0-16,0-14 15,0 1-15,-13 0 16,0 0-16,0-1 0,-13 1 16,0 0-16,0 13 0,0-13 15,-1 0-15,1 13 0,0-14 0,0 14 16,-1 0-16,1 0 0,0 0 0,0 0 15,-1 0-15,1 0 16,13 14-16,-13-14 0</inkml:trace>
  <inkml:trace contextRef="#ctx0" brushRef="#br0" timeOffset="78191.89">17529 7078 0,'-27'13'0,"27"0"15,0 0-15,0 1 0,0-1 16,0 13 0,0-13-16,13-13 15,-13 14-15,14-14 0,-1 13 16,0-13-16,-13 13 15,13-13-15,1 0 0,-1 0 16,0 0-16,0 0 16,0 0-16,1 0 15,-1 0-15,0 0 16,-26 13 15,0-13-31,-14 14 0</inkml:trace>
  <inkml:trace contextRef="#ctx0" brushRef="#br0" timeOffset="78734.85">14922 8374 0,'0'-13'0,"14"13"32,-14 13-17,0 0 1,0 1-1,0-1-15,0 0 0,0 0 16,0 0-16,0 1 0,0-1 16,0 0-16,13 0 15,-26 1-15,13-1 16,0 0-16,-14 0 0,1-13 16,0 13-16,0-13 0,13 14 15,-13-14-15,-1 0 0,1 0 16,0-14-1</inkml:trace>
  <inkml:trace contextRef="#ctx0" brushRef="#br0" timeOffset="78884.98">15121 8467 0,'13'-14'16</inkml:trace>
  <inkml:trace contextRef="#ctx0" brushRef="#br0" timeOffset="79185.02">15214 8890 0,'13'-13'16,"-13"26"-1,0 0-15,13 0 16,-13 1 0,0-1-16</inkml:trace>
  <inkml:trace contextRef="#ctx0" brushRef="#br0" timeOffset="79324.98">15319 9022 0,'0'14'31,"0"-1"-31,-13-13 16,13 13-16,0 0 0,0 0 15</inkml:trace>
  <inkml:trace contextRef="#ctx0" brushRef="#br0" timeOffset="79450.93">15359 9194 0,'13'14'47,"-13"-1"-47,14-13 31</inkml:trace>
  <inkml:trace contextRef="#ctx0" brushRef="#br0" timeOffset="80765.92">15465 12502 0,'13'-14'16,"0"14"-16,1 0 15,-14-13-15,13 13 16,0 0-16,0-13 15,1 13-15,-1-13 16,0 13 0,0-14 15,-52 28 0,25-14-31,1 0 16,13 13-16,-13-13 0,0 0 0,-1 13 15,1-13-15,13 13 16,-13 1 0,0-1-1,26 0 1,0-13 0,-13 13-16,13-13 15,1 13 1,-1-13-16,0 14 15,0-14 1,-13 13-16,14 0 0,-1 0 16,-13 1-16,0-1 15,13 0-15,-26 0 16,13 1-16,0-1 0,-13-13 0,-1 13 16,1 0-16,13 0 0,-26-13 0,12 14 15,1-1-15,0-13 0,0 0 0,-1 13 16,1-13-16,0 0 0,0 0 15,0 0-15,-1 0 16,14-13 0,14 0-1,-1-1-15</inkml:trace>
  <inkml:trace contextRef="#ctx0" brushRef="#br0" timeOffset="81093.11">15690 12449 0,'-13'26'32,"13"-13"-32,0 1 0,0-1 15,0 0-15,0 0 0,0 0 0,13 1 16,-13-1-16,13-13 0,-13 13 16,13 0-16,0-13 0,1 14 15,-1-14-15,0 0 0,0 0 0,1 0 16,-1 0-16,0-14 15,0 14-15,1-13 0,-1 13 0,-13-13 16,13 13-16,-13-13 0,0-1 16,0 1-1,-13 13-15,13-13 0,-13 13 16,-1-13-16,1 13 0,13-13 16,-13 13-16,13-14 0,-13 14 15,13-13 1,13 0-16</inkml:trace>
  <inkml:trace contextRef="#ctx0" brushRef="#br0" timeOffset="81336.03">15901 12515 0,'14'26'0,"-1"-26"0,-13 13 16,26 14 0,-12-27-16,-1 0 15,0 0-15,0 0 16,1-13-16,-1 13 0,-13-14 15,13 14-15,0-13 0,-13 0 0,13 13 16,-13-13-16,0 0 0,14-1 16,-14 1-16,0 0 0,-14 0 15,1-1-15,0 1 16,0 13-16,13-13 16,-13 13-16,-1 0 0,1 0 15,0 13 1</inkml:trace>
  <inkml:trace contextRef="#ctx0" brushRef="#br0" timeOffset="81576.14">16629 12396 0,'0'0'0,"13"0"0,1 0 32,-1 0-32,0 0 15,0 0-15,0 0 16,1 0 0,-1 0-1,-13-14-15,13 14 16</inkml:trace>
  <inkml:trace contextRef="#ctx0" brushRef="#br0" timeOffset="81831.95">16695 12303 0,'13'-13'31,"14"26"-31,-14-13 0,0 13 16,-13 1-16,14-1 16,-14 0-16,0 0 0,13 0 15,-13 1-15,0-1 0,-13 0 16,13 0-16,0 1 0,0-1 16,-14 0-16,14 0 0,0 1 0,0-1 15</inkml:trace>
  <inkml:trace contextRef="#ctx0" brushRef="#br0" timeOffset="82314.98">17423 12144 0,'0'0'0,"-27"0"31,27 14-31,-13-14 0,0 13 16,0 0-16,13 0 0,-14-13 0,14 14 15,-13-1-15,13 0 16,0 0 0,27-26-1,-14 0 1,0 0-16,0 13 16,-13-14-16,14 14 0,-1-13 15,0 13-15,0 13 16,0 1-1,-13-1-15,14 0 16,-14 0-16,0 0 0,13-13 0,-13 14 16,0-1-16,0 0 0,13 0 0,-13 1 15,0-1 1,13-13-16,-13 13 16,14-13-16,-1 0 15</inkml:trace>
  <inkml:trace contextRef="#ctx0" brushRef="#br0" timeOffset="82874.7">17780 12052 0,'0'0'15,"0"-13"-15,-13 13 0,0 0 0,-1 0 16,1 0 0,0 13-1,26 13 1,-13-13-16,0 1 0,13-1 15,-13 0-15,14 14 0,-14-14 16,0 13-16,13-12 0,-13 12 0,0-13 16,0 14-16,0-14 0,0 13 0,-13-12 15,13-1-15,0 0 0,-14-13 16,14 13-16,-13 0 0,0-13 0,13 14 16,-13-14-16,-1 0 0,1-14 15,13 1 1,13 0-16,-13 0 15,0 0-15,14-1 0,-1 1 0,-13 0 16,13 0-16,0-14 0,-13 14 16,14 0-16,-1 0 0,-13-1 15,13-12-15,-13 13 0,0-1 0,0 1 16,0 0-16,0 0 0,0-1 16,0 1-16,0 0 15,-13 0-15,0 0 16,-1 13-1,14 13-15,-13-13 16,13 13 0</inkml:trace>
  <inkml:trace contextRef="#ctx0" brushRef="#br0" timeOffset="83287.05">18058 11972 0,'0'14'0,"-13"-1"16,13 0-16,0 0 15,-14 1-15,14-1 0,0 0 16,-13 0-16,13 0 0,0 1 16,0-1-16,13 0 15,1-13 1,-1 0-1,0 0-15,0 0 16,1 0 0,-1 0-16,0 0 0,-13 13 15,13-13-15,0 0 16,1 0-16,12 14 16,-13-14-1,1 0-15,-1 0 16,0 0-1,0 0 1,0 0 0,1 0-16,-14-14 15,13 14-15,0 0 0,-13-13 16,13 13-16,1 0 0</inkml:trace>
  <inkml:trace contextRef="#ctx0" brushRef="#br0" timeOffset="83547.78">18561 11986 0</inkml:trace>
  <inkml:trace contextRef="#ctx0" brushRef="#br0" timeOffset="84916.4">15663 13018 0,'27'13'0,"-1"-13"0,-13 0 15,14 0-15,-1 0 0,1 0 16,13 0-16,-1-13 0,1 13 0,158-67 31,-158 54-31,13-13 0,0-1 0,-13 1 16,12-1-16,-12-12 0,0 12 0,0 1 15,-14-14-15,0 14 0,1-1 16,-14-13-16,0 14 0,1-53 16,-14 39-16,-14 0 0,1 0 0,0-12 15,-27-1-15,14 13 0,-14-13 16,0 13-16,-65-26 0,52 40 15,0-1-15,-13 1 0,-1 13 16,-52-1-16,53 14 16,-79 27-16,79-14 0,-14 14 0,-12 25 15,12 1-15,-12 0 0,12 13 16,1 1-16,13 12 0,0-13 16,13 13-16,0 1 0,13-27 0,14 13 15,-1-13-15,-13 66 0,40-79 16,0 13-16,27 26 0,-1-39 15,14-1-15,0-12 0,13-1 16,0 1-16,13-14 0,0 0 16,0 0-16,-13-13 0,26 0 0,1-13 15,-14 13-15,13-13 0,14 0 0,-14-1 16,1 1-16,-1 0 0,0 0 16</inkml:trace>
  <inkml:trace contextRef="#ctx0" brushRef="#br0" timeOffset="87177.95">19685 11642 0,'13'-14'15,"-26"14"17,-13 0-17,12 0-15,1 14 0,0-14 16,0 13-16,-14-13 0,14 13 16,0 0-16,-14-13 0,14 14 0,0-1 15,0-13-15,13 13 0,-14-13 0,14 13 16,-13-13-16,13 14 15,13-1 1,1-13-16,-1 13 0,0-13 16,0 0-16,0 13 0,1-13 15,-1 0-15,0 0 0,0 13 16,1-13-16,-1 0 0,0 14 0,0-14 16,-13 13-16,0 0 15,0 0 1,-13-13-16,0 14 15,0-14-15,13 13 16,-14-13-16,1 0 0,0 13 16,0-13-16,-1 0 15</inkml:trace>
  <inkml:trace contextRef="#ctx0" brushRef="#br0" timeOffset="87520.81">19817 11615 0,'-26'13'16,"13"1"-16,13-1 15,0 0-15,-14-13 0,14 13 0,0 1 16,0-1-16,0 0 0,14 0 0,-1 1 15,-13-1-15,13-13 16,0 13-16,1-13 0,-1 0 16,0 0-16,0 0 15,0-13-15,1 0 16,-14-1-16,13 1 16,-13 0-16,0 0 0,0-1 15,0 1-15,0 0 16,-13 0-1,-1 13-15,1-14 16</inkml:trace>
  <inkml:trace contextRef="#ctx0" brushRef="#br0" timeOffset="87811.7">19989 11589 0,'0'26'32,"0"-13"-32,0 1 0,0-1 15,0 0-15,0 0 16,0 1-16,13-1 16,1-13-1,-1 0-15,0 0 16,0-13-16,1 13 0,-1-14 15,-13 1-15,0 0 16,13 0-16,-13-1 0,0 1 16,0 0-16,-13 13 0,13-13 15,0 0-15,-13-1 16,-14 28 15</inkml:trace>
  <inkml:trace contextRef="#ctx0" brushRef="#br0" timeOffset="89059.14">20386 11470 0,'-26'26'16,"26"-13"-16,-14-13 16,14 14-16,0-1 0,0 0 15,0 0-15,14 1 0,-14-1 0,0 0 16,13 0-16,0 0 16,0 1-16,1-14 15,-1 0-15,0 0 16,0 0-16,1 0 0,-14-14 15,13 14-15,0-13 0,-13 0 16,0 0-16,13 0 0,-13-1 0,0 1 16,0 0-16,0 0 0,0-1 0,-13 1 15,13 0-15,0 0 0,-13-1 16,13 1-16,-13 13 0,13-13 0,-14 13 16,1 0-16,0 0 15,0 13-15,-1 0 16,14 1-1,0-1-15,0 0 16,14 0-16,-1-13 0,0 0 16,0 0-16,1 0 15,-1 0-15,0 0 0,0 0 0,0-13 16,1 0-16,-1 0 0,0-1 16,0 1-16,-13-13 0,14 13 15,-1-14-15,-13 14 0,0 0 0,13-14 16,-13 14-16,0 0 0,0-1 0,0 1 15,13 0-15,-13 0 16,-13 39 15,13-13-31,0 14 0,-13-14 16,13 14-16,0-14 0,-13 13 0,13-12 16,0 12-16,0-13 0,-14 0 0,14 1 15,0-1-15,0 0 0,0 0 16,0 1-16,0-1 15,14-26 1,-1 13 0,0 0-16,0-14 0,1 14 15,-1 0-15,0 0 0,0 0 16,0 14-16,1-1 16,-14 0-1,13-13-15,-13 13 0,0 1 16,0-1-16,-13-13 0,13 13 15,-14 0-15,1 0 16,0-13 0,0 0-16,0 0 15,-1 0 1</inkml:trace>
  <inkml:trace contextRef="#ctx0" brushRef="#br0" timeOffset="89459.12">20876 11404 0,'-27'0'0,"54"0"0,-54 13 16,14-13-16,13 13 15,0 0 1,0 0-16,0 1 0,13-14 0,-13 13 16,0 0-16,13 0 0,1 1 15,-14-1-15,13 0 16,-13 0-16,0 1 15,0-1-15,-13 0 16,-1-13-16,14 13 16,-13-13-16,0 0 0,0 0 15,-1 0 1,1 0-16,13-13 16,0 0-1,13 13 1,1-13-16</inkml:trace>
  <inkml:trace contextRef="#ctx0" brushRef="#br0" timeOffset="89893.02">21034 11430 0,'-26'-26'31,"13"39"-15,-1-13-16,14 13 0,-13 0 31,0 0-31,13 1 16,13-1-1,0-13 1,1-13 0,-1 13-16,0 0 15,0 0-15,1 0 16,-1 0-16,0 0 15,0 0-15,1 0 16,-1 0 0,0 0-1,0 0 17,-13-14-32,13 14 15,1-13-15,-1 0 16,-13 0-16,13 13 15,0-13 1,1 13 0,-1 0-16,-13-14 0,13 14 15</inkml:trace>
  <inkml:trace contextRef="#ctx0" brushRef="#br0" timeOffset="90600.8">21392 11324 0,'-14'0'0,"-12"0"31,13 0-31,-1 13 0,1-13 16,13 14-16,-13-1 16,13 0-1,-13-13-15,26 13 16,0-13 15,0 14-31,1-14 16,-1 13-1,0-13 1,-13 13-16,13-13 0,1 0 31,12-13-31,-13 0 16,0-1-16,1 1 0,-1 0 15,-13 0-15,13-14 0,0 14 16,-13-14-16,14 14 0,-1-13 0,0-1 16,-13 14-16,13 0 0,-13 0 0,14-1 15,-14 1-15,13 0 16,-13 39 0,0-12-1,0-1-15,0 0 0,0 0 0,0 1 16,0 12-16,0-13 0,0 0 15,0 14-15,-13-14 0,13 14 0,0-14 16,-14 0-16,14 0 0,0 1 0,-13-14 16,13 13-16,0 0 0,-13-13 15,26-13 17,-13 0-32,13-1 0,1 1 15,-1 0 1,0 0-16,0-1 0,0 14 15,1-13-15,-1 13 16,0 0-16,0 0 16,1 13-1,-14 1-15,13-14 16,-13 13-16,0 0 16,0 0-16,0 1 0,0-1 15,-13-13-15,13 13 0,0 0 16</inkml:trace>
  <inkml:trace contextRef="#ctx0" brushRef="#br0" timeOffset="91032.66">21749 11284 0,'0'0'0,"-13"27"0,13-14 15,0 0-15,0 1 16,13-1-1,0-13-15,0 0 16,0 0-16,1-13 16,-1 13-16,-13-14 0,13 14 15,0-13-15,1 13 16,-14-13 0,-27 26 30,14 0-30,13 1 0</inkml:trace>
  <inkml:trace contextRef="#ctx0" brushRef="#br0" timeOffset="91940.92">20664 11893 0,'-53'40'31,"40"-14"-31,-14-13 0,1 14 16,-1 13-16,1-14 0,13 0 0,-14 14 15,14-13-15,-13-1 0,12 1 0,14-1 16,-13-13-16,13 14 0,-13-14 15,13 0-15,0 0 0,13-13 0,-13 14 16,13-1-16,14-13 0,-14 0 16,27 13-16,-14-13 0,27-13 0,13 13 15,0-13-15,1 13 0,12-14 16,0 1-16,1 0 0,-1 0 0,0-1 16,1 1-16,-1 0 0,1 0 0,-1 0 15,0 13-15,-13-14 0,1 1 16,-14 13-16,-1-13 0,1 13 0,-13-13 15,-13 13-15,12 0 0,-26 0 0,14-14 16,-14 14-16,0 0 0,1 0 16,-1 0-16,0 0 0,0-13 15,-26 0 17,13 0-17</inkml:trace>
  <inkml:trace contextRef="#ctx0" brushRef="#br0" timeOffset="92306.7">21683 11933 0,'0'0'15,"39"0"-15,-25 0 0,12 0 16,0 0-16,1 13 0,-1-13 0,14 0 16,0 13-16,-14-13 0,14 13 0,13-13 15,-14 14-15,-12-14 0,-1 13 16,14 0-16,-13-13 0,-1 13 0,0 1 16,1-1-16,-14-13 0,14 13 15,-14 0-15,0 0 0,-13 1 0,13-1 16,-13 0-16,0 0 0,0 1 15,0 12-15,-13-13 0,-13 14 0,12-1 16,-12 1-16,-1-1 0,1 1 0,-14-1 16,1-13-16,12 14 0,-13-14 15,1 13-15,-1-12 0,14-1 0,-1 0 16,1 0-16,13-13 0,-1 14 0,1-14 16</inkml:trace>
  <inkml:trace contextRef="#ctx0" brushRef="#br0" timeOffset="93691.85">20439 12819 0,'0'-40'0,"0"80"0,0-93 16,0 40-16,0 66 31,13-27-15,1 14-16,-14 13 0,13 0 0,0 13 16,0 0-16,0 0 0,1 0 0,-1 1 15,0 12-15,-13-13 0,13 0 16,1 0-16,-14 0 0,0 1 0,0-14 15,0-14-15,0 14 0,0-13 16,0 0-16,0-1 0,0-12 16,0-14-16,0 13 0,0-12 0,-14-14 15,14 13-15,-13-13 16,0 0 0,13-13-16,-13 13 0,13-14 0,-14 1 15,1 0-15,0 13 0</inkml:trace>
  <inkml:trace contextRef="#ctx0" brushRef="#br0" timeOffset="94211.48">19725 13851 0,'26'-13'31,"1"-1"-31,-1 14 0,14-13 16,13 13-16,-14-13 0,41 0 16,-14 0-16,13-1 0,14-12 0,-14 13 15,14-1-15,79-12 16,-80 26-16,-12-13 0,12-1 0,1 1 15,-14 0-15,14 0 0,-14 0 16,1 13-16,12-14 0,80-25 16,-79 25-16,-14 1 0,14 0 0,-14 0 15,14 0-15,-1-1 0,-12 1 16,12 13-16,-12-13 0,65 0 16,-79-1-16,-13 14 0,0-13 0,-13 13 15,0 0-15,-1 0 0,-12-13 16,-1 13-16,-12 0 0,12 0 0,-13 0 15,0 0-15,1 0 0,-1 0 16,0 0-16,0 0 0,1 0 16,-14-13-16,13 13 15,-26 0 17,-14 0-17,14 0-15,0 0 0,-1 0 16,1 0-16,0 0 0,0 0 0</inkml:trace>
  <inkml:trace contextRef="#ctx0" brushRef="#br0" timeOffset="95004.73">20809 13838 0,'0'26'47,"14"-13"-47,-14 1 16,0-1-16,0 0 0,0 0 15,0 1-15,0-1 0,0 0 16,0 0-16,13 0 16</inkml:trace>
  <inkml:trace contextRef="#ctx0" brushRef="#br0" timeOffset="95591.63">21378 13745 0,'14'0'0,"25"0"31,-26 0-31,-13 13 0,14 1 16,-14-1-16,0 0 16,0 0-16,-14 0 0,14 1 15,-13-1-15,13 0 0,-13 0 16,0 1-16,13-1 0,-13 0 15,-1 0 1,14 1 0,14-1-1,-1-26 1,0 13-16,0 0 0,0-14 16,1 14-16,-1 0 0,13-13 15,-12 13-15,-1-13 0,13 0 0,-12 13 16,12 0-16,0-14 0,1 14 0</inkml:trace>
  <inkml:trace contextRef="#ctx0" brushRef="#br0" timeOffset="96110.85">22331 13600 0,'13'0'0,"0"0"15,1 0-15,-14 13 16,13 0-16,-13 0 16,-13 0-16,13 1 0,-14-1 15,14 0 1,-13-13-16,13 13 0,0 1 15,0-1 1,13-13-16,1 13 16,-1-13-16,-13 13 15,13-13-15,-13 14 0,13-14 16,-26 13 0,0 0-16,0-13 15,-1 13-15,1-13 16,0 0-16</inkml:trace>
  <inkml:trace contextRef="#ctx0" brushRef="#br0" timeOffset="96437.79">23019 13520 0,'-13'13'31,"-1"-13"-31,14 14 16,-13-14-16,13 13 0,-13 0 0,0-13 16,13 13-16,-14 1 0,14-1 15,-13 0-15,13 0 16,0 0-16,0 1 15,0-1-15,13-13 0,-13 13 0,14-13 16,-1 13-16,0-13 16,0 0-16,1 0 0,-1 0 0,0 0 15,0 0-15,0 0 0,1 0 0,-1 0 16,0 0-16,0-13 16,1 13-16,-14-13 0</inkml:trace>
  <inkml:trace contextRef="#ctx0" brushRef="#br0" timeOffset="96608.86">23151 13600 0,'-13'-14'16,"26"28"-16,-26-41 0,13 54 31,0-14-31,0 0 16,0 0-16,0 0 15,0 1-15,0-1 0,0 0 16,0 0-16,0 1 0,13-14 0,-13 13 15,13 0 1</inkml:trace>
  <inkml:trace contextRef="#ctx0" brushRef="#br0" timeOffset="96940.8">23865 13481 0,'-13'0'0,"0"0"16,26 26 15,0-13-31,1 0 16,-1 1-16,0-1 15,-13 0-15,13-13 0,-13 13 16,0 1-16,0-1 0,0 0 16,0 0-1,0 0-15,0 1 0,-13-14 16</inkml:trace>
  <inkml:trace contextRef="#ctx0" brushRef="#br0" timeOffset="97269.72">24448 13295 0,'-14'27'31,"14"-14"-31,-13 0 0,13 0 16,-13 1-16,13-1 0,0 0 16,-13 0-16,13 1 0,0-1 0,0 0 15,13 0-15,-13 1 0,0-1 16,13 0-16,0 0 0,1-13 16,-1 0-16,0 0 15,0-13 1,-13 0-1,0 0 17,0-1-17</inkml:trace>
  <inkml:trace contextRef="#ctx0" brushRef="#br0" timeOffset="97441.05">24805 13388 0,'0'0'0,"26"-27"31,-26 14-15,13 13-16,1-13 15,-1 0-15</inkml:trace>
  <inkml:trace contextRef="#ctx0" brushRef="#br0" timeOffset="99444.84">20704 13652 0,'0'14'16,"13"-41"46,-13 14-62,0 0 16,0 0-16,0-1 16,0 1-16,0 0 0,0 0 15,0-1-15,-13 1 0,13-13 16,0 13-16,0-1 0,-14 1 15,14 0-15,0 0 0,0-14 0,-13 14 16,13 0-16,0-1 0,0 1 0,0 0 16,-13 13-16,13-13 0,0 0 15,-13-1-15,13 1 16,0 0-16,0 0 16,0-1-1,-13 1-15,13 0 16,0 0-16,0-1 15,0 1-15,-14 0 16,14 0 0,0 0-16,0-1 15,0 1 1,0 0 15,0 0-15,0-1 15,0 1-15,14 13 31,-1 0-47,0 0 15,-13-13-15,13 13 16,0 0-16,1 0 0,-1 0 15,-13-13-15,13 13 0,0 0 16,1 0 0,-1 0-16,0 0 15,0 0 1,-13 13-16,13-13 0,-13 13 0,14 0 16,-14 1-16,13-1 15,-13 0-15,0 14 0,13-14 0,-13 13 16,0-13-16,13 14 0,-13-1 0,14-12 15,-14 12-15,0 1 0,13-14 16,-13 13-16,0-13 0,0 1 0,13-1 16,-13 0-16,0 0 0,0 1 0,0-1 15,0 0-15,13-13 16,-13 13-16,14-13 16,-1 0-1</inkml:trace>
  <inkml:trace contextRef="#ctx0" brushRef="#br0" timeOffset="100545.07">21352 13494 0,'-13'0'0,"-1"13"32,1-13 30,0 13-15,0-13-31,-1-13 46,14 0-31,0 0-31,0-1 16,-13 1-16,13 0 0,0 0 0,0-1 16,-13 1-16,13-13 0,0-1 15,-13-12-15,13 12 0,-13-13 0,13 14 16,-14-1-16,14 14 0,-13-13 0,13 13 16,-26-40-1,12 39 1,14 1-16,-13 0 0,13 0 15,-13 13 1,39 13 47,-12-13-63,-1 13 15,0-13 1,14 0-16,-14 0 15,0-13 1,0 13-16,0 0 16,1 0-1,-1 0 17,0 0-17,-13 13 1,0 0-16,0 1 15,0-1-15,0 0 16,0 0-16,13 1 0,-13-1 16,0 0-16,0 0 0,0 14 15,0-14-15,14 0 0,-14 14 0,0-14 16,0 0-16,13 14 0,-13-14 16,0 0-16,0 0 0,0 0 0,13 1 15,-13-1-15,0 0 0,0 0 16,0 1-16,13-14 0,-13 13 15,0 0-15,0 0 16,0 1 0,14-1-1,-14 0-15,13-13 16</inkml:trace>
  <inkml:trace contextRef="#ctx0" brushRef="#br0" timeOffset="101267.98">22093 13441 0,'0'-13'62,"0"-1"-62,0 1 16,0 0-16,0 0 0,0-1 0,0 1 16,0-13-16,0 13 0,0-14 0,0 14 15,0-14-15,0 14 0,0-13 16,0 12-16,0 1 0,0 0 16,0 0-16,0 0 0,0-1 0,0 1 15,0-13-15,0 12 16,0 1-1,0 0-15,13 13 16,0-13-16,0 13 16,1-13-16,-1 13 15,0-14-15,0 14 0,1 0 16,-1-13-16,0 13 16,0 13-1,0-13-15,1 0 16,-14 14-16,13-14 15,-13 13-15,13 0 16,-13 0-16,13 0 0,-13 1 16,0-1-16,14 0 0,-14 0 15,0 14-15,13-14 0,-13 0 16,0 0-16,13 1 0,-13-1 0,0 0 16,0 0-16,0 1 0,13-1 0,-13 0 15,0 0-15,0 1 0,0-1 16,0 0-16,14-13 0,-14 13 0,0 0 15,13-13 1,13 0 0,-13 0-16,1-13 0,-1 13 15,0-13-15,14 13 0</inkml:trace>
  <inkml:trace contextRef="#ctx0" brushRef="#br0" timeOffset="102148.85">22834 13309 0,'0'0'0,"-14"0"16,-25-53 15,25 39-31,14 1 0,-13-13 0,0 12 16,0-12-16,13 0 0,-14 12 0,14-12 16,-13-1-16,13 14 0,-13 0 0,13-13 15,0 12-15,-13 1 0,13 0 16,0 0-16,0-1 15,0 1-15,0 0 16,13 0-16,-13-1 0,13 1 16,-13 0-16,13 0 15,1 0-15,-14-1 16,13 1-16,-13 0 31,13 13-31,-13-13 16,13 26 62,-13 0-62,14-13-1,-1 0-15,0 13 0,0-13 16,1 0-16,12 0 0,-13 0 15,0 0-15,1 0 0,-1 0 0,0 0 16,0 0-16,1 0 0,-1 0 16,0 0-16,0 0 0,1 0 0,-14 14 15,13-14-15,0 13 0,0-13 16,-13 13-16,13 0 0,1 0 16,-14 1-16,0-1 0,13 0 15,-13 0-15,0 1 0,13-1 16,-13 0-16,0 0 0,0 14 0,13-14 15,-13 0-15,0 14 0,0-14 16,14 27-16,-14-27 0,0 0 16,0 0-16,0 0 0,0 14 0,0-14 15,13-13-15,-13 13 0,0 1 16,0-1-16,0 0 16,0 0-16,0 1 15,13-14-15,-13 13 16,27-26 15,-27-1-31,13 1 16,0 0-1</inkml:trace>
  <inkml:trace contextRef="#ctx0" brushRef="#br0" timeOffset="102952.8">23707 13256 0,'0'0'0,"-14"0"0,14-14 0,-13 14 16,0 0-16,13-13 0,-13 13 15,13-13-15,0 0 0,-13 13 16,13-14-16,-14 1 0,14 0 0,-13-13 16,13 12-16,0-12 0,-13-1 0,0-12 15,13-1-15,-14 14 16,14-14-16,-13 0 0,0 1 0,0 12 15,13 1-15,0 12 0,-14-12 0,14 13 16,0-1-16,-13-12 0,13 13 16,0 0-16,-13-1 0,13 1 15,0 0-15,-13 13 0,13-13 16,0-1-16,13 28 78,0-14-62,0 0-16,1 0 0,-1 0 0,13 0 15,-12-14-15,12 14 0,1-13 16,-14 13-16,13-13 0,1 13 0,12-13 16,-25 13-16,-1-14 0,13 14 15,-13-13-15,1 13 0,-1 0 16,0-13-16,0 13 15,1 13-15,-1-13 16,-13 13-16,13-13 16,-13 14-16,0-1 0,13 0 0,-13 0 15,14 14-15,-14-14 0,0 14 16,13-1-16,-13 0 0,0-12 0,13 12 16,-13 1-16,0-1 0,13 1 15,-13-1-15,0-13 0,0 14 0,13-14 16,-13 0-16,0 14 0,0-14 15,0 0-15,0 0 0,14 1 16,-14-1-16,0 0 0,0 0 16,0 0-16,0 1 15,13-14 1,-13 13-16,13-13 16,-13 13-16,13-13 0,1 13 15,-1-13 1</inkml:trace>
  <inkml:trace contextRef="#ctx0" brushRef="#br0" timeOffset="103608.77">24368 13203 0,'0'-14'0,"-13"14"16,13-13-16,0 0 16,0 0-16,0 0 0,-13-1 15,13 1-15,0 0 0,-14 0 16,14-1-16,0-12 0,-13 13 0,13-14 16,0 14-16,-13 0 0,13 0 0,0-1 15,0 1-15,0 0 0,-13 13 16,13-13-16,0-1 0,0 1 0,0 0 15,13 13-15,-13-13 16,13 13-16,-13-13 16,13 13-16,1-14 0,-1 14 0,0 0 15,0-13-15,1 13 0,-1 0 16,0 0-16,0 0 16,14 0-16,-14 0 15,0 13-15,0-13 16,-13 14-16,14-14 0,-14 13 15,13-13-15,-13 13 0,13 0 0,-13 0 16,13-13-16,-13 14 0,0-1 0,14 0 16,-14 0-16,0 1 0,0-1 15,13 0-15,-13 0 0,0 1 16,0-1-16,0 0 0,0 0 16,13 0-1,-13 1-15,0-1 16,13-13-16,0 0 31</inkml:trace>
  <inkml:trace contextRef="#ctx0" brushRef="#br0" timeOffset="105303.82">20386 13097 0,'53'0'0,"-26"0"15,-1-13-15,0 13 0,14-14 16,13 14-16,0-13 0,13 13 16,0-13-16,0 0 0,14 0 0,-14-1 15,13 1-15,-13 0 0,14 0 0,-1-1 16,1 1-16,-1-13 0,14 26 16,-14-14-16,0 1 0,1 0 0,-1 0 0,0 0 15,1-1-15,-1 1 0,1 0 16,-1 0-16,0-1 0,1 1 15,-14 0-15,13-14 0,1 14 0,-1 0 16,14-13-16,-14 12 0,14-12 0,-14 13 16,14-14-16,-14 14 0,13 0 15,1-1-15,-14 1 0,1 0 0,12 0 16,-12 0-16,-1-1 0,1 14 0,-14-13 16,13 0-16,0 13 0,-12-13 0,12 13 15,-13 0-15,0-14 16,-13 14-16,13-13 0,0 13 0,-13 0 15,0-13-15,0 13 0,13 0 0,-13 0 16,-13-13-16,13 13 0,-13 0 16,-1 0-16,-12 0 0,-1-14 0,1 14 15,-14 0-15,13 0 0,-12 0 0,-1 0 16,0 0-16,0 0 0,0 0 16,1-13-16,-1 13 15,0 0-15,0 0 16,1-13-1,-1 13 17,0-13 61,0 0 1,1-1-94,-14 1 16,0 0-16,0 0 0,13-1 15,-13 1-15,0 0 0,0-13 0,0 12 16,-13-12-16,13 13 0,-14-1 16,14-12-16,-13 13 0,13-1 0,-13 14 15,0-13-15,13 0 0,-14 13 0,1 0 16,0 0-16,0-13 0,-1 26 0,-12-13 16,13 0-16,0 13 0,-14 0 15,14-13-15,-14 14 0,14-1 16,0 0-16,0 0 0,-1 1 0,14-1 0,-13-13 15,13 13-15,-13 0 16,13 1-16,0-1 16,0 0-1,13-13 1,0-13 0,-13 0-1,-13-1 1,0 14-16,0-13 15,0 13-15,-14 0 0,1 0 0,-1 0 16,-26 13-16,14-13 0,-14 14 0,0-14 16,-27 13-16,14 0 0,-13 0 15,0 0-15,12 1 0,-12-1 16,0 13-16,12-12 0,-12 12 0,13-13 16,0 14-16,13-14 0,-13 0 0</inkml:trace>
  <inkml:trace contextRef="#ctx0" brushRef="#br0" timeOffset="108190.97">22251 13361 0,'-13'0'47,"0"0"-31,13 14 15,-13-14 0,0 0 0,-1 0-15,1 0 31,0 0-32,0 0 17,-1-14-17,14 1 1,-13 0-16,13 0 16,-13 0-16,13-14 0,0 14 15,-13-14-15,13 1 0,-14-1 0,1-12 16,13-1-16,-13-13 15,0-13-15,0 0 0,-1 0 0,14 0 0,-13 13 16,0-13-16,-14-1 0,14 1 0,0 0 16,0 13-16,0 0 0,-14 0 15,14 14-15,-14-27 16,14 26-16,-13 13 0,12 1 0,1 13 16,13-14-16,-13 14 0,0-13 15,0 12-15,-1 1 0,14 0 0,-13 13 16,0-13-16,13-1 0,-13 14 0,13-13 15,-14 0-15,14 0 16,-13 13 0,26-14-1,-13 1 1,14 13-16,-1 0 16,0 0-16,0 0 0,1-13 0,12 13 15,-13 0-15,14 0 16,-1-13-16,1 13 0,-1-13 0,14 13 15,-14-14-15,14 14 0,-14-13 0,1 13 16,-1-13-16,-13 13 0,14-13 0,-1 13 16,-12 0-16,12-14 0,-13 14 15,1 0-15,-1 0 0,0-13 16,0 13-16,0 0 0,14 0 16,-14 0-1,0 13-15,-13 1 0,14-14 16,-14 13-16,13-13 0,-13 13 0,0 0 15,13 1-15,-13-1 0,13 13 16,-13-13-16,0 1 0,0 12 0,14 1 16,-14 12-16,0 1 0,0 0 0,13-1 15,-13 1-15,13 0 16,-13 13-16,13-14 0,-13 27 0,13-13 16,1 0-16,-1 0 0,-13 0 0,13 0 15,0 0-15,1-13 0,-14-1 0,13 1 16,0 0-16,-13-1 0,13 1 15,-13 0-15,0 0 0,13-14 0,-13 0 16,0 1-16,0 13 0,0-14 0,0 0 16,0 1-16,0-1 0,0 1 15,0-14-15,0 14 0,0-1 16,0-13-16,0 14 0,0-14 0,0 13 16,0-12-16,0-1 0,0 13 0,0-12 15,0-1-15,0 0 0,0 0 16,0 0-16,14 1 0,-14-1 15,0 0-15,0 0 16,0 1 0,0-1-1,13 0 1,-13 0 31,-13-39 15,13 13-46,0-1-16,13 14 16,-13-13-16,13 0 0,-13 0 15,13-1-15,1 1 0</inkml:trace>
  <inkml:trace contextRef="#ctx0" brushRef="#br0" timeOffset="110181.08">22807 13375 0,'0'-27'62,"0"14"-31,13 13-31,-13-13 16,0 0 0,0-1-1,0 1-15,0 0 0,-13 0 16,13-1-1,0 1-15,-13 0 16,13 0-16,0-1 16,-13 1-16,13 0 15,0 0 1,0 0 31,13 13-32,0 0-15,0 0 16,14-14 0,-14 14-16,0 0 0,0 0 15,1 0-15,-1 0 0,0-13 0,0 13 16,1 0-16,-1 0 0,0 0 16,0 0-16,1 0 0,-1 0 15,0-13-15,0 13 0,0 0 16,14 0-1,-14 0 1,0 0-16,1 0 16,-1 0 15,0 13 16,-13 0-32,0 1-15,13-14 0,-13 13 16,0 0-16,0 0 16,0 0-16,0 1 0,0-1 15,14 0-15,-14 0 0,0 1 16,0-1-16,0 0 16,0 0-16,0 1 15,0-1-15,0 0 16,0 0-1,0 0 1,0-39 47,0 0-63,0 12 15,0 1 1,0 0-16,0 0 0,0-1 15,0 1-15,0 0 0,0 0 16,-14-1-16,14 1 16,0 0-16,0 0 0,-13 13 15,13-13-15,-13-1 16,0 1 0,-1 13-1,1-13-15,0 13 16,0 0-16,-14 0 15,14 0 1,0 0-16,0 0 0,-1 13 0,1-13 16,0 0-16,0 13 0,-1-13 0,1 0 15,0 14-15,0-14 16,-1 0-16,1 13 0,0-13 16,0 0-16,0 13 15,-1-13 1,1 0-1,0 0-15,0 13 47,13 0-31,0 1 0,0-1-16,0 0 15,0 0-15,0 1 16,0-1-16,0 0 0,0 0 15,0 1-15,0-1 16,0 0 0,0 0-16,-14 0 31</inkml:trace>
  <inkml:trace contextRef="#ctx0" brushRef="#br0" timeOffset="112315.85">20862 13851 0,'0'13'78,"-13"-26"-16</inkml:trace>
  <inkml:trace contextRef="#ctx0" brushRef="#br0" timeOffset="118962.58">17780 4471 0,'13'0'16,"0"0"-1,1 0 1,-14 14-1,0-1 1,0 0-16,0 0 0,0 1 16,0-1-16,0 0 0,0 0 0,0 14 15,0-14-15,0 13 16,0 1-16,0-1 0,0 1 0,13-1 16,-13 1-16,0 12 0,0 1 0,0 0 15,0-1-15,13 1 0,-13 0 0,0 0 16,0-1-16,13 1 0,-13 13 0,14-27 15,-14 14-15,13 0 0,-13-1 16,13 1-16,-13 0 0,13-14 0,1 14 16,-14 0-16,13-1 0,0-12 15,-13 12-15,13 1 0,-13-13 0,13 12 16,-13-12-16,0-1 0,14 1 0,-14 12 16,13-12-16,-13-1 0,0 1 15,0-1-15,13 1 0,-13-1 0,13 0 16,-13-12-16,0 12 0,14 1 0,-14-14 15,13 13-15,-13-12 0,0-1 16,0 0-16,13 13 0,-13-12 16,0-1-16,13 0 0,-13 0 0,0 1 15,0-1-15,14 0 16,-14 0-16,0 1 0,0-1 16,0 0-16,13-13 0,-13 13 15,0 0-15,0 1 16,13-1-16,-13 0 15,0 0 17,13-13-17,-26 14 1,0-1-16,0-13 16,-1 13-16,-12-13 0,13 13 15,-27 1-15,13-1 0,-12 0 16,-1 0-16,0 0 0,-13 1 0</inkml:trace>
  <inkml:trace contextRef="#ctx0" brushRef="#br0" timeOffset="120386.97">6522 12541 0,'0'27'31,"0"-14"-31,0 0 0,0 0 16,0 14-16,0-14 0,0 14 15,0-14-15,0 13 0,0-13 0,0 27 16,0-13-16,-13-14 0,13 0 15,0 14-15,0-14 0,0 0 16,0 0-16,0 0 0,13 1 16</inkml:trace>
  <inkml:trace contextRef="#ctx0" brushRef="#br0" timeOffset="120842.66">6668 12607 0,'-14'14'31,"1"-14"-31,13 13 16,0 0-16,-13 0 15,13 1-15,0-1 0,0 0 0,0 13 16,0-12-16,13-1 0,-13 0 0,0 0 16,13 1-16,-13-1 0,27 13 15,-14-26-15,0 14 16,0-14-16,1-14 16,-1 14-16,0 0 0,0-13 15,-13 0-15,14 13 0,-14-13 16,13-1-16,-13 1 0,0 0 15,0 0-15,0-14 16,-13 14-16,13 0 16,-14 13-16,14-13 15,-13 13-15,13-14 0,-13 14 0,0 0 16,-1 0-16,1 0 16,0 0-16,0 14 15</inkml:trace>
  <inkml:trace contextRef="#ctx0" brushRef="#br0" timeOffset="121217.73">6839 12607 0,'0'27'31,"0"-14"-31,0 0 15,0 1-15,0 12 0,0-13 16,0 0-16,0 1 0,0-1 0,14 0 16,-14 0-16,13 1 0,-13-1 0,13-13 15,-13 13-15,13 0 0,1-13 16,12 0-16,-13 0 16,1 0-16,-1 0 15,-13-13-15,13 0 0,0 13 0,-13-13 16,13 13-16,-13-14 0,0 1 0,0 0 15,0 0-15,0-1 0,0 1 16,-13 0-16,13 0 0,0 0 0,-13-1 16,13 1-16,-13 13 0,13-13 15,-13 13-15,13-13 0,-14 13 0,1 0 16,0 0-16,0 13 16,-1 0-1,14 0-15,0 1 16,0-1-16</inkml:trace>
  <inkml:trace contextRef="#ctx0" brushRef="#br0" timeOffset="121572.78">7289 12753 0,'13'-13'16,"1"13"0,-1 0-16,0 0 0,0 0 15,1-14-15,-1 14 16,0 0-16,0 0 0,1 0 16,-1 0-16,-13-13 15,13 13-15,0 0 0</inkml:trace>
  <inkml:trace contextRef="#ctx0" brushRef="#br0" timeOffset="121831.67">7567 12554 0,'0'-13'15,"0"40"16,0-14-31,13 0 0,-13 0 16,0 1-16,0-1 16,0 13-16,14-12 0,-14-1 0,0 0 15,0 0-15,0 0 0,0 1 16,0-1-16,0 0 0,0 0 16,0 1-1,13-14-15,-13 13 0</inkml:trace>
  <inkml:trace contextRef="#ctx0" brushRef="#br0" timeOffset="122173.92">7713 12621 0,'0'0'0,"-14"-14"16,14 41 46,0-14-46,0 0 0,0 1-16,0-1 15,0 0 1,0 0-16,0 0 15,0 1-15,-13-1 16,13 0 0,0 0-16,0 1 31</inkml:trace>
  <inkml:trace contextRef="#ctx0" brushRef="#br0" timeOffset="122621.73">7845 12647 0,'-13'0'16,"13"27"15,0-14-31,0 0 16,13 0-16,-13 0 16,0 1-16,13-14 0,-13 13 15,13-13-15,1 0 16,-1 0-16,0 0 15,0 0-15,1 0 0,-14-13 16,13 13-16,-13-14 0,13 1 16,-13 0-16,0 0 15,-13 13-15,13-13 16,-13 13-16,-1-14 0,1 14 16,0 0-16,0 0 15,-1 0-15,1 0 16,0 0-16,13 14 31</inkml:trace>
  <inkml:trace contextRef="#ctx0" brushRef="#br0" timeOffset="123073.96">8321 12713 0,'40'-13'16,"-27"13"-16,0 0 15,1 0-15,-1 0 16,0 0-16,0 0 0,0 0 16,1 0-16,-1 0 0,0 0 0,0 0 15,1 0-15,-1 0 0,0 0 16,13 0-16,-12 0 16</inkml:trace>
  <inkml:trace contextRef="#ctx0" brushRef="#br0" timeOffset="123412.96">8506 12568 0,'40'13'32,"-27"-13"-32,0 0 15,1 13-15,-1-13 0,0 13 0,0 1 16,1-14-16,12 13 0,-13 0 16,1 0-16,-1-13 0,0 14 15,0-14-15,0 13 0,1-13 16,-14 13-16,13 0 0,-13 0 0,0 1 15,0-1-15,0 0 0,-13 0 16,13 1-16,-14-1 0,1 0 16,13 0-16,-13-13 0,0 14 15,0-1-15,-1-13 0,1 13 16</inkml:trace>
  <inkml:trace contextRef="#ctx0" brushRef="#br0" timeOffset="124859.67">2805 12819 0,'13'0'0,"-13"-13"16,-13 26 15,-1 0-31,1-13 0,0 14 0,-14-14 15,14 13-15,-13 0 0,13 0 0,-1 0 16,1-13-16,0 14 0,0-14 16,-1 13-16,1-13 0,13 13 0,-13-13 15,26 13 1,-13 1-16,27-14 16,-14 0-16,0 13 0,0-13 15,1 0-15,-1 0 0,0 13 0,0-13 16,14 0-16,-14 13 0,0-13 15,0 0-15,1 14 0,-1-14 16,-13 13-16,0 0 0,0 0 16,-13 0-1,13 1-15,-14-1 0,-12 0 16,13 0-16,-1-13 0,-12 14 0,13-1 16,0-13-16,-1 13 0,1-13 15,0 13-15,0-13 0,-1 0 0,1 0 16,0 0-16,13-13 15,13-13 1,0 26-16</inkml:trace>
  <inkml:trace contextRef="#ctx0" brushRef="#br0" timeOffset="125491.72">2884 12938 0,'-26'13'15,"26"1"-15,-14-14 0,14 13 16,0 0-16,0 0 16,14 1-16,-14-1 0,13 0 15,-13 0-15,13-13 0,0 0 16,0 13-16,1-13 0,-1 0 16,0 0-16,0-13 15,1 13-15,-1-13 0,-13 0 16,0 0-1,0-1-15,-13 14 0,13-13 16,-14 0-16,1 0 0,0 13 16,13-14-16,-13 14 0,-1 0 15,1 0-15,0 0 0,0 0 16,0 0-16,-1 0 0,14 14 0,-13-14 16,0 13-1,26-13 1,14 0-16,-14 0 15,0-13-15,0 13 16,14 0-16,-14 0 0,0-14 16,0 14-16,1 0 0,-1 0 15,0 0-15,0 14 0,0-14 16,1 13-16,-1-13 0,0 13 16,0-13-16,-13 13 0,14-13 15,-1 0-15,0 14 16,0-14-16,1-14 0,-1 14 15,0 0-15,0-13 0,0 13 16,-13-13-16,14 0 16,-14-1-16,0 1 0,0 0 15,-14 0-15,1-1 0,0 1 16,0 0-16,0 13 16,-1-13-16,1 13 0,0 0 15,0 0-15,-1 0 0,14 13 0,-13-13 16,0 0-16,13 13 0,-13 0 15,13 1-15,13-14 16,-13 13-16</inkml:trace>
  <inkml:trace contextRef="#ctx0" brushRef="#br0" timeOffset="127589.88">9287 12515 0,'-27'-13'16,"1"26"-16,13-13 0,0 0 16,-14 13-16,14 0 15,-53 40 1,52-40-16,14 1 0,0-1 15,-13 0-15,13 0 16,13 1-16,1-14 16,-1-14-16,0 14 15,0-13-15,1 13 0,-1-13 0,0 0 16,14-1-16,-14 14 0,0-13 16,-13 0-16,13 13 0,0-13 15,1 13-15,-1 0 16,-13 13-1,0 0-15,13 0 16,-13 1-16,0-1 0,-13 0 0,13 0 16,0 1-16,0-1 0,0 0 15,0 0-15,0 0 16,0 1-16,0-1 16,13-13-16,0-13 15,1 13 1,-14-14-16,13 14 0</inkml:trace>
  <inkml:trace contextRef="#ctx0" brushRef="#br0" timeOffset="128106.92">9393 12528 0,'0'0'0,"13"-13"16,0 0-1,0 13 1,1-14-16,-1 14 16,0-13-1,-26 26 48,13 1-63,-13-14 15,-1 13-15,14 0 16,-13-13-16,13 13 16,0 0-16,0 1 15,13-14 1,1 13-16,-1-13 0,0 13 15,0-13-15,1 13 16,-1-13-16,0 14 16,0-14-16,-13 13 0,13-13 15,-13 13-15,0 0 16,0 1-16,-13-1 16,0 0-16,13 0 0,-13-13 15,-14 13-15,14-13 16,13 14-16,-13-14 0,0 13 15,-1-13-15,-12 13 0,-1 0 16</inkml:trace>
  <inkml:trace contextRef="#ctx0" brushRef="#br0" timeOffset="128945.85">6588 13335 0,'0'0'0,"0"26"16,0-12-1,13-1-15,-13 0 16,0 0-16,0 1 0,0-1 0,0 13 0,0-12 16,0-1-16,0 0 0,0 0 15,0 0-15,0 27 0,0-27 16,0 1-16,0-1 0,0 0 16,0 0-1</inkml:trace>
  <inkml:trace contextRef="#ctx0" brushRef="#br0" timeOffset="129227.01">6734 13375 0,'0'-14'15,"13"41"32,-13-14-47,0 0 16,0 1-16,13-1 0,-13 0 0,0 0 15,0 1-15,0-1 0,0 0 0,0 0 16,13 0-16,-13 1 16,0-1-16,0 0 0,0 0 0,0 1 15,0-1-15,0 0 16,0 0-1</inkml:trace>
  <inkml:trace contextRef="#ctx0" brushRef="#br0" timeOffset="129500.81">6892 13348 0,'-13'27'47,"26"-1"-31,-13-13-16,0 1 0,0-1 0,0 0 16,0 0-16,0 1 0,14-1 15,-14 0-15,0 0 16,0 0-16,0 1 15,0-1-15,0 0 32</inkml:trace>
  <inkml:trace contextRef="#ctx0" brushRef="#br0" timeOffset="129816.87">7183 13441 0,'-13'0'0,"26"-13"31,1-1-15,-1 14-16,0 0 15,0 0-15,14 0 16,-1 0 0,-13-13-16,1 13 15,-1 0-15</inkml:trace>
  <inkml:trace contextRef="#ctx0" brushRef="#br0" timeOffset="130477.63">7726 13242 0,'0'-13'16,"0"40"15,0-14-31,0 0 0,0 0 16,0 1-16,0-1 0,0 0 0,0 0 15,0 0-15,0 14 0,0-14 0,0 0 16,0 1-16,0-1 0,0 0 15,0 0-15,13 1 0,-13-1 0</inkml:trace>
  <inkml:trace contextRef="#ctx0" brushRef="#br0" timeOffset="131093.65">7911 13229 0,'13'0'16,"14"13"0,-14-13-16,-13 27 0,0-14 15,0 0 1,0 1-16,-13-1 0,13 0 0,-13 0 15,13 0-15,-14 1 0,1-1 0,0 13 16,13-12-16,-13-1 16,13 0-16,-14 0 0,14 1 15,0-1-15,14-13 32,-1 0-32,0 0 15,0-13-15,1 13 0,12-14 0,-13 1 16,0 0-16,14 0 0,-14-1 15,0 14-15,1-13 0,-1 0 16,0 13-16,0-13 0,0-1 16,1 14-16,-1 14 15,0-1 1,0 0 0,1-13-16,-14 13 15,13-13-15,0 0 16,0 0-16,1 0 15,-1 0-15,-13-13 0,13 13 0,-13-13 16,0-14 0,-13 14-16,13 0 15,-13 13-15,13-13 0,-14 13 0,1-13 16,0-1-16,0 14 16,-1 0-1</inkml:trace>
  <inkml:trace contextRef="#ctx0" brushRef="#br0" timeOffset="131435.37">8493 13282 0,'27'0'31,"-14"0"-31,0 0 0,0 0 0,0 0 16,1 0-16,-1 0 0,0 0 15,0-13-15,1 13 0,-1 0 16,0 0-16,0-13 0,1 13 16,-1 0-16,0 0 15</inkml:trace>
  <inkml:trace contextRef="#ctx0" brushRef="#br0" timeOffset="131699.87">8572 13110 0,'14'0'0,"-1"13"16,0-13-16,0 0 0,1 14 15,-1-14-15,0 13 0,0-13 16,1 13-16,-1 0 0,-13 0 16,13-13-16,-13 14 0,0-1 15,0 0-15,0 0 0,-13 1 16,13-1-16,-13 0 0,-1 0 16,14 1-16,-13-14 0,13 13 15,-13 0-15</inkml:trace>
  <inkml:trace contextRef="#ctx0" brushRef="#br0" timeOffset="134055.91">9221 13150 0,'0'26'47,"0"-13"-47,0 1 15,0-1-15,0 0 0,0 0 0,0 1 16,0-1-16,13 0 16,-13 0-16,0 1 0,0-1 15,0 0 1,13 0 0</inkml:trace>
  <inkml:trace contextRef="#ctx0" brushRef="#br0" timeOffset="134470.88">9393 13176 0,'0'-13'16,"0"39"15,0-12-15,0-1-16,13 0 0,-13 0 15,13 1-15,0-1 16,1 0-16,-1-13 0,0 13 16,0-13-16,1 0 0,-1 0 15,0 0-15,0-13 16,0 0-16,-13 0 15,14-1-15,-14 1 16,-14 0-16,14 0 0,0-1 16,-13 1-16,0 13 15,13-13-15,-13 13 0,13-13 16,-13 13-16,-1 0 0,1 0 16,0 0-16,0 13 15,-1-13 1,14 13-16</inkml:trace>
  <inkml:trace contextRef="#ctx0" brushRef="#br0" timeOffset="134868.76">9737 13110 0,'13'0'0,"-40"13"47,27 1-47,-13-1 16,0 0-16,0 0 15,26 0 16,0-13-31,0 14 16,1-14-16,-1 13 16,0-13-16,-13 13 15,13-13-15,-13 13 0,14-13 16,-14 14-16,0-1 16,-14 0-16,1 0 15,0-13-15,13 14 0,-13-14 16,-1 13-16,1-13 0,0 13 0,-13-13 15,12 13-15,1-13 0,0 0 16,0 13-16,-14-13 0,14 0 0</inkml:trace>
  <inkml:trace contextRef="#ctx0" brushRef="#br0" timeOffset="135972.75">10901 12568 0,'0'26'31,"0"-13"-31,0 1 0,0-1 16,0 0-16,0 0 0,0 1 0,0-1 15,0 0-15,0 0 0,0 0 16,0 1-16,0-1 0,13 0 0,-13 0 16,0 1-16,0-1 0,0 0 15,0 0-15,13-13 16</inkml:trace>
  <inkml:trace contextRef="#ctx0" brushRef="#br0" timeOffset="136329.01">11007 12607 0,'26'0'0,"-52"0"0,79 0 16,-40 0 0,-13 14-16,13-1 15,-13 0-15,0 0 0,0 1 16,-13-1-16,13 0 0,-13 0 16,13 0-16,-14 1 0,1-1 0,13 0 15,-13 0-15,13 1 0,-13-14 16,13 13-16,-14 0 15,28-13 1,-14 13 0,13-13-16,0 0 15,0 0-15,1 0 16,-1 0-16,0 0 0,0 0 0,0-13 16,1 13-16,-1 0 0,13-13 15,-12 0-15,-1-1 16</inkml:trace>
  <inkml:trace contextRef="#ctx0" brushRef="#br0" timeOffset="136529.94">11311 12568 0,'-13'26'15,"13"-13"-15,0 14 16,0-14-1,0 0-15,0 14 0,0-14 16,0 0-16,0 0 0,0 1 16,0-1-16,13-13 0,-13 13 0,0 0 15,13-13-15,-13 14 16,13-14-16</inkml:trace>
  <inkml:trace contextRef="#ctx0" brushRef="#br0" timeOffset="136767.9">11470 12753 0,'0'-13'16,"13"13"-1,0 0-15,0 0 16,1 0 0,-1 0-16,0-14 15,0 14-15</inkml:trace>
  <inkml:trace contextRef="#ctx0" brushRef="#br0" timeOffset="137271.65">11933 12554 0,'0'27'31,"13"-14"-31,-13 0 0,0 1 0,0-1 16,0 0-16,0 0 15,13 1-15,-13-1 0,0 0 16,0 0-16,0 0 0,0 1 16,13-14-16,-13 13 15</inkml:trace>
  <inkml:trace contextRef="#ctx0" brushRef="#br0" timeOffset="137940.84">12105 12554 0,'26'0'16,"-13"14"-1,-13-1 1,0 0 0,0 0-16,0 1 0,0-1 15,0 0 1,0 0 0,14 1-16,-1-1 15,-13 0-15,0 0 16,13-13-1,-26 13-15,13 1 0,0-1 16,-13-13-16,13 13 0,-14 0 0,-12 14 16,13-27-16,-1 13 15,1 0-15,0-13 0,0 14 16,13-41 15,13 14-31</inkml:trace>
  <inkml:trace contextRef="#ctx0" brushRef="#br0" timeOffset="138252.66">12250 12634 0,'13'13'31,"-13"0"-31,0 1 16,0-1-16,0 0 15,14-13-15,-14 13 0,13 0 16,0-13-1,0 14-15,14-28 16,-14 14-16,0 0 0,-13-13 16,13 13-16,-13-13 15,14 0-15,-14 0 16,-14-1-16,14 1 0,-13 0 16,0 0-16,0 13 15,13-14-15,-27 14 16,14 0-16,0 14 0,0-14 15,13 13-15,-14-13 0,14 13 16</inkml:trace>
  <inkml:trace contextRef="#ctx0" brushRef="#br0" timeOffset="138511.91">12607 12634 0,'14'0'31,"-1"0"-16,0 0 1,0 0-16,1 0 16,-14-13-16,13 13 15</inkml:trace>
  <inkml:trace contextRef="#ctx0" brushRef="#br0" timeOffset="141243.01">12978 12435 0,'13'0'0,"0"14"15,1-14-15,-14 13 0,13 0 16,-13 0-16,0 1 16,0-1-16,0 0 15,-13 0-15,13 0 0,-14 1 16,14-1-16,-13-13 0,13 13 15,-13-13-15,13 13 0,-13 1 16,-1-1 0,28 0 15,-1-13-15,13 0-16,-12 0 15,-1 0-15,0-13 0,0 13 16,0 0-16,1 0 15,-1-13-15,0 13 0,0-14 0,1 14 16,-1-13-16,0 13 0,0-13 0</inkml:trace>
  <inkml:trace contextRef="#ctx0" brushRef="#br0" timeOffset="141571.65">13242 12475 0,'0'-13'0,"0"0"16,0 39-16,-13-52 15,0 39 16,13 0-15,0 0-16,0 1 0,13-14 16,-13 13-16,13-13 0,-13 13 0,14-13 15,-1 13-15,13-13 16,-12-13 0,-1 13-16,0-13 15,-13 0 1,0-1-1,0 1-15,-13 0 16,0 0 0,-1 13-16,1-14 15,0 14 1,39-13 15</inkml:trace>
  <inkml:trace contextRef="#ctx0" brushRef="#br0" timeOffset="141843.54">13428 12435 0,'0'14'0,"13"-1"16,13 13 15,-12-26-31,-1 14 0,0-14 16,13-14-1,-12 14-15,-14-13 16,13 13-16,-13-13 0,13 0 0,-13-1 16,0 1-16,0 0 15,-13 0-15,13-1 0,-13 1 0,-1 0 16,1 0-16,0 13 16,0 0-16,0-13 0,-1 13 0,1 0 15,-13 0-15,-1 13 16,14-13-16,-14 13 0,1 0 0,0-13 15,-1 13-15,1 1 0</inkml:trace>
  <inkml:trace contextRef="#ctx0" brushRef="#br0" timeOffset="142832.31">10980 13414 0,'0'27'47,"0"-14"-47,0 0 0,0 1 16,0-1-16,0 0 0,0 0 0,0 0 15,0 1-15,0-1 0,0 0 16,0 0-16,0 1 0,0-1 0,0 0 16,0 0-16,0 0 0,0 1 15,0-1-15,13-13 16</inkml:trace>
  <inkml:trace contextRef="#ctx0" brushRef="#br0" timeOffset="143393.81">11099 13441 0,'0'0'0,"13"-13"16,1 13-1,-14 13 1,13-13-1,-13 13-15,0 0 16,0 1-16,13-1 16,0 0-1,-13 0-15,14-13 16,-14 13-16,13-13 0,0 14 0,-13-1 16,13-13-16,-13 13 0,14 0 15,-14 1-15,-14-1 16,14 0-1,-13 0 1,13 0-16,-13-13 16,0 0-16</inkml:trace>
  <inkml:trace contextRef="#ctx0" brushRef="#br0" timeOffset="143725.79">11298 13481 0,'0'26'16,"13"-26"-16,-13 13 15,0 0-15,0 1 0,13-14 16,0 13-16,-13 0 16,14-13-16,-1 13 0,0-13 15,0 0-15,14-13 16,-14 13-1,-13-13-15,13 13 16,-13-13-16,0-1 0,0 1 16,-13 0-16,13 0 15,-13 13-15,13-13 16,-13 13-16,-1 0 0,1 0 16,0 0-16,0 0 15,-1 0-15,14 13 16,-13 0-16</inkml:trace>
  <inkml:trace contextRef="#ctx0" brushRef="#br0" timeOffset="143936.49">11655 13481 0,'13'0'0,"14"0"31,-14 0-31,0-14 16,0 14 0,1 0-16,-1 0 0,0 0 15</inkml:trace>
  <inkml:trace contextRef="#ctx0" brushRef="#br0" timeOffset="144565.87">12012 13282 0,'0'-13'15,"13"39"16,-13-12-31,0-1 0,0 0 16,0 0-16,0 0 0,0 1 0,0-1 16,0 0-16,0 0 0,0 1 15,0-1-15,0 0 0,0 0 16,0 1-16,0-1 31</inkml:trace>
  <inkml:trace contextRef="#ctx0" brushRef="#br0" timeOffset="145087.68">12290 13256 0,'13'0'15,"-13"13"48,0 0-16,0 0-32,-13 1 1,0-1 0,13 0-16,-14-13 0,14 13 15,0 0-15,-13-13 0,13 14 16,-13-1-16,0 0 0,13 0 16,-13-13-16,13 14 15,0-1 1,-14 0-1,28-13 1,-1 0-16,0 0 16,0 0-16,0 0 0,1 0 15,-1 0-15,0-13 0,0 13 0,1 0 16,-1 0-16,0-13 0,0 13 16,0-14-16,1 14 0,-1 0 0,0-13 15,0 0-15,1 13 16,-14-13-16,0-1 15</inkml:trace>
  <inkml:trace contextRef="#ctx0" brushRef="#br0" timeOffset="145304.79">12356 13242 0,'-13'0'0,"13"27"31,-13-14-31,13 0 0,0 1 15,0 12-15,0-13 0,0 14 16,0-14-16,0 0 0,0 0 16,13 1-16,-13-1 0,0 0 0,0 0 15,0 14-15,0-14 0,0 0 16,0 0-16,0 1 16,13-14-16</inkml:trace>
  <inkml:trace contextRef="#ctx0" brushRef="#br0" timeOffset="145623.76">12568 13335 0,'-14'0'0,"1"13"31,13 14-31,0-14 16,13 0-16,-13 0 15,14-13-15,-1 14 16,13-14-16,-12-14 16,-1 14-16,0-13 15,0 0-15,-13 0 16,0-1-16,0 1 16,0 0-16,0 0 0,-13 0 15,0 13-15,13-14 0,-13 14 16,-1-13-16,1 13 0,-13 0 0,12 0 15,1 0-15,-13 0 0,-1 0 16,1 0-16,-1 13 0,1-13 16,-14 14-16</inkml:trace>
  <inkml:trace contextRef="#ctx0" brushRef="#br0" timeOffset="146683.56">11404 13481 0,'0'-14'0,"0"28"0,13-14 47,-13 13-47,0 0 0,13 0 16,-13 0-16,0 1 0,13-1 0,-13 13 15,0-12-15,13-1 0,1 13 16,-14-13-16,0 1 0,13-1 0,-13 0 16,0 0-16,13 1 15,-13-1-15,0-40 31,0 14-15,0-13-16,-13 12 0,13-12 16,0-27-16,-13 13 0,13 14 15,-14 0-15,14-1 16,0 14-16,0-14 0,-13 14 0,13 0 0,0 0 16,0-1-16,0 41 31,0-14-16,0 14-15,13 12 0,-13-25 16,0 12-16,14 0 16,-14-12-16,0 12 0,13-13 0,-13 27 15,0-27-15,0 0 0,13 1 16,-13-1-16,0 0 16,-13-39 15,13 12-31,0 1 15,-13-13-15,13 13 0,-14-14 0,14 14 16,-13-27-16,13 27 0,-13 0 16,13 0-16,0-1 15,-13 41 17,13-14-32,0 0 0,0 0 15,13 1-15,-13-1 0,0 0 16,0 0-16,0 1 0,0-1 15,0 0 1,0-39 15,0 12-15,0 1-16,13-13 16</inkml:trace>
  <inkml:trace contextRef="#ctx0" brushRef="#br0" timeOffset="148596.22">12859 13295 0,'26'0'31,"-13"0"-15,1-13-16,-1 13 0,0 0 16,27 0-1,-40-13-15,26 13 16</inkml:trace>
  <inkml:trace contextRef="#ctx0" brushRef="#br0" timeOffset="148829.04">13216 13070 0,'0'14'32,"0"12"-17,0-13-15,0 14 16,0-14-16,0 0 16,0 0-16,0 1 0,0-1 15,0 0-15,0 0 0,13 1 16</inkml:trace>
  <inkml:trace contextRef="#ctx0" brushRef="#br0" timeOffset="149161.62">13361 13084 0,'-13'39'31,"13"-25"-31,0-1 16,0 0-16,13 0 0,-13 0 0,14 1 16,-1-1-16,0-13 15,0 13-15,1-13 16,-1-13 0,0 13-16,-13-13 15,0-1-15,0 1 16,-13 0-16,13 0 15,-13 0-15,-1-1 16,1 1 0,0 13-16,0-13 15</inkml:trace>
  <inkml:trace contextRef="#ctx0" brushRef="#br0" timeOffset="149461.06">13481 13097 0,'39'53'31,"-26"-40"-31,1-13 16,12 0-1,1 0 1,-14 0-16,-13-13 15,13 13-15,-13-13 0,13-1 16,-13 1-16,-13 0 16,13 0-16,-13 13 15,13-14-15,-13 14 0,-1 0 0,1 0 16,0 0-16,-14 0 0,14 0 16,0 0-16,-13 0 0,12 14 0,-25-1 15,12 0-15,14 0 0,-14 1 16,14-1-16</inkml:trace>
  <inkml:trace contextRef="#ctx0" brushRef="#br0" timeOffset="151392.75">6628 13044 0,'26'0'15,"93"13"17,-92-13-32,-1 0 0,14 13 15,53-13-15,-41 14 0,-12-14 16,53 13-16,-40-13 15,-14 0-15,14 0 0,-13 13 0,-14-13 16,41 0-16,-28 0 16,-12 0-16,-1 0 0,27 0 0,-26-13 15,-1 13-15,0 0 16,1 0-16,-1 0 0,1 0 0,-14 0 16,14-13-16,-1 13 0,-13 0 0,14-14 15,-14 14-15,13 0 0,-12-13 16,12 13-16,-13-13 0,14 13 0,-1-13 15,-13 0-15,14-1 16,-14 1-16,0 13 0,-13-13 16,14 0-16,-1 13 0,-13-14 15,13 1-15,0 0 0,-13 0 16,13-1-16,-13 1 0,0 0 16,14 13-16,-14-13 0,0 0 15,0-1-15,0 1 0,0 0 16,0 0-16,0-1 15,0 1-15,0 0 16,0 0-16,0-1 0,0 1 16,0 0-16,0 0 0,0 0 15,-14 13-15,14-14 0,-13 1 16,13 0-16,-13 0 0,0-1 16,-27-12-16,27 13 15,-14-1-15,-25-12 0,25 0 16,-39-1-16,0-13 15,0 1-15,26 12 16,13 14-16,-92-40 16,66 40-16,14 0 0,-54-1 15,40 1-15,-39 26 16,39 1-16,13-1 0,-13 0 16,-13 0-16,13 14 0,-40 26 15,-12 0-15,12 13 16,53-40-16,-26 40 15,0 14-15,40-27 16,26-14 0,26 14-16,1-26 15,-14-1-15</inkml:trace>
  <inkml:trace contextRef="#ctx0" brushRef="#br0" timeOffset="152622.6">6919 13057 0,'-27'-26'0,"54"52"0,-67-65 0,27 39 16,0 0-16,-1-14 0,-12 14 16,-14 0-16,14 0 0,-1 0 15,1 14-15,-80 12 16,40 0-16,0 27 15,0 0 1,-14 53-16,54-79 16,-27 78-1,40-65-15,-1 26 0,14-39 16,-13 26-16,26 26 16,1-53-16,-1 1 15,27 26-15,-1-27 0,14 14 16,13 0-16,-39-27 15,568 79 48,-423-92-32,-132 0 0,542-185 110,-516 159-125,278-146-16,-331 159 0,14 13 15,-14-14-15,0 1 16,0 13-16,14-13 16,-1 0-16,-12 13 15,12-14-15,-26 1 16,13 13-16,0-13 0,14 0 15,-14 0-15,0 13 16,1-14 0,-1 1-16,0 13 15,-13-13-15,13 0 0,0-1 16,1 14 0,-14-13-16,0 0 15,13 0-15,-13-1 16,-13-12-16,13 13 15,0 0-15,-14-1 16,14 1-16,-13 0 0,0 13 16,0-13-16,13-1 0,-13 14 0,-14-13 15,14 13-15,0-13 0,-14 13 0,14 0 16,-13-13-16,12 13 0,-12 0 0,-27 0 16,26-14-16,1 14 15,-14 0-15,14-13 0,-1 13 0,-12 0 16,12 0-16,-12 0 0,12-13 15,1 13-15,-40 0 0,39 0 16,14 0-16,-40 0 0,26 0 16</inkml:trace>
  <inkml:trace contextRef="#ctx0" brushRef="#br0" timeOffset="153815.78">6363 12793 0,'0'-14'15,"-13"-12"17,0 26-32,13-13 0,-13 13 15,-1 0 1,1 0-16,0 0 0,0 13 0,-1-13 16,-12 13-1,13 0-15,13 1 0,-27 12 16,27-13-16,-13 1 0,0 12 15,13 0-15,-13-12 0,13 12 16,-14 1-16,14-14 0,-13 53 16,0-40-16,0-12 0,-1 39 15,1-27-15,0-13 0,0 27 16,-1-27-16,1 0 0,0 1 16,13-1-16,-13 0 0,0-13 15,13 13-15,-14-13 0,1 0 16,0-13-16,13 0 15,-13 0-15,13-1 16,13 41 15,-13-1-31,13 14 0,-13 0 16,0-1-16,13 54 0,-13-53 16,0 13-16,0 39 15,0-52-15,0 39 0,14-39 16,-14-14-16,0 1 0,0-1 15,0 1-15,0-1 0,0-13 0,0 14 16,13-14-16,-13 0 0,0 1 16,13-1-16,0 0 0,14 0 15,-14-13-15,13 0 0,1 0 0,65-26 16,-25 13-16,-1-1 0,0 1 16,0 0-16,13-14 0,54-12 15,-54 26-15</inkml:trace>
  <inkml:trace contextRef="#ctx0" brushRef="#br0" timeOffset="154789.01">10583 12462 0,'-39'13'0,"25"0"16,14 1-16,27 144 31,-14-118-31,-13 0 15,13-14-15,-13 14 0,0-14 0,0 1 16,14-1-16,-28 1 0,14-1 16,0-13-16,0 14 0,-13-1 0,0 1 15,13-14-15,-13 0 0,-1 14 0,1-27 16,0 13-16,13 0 0,-13-13 0,0 13 16,-1-26-1,1 13-15,13-13 16,13 0-1,1 13-15,12 13 16,-26 0-16,13 0 16,0 1-16,1 12 0,-1 14 0,0-14 15,14 54-15,-1-1 16,-26-39-16,26 26 0,-12-40 16,-14 14-16,13-27 0,0 14 15,-13-14-15,27 26 0,-27-25 16,13-1-16,0 13 0,0-12 15,-13-1-15,14-13 16,-1 13-16,0-13 0,0 0 16,14 0-16,-14-13 15,0 13 1,0-13-16,1 13 0</inkml:trace>
  <inkml:trace contextRef="#ctx0" brushRef="#br0" timeOffset="162401.41">7779 6191 0,'-13'27'0,"13"-1"0,0-13 16,0 14-16,0-1 0,0 1 15,0 12-15,0 1 0,0 0 16,0 0-16,0-14 0,0 0 0,13 14 15,-13 13-15,0-40 0,0 14 0,0-1 16,0-13-16,0 14 16,0-14-16,0 0 0,0 1 15,0-1-15</inkml:trace>
  <inkml:trace contextRef="#ctx0" brushRef="#br0" timeOffset="163619.91">7660 6085 0,'13'0'16,"-26"0"-16,39 0 0,-13 0 16,1 0-16,12-13 0,27 13 15,-27 0-15,1 0 0,66 0 16,-41 0-16,-12 0 16,13 0-16,0 0 0,0 0 0,66 0 15,-66 0-15,13 0 16,-13 0-16,0 0 0,13-13 0,-13 13 15,13 0-15,-13 0 0,0 0 16,0-13-16,13 13 0,-13 0 0,0-14 16,0 14-16,53 0 0,-54-13 15,-12 13-15,0 0 0,-14 0 16,1 0-16,12 0 0,-12 0 0,-1 0 16,-12 0-16,25 0 0,-12 0 0,-1 0 15,1 0-15,-1 0 0,14 0 16,-14 0-16,1 0 0,12 0 0,-12 0 15,-1 0-15,1 0 0,-1 0 0,1 0 16,-1 0-16,27 0 16,-40 0-16,0 0 0,27 0 15,-27 0-15,14 0 0,-14 0 16,0 0-16,14 0 0,-14 0 16,0 0-16,0-13 0,1 13 0,-1 0 15,27 0-15,-27 0 0,0-13 16,0 13-16,1 0 15,-1 0-15,0 0 0,0 0 16,0 0 0,1 0-1,-1-13-15,0 13 16,0 0-16,1-14 16,-1 14-1,0 0-15,0 0 16,1 0-1,-1 0 1,0-13-16,0 13 16,0 0-1,1 0 1,-1 0 0,0 0-16,0 0 15,1 0 1,-1 0-16,0 0 15,0 0-15,0 0 32,1 0-17,-1 0 1,-13 13 31,0 1-47,0-1 0,0 0 15,0 13-15,0-12 0,0 39 16,-13-27-16,13 14 16,0 26-16,0-26 0,0-1 15,0 1-15,0 0 0,0-1 16,13 1-16,-13-13 0,0-1 0,13 0 16,-13 1-16,0-1 0,13-12 0,-13-1 15,0 13-15,14-12 0,-14 12 16,0-13-16,0 0 0,13 1 15,-13-1-15,-13 0 16,13 0-16,0 1 0,-14-14 16,1 13-16,-13 0 0,12-13 15,-12 13-15,0-13 0,-14 13 0,0-13 16,-13 14-16,0-14 0,-13 13 16,-13-13-16,-1 0 0,14 13 15,-13-13-15,0 13 0,12-13 0,-38 14 16,78-14-16,-13 0 15,27 0-15,-13 0 0,13 0 0,-1 0 16,1 0-16,0 0 0</inkml:trace>
  <inkml:trace contextRef="#ctx0" brushRef="#br0" timeOffset="164185.94">11800 6628 0,'106'13'0,"-79"-13"15,-1 0-15,14 13 0,39 1 16,-39-14-16,-14 0 0,1 13 15,-1-13-15,27 13 0,-26-13 16,-1 0-16,-13 13 0,1-13 16,-1 0-16,0 0 0,0 0 15,0 13 1,-39-13 0</inkml:trace>
  <inkml:trace contextRef="#ctx0" brushRef="#br0" timeOffset="164952.07">7461 12859 0,'0'13'16,"13"0"15,1-13-31,-14 13 16,13-13-16</inkml:trace>
  <inkml:trace contextRef="#ctx0" brushRef="#br0" timeOffset="165163.97">7924 12951 0</inkml:trace>
  <inkml:trace contextRef="#ctx0" brushRef="#br0" timeOffset="167063.84">11404 6072 0,'0'27'31,"0"-14"-31,13 0 16,-13 14-16,0-1 0,13 14 0,-13-1 15,0 1-15,13 0 0,-13-1 16,0-12-16,0 13 0,13-14 0,-13 1 16,0-1-16,0-13 0,0 14 0,0-14 15,0 13-15,0-12 16,0-1-16,14 13 0,-14-12 16,0-1-16</inkml:trace>
  <inkml:trace contextRef="#ctx0" brushRef="#br0" timeOffset="167865.83">11271 5966 0,'0'0'0,"13"-13"16,1 13-16,-1 0 0,0-13 15,14 13-15,12-13 0,1 13 16,13-14-16,66 1 0,-53 0 15,80 0-15,-80 0 16,13 13-16,1-14 0,-1 1 16,0 13-16,1-13 0,-1 13 0,-13 0 15,14 0-15,-28-13 0,15 13 16,-14 0-16,-14 0 0,14 0 0,13 0 16,-39 0-16,-14-14 0,27 14 15,-14 0-15,-13 0 16,1 0-16,-1 0 0,0 0 15,0 0-15,1 0 16,-1 0 0,0 0-1,-13 14 1,0-1-16,0 0 0,0 0 16,0 1-16,0 12 0,0 0 15,0 1-15,13 52 0,-13-39 16,0 0-16,0-1 0,13 1 0,-13 0 15,14-1-15,-14-12 0,13 26 16,0-27-16,0 14 16,1-14-16,-14 1 0,13-1 15,-13-12-15,13 12 16,-13-13-16,13-13 0,-13 13 16,0 1-16,0-1 0,0 0 15,-13-13 1,13 13-16,-13-13 0,0 0 15,-1 0-15,1 14 0,0-14 0,-40 0 16,13 13-16,1-13 0,-14 0 0,0 13 16,-13-13-16,-1 13 15,-12 1-15,-53-1 0,66 0 16,-14 0-16,14-13 0,0 13 0,13 1 16,-132 12-1,172-26-15,-14 13 16,-13-13-1,27 0-15,0 0 0,0 0 16</inkml:trace>
  <inkml:trace contextRef="#ctx0" brushRef="#br0" timeOffset="170165.95">3479 7858 0</inkml:trace>
  <inkml:trace contextRef="#ctx0" brushRef="#br0" timeOffset="170921.71">7871 7871 0</inkml:trace>
  <inkml:trace contextRef="#ctx0" brushRef="#br0" timeOffset="172952.08">3069 8070 0,'0'-13'16,"-13"-1"-16,13 1 15,-13 13-15,13-13 16,-14 39 15,14-12-31,0-1 0,-13 13 16,0 27-16,13-13 0,-13-14 15,13 14-15,0 0 0,0-14 0,-13-13 16,13 14-16,0-1 0,0-12 16,0-1-16,0 13 0,0-13 0,0 1 15,0-1-15,13 0 16,0-39 0,-13-1-16,0 14 0,0-13 15,13 12-15,-13-12 0,0-1 16,0 1-16,-13-1 0,13 1 15,0 0-15,0-1 0,0 1 0,0 12 16,0 1-16,0 0 0,0 0 0,-13-1 16,13 1-1,0 40 1,-13-14-16,13 13 0,0 1 0,0-1 16,-14 1-16,14-1 0,0 1 0,0-1 15,0 1-15,14-1 0,-14 1 16,0-1-16,0-13 0,0 14 15,0-14-15,0 0 0,0 0 16,0 1-16,0-54 31,0 13-31,0 1 0,0 0 16,-14-14-16,14 0 0,-13 0 0,0 1 16,13 12-16,0 1 0,-13 13 15,13-1-15,0-12 0,-14 13 16,14-1-16,-13 28 15,13-1 1,0 13-16,-13 14 0,13 53 16,-13-54-16,13 1 0,0-13 15,0 12-15,0-12 0,0-1 16,13-13-16,-13 14 0,0-14 0,0 0 16,13 0-16,-13-39 31,0 13-31,0-14 0,0 1 0,0-14 15,0-13-15,-13 14 0,13-1 0,0 0 16,-13 14-16,13-14 0,-13 27 0,13-14 16,0 14-16,-14-13 15,14 12-15,0 1 0,-13 0 0,13 0 16,13 13 15,1 13-31,-1-13 16,0 0-16,13 0 0</inkml:trace>
  <inkml:trace contextRef="#ctx0" brushRef="#br0" timeOffset="174846.36">2633 8546 0,'13'-13'0,"-26"26"0,39-26 15,-13 13-15,1 0 16,-14 13-16,0 0 16,13 0-16,-13 1 0,-13-1 0,13 0 15,0 14-15,-14-14 0,14 13 0,-13 1 16,0-14-16,13 13 15,-13-12-15,13-1 0,-14 0 0,14 0 16,0 1-16,0-1 0,0 0 0,0 0 16,0 1-16,14-14 15,-14 13-15,13-13 0,0 0 16,0-13-16,1 13 0,-1-14 16,13 14-16,-13-13 0,1 13 15,12-13-15,-13 13 0,1-13 0,-1 13 16,13-14-16,-12 14 0,-14-13 15,13 13-15,0 0 16,0-13-16,0 13 16,-13-13-1,-13-1 1,0 1 0,0 13-1,0-13 1,-1 13-1,1 0 1,13-13 0,13 26 31,1 0-32,-1-13 1,0 0-16,0 13 15,0-13 1,1 0 31,-14 14-31,13-14-16,0 13 15,0-13-15,1 0 16,-1 0-1,0 0-15,-13-13 0,13 13 16,0 0-16,1-14 0,-14 1 16,13 0-16,-26 0 15,13 0 1,-14-1-16,1 1 16,0 0-16,0 13 0,0 0 15,-1 0 1,1 0-16,0-13 15</inkml:trace>
  <inkml:trace contextRef="#ctx0" brushRef="#br0" timeOffset="175035.06">3135 8586 0,'53'66'16,"-53"-53"-16,13 0 15,-13 1-15,14 12 0,-14 0 16,0-12-16,13-1 0,0 13 16,-13-12-16,13-1 0,1 0 15,-1 0-15,0 1 0,0-14 16,1 13-16,12-13 0</inkml:trace>
  <inkml:trace contextRef="#ctx0" brushRef="#br0" timeOffset="175825.14">7567 8467 0,'27'0'15,"-14"13"-15,-13 0 16,0 0-16,0 1 16,0-1-16,0 0 0,0 0 15,0 0-15,0 1 16,0-1-16,13 0 0,-13 0 16,13 1-16,-13-1 15,13-13-15,1 13 16,-14 0-16,0 1 0,13-1 15,-26 0-15,13 0 16,-14 0 0,14 1-16,-13-14 0,0 13 15,0-13-15,0 13 0,-1-13 16,1 0 15,26-13-15</inkml:trace>
  <inkml:trace contextRef="#ctx0" brushRef="#br0" timeOffset="176307.21">7792 8559 0,'-13'-13'32,"0"26"-32,13 0 31,0 1-31,0-1 15,13 0-15,-13 0 16,0 1-16,13-14 16,-13 13-16,0 0 0,0 14 15,0-14-15,-13 0 0,13 0 16,0 0-16,-13-13 16,13 14-16,13-28 31,-13 1-16,13 13-15,0-13 0,0 13 16,1-13-16,-1 13 0,13 0 16,-12 13-1,-1-13-15,0 0 16,0 0-16,1 13 0,-1-13 0,0 0 16,0 0-16,0 0 0,1 0 15,-1-13-15,0 13 0,0-13 16,1 13-16,-14-13 0,0-1 15,0 1-15,13 13 16,-13-13-16,-13 0 16,13-1-16,0 1 0,0 0 0,-14 0 15</inkml:trace>
  <inkml:trace contextRef="#ctx0" brushRef="#br0" timeOffset="177027.75">7554 8493 0,'26'-13'16,"-12"0"-16,-1 13 0,0 0 0,0 0 15,0 0-15,1 0 0,-1 26 16,-13-13-16,0 1 16,13-1-16,-26 0 0,13 13 0,-13 14 0,-1-13 15,1 12-15,0-12 0,0-1 16,0 1-16,-1-14 0,14 13 16,-13-12-16,13-1 0,-13-13 0,13 13 15,-13 0-15,13 1 0,13-1 31,13-26-15,-12 13-16,-1-14 0,26 1 16,-12 0-16,13 0 0,-1-1 0,1-12 15,0 13-15,-1-1 0,41-12 16</inkml:trace>
  <inkml:trace contextRef="#ctx0" brushRef="#br0" timeOffset="177157.29">8665 8665 0,'0'0'16,"13"0"-16,1 0 0,-14-13 15,13 0 1</inkml:trace>
  <inkml:trace contextRef="#ctx0" brushRef="#br0" timeOffset="177296.1">8996 8916 0,'0'27'15,"0"-54"-15,0 67 0,0-27 16,-13 1-16,13-1 16</inkml:trace>
  <inkml:trace contextRef="#ctx0" brushRef="#br0" timeOffset="182256.89">12316 10160 0,'27'0'16,"-14"13"-16,13-13 0,-12 0 16,-1 0-16,13 0 0,1 0 15,13 0-15,-14 0 0,53 0 16,-26-13-16,0 13 0,-13 0 0,13 0 15,-13-13-15,12 13 0,1-13 16,-13 13-16,13 0 0,-13-14 0,13 14 16,-14 0-16,14-13 0,-13 13 0,0 0 15,-14-13-15,14 13 0,-14 0 16,14 0-16,-14 0 0,14 0 16,-14 0-16,14 0 0,-13 0 0,-1-13 0,0 13 15,14 0-15,-13 0 16,-1 0-16,1-14 0,-1 14 0,-13 0 15,14 0-15,-1-13 0,-13 13 0,1 0 16,12-13-16,-13 13 0,1-13 0,-1 13 16,0 0-16,0-14 15,0 14-15,1-13 0,-1 13 0,0-13 0,0 0 16,1 13-16,-1-13 0,0-1 16,-13 1-1,13 13-15,1-13 0,-1 0 16,-13-1-16,13 14 0,0-13 0,-13 0 15,13 13-15,-13-13 0,14-1 0,-14 1 16,0 0-16,13 13 0,-13-13 16,0 0-16,0-1 0,0 1 0,0 0 15,0 0-15,-13-1 0,13 1 16,-14 0-16,1 0 0,-13 0 16,13-1-16,-27 1 0,13 0 0,-52-14 15,39 14-15,1 13 0,-1-13 16,13 13-16,1 0 0,0-13 15,-1 13-15,1 0 0,-1 0 0,1 0 16,-1 0-16,1 0 0,-1 0 0,1 0 16,-1 13-16</inkml:trace>
  <inkml:trace contextRef="#ctx0" brushRef="#br0" timeOffset="183195.91">2527 9247 0,'0'0'0,"26"-13"15,-13 13-15,1 0 0,-1 0 0,0 0 16,0 0-16,1 13 0,-1-13 15,0 13-15,-13 1 16,13-14-16,-13 13 0,0 0 0,0 0 16,-13 1-16,13 12 0,-13-13 0,0 0 15,13 14-15,-14-14 0,1 0 0,0 1 16,0-1-16,-1 0 16,1 0-16,0 1 15,39-14 32,-12-14-47,-1 14 16,0 0-16,0-13 0,1 13 15,-1 0-15,0-13 0,0 13 16,1 0-16,-1-13 0,0 13 0,0 0 16,0-14-16,1 14 0,-1-13 15,0 13-15,0 0 0</inkml:trace>
  <inkml:trace contextRef="#ctx0" brushRef="#br0" timeOffset="183587.78">3096 9234 0,'-27'0'0,"1"13"16,12-13-16,1 0 0,0 0 0,0 0 15,0 0-15,-1 13 16,1-13 0,26 14-1,1-14-15,-14 13 0,13-13 16,0 13-16,0-13 15,-13 13-15,13-13 0,1 14 16,-14-1-16,-14 13 16,1-13-1,13 1-15,-13-1 0,0 0 16,0 0-16,-1-13 0,1 14 0,0-1 16,0 0-16,-1-13 0,14 13 15,-13-13-15</inkml:trace>
  <inkml:trace contextRef="#ctx0" brushRef="#br0" timeOffset="183780">3188 9194 0,'13'0'15,"1"27"1,-14-14-16,0 0 15,0 0-15,0 1 0,0-1 0,0 0 16,0 0-16,0 1 0,0-1 0,0 0 16,0 0-16,0 0 0,0 1 15,0-1-15,13 0 16</inkml:trace>
  <inkml:trace contextRef="#ctx0" brushRef="#br0" timeOffset="185139.9">7527 9075 0,'14'0'16,"-1"0"-16,0 0 15,0 0-15,1 13 16,-1 1-16,0-1 16,-13 0-16,0 0 15,-13 1-15,13-1 0,-13 0 0,13 14 16,-14-14-16,-12 13 0,13-13 15,-1 14-15,-12-14 0,13 0 0,13 1 16,-14-1-16,1-13 0,0 13 16,0 0-16,13 0 15,-13-13-15,13 14 16,13-14 0,13 0-16,-13 0 15,1 0-15,-1 0 16,0-14-16,0 14 0,1 0 0,-1-13 15,13 13-15,-12 0 0,-1-13 16,0 13-16,0-13 0,0 13 0,14-13 16,-14-1-16,0 14 0,1-13 0,-1 0 15</inkml:trace>
  <inkml:trace contextRef="#ctx0" brushRef="#br0" timeOffset="185464.87">7898 9128 0,'-13'0'0,"-14"0"15,27 13 1,-13-13-16,0 14 16,-1-1-16,1 0 0,13 0 0,-13 1 15,13-1-15,0 0 0,0 0 16,0 0-16,0 1 0,0-1 0,0 0 16,13 0-16,-13 1 15,13-14-15,-13 13 0,14-13 0,-1 0 16,0 0-1,0 0-15,1-13 16,-14-1-16,0 1 16,-14 0-1,1 0 1,0 13-16,13-14 16,-13 14-16</inkml:trace>
  <inkml:trace contextRef="#ctx0" brushRef="#br0" timeOffset="185748.97">8017 9208 0,'0'13'16,"0"-26"-16,0 39 0,0-13 15,13 0-15,-13 1 16,13-1-16,-13 0 0,14-13 15,-1 13-15,0-13 16,0 0 0,0 0-16,1 0 0,-14-13 15,13 13-15,-13-13 0,13 13 16,-13-13-16,0-1 16,0 1-16,0 0 0,-13 0 15,13 0 1,-13 13-16,-1-14 0,1 14 15,13 14-15,-13-14 16,0 13-16,13 0 16</inkml:trace>
  <inkml:trace contextRef="#ctx0" brushRef="#br0" timeOffset="186229.52">9115 9353 0,'40'-13'31,"-27"13"-31,13 0 0,-12 0 0,12 13 16,0-13-16,1 0 0,-1 0 0,-12 0 15,12 0-15,-13 0 0,14 0 16,-14 0-16,0 0 0,14 0 0,-14 0 16,0 0-16,0 0 0,1 0 15,-1 0-15,0 0 16,-13-13-16,13 13 15</inkml:trace>
  <inkml:trace contextRef="#ctx0" brushRef="#br0" timeOffset="186506.94">9512 9247 0,'13'0'15,"0"0"1,0 13-16,1-13 0,-1 14 0,0-1 16,0-13-16,1 13 15,-1 0-15,-13 1 0,13-1 16,0-13-16,-13 13 0,0 0 0,14 0 16,-14 1-16,0-1 0,0 0 0,-14 0 15,14 1-15,-13-1 0,13 0 16,-13-13-16,0 13 0,-1 1 15,1-14-15,0 0 16,0 0 0</inkml:trace>
  <inkml:trace contextRef="#ctx0" brushRef="#br0" timeOffset="187246.91">11800 7342 0,'-13'27'31,"13"-14"-31,0 0 16,-13 0-16,13 14 0,0 12 15,0-25-15,0-1 0,0 13 0,-13-12 16,13 12-16,0-13 15,0 14-15,13-14 0,-13 13 0,0-12 16,0-1-16,0 13 0,0-12 0,0-1 16</inkml:trace>
  <inkml:trace contextRef="#ctx0" brushRef="#br0" timeOffset="187735.14">11761 8030 0,'13'-13'0,"0"26"15,0-13-15,1 0 16,-14 13-16,13 1 16,-13-1-16,0 0 15,-13 0-15,13 0 0,-14 14 0,14-14 16,-13 0-16,0 1 0,0-1 15,13 0-15,-13-13 0,-1 13 0,14 1 16,-13-1-16,13 0 16,-13 0-16,26 0 31,0-13-31,1 0 16,12-13-16,-13 13 0,0 0 15,1 0-15,-1 0 0,0-13 16,0 13-16,1 0 0,-1 0 15,0 0-15,0 0 0,0 0 16</inkml:trace>
  <inkml:trace contextRef="#ctx0" brushRef="#br0" timeOffset="188478.94">11787 8586 0,'13'0'0,"1"13"31,-14 0-31,-14 0 16,14 1-16,0-1 15,-13-13-15,13 13 0,0 0 16,0 1-16,13-1 15,-13 0 1,14 0-16,-14 0 16,13-13-16,-13 14 15,13-1-15,-26 0 16,13 0 0,-13-13-16,13 14 15,-14-14-15,1 13 0,0-13 16,13 13-16,-13-13 0,13 13 15,-13-13-15,13 14 0,-14-14 0</inkml:trace>
  <inkml:trace contextRef="#ctx0" brushRef="#br0" timeOffset="188911.84">11946 9155 0,'-40'26'32,"40"-13"-32,-13-13 0,0 14 15,0-1-15,13 0 0,-14-13 0,14 13 16,-13 0-16,0 1 16,13-1-16,0 0 0,0 0 15,0 1 1,13-14-16,0 0 15,1 0-15,-1 0 0,0 0 16,0 0-16,0-14 0,1 14 0,12 0 16,-13-13-16,1 13 0,-1-13 0,0 0 15,0-1-15,1 14 16,-1-13-16,-13 0 0</inkml:trace>
  <inkml:trace contextRef="#ctx0" brushRef="#br0" timeOffset="189087.21">12105 9141 0,'-14'-13'16,"1"13"-16,40 13 0,-67-13 15,27 14-15,13-1 16,-13 0-16,13 14 16,0-14-16,-14 13 0,14 1 15,0-1-15,0 1 0,0-14 16,0 13-16,0-13 0,14 14 16,-14-14-16,0 0 0,0 1 0,0-1 15,0 0-15,13 0 0,-13 1 0,0-1 16</inkml:trace>
  <inkml:trace contextRef="#ctx0" brushRef="#br0" timeOffset="191570.44">5054 10186 0,'0'0'16,"-14"0"-16,14 14 31,14-14-16,-1 13-15,0-13 16,0 13-16,0-13 0,1 0 16,12 0-16,-13 13 0,14-13 15,-1 0-15,1 14 0,-1-14 0,14 0 16,-14 0-16,1 0 0,13 0 0,-14 0 16,0 0-16,14 0 0,-13 0 15,-1 0-15,14 0 0,-14 0 0,14 0 16,-14 0-16,14 0 0,-14 0 15,14 0-15,-13 0 0,-1 0 0,40 0 16,-26 0-16,-14 0 16,1 0-16,-1 0 0,27 0 15,-40-14-15,14 14 0,-1 0 16,1 0-16,-14 0 0,13 0 0,14-13 16,-27 13-16,27 0 15,-27 0-15,14-13 0,-14 13 16,0 0-16,0 0 0,1-13 0,-1 13 15,0 0-15,0-14 0,1 14 0,-1 0 16,0-13-16,0 13 0,1-13 16,-1 13-16,0 0 0,-13-13 0,13 13 15,0-13-15,1 13 0,-1-14 0,0 14 16,-13-13-16,13 13 0,1-13 0,-1 13 16,0-13-16,0 13 0,-13-14 15,14 14-15,-1-13 0,0 13 0,-13-13 16,13 13-16,-13-13 0,13 13 15,-13-14-15,14 1 0,-1 0 16,0 0-16,-13 0 16,0-1-16,13 1 0,-13 0 15,0 0-15,14 13 0,-14-14 16,0 1-16,13 0 0,-13 0 16,0-1-16,0 1 0,13 0 15,-13 0-15,0 0 16,0-1-16,0 1 15,0 0-15,-13-14 16,13 14-16,0 0 16,-13 0-16,13 0 15,-14-1-15,1 14 0,13-13 16,-13 0-16,0 13 0,-1-13 0,1 13 16,0-14-16,0 14 0,0-13 15,-14 13-15,14-13 0,0 13 0,-1-13 16,-25-1-16,12 1 0,14 13 15,-13-13-15,12 13 0,-12-13 16,-14 0-16,27 13 0,-14 0 16,1-14-16,13 14 0,-14 0 15,1-13-15,-1 13 0,14 0 0,-27-13 16,14 13-16,0 0 0,-1 0 16,1-13-16,-1 13 0,1 0 0,-1 0 15,1-14-15,-1 14 0,1 0 16,-1 0-16,1 0 0,13-13 0,-14 13 15,1 0-15,-1 0 0,14 0 0,-13 0 16,12 0-16,-12 0 0,13 0 16,-14 0-16,14 0 0,-13 0 0,-1 0 15,1 0-15,12 13 0,1-13 16,0 0-16,-13 0 0,12 0 0,1 0 16,0 14-16,0-14 15,-1 0-15,1 0 0,0 0 0,0 13 16,0-13-16,-1 0 0,1 13 0,-13-13 15,12 0-15,1 13 0,0-13 16,0 14-16,-14-1 0,14-13 0,0 13 16,0-13-16,-14 13 0,14 0 15,-14 1-15,14-14 16,0 13-16,0-13 0,13 13 16,-14-13-16,1 13 0,0 1 0,0-1 15,0 0-15,-1-13 16,14 13-16,-13-13 15,13 14-15,-13-1 0,0 0 16,13 0 0,-14-13-16,14 13 0,-13 1 15,13-1-15,-13-13 16,13 13-16,0 0 0,-13 1 16,13-1-16,-14 0 15,14 0-15,0 0 16,0 1-16,0-1 0,-13 0 15,13 0-15,0 1 0,0-1 16,0 0-16,0 0 0,0 1 0,0-1 16,13 0-16,-13 0 0,0 0 0,0 1 15,0-1-15,14 13 16,-14-12-16,0-1 0,13 0 16,-13 0-16,0 1 0,13 12 15,0-13-15,-13 0 0,14 1 16,-14-1-16,13-13 0,-13 13 15,13-13-15,-13 13 0,13-13 16,-13 14-16,14-14 0,-1 13 0,0-13 16,0 0-16,0 0 15,1 0-15,12 0 16,-13 0-16,1 0 16,12-13-16,1 13 0,12 0 0,-12-14 0,-1 14 15,1-13-15</inkml:trace>
  <inkml:trace contextRef="#ctx0" brushRef="#br0" timeOffset="197748.96">2222 11456 0,'-13'0'0,"0"0"16,39-13 31,1 13-32,-14 0-15,14 0 0,52 0 16,-26 0-16,0 0 0,0 0 0,-14 0 16,28-13-16,-14 13 0,-1 0 15,1 0-15,0 0 0,-13 0 0,13 0 16,0-13-16,-14 13 0,-12 0 15,13 0-15,-14 0 0,1 0 16,-1 0-16,0 0 0,1 0 0,-14 0 16,0 0-16,14 0 0,-14 0 0,0 0 15,-13-13-15,14 13 0,-1 0 16,0 0-16,0 0 16,0 0-16,1 0 46</inkml:trace>
  <inkml:trace contextRef="#ctx0" brushRef="#br0" timeOffset="198857.26">7382 11417 0,'13'13'0,"0"0"16,1-13-16,-1 0 0,0 0 15,13 0-15,1 0 0,-1 0 0,1 0 16,13 0-16,12 0 0,-12-13 15,13 13-15,0 0 0,0-13 0,-13 13 16,13-13-16,-14 13 0,1-14 16,0 14-16,-14 0 0,-13-13 0,14 13 15,-1 0-15,-13 0 0,1 0 0,-1 0 16,0 0-16,0-13 0,14 13 16,-14 0-1,0 0 1,0 0-1,1 13 1,-14 0 31,-14-13 0</inkml:trace>
  <inkml:trace contextRef="#ctx0" brushRef="#br0" timeOffset="202534.49">20929 10081 0,'0'26'31,"-14"-13"-31,14 1 0,0 12 15,0-13 1,-13-13-16,13 13 0,0 1 16,0-1-1,0 0-15,-13-13 16,26 13 0,0-13 15,1 0-16,-1 0 1,0 0-16,0 0 16,0 0-16,1 0 0,-1 0 15,0 0-15,0 0 0,1 0 0,-1 0 16,13 0-16,-12 0 0,12 0 16,-13 0-16,0 0 0,1 0 15,12 0-15,-13-13 0,1 13 16,-1 0-16,0 0 0,13 0 0,-12 0 15,-1 0-15,0-13 0,0 13 0,1 0 16,-1 0-16,13 0 16,1 0-1,-14 0-15,-13-13 0,13 13 0,0 0 16,1 0-16,-1 0 16,0 0-16,0 0 0,1 0 15,-1 0-15,0 0 31,0 0-31,1 0 16,-1 0 0,0 0 15,0 0 0,0 0 63,-13-14-94,0 1 16,0 0-1,0 0-15,14 0 16,-14-1-16,13 1 15,-13 0 1,0 0-16,0-1 16,0 1-1,0 0 1</inkml:trace>
  <inkml:trace contextRef="#ctx0" brushRef="#br0" timeOffset="203320">20638 9366 0,'26'0'63,"-13"0"-63,0 0 16,1 0-1,-1 0-15</inkml:trace>
  <inkml:trace contextRef="#ctx0" brushRef="#br0" timeOffset="203489.18">20836 9366 0,'13'0'15,"0"0"1</inkml:trace>
  <inkml:trace contextRef="#ctx0" brushRef="#br0" timeOffset="206280.03">20135 9287 0,'13'-13'94,"0"13"-94,0 0 15,1 0-15,-1 0 16,0 0-16,-13 13 16,13-13-16,-13 13 15,0 0 1,-13-13 0,13 14-16,-13-14 15,0 13-15,-1-13 16,28 13 46,-1 0-62,0-13 16,0 13 0,-13 1-1,14-14-15,-28 13 31,1-13-31,13 13 16,-13-13-16,-14 0 16,14 0-16,0 13 15,0-13-15,0 0 0</inkml:trace>
  <inkml:trace contextRef="#ctx0" brushRef="#br0" timeOffset="207985.71">21656 10186 0,'-13'14'62,"13"-1"-31,0 0-31,0 0 16,13-13 0,0 14-16,1-14 15,-1 0 1,0 0-16,0 0 15,1 0-15,-1 0 16,0 0-16,0 0 16,0 0-16,1 0 0,-1 0 0,0 0 0,14 0 15,-14 0-15,0 0 0,14 0 16,-14 0-16,0 0 0,0 0 0,14 0 16,-14 0-16,13 0 0,-12 0 0,-1-14 15,13 14-15,-13 0 0,1 0 0,12 0 16,-13 0-16,1 0 0,-1 0 15,13 0-15,-12 0 0,-1 0 16,0 0-16,0 0 0,0-13 0,1 13 0,-1 0 16,0 0-16,0 0 15,1 0-15,-1 0 0,13 0 16,-12 0 0,-1 0-16,0 0 15,0 0-15,0 0 16,1 0-1,-1 0 1,-13-13 0,13 0-1,-13-1 1,0 1-16,13 0 16,-13 0-16,0 0 0,14-1 15,-14 1-15,0 0 16,13 0-16,-13-1 15,0 1-15,0 0 0,0 0 16</inkml:trace>
  <inkml:trace contextRef="#ctx0" brushRef="#br0" timeOffset="209265.91">20532 7792 0,'-14'0'16,"41"0"30,-14 0-46,0 0 16,1 0-16,-1 0 16,0 0 15,-53 0 0,27 0-15,0 0-16,-14 0 0,1 0 15,0 0-15,-14 0 0,0 0 0,-13 0 16,14 0-16,-14 0 0,0 13 16,0-13-16,0 0 0,0 0 0,0 0 15,0 0-15,13 0 0,-12 0 0,-1 0 16,13 0-16,13 0 16,1 0-16,0 0 0,-1 0 0,1 0 15,-1 0-15,14 0 0,0 0 0,-14 0 16,14 0-16,0 0 15,0 0-15,-1 0 0,14 13 16</inkml:trace>
  <inkml:trace contextRef="#ctx0" brushRef="#br0" timeOffset="211381.06">22278 9737 0,'13'13'47,"-13"0"-47,0 0 0,0 1 15,-13-1-15,13 0 0,0 0 0,0 0 16,0 1-16,0-1 0,-13 0 15,13 0-15,0 1 0,0-1 0,-14 0 16,14 0-16,0 1 0,0-1 16,0 0-1,0 0-15,0 0 16,14 1 0,-1-14-1,0 0-15,0 0 16,1 0-16,-1 13 0,0-13 15,0 0-15,1 0 0,-1 0 16,13 0-16,-13 0 0,14 0 0,-14 0 16,14 0-16,-1 0 0,0 0 0,-12 0 15,12 0-15,-13 0 0,14 0 16,-14 0-16,14 0 0,-14 0 0,13 0 16,-13 0-16,14 0 0,-14 13 0,0-13 15,14 0-15,-14 0 0,0 0 16,14 0-16,-14 0 0,0 0 0,14 0 15,-14 0-15,0 0 0,0 0 0,1 0 16,-1 0-16,0 0 16,0 0-16,1 0 15,-1 0-15,0 0 16,0 0 0,0-13 15,1 13 0,-14-13-15,0-1-16,0 1 0,0 0 15,0 0-15,0 0 16,0-1-16,13 1 16,-13 0-16,0 0 15,0-1-15,-13 1 0,13 0 16,0 0-16,0-1 15,0 1-15,0 0 16,13 0-16,-13 0 0,13-1 16,0 1-16</inkml:trace>
  <inkml:trace contextRef="#ctx0" brushRef="#br0" timeOffset="213742.21">20479 8030 0,'13'-13'16,"0"13"-16,0 0 16,1 0-1,-1 0-15,0 0 0,14 0 16,-14 0-16,0 0 15,14 0-15,-14 0 16,0 0 0,0 0-16,0 0 15,-52 0 63,26 0-62,-1 0-16,1 0 0,0 0 0,-14 0 16,14 0-16,0 0 15,0 0-15,-14 0 0,14 0 0,-13 0 16,12 0-16,-12 13 0,13-13 0,-14 0 16,14 0-16,-14 0 0,14 0 15,-13 0-15,13 0 0,-14 0 0,14 0 16,0 0-16,-14 0 0,14 0 0,0 13 15,-1-13-15,-12 0 0,13 0 16,0 0-16,-14 0 0,14 0 0,0 0 16,-14 0-16,14 0 0,0 0 15,-1 0-15,1 0 0,0 0 16,0 0-16,0 0 16,-1 0-16,1-13 0,0 13 0,0 0 15,-1 0-15,1 0 16,0 0-16,0 0 0,0 0 15,-1 0-15,1 0 16,0 0-16,0 0 0,-1 0 0,1 0 16,0 0-16,0 0 0,-1 0 15,1 13-15,0-13 0,0 0 16,0 0-16,-1 0 0,1 0 16,0 14-1,0-14-15,-1 0 16,1 0-1,0 0-15,0 13 16,-1-13 15,1 0 1,0 0-17,0-13 1</inkml:trace>
  <inkml:trace contextRef="#ctx0" brushRef="#br0" timeOffset="214425.31">18825 8057 0,'13'0'0,"-26"0"0,26-14 0,1 14 15,-1 0 1,0 0-16,0 14 15,-13-1 1,0 0-16,-13 0 16,13 0-16,-13 1 15,13-1-15,-13-13 0,13 13 0,-14 0 16,14 1-16,-13-1 16,0-13-16,13 13 15,13-13 16,0 0-15,1 0 0,-1 0-16,0 0 15,0 0-15,0 0 0,1 0 16,-1 0-16,0 0 16,0-13-16</inkml:trace>
  <inkml:trace contextRef="#ctx0" brushRef="#br0" timeOffset="-214436.76">19196 8004 0,'-14'0'0,"1"0"16,0 0-16,13 13 15,0 0 1,0 0 0,0 1-16,0-1 0,0 13 15,0-13-15,0 1 16,0-1-16,-13 0 0,13 14 16,-14-27-16,14 13 0,-13-13 15,13 13-15,-13-13 0,0 13 16,-1-26-1,14 0 1,0 0 0,14-1-16,-1 1 15,66-93 32,-79 93-47,0 0 16,0 0-16,-13-1 15,0 14 1,-27-13 0,27 13-16,0 0 15,-1 0-15,1 0 16,13 13 0</inkml:trace>
  <inkml:trace contextRef="#ctx0" brushRef="#br0" timeOffset="-212903.47">23164 10028 0,'-13'-14'15,"0"28"79,13-1-78,0 0-16,-13 0 15,13 1-15,0-1 16,-14 0-16,14 0 16,0 1-16,0-1 31,0 0-31,14-13 16,-1 0-1,0 13-15,0-13 16,1 0-16,-1 0 0,0 0 0,0 0 15,14 0-15,-14 0 0,0 0 16,14 0-16,-14 0 0,0 0 0,13 0 16,-12 0-16,12 0 0,-13 0 0,1 13 15,12-13-15,-13 0 0,1 0 16,-1 0-16,0 0 0,0 0 16,-13 14-16,27-14 0,-14 0 15,0 0 1,0 0-1,1 0-15,-14-14 16,13 14-16,-13-13 16,0 0-16,13 13 0,-13-13 15,0 0-15,13-1 0,-13 1 16,0 0-16,0 0 0,14-1 16,-14 1-16,0 0 0,0 0 15,13-1-15,-13-12 0,13 13 16,0-14-16,-13 1 0,13 13 15,1-1-15</inkml:trace>
  <inkml:trace contextRef="#ctx0" brushRef="#br0" timeOffset="-211506.43">19526 6562 0,'27'0'47,"-14"0"-47,0 0 16,14 0-16,-1 0 0,1 0 0,-1 0 15,0 0-15,1 0 0,13 0 16,-14 0-16,14 0 0,-14 0 16,1 0-16,-1 0 0,-13 0 15,1 0-15,-1 0 0,0 0 0,0 0 16,0 0-1</inkml:trace>
  <inkml:trace contextRef="#ctx0" brushRef="#br0" timeOffset="-210884.42">18838 6522 0,'14'0'15,"-1"-13"16,-40 13-15,14 0 0,0 13-1,0-13-15,-1 0 16,1 0-16,13 13 0,-13-13 16,26 13-1,-13 1 1,13-14-16,1 13 0,-14 0 15,13-13-15,0 13 0,0 1 16,1-1 0,-14 0-1,-14 0-15,1 1 16,0-1-16,0-13 16,-1 13-16,1-13 0,0 13 15,0-13-15,-1 0 0,-12 13 16,13-13-1,0 0-15</inkml:trace>
  <inkml:trace contextRef="#ctx0" brushRef="#br0" timeOffset="-210547.57">18918 6575 0,'13'40'62,"-26"-80"-62,39 93 0,-13-53 16,1 0-16,-1 0 0,13 0 16,1 0-16,-1 0 15,-13-13-15,1-1 16,-1 1-16,-13 0 15,-13 0 1,-1-1-16,1 1 16,0 13-16,-13-13 0,12 13 0,1 0 15,-13 0-15,12 0 16,1 0-16,-40 0 0,40 13 16,-27 0-16,14-13 0,13 14 15,-1-14-15,1 13 0</inkml:trace>
  <inkml:trace contextRef="#ctx0" brushRef="#br0" timeOffset="-208927.83">23654 10200 0,'0'-14'0,"0"41"93,0-14-77,0 0 15,13-13-31,0 0 16,0 0-16,1 0 0,-1 0 16,0 0-16,0-13 15,1 13-15,12 0 0,-13 0 0,0 0 16,14 0-16,-14 0 0,0 0 0,14 0 15,-1 0-15,-12 0 0,12 0 16,14 0-16,-14 0 0,-13 0 16,14 0-16,-14 0 0,14 0 15,-14 0-15,0 0 0,13 0 16,-12 0-16,-1 0 0,0 13 0,0-13 16,1 0-16,-1 0 0,0 0 15,0 0-15,1 0 16,-1 0-16,0 0 0,-13-13 15,13 13-15,0 0 16,1 0 0,-1-13-1,0 0-15,0-1 32,-13 1-32,0 0 15,0 0-15,0 0 16,0-1-16,-13 1 15,13 0-15,0 0 16,0-1-16,-13 1 16,13 0-1,-13 13-15,13-13 16,-14 13-16,1 0 16</inkml:trace>
  <inkml:trace contextRef="#ctx0" brushRef="#br0" timeOffset="-206828.23">20624 8864 0,'27'13'46,"-14"-13"-30,0 0-16,0 0 0,1 0 0,12 0 16,-13 0-16,14 0 0,-1 0 0,1 0 15,-1 0-15,14 0 0,-14 0 0,14 0 16,-14 0-16,14 0 0,-13 0 16</inkml:trace>
  <inkml:trace contextRef="#ctx0" brushRef="#br0" timeOffset="-206500.8">21603 8864 0,'13'0'0,"1"0"31,-1 0-31,0 0 16,0 0-16,1 0 15,-1 0-15,0-14 0,0 14 16,1 0-16,-1 0 0,0 0 0,0 0 16,0 0-16,14 0 0,-14 0 15,0 0-15,14 0 0,-14 0 0,0 0 16,1 0-16,-1 0 0,13 0 16,-13 14-16,1-14 0,-1 0 0,0 0 15,0 0-15,1 0 0,-1 0 16,0 0-16,0 0 0,0 0 15,1 0-15,-1 0 0,0 0 16,14 0-16,-14 0 16</inkml:trace>
  <inkml:trace contextRef="#ctx0" brushRef="#br0" timeOffset="-205448.99">19116 8837 0,'13'0'16,"1"13"-16,-14 14 16,0-14-16,0 0 0,0 0 15,-14 1-15,14-1 16,0 0-16,-13 0 0,13 1 16</inkml:trace>
  <inkml:trace contextRef="#ctx0" brushRef="#br0" timeOffset="-205229.54">19275 8837 0,'13'-13'16,"-13"39"-1,0-12 1,0-1-1,0 0-15,0 0 16,0 0-16,0 1 16,0-1-16,0 0 15</inkml:trace>
  <inkml:trace contextRef="#ctx0" brushRef="#br0" timeOffset="-201347.81">2844 11946 0,'0'-13'15,"0"39"1,0-13 0,0 1-16,-13-1 0,13 0 15,0 0-15,0 14 0,-13-1 16,13-13-16,-13 14 0,13-1 0,0 1 15,-14-14-15,14 14 0,-13-1 0,13-13 16,0 0-16,-13 1 0,13-1 16,0 0-16,-13 0 0,13 1 0,0-1 15</inkml:trace>
  <inkml:trace contextRef="#ctx0" brushRef="#br0" timeOffset="-200776.48">2686 11893 0,'0'0'16,"0"-13"-16,13 0 0,0 13 15,13-14-15,1 14 0,-1-13 0,14 0 16,13 0-16,0-1 16,0 1-16,13 0 0,66-13 0,-66 12 15,1 1-15,12 0 0,-13 0 16,13-1-16,1 1 0,-14 0 16,13 0-16,1-1 0,-14 1 0,13 0 15,-13 13-15,1-13 0,-15 0 0,-12 13 16,13-14-16,0 14 0,-13-13 15,-14 13-15,1 0 0,-1 0 0,0-13 16,-12 13-16,-1 0 0,0 0 0,0 0 16,1 0-16,-1 0 15,0 0-15,0 0 16,1 0-16,-1 13 16,0-13-16,-13 13 0,13 1 15,14 12-15,-14 0 0,13 1 16,1 26-16,-1-13 15,-13-14-15,1 0 0,-1 14 16,0-13-16,0 12 0,1-12 0,-14-1 16,13 1-16,-13-1 0,0 1 0,13-1 15,-13-13-15,-13 14 0,13 12 16,-13-12-16,-1 13 0,-12-14 0,13 14 16,-27-14-16,14 1 0,-14 12 0,0-12 15,1-1-15,12-13 0,-13 1 16,14 12-16,-1-26 0,1 13 0,0-13 15,12 14-15</inkml:trace>
  <inkml:trace contextRef="#ctx0" brushRef="#br0" timeOffset="-198595.32">8930 11668 0,'0'27'15,"13"-14"1,-13 0-16,0 0 0,0 14 0,0-1 16,13 1-16,-13-1 0,0 1 15,0-1-15,0 0 0,0 14 0,0-13 16,0-1-16,0 27 0,-13-27 16,13 1-16,0-1 15,0-12-15,0 12 0,0-13 0,0 1 16,0-1-16,0 0 0,0 0 15,0 0-15,0 1 0,13-1 16,-13 0 0,13 0-1,1-13 1,-1 0-16,0 0 16,0 0-16,1 0 15,-1 0-15,0 0 0,0 0 16,0 0-16,1 0 0,-1 0 15,0 0-15,0 0 0,1 0 16,-1 0-16,0 0 0,0 0 0,1 0 16,-1 0-16,0 0 0,0 0 15,0 0-15,14 0 0,-14 0 0,0 0 0,1 0 16,12 0-16,-13 0 0,14-13 16,-14 13-16,13 0 0,1 0 15,-14 0-15,14-13 0,-1 13 0,0 0 16,1 0-16,-1-13 0,14 13 0,-13 0 15,12 0-15,14-14 0,-13 14 16,-1 0-16,-12-13 0,13 13 0,-14 0 16,14 0-16,-1 0 0,1-13 0,0 13 15,13 0-15,-14 0 16,14 0-16,-13-13 0,0 13 0,13 0 16,-14 0-16,1 0 0,0 0 0,-1-13 15,1 13-15,-13 0 0,12 0 16,1 0-16,-14 0 0,14 0 0,0 0 15,-14 0-15,27 0 0,-13 0 0,-14 0 16,14 0-16,0 0 0,-14 13 16,14-13-16,-1 0 0,-12 0 0,13 0 15,-14 0-15,27 0 0,-27 13 0,14-13 16,-13 0-16,12 0 0,-12 0 16,-1 0-16,14 13 0,-14-13 0,14 0 15,-13 0-15,-1 0 0,0 0 16,1 0-16,-1 0 0,1 0 0,-1 0 15,27 0-15,-40 0 0,14 0 16,-1 0-16,1 0 0,-1 0 16,-13-13-16,14 13 0,-14 0 0,14 0 15,-14 0-15,0 0 0,14 0 16,-14 0-16,0 0 0,0 0 0,14 0 16,-14 0-16,0 0 0,14-13 15,-14 13-15,0 0 16,0 0-16,14 0 0,-14-13 0,13 13 15,-12 0-15,-1-14 0,0 14 16,14 0-16,-14 0 0,0-13 16,0 13-16,0 0 0,1 0 0,-1 0 15,0-13-15,14 13 0,-14 0 0,0 0 0,0 0 16,1-13-16,-1 13 16,0 0-16,0 0 0,-13-14 0,13 14 15,1 0-15,-1-13 0,0 13 16,0 0-16,-13-13 15,14 13-15,-14-13 0,13-1 16,0 1 0,-13 0-16,13 0 15,-13 0-15,0-1 16,0 1-16,0 0 0,0 0 16,0-1-16,0-12 0,0 13 0,0-1 15,0-12-15,0 13 0,-13-14 16,13 14-16,-13-13 0,13-1 0,-13 14 15,-1-13-15,14-1 0,-13 14 0,0-14 16,-14 1-16,14 13 0,0-14 16,0 14-16,-14-13 0,14-1 15,-40-13-15,27 27 0,-27-27 16,26 27-16,-12-13 0,-1 13 16,-39-14-16,39 14 15,0 0-15,-13-1 0,14 1 0,-1 13 16,-13-13-16,-40 0 0,54-1 15,-1 14-15,-13-13 0,13 13 16,-12 0-16,-41 0 0,40 0 16,0 0-16,0 0 0,13 0 0,-12 0 15,-1 13-15,13-13 0,-13 0 16,13 14-16,-13-14 0,1 13 16,12-13-16,-13 13 0,0-13 0,-40 13 15,40 1-15,14-14 16,-14 13-16,0-13 0,13 13 0,-66 0 15,67-13-15,-14 14 0,0-14 16,-40 13-16,40-13 16,0 13-16,14-13 0,-14 13 0,-27 0 15,41 1-15,-1-14 0,-79 39 16,79-39-16,-13 14 16,14-1-16,-1 13 0,0-26 15,-39 40-15,39-27 0,14 0 16,-40 1-16,39-1 15,1 0-15,13-13 0,-14 13 0,14-13 16,-14 14-16,14-14 0,0 13 16,0-13-16</inkml:trace>
  <inkml:trace contextRef="#ctx0" brushRef="#br0" timeOffset="-195430.38">12475 11867 0,'-13'0'0,"39"-14"31,-12 14-31,-1 0 15,0 0-15,0 0 0,0 0 16,1 0-16,12 0 0,1 0 0,-14 0 16,27-13-16,-14 13 0,0 0 15,14 0-15,13-13 0,-13 13 0,13-13 16,0 13-16,66-14 0,-53 1 16,0 13-16,-13-13 0,13 13 15,0-13-15,0 13 0,0-13 16,14 13-16,-1-14 0,-13 14 0,14-13 15,-14 13-15,13-13 0,54 0 16,-54-1-16,-13 1 0,13 0 16,1 13-16,-14-13 0,0-1 0,80 1 15,-80 0-15,-13 13 16,0-13-16,13 13 0,-13-13 0,0 13 16,-1-14-16,1 14 0,0-13 0,-13 0 15,13 13-15,0-13 0,-13-1 16,12 14-16,1-13 0,-13 0 0,13 13 15,-13-13-15,13-1 0,-14 14 16,14-13-16,40 0 0,-54 0 16,14 13-16,-13-13 0,0-1 0,13 14 15,-14-13-15,1 13 0,13-13 16,-13 13-16,13-13 0,-1 13 0,1-14 16,-13 14-16,13-13 0,0 0 15,0 13-15,13-13 0,0-1 0,0 1 16,-13 0-16,13 13 0,0-13 0,14 0 15,-27-1-15,0 1 0,13 13 16,0-13-16,0 0 0,53-1 16,-66 1-16,13 0 0,-13 13 0,13-13 15,-13 13-15,0-14 0,13 1 16,0 0-16,1 0 0,-1 0 16,0-1-16,0 1 0,0 0 0,53-14 15,-66 14-15,0 0 0,53 0 16,-66 0-16,12-1 15,1 14-15,0-13 0,0 0 0,-13 13 0,13-13 16,0-1-16,-14 14 16,1-13-16,0 13 0,0-13 0,-1 0 15,-12 13-15,-1-14 0,1 14 0,-1-13 16,1 13-16,12-13 0,-12 13 16,-14-13-16,40 0 0,-27 13 15,1-14-15,12 1 0,-12 13 16,-14-13-16,14 13 0,-14 0 15,13-13-15,-13 13 0,14 0 16,-14-14-16,14 14 0,-14-13 0,13 13 16,1 0-16,-14-13 0,13 13 0,-12-13 15,12 13-15,-13-14 0,27 14 16,-27-13-16,14 13 0,-14-13 16,0 13-16,14-13 0,-14 13 0,0 0 15,14-13-15,-14 13 0,0-14 16,13 14-16,-12-13 0,-1 13 0,0-13 15,0 13-15,14-13 0,-14 13 0,0-14 16,1 14-16,-1-13 0,13 13 16,-13 0-16,-13-13 0,14 13 0,-1-13 15,0 13-15,0-13 0,1 13 0,-1-14 16,0 14-16,0-13 16,1 13-16,-1 0 0,-13-13 15,13 13-15,0 0 16,-13-13-16,13 13 15,1 0-15,-14-14 16,13 14-16,0 0 16,0-13-1,1 13 1</inkml:trace>
  <inkml:trace contextRef="#ctx0" brushRef="#br0" timeOffset="-195064.75">20373 10279 0,'66'-13'31,"-53"13"-31,14 0 0,-14 0 16,0 0-16,0 0 0,14 13 0,-14-13 16,0 0-16,1 0 0,12 0 15,-13 13-15,1-13 0,-1 0 0,-13 14 16,13-14-16,0 13 0,-13 0 0,13 0 15,-13 0 1,0 14-16,-13-14 0,13 0 16,-13 1-16,13-1 0,-13 0 15,0 0-15,-1 1 0,14-1 0,-13 0 16,0 0-16,13 0 16,0 1-16</inkml:trace>
  <inkml:trace contextRef="#ctx0" brushRef="#br0" timeOffset="-194607.03">20770 9988 0,'13'0'16</inkml:trace>
  <inkml:trace contextRef="#ctx0" brushRef="#br0" timeOffset="-191371.33">22212 9988 0,'0'13'16</inkml:trace>
  <inkml:trace contextRef="#ctx0" brushRef="#br0" timeOffset="-189410.66">23138 10001 0,'13'0'0,"0"0"16,1 0 15,-1 13-15,-13 1 15,-13-1-15</inkml:trace>
  <inkml:trace contextRef="#ctx0" brushRef="#br0" timeOffset="-167907.76">16007 331 0,'0'-13'0,"14"13"16,-14-14 15,-27 28 32,27-1-63,-13 0 0,13 0 15,-13-13-15,13 13 0,0 14 16,0-14 0,0 0-16,0 1 15,13-14-15,-13 13 0,13-13 16,0 0-16,1 13 15,-1-13-15,0 0 0,0 0 0,0 0 16,1 0-16,-1 0 0,0-13 0,0 13 16,1 0-16,-1 0 0,0-13 15,0 13-15,0-14 0,1 14 16,-1-13-16,0 0 16,0 0-16,-13-1 15,14 14-15,-14-13 16,0 0-16,0 0 15,0 0-15,0-1 0,0 1 0,-14 13 16,14-13-16,-13 0 0,0-1 16,0 1-16,-1 13 15,1 0-15,0-13 0,0 13 16,0 0-16,-1 0 0,1 0 16,13 13-16,-13-13 0,0 0 15,13 13-15,-14 1 0,1-14 0,13 13 16,0 0-16,0 0 15</inkml:trace>
  <inkml:trace contextRef="#ctx0" brushRef="#br0" timeOffset="-167607.44">16510 370 0,'26'0'47,"-12"0"-32,-1-13-15,0 13 0,0 0 0,1 0 16,-1 0-16,0 0 0,0 0 0,1 0 16,-1 0-16,0-13 0,0 13 15</inkml:trace>
  <inkml:trace contextRef="#ctx0" brushRef="#br0" timeOffset="-166982.15">16867 265 0,'27'-14'15,"-54"28"-15,67-28 0,-14 14 16,-26 14-16,14-14 15,-1 13-15,-26 13 16,-1-12-16,1-1 16,13 0-16,-13 0 15,0-13-15,13 13 0,-14 1 0,1-1 16,13 0-16,-13-13 16,13 13-1,13-13 1,14 0-16,-14-13 15,0 13-15,14 0 0,-1-13 16,-13 13-16,14-13 0,-1 13 0,1-14 16,-14 14-16,13-13 0,-12 13 15,-1-13-15,13 13 0,-13-13 0,1 13 16,-1 0 15,0 13-15,0 0-1,14-13 1,-14 0-16,14 0 16,-14 0-16,0-13 15,0 13-15,-13-13 16,13 13-16,-13-13 0,0-1 16,0 1-16,0 0 0,0 0 15,-13 13 1,0-14-16,0 14 15,-14 0-15,14 0 0,0 14 16,0-1-16,-1-13 0,1 13 16</inkml:trace>
  <inkml:trace contextRef="#ctx0" brushRef="#br0" timeOffset="-165968.15">18336 225 0,'13'0'16,"0"0"-16,0-13 0,1 13 16,-1 0-16,0-14 15,0 14 1,-39 14 15,13-14-31,-1 0 0,1 13 16,-13-13-16,12 0 0,1 13 15,0-13-15,0 0 0,13 13 0,-14-13 16,1 0-16,13 14 0,-13-14 16,26 13-16,-13 0 15,13-13-15,1 13 0,-1 1 16,0-14-16,0 13 0,1 0 16,-1-13-16,-13 13 15,13-13-15,-26 13 31,13 1-31,-13-14 16,-1 13-16,1-13 0,0 0 0,0 0 16,-1 13-16,1-13 0,-13 0 0,13 13 15,-1-13-15,1 0 0,-13 14 16</inkml:trace>
  <inkml:trace contextRef="#ctx0" brushRef="#br0" timeOffset="-164863.21">15954 939 0,'40'0'16,"-27"0"-16,1 0 16,-1 0-16,-13 13 0,13-13 15,-13 14-15,-13 12 16,0-13-1,-1 1-15,14-1 0,-13 0 16,0 0-16,0 1 0,13-1 0,-14-13 16,14 13-1,14 0 1,12-26 0,-13 13-16,1 0 15,-1-13-15,13 13 0,-13-13 16,1-1-16,-1 14 0,13-13 0,-12 0 15,-1 13-15,0-13 0,0-1 0,0 1 16,1 0-16,-14 0 16,13 13-16,-13-14 0,13 14 15,0 14 17,-13-1-17,-13 0-15,26 0 16,-13 1-16,0-1 15,0 0-15,0 0 0,0 1 16,14-1-16,-14 0 16,13-13-16</inkml:trace>
  <inkml:trace contextRef="#ctx0" brushRef="#br0" timeOffset="-164662.65">16510 1005 0,'0'0'0,"13"-13"16,0 13 0,1 0-16,-1 0 0,-13-13 15,13 13-15,0 0 0,1 0 0,-1 0 16,0-13-16,0 13 0</inkml:trace>
  <inkml:trace contextRef="#ctx0" brushRef="#br0" timeOffset="-164346.6">17039 847 0,'-40'13'16,"27"0"0,-13 0-16,13 1 15,-1-1-15,1 0 0,0-13 0,13 13 16,-13 0-16,-1-13 0,1 14 16,13-1-1,0 0-15,13 0 16,1-13-16,-1 0 0,0 0 15,0 0-15,1 0 16,-1 14-16,0-28 0,13 14 0,-12 0 16,-1 0-16,0 0 0,14 0 0,-14-13 15,0 13-15,0 0 0</inkml:trace>
  <inkml:trace contextRef="#ctx0" brushRef="#br0" timeOffset="-164160.36">17105 847 0,'-39'26'31,"39"-13"-31,-14-13 0,14 14 16,0-1-16,-13 0 0,13 0 0,0 0 16,0 1-16,0-1 15,0 0-15,0 0 0,13 14 16,-13-14-16,14-13 0</inkml:trace>
  <inkml:trace contextRef="#ctx0" brushRef="#br0" timeOffset="-163871.53">17264 939 0,'0'-13'16,"-13"39"-16,26-39 0,-13 26 31,13-13-16,1 0-15,-14 14 0,13-14 16,0 0-16,13 0 16,-12 0-16,-1-14 15,0 14-15,0 0 0,-13-13 16,14 13-16,-14-13 16,0-13-16,-14 12 15,14 1-15,-13 13 16,0-13-16,0 13 0,-14 13 15,14-13 1,0 0-16,0 0 0,-1 13 16</inkml:trace>
  <inkml:trace contextRef="#ctx0" brushRef="#br0" timeOffset="-163528.43">18256 807 0,'-13'13'32,"13"0"-32,0 1 0,0-1 15,0 0-15,0 0 16,0 1-16,0-1 16,0 0-16,0 0 0,0 0 0,13-13 15,-13 14-15,0-1 16</inkml:trace>
  <inkml:trace contextRef="#ctx0" brushRef="#br0" timeOffset="-163196.1">18561 833 0,'-14'0'16,"1"0"-16,0 0 0,-14 14 16,14-14-16,-13 13 15,26 0 1,13 0 0,0 1-16,0-1 15,1 0-15,-1-13 16,-13 13-16,13-13 0,0 0 0,-13 13 15,14-13-15,-28 14 32,14-1-32,-13-13 0,0 13 15,-40 0-15,26 1 0,14-14 16,-13 0-16,13 13 0,-14-13 0,1 0 16</inkml:trace>
  <inkml:trace contextRef="#ctx0" brushRef="#br0" timeOffset="-162283.41">16192 1521 0,'-13'14'0,"0"-1"0,13 0 16,-40 14-16,27-14 0,0 0 16,0 0-16,-1 0 0,1-13 15,0 14-15,-13-1 16,26 0-16,-14-13 0,14 13 0,-13 1 15,26-1 17,1-13-32,-1 0 0,0 0 15,0 0-15,0 0 0,1 0 0,12 0 16,-13 0-16,1 0 0,-1 0 16,13-13-16,-13 13 0,1 0 0,-1 0 15,0 0-15,0-14 0,1 14 16</inkml:trace>
  <inkml:trace contextRef="#ctx0" brushRef="#br0" timeOffset="-162065.58">16206 1548 0,'-14'0'15,"28"0"-15,-28 13 16,14 0-16,-13-13 15,13 14-15,0-1 16,0 0-16,0 0 0,0 0 0,0 1 16,0-1-16,0 0 0,0 0 0,0 1 15,0-1-15,0 0 0,0 0 0,0 0 16,13 1-16,-13-1 16,14-13-16</inkml:trace>
  <inkml:trace contextRef="#ctx0" brushRef="#br0" timeOffset="-161448.71">16417 1561 0,'-13'0'15,"0"0"-15,0 0 16,-1 0-1,1 0-15,13 13 16,-13-13-16,0 0 16,0 14 15,13-1 125,0 0-156,0 0 16,0 0-16,0 1 15,0-1-15,0 0 0,0 0 0,0 1 16,0-1-16,0 0 16,0 0-16,0 0 15,0-52 17,0 26-17,0-1-15,0 1 16,0 0-16,0 0 0,0-1 0,0 1 15,-14 0-15,14 0 0,0 0 16,0-1 0,14 28-1,-1-14-15,-13 13 16,13-13-16,0 0 0,-13 13 16</inkml:trace>
  <inkml:trace contextRef="#ctx0" brushRef="#br0" timeOffset="-161190.95">16708 1601 0,'-13'0'31,"26"-27"0,1 27-31,-1 0 16,0 0-16,0-13 16,1 13-16,-1 0 0,0 0 0</inkml:trace>
  <inkml:trace contextRef="#ctx0" brushRef="#br0" timeOffset="-160455.6">17119 1455 0,'-27'27'31,"27"-14"-31,0 0 15,-13 0-15,13 27 0,0-27 16,0 1-16,0 12 0,0-13 0,0 0 16,0 1-16,13-1 0,-13 0 15,13 0-15,1 1 0,-1-1 16,0-13-16,0 0 16,0 0-16,-13-13 15,14 13 1,-14-14-16,0 1 15,-14 0-15,14 0 0,-13 13 16,0-14 0,0 1-16,0 13 15,-1-13 1</inkml:trace>
  <inkml:trace contextRef="#ctx0" brushRef="#br0" timeOffset="-160140.18">17264 1468 0,'0'0'16,"13"14"-1,-13 12-15,0-13 16,0 1-16,0-1 16,14 0-16,-14 0 0,13 1 0,0-1 15,0-13-15,-13 13 16,13-13-16,1 0 0,-1 0 0,13 0 15,-12 0-15,-1-13 16,0 0 0,-13-1-16,0 1 15,0 0-15,-13 0 0,13-1 16,-13 14-16,13-13 0,-14 0 16,1 13-16,0 0 15,0-13-15,-1 26 16,1-13-16,0 0 15</inkml:trace>
  <inkml:trace contextRef="#ctx0" brushRef="#br0" timeOffset="-156735.4">18243 1495 0,'13'26'47,"-13"-12"-47,0-1 16,0 0-16,0 0 0,0 1 15,0-1-15,0 0 0,0 0 16,0 0-16,0 1 16,0-1-16</inkml:trace>
  <inkml:trace contextRef="#ctx0" brushRef="#br0" timeOffset="-156204.33">18600 1482 0,'-26'13'16,"13"-13"-1,-1 0-15,1 13 0,0-13 16,0 0-16,13 13 16,13 1 15,0-14-31,-13 13 0,13-13 16,14 26-1,-14-26-15,-13 14 16,0-1-1,-13 0-15,0 0 16,-1-13-16,1 13 0,-13-13 16,12 14-16,-12-14 0,13 13 15,-14 0-15,14-13 0,-13 0 0,12 13 0,1-13 16,0 0-16</inkml:trace>
  <inkml:trace contextRef="#ctx0" brushRef="#br0" timeOffset="-154895.52">16272 2368 0,'0'26'46,"0"-12"-46,0-1 0,0 0 16,0 0-16,0 1 0,0-1 16,0 0-16,0 0 0,0 14 0,0-14 15,0 0-15,13 0 0,-13 1 16,13-1-16,-13 0 0,14 0 16,-1-13-16,-13 14 15,13-14-15,0 0 16,0-14-16,1 14 0,-1-13 15,-13 0 1,0 0 0,0-1-16,-13 14 0,13-13 15,-14 0 1,1 13-16,0-13 16,0 13-1,0 0 1</inkml:trace>
  <inkml:trace contextRef="#ctx0" brushRef="#br0" timeOffset="-154283.49">16457 2421 0,'0'-13'16,"0"39"-1,13-26 1,-13 13-16,0 1 0,0-1 0,0 0 16,0 0-16,0 1 0,0-1 0,14-13 15,-14 13-15,0 0 0,0 0 16,0 1-16,0-1 0,0 0 16,13 0-1,0-13 1</inkml:trace>
  <inkml:trace contextRef="#ctx0" brushRef="#br0" timeOffset="-153984.31">16854 2646 0,'0'-13'31,"13"-1"-31,0 14 16,1 0-16,-1 0 15,0-13-15,0 13 0,1 0 16,-1 0-16,0 0 0,13-13 16,-12 13-16,-1 0 0,0 0 0,0 0 15</inkml:trace>
  <inkml:trace contextRef="#ctx0" brushRef="#br0" timeOffset="-153092.18">17449 2461 0,'-13'-27'0,"0"27"32,13-13-32,-13 13 15,13 13 16,13 0-31,-13 1 16,0-1-16,13-13 0,-13 13 16,13 0-16,-13 1 0,13-1 0,-13 0 15,14 0-15,-14 0 0,0 1 0,0-1 16,0 0-16,0 0 16,0 1-16,-14-14 0,14 13 0,-13 0 15,0-13-15,13 13 0,-13-13 16,0 0-16,-1 0 15,14-13 1,0 0-16,0 0 16,14 13-16,-14-14 15,13 1-15,0 0 16,0 0-16,-13-1 0,13 1 0,1 0 16,-14 0-16,13 0 0,-13-14 15,0 14-15,0 0 16,0-1-16,0 1 15,-13 0-15,-1 13 16,1 0 0,0 0-16,0 0 15</inkml:trace>
  <inkml:trace contextRef="#ctx0" brushRef="#br0" timeOffset="-152791.62">17568 2474 0,'14'13'15,"-14"27"1,13-27-16,0 0 16,0-13-16,0 0 15,1 0-15,12 0 16,-13 0-16,1 0 0,-14-13 15,13 13-15,0-13 0,0 0 16,-13-1-16,14 1 0,-14 0 16,-14 0-16,14-1 15,-13 1-15,0 0 16,0 13-16,-1 0 0,1 0 16,0 0-16,0 0 0,-1 13 0,1-13 15,0 0-15,13 13 0,-13-13 0,0 14 16,-1-14-16</inkml:trace>
  <inkml:trace contextRef="#ctx0" brushRef="#br0" timeOffset="-150250.4">18402 2368 0,'-13'0'16,"13"13"0,0 0-16,-14 1 0,14-1 15,0 0-15,0 0 0,-13 1 16,13-1-16,0 0 15,0 0-15,0 1 16,0-1-16</inkml:trace>
  <inkml:trace contextRef="#ctx0" brushRef="#br0" timeOffset="-149952.33">18521 2408 0,'0'0'15,"-13"39"1,13-25 0,0-1-1,13-13-15,-13 13 0,13-13 16,0 0 0,1 0-16,-1 0 15,-13-13-15,13 13 0,-13-13 16,0-1-1,0 1-15,0 0 16,-13 0 0,-14-1-16,27 28 15,-26-14-15,-1 13 16,1-13-16,13 13 0,-14 0 16</inkml:trace>
  <inkml:trace contextRef="#ctx0" brushRef="#br0" timeOffset="-148819.25">16563 3321 0,'0'-14'0,"-13"1"16,-1 13-1,1-13 1,0 26-1,13 14 1,0-14 0,0 0-16,0 0 0,13 0 0,-13 14 15,0-14-15,0 0 16,13 14-16,-13-1 0,0-13 16,-13 1-16,13-1 0,-13 27 15,13-27-15,-13 0 0,-27 27 31,27-40-15,0-13 0,52-27 15,-25 27-31,-14-1 16,13 1-16,-13-13 15,13-93 32,-13 105-47,-13 1 0,13 0 16,-13 13-16,-1 0 15</inkml:trace>
  <inkml:trace contextRef="#ctx0" brushRef="#br0" timeOffset="-148642.29">16642 3307 0,'40'40'31,"-40"79"16,-40-278-47,80 331 0,-40-159 0,0 1 15,0-1-15,13 0 0</inkml:trace>
  <inkml:trace contextRef="#ctx0" brushRef="#br0" timeOffset="-148424.54">16907 3466 0,'0'-13'15,"13"13"-15,-13-13 16,27-1 0,-14 14-16,0 0 15,0-13-15,0 13 0</inkml:trace>
  <inkml:trace contextRef="#ctx0" brushRef="#br0" timeOffset="-147876.48">17383 3254 0,'0'-13'15,"-13"13"-15,0 0 16,-14 0-16,14 13 16,0-13-1,0 14-15,-1-1 16,14 0-16,-13-13 0,13 13 16,0 1-16,13-1 31,1-26-31,-1 13 15,0 0-15,13-14 16,27-12 15,-39 26 1,-14 13-32,0 27 15,0-27 1,0 13-16,-14 54 31,14-67-31</inkml:trace>
  <inkml:trace contextRef="#ctx0" brushRef="#br0" timeOffset="-147523.55">17582 3294 0,'-14'40'31,"28"-80"-15,-28 93-16,28-40 0,-1 0 15,0-13-15,0-13 16,0 13-16,1 0 15,-1-13-15,0 0 16,0 13-16,-13-13 0,0-1 16,14 1-16,-14 0 15,-14 0 1,14-1-16,-13 14 16,-13 0-16,12 0 15,1 0-15,0 14 0,0-14 16,0 13-16,-1-13 15,1 13-15</inkml:trace>
  <inkml:trace contextRef="#ctx0" brushRef="#br0" timeOffset="-145811.56">17092 3294 0,'0'40'16,"0"-27"-16,13 13 16,-13-12-16,0 12 15,14-13-15,-14 1 0,0 12 0,0-13 16,13 0-16,-13 1 0,0-1 0,0 0 16,13 0-16,-13 1 15</inkml:trace>
  <inkml:trace contextRef="#ctx0" brushRef="#br0" timeOffset="-145277.74">17304 3281 0,'-13'13'31,"-1"-13"-31,14 13 0,0 1 0,-13-1 16,13 13-16,0-13 0,0 14 16,0-14-16,0 0 0,0 1 15,0-1-15,13 13 0,-13-13 16,14 1-16,-1-1 0,-13 0 16,13-13-16,0 0 0,0 0 15,1 0 1,-1 0-16,13-13 0,-12-14 15,-14 14-15,13-13 16,-13 13-16,0-1 0,0 1 16,0 0-16,0 0 0,0-14 15,-13 14-15,13 0 0,0 0 0,-14-1 16,1 14-16,-53 27 47,66-14-32</inkml:trace>
  <inkml:trace contextRef="#ctx0" brushRef="#br0" timeOffset="-144861.39">17634 3281 0,'-52'92'47,"52"-78"-31,0 12-16,13-13 0,-13 1 0,39-173 15,-65 331-15,39-146 0,0-13 16,1-13-16,-1 0 15,0 0-15,0 0 0,1 0 0,-1-13 16,13 0-16,-12 0 0,-1 0 16,0-1-16,0 1 15,-13 0-15,0 0 0,0-1 16,-13 1-16,13 0 0,-13 13 16,13-13-16,-13 0 0,-1 13 0,-12-14 15,13 14-15,-1 0 16,-25 0-16,12 0 15,14 0-15,0 14 0,0-14 0,-1 0 16,1 13-16,0 0 0,0 0 16</inkml:trace>
  <inkml:trace contextRef="#ctx0" brushRef="#br0" timeOffset="-141841.39">18362 3307 0,'0'14'31,"0"-1"-31,0 0 15,0 0-15,0 0 0,0 1 16,0-1-16,0 0 16,0 0-16,-13 1 0,13-1 15,0 0-15,0 0 0,0 0 0</inkml:trace>
  <inkml:trace contextRef="#ctx0" brushRef="#br0" timeOffset="-139980.3">18508 3175 0,'13'0'16,"-26"-13"15,-1 26 1,1-13-32,13 13 15,-13-13-15,0 13 0,-1 1 0,1-1 16,13 0-16,-13 0 0,0 1 0,13-1 15,-13 13-15,-1-12 16,1 25-16,13-12 0,0-14 16,-13 27-16,13-27 0,0 0 15,0 0-15,0 0 0,0 1 16,0-1-16,0 0 0,0 0 0,13 1 16,-13-1-16,13-13 15,-13 13-15,14-13 0,12 0 16,-13 0-1,0 0-15,1 0 0,-1-13 16,0 13-16,0-13 16,-13-1-16,14 14 15,-14-13-15,0 0 0,0 0 16,-14-1-16,14 1 0,-13 13 0,13-13 16,-13 0-16,0 13 0,-1-13 15,1-1-15,0 14 0,-13-13 16,12 13-16,1 0 15,-13 0 1,12 0-16,14 13 16</inkml:trace>
  <inkml:trace contextRef="#ctx0" brushRef="#br0" timeOffset="-137816.28">18534 146 0,'0'-14'16,"0"1"0,13 13-1,-13-13-15,14 13 0,-1 0 16,0 0-16,0 0 16,0 0-16,1 0 15,-1 13-15,0-13 0,-13 13 0,13 1 16,1-14-16,-1 13 0,-13 0 0,13 0 15,-13 0-15,13 1 0,0 25 16,-13-25-16,0-1 0,14 27 16,-14-14-16,0-13 0,0 14 15,0-1-15,0 1 0,0-1 16,-14 0-16,14 1 0,0-1 0,0 14 16,0 0-16,0-1 0,-13 1 15,13 0-15,0 0 0,0-1 0,-13-12 16,13-1-16,0 14 0,0-1 15,13-25-15,-13 65 0,13-39 0,-13-1 16,14-12-16,-14-1 16,13-12-16,0 25 0,0-25 15,1 12-15,-1-13 0,0 14 0,0-14 16,1-13-16,-1 13 0,13-13 16,-13 0-16,1 13 0,12-26 15,-13 13-15,1 0 0,-1-13 16,0 13-16,0-13 15,1-1-15,-14 1 16,13 13-16,-40 13 47,27 1-47,-13 12 0,0-13 16,0 40-16,-1-13 0,1-14 15,13 14-15,-13 0 0,0 0 16,13-14-16,0 14 0,-14-1 0,14 1 15,0-14-15,0 14 0,0-13 0,0-1 16,14 1-16,-14 12 16,0 1-16,0-14 0,13 41 15,0-41-15,-13 14 0,27 26 16,-27-40-16,13 1 0,-13 12 16,13-12-16,0-1 0,-13 1 0,14 12 15,-1-12-15,-13-1 0,13 1 0,-13 13 16,13-14-16,-13 0 0,13 27 15,-13-26-15,0-1 0,0 1 16,14-1-16,-14 1 0,0-1 0,13 1 16,-13-1-16,0-13 0,13 14 0,-13-1 15,13 14-15,1-14 0,-14 1 16,13-1-16,0 1 0,-13-14 0,13 13 16,-13 1-16,14-14 0,-14 14 0,13-14 15,-13 13-15,13-13 0,-13 14 16,13-1-16,-13 14 15,0-27-15,13 1 0,-13-1 16,0 0-16,0 13 0,-13-12 16,13-1-16,-13 0 0,0 0 15,0-13-15,-1 14 16,1-14-16,-13 0 0,12 0 0,-25 0 16,12-14-16,-12 14 0,-1-13 0</inkml:trace>
  <inkml:trace contextRef="#ctx0" brushRef="#br0" timeOffset="-136716.12">15280 675 0,'0'0'0,"13"0"46,13 0-46,-12 0 16,-1-14-16,0 14 16,14 0-16,-14 0 0,0-13 0,0 13 15,0 0-15,1-13 0,25 0 16</inkml:trace>
  <inkml:trace contextRef="#ctx0" brushRef="#br0" timeOffset="-135840.46">16232 489 0,'-26'0'16</inkml:trace>
  <inkml:trace contextRef="#ctx0" brushRef="#br0" timeOffset="-135084.47">16206 1085 0,'0'13'16,"13"-13"15</inkml:trace>
  <inkml:trace contextRef="#ctx0" brushRef="#br0" timeOffset="-134756.45">17211 979 0</inkml:trace>
  <inkml:trace contextRef="#ctx0" brushRef="#br0" timeOffset="-134208.66">16523 1759 0</inkml:trace>
  <inkml:trace contextRef="#ctx0" brushRef="#br0" timeOffset="-133364.37">16325 2818 0</inkml:trace>
  <inkml:trace contextRef="#ctx0" brushRef="#br0" timeOffset="-133052.52">17462 2659 0,'-26'0'16</inkml:trace>
  <inkml:trace contextRef="#ctx0" brushRef="#br0" timeOffset="-132520.3">16536 3559 0,'-13'0'15,"40"-14"16,-14 14-31</inkml:trace>
  <inkml:trace contextRef="#ctx0" brushRef="#br0" timeOffset="-132282.29">17423 3440 0</inkml:trace>
  <inkml:trace contextRef="#ctx0" brushRef="#br0" timeOffset="-129012.58">18455 437 0,'13'13'0,"0"-13"94</inkml:trace>
  <inkml:trace contextRef="#ctx0" brushRef="#br0" timeOffset="-126984.08">20624 3717 0,'0'-13'16,"0"0"-16,0 0 31,14-1 0,-1 14-15,0 0-16,0 0 16,0 0-16,1 0 15,-1 0-15,13-13 16,-12 13 0,-1 0-16,0 0 15,-13 13-15,13 1 31,-13-1 1</inkml:trace>
  <inkml:trace contextRef="#ctx0" brushRef="#br0" timeOffset="-126434.33">20981 3664 0,'0'-13'16,"0"0"-16,0 0 0,-13 0 15,13-1-15,0 1 16,0 0-16,0 0 16,0-1-1,13 14 1,1-13-16,-1 13 31,0 0-31,0 0 0,1 0 16,-1 0-16,0 0 0,0 0 15,1 0-15,-1 0 16,0 0 0,0 0-16,0 0 15,1 0 1,-14-13 0</inkml:trace>
  <inkml:trace contextRef="#ctx0" brushRef="#br0" timeOffset="-125855.9">21299 3413 0,'0'-13'15,"0"-27"17,0 14-32,0 13 15,0-1-15,0 1 16,13 0-16,-13 0 15,0-1-15,13 14 16,-13-13-16,14 13 16,-14-13-16,13 13 15,0 0-15,0-13 16,1 13 0,-1 0-16,0 0 15,0 0-15,-13-14 16,13 14-1,1 0 17,-1 0-17</inkml:trace>
  <inkml:trace contextRef="#ctx0" brushRef="#br0" timeOffset="-125195.31">21643 3016 0,'0'-26'0,"0"52"0,0-65 0,0 25 15,0 1-15,0 0 16,0 0-16,0-1 0,0 1 0,0 0 15,-13-27-15,13 27 0,0-13 16,0 12-16,0 1 0,0-13 16,0 12-16,0-12 0,0 13 0,0-14 15,0 14-15,0 0 0,0-14 16,0 14-16,13-13 0,-13 12 16,0 1-16,0 0 0,0 0 0,0 0 15,0-1-15,0 1 16,0 0-16,0 0 15,0-1-15,0 1 0,13 0 16,-13 0 0,0-1-1,0 1-15,0 0 32,13 13-32,1-13 15,-1 13-15,0 0 16,0 0-16,1 0 15,-1-13-15,0 13 0,0 0 16,0 0-16,1-14 0,-1 14 0,0 0 16,0 0-16,1-13 15,-1 13-15,0 0 16,0 0 0</inkml:trace>
  <inkml:trace contextRef="#ctx0" brushRef="#br0" timeOffset="-124678.64">22066 2540 0,'0'-13'16,"27"0"-1,-1 13 1,-13 0-16,1 0 15,-1 0-15,0 0 0,0 0 0,1 0 16,12 0-16,-13 0 0,0 0 0,1 0 16,-1 0-16,0 0 15,0 0-15,1 0 0,-1 0 16,0-14 0,0 14-1</inkml:trace>
  <inkml:trace contextRef="#ctx0" brushRef="#br0" timeOffset="-123908.27">22371 2342 0,'0'-14'16,"0"1"-1,0 0-15,0 0 16,0-1-16,0 1 0,0 0 16,0 0-16,0-1 0,0 1 0,0 0 15,0-13-15,0 12 0,0-12 16,0 13-16,0-14 0,0 1 0,0-1 15,0-12-15,0 12 0,0 1 0,0-1 16,0-12-16,0 12 0,0 1 16,0-1-16,0 1 0,0-1 15,0 1-15,-14-1 0,14 1 0,0-1 0,0 14 16,0-13-16,-13-1 16,13 14-16,0 0 0,0-14 0,0 14 15,-13 0-15,13 0 0,0-1 0,0 1 16,0 0-16,0-13 0,0 12 15,0 1-15,0 0 16,-13 0-16,13-1 0,0 1 0,0-13 16,0 12-16,0 1 15,0 0-15,-14 0 0,14 0 0,0-1 16,-13 1-16,13 0 16,-13 13-16,13-13 15,0-1-15,13 14 31,0 0-31,1 0 16,-1 0-16,0 0 0,0 0 16,14 0-16,-1 0 0,1 14 0,-14-14 15,13 0-15,1 0 0,-1 0 0,-13 0 16,14 13-16,-14-13 0,14 0 16,-14 0-16,0 0 0,0 13 0,1-13 15,-1 0-15,0 0 0,0 13 16,0-13-1</inkml:trace>
  <inkml:trace contextRef="#ctx0" brushRef="#br0" timeOffset="-122910.27">22781 476 0,'0'0'16,"0"-13"-1,-14 0 17,14 0-32,0-1 15,0-12 1,0 13-16,0-1 0,0 1 15,0 0 1,-13 0-16,13 0 16,0-1-1,13 1 1,1 13 0,-1 0-16,0 0 15,0 0-15,1 0 0,12 0 16,-13 0-16,0-13 0,1 13 15,12 0-15,-13 0 0,1 0 0,-1 0 16,0 0-16,0 0 0,1 0 16,-1 0-16,-13 13 15,13-13-15,0 13 16,-13 1-16,0-1 16,0 0-16,0 0 0,0 0 15,0 1-15,0-1 16,0 13-16,13-12 0,-13-1 0</inkml:trace>
  <inkml:trace contextRef="#ctx0" brushRef="#br0" timeOffset="-122099.1">23257 2170 0,'13'0'0,"14"0"16,-14 0-16,0 0 16,0 0-16,0 0 0,1 0 15,-1 13-15,0-13 16,0 0-16,1 0 0,-1 0 16,-13 13-16,13-13 0,0 13 15,1 0 1,-14 1-1,13-14-15,-13 13 16,0 0 0,0 0-16,13 1 0,-13-1 15,0 0-15,0 0 0</inkml:trace>
  <inkml:trace contextRef="#ctx0" brushRef="#br0" timeOffset="-121530.29">23707 3082 0,'26'-13'0,"-52"26"0,65-26 16,-25 13-16,-1 0 0,0 0 15,0 0-15,0 0 16,1 0-16,-1 0 0,0 0 15,0 0-15,1 13 0,-1-13 16,0 14 0,-13-1-16,13 0 15,-13 0-15,0 1 16,0-1-16,0 0 0,0 0 16,0 0-16,0 1 15,14-14 1,-14 13-16</inkml:trace>
</inkml:ink>
</file>

<file path=ppt/ink/ink17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2:52:56.414"/>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6813 3797 0,'66'0'16,"-26"-13"-16,13 13 0,13-14 0,0 1 16,13 13-16,1-13 0,-1 13 0,1-13 15,-1-1-15,14 14 0,-1-13 16,-12 13-16,-1 0 0,0-13 0,1 13 16,-14 0-16,40-13 0,-53 13 15,-1 0-15,-12 0 0,0-14 16,-14 14-16,1 0 0</inkml:trace>
  <inkml:trace contextRef="#ctx0" brushRef="#br0" timeOffset="228">8189 3797 0,'26'13'15,"-12"-13"1,-1 0-16,0 0 0,13 0 0,-12 0 16,12 0-16,14 0 0,-14 0 15,14 0-15,0 0 0,-1 0 0,1 0 16,-14 0-16,14 0 0,-13 0 16,52 0-16,-53 0 0,14 0 15</inkml:trace>
  <inkml:trace contextRef="#ctx0" brushRef="#br0" timeOffset="2380.67">22834 7422 0,'-14'0'31,"14"13"1,0 0-17,0 0-15,0 0 16,0 1-16,0-1 16,0 0-16,-13 0 0,13 1 15,0-1-15,0 0 16,0 14-16,13-14 15,-13 0 1,14-13-16,-1 0 0,0 13 16,0-13-16,0 0 0,1 0 15,12 0-15,-13 0 0,14 0 0,-14 0 16,14 0-16,-1 0 0,0 13 16,-12-13-16,12-13 0,1 13 0,-14 0 15,13 0-15,-12 0 0,12 0 16,-13 13-16,0-13 0,1 0 0,-1 0 15,0 0-15,0 0 0,1 0 0,-1 0 16,13 0-16,-13 0 31,1 0-31,-1 0 16,-13-13 0,0 0-1,0 0 1,-13-14-1</inkml:trace>
  <inkml:trace contextRef="#ctx0" brushRef="#br0" timeOffset="3040.81">23072 4220 0,'-80'93'32,"67"-54"-32,-13 1 0,-1 0 0,1-1 15,-1 14-15,14-13 0,-13 0 16,12-14-16,1 14 0,-13 0 0,12-14 15,1 0-15,0 1 0,13-1 16,-13-12-16,13-1 0,-14 0 0,14 0 16,0 1-16</inkml:trace>
  <inkml:trace contextRef="#ctx0" brushRef="#br0" timeOffset="3294.91">23178 4564 0,'-14'53'31,"1"-40"-31,0 27 0,0-14 16,-14 1-16,1 26 0,-1-14 0,1 1 15,-1 0-15,1 13 0,-1-14 0,1 1 16,-1 13-16,1-27 0,13 14 15,-14-13-15,14-1 0,0 1 0,0-1 16,-1-13-16,1 0 0,0 1 0,13-1 16,0 0-16</inkml:trace>
  <inkml:trace contextRef="#ctx0" brushRef="#br0" timeOffset="3562.89">23283 4974 0,'0'40'31,"-13"-27"-31,0 27 0,0-14 0,-1 14 16,-12 0-16,0 13 0,-14-14 0,13 14 15,-12 0-15,12-13 0,-12 13 16,12 0-16,-13-1 0,14-12 15,-40 40-15,39-41 0,14-12 16,-13-1-16,12 1 0,1-1 16,-13 1-16,26-14 0,-14 0 15,14 0-15</inkml:trace>
  <inkml:trace contextRef="#ctx0" brushRef="#br0" timeOffset="3821.89">23270 5583 0,'0'0'0,"0"26"0,0-13 0,0 1 16,-13 12-16,0 1 0,-14-1 15,14 14-15,-13-14 0,-1 27 0,-26 26 16,13-39-16,14 0 0,-14-1 15,14 1-15,-1 0 0,14-14 16,-13 1-16,12-1 0,-12 1 0,26-14 16,-26 13-16,26-12 0,-14-1 15</inkml:trace>
  <inkml:trace contextRef="#ctx0" brushRef="#br0" timeOffset="4073.32">23416 5966 0,'0'14'0,"-14"-1"0,14 0 16,-13 0-16,0 0 0,0 1 16,-1 12-16,-12 1 0,13 12 0,-14-12 15,14-1-15,0 1 0,-14 12 16,-12 28-16,26-41 0,-14 0 15,14 14-15,-14-13 0,14 12 16,-27 1-16,40-14 0,-13-12 16,0 12-16,0-13 0,0 14 0,-1-1 15,14-12 1,-13-1-16</inkml:trace>
  <inkml:trace contextRef="#ctx0" brushRef="#br0" timeOffset="4321.82">23389 6429 0,'-13'27'16,"0"-27"-16,13 26 0,-14-12 0,1-1 15,-13 13-15,13 14 0,-14-14 0,-39 54 16,40-41-16,-1 1 15,-13 0-15,14-14 0,-14 14 16,-13 26-16,27-26 0,-1-14 16,14 1-16,-13-14 0,12 13 0,14-12 15,-13-1-15,0-13 0,13 13 16</inkml:trace>
  <inkml:trace contextRef="#ctx0" brushRef="#br0" timeOffset="4714.71">22781 6416 0,'66'40'0,"-53"-27"15,13 0-15,1 14 0,13-14 0,132 106 31,-159-106-15,0 1-16,0-14 0,1 13 0,-1-13 16,0 13-16,0-13 15,0-13-15,1 0 16,-14-1-16,0 1 16,0-13-16</inkml:trace>
  <inkml:trace contextRef="#ctx0" brushRef="#br0" timeOffset="4960.92">22900 5927 0,'26'0'16,"-13"0"-16,1 13 15,-1 0-15,13-13 16,1 27-16,12-14 0,-12 0 0,-1 13 15,1-12-15,-1-1 0,1 0 0,-14 0 16,13 1-16,-12-1 0,-1-13 16,0 13-16,0-13 0,1 13 0,-1-13 15,0 0-15,0 0 16,-13-13 0</inkml:trace>
  <inkml:trace contextRef="#ctx0" brushRef="#br0" timeOffset="5198.81">22847 5437 0,'0'0'0,"26"27"16,-13-27-1,1 13-15,12 0 0,1 14 0,-1-14 16,14 13-16,-14-13 0,1 14 0,-1-14 15,1 0-15,-1 1 16,1-1-16,-14 0 0,0 0 0,0-13 16,0 14-16,1-1 0,-1-13 15,0 0-15</inkml:trace>
  <inkml:trace contextRef="#ctx0" brushRef="#br0" timeOffset="5453.84">22834 5054 0,'13'0'0,"146"79"31,-133-66-31,14 14 16,-1-14-16,1 0 0,-13 14 15,12-14-15,14 13 0,-26-13 16,-14-13-16,0 14 0,27-1 16,-27-13-16,0 0 0,0 0 15,1 0-15,-14-13 16</inkml:trace>
  <inkml:trace contextRef="#ctx0" brushRef="#br0" timeOffset="5691.91">22966 4577 0,'26'14'16,"-12"-1"-1,-1 0-15,0 0 0,13 0 16,1 14-16,-1-14 0,1 14 0,-1-14 15,1 13-15,12 1 16,-12-14-16,-14 0 0,0 0 16,1 1-16,-1-1 0,0-13 0,0 13 15,0-13-15</inkml:trace>
  <inkml:trace contextRef="#ctx0" brushRef="#br0" timeOffset="5879.29">23006 4392 0,'39'27'0,"-26"-14"16,14 0-16,13 13 0,-14-12 15,80 52 1,-80-53-16,1 14 0,-1-14 15</inkml:trace>
  <inkml:trace contextRef="#ctx0" brushRef="#br0" timeOffset="8743.62">12912 8916 0,'13'-13'0,"0"26"16,-13 1-16,13-1 15,-13 0-15,0 14 0,14-14 16,-14 13-16,0-12 0,0 12 0,0 0 16,0 1-16,0-1 0,0 1 15,0-14-15,0 14 0,0-1 16,0-13-16,0 14 0,0-14 0,0 0 16,0 0-16,-14 1 0,14-1 15,14 0-15</inkml:trace>
  <inkml:trace contextRef="#ctx0" brushRef="#br0" timeOffset="9143.94">13309 8996 0,'-14'0'31,"1"13"-31,-13 0 0,12-13 0,1 14 16,0-1-16,-14-13 0,14 13 15,0 0-15,13 0 0,-13-13 0,0 14 16,13-1-16,0 0 16,13-13-16,-13 13 15,13-13-15,0 14 0,27-14 16,-27 13-16,14-13 0,-14 0 15,0 13-15,14-13 0,-14 0 0,0 13 16,0-13-16,0 14 16,1-1-16,-28 0 15,14 0-15,-13 0 16,0 1-16,0-14 0,0 13 16,-1-13-16,1 13 0,0-13 0,0 13 15,-14-13-15,14 0 0,0 0 16,-1 0-1</inkml:trace>
  <inkml:trace contextRef="#ctx0" brushRef="#br0" timeOffset="9442.76">13586 8996 0,'14'-13'0,"-28"26"0,14-26 15,-26 13-15,13 13 16,-1 0-16,1-13 16,13 13-16,-13-13 0,13 14 0,0-1 15,0 0-15,13 0 0,0 0 16,1 1 0,-1-1-16,0 0 15,0-13-15,-13 13 0,14-13 0,-14 14 16,13-14-16,-13 13 0,0 0 15,0 0-15,-13 1 16,-1-1-16,1 0 0,0 0 16,-14 0-16,-12 14 0,26-14 15,-27 0-15,13 1 0,1-1 16</inkml:trace>
  <inkml:trace contextRef="#ctx0" brushRef="#br1" timeOffset="15340.77">21841 5464 0,'0'-14'0,"-26"28"15,13-1 1,-1 0-16,-12 27 0,0-14 15,-1 1-15,1-1 0,-1 14 0,1-14 16,-1 1-16,1-1 0,-1 1 16,1-1-16,-1 1 0,1 12 15,13-25-15,-1-1 0,14 0 16,-13 0-16</inkml:trace>
  <inkml:trace contextRef="#ctx0" brushRef="#br1" timeOffset="15583.82">21855 5768 0,'13'13'31,"-26"0"-31,13 1 0,-14-1 16,1 0-16,0 0 0,-14 14 0,1-1 15,13 1-15,-14-1 16,1 1-16,-1-1 0,-26 27 16,27-40-16,0 14 0,-1 12 15,14-25-15,0-1 0,-1 0 0,1-13 16,13 13-16,-13-13 16</inkml:trace>
  <inkml:trace contextRef="#ctx0" brushRef="#br1" timeOffset="15834.96">21868 6059 0,'13'13'0,"-26"0"15,0 1-15,-1-1 0,1 13 16,-27 14-16,27-14 0,-13 1 15,13-14-15,-14 14 0,1-1 16,12 1-16,-25 12 0,25-26 16,1 14-16,0-14 0,0 0 15,0 1-15,-1-1 0,1 0 16,13 0-16,0 1 16</inkml:trace>
  <inkml:trace contextRef="#ctx0" brushRef="#br1" timeOffset="16066.9">21828 6390 0,'-13'13'16,"13"0"-16,-13 0 0,-1 14 15,1-14-15,0 0 0,0 1 0,0 12 16,-1-13-16,-12 14 15,13-1-15,-14 1 0,-13 26 16,27-27-16,0-13 0,-13 27 16,12-27-16,1 0 0,0 1 15,13-1-15,-13 0 0,13 0 16</inkml:trace>
  <inkml:trace contextRef="#ctx0" brushRef="#br1" timeOffset="16287.95">21722 6734 0,'-13'13'16,"13"0"-16,0 0 16,-13 1-16,0-1 0,-1 0 0,1 0 15,13 0-15,-13 14 0,-14-1 16,14-12-16,-13 25 0,13-25 15,-1-1-15,-12 13 0,13-13 16,13 1-16,-14-1 0</inkml:trace>
  <inkml:trace contextRef="#ctx0" brushRef="#br1" timeOffset="16631.91">21444 6615 0,'40'13'16,"-80"-26"-16,93 26 0,-39 0 0,-1-13 16,0 13-16,0 1 0,1-1 15,12-13-15,-13 13 0,0 0 0,1 0 16,-1-13-16,0 14 0,0-1 0,1-13 16,-1 13-16,0-13 0,0 0 15,1 13-15,-1-13 0,13 0 16</inkml:trace>
  <inkml:trace contextRef="#ctx0" brushRef="#br1" timeOffset="16895.06">21577 6350 0,'26'0'16,"-13"13"-1,14 0-15,-1 14 16,-12-27-16,12 26 16,-13-12-16,14-1 0,-1 0 15,-13-13-15,1 13 0,-1 1 16,0-14-16,0 0 15,1 0 1</inkml:trace>
  <inkml:trace contextRef="#ctx0" brushRef="#br1" timeOffset="17140.12">21577 5993 0,'26'13'32,"-13"0"-17,1-13-15,-1 13 0,0 1 0,0-1 16,27 0-16,-27 0 0,1 1 16,12-1-16,0 13 15,-12-26-15,-1 14 0,0-14 0,0 13 16,1-13-16,-1 0 0,0 0 0,0 0 15</inkml:trace>
  <inkml:trace contextRef="#ctx0" brushRef="#br1" timeOffset="17379.16">21524 5636 0,'40'26'15,"-14"1"-15,14-1 16,185 67 15,-199-80-31,-13 0 0,27 14 16,-14-14-16,-12-13 15</inkml:trace>
</inkml:ink>
</file>

<file path=ppt/ink/ink17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2:53:24.861"/>
    </inkml:context>
    <inkml:brush xml:id="br0">
      <inkml:brushProperty name="width" value="0.05292" units="cm"/>
      <inkml:brushProperty name="height" value="0.05292" units="cm"/>
      <inkml:brushProperty name="color" value="#FF0000"/>
    </inkml:brush>
  </inkml:definitions>
  <inkml:trace contextRef="#ctx0" brushRef="#br0">5398 5305 0,'-14'13'15,"14"0"-15,0 1 0,0-1 16,0 13-16,0 1 0,-13-1 16,13 14-16,0-14 0,0 14 0,0-14 15,0 1-15,0-1 0,0 1 16,0-1-16,0 27 0,0-26 15,-13-14-15,13 13 0,0-12 16,0-1-16,0 0 0,0 0 16,-13-13-16,13-26 31</inkml:trace>
  <inkml:trace contextRef="#ctx0" brushRef="#br0" timeOffset="1253.99">5318 5265 0,'40'13'31,"-27"-13"-15,0 0-16,1 0 0,-1 0 15,0 0-15,0 0 0,0 0 0,14 0 16,-14 0-16,0 0 0,14 0 0,-14 0 15,13 0-15,-12 0 0,12 0 16,1 0-16,12-13 0,-12 13 0,12 0 16,1 0-16,13 0 0,0 0 15,-13 0-15,13-13 0,-14 13 0,14 0 16,0 0-16,-13 0 0,13 0 0,-14 0 16,14 0-16,-13 0 0,13 0 15,-13 0-15,13 0 0,-1 0 16,-12 0-16,0 0 0,13 0 0,0 0 15,-14 0-15,67 0 0,-66 0 16,13 0-16,0 0 0,0 0 16,-14-13-16,14 13 0,-13 0 0,-14 0 15,14 0-15,0 0 0,-14 0 0,14 0 16,0 0-16,-14 0 0,14 0 16,-1 0-16,-12 0 0,26 0 15,-27 0-15,14-13 0,-14 13 0,14 0 16,-13 0-16,-1 0 0,0 0 0,1 0 15,-1 0-15,-12 0 0,39-14 16,-40 14-16,13 0 0,-13 0 16,14 0-16,-14 0 0,0 0 0,14 0 15,-14 0-15,0 0 0,14 0 16,-14 0-16,0 0 0,0 0 0,14 0 16,-14 0-16,0 0 0,1 0 0,-1 0 15,0 0-15,0 0 0,0 0 16,14 0-16,-14 0 15,0 0 1,1-13-16,-1 13 16,0 13 31,-13 1-32,-13-1 1,13 0-16,0 0 0,-13 14 15,13 12-15,0 1 16,0-27-16,-14 14 0,14-1 16,0 1-16,0-14 0,0 13 15,14 1-15,-14-1 0,0-13 0,0 14 16,0-1-16,0-12 0,0 12 0,0-13 16,0 14-16,0-14 0,13 13 15,-13-12-15,0 12 0,0-13 16,0 1-16,0-1 0,0 0 0,0 0 15,0 1-15,0-1 16,0 0 0,0 0-16,-13-13 15,13 13 1,-14-13-16,1 0 16,0 0-16,0 0 0,-1 0 15,-12 0-15,13 0 0,-14 0 16,-12 0-16,-1 0 0,-13 0 0,0 0 15,-13 0-15,13 0 0,-26 0 0,-1 0 16,-12 0-16,-14 0 0,13 0 16,-13 0-16,1 0 0,-1 14 0,13-14 15,-13 0-15,14 0 0,-1 13 16,14-13-16,-1 0 0,1 0 0,13 0 16,13 0-16,0 0 0,0 0 0,0 0 15,0 0-15,14 0 0,12 0 16,-13 0-16,14 0 0,-14 0 0,14 0 15,13 0-15,-14 0 0,1 0 0,12 0 16,-12 13-16,13-26 0,0 13 0,-1 0 16,1 0-16,0 0 15,0 0-15,-1 0 0,14-13 16,-13 13-16</inkml:trace>
  <inkml:trace contextRef="#ctx0" brushRef="#br0" timeOffset="2886.16">5384 3704 0,'-39'0'16,"25"0"-16,1-13 0,-13 13 16,-1 0-16,1 0 0,-27-13 15,13 13-15,0 0 0,-12-14 0,-1 14 16,0 0-16,-13-13 0,-1 13 16,-12 0-16,13 0 0,-13 0 0,12 0 15,-12 0-15,0 0 0,12 0 0,1 0 16,13 0-16,-13 0 0,27 13 15,-14-13-15,13 0 0,14 0 0,-1 0 16,1 0-16,-1 0 0,1 0 0,12 0 16,-12 0-16,13 0 0,-14 0 0,14 14 15,0-14-15,0 0 0,-1 0 16,-12 0-16</inkml:trace>
  <inkml:trace contextRef="#ctx0" brushRef="#br0" timeOffset="3247.35">3836 3426 0,'-13'0'16,"-40"27"0,40-14-16,-13 13 15,12-12-15,1 12 0,13-13 16,-13 1-16,0-1 0,13 0 16,-14 0-16,14 14 0,0-14 0,0 0 15,0 0-15,0 1 0,0-1 0,0 0 16,14 0-16,-1 1 0,0-1 15,0 0-15,1 0 0,12-13 16,-13 14-16,1-14 0,12 13 0,-13-13 16,0 0-16,1 0 0,12 13 15,-13-13-15,1 0 0,-1 0 16,0 0-16</inkml:trace>
  <inkml:trace contextRef="#ctx0" brushRef="#br0" timeOffset="5185.13">542 3691 0,'14'26'16,"-14"-12"0,13 12-16,-13-13 15,0 1-15,13-1 0,-13 13 0,0-13 16,13 1-16,-13-1 0,0 0 0,14 0 15,-14 1-15,0-1 0,13 0 16,-13 0-16,-13-52 31,13 25-15,-14-12-16,1-27 16,13 27-16,-13-14 0,13-13 0,0 40 15,0-14-15,0 14 0,0-13 16,13 12-16,-13 1 0,13 13 15,-13-13-15,14 13 0,12 0 16,-13 13-16,14 0 16,-14 1-16,0-1 0,14 13 0,-14 1 15,0-1-15,14-13 0,-27 14 0,26 13 16,-13-27-16,0 0 16,-13 0-16,14 27 0,-1-40 15,-13 13-15,13 0 0,-13 1 0,0-1 16</inkml:trace>
  <inkml:trace contextRef="#ctx0" brushRef="#br0" timeOffset="5392.09">609 3889 0,'-14'0'0,"28"-13"31,-1 13-15,0 0-16,0-13 16,14 13-16,-14-13 0,13-1 15,1 14-15,-14-13 0,14 0 16,-1 0-16,-13 13 0,0-13 16,14-1-16</inkml:trace>
  <inkml:trace contextRef="#ctx0" brushRef="#br0" timeOffset="5687.81">966 3678 0,'13'13'31,"-13"0"-15,13 0-16,-13 1 16,13-1-16,-13 0 0,14 0 15,-1 1-15,0-1 16,0 0-16,1-13 15,12-26 17,-26 12-32,0 1 15,0 0-15,0-53 47,0 52-47</inkml:trace>
  <inkml:trace contextRef="#ctx0" brushRef="#br0" timeOffset="6104.82">1191 3572 0,'-14'0'0,"28"0"0,-41 0 16,14 0-16,0 13 15,13 0 1,0 1 0,0-1-16,13-13 0,0 26 15,0-13-15,1 14 16,-1-1-16,13 1 16,-26-14-16,0 0 0,14 1 15,-14 25-15,0-26 16,-14 1-16,14-1 15,-13 0-15,0-13 16,0 0 0,13-13-16,0 0 15,0-14-15,0 14 16,0 0-16,13 0 0,-13-1 16,13 1-16,-13 0 15,13 0-15,-13-1 0,14 1 16,-1 13-16,-13-13 0,13 0 15,0-1-15,-13 1 16,13 13-16,1-13 16,-14 0-16,13 13 0,0-13 15</inkml:trace>
  <inkml:trace contextRef="#ctx0" brushRef="#br0" timeOffset="7298.79">1389 3387 0,'0'26'46,"0"-13"-46,13-13 0,-13 14 0,0-1 16,14 0-16,-14 0 16,13 0-1,-13 1-15,0-41 47,0 14-47,-13 0 0,26-14 16,-13 14-1,13 0-15,0 13 16,0 0 0,1 0-16,-1 0 15,-13 13-15,13-13 16,0 13-16,1-13 16,-14 14-1,13-14-15,0-14 31,0 14 1,1 0-17,-1 0 1,0 0-16,0 0 16,0 0-1,1 0-15,12-13 0,-13 0 16</inkml:trace>
  <inkml:trace contextRef="#ctx0" brushRef="#br0" timeOffset="8045.05">1773 3241 0,'0'0'0,"-14"0"15,1 0 1,13 13-16,0 1 0,-13-1 15,13 13-15,0-12 16,66 38 47,-53-65-63,-13 0 15,14 13-15,-14-26 16,-14 12-16,14 1 15,0 0-15,-13 0 16,13-1-16,-13 1 16,39 26 46,-12 1-46,-1-14-1,-13 13-15,13 0 16,14-13 47,-27-13-48,13 13-15,0 0 16,0-13-1,0 13 1,-13-14-16,14 14 16,-1 0-16,-13-13 15,13 0-15,-13 0 16,0 39 62,13-13-47,1-13-15,12 0 15,-13 0-31,1-13 16</inkml:trace>
  <inkml:trace contextRef="#ctx0" brushRef="#br0" timeOffset="8479.94">2275 3003 0,'0'0'16,"-13"0"-16,0 13 15,13 0 1,13 1 0,-13-1-16,13 0 15,-13 0-15,14 1 0,-1-1 16,-13 0-16,13 0 0,0 1 16,-13-1-16,0 0 15,0 0-15,0 0 0,-13 1 16,0-1-16,0-13 15,13 13-15,-14-13 0,1 13 0,0-13 16,0 14-16,-1-14 0,1 0 16</inkml:trace>
  <inkml:trace contextRef="#ctx0" brushRef="#br0" timeOffset="9584.04">2355 2950 0,'13'13'31,"-13"1"-31,0-1 0,0 0 16,0 13-16,0-12 0,0 12 16,13-13-16,-13 14 0,0-1 0,0-12 15,0 12-15,0-13 0,0 0 16,0 14-16,0-14 0,0 0 15,13 14-15,-13-14 16,0 0-16,0-52 47,14-28-31,-14 54-16,13-13 15,0-1-15,-13 14 16,13 0-16,1 0 15,-1 13 1,0 0-16,-13 13 16,13-13-16,-13 13 15,14-13-15,-14 13 16,13-13 0,0 0-1,-13-13 1,13 0-1,-13 0-15,13 13 32,-13 13-17,14-13 1,-14 13-16,13-13 16,0 0-1,0 0-15,1 0 16,-14-13-16,26 0 15,-13-1-15,1 1 0,-14 0 16,13-14-16,0 14 0,0 0 16,-13 0-16,13 0 15,-13-1-15,14 14 0,-14-13 16,13 26 0,0 1-1,-13-1-15,13-13 16,-13 13-16,14 0 15,-14 0 1,13-13-16,0 0 16,0-13-1,-13 0-15,0 0 16,14 0-16,-14-1 0,0 1 16,0 0-16,13 0 0,-13-1 0,0-12 15,0 0-15,0-1 0,0 14 16,0-14-16,0 14 0,0 0 0,0 0 15,0-1-15,-13 1 16,26 40 15,-13-14-31,13 0 0,-13 0 16,13 1-16,-13 12 16,13-13-16,-13 1 0,0 12 15,0-13-15,0 0 0,0 1 16,0-1-16,0 0 15,-13-13-15,0 0 16,0 0-16,0 0 16,-1 0-16,1-13 15,13-14 17,13 27-32,-13-13 0,14 13 15,-14-13-15,13 0 0,0 0 0,0 13 16,14-27-16,-14 14 15,0 0-15,0-1 0,1 14 16,-1-13-16,0 13 0</inkml:trace>
  <inkml:trace contextRef="#ctx0" brushRef="#br0" timeOffset="10504.02">1151 4075 0,'-27'26'0,"27"-13"16,0 1-16,-13-1 0,13 0 16,0 13-16,13-12 0,-13-1 15,0 0-15,0 0 0,14 1 16,-1-1-16,0-13 0,-13 13 15,13-13-15,1 0 0,-1 0 16,0-13-16,0 13 0,-13-13 16,14-1-16,-1 14 0,-13-26 15,0 13-15,0-1 0,0 1 0,0 0 16,0 0-16,0 0 0,-13 13 16,13-14-16,-14 14 15,-12 0-15,13 14 16,-1-14-16,1 13 0,0-13 15,13 13 1,-13-13-16,52-13 31,-25 13-15,-1 0-16,0-13 0,0 13 16,1-14-16,-1 14 0,0 0 15,0 0-15,0 0 0,1 0 16,-1 0-16,0 0 15,0 14-15,1-14 16,-14 13-16,13 0 16,0-26 31,0 0-32,1-1 1,-1 14-1,0-13-15,0 13 16,0 0-16,14 0 16,-14 0-16,0 0 15,1 0-15,-1 0 0,0 0 16,0-13-16,1 13 0</inkml:trace>
  <inkml:trace contextRef="#ctx0" brushRef="#br0" timeOffset="10749.31">1865 3664 0,'0'-13'32,"0"40"-32,0-14 0,14 0 15,-14 14-15,0-14 0,13 0 0,-13 27 16,13-27-16,-13 13 15,0-12-15,13-1 0,-13 13 0,0-12 0,0-1 16,13-13-16,-13 13 0,0 0 16,0 1-16,14-14 0</inkml:trace>
  <inkml:trace contextRef="#ctx0" brushRef="#br0" timeOffset="11388.13">1839 3678 0,'13'-14'0,"-26"28"0,39-41 16,-12 27-1,-1 0-15,0 0 0,0 13 16,0-13-16,-13 14 15,0-1-15,0 0 16,0 0-16,0 1 0,0-1 16,0 0-1,0 0-15,14-13 16,-1 14 0,0-14-16,0 0 15,1 13-15,-1-13 0,-13 13 16,13-13-16,-13 13 15,13-13-15,-13 13 0,-13 1 16,13-1-16,0 0 0,-13 0 0,0 1 16,-1-1-16,1 0 0,0 0 15,0 1-15,-1-1 0,1-13 16,0 0-16,0 13 16</inkml:trace>
  <inkml:trace contextRef="#ctx0" brushRef="#br0" timeOffset="12068.05">2077 3744 0,'0'13'62,"0"0"-62,13 1 16,-13-1 0,13-13-16,1 0 15,-1 0 1,0-13-16,-13-1 16,13 14-16,-13-13 15,0 0-15,0 0 16,14-1-16,-14 1 15,13 40 32,-13-14-31,13 0 0,0-13-16,-13 13 15,13-13-15,1 0 31,-14-13-31,13 13 16,-13-13-16,13 0 16,-13-1-1,13 14 1,1 0-16,-1 0 16,0 14-1,-13-1 1,13-13-1,1 13 1,-1-26 15,-13 0-31,0-1 16,0 1-16,13 13 0,-13-13 16,0 0-16,13-1 0,-13 1 15,13 0-15,-13 0 0,14 0 16,-1 13-1,-13-14-15</inkml:trace>
  <inkml:trace contextRef="#ctx0" brushRef="#br0" timeOffset="12940">2566 3519 0,'-13'0'16,"0"0"-1,13 13-15,0 0 16,0 1-1,0-1-15,0 0 0,0 0 16,13 1-16,-13-1 0,0 0 16,0 0-16,13 0 15,-13 1-15,-13-1 16,13 0-16,-13 0 16,0-26 15,26-13-16,0 12 1,0 1-16,1 0 16,-1 0-16,0 0 0,-13-1 15,13 1-15,1 0 0,-14 0 0,13-1 16,-13 1-16,13 13 0,-13-13 16,0 0-16,13 13 0,-13-14 15,14 1-15,-14 40 47,0-14-47,13 0 16,0-13-1,-13 13 1,13-13 0,0 0-16,1 0 15,-1 0-15,0 0 16,0 0-16,-13 14 15,14-14-15,-1 0 32,-13 13-32,13-13 31,0-13-15,-13-1-16,0 1 0,14 0 15,-14 0-15,13-27 16,0 27-16,-13 0 0,13 13 0,-13-14 15,13 1-15</inkml:trace>
  <inkml:trace contextRef="#ctx0" brushRef="#br0" timeOffset="13061.1">3029 3334 0,'14'0'0,"-1"-13"31,-13-1-31</inkml:trace>
  <inkml:trace contextRef="#ctx0" brushRef="#br0" timeOffset="15461.1">5517 4075 0,'26'-14'78,"-13"14"-78,0 0 16,1 0-16,12-13 15,-13 13 1,1 0-16</inkml:trace>
  <inkml:trace contextRef="#ctx0" brushRef="#br0" timeOffset="15597.74">5689 4048 0,'13'-13'0,"0"13"46,0 0-46,0 0 16</inkml:trace>
  <inkml:trace contextRef="#ctx0" brushRef="#br0" timeOffset="18095.2">5543 3717 0,'13'0'31,"0"0"-15,1 0-1,-1 0-15,0 0 16,14 0-1,-14 0-15,0 0 16,0 0-16,1 0 0,-1 0 16,-13 14-16</inkml:trace>
  <inkml:trace contextRef="#ctx0" brushRef="#br0" timeOffset="18319.98">5874 3757 0,'26'0'15,"-13"0"1,1 0-16,-1 0 0,0 0 15,0 0-15,1 0 0</inkml:trace>
  <inkml:trace contextRef="#ctx0" brushRef="#br0" timeOffset="18457.27">6231 3757 0,'13'-13'16</inkml:trace>
  <inkml:trace contextRef="#ctx0" brushRef="#br0" timeOffset="18597.14">6429 3744 0</inkml:trace>
  <inkml:trace contextRef="#ctx0" brushRef="#br0" timeOffset="22981.18">5596 3043 0,'13'0'31,"0"0"-31,1 0 15,-1 0 1,0 0-16,14 0 16,-1 0-16,-13 0 15</inkml:trace>
  <inkml:trace contextRef="#ctx0" brushRef="#br0" timeOffset="23165.28">6152 3082 0,'13'0'0,"0"0"16,0 0 0,0 0-16,1 0 15,-1 0-15,0 0 0</inkml:trace>
  <inkml:trace contextRef="#ctx0" brushRef="#br0" timeOffset="23299.62">6522 3082 0,'26'0'31</inkml:trace>
  <inkml:trace contextRef="#ctx0" brushRef="#br0" timeOffset="23432.06">6720 3056 0,'0'0'15</inkml:trace>
  <inkml:trace contextRef="#ctx0" brushRef="#br0" timeOffset="23607.84">6826 3029 0,'13'0'0</inkml:trace>
  <inkml:trace contextRef="#ctx0" brushRef="#br0" timeOffset="30620.27">7236 4061 0</inkml:trace>
  <inkml:trace contextRef="#ctx0" brushRef="#br0" timeOffset="30848.24">6575 3982 0,'-79'-13'31,"65"13"-31,1 0 0,0 0 16,0 0-16,-1 0 0,1 0 16,0 0-16,0 0 0</inkml:trace>
  <inkml:trace contextRef="#ctx0" brushRef="#br0" timeOffset="30955.67">6152 3982 0,'-27'0'15,"-26"-13"1,40 13-16</inkml:trace>
  <inkml:trace contextRef="#ctx0" brushRef="#br0" timeOffset="35776.08">7805 3268 0,'-53'0'32,"40"0"-32,0 0 0,0 0 15</inkml:trace>
  <inkml:trace contextRef="#ctx0" brushRef="#br0" timeOffset="37448.68">5702 5226 0,'13'0'16,"0"0"-1,0 0-15,1 0 16,-1 0-16,0 0 15,0 0-15,1 0 0,-1 0 0,0 0 16</inkml:trace>
  <inkml:trace contextRef="#ctx0" brushRef="#br0" timeOffset="39099.11">4961 4604 0,'0'13'0,"0"-26"0,0 39 0,13-26 15,-13 13-15,13-13 0,-13 14 0,14-14 16,12 13-16,-13-13 0,1 13 0,12-13 16,0 0-16,1 13 0,-1-13 15,-12 0-15,12 0 0,14 0 16,-14 0-16,1-13 0,12 13 0,-12-13 16,-1 13-16,1-13 0,-1 13 0,-13-14 15,14 1-15,-14 0 0,0 0 16,1 0-16,-1-1 0,0 1 0,-13 0 15,13 0-15,-13-14 0,13 14 16,-13 0-16,0-14 0,-13 14 0,13 0 16,-13-14-16,0 14 0,-14-13 15,1-1-15,-1 14 0,-12-14 0,-1 14 16,0 0-16,1 0 0,-1 13 16,-13-13-16,13 13 0,1 0 0,12 0 15,1 0-15,-14 0 0,14 0 0,-1 0 16,1 13-16,12-13 0,-12 0 0,13 13 15,0 0-15,-1 0 0,1 1 16,13-1-16,0 13 0,0-12 16,13-1-16,-13 0 0</inkml:trace>
  <inkml:trace contextRef="#ctx0" brushRef="#br0" timeOffset="39657.18">5755 5146 0,'13'13'47,"0"1"-31,0-14-16,1 0 15,-1 0-15</inkml:trace>
  <inkml:trace contextRef="#ctx0" brushRef="#br0" timeOffset="40193.01">6376 5212 0,'0'-13'0,"14"13"47,-1 0-31,0 0-16,0 0 15,1 0 1,-1 13-1,0-13-15</inkml:trace>
  <inkml:trace contextRef="#ctx0" brushRef="#br0" timeOffset="41123.94">6628 6072 0,'13'0'47,"-13"13"-47,0 1 16,0-1-16,0 0 0,-13 0 16,13 1-16,0 12 0,0-13 0,0 0 15,-13 14-15,13-14 0,0 14 0,0-14 16,0 0-16,-14 0 0,14 1 15,0-1-15,-13 0 0,13 0 16,0 0-16,0 1 16</inkml:trace>
  <inkml:trace contextRef="#ctx0" brushRef="#br0" timeOffset="41397.08">6654 6072 0,'0'-13'15,"-26"26"1,26 0-1,-13-13-15,13 14 0,-14-14 0,1 13 16,13 0-16,-13 0 0,0 1 0,-1-1 16,1-13-16,13 13 0,-13 0 15,0 0-15,0 1 0,-1-1 16,1-13-16</inkml:trace>
  <inkml:trace contextRef="#ctx0" brushRef="#br0" timeOffset="41657.25">6628 6072 0,'92'27'15,"-65"-14"1,-27 0-16,13-13 0,0 0 16,1 13-16,-1 1 15,0-14-15,-13 13 0,13-13 16,0 13-16,1-13 16,-14 13-16</inkml:trace>
  <inkml:trace contextRef="#ctx0" brushRef="#br0" timeOffset="43917.17">6125 1640 0,'0'-13'15,"0"26"48,0 1-63,0-1 0,0 0 0,13 0 16,-13 1-16,0-1 0,0 0 0,0 0 15,0 0-15,0 1 0,0-1 0,0 0 16,0 0-16,0 1 15,0-1-15,14 0 16,-14 0 0,13-13-1,13-13-15,1 0 16,-1 0-16,14-14 0,13 14 16,0-14-16,0 1 0,13 0 15,0-1-15,0 1 0,0-1 16,0 14-16,14-13 0,-14-1 0,79 1 15,-78-1-15,-15 14 0,1 0 16,-13-1-16,0 14 0,-1-13 0,1 13 16,-13-13-16,-14 13 0,13-13 0,-13 13 15,1 0-15,-1 0 0,0-13 0,14 13 16,-14 0 0,-13-14-16,13 14 0,0 0 0,-13-13 15,14 0-15,-14 0 0</inkml:trace>
  <inkml:trace contextRef="#ctx0" brushRef="#br0" timeOffset="50091.98">9459 5808 0,'-13'-14'0,"-1"28"63,1-14-63,13 13 16,0 0-16,0 0 15,0 1-15,0-1 16,0 0-1,0 0-15,0 0 0,0 1 16,0-1 0,13 0-16,-13 0 0,14 1 15,-14-1-15,13-13 16,0 13-16,-13 0 16,13-13-16,1 13 15,-1-13-15,0 0 16,0 0-1,-13 14-15,13-14 0,1 0 16,-1 0-16,0 0 16,0 0-1,1-14-15,-1 14 16,0 0-16,0 0 16,1-13-16,-1 13 15,0-13-15,0 13 16,0-13-16,1 13 15,-1 0-15,0-13 0,0 13 16,1 0-16,-1-14 0,0 14 0,0 0 16,0 0-16,1 0 0,12-13 15,-13 13-15,1 0 0,12 0 0,-13-13 16,14 13-16,-14 0 0,13 0 16,-12 0-16,12 0 0,-13-13 15,1 13-15,12 0 0,-13 0 0,1 0 16,12 0-16,-13 0 0,14 0 0,-14 0 15,13 0-15,-12 0 0,12 0 0,1 0 16,-14 0-16,13 13 0,-13-13 16,14 0-16,-1 0 0,-12 0 0,12 0 15,1 0-15,-1 0 0,-13 13 16,14-13-16,-1 0 0,-13 0 0,14 13 16,-14-13-16,13 14 0,-12-14 0,-1 13 15,13-13-15,-12 13 0,-1-13 16,0 13-16,0-13 0,1 13 0,-1 1 15,0-14-15,0 13 0,0 0 16,1-13-16,-1 13 0,0 1 16,0-14-16,-13 13 15,14 0 1,-1-13-16,-13 13 16,13-13-1,0 0 32,1-13-47,-14 0 31,13 13-31,0-13 16,-13-1-16,13 14 16,-13-13-16,13 13 0,1-13 15,-1 0-15,0 13 16,0-14-16,14 14 0,-14-13 0,0 13 15,14-13-15,-1 13 0,-13-13 0,14 13 16,-1-13-16,1 13 0,-1 0 16,-13-14-16,14 14 0,-1 0 0,-12 0 15,12 0-15,1 0 0,-14 0 0,13 0 16,-13-13-16,14 26 0,-1-13 0,-12 0 16,12 0-16,1 0 15,-1 0-15,-13 14 0,14-14 0,-1 0 16,1 13-16,-1-13 0,1 0 0,-1 13 15,0-13-15,14 13 0,-13-13 16,-14 0-16,13 13 0,1-13 16,-14 0-16,13 0 0,-12 14 0,12-14 15,-13 0-15,1 0 0,12 0 16,-13 0-16,14 0 0,-14 0 0,13 0 16,1 0-16,-14 0 0,14-14 15,-14 14-15,13 0 0,1 0 0,-14-13 16,0 13-16,14-13 0,-14 13 0,13-13 15,-13 0-15,1-1 16,-1 14-16,-13-13 0,13 13 16,-13-13-16,13 13 0,-13-13 0,14 13 15,-14-14-15,13 14 16,-13-13-16,13 13 16,-13-13-16,-13 13 46,0 0-30</inkml:trace>
  <inkml:trace contextRef="#ctx0" brushRef="#br0" timeOffset="57852.97">6932 5173 0,'0'-14'0,"0"1"16,13 26 31,1 1-32,-1-1-15,0 0 16,0 0-16,0-13 16,-13 14-16,27-1 0,-14 13 0,0-13 15,14 1-15,26 25 0,-40-12 16,13-14-16,1 14 0,-1-14 15,1 13-15,-1-13 0,14 27 16,-14-13-16,27 12 0,-26-26 16,-1 1-16,1 12 0,-1 1 15,14-1-15,13 14 16,0-1-16,-27-12 0,1-14 16,26 14-16,-14-1 15,-12-13-15,39 14 16,-40-14-16,40 27 0,-26-27 15,13 13-15,13 1 16,-39-14-16,-1 0 0,14 0 16,-14 1-16,27 12 15,0-13-15,-13 1 16,13 12-16,-14-13 0,-12-13 16,-1 14-16,1-1 0,12 0 15,-12 0-15,-1 0 0,14 1 0,13 12 16,-27-13-16,41 14 0,-41-14 15,0 0-15,14 1 16,0-1-16,-14 0 0,14 0 0,0 0 16,-1 14-16,1-14 0,0 0 0,13 1 15,0 12-15,-14-13 0,14 1 16,-13 12-16,26-13 0,53 27 16,-66-27-16,13 0 0,53 27 15,-53-13-15,53 12 16,-52-26-16,-1 14 0,-13-14 15,13 14-15,13-14 0,53 26 16,-65-12-16,-1-14 0,66 27 16,-53-14-16,-12 1 0,78 12 15,-66-12-15,-12-14 0,78 40 16,1-13-16,-1-1 16,-79-12-16,0-1 15,80 14-15,-1 0 16,1-1-16,-80-25 0,80 25 15,-67-25-15,0-1 0,-12 0 16,12 13-16,-13-12 0,13-1 16,67 13-16,13-12 15,-27 12-15,-66-13 16,66 1-16,-52-1 16,-14 0-16,66 13 0,569 94 62,-634-107-62,52 13 0,66 1 16,-53-1-16,569 120 62,14-27-15,-662-119-31,39 26-16,-39-26 15,106 27-15,-106-14 16,0-13-16,52 26 0,-52-26 16,53 14-16,-53-1 0,-13-13 15,0 13-15,12-13 0,-12 13 16,0 0-16,-1-13 0,28 14 15,-41-14-15,27 13 16,-13-13-16,-27 13 0,13-13 16,-12 0-16,-1 0 15,0 13-15,0-13 16,1 0-16,-1 0 16,0 0-1,-13-13 1,-13 0-1,0 0-15,13-1 32,-14 1-32</inkml:trace>
  <inkml:trace contextRef="#ctx0" brushRef="#br0" timeOffset="58290.34">17661 8043 0,'13'27'47,"-13"-14"-47,13-13 16,-13 13-16,14-13 0,-1 13 15,13 14-15,-12-14 16,-1 0-16,26 14 0,-25-27 16,-1 13-16,0 0 0,0 1 15,1-1-15,-1 0 0,0 0 16,0-13-16,-13 13 0,14 1 15,-14-1-15,13 0 0,-13 0 16,0 1-16,0-1 0,0 0 16,-13 0-16,13 1 0,-14 12 0,-12-13 15,-1 14-15,1-1 0,-1-13 0,1 14 16,-14-1-16,1-13 0,-28 27 16,15-13-16,12-1 0,13-13 15,-12 14-15,-1-14 0,14 0 0</inkml:trace>
  <inkml:trace contextRef="#ctx0" brushRef="#br0" timeOffset="59838.21">18164 8043 0,'0'14'0,"13"-1"15,-26 0-15,26 0 0,-13 0 16,0 1-16,0 12 0,0-13 0,0 1 16,13 12-16,-13-13 0,0 1 0,13-1 15,-13 13-15,14-26 0,-1 13 16,0 1-16,0-14 0,0 13 0,1-13 15,-1 0-15,0-13 0,0 13 0,1 0 16,12-14-16,-13 1 0,1 0 16,-1 0-16,0 0 0,-13-1 15,13 1-15,0-13 0,-13 12 0,14 1 16,-14 0-16,0 0 0,0-1 0,13 1 16,-13 0-16,0 0 0,0 0 15,0-14-15,-13 27 16,-1-13-1</inkml:trace>
  <inkml:trace contextRef="#ctx0" brushRef="#br0" timeOffset="60063.49">18653 7898 0,'0'0'16,"13"0"-16,-13 13 31,0 0-15,0 1-16,0-1 0,0 0 15,0 0-15,0 0 0,0 1 0,0 12 16,-13-13-16,13 1 0,0 12 16,-13-13-16,13 0 0,0 1 0,0-1 15,-13 0-15,13 0 0,0 1 0,0-1 16,13-13-16,0 13 15</inkml:trace>
  <inkml:trace contextRef="#ctx0" brushRef="#br0" timeOffset="60363.87">18984 7977 0,'-13'-13'15,"-14"13"1,14 0-16,-14 0 0,14 13 15,-13-13-15,-1 13 0,1-13 0,13 14 16,-14-1-16,-13 13 0,27-12 16,0-14-16,0 13 0,0 0 15,13 0-15,0 0 0,0 1 16,0-1-16,13 0 0,0 0 16,0-13-16,0 14 0,1-1 15,-1-13-15,13 0 0,-12 13 16,-1-13-16,0 0 0,0 13 0,1-13 15,-1 0-15,0 0 0,0 0 0,0 0 16,1 0-16,-1 0 16,-13 14-16,13-14 15</inkml:trace>
  <inkml:trace contextRef="#ctx0" brushRef="#br0" timeOffset="63223.09">19539 8083 0,'-13'-13'16,"0"13"-1,39 0 32,-12 0-47,-1 0 0,0 13 16,0-13-16,1 0 0,-1 0 15,0 0-15,0 0 0,1 0 0,-1 0 16,0 0-16,0 0 0,14 0 0,-14 0 16,0 0-16</inkml:trace>
  <inkml:trace contextRef="#ctx0" brushRef="#br0" timeOffset="63457.3">19831 7990 0,'13'0'16,"-26"0"-16,39 0 0,-13 14 0,0-14 15,1 13-15,-1-13 0,0 13 16,0 0-16,1 1 16,-14-1-16,0 0 15,0 0-15,0 0 0,-14 1 16,14-1-16,0 0 15,-13 0-15,13 1 0,-13-1 16</inkml:trace>
  <inkml:trace contextRef="#ctx0" brushRef="#br0" timeOffset="63708.24">20360 7885 0,'-14'26'47,"1"-13"-47,13 1 0,-13-1 0,13 0 16,-13 13-16,0-12 0,13-1 15,-14 0-15,1 0 0,13 1 0,0-1 16,-13 0-16,13 0 0,0 0 0,-13-13 15,13 14-15,13-1 0</inkml:trace>
  <inkml:trace contextRef="#ctx0" brushRef="#br0" timeOffset="64021.15">20492 7977 0,'0'-26'31,"-13"52"-15,13-13 0,0 1-16,13-1 15,0 0-15,-13 0 0,13-13 16,1 14-16,-1-14 0,0 13 16,0-13-16,1 0 0,-1 0 15,0-13-15,0-1 16,-13 1-1,0 0-15,0 0 0,0-1 16,-13 14-16,13-13 0,-13 13 16,13-13-16,-13 13 0,-1-13 15,1 13-15,0 0 0,13 13 16,-13-13-16</inkml:trace>
  <inkml:trace contextRef="#ctx0" brushRef="#br0" timeOffset="64325.15">20796 7911 0,'-13'27'16,"0"-27"0,13 13-16,0 0 0,0 0 0,0 0 15,0 1-15,0-1 16,0 0-16,0 0 0,13-13 0,-13 14 15,13-14-15,0 13 0,1-13 16,-1 0-16,0-13 16,0 13-16,1-14 0,-14 1 15,13 0-15,-13 0 16,0-1-16,0 1 0,0 0 16,-13 13-16,13-13 15,-14 13-15,1 0 0,0 0 16,-14 0-1,14 13-15</inkml:trace>
  <inkml:trace contextRef="#ctx0" brushRef="#br0" timeOffset="64767.57">21484 7845 0,'0'0'15,"-13"0"-15,0 13 16,-1-13-16,1 13 0,0 1 0,0-1 16,0 0-16,-1 0 0,14 1 15,-13-1-15,0 0 0,13 0 16,0 0-16,0 1 0,0-1 0,0 0 15,13 0-15,0 1 0,1-14 16,-1 0-16,13 0 16,-13 0-16,14 0 0,-14-14 0,40 1 15,-40 0-15,14 0 0,-14-1 16,13 1-16,-12 0 0,-1 13 16,0-13-16,0 0 0,1 13 15,-14-14-15,13 14 0,-13 14 16,0-1-1,0 0 1,0 0-16,0 0 0,0 1 0,0-1 16,0 0-16,-13 0 0,13 14 15,0-14 1</inkml:trace>
  <inkml:trace contextRef="#ctx0" brushRef="#br0" timeOffset="64976.78">21868 7739 0</inkml:trace>
  <inkml:trace contextRef="#ctx0" brushRef="#br0" timeOffset="65461.08">22146 7620 0,'13'0'16,"-26"26"-1,13 1 1,-14-14-16,14 14 0,-13-1 0,0 14 16,0-1-16,-1-12 0,1 13 15,0-14-15,0 1 0,0-1 0,-1 0 0,14-12 16,-13 12-16,13-13 0,-13 1 16,13-1-16,-13 0 0,13 0 15,-14 0-15,1 1 0,0-1 16,0-26-1,0 13-15,-1-14 16,1 1 0,13 0-16,0 0 15,13 0-15,1 13 16,-14-14-16,13 14 0,0-13 16,0 13-16,0 0 0,1 0 15,12-13-15,-13 13 0,14 0 0,-14 0 0,13-13 16,-12 13-16,-1 0 0,13 0 15,-12 0-15,-1 0 0,0 0 16,0 0-16,1 0 0,-1 0 0</inkml:trace>
  <inkml:trace contextRef="#ctx0" brushRef="#br0" timeOffset="65743.23">22384 7924 0,'-13'27'15,"-1"-14"-15,1 0 0,13 0 16,-13 1-16,0-1 0,13 0 15,-14 0-15,1 1 0,13-1 0,-13 0 16,0 0-16,13 0 0,-14 1 0,1-1 16,13 0-16</inkml:trace>
  <inkml:trace contextRef="#ctx0" brushRef="#br0" timeOffset="65884.07">22291 7832 0,'0'0'0</inkml:trace>
  <inkml:trace contextRef="#ctx0" brushRef="#br0" timeOffset="66593.09">22476 7938 0,'0'13'0,"0"-26"0,-13 39 15,13-13-15,-13-13 16,13 13-16,-13 1 0,13-1 15,-14-13-15,14 13 16,27-13 15,-14 0-31,0-13 0,1 13 16,-1 0-16,0 0 0,0 0 16,0 0-16,1 0 0,-1 0 0,0 0 15,0 0-15,-13 13 0,14-13 16,-14 13-16,0 1 15,0-1-15,-14 0 16,1 0-16,0-13 0,13 13 16,-13-13-16,-1 14 0,1-1 15,0-13-15,13 13 16,13-39 31,0 26-47,1-14 0,12 1 15,-13 13-15,1 0 0,-1-13 16,0 13-16,0-13 0,1 13 0,-1-13 16,0 13-16,0-14 0,0 14 0,1-13 15,-1 13-15,0 0 0,14-13 16,-27 0-16,13 13 0,0 0 0,-13-14 16,13 14-16,1 0 15,-1-13 1,-13 26 15,0 1-15,13-14-1,-13 13 1,13 0 0,0-13 15,1 0 0,-1-13-31,0 13 16</inkml:trace>
  <inkml:trace contextRef="#ctx0" brushRef="#br0" timeOffset="66701.31">22966 8017 0,'13'0'16,"-26"0"-16,39-13 15,-12-1 16</inkml:trace>
  <inkml:trace contextRef="#ctx0" brushRef="#br0" timeOffset="68997.32">19936 8890 0,'14'0'16,"-28"26"-1,14-12 1,0-1-16,0 0 0,0 0 15,0 1-15,-13-1 0,13 0 16,0 0-16,0 1 0,-13-1 0,13 0 16,0 0-16,-13 0 0,13 1 15,0-1-15,0 0 0,-14 0 16</inkml:trace>
  <inkml:trace contextRef="#ctx0" brushRef="#br0" timeOffset="69456.78">19857 9393 0,'13'0'0,"-26"0"0,39 13 16,-12-13-16,-1 13 15,-26 14 1,-1-14-16,1 0 15,0 0-15,0 14 0,-14-14 0,1 13 16,-1-12-16,14-1 16,0 0-16,0 0 0,-1-13 0,1 14 0,0-1 15,0-13 1,39 13 0,-13-13-1,1 0-15,-1 0 0,0-13 16,0 13-16,14 0 0,-14 0 15,0 0-15,14 0 0,-14 0 0,0 0 16,0 0-16,1 0 0</inkml:trace>
  <inkml:trace contextRef="#ctx0" brushRef="#br0" timeOffset="70216.4">19844 10041 0,'13'0'16,"0"0"-1,0 13-15,-26 0 16,13 1-16,-13-1 0,13 0 15,-13 0-15,13 1 0,0-1 16,0 0 0,0 0-16,13-13 0,-13 13 15,13 1-15,-13-1 16,13 0 0,-13 0-16,0 1 15,-13-1-15,0-13 16,0 13-1,0 0 1,13 1 0</inkml:trace>
  <inkml:trace contextRef="#ctx0" brushRef="#br0" timeOffset="70950.55">19751 10702 0,'0'-13'16,"0"0"15,-13 13 79,0 13-95,-1-13-15,14 13 16,-13-13-16,0 14 16,0-1-16,0-13 15,-1 13-15,14 0 0,-13-13 0,0 14 16,0-14-16,-1 13 0,1 0 15,0 0-15,0 0 16,13 1 0,-14-14-16,28 13 15,-1-13 1,-13 13-16,13-13 0,0 0 16,1 0-16,-1 0 0,0 0 15,0 0-15,14 0 0,-14-13 0,0 13 16,14 0-16,-14-13 0,13-1 15,-12 1-15,-1 0 0,0 0 16</inkml:trace>
  <inkml:trace contextRef="#ctx0" brushRef="#br0" timeOffset="71100.87">19870 10649 0,'-13'-13'0,"0"26"31,0 1-31,-1-1 0,14 0 16,-13 0-16,13 1 0,-13-1 0,13 13 15,-13-12-15,13-1 0,-14 13 16,14 1-16,-13-14 0,0 27 16,13-14-16,0-13 0,0 1 15</inkml:trace>
  <inkml:trace contextRef="#ctx0" brushRef="#br0" timeOffset="71466.32">19725 11324 0,'-27'13'31,"27"1"-31,0-1 16,0 0-16,13 14 0,-13-14 15,0 0-15,0 0 0,0 14 16,0-1-16,-13-13 16,13 1-16,-26 12 0,-1 14 15,1-27-15,13-13 0,-27 26 16,13-26-16,14 0 15,-13 0-15,13-13 0,-14 0 0,-13-27 16,27 1-16,0-28 16</inkml:trace>
  <inkml:trace contextRef="#ctx0" brushRef="#br0" timeOffset="72026.66">20545 9036 0,'0'-14'16,"13"14"-16,0 0 16,1-13-16,-1 13 15,0 0-15,0 0 0,1 0 16,-1 0-16,-13-13 0,13 13 16,0 0-16,0 0 0,1 0 15</inkml:trace>
  <inkml:trace contextRef="#ctx0" brushRef="#br0" timeOffset="72865.11">21180 8903 0,'-40'13'0,"27"1"16,0-1 0,0-13-16,13 13 0,-14-13 15,1 13-15,13 1 0,-13-14 0,13 13 16,-13-13-16,13 13 0,0 0 16,0 1-16,13-1 15,0-13-15,0 0 16,14 13-16,-14-13 0,0 0 15,0 0-15,14 0 0,-14 0 16,0 0-16,14 0 0,-14 0 16,0 0-16,14-13 0,-14 13 15,0-13-15</inkml:trace>
  <inkml:trace contextRef="#ctx0" brushRef="#br0" timeOffset="73066.2">21259 8864 0,'-13'0'0,"0"13"0,-14 13 31,14-13-31,0 27 0,0-27 16,-1 1-16,14-1 0,-13 0 15,0 27-15,13-27 0,0 0 16,0 0-16,0 1 0,0-1 15</inkml:trace>
  <inkml:trace contextRef="#ctx0" brushRef="#br0" timeOffset="73354.08">21418 8930 0,'-13'39'31,"13"-25"-31,0-1 16,0 0-16,0 0 0,0 1 16,13-1-16,-13 0 15,13-13-15,0 0 16,1 0 0,-14-13-16,13 0 15,-13-1-15,0 1 0,0 0 16,-13 0-1,-14-1-15,14 28 16,0-14-16,0 13 0,-27 0 0,13 0 16,-52 40-16</inkml:trace>
  <inkml:trace contextRef="#ctx0" brushRef="#br0" timeOffset="73676.48">20466 9671 0,'-14'0'0,"41"-14"32,-14 14-32,0 0 0,0-13 15,1 13-15,-1 0 0,0 0 16,0 0-16,14-13 0,-14 13 16,0 0-16,1 0 0,-1 0 15,0 0-15,0-13 0,0 13 16,1 0-16</inkml:trace>
  <inkml:trace contextRef="#ctx0" brushRef="#br0" timeOffset="75031.33">21220 9499 0,'13'-14'0,"0"14"16,-13-13-16,13 13 15,0 0-15,1 0 0,-1-13 16,0 13-16,0 0 0,1 0 16,-1 0-16,-13-13 0,13 13 15,-53 13 16,27-13-31,0 13 16,0-13-16,-1 0 0,1 13 16,0-13-16,0 0 0,13 14 15,-13-14-15,26 26 16,0-26 0,-13 13-16,13-13 0,0 13 15,1 1-15,12-1 0,-26 0 16,13-13-16,-13 13 15,0 1-15,0-1 16,-13 0-16,0 0 16,0-13-16,13 14 0,-14-14 15,1 13-15,0-13 0,0 0 0,0 13 16</inkml:trace>
  <inkml:trace contextRef="#ctx0" brushRef="#br0" timeOffset="75280.75">21458 9591 0,'-14'13'0,"14"14"32,14-14-32,-1 0 15,0-13 1,0 0-16,1 0 15,-14-13-15,13 0 0,-13 0 16,0-1-16,0 1 16,0 0-16,-13 0 15,-1 13-15,1 0 16,-13 0-16,12 0 0,-12 13 16,0 0-16,-1 0 0,1 1 0,-14-1 15</inkml:trace>
  <inkml:trace contextRef="#ctx0" brushRef="#br0" timeOffset="75590.7">20254 10425 0,'13'-14'16,"0"14"0,1 0-16,-1 0 0,0 0 15,13-13-15,-12 13 0,-1 0 16,13 0-16,-12 0 0,-1 0 0,13 0 0,-12 0 15,-1 0-15,0 0 0,0 0 0,0 0 16,14 0-16</inkml:trace>
  <inkml:trace contextRef="#ctx0" brushRef="#br0" timeOffset="75863.95">20598 10266 0,'26'13'32,"-26"0"-32,14-13 15,-14 14-15,0-1 0,13-13 16,-13 13-16,0 0 0,0 0 0,0 1 15,0-1-15,-13 0 16,13 0-16,-14-13 0,1 14 16,13-1-16,-13-13 0,0 13 0,-1 0 15</inkml:trace>
  <inkml:trace contextRef="#ctx0" brushRef="#br0" timeOffset="76144.48">21233 10213 0,'-13'26'16,"13"-12"-1,0-1-15,-14 0 0,14 0 16,-13-13-16,13 27 0,-13-14 16,13 0-16</inkml:trace>
  <inkml:trace contextRef="#ctx0" brushRef="#br0" timeOffset="76422.23">21352 10292 0,'-13'14'32,"-1"-1"-32,14 0 0,0 0 15,14-13 1,-1 0-16,-13 13 15,13-26-15,0 13 16,1 0-16,-14-13 0,13 13 0,-13-13 16,13 0-16,-13-14 15,-13 27-15,13-13 16,-13 13-16,-1-13 0,1 13 16,0 0-16,0 0 0,-1 13 15,-12-13-15,13 13 0,-14 0 16,1-13-16</inkml:trace>
  <inkml:trace contextRef="#ctx0" brushRef="#br0" timeOffset="76789.35">20307 10980 0,'26'0'31,"-13"13"-31,1-13 0,-1 0 16,0 0-16,0 0 0,1-13 0,-1 13 15,0 0-15,0 0 0</inkml:trace>
  <inkml:trace contextRef="#ctx0" brushRef="#br0" timeOffset="77020.13">20638 10861 0,'13'0'0,"-13"13"16,13-13-1,-13 14-15,0-1 0,0 0 16,0 0-16,0 1 0,0 12 16,0-13-16,-13-13 0,13 13 15,0 1-15,-13-1 0,13 0 0,-14-13 16,14 13-16,0 1 16</inkml:trace>
  <inkml:trace contextRef="#ctx0" brushRef="#br0" timeOffset="77927.36">21352 10795 0,'13'13'31,"-13"14"-15,0-14-16,0 0 16,0 0-16,0 1 15,-13-1-15,13 0 16,0 0-16,0 1 16,0-1-1,-13 0-15</inkml:trace>
  <inkml:trace contextRef="#ctx0" brushRef="#br0" timeOffset="78274.92">21616 10729 0,'14'0'0,"-28"0"0,41 13 16,-27 0-16,0 14 15,0-14-15,-13 0 16,-1 0-16,14 1 0,-13-1 15,0 0-15,0 14 0,13-14 16,0 0-16,-13-13 0,26 13 16,0-13-1,0 0-15,27-13 16,-27 13-16,0-13 0,14 13 16,-14 0-16,0 0 0</inkml:trace>
  <inkml:trace contextRef="#ctx0" brushRef="#br0" timeOffset="78640.56">20267 11867 0,'13'0'0,"-26"0"0,40 0 0,-14-14 16,13 14-16,-13 0 0,1 0 15,25 0-15,-12-13 16,-1 13-16,1 0 0,-14-13 16</inkml:trace>
  <inkml:trace contextRef="#ctx0" brushRef="#br0" timeOffset="78862.05">20704 11615 0,'0'0'0,"13"0"0,0 13 16,0 1-16,1-1 0,-1 13 15,0-12-15,-13-1 0,0 0 16,0 0-16,0 14 0,0-14 15,0 0-15,0 14 0,-13-14 0,13 0 16,-13 0-16,13 14 0,-14-14 16,28 0-1</inkml:trace>
  <inkml:trace contextRef="#ctx0" brushRef="#br0" timeOffset="79761.63">21484 11562 0,'0'0'15,"-13"-13"32,26 53 16,0-27-48,1 13 1,-1-12-16,0 12 0,0 1 16,-13-14-16,14 0 0,-14 0 0,0 1 15,0-1-15,0 0 16,0 0-16,-14 0 0,1-13 15,0 0 1,0 0-16,-1-13 16,14 0-16,0 0 15,0 0 1,14-1-16,-14 1 0,0 0 16,13 0-16,-13-1 0,0 1 15,0 0-15,0 0 0,0-1 16,0 1-16,0 0 0,0 0 15,-13 0 1,-1-1-16,1 14 16,0 14-16,0-14 15,-1 0 1</inkml:trace>
  <inkml:trace contextRef="#ctx0" brushRef="#br0" timeOffset="80066.42">21696 11576 0,'0'13'0,"0"-26"0,0 39 0,13-13 16,-13 0-16,13-13 16,-13 14-16,14-14 15,-14 13-15,26-13 0,-13 0 16,14 0-16,-14 0 15,-13-13-15,13 13 16,-13-14-16,13 14 0,-13-13 16,0 0-16,0 0 0,0 0 0,-13-1 15,0 1-15,13 0 16,-13 13-16,-1-13 0,1-1 0,-13 1 16,13 13-16,-1-13 0,-12 13 15,-1 0-15,14 0 0,-13 0 16,-1 0-16,1 13 15,13-13-15</inkml:trace>
  <inkml:trace contextRef="#ctx0" brushRef="#br0" timeOffset="82864.2">22622 8705 0,'-13'-13'0,"-1"26"16,1-13 0,0 13-16,0 0 15,-1 0-15,14 1 16,0-1-16,0 0 0,-13-13 0,13 13 16,185-92 140,-198 79-156,-13-13 15,-1 13-15,14 0 16,-13 13 0</inkml:trace>
  <inkml:trace contextRef="#ctx0" brushRef="#br0" timeOffset="83082.64">22886 8784 0,'14'0'16,"-14"-13"-16,13 13 15,0 0-15,0 0 16,1 0-16,-1 0 15,0 0-15,0 0 16,1 0-16</inkml:trace>
  <inkml:trace contextRef="#ctx0" brushRef="#br0" timeOffset="83406.4">23310 8692 0,'-27'26'16,"14"-13"-1,0 0 1,0-13-16,-1 14 0,14-1 0,-13 0 16,0-13-16,0 13 0,0 1 15,13-1-15,-14-13 16,14 13-16,14 0 15,-1-13-15,0 0 16,0 14-16,0-14 16,1 0-16,-1 0 0,0 0 0,0 0 15,1 0-15,-1 0 0,0 0 16,0 0-16,0 0 0,-13-14 0,14 14 16,-1 0-16,-13-13 15</inkml:trace>
  <inkml:trace contextRef="#ctx0" brushRef="#br0" timeOffset="83624.62">23363 8718 0,'-14'13'31,"14"0"-31,-13 1 16,13-1-16,0 0 0,-13 27 15,13 13 1,0-40 0,0 0-16,13 0 15</inkml:trace>
  <inkml:trace contextRef="#ctx0" brushRef="#br0" timeOffset="83922.68">23548 8784 0,'0'-13'16,"0"26"-16,0 0 31,13-13-15,-13 14-16,27-1 16,-14 0-16,13-13 15,14 0-15,-14 0 16,-12 0-16,12-13 15,-26 0-15,13 13 16,-13-27-16,14 14 16,-28 0-16,14-1 0,-13 1 15,0 13-15,13-13 0,-13 13 16,-1 0-16,1 0 0,-13 0 16,13 0-16,-1 0 0,1 13 15,0-13-15,0 0 16,13 13-16</inkml:trace>
  <inkml:trace contextRef="#ctx0" brushRef="#br0" timeOffset="84204.21">24276 8546 0,'13'13'0,"-26"-26"0,26 39 16,-13-12-16,0-1 0,0 0 15,0 27-15,-13-27 0,13 27 16,-14-27-16,14 13 0,0-12 16,-13-1-16,13 13 15,-13 1-15,0-1 0,13-12 16,-14 12-16,1-13 15,13 0-15,-13-13 16</inkml:trace>
  <inkml:trace contextRef="#ctx0" brushRef="#br0" timeOffset="85133.26">22675 9578 0,'-27'13'16,"14"0"0,0 1-16,0-1 15,-1-13-15,1 26 0,0-12 16,0-1-16,-1 0 16,1 0-16,13 0 15,13 1-15,1-1 16,-1-13-1,0 13-15,0-13 0,27 0 16,-27 0-16,1 0 0,12 0 16,-13 0-16,0 0 0,14 0 15,-14 0-15,0 0 0,1 0 16,-14-13-16,13 13 0</inkml:trace>
  <inkml:trace contextRef="#ctx0" brushRef="#br0" timeOffset="85332.26">22807 9578 0,'-13'26'31,"13"-12"-15,0-1-16,13 13 16,-13 1-16,0-14 0,0 13 15,0 107 32</inkml:trace>
  <inkml:trace contextRef="#ctx0" brushRef="#br0" timeOffset="85533.95">23045 9578 0,'0'0'15,"13"13"-15,-13 0 16,0 14-16,0-14 16,0 14-16,-13-14 15,13 0-15,0 13 0,0 1 16,0-1-16,0-12 16,0-1-16,13-13 15,-13 13-15</inkml:trace>
  <inkml:trace contextRef="#ctx0" brushRef="#br0" timeOffset="86582.96">23574 9644 0,'14'0'0,"-28"0"0,41-13 15,-14 13 1,-39 13 15,12-13-31,1 0 0,0 13 16,0-13-16,-1 0 0,1 0 15,13 14-15,-13-14 0,0 0 16,13 13 0,13-13-1,0 13 1,0 0-16,1-13 15,-1 13-15,0 1 16,0-14 0,-13 13-16,0 0 0,-13 0 15,13 1-15,-13-14 0,0 13 16,13 0-16,-14-13 0,1 13 0,0-13 16,0 13-16,0-13 15,26-13 16,13 0-31,-13 13 16,1-13-16,-1 0 0,0-1 16,0 1-16,1 13 0,-1-13 0,0 0 15,0 13-15,-13-14 0,14 14 16,-1 0-16,0 0 16,0 0-16,-13 14 15,13-14-15,-13 13 16,14 0-16,-1 0 15,0-13-15,-13 14 16,13-14-16,1 0 16,-1 0-16,0 0 15,0 0-15,-13-14 0,13 14 0,1-13 16,-1 0-16,-13 0 16,13-1-1,-26 1-15,13 0 0,-13 0 16,-1 13-16,14-13 15,-26 13-15,13 0 16,-14 0-16,1 0 16</inkml:trace>
  <inkml:trace contextRef="#ctx0" brushRef="#br0" timeOffset="87712.19">24421 9578 0,'0'13'16,"0"0"0,0 1-16,0-1 15,0 0-15,-13 0 0,13 1 0,0 25 16,0-26-16,0 1 0,0-1 15,0 0-15,0 0 0,0 1 16,0-1-16,-13 0 0</inkml:trace>
  <inkml:trace contextRef="#ctx0" brushRef="#br0" timeOffset="89618.01">22767 10438 0,'14'0'16,"-1"-13"-1,13 13 1,-12 0-1,-1 0 1,0 0-16,0 0 16,0 0 15,1 0-15,-1 0 30,-53 0 251,27 0-265,0 13-32,0-13 15,-1 0-15,1 0 16,0 0-16,0 0 15,-1 13-15,1-13 16,0 0 0,0 13-1,26 1 17,0-1-17,0-13 1,1 0-16,-14 13 15,13-13-15,0 13 16,0-13-16,1 13 0,-1-13 16,-13 14-16,13-1 15,-13 0 1,0 0 0,-13 1-16,0-14 15,13 13-15,-14-13 0,1 0 16,0 13-16,-14-13 15,14 0 1,0 0-16,0-13 31</inkml:trace>
  <inkml:trace contextRef="#ctx0" brushRef="#br0" timeOffset="89846.58">23085 10411 0,'13'14'16,"-26"-28"-16,26 41 0,-13-1 16,0-12-16,-13 78 31,13-65-16,0-14-15,0 0 16,0 0-16</inkml:trace>
  <inkml:trace contextRef="#ctx0" brushRef="#br0" timeOffset="91097.45">23707 10385 0,'0'-13'0,"0"-1"47,-14 28 265,1-14-296,13 13-16,-13-13 0,13 13 15,-13 0-15,0 1 0,13-1 16,-14 0-16,1 0 16,13 1-16,0-1 0,-13-13 15,13 13-15,0 0 0,0 0 0,0 1 16,0-1-16,0 0 16,13-13-1,0 13-15,1-13 16,-1 0-1,0-13-15,0 13 16,0 0-16,1-13 16,-1 0-1,-13-1 1,0 1 15,-13 13-31,-1-13 16</inkml:trace>
  <inkml:trace contextRef="#ctx0" brushRef="#br0" timeOffset="91404.38">23905 10385 0,'-26'13'16,"52"-26"-16,-52 39 16,26-12-16,-14-1 0,14 0 0,0 0 15,0 1 1,0-1-16,0 0 16,0 0-16,14 0 15,-1-13-15,0 14 16,0-28-1,1 14-15,12-79 63,-39 66-63,0 0 16</inkml:trace>
  <inkml:trace contextRef="#ctx0" brushRef="#br0" timeOffset="91749.25">24593 10292 0,'0'0'0,"13"0"0,0 14 16,-13-1-16,0 0 15,0 0-15,0 0 0,0 1 16,0-1-16,0 0 0,0 0 16,-13 27-16,13-27 0,-13 14 15,13-1-15,-13 1 0,13-14 16</inkml:trace>
  <inkml:trace contextRef="#ctx0" brushRef="#br0" timeOffset="91897.37">24567 10729 0,'13'-13'15,"0"13"17</inkml:trace>
  <inkml:trace contextRef="#ctx0" brushRef="#br0" timeOffset="92544.48">22834 11271 0,'-14'0'0,"1"27"16,0-14-1,0 0-15,13 0 16,0 1-16,-14-1 0,14 0 0,0 0 16,0 1-16,14-1 0,-14 0 15,0 0-15,0 0 0,13 1 0,0-1 16,0 0-16,1-13 0,-1 0 15,0 0-15,0 0 16,0-13-16,-13 0 16,0-1-16,0 1 15,0-13 1,-13 13-16,0-1 16,0 14-1,0 0-15,-1-13 16</inkml:trace>
  <inkml:trace contextRef="#ctx0" brushRef="#br0" timeOffset="92721.55">23085 11205 0,'13'27'31,"-13"-14"-31,0 0 15,0 0-15,0 0 0,0 1 16,0 25-16,0-12 0,0-1 16,0-12-16</inkml:trace>
  <inkml:trace contextRef="#ctx0" brushRef="#br0" timeOffset="92858.39">23138 11576 0,'13'-14'31,"-13"1"-31,13 13 16</inkml:trace>
  <inkml:trace contextRef="#ctx0" brushRef="#br0" timeOffset="93230.84">23839 11139 0,'53'26'31,"-40"-12"-31,-13-1 16,0 0-16,13 0 0,-13 1 0,0 12 15,0-13-15,0 0 16,0 1-16,0-1 0,0 0 15,0 0-15,-13 1 0,13-1 16,-13 13-16,0 1 16</inkml:trace>
  <inkml:trace contextRef="#ctx0" brushRef="#br0" timeOffset="93596.48">23865 11324 0,'80'-40'32,"-1"40"-1,-238 40-31,345-80 0,-160 40 16,-13 0-16,1 0 15,-1 0-15,0 0 16,0 0-16,0 0 15,1 0 1,-1 0-16,0-13 16,-13 0-1,0 0 1,0 0-16,-13 13 16,13-14-16,-13 14 0,-1 0 15,1-13 1,0 13-16,0 0 15,0 0-15,13 13 16,-14-13-16</inkml:trace>
  <inkml:trace contextRef="#ctx0" brushRef="#br0" timeOffset="93897.86">24646 11073 0,'26'53'16,"-26"-40"0,-13 13-16,13-12 0,0 12 15,-26 14-15,12-14 16,1 1-16,0-14 0,-13 27 0,12-14 16</inkml:trace>
  <inkml:trace contextRef="#ctx0" brushRef="#br0" timeOffset="94061.01">24553 11509 0,'14'0'16,"-14"-13"15</inkml:trace>
  <inkml:trace contextRef="#ctx0" brushRef="#br0" timeOffset="94925.31">22079 8996 0,'0'66'0,"14"-26"0,-14 13 15,0 26-15,0 0 0,0 1 0,0 39 16,13 0-16,-13 0 0,0 13 16,13 0-16,-13 1 0,0-1 0,13 14 15,-13 105-15,0-119 16,0-13-16,0-13 0,-13-13 0,13-14 16,0 14-16,-13-14 0,0 53 15,13-65-15,-14-15 0,14-12 16,-13-13-16,13-1 0</inkml:trace>
  <inkml:trace contextRef="#ctx0" brushRef="#br0" timeOffset="96043.03">22225 8572 0,'26'-39'0,"-52"78"0,66-91 15,-14 38-15,1 1 0,-1 0 16,14 0-16,13-1 0,39-12 16,-39 13-16,13 0 0,67-1 15,-54 1-15,0 0 0,1 13 16,12-13-16,-12 13 0,12-14 16,107 14-16,-14-13 0,-92 13 15,-1 0-15,1 0 0,-14-13 0,14 13 16,-27 0-16,0 0 15,-13-13-15,0 13 0,-13 0 0,-1 0 16,-12 0-16,-1 0 0,1-14 0,-14 14 16,13 0-16,-12 0 0,-1 0 15,0 0-15,0 0 0,0 14 16,1-14-16,-1 0 0,0 13 16,0 0-16,-13 0 15,14 1-15,-1-1 0,-13 0 0,13 0 16,-13 1-16,13 12 0,1 27 15,-14-27-15,13 1 0,-13 12 16,0 1-16,13 0 0,-13 0 16,0 12-16,13 68 0,-13-54 15,0 0-15,0 0 0,-13 93 16,13-80-16,0 14 0,0-14 16,0 0-16,-13 1 0,13-1 0,0 1 15,-13-14-15,13 13 0,-14-13 0,14 0 16,-13 53-16,0-79 15,13 13-15,0-13 0,-13 13 16,13-14-16,0 54 0,0-53 16,0-1-16,0 1 0,13 0 0,-13-1 15,0-12-15,13-1 0,-13 14 16,13-14-16,-13 1 0,14-1 0,-14-12 16,13 12-16,-13-13 0,13 1 0,-13 12 15,0-13-15,13 0 0,-13 1 16,0-1-16,13-13 0,-13 13 0,0 0 15,14 1-15,-28-1 16,1-13-16,-13 13 16,13-13-16,-14 0 15,14 0-15,-27 0 0,-52 0 16,39-13-16,13 0 0,-13-1 0,-13-12 16,26-1-16,-52-52 15,12-40-15</inkml:trace>
  <inkml:trace contextRef="#ctx0" brushRef="#br0" timeOffset="97311.9">24315 8136 0,'0'13'0,"13"-13"0,1 0 15,-1-13-15,0 13 16,0 0-16,-13-13 0,27-14 16,-14 14-16,0 0 0,1 0 15,-1-1-15,-13-12 0,26-27 16,-26 27-16,0-1 0,0 1 0,-13-54 16,0 27-1,-27-39-15,27 39 0,-53-40 16,-14 1-16,27 39 15,-92-53-15,-40 13 0,-27 1 16,106 39 0,-13 13-16,-13 0 0,13 1 0,0-1 15,0 0-15,-133-39 0,133 39 16,-13 14-16,-133-54 16,133 54-16,0-1 0,-14-12 15,-118-27-15,12 13 16,120 26-16,0 1 0,-1-1 0,14 1 15,-132-14-15,13 0 16,119 14-16,-212-27 16,119 27-16,1-1 15,118 14-15,-92-14 16,92 27-16,1-13 0,-94 0 16,107 0-16,-106 13 15,0-13-15,92 13 16,1 0-16,12 0 0,-12 0 15,12-14-15,-12 14 0,12 0 0,-12 0 0,12-13 16,-92 13-16,80-13 16,12 13-16,1 0 0,-1-13 0,1 13 15,-80-14-15,80 1 16,13 13-16,-14-13 0,14 0 0,-13 13 16,-53-27-16,52 27 15,14-13-15,-66-13 0,-14 12 16,80 1-16,0 0 0,13 0 15,-13 13-15,-66-27 0,-345-105 47,372 92-47,-67-13 16,53 14 0,66 25-16,-40-25 15,40 12-15,-264-79 16,211 67-1,13-1 1,40 14-16,-92-27 16,-40-13-1,92 39-15,-26-13 16,0-13 0,92 40-16,-65-26 15,26-1 1,-14-13-1,67 53-15,-27-40 16,27 27 0,-13 0-16,12 13 0,14-13 15,-26 13-15,13-14 16,-1 1 0,1 13-16,0 0 15,0 0-15,0 0 16</inkml:trace>
  <inkml:trace contextRef="#ctx0" brushRef="#br0" timeOffset="97779.6">12872 4617 0,'-13'-13'31,"-14"13"-15,14 0-16,-13 0 0,-1 13 15,-26-13-15,27 0 16,-1 0-16,1 0 0,13 0 0,-14 0 16,1 0-16,12 0 0,1 13 0,0-13 15,-13 0-15,12 0 0,1 0 16,0 0-16,0 0 16,-1 0-16,1 13 15,26 14 1,1-1-16,-1-12 15,0 12-15,0 14 0,1-14 16,-1 14-16,26 13 16,-25-14-16,25 28 0,14-1 15,-13-13-15,-27-14 16,27 14-16,0 13 16,-27-26-16,0-27 15</inkml:trace>
  <inkml:trace contextRef="#ctx0" brushRef="#br0" timeOffset="103448.33">7157 9631 0,'-13'-13'32,"39"13"-32,1 0 15,-14 0-15,13 13 0,1-13 16,-1 0-16,1 0 0,12 13 0,54 0 15,-53-13-15,13 0 0,-14 14 16,1-14-16,13 0 0,-13 13 16,13-13-16,-27 0 0,14 0 15,-14 0-15,1 0 0,-1 0 0,-13 13 16,14-13-16,-14 0 0,0 0 16,14 0-16,-14 0 15,0 0-15,-53 13 31,14-13-31,-27 0 0,13 13 16</inkml:trace>
  <inkml:trace contextRef="#ctx0" brushRef="#br0" timeOffset="104066.34">3334 10372 0,'39'26'15,"1"-26"-15,-13 13 16,78 1-16,-52-14 16,0 0-16,-13 13 0,13-13 15,-13 0-15,-1 0 0,27 0 16,-13 0-16,-13 0 16,-14 0-16,-12-13 0,184-133 46</inkml:trace>
  <inkml:trace contextRef="#ctx0" brushRef="#br0" timeOffset="107809.49">11046 9948 0,'14'0'16,"-1"0"0,0 0-1,0 0 1,0 0-16,1 0 0</inkml:trace>
  <inkml:trace contextRef="#ctx0" brushRef="#br0" timeOffset="108048.16">12078 9922 0,'13'-13'32,"1"13"-17,-1 0 1</inkml:trace>
  <inkml:trace contextRef="#ctx0" brushRef="#br0" timeOffset="108920.39">13719 9842 0,'132'0'16,"-92"0"0,13 0-16,-14 0 0,14 0 0,0 0 15,-13 0-15,13 0 16,-14 0-16,14 14 0,-26-14 0,12 0 16,-12 0-16,-1 0 0,1 13 0,12-13 15,-12 0-15,-14 13 16,0-13-16</inkml:trace>
  <inkml:trace contextRef="#ctx0" brushRef="#br0" timeOffset="109873.37">10610 10464 0,'66'14'0,"-40"-14"16,1 0-16,-1 0 0,27 0 15,0 0-15,79 13 0,-65-13 16,12 0-16,-13 13 0,13-13 16,1 0-16,-1 13 0,14-13 0,-14 0 15,1 0-15,-1 13 0,14-13 16,-14 0-16,0 0 0,1 0 0,-14 0 16,0 0-16,0 0 0,0 0 0,-13 0 15,0 0-15,0 14 0,0-14 16,-13 0-16,-14 0 0,1 0 0,-1 0 15,-13 0-15,14 0 0,-14 0 0,0 0 16,0 0-16,14 0 16,-14 0-1,0-14-15,1 14 16</inkml:trace>
  <inkml:trace contextRef="#ctx0" brushRef="#br0" timeOffset="115708.26">9816 12091 0,'0'-13'0,"13"13"16,0 0 0,1 0-1,-1 13-15,0-13 16,0 0-16,1 0 0,-1 0 15,0 14-15,0-14 0,1 0 0,12 0 16,-13 13-16,14-13 0,-1 0 0,-13 13 16,14-13-16,-1 0 0,1 0 0,-1 13 15,27-13-15,-26 14 16,-1-14-16,14 0 0,-14 0 16,-13 13-16,14-13 0,-1 0 0,1 0 15,-1 0-15,-12 0 0,12 0 16,-13 13-16,0-13 0,14 0 0,-14 0 15,0 0-15,1 0 0,-1 0 0,0 0 16,0 0-16,0 0 0,14 0 16,-14 0-16,0 0 0,1 0 0,12 0 15,-13 0-15,1 0 0,12 0 0,-13 0 16,14 0-16,-14 0 0,13 0 0,1 0 16,-14 0-16,14 13 0,-1-13 15,0 0-15,-12 0 0,12 0 16,1 0-16,-14 0 0,13 14 0,1-14 0,-1 0 15,-13 0-15,14 0 16,-1 0-16,1 0 0,-1 0 0,-13 0 0,14 0 16,-1 0-16,-12 13 0,12-13 15,-13 0-15,14 0 0,-14 0 16,13 0-16,-12 0 0,-1 0 0,13 0 16,-12 0-16,12 0 0,-13-13 0,1 13 15,-1 0-15,13 0 0,-13 0 16,1 0-16,12 0 0,1 0 15,-14 0-15,0 0 0,14 0 0,-14 0 16,0 0-16,0 0 0,14 0 0,-14 0 16,0 0-16,0 0 0,14 0 15,-14 0-15,0 0 0,0 0 16,14 0-16,-14 0 0,0 13 0,1-13 16,12 0-16,-13 0 0,1 0 15,-1 0-15,13 0 0,-13 0 0,1 0 16,12 0-16,-13 0 0,1 0 15,-1 0-15,0 0 0,0 0 16,1 0-16,-1 0 0,0-13 0,0 13 16,0 0-16,1 0 0,-1 0 15,0-14-15,0 14 16,1 0-16,-1 0 16,0-13-16,0 13 15,0 0-15,1 0 16,-1-13-16,0 13 15,0 0-15,1-13 16,-1 13-16,0-14 16,0 14-16,1 0 15,-1 0 1,0-13-16,0 13 16,0 0-16,1-13 15,-1 13 1,-13-13-16,13 13 15,0-14 1,1 14-16,-14-13 16,13 13-16,0-13 15,0 13 1,-13-13 0,14 13-16,-14-13 15,13 13-15,0-14 16,0 1-1,0 13 1,-13-13 0,14 0-1,-14-1 1,13 1 0,-13 0-1,0 0 1,0-1-1,0 1-15,0 0 16,0 0-16,0 0 16,0-1-1,-13 14-15,13-13 16,0 0-16,-14 13 0,14-13 16,-13 13-1,0-14-15,0 1 16,0 13-16,13-13 15,-14 13-15,1-13 16,0 13 0,0-13-16,-1 13 15,1-14 1,0 14-16,0 0 16,-1-13-1,1 13-15,0 0 16,0-13-1,0 13 1,-1 0-16,14-13 0,-13 13 16,0 0-1,0 0-15,-1-14 16,1 14 0,0 0-16,0-13 15,-1 13 1,1 0-1,0 0 17,0 0-32,0 0 15,-1 0 1,1-13 0,0 13-1,0 0 1,-1 0-16,1 0 15,0 0 1,0 0-16,0 0 16,-1-13-16,1 13 15,-13 0 1,12 0-16,-12 0 16,13 0-16,-1 0 15,1 13-15,0-13 0,0 0 16,0 0-16,-1 0 15,1 0-15,0 0 16,-14 0-16,14 0 16,0 0-16,0 0 15,-1 0-15,1 0 0,0 0 16,0 0-16,0 0 0,-1 0 16,-12 13-16,13-13 0,-1 0 15,1 0-15,0 0 0,-13 0 16,12 0-16,1 0 15,0 0-15,0 0 16,-1 0-16,1 0 0,0 0 16,0 0-16,-1 0 0,1 0 15,0 0-15,0 0 0,0 0 0,-1 0 16,1 0-16,0 0 16,0 0-16,-14 0 0,14 0 15,0 0-15,-1 0 16,1 0-16,0 0 0,0 0 15,0 0-15,-1 0 16,1 0-16,0 0 0,0 0 0,-14 0 16,14 0-16,0 0 0,-1 0 0,1 0 15,0 0-15,0 0 16,0 0-16,-1 0 0,1 0 0,0 0 16,0 0-16,-1 0 0,1-13 0,0 13 15,0 0-15,-1 0 0,1 0 0,0 0 16,0 0-16,0 0 0,-1 0 15,1 0-15,0 0 0,0 0 16,-14-13-16,14 13 16,0 0-16,0 0 15,-1 0-15,1 0 16,0 0-16,0 0 16,-1 0-16,1-14 15,0 14-15,0 0 16,-1 0-16,1 0 0,0 0 15,0 0-15,0 0 0,-1-13 0,1 13 16,0 0-16,-14 0 0,14 0 16,0 0-16,0 0 0,-14-13 0,14 13 15,0 0-15,0 0 0,-14 0 0,14 0 16,0 0-16,-1 0 0,1 0 16,0 0-16,0 0 0,-14 0 0,14-13 15,-13 13-15,12 0 16,1 0-16,0 0 0,0 0 0,-1 0 15,1 0-15,0 0 0,0 0 16,0 0-16,-1 0 0,-12 0 16,13 0-16,-1 0 0,1 0 0,0 0 15,0 0-15,-1 0 0,-12 0 16,13 0-16,0 0 0,-1 0 0,-12 0 16,13 0-16,-1 0 0,-12 0 15,13 0-15,-1 0 0,-12 0 0,13 0 16,-14 0-16,14 0 0,0 0 15,-14 0-15,14 0 0,0 0 0,-27 0 16,27 0-16,0 0 0,-27 0 16,27 0-16,0 0 0,-1 0 15,1 0-15,0 13 0,0-13 16,0 0-16,-1 0 0,1 0 16,0 0-16,0 0 0,-1 13 15,1-13-15,0 0 0,0 13 0,-1-13 16,1 0-16,0 0 0,0 14 0,0-14 15,-14 13-15,14-13 0,0 13 0,-27 0 16,27-13-16,-14 14 16,1-14-16,13 13 0,-1-13 15,1 13-15,0-13 0,0 0 0,13 13 16,-14-13-16,1 14 0,0-14 16,13 13-16,-13-13 15,13 13-15,-13 0 16,13 0-16,0 1 0,0-1 0,0 0 15,0 0-15,0 1 16,0-1-16,0 0 0,13-13 0,-13 13 16,0 0-16,13 1 0,-13-1 0,13 0 15,0 0-15,1 1 16,-1-14-16,0 13 16,0-13-16,14 13 0,-14-13 15,27 0-15,-27 13 0,27-13 16,-14 0-16,1 0 0,-1 0 15,0 14-15,1-14 0,-1 0 16,1 0-16,26 0 0,-27 13 0,1-13 16,-14 0-16,13 0 15,-12 0-15,25 13 0,-12-13 16,-14 0-16,0 0 0,0 0 0,1 13 16,-1-13-16,0 0 15,0 0-15,1 0 16,-1-13-16,0 13 15,0-13-15,0 13 16,1 0-16</inkml:trace>
  <inkml:trace contextRef="#ctx0" brushRef="#br0" timeOffset="117716.93">2487 11933 0,'-13'0'31,"0"0"-31,52 0 62,-25 0-62,-1 0 16,0 0-16,0 0 0,0 0 16,14 0-16,-14 0 0,14 0 0,-1 0 15,1 0-15,-1 0 0,14 0 0,-1 0 16,-12 0-16,26 0 0,0 0 16,-14 0-16,14 0 0,0 13 15,0-13-15,93 0 16,-93 13-16,-14-13 0,14 0 15,0 13-15,-13-13 0,13 14 16,-14-14-16,14 0 0,0 0 0,0 13 0,13-13 16,-13 0-16,13-13 0,0 13 0,1 0 15,12-14-15,-13 14 0,0 0 16,0-13-16,1 13 0,-1-13 0,-13 13 16,13 0-16,-13-13 0,0 13 0,-1 0 15,1 0-15,0-14 0,0 14 16,-13 0-16,13 0 0,0 0 0,-14-13 15,1 13-15,0 0 0,-14 0 0,14 0 16,-14 0-16,1 0 0,-1 0 16,1 0-16,-14 0 0,14-13 15,-14 13-15,0 0 0,0 0 0,0 0 16,1 0 0,-1 0-16,-40 13 62,14-13-62,0 0 0,0 13 16</inkml:trace>
  <inkml:trace contextRef="#ctx0" brushRef="#br0" timeOffset="118377.43">2527 12515 0,'0'0'15,"0"-13"1,26 13-16,-13 0 16,14 0-16,-1 0 0,14 0 0,0 0 15,13 0-15,0 0 0,0 0 16,13 13-16,-13-13 0,13 0 0,13 0 15,-13 13-15,0-13 0,1 0 16,-15 13-16,1-13 0,0 0 16,0 13-16,0-13 0,-13 0 0,13 14 15,-14-14-15,1 0 0,0 0 0,-14 0 16,1 0-16,-1 0 0,-13 0 0,14 0 16,-14 0-16,0 0 0,1 0 15,-1 0-15,0 0 0,0 0 16,0 0-16,1 0 15,-28-27 17,14 14-32,0 0 15,0 0-15,0-1 0,14-12 16,-1-14-16</inkml:trace>
  <inkml:trace contextRef="#ctx0" brushRef="#br0" timeOffset="133245.17">9499 5239 0,'-27'13'47,"14"-13"-47,-14 13 0,-65 14 31,79-14-31,-14-13 0,14 13 0,0-13 16,-1 13-16,1-13 0,0 14 15,0-14-15,0 13 0,-1 0 16,28 0 0,-1-13-16,13 14 15,-13-14-15,1 0 16,12 0-16,1 0 0,-14 0 0,13 0 15,1 13-15,-14-13 0,13 0 0,-12 0 16,-1 0-16,0 0 0,14 0 16,-14 0-16,0 0 0,-13 13 0,13-13 15,0 0-15,1 0 16</inkml:trace>
  <inkml:trace contextRef="#ctx0" brushRef="#br0" timeOffset="133794.44">9366 5345 0,'40'13'0,"-80"-26"0,106 26 0,-52-13 15,12 0-15,1 13 0,-1-13 0,14 13 16,-1-13-16,14 0 0,0 14 16,0-14-16,13 13 0,-13 0 15,13-13-15,0 0 0,1 13 0,12-13 16,0 13-16,1-13 0,-1 14 0,1-14 15,12 13-15,-13-13 0,14 13 16,-14-13-16,14 13 0,0-13 0,-14 14 16,14-14-16,-1 13 0,-12-13 15,12 13-15,-12-13 0,12 13 0,-12 0 16,-1-13-16,0 14 0,1-14 0,-14 13 16,0-13-16,-13 13 15,0-13-15,0 13 0,-14-13 0,14 14 0,-26-14 16,12 0-16,-12 0 0,-1 0 0,-12 13 15,12-13-15,-13 0 0,1 0 16,-1 0-16,0 0 0,0-13 16,0 13-16,1 0 15,-41-14 32</inkml:trace>
  <inkml:trace contextRef="#ctx0" brushRef="#br0" timeOffset="134216.78">12369 5490 0,'0'0'0,"53"27"15,-40-14-15,14-13 0,-1 13 0,14 0 16,-14 0-16,14 1 0,-13-14 16,-1 13-16,14 0 0,-27 0 0,0-13 15,0 14-15,1-14 16,-1 13-16,-26 0 16,-1-13-16,-12 13 15,0-13-15,-14 14 0,-13-14 0,0 13 16,0-13-16,0 13 0,-92 13 15,79-26-15,-1 14 0,1-1 16,-13-13-16,13 13 0,0 0 0,13-13 0</inkml:trace>
  <inkml:trace contextRef="#ctx0" brushRef="#br0" timeOffset="146656.34">12303 1085 0,'13'0'156,"40"0"-140,0-13-16,79-1 15,-12 14-15,-1 0 16,0 14-16,39-1 16,28 0-16,-28 0 15,-12-13-15,-27 13 16,13-13-16,1 0 15,-54 0-15,-13-13 16,13 0-16,-26 13 16,-26 0-16,-1 0 15</inkml:trace>
  <inkml:trace contextRef="#ctx0" brushRef="#br0" timeOffset="147768.6">12435 212 0,'14'0'140,"39"0"-140,-1 0 16,68 0-16,-15 0 16,14 0-16,14 0 15,25 0 1,1 0-16,-13 0 16,-27 0-16,-13 0 15,26 0-15,0 0 0,-39 0 16,-53 0-1,-1 0-15,-12 0 16,-14 0-16</inkml:trace>
</inkml:ink>
</file>

<file path=ppt/ink/ink17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2:59:29.001"/>
    </inkml:context>
    <inkml:brush xml:id="br0">
      <inkml:brushProperty name="width" value="0.05292" units="cm"/>
      <inkml:brushProperty name="height" value="0.05292" units="cm"/>
      <inkml:brushProperty name="color" value="#FF0000"/>
    </inkml:brush>
  </inkml:definitions>
  <inkml:trace contextRef="#ctx0" brushRef="#br0">1640 4419 0,'133'-14'16,"-266"28"-16,319-28 0,-133 14 0,13 0 15,0 0-15,13-13 0,1 13 0,-1 0 16,0 0-16,1 0 0,-1 0 15,0 0-15,14 0 0,-27 0 0,14 0 16,-14 0-16,-13 0 0,0 0 0,-1 0 16,1 0-16,-13 0 0,0 0 15,-14 0-15,1 13 0,-1-13 0,1 0 16,-14 0-16,0 0 0,0 0 16</inkml:trace>
  <inkml:trace contextRef="#ctx0" brushRef="#br0" timeOffset="329.84">1905 4657 0,'0'0'16,"26"13"-16,1-26 0,-1 13 15,27 0-15,-13 0 0,13-14 0,26 14 16,-13 0-16,14-13 0,-14 13 16,13-13-16,1 13 0,-14-13 0,0 13 15,0-13-15,-13 13 0,0 0 0,0 0 16,-27 0-16,14 0 0,-14 0 16,1 0-16,-1 0 0,-12 0 0,-1 0 15,0 0-15,0 0 0,1 0 16,-1 0-16,0 0 0,0 0 15,0 0 1</inkml:trace>
  <inkml:trace contextRef="#ctx0" brushRef="#br0" timeOffset="1265.96">5927 4207 0,'92'0'0,"-184"0"0,237 0 0,-79-13 16,14 13-16,-1 0 0,14 0 0,-1 0 16,1 0-16,13 0 15,26 0-15,0 13 0,-26-13 0,26 0 16,1 13-16,-1-13 0,0 0 0,-13 13 15,-13-13-15,0 0 0,-13 14 16,12-14-16,-12 13 0,13-13 0,-13 0 16,-14 0-16,0 0 0,1 13 0,-27-13 15,-1 0-15,1 0 0,-13 0 16,0 0-16,-14 13 0,1-13 0,-1 0 16,-13 0-16,1 0 0</inkml:trace>
  <inkml:trace contextRef="#ctx0" brushRef="#br0" timeOffset="1594.03">6839 4405 0,'67'0'16,"-134"0"-16,187 0 0,-54-13 0,26 13 15,1 0-15,-1-13 0,1 13 0,39 0 16,-26 0-16,0 0 0,0 0 16,0 0-16,0 0 0,-14 0 0,14 0 15,-13 0-15,-1 0 0,-12 0 0,-1 13 16,-26-13-16,13 0 0,-13 0 15,-13 0-15,13 13 0,-14-13 0,-12 0 16,-1 0-16,1 14 0,-14-14 0,0 0 16,0 13-16,1-13 0</inkml:trace>
  <inkml:trace contextRef="#ctx0" brushRef="#br0" timeOffset="10925.81">6535 5450 0,'13'40'0,"-13"-27"31,0-39 31,0 13-46,14-1-16,-14 1 16,0 0-1,0 0-15,0 0 0,0-1 16,0-12-16,0 13 0,0-1 16,0 1-16,0-13 0,0 12 0,0-12 15,0 13-15,0-14 0,-14 14 0,14 0 16,0 0-16,0-1 0,0-12 15,0 13-15,0-1 0,0 1 16,0 0-16,0 0 0,0 0 0,0-1 16,0 1-1,0 0-15,-13 13 16,13 40 15,0-27-31,0 0 16,0 13-16,0-12 0,13 12 0,-13 1 15,-13-1-15,13 1 0,0-14 0,0 13 16,0 1-16,0-1 0,0-13 16,0 14-16,0-14 0,0 14 0,0-14 15,0 0-15,0 0 0,0 0 0,0 1 16,0-1-16,0 0 0,0 0 16,0 1-16,0-1 0,0 0 0,0 0 15,0 0-15,0 1 16,0-1-1,0 0 1,0 0 0,13-13 15,-13 14-15,14-14-1,-1 0 1,0 0-16,0 0 15,1 0-15,-1 0 0,0 0 16,0 0-16,1 0 0,-1 0 16,0 0-16,0 0 0,0 0 15,14 0-15,-14 0 0,0 0 0,14 13 16,-14-13-16,13 0 0,1 0 0,-1 0 16,1 0-16,-1-13 0,1 13 15,-1 0-15,1 0 0,12 0 0,-12 0 16,-1 0-16,14 0 0,-14 0 0,14-14 15,-13 14-15,-1 0 0,0 0 16,1 0-16,-1 0 0,1 0 0,-1 0 16,1 0-16,-1 0 0,1-13 0,-1 13 15,-13 0-15,27 0 0,-27 0 16,14 0-16,-1-13 0,1 13 16,-1 0-16,1 0 0,-1 0 0,1 0 15,-1 0-15,0 0 0,-12 0 0,12 0 16,1 0-16,-1 0 0,-13 0 15,14 0-15,-14 0 0,13 0 0,-12 0 16,-1 0-16,13 0 0,1 0 0,-14 0 16,13 0-16,1-13 0,-1 13 15,-12 0-15,12 0 0,-13 0 0,14 0 16,-1 0-16,-13 0 0,14-14 0,-1 14 16,-12 0-16,12 0 0,1 0 15,-14 0-15,13 0 0,1 0 0,-1 0 16,1 0-16,-1 0 0,0 0 15,-12 0-15,12 0 0,1 0 0,-1 0 16,1 0-16,-1 0 0,-13 0 16,14 0-16,-14 0 0,13 0 0,1 0 15,-14 0-15,14 0 0,-1 0 16,-13 0-16,14 0 0,-1 0 0,-13 0 16,14 0-16,-1 0 0,-12 0 0,12 0 15,0 0-15,-12 0 0,12 0 0,1 0 16,-1 0-16,-13 14 0,14-14 15,-14 0-15,13 0 0,-12 0 0,-1 0 16,13 0-16,-12 0 0,12 0 0,-13 0 16,0 0-16,14 0 0,-14 0 15,14 0-15,-14 0 0,0 0 16,0 13-16,14-13 0,-14 0 0,0 0 16,0 0-16,1 0 0,12 0 0,-13 0 15,1 0-15,-1 0 0,0 0 16,0 0-16,1 0 0,12 0 0,-13 0 15,0 0-15,1 0 0,-1 0 0,13 0 16,-12 0-16,-1 0 0,0 0 0,13 0 16,-12 0-16,-1 0 0,13 0 15,-12 13-15,-1-13 0,0 0 16,0 0-16,14 0 0,-14 0 0,0 0 16,0 0-16,1 0 0,-1 0 15,0 0-15,0 0 0,1 13 16,-1-13-16,0 0 0,14 0 0,-14 0 0,0 0 15,0 0-15,0 0 0,1 0 0,-1 0 16,0 0-16,0 0 0,1 0 16,-1 14-16,0-14 0,0 0 0,1 0 15,-1 0-15,0 0 0,0 0 0,0 0 16,1 0-16,-1 0 0,0 0 16,14 0-16,-14 13 0,0-13 0,0 0 15,14 0-15,-14 0 0,0 0 0,14 0 16,-14 0-16,0 0 0,14 0 15,-14 0-15,0 0 0,0 0 16,14 0-16,-14 0 0,0 0 0,14 0 16,-14 0-16,0 0 0,14 0 0,-14 0 15,0 0-15,13 0 16,-12 0-16,-1 0 0,0 0 0,14 0 0,-14 0 16,0 0-16,14 0 0,-14 0 0,0-13 15,13 13-15,-12 0 0,-1 0 16,0 0-16,0 0 0,14 0 0,-14 0 15,0-14-15,0 14 0,14 0 16,-14 0-16,0 0 0,1 0 16,-1 0-16,-13-13 0,13 13 15,0 0-15,1 0 0,-1-13 16,0 13-16,0 0 16,0-13-16,1-1 15,-1 1 1,-13 0-16,13 0 15,-13 0-15,13 13 16,-13-14-16,0 1 0,0 0 16,0 0-16,14-1 0,-14 1 15,0 0-15,0 0 0,0 0 16,0-14-16,0 14 0,0-14 0,0 1 16,0-1-16,0 1 0,0 0 15,0 12-15,0-12 0,0-1 0,0 14 16,0 0-16,0 0 0,0-1 15,0-12-15,0 13 0,0 0 16,0-1-16,0 1 16,0 0-16,0 0 0,0-1 15,0 1 1,-14 0 0,14 0 15,-13 13-31,0-14 15,0 14 1,-1-13 0,1 13-16,0 0 15,13-13-15,-13 13 0,0 0 0,-1 0 16,1-13-16,0 13 0,0 0 16,-1 0-16,1 0 0,-13 0 0,12-13 15,1 13-15,0 0 0,0 0 16,-14 0-16,14 0 0,0 0 0,0 0 0,-1 0 15,-12 0-15,13 0 0,-14-14 16,14 14-16,-13 0 0,-1 0 16,14 0-16,-14 0 0,1 0 0,0 0 15,-1 0-15,1 0 0,12 0 0,-12 0 16,-1-13-16,1 13 0,0 0 16,-1 0-16,1 0 0,-1 0 0,1 0 15,-1 0-15,14 0 0,-13 0 0,-1 0 16,1 0-16,-1 0 0,1 0 15,-1 0-15,14 0 0,-13 0 0,-1 0 16,1 0-16,-1 0 0,1 0 0,-1 0 16,1 0-16,-1-13 0,1 13 0,-14 0 15,14 0-15,-1 0 0,-12 0 16,12 0-16,-13 0 0,14 0 16,-14 0-16,-13 0 0,14 0 0,-14 0 15,13 0-15,0 0 0,1 0 16,-1 13-16,14-13 0,-14 0 0,0 0 15,14 0-15,-14 0 0,14 0 0,-14 0 16,14 0-16,-1 0 0,-13 0 0,14 0 16,-1 0-16,1 0 0,-14 0 15,14 0-15,-14 0 0,14 0 0,-14 0 16,14 0-16,-1 0 0,1 0 0,-1 0 16,1 0-16,-1 0 0,14 0 15,-13 0-15,12 0 0,-12 0 0,13 0 16,-1 0-16,-12 0 0,13 0 0,-1 0 15,-12 0-15,13 0 0,0 0 16,-1 0-16,-12 0 0,13 0 16,-1 0-16,1 0 0,-13 0 0,13 0 15,-1 0-15,-12 0 0,13 0 0,-1 0 16,-12 0-16,13 0 16,-1 0-16,-12 0 0,13 0 0,0 0 15,-14 0-15,14 0 0,0-13 0,-14 13 0,14 0 16,0 0-16,-14 0 0,14 0 15,-13 0-15,12 0 0,-12 0 16,13 0-16,-14 0 0,14 0 0,-13 0 16,-1 0-16,1 0 0,12 0 0,-12 0 15,-1 0-15,1 0 0,13 0 16,-14 0-16,1 0 0,13 0 0,-14 0 16,1 13-16,-1-13 0,14 0 0,-13 0 15,-1 0-15,14 0 0,0 0 16,-14 0-16,14 0 0,-14 0 0,14 0 15,0 0-15,0 0 0,-14 0 0,14 0 16,-13 0-16,12 0 0,1 0 0,-13 0 16,12 0-16,1 0 0,-13 0 15,13 0-15,-1 0 0,-12 0 16,13 0-16,-1 0 0,1 13 0,0-13 16,-13 0-16,12 0 15,1 0-15,0 0 0,0 0 0,-1 0 16,1 0-16,0 0 0,0 0 15,13 14-15,-27-14 0,14 0 16,0 0 0,0 0-16,13 13 0,-14-13 15,1 0-15,0 0 32,0 13-32,-1-13 15,1 0 1,0 0-1,0 0-15,-1 0 16,1 0 0,0 13-16,0-13 0,0 0 15,-1 0-15,-12 0 16,13 0 0,-1 0-16,1 0 0,0 13 15,0-13-15,0 0 0,-1 0 16,1 0-16,0 0 0,0 14 0,-1-14 15,1 0-15,0 0 0,0 13 0,-1-13 16,-12 0-16,13 13 0,-14-13 16,1 0-16,13 0 0,-14 13 15,14-13-15,-14 0 0,14 0 0,0 0 16,0 14-16,0-14 0,-14 0 0,14 0 16,0 0-16,-1 0 0,1 0 15,0-14-15,-14 14 0,14 0 16,13-13-16</inkml:trace>
  <inkml:trace contextRef="#ctx0" brushRef="#br0" timeOffset="12235.9">11298 5292 0,'-14'0'16,"54"0"0,-27-14-1,1 14-15,12 0 0,-13 0 16,1 0-16,12 0 0,0-13 0,-12 13 16,25 0-16,-12 0 0,-1-13 15,14 13-15,-14 0 0,1 0 0,13 0 16,-14 0-16,14 0 0,-1 0 15,-12 0-15,13 0 0,-14 0 16,14 0-16,-1 0 0,1 13 0,0-13 16,-14 0-16,67 27 0,-67-14 15,14 0-15,0-13 0,-1 27 0,1-14 16,0 0-16,-1 0 0,-12 14 16,13-14-16,-14 0 0,14 14 15,-14-14-15,1 13 0,105 93 31,-119-105-31,14-1 0,-27 13 16,13-12-16,0 12 0,0-13 0,1 14 0,-14-14 16,13 13-16,-13-12 0,0-1 15,13 13-15,-13-12 0,0 12 16,0 0-16,-13-12 0,13 12 0,-13 1 16,13-1-16,-14 0 0,1 14 0,0-13 15,-14 12-15,14-12 0,0 12 16,-27 28-16,14-41 0,-1 1 15,14-1-15,-13 0 0,12 1 0,-12-1 16,-1 1-16,14-1 0,-13 1 0,-1-1 16,14-13-16,-13 14 0,-1-1 15,14-12-15,-14-1 0,14 0 16,0 14-16,-13-14 0,-1 13 0,1-13 16,-1 14-16,1-14 0,-1 14 0,1-14 15,-1 13-15,1-13 0,-1 1 16,1 12-16,0-13 0,-1 1 0,1-1 15,12 0-15,-12 0 0,13 1 0,-14-1 16,14 0-16,0 0 0,-14 0 0,14-13 16,0 14-16,0-1 0,-1-13 15,14 13-15,-13-13 0,0 13 0,0-13 16,13 14-16,-13-14 0,-1 0 16,1 13-1,0-26 32,13-1-31,13 1-1,-13 0 1</inkml:trace>
  <inkml:trace contextRef="#ctx0" brushRef="#br0" timeOffset="13023.93">11748 6681 0,'0'13'31,"0"13"-15,0-12-1,-14-1-15,14 0 0,0 0 0,-13 1 16,13-1-16,-13 0 0,13 0 16,-13 0-16,-1 1 0,14 12 0,-13-13 15,13 1-15,-13-1 0,0 0 16,13 0-16,0 1 0,-14-14 0,14 13 15,0 0-15,-13 0 0,13 0 16,0 1-16,0-1 16,0 0-16,0 0 15,0 1 1,0-1 0,13 0-1,1-13 1,-1 13-16,0-13 15,0 0-15,1 0 16,-1 14-16,0-14 0,0 0 16,1 0-16,12 0 0,0 13 0,-12-13 15,12 0-15,1 0 0,-14 0 0,13 0 16,1 0-16,-14 13 0,13-13 0,1 0 16,-14 0-16,0 0 15,14 0-15,-14 13 0,0-13 0,14 0 0,-14 0 16,0 0-16,0 0 0,1 0 15,-1 0-15,0 0 0,0 0 16,1 0-16,-1 0 16,0 0-1,0 0-15,0 0 16,1 0 15,-1 0-15,0 13 15,-13-26 16,0 0-31,0-13-1,0 12-15,-13 1 0,13-13 0</inkml:trace>
  <inkml:trace contextRef="#ctx0" brushRef="#br0" timeOffset="14593.49">10319 5636 0</inkml:trace>
  <inkml:trace contextRef="#ctx0" brushRef="#br0" timeOffset="14838.75">10319 5649 0,'-13'13'47,"-1"-13"-31</inkml:trace>
  <inkml:trace contextRef="#ctx0" brushRef="#br0" timeOffset="15672.93">10319 5636 0,'-13'13'15</inkml:trace>
  <inkml:trace contextRef="#ctx0" brushRef="#br0" timeOffset="20613.68">14936 10028 0,'0'26'78,"0"-13"-78,0 1 0,0-1 16,0 13-16,0-12 0,0-1 0,0 13 16,0-13-16,0 1 0,0 12 0,-14-13 15,14 1-15,0 12 0,0-13 16,0 1-16,0-1 0,0 13 0,0-13 16,0 1-16,0-1 0,-13 0 15,13 0-15,0 1 16,0-1-16,0 0 15</inkml:trace>
  <inkml:trace contextRef="#ctx0" brushRef="#br0" timeOffset="21345.92">15399 10266 0,'13'0'0,"0"0"15,0 0-15,-13-13 16,14 13-16,-1 0 0,0 0 16,0 0-16,14 0 0,-14 0 0,14 0 15,-1 0-15,0-14 0,1 14 0,-1 0 16,1 0-16,-1 0 0,1 0 16,-1 0-16,-13 0 0,14 0 15,-1 0-15,1 0 0,-1 0 0,-13 0 16,14 0-16,-14 0 0,0 0 0,1 0 15,12 0-15,-13 0 0,1 0 16,-1 0-16,0 0 0,0-13 16,0 13-16,1 0 15,-1 0-15,0 0 16,0 0 0</inkml:trace>
  <inkml:trace contextRef="#ctx0" brushRef="#br0" timeOffset="22250.14">16060 10094 0,'0'26'78,"13"-26"-78,-13 14 0,14-14 16,-1 0-16,0 13 15,0-13-15,1 13 16,-1-13-16,0 0 16,0 13-16,0-13 0,1 0 15,-14 13-15,13-13 0,0 0 16,0 0-16,1 14 15,-1-14-15,0 0 16,0 0 0,1 13 15,-1-13 0,-26 13 0,-1 0-31,1 1 16,13-1-16,-13-13 0,0 13 16,-1 0-16,1 1 0,0-14 15,13 13-15,-13 0 0,-1-13 16,14 13-16,-13-13 0,0 13 0,0 1 16,0-14-1,13 13-15,-14-13 0,14 13 16,-13-13-1,13 13-15,-13-13 16,0 14 15,-1-28 94,14 1-109,-13 0-16,0 0 0,0-1 16</inkml:trace>
  <inkml:trace contextRef="#ctx0" brushRef="#br0" timeOffset="24966.02">16841 10094 0,'13'-13'0,"0"-1"15,0 14 1,1 0-16,-1 0 15,-13 14-15,13-14 0,0 0 16,1 13-16,-1-13 0,-13 13 0,13-13 16,-13 13-16,13 1 0,-13-1 15,0 0-15,-13 0 0,13 0 16,0 1-16,-13-14 0,0 13 16,13 0-16,-14 0 0,1-13 0,13 14 15,-13-14-15,13 13 0,-13 0 16,-1 0-1,28-13 17,-1 0-32,0 0 0,0 0 15,1 0-15,-1 0 0,0 0 16,0 0-16,14 0 0,-14 0 0,13 0 16,-12 0-16,-1 0 0,13 0 0,-12 0 15,-1 0-15,0 0 0,0-13 16,0 13-16,1 0 0,-1 0 15,0 0-15</inkml:trace>
  <inkml:trace contextRef="#ctx0" brushRef="#br0" timeOffset="26036.93">14883 11046 0,'0'-13'15,"0"0"1,13 0 0,0 13-16,0 0 0,1 0 15,-1 13-15,0-13 16,0 13-16,-13 0 0,14-13 16,-14 14-16,0-1 0,0 0 0,-14 0 15,14 0-15,-13 1 0,0 12 16,-14 1-16,14-14 0,-13 13 0,-1-12 15,14-1-15,0 0 0,0 0 0,-1 0 16,1-13-16,0 14 0,0-1 0,0-13 16,-1 13-1,1 0-15,13 1 32,27-14-17,-1 0 1,0 0-1,-12 0-15,-1-14 16,0 14-16,0 0 16,1 0-1,-1 0 1,0 0-16,0 0 16,14 0-1,-14-13-15,0 13 0,0 0 16,1 0-16,-1 0 0</inkml:trace>
  <inkml:trace contextRef="#ctx0" brushRef="#br0" timeOffset="26550.02">15756 11126 0,'-13'0'0,"39"-14"32,-13 14-32,1 0 0,-1 0 0,13 0 15,-12 0-15,12-13 0,-13 13 16,14 0-16,-1 0 0,1 0 0,-14 0 15,13-13-15,1 13 0,-1 0 16,-13 0-16,14 0 0,-14 0 0,14 0 16,-14-13-16,0 13 0,0 0 0,0 0 15,1 0-15,-1 0 0,0 0 16,0 0-16,1 0 16,-1 0-1,0-13-15</inkml:trace>
  <inkml:trace contextRef="#ctx0" brushRef="#br0" timeOffset="27044.82">16206 10927 0,'13'14'62,"0"-1"-62,0-13 0,1 13 16,-1-13-16,0 0 0,0 13 15,1-13-15,-1 0 0,0 13 16,0-13-16,0 0 0,-13 14 0,14-14 16,-1 0-16,0 0 0,0 13 15,1-13 1,-1 0-16,0 0 16,-13 13-16,13-13 15,1 0 1,-14 13-16,13-13 15,-13 14 1,-13-1-16,13 0 16,-14 0-16,1 0 15,0 1-15,0 12 16,-27 1-16,27-14 0,-1 0 16,1 14-16,0-27 0,0 13 0,0 0 15,-1 0-15,1-13 0,13 13 16,-13-13-16,0 0 0,-1 0 15</inkml:trace>
  <inkml:trace contextRef="#ctx0" brushRef="#br0" timeOffset="28168.06">7514 5530 0</inkml:trace>
  <inkml:trace contextRef="#ctx0" brushRef="#br0" timeOffset="31065.74">17066 10848 0,'13'0'0,"0"0"15,0 0 1,1 0 0,-54 13 46,40 0-46,-13-13-16,-1 0 0,1 14 0,0-14 15,0 13-15,-1-13 0,1 0 16,13 13-16,-13-13 0,0 0 16,13 13-16,-13-13 15,-1 14 1,28-1 0,-1-13-1,0 0-15,0 0 16,0 13-16,1-13 0,-1 0 0,13 13 15,-12-13-15,-1 0 0,0 13 16,0-13-16,1 14 0,-1-14 0,0 13 16,0-13-16,0 13 15,-26 0 1,0 1 0,0-1-16,0-13 0,-1 13 0,-12 0 15,-1-13-15,1 13 0,-1-13 0,1 14 16,13-14-16,-14 0 0,1 13 15,13-13-15,-1 0 0,1 0 0,0 0 16,0 0-16</inkml:trace>
  <inkml:trace contextRef="#ctx0" brushRef="#br0" timeOffset="32063.94">14896 11867 0,'26'0'0,"-12"0"0,-1 13 16,0-13-16,-13 13 0,0 0 15,13-13-15,-26 13 0,13 1 16,0-1-16,-13 0 0,0 0 16,-1 1-16,1-1 15,13 0-15,-13-13 0,13 13 0,-13 1 16,26-1 0,0-13-16,0 13 15,1-13-15,-1 13 0,0-13 16,0 13-16,1-13 0,-1 14 0,0-14 15,-13 13-15,13 0 0,-13 0 16,0 1-16,-13-1 16,0 0-16,0 0 0,-14 1 0,14-1 15,-14 0-15,1-13 0,0 13 16,12-13-16,-12 13 0,13-13 16,-1 0-16,1 0 0,0 0 0,0 0 15,0-13-15,26 0 16,0 13-1,0-13-15,14 13 0,-1-13 0,1 13 16,-1-14-16</inkml:trace>
  <inkml:trace contextRef="#ctx0" brushRef="#br0" timeOffset="32402.31">15782 12025 0,'27'0'31,"-14"0"-31,0 0 0,14 0 16,-14 0-16,13-13 0,-12 13 16,12 0-16,1 0 0,-1 0 15,-13 0-15,14 0 0,-14-13 0,13 13 16,-12 0-16,-1 0 0,13-13 16,-12 13-16,-1-14 0,0 14 0,-13-13 15,13 13-15</inkml:trace>
  <inkml:trace contextRef="#ctx0" brushRef="#br0" timeOffset="32689.17">16166 11840 0,'53'-13'15,"-40"26"-15,0-13 16,1 0-16,-1 0 0,0 13 15,0-13-15,1 14 0,-1-14 0,0 13 16,0 0-16,0-13 0,-13 13 16,0 0-16,14-13 0,-14 14 0,0-1 15,0 0-15,-14-13 0,14 13 16,-13 1-16,0-1 0,-13 13 0,12-12 16,-12-1-16,-1 13 0,14-13 15,-13 14-15,-1-14 0,14 0 0,-13 1 16,12-1-16,1-13 0,-13 13 15,12 0-15,1-13 0,0 14 0,0-14 16,-14 0-16</inkml:trace>
  <inkml:trace contextRef="#ctx0" brushRef="#br0" timeOffset="34657.96">17171 11827 0,'14'0'16,"-28"26"46,1-26-46,13 14-16,-13-1 0,0 0 16,0 0-16,-14 0 0,14 1 0,0-1 15,-14 0-15,14 0 0,0 1 0,-1-1 16,1 0-16,0 0 0,0 1 15,0-1-15,-1-13 0,14 13 0,-13-13 16,13 13-16,-13-13 0,13 13 0,-13-13 16,26 14 15,0-14-31,14 0 16,-14-14-16,0 14 0,0 0 0,14 0 15,-1 0-15,1-13 0,-1 13 16,1 0-16,-1 0 0,0 0 0,1 0 15,-1 0-15,1-13 0,-14 13 0,14 0 16,-14 0-16,0 0 0,0 0 0,0 0 16,1 0-16,-1 0 0,0 0 15,0 0-15,1-13 16,-41 0 31</inkml:trace>
  <inkml:trace contextRef="#ctx0" brushRef="#br0" timeOffset="34944.01">17171 11867 0,'0'0'0,"-13"0"0,0 13 15,13 0-15,0 0 16,0 0-16,0 1 0,0-1 16,0 13-16,0-12 0,0 12 15,0-13-15,0 14 0,0-14 0,0 13 16,0-12-16,0 12 0,0-13 0,0 14 16,0-14-16,0 0 0,0 1 15,0-1-15,0 0 0,0 0 0,0 0 16,-13 1-16,13-1 15,0 0 1</inkml:trace>
  <inkml:trace contextRef="#ctx0" brushRef="#br0" timeOffset="35880.06">15121 12832 0,'-27'14'0,"14"-1"0,0 0 16,0 0-16,0 0 0,-1-13 0,1 27 15,0-14-15,-14 0 0,14 1 0,0-1 16,0 0-16,-1 0 0,1 1 16,0-1-16,0 0 0,13 0 15,-13 0-15,26 1 16,-13-1 0,13-13-16,0 0 0,14 0 15,-14 0-15,0 0 0,0 0 0,14 0 16,-1 0-16,-12 0 0,12 0 15,0 0-15,1 0 0,-14 0 16,14 0-16,-14 0 0,0 0 0,0 0 16,1 0-16,-1 0 0,0-13 0,0 13 15,0 0 1</inkml:trace>
  <inkml:trace contextRef="#ctx0" brushRef="#br0" timeOffset="36145.71">15108 12938 0,'-14'40'16,"14"-27"-1,0 0-15,0 14 0,0-14 0,0 13 16,0-12-16,-13 12 0,13 1 15,0-14-15,0 13 0,0 1 0,0-14 16,0 13-16,0-12 0,0 12 16,0-13-16,0 1 0,0-1 0,0 0 15,0 0-15,0 0 16,13-13-16,1 0 16,12 0-1,-13 0-15</inkml:trace>
  <inkml:trace contextRef="#ctx0" brushRef="#br0" timeOffset="36522.31">15835 13084 0,'0'-14'16,"14"1"0,-1 13-16,0 0 15,0 0-15,14 0 0,-14-13 0,0 13 16,0 0-16,14 0 0,-14 0 0,0 0 15,14 0-15,-14 0 16,0 0-16,0 0 0,1 13 0,-1-13 0,0 0 16,0 0-16,1 0 0,-1 0 15,0 0-15,0 0 16</inkml:trace>
  <inkml:trace contextRef="#ctx0" brushRef="#br0" timeOffset="36876.3">15941 12938 0,'40'0'31,"-27"13"-15,0-13-16,1 0 0,-1 0 0,0 14 15,13-14-15,-12 13 0,-1-13 16,0 0-16,0 13 0,1-13 0,-1 13 16,0-13-16,0 0 0,-13 14 0,13-14 15,1 13-15,-1-13 0,-13 13 16,13 0-1,-26 0-15,13 1 16,-13-1-16,-1 0 0,1 0 16,0 1-1,13-1-15,-13-13 0</inkml:trace>
  <inkml:trace contextRef="#ctx0" brushRef="#br0" timeOffset="37732.75">17066 12819 0,'13'-13'15,"40"13"1,-40 13-16,0-13 0,0 0 16,1 0-16,-1 13 0,0-13 15,0 14-15,1-14 0,-14 13 0,0 0 16,0 0-16,0 0 16,0 1-16,0-1 0,-14-13 15,1 13-15,13 0 0,-13 1 0,0-1 16,-1 0-16,1 0 31,13 1-15,13-14-1,-13 13-15,14-13 0,-1 0 16,0 0-16,0 0 0,1 0 0,-1 0 16,13 0-16,-12 0 0,-1 0 0,13-13 15,-13 13-15,1 0 0,-1 0 16,0 0-16,14 0 0,-14-14 15,0 14-15,0 0 0,-39 27 63</inkml:trace>
  <inkml:trace contextRef="#ctx0" brushRef="#br0" timeOffset="38690.08">15094 13745 0,'27'13'16,"-14"-13"15,0 0-31,1 0 16,-41 14 15,14-14-16,13 13-15,-13-13 16,-1 0-16,1 13 16,40-13 15,-14 0-15,-13 13-16,13-13 0,0 0 15,1 0-15,-1 13 0,0-13 0,0 14 16,1-14-16,-14 13 0,13-13 0,-13 13 15,0 0-15,0 1 16,-13-1-16,-1 0 0,14 0 16,-26 1-16,13-14 0,-1 13 15,1 0-15,0-13 0,-14 13 16,14-13-16,0 0 0,0 13 0,0-13 16,-1 0-16,1 0 0,0 0 0,0 0 0,13 14 15,-14-14-15,1 0 16</inkml:trace>
  <inkml:trace contextRef="#ctx0" brushRef="#br0" timeOffset="39030.08">15677 13904 0,'13'0'0,"-26"0"0,39-13 15,-13 13-15,0 0 0,14 0 16,-1-14-16,1 14 0,-1 0 15,1-13-15,-1 13 0,1 0 0,-1-13 16,1 13-16,-1 0 0,1 0 0,-14 0 16,13 0-16,-13 0 0,1 0 15,-1 0-15,0 0 0,0 0 16,1 13 0</inkml:trace>
  <inkml:trace contextRef="#ctx0" brushRef="#br0" timeOffset="39384.14">16047 13719 0,'-13'0'0,"39"0"31,-13 0-31,1 0 0,-1 0 16,0 0-16,0 0 0,1 0 15,-1 0-15,0 0 0,13 0 0,-12 0 16,-1 0-16,0 0 0,0 13 0,1-13 16,-1 0-16,-13 13 0,13-13 15,0 0-15,-13 13 0,14 1 16,-14-1-16,0 0 15,0 0-15,0 0 0,0 1 16,0-1-16,-14 0 0,14 0 16,0 1-16,0-1 0,-13-13 15,13 13-15,0 0 16</inkml:trace>
  <inkml:trace contextRef="#ctx0" brushRef="#br0" timeOffset="39683.99">17132 13547 0,'0'13'0,"0"0"15,0 0-15,0 1 0,0-1 16,0 0-16,0 0 0,0 14 16,0-14-16,0 0 0,0 0 0,0 14 15,-13-14-15,13 0 0,0 1 0,0-1 16,0 0-16</inkml:trace>
  <inkml:trace contextRef="#ctx0" brushRef="#br0" timeOffset="40720">15108 13772 0,'13'-27'0,"-13"14"16,0 0 0,-13-1-1,13 1-15,0 0 16,-14 0-1,14-1-15,0 1 16,14 13 15,12 0-15,-13 0-16,14 0 16,-14 13-16,0-13 0,1 0 15,-1 0-15,0 0 0,0 0 16,0 14-16,1-14 0,-1 0 0,0 0 15,0 0 1,1 0-16,-1-14 0,0 1 16,-13 0-16,13 13 15,-13-13-15</inkml:trace>
  <inkml:trace contextRef="#ctx0" brushRef="#br0" timeOffset="41642.44">14155 9366 0,'-13'0'16,"26"27"-1,0-14 1,-13 13-16,14-12 0,-14 12 15,13 1-15,-13-1 0,13-13 0,0 14 16,-13-1-16,14-13 0,-14 1 0,0 12 16,13-13-16,-13 1 0,13-1 15,-13 0-15,13 0 0,1 0 16,-1-26 15,-13 0-31,0 0 0,0 0 16,0-14-16,13 1 0,-13-1 0,0 1 15,0-1-15,0-12 0,0 12 0,0 1 16,0-1-16,0 14 0,0-14 16,0 14-16,0 0 0,0 0 0,0 0 15,13 39 17,-13-13-32</inkml:trace>
  <inkml:trace contextRef="#ctx0" brushRef="#br0" timeOffset="42826.15">14486 9446 0,'-40'13'31,"27"0"-31,0 0 0,0 1 0,13-1 16,-14 0-16,14 0 0,-13 0 0,13 1 16,0-1-16,0 0 15,0 0-15,0 1 0,0-1 16,27-13 15,-27-13-31,13-1 0,0 1 16,-13 0-16,0 0 0,13-1 15,-13 1-15,0 0 0,0 0 16,13 0-16,-13 39 31,0-13-31,14 0 16,-14 1 0,0-1-16,13-13 0,-13 13 15,13-13-15,0 0 16,1 0-1,-1-13-15,-13 0 0,13-1 16,-13 1-16,13 0 0,-13-13 0,0-1 16,0 1-16,0-1 0,0 1 15,0-1-15,0-12 0,0 12 0,0 1 16,0 12-16,0-12 0,0 13 0,0 0 16,0-1-16,-13 1 0,13 0 15,0 39 16,0-12-31,0-1 0,0 13 16,0-13-16,0 14 0,13-1 0,-13 1 16,0-14-16,14 13 0,-14 1 15,13-14-15,-13 0 0,13 14 0,0-14 16,-13 0-16,13-13 0,1 14 0,-1-1 16,0-13-16,14 0 15,-27-13-15,13 13 16,0-14-16,0 1 0,-13 0 15,14 0-15,-14-1 0,13 1 16,-13 0-16,13 0 16,-13-1-1,-13 41 17,13-14-32,0 0 15,0 1-15,0-1 0,0 0 16,13-13-16,-13 13 15,13-13 1,0 0-16,1-13 16,-1 13-16,-13-13 0,13 13 0,-13-13 15,13 13-15,-13-14 0,14 14 0,-14-13 16,13 13-16,-13-13 16,13 13-1,-13 13 16,13-13-31,-13 13 16,0 1-16,13-1 16,1 0-16,-1-13 15,0-13 1,0 13-16,1-13 16,-1-1-16,-13 1 15,13 13-15,-13-13 0,0 0 16,0-1-16,13 14 0,-13-13 15,-13 0-15,0 26 32,0 0-32,13 1 15,-14-14-15,14 13 0,0 0 16,0 0-16,0 1 16,0-1-16,14 0 15,-1-13 1,13 0-1,1 0 1,-14 0-16</inkml:trace>
  <inkml:trace contextRef="#ctx0" brushRef="#br0" timeOffset="44700.68">16708 9393 0,'0'0'0,"14"-27"0,-1 14 0,0 0 0,0 0 16,-13-1-16,0-12 0,14 13 16,-14-14-16,0 14 0,0-13 15,0-1-15,0-13 0,0 27 16,-14-13-16,14-1 0,0 14 0,-13 0 16,13 0-16,0-1 0,0 1 15,-13 13-15,0 0 0,-1 13 16,14 1-16,-13-1 0,13 0 15,0 13-15,-13 1 0,13 13 0,0-1 16,0 1-16,0 13 0,0-13 0,0 12 16,0-12-16,0 13 0,0-13 15,0-1-15,0 1 0,0-13 0,0-1 16,0 1-16,0-1 0,0 0 16,-13-12-16,13-1 0,0 13 0,-13-12 15,13-1-15,-14-13 0,1 13 16,0 0-16,0-13 0,-1-13 15,1 13-15,0-13 16,13 0-16,-13-1 16,26-12-1,-13 13-15,13 13 0,0-14 16,-13 1-16,14 0 0,-1 0 16,13 0-16,-12-1 0,-1 1 0,0 0 15,13-14-15,1 1 0,-14 13 0,0-14 16,1 14-16,-1 0 0,0-14 15,0 14-15,-13 0 0,14 0 16,-14-14-16,0 14 0,0 0 16,0-1-16,0 1 0,0 0 15,0 0-15,-14 26 47,14 13-31,0-12-1,0-1-15,0 0 16,0 0-16,0 1 0,14-14 0,-14 13 16,0 0-16,0 0 0,13 1 0,-13-1 15,13 0 1,-13 0-16,13-13 0,-13 13 16,13 1-16,1-14 15,-1 0 1,0 0-1,0 0-15,1-14 0,-1 14 16,0-13-16,0 13 0,0-13 16,-13 0-16,14 13 15,-1-13-15,-13-1 0,13 14 16,-13-13-16,13 0 0,-13 0 16,0-1-16,14 1 15,-28 0-15,1 26 47,0-13-31,13 13-16,0 1 0,0-1 15,0 0 1,0 0-16,0 1 16,13-14-16,-13 13 15,13-13-15,1 13 0,-1-13 16,13 0-1,-12 0-15,-1-13 16,0 13-16,0 0 0,0 0 16,1-13-16,-1 13 0,0 0 0,0-14 15,1 14-15,-1-13 16,0 0-16,0 13 16,-13-13-1,-13 26 32,0-13-31,13 13-16,0 0 15,-13-13-15,13 14 0,0-1 16,-14 0-16,28 0 16,-1-13 15,13 0-31,-12-13 15,-1 13-15,0-13 0,0 13 16,0 0-16,-13-13 16,14 13-16,-1 0 15,-13 13 1,13-13 0,-13 13-16,0 0 15,0 0-15,13-13 0,-13 14 0,0-1 16,14 0-16,-14 0 15,13-13 1,13 0 0,-26-13-1,13 13-15,-13-13 0,14 0 0,-1-1 16,-13 1 0,0 0-16,13 0 0,-13 0 0,0-1 0,13 14 15,-13-13-15,0 0 16,0 0-16,14 13 0,-14-14 15</inkml:trace>
  <inkml:trace contextRef="#ctx0" brushRef="#br0" timeOffset="44830.62">17754 9446 0,'0'0'0,"13"0"16,-13-14-16,-13 1 15</inkml:trace>
  <inkml:trace contextRef="#ctx0" brushRef="#br0" timeOffset="47677.77">2580 1561 0,'39'-13'16,"-25"13"-16,12 0 0,27-13 0,13-1 15,0 14-15,14-13 0,-1 0 16,14 0-16,-1-1 0,1 14 0,26-13 16,13 0-16,-13 0 0,14 0 0,-1-1 15,-13 1-15,13 0 0,-13 0 16,14 13-16,-41-14 0,1 1 0,13 0 16,-14 0-16,-12 13 0,12-14 15,-26 1-15,0 13 0,-13-13 0,0 13 16,-26 0-16,-1 0 0,-13 0 15</inkml:trace>
  <inkml:trace contextRef="#ctx0" brushRef="#br0" timeOffset="47977.28">2977 1971 0,'0'0'0,"39"-13"0,-12 13 16,26-13-16,13-1 0,13 1 0,120-26 16,-67 12-16,0 1 15,0 12-15,1-12 0,-1 13 16,14-1-16,-14-12 0,-13 13 0,13 0 16,-13-1-16,-13 1 0,-13 0 0,-1 13 15,1-13-15,-14 13 0,1-14 0,-27 14 16,0 0-16,-1 0 0,-12-13 15,-13 13-15,-1 0 0,-13 0 0,0 0 16,1 13-16,-1-13 0,-13 14 16,-13-1-1,-1 0-15</inkml:trace>
  <inkml:trace contextRef="#ctx0" brushRef="#br0" timeOffset="50365.16">7011 8731 0,'14'13'16,"12"-13"-16,-13 0 15,1 0-15,12 0 0,-13 0 16,14 0-16,-14 0 0,13 0 0,1 0 16,-1 0-16,-12 0 0,12 0 15,0 0-15,-12 0 0,-1 0 16,13 0-16,-12 14 0</inkml:trace>
  <inkml:trace contextRef="#ctx0" brushRef="#br0" timeOffset="51566.15">7646 6138 0,'27'0'0,"-14"0"0,0 0 15,1 0-15,-1 0 0,0 14 16</inkml:trace>
  <inkml:trace contextRef="#ctx0" brushRef="#br0" timeOffset="53012.92">8467 6866 0</inkml:trace>
</inkml:ink>
</file>

<file path=ppt/ink/ink1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40:25.004"/>
    </inkml:context>
    <inkml:brush xml:id="br0">
      <inkml:brushProperty name="width" value="0.05292" units="cm"/>
      <inkml:brushProperty name="height" value="0.05292" units="cm"/>
      <inkml:brushProperty name="color" value="#FF0000"/>
    </inkml:brush>
  </inkml:definitions>
  <inkml:trace contextRef="#ctx0" brushRef="#br0">794 1468 0,'79'-13'0,"-39"13"0,-1 0 15,14-13-15,14 13 0,12-13 0,0 13 16,-13-13-16,14-1 0,-1 14 0,-13-13 16,1 0-16,12 0 0,-13 13 15,-13-14-15,0 1 0,0 13 0,0-13 16,-27 13-16</inkml:trace>
  <inkml:trace contextRef="#ctx0" brushRef="#br0" timeOffset="191.4">1296 1614 0,'278'-66'31,"-238"66"-31,13-13 0,0 13 0</inkml:trace>
  <inkml:trace contextRef="#ctx0" brushRef="#br0" timeOffset="6080.32">3003 6257 0,'-13'27'31,"13"-14"-31,-13 0 0,13 14 0,0-14 16,-14 0-16,14 14 0,-13-14 0,13 13 15,-13-12-15,13 12 0,-13-13 16,13 1-16,-14 12 0,14-13 0,0 0 16,-13 1-16,13-1 0,0 0 15,0 0-15,13 1 16</inkml:trace>
  <inkml:trace contextRef="#ctx0" brushRef="#br0" timeOffset="6546">3347 6509 0,'-13'0'16,"13"13"-16,-13-13 0,13 13 16,0 0-16,-14-13 0,14 14 0,-13-1 15,13 0-15,-13 0 0,0 1 16,-1-1-16,1 0 0,0 0 15,-14 14-15,27-14 0,-13-13 0,0 13 16,0 0-16</inkml:trace>
  <inkml:trace contextRef="#ctx0" brushRef="#br0" timeOffset="6861.78">3744 6284 0,'0'0'0,"0"26"16,-13-26-16,13 14 0,0-1 16,-14 13-16,14-13 0,0 1 15,-13 12-15,13-13 0,-13 14 0,0-14 16,13 0-16,-14 14 0,14-14 0,-13 13 16,0-12-16,13-1 0,0 0 15,-13 0-15</inkml:trace>
  <inkml:trace contextRef="#ctx0" brushRef="#br0" timeOffset="7116.35">3850 6548 0,'13'14'32,"-13"-1"-32,0 0 0,-13 0 15,13 1-15,-14-1 0,14 0 0,-13 14 16,0-14-16,0 0 16,13 0-16,-13 0 0,-1 1 0,14-1 15,-13 0-15,13 0 0,-13-13 0</inkml:trace>
  <inkml:trace contextRef="#ctx0" brushRef="#br0" timeOffset="7496.08">4299 6363 0,'-13'80'15,"13"-67"1,0 0-16,0 0 0,-13 1 0,13-1 16,0 0-16,-13 13 15,13-12-15,0-1 0,0 0 0</inkml:trace>
  <inkml:trace contextRef="#ctx0" brushRef="#br0" timeOffset="7723.04">4458 6601 0,'0'67'16,"-13"-54"-1,13 0-15,-13 0 0,0 14 0,-1-14 16,-12 13-16,26-12 0,-13-1 16,-1 0-16,14 0 0</inkml:trace>
  <inkml:trace contextRef="#ctx0" brushRef="#br0" timeOffset="8199.1">4948 6363 0,'0'0'0,"13"27"31,-13-14-31,0 0 0,0 0 0,-13 1 16,13 12-16,0-13 0,-14 14 0,14-14 15,0 13-15,0-12 0,-13 12 16</inkml:trace>
  <inkml:trace contextRef="#ctx0" brushRef="#br0" timeOffset="8445.27">5173 6615 0,'13'26'31,"-26"-13"-16,13 1-15,-14-1 0,1 0 0,0 0 16,13 0-16,-13 1 0,-1-1 16,14 0-16,-13 0 0,0-13 0,13 14 15,-13-14-15,13 13 0</inkml:trace>
  <inkml:trace contextRef="#ctx0" brushRef="#br0" timeOffset="8899.92">5596 6324 0,'0'13'0,"0"0"16,0 0-16,0 0 0,0 1 0,0 12 15,-13-13-15,13 1 0,-14 12 0,14-13 16,0 14-16,-13-14 0,13 0 15,0 0-15,0 14 0,-13-14 0</inkml:trace>
  <inkml:trace contextRef="#ctx0" brushRef="#br0" timeOffset="9516.94">6112 6509 0,'0'26'16,"-40"54"15,27-54-31,-14 1 0,1-1 0,-14 0 16,27 1-16,0-14 0,-14 14 15,14-14-15</inkml:trace>
  <inkml:trace contextRef="#ctx0" brushRef="#br0" timeOffset="10069.91">6813 6310 0,'0'-13'0,"0"26"0,-13 1 31,13-1-31,0 0 16,0 13-16,0-12 0,-13-1 0,13 13 15,0-12-15,-14-1 0,14 13 0,0-12 16,-13-1-16,13 0 0,0 0 16,0 0-16,0 1 0,0-1 15,0 0-15</inkml:trace>
  <inkml:trace contextRef="#ctx0" brushRef="#br0" timeOffset="10544.34">7051 6324 0,'27'13'31,"-27"0"-31,0 0 0,0 0 15,-14-13-15,14 14 0,0-1 0,-13 0 16,13 0-16,0 1 16,0-1-16,13 0 15,-13 0-15,14-13 16,-14 14-16,13-14 0,-13 13 0,13 0 16,-13 0-1,-13 0 1,0-13-16,13 14 0,-14-14 0,1 13 15,0-13-15,0 13 0,-1-13 16,1 0-16,13 13 0</inkml:trace>
  <inkml:trace contextRef="#ctx0" brushRef="#br0" timeOffset="10729.99">7289 6496 0,'0'0'0,"13"26"16,-26-13 0,13 0-16,-13 1 0,13-1 15,-13 0-15,0 0 0,13 1 0,-14-1 16,1 0-16,13 0 0,-13 1 0,13-1 16,-13-13-16</inkml:trace>
  <inkml:trace contextRef="#ctx0" brushRef="#br0" timeOffset="11008.37">7646 6257 0,'0'40'31,"0"-27"-15,0 1-16,0-1 0,0 13 0,0-13 15,-13 1-15,13 12 0,0-13 0,-13 14 16,13-14-16,0 0 0,0 1 16,-13-1-16,13 0 0,0 0 0,0 0 15,0 1-15,-13-1 16,26-13-16</inkml:trace>
  <inkml:trace contextRef="#ctx0" brushRef="#br0" timeOffset="11805.95">7871 6284 0,'27'0'16,"-14"0"-16,0 0 0,1 13 15,-14 0-15,0 1 16,-14-1-1,1 0-15,13 0 0,-13 0 16,13 1 0,13-1-1,0-13-15,1 13 16,-1 0 0,-13 1-16,13-1 15,-26 0 1,13 0-16,-13 1 0,-1-14 0,14 13 15,-13-13-15,0 13 0,0-13 16,13 13-16,-14-13 0,1 0 16,0 13-16</inkml:trace>
  <inkml:trace contextRef="#ctx0" brushRef="#br0" timeOffset="12000.38">8176 6456 0,'0'0'0,"0"13"0,13-13 16,-13 13-16,0 1 15,0-1-15,-13 0 0,13 0 16,-14 0-16,1 1 0,-13 25 16,12-25-16,1-1 0,0 13 15,0-12-15,-14-1 0,14 0 0,13 0 16,-13 0-16</inkml:trace>
  <inkml:trace contextRef="#ctx0" brushRef="#br0" timeOffset="12880.34">8533 6297 0,'0'0'16,"13"-13"-16,-26 53 31,13-27-31,0 0 16,0 13-16,0-12 0,-13-1 0,13 13 16,0-12-16,0-1 0,-14 0 15,14 0-15,0 1 0,0-1 0,0 0 16,0 0-16</inkml:trace>
  <inkml:trace contextRef="#ctx0" brushRef="#br0" timeOffset="13484.57">8837 6310 0,'13'0'16,"-26"0"-16,40 0 0,-14 0 16,-13 14-16,13-14 0,-13 13 15,0 0-15,-13 0 16,13 0-16,-13 1 16,13-1-16,0 0 15,0 0-15,13 1 16,-13-1-1,0 0-15,13-13 0,-13 13 16,0 1 0,0-1-1,-13 0-15,0-13 16,-1 13-16,1 0 0,0-13 16,0 0-1</inkml:trace>
  <inkml:trace contextRef="#ctx0" brushRef="#br0" timeOffset="13657.15">9036 6496 0,'0'0'0,"13"13"0,-26 40 16,13-40-1,-14 0-15,1 0 0,13 1 16,-13-1-16,13 0 0,-13 0 15,13 1-15,0-1 0,-14-13 16</inkml:trace>
  <inkml:trace contextRef="#ctx0" brushRef="#br0" timeOffset="13967.42">9485 6297 0,'0'40'31,"0"-27"-31,0 13 0,-13-12 0,13 12 16,0-13-16,0 1 0,0-1 16,0 0-16,-13 0 0,13 1 15,0-1-15,0 0 0,0 0 16,0 0 0</inkml:trace>
  <inkml:trace contextRef="#ctx0" brushRef="#br0" timeOffset="14412.41">9684 6310 0,'13'0'0,"-26"0"0,39 0 15,-26 14-15,0-1 16,0 0-1,-13-13-15,13 13 0,0 0 16,-13 1-16,13-1 16,13 0-1,-13 0-15,0 1 16,13-1 0,-13 0-16,-13 0 15,0 1 1,0-1-1,-1 0 1</inkml:trace>
  <inkml:trace contextRef="#ctx0" brushRef="#br0" timeOffset="14589.29">9922 6522 0,'0'0'0,"0"13"0,0 0 16,0 1-16,-13-1 16,-1 0-16,1 0 0,0 1 15,0-1-15,13 0 0,-14 0 0,1 1 16,13-1-16</inkml:trace>
  <inkml:trace contextRef="#ctx0" brushRef="#br0" timeOffset="15024.43">10478 6271 0,'0'26'15,"0"-13"1,0 1-16,0 12 0,0-13 0,-14 0 16,14 1-16,0-1 0,0 0 15,0 0-15,0 1 0,0-1 0,-13 0 16,13 0-16,13 1 15</inkml:trace>
  <inkml:trace contextRef="#ctx0" brushRef="#br0" timeOffset="15600.12">10795 6257 0,'13'14'0,"-13"-1"16,-13 0-16,0 0 15,13 1-15,-13-14 0,13 13 16,-14 0-16,1 0 0,13 0 16,0 1-16,0-1 15,0 0 1,13-13-16,-13 13 0,0 1 0,0-1 15,0 0-15,0 0 16,-13 1-16,13-1 0,-13-13 16,0 13-16,-1 0 0,1-13 15,13 13-15,-13-13 0,0 14 16,-1-14-16,1 0 16</inkml:trace>
  <inkml:trace contextRef="#ctx0" brushRef="#br0" timeOffset="15836.84">10927 6496 0,'-13'-14'0,"-53"213"31</inkml:trace>
  <inkml:trace contextRef="#ctx0" brushRef="#br0" timeOffset="16088.18">11377 6271 0,'-13'39'31,"13"-25"-31,0-1 16,0 0-16,-13 0 0,13 14 0,-14-14 15,1 0-15,13 0 0,-13 1 0,13-1 16,-13 0-16,13 0 0,-14 1 0,14-1 16,0 0-16,-13-13 0,13 13 0,0 0 31</inkml:trace>
  <inkml:trace contextRef="#ctx0" brushRef="#br0" timeOffset="16823.68">11628 6257 0,'14'0'16,"-1"14"-1,-13-1-15,0 0 16,-13 0 0,13 1-16,-14-14 0,14 13 15,0 0 1,0 0 0,14 0-16,-14 1 15,13-14-15,-13 13 0,0 0 16,0 0-1,-13 1-15,-1-1 16,1 0-16,0 0 0,-13-13 16,12 14-16,1-1 0,0-13 15,0 13-15,-14-13 0,14 0 0,0 13 16</inkml:trace>
  <inkml:trace contextRef="#ctx0" brushRef="#br0" timeOffset="20107.77">1905 6734 0,'40'0'31,"-27"-14"-31,0 14 0,14 0 0,-14 0 16,13-13-16,1 13 0,-14 0 15,0 0-15</inkml:trace>
  <inkml:trace contextRef="#ctx0" brushRef="#br0" timeOffset="20269.38">1984 6813 0,'27'0'31,"-14"-13"-31,14 13 0,-14 0 16,0 0-16,0 0 0,14 0 15,-14 0-15</inkml:trace>
  <inkml:trace contextRef="#ctx0" brushRef="#br0" timeOffset="20809.32">2051 8652 0,'26'0'15,"53"0"1,-65 0-1,-1 0-15,0 0 0,0 0 0,0 0 16,1 0-16,12 0 16</inkml:trace>
  <inkml:trace contextRef="#ctx0" brushRef="#br0" timeOffset="20976.22">2064 8797 0,'66'14'31,"-26"-28"-31,-27 14 0,0 0 0,13-13 16,-12 13-16,-1 0 0,0 0 0,14-13 16,-14 13-16,0 0 0</inkml:trace>
  <inkml:trace contextRef="#ctx0" brushRef="#br0" timeOffset="24376">807 8890 0,'0'26'31,"0"-12"-15,0-1-16,-13-13 15,13 13 1,0 0-16,0 1 16,0-54 15,0 27-31,-13-1 15,13 1-15,0-13 0,0 13 16,0-14-16,0 14 0,0-14 0,0 14 16,0 0-16,0 0 0,0-1 0,0 1 15,0 0-15,13 26 32,-13 0-32,13 1 15,-13-1-15,0 0 0,13 0 16,0 14-16,-13-14 0,14-13 0,-14 13 15,13 1-15,-13-1 0,13-13 16,0 0-16,1-13 16,-14-1-16,13 1 0,0 0 15,0 0-15,-13-14 0,13-13 0,1 14 16,-14-14-16,13 14 0,-13 13 16,13-14-16,-13 14 0,0 0 0,13-1 15,-13 1-15,14 13 16,-1 13-16,-13 1 15,13-1-15,-13 0 0,13 0 16,-13 14-16,0-1 0,14 1 0,-14-14 16,0 13-16,13 1 0,-13-14 0,0 14 15,0-14-15,0 13 0,0-12 16,0-1-16,0 0 0,0 0 0,0 0 16,13-13-16,-13 14 0,0-1 15,13-13-15,0 0 16</inkml:trace>
  <inkml:trace contextRef="#ctx0" brushRef="#br0" timeOffset="25368.12">1270 8903 0,'26'-39'31,"-26"25"-31,14 1 0,-14 0 16,13 0-16,-13-1 0,0 1 0,0 0 15,0 0-15,0-1 0,0 1 16,0 0-16,0 0 16,-13 26-1,-1-13-15,14 13 0,-13 0 16,13 1-16,0-1 0,-13 0 15,13 0-15,0 1 0,0-1 0,0 0 16,0 0-16,13 1 0,-13-1 16,13-13-16,-13 13 0,14-13 0,-1 0 15,0 0-15,14 0 0,-1-13 16,-13 13-16,27-27 0,-14 14 0,1-13 16,-1-1-16,1 1 0,-14-1 0,14 1 15,-14-1-15,0-12 0,0 12 16,0-13-16,-13 14 0,14 13 0,-14-14 15,0 14-15,13 0 0,-13 0 0,0-1 16,0 41 15,0-14-31,-13 14 0,13-14 0,0 13 16,0-13-16,0 14 0,0-14 16,0 0-16,0 14 0,0-14 15,13 0-15,-13 1 0,0-1 16,0 0-16,0 0 15,0 0 1,-13-13-16,13 14 0,-14-14 16,1 13-16,0-13 0,13 13 15,-13 0-15,0 1 0,-1-14 16,14 13-16,-13 0 0,13 0 16,-13-13-16,26 14 15,14-28 1,-1 1-16,-13 0 15,0 0-15,14-1 0,-14 1 0,0 13 16,1-13-16,-1 13 0,0-13 16,0-1-16,0 14 0,1 0 15,-1 0 1,0 14-16,-13-1 16,0 0-1,13 0-15</inkml:trace>
  <inkml:trace contextRef="#ctx0" brushRef="#br0" timeOffset="25502.76">1826 8506 0,'0'-13'0</inkml:trace>
  <inkml:trace contextRef="#ctx0" brushRef="#br0" timeOffset="26049.51">1918 8506 0,'-26'0'16,"13"14"-1,13-1-15,-14 0 0,14 0 16,-13 0-16,13 1 16,0-1-16,0 0 0,0 0 15,0 1-15,0-1 16,13-13-16,-13 13 16,14-13-16,-1-13 15,0 13-15,-13-13 16,13-1-1,-13 1-15,13 13 0,-13-13 0,14 0 16,-14-1 0,13 14-16,-13-13 15,13 26 17,-13 1-17,0-1 1,13-13-16,1 13 31,-1-26-15,0 13-16,0 0 15,1 0-15,-1 0 16,0 0-16,0 0 16,0 0-16,1 0 15,-1 0-15,0 0 16,-13-13-16,13 13 15,1 0-15,-1-14 16,0 14-16,0-13 0</inkml:trace>
  <inkml:trace contextRef="#ctx0" brushRef="#br0" timeOffset="36263.03">3347 6191 0,'0'-13'0,"-13"13"16,-14 0-1,-12 13-15,-1 14 0,-13-1 16,-13 1-16,-14 12 0,-12 1 16,-14 13-16,0 0 0,14 0 0,-14 0 15,-13 0-15,13 13 0,13 0 0,1-13 16,-1 0-16,14 0 0,13-14 15,13 1-15</inkml:trace>
  <inkml:trace contextRef="#ctx0" brushRef="#br0" timeOffset="36967.11">11986 5913 0,'-119'67'0,"238"-134"0,-318 186 0,93-66 0,14 0 0,-27 13 16,0 14-16,0-14 0,-14 13 15,1-12-15,-27 38 0,40-38 0,-13 12 16,13-13-16,0 13 0,13-26 16,0 13-16</inkml:trace>
  <inkml:trace contextRef="#ctx0" brushRef="#br0" timeOffset="37588.07">3903 6125 0,'-172'172'31,"105"-119"-31,-12 13 16,0 0-16,-1 14 0,1-14 15,0 13-15,-1 1 0,1-28 0,13 28 16,0-14-16,26-13 0,0-13 16</inkml:trace>
  <inkml:trace contextRef="#ctx0" brushRef="#br0" timeOffset="38215.21">10901 6178 0,'-199'119'15,"398"-238"-15,-570 331 0,292-159 0,-27 13 16,14-13-16,-14 13 0,13-13 16,-13 13-16</inkml:trace>
  <inkml:trace contextRef="#ctx0" brushRef="#br0" timeOffset="38961.78">4643 6271 0,'-145'92'31,"105"-52"-31,-13 0 0,14-1 16,-14 1-16,0 13 0,13-13 0,-13 13 15,0-14-15,0 14 0,0-13 16,1 13-16,12-14 0,13-12 0</inkml:trace>
  <inkml:trace contextRef="#ctx0" brushRef="#br0" timeOffset="39592.01">9842 6178 0,'-132'106'16,"79"-80"0,-13 14-16,-13 13 0,-14 0 15,1 0-15,-1-14 0,14 14 0,-14 0 16,0 0-16,1-13 0,12 0 16,1-1-16</inkml:trace>
  <inkml:trace contextRef="#ctx0" brushRef="#br0" timeOffset="40147.32">5252 6297 0,'-26'13'16,"12"1"-16,-25 12 0,-1 14 15,0-1-15,1 1 0,-14 13 0,-14 0 16,1 13-16,13 0 0,-13-13 0,13 0 15,14 0-15,-1-13 0</inkml:trace>
  <inkml:trace contextRef="#ctx0" brushRef="#br0" timeOffset="40720.96">9115 6152 0,'-79'66'0,"158"-132"0,-225 171 0,67-52 0,-14 0 16,14 13-16,-14 1 0,1-1 16,-1-13-16</inkml:trace>
  <inkml:trace contextRef="#ctx0" brushRef="#br0" timeOffset="41440.97">5966 6284 0,'-39'0'0,"78"0"16,-105 13-16,53 0 0,-27 14 0,1-1 0,-1 14 15,-13 0-15,0-1 0,-26 27 16,13 1-16,-14-1 0,14-13 16,0 13-16,13-13 0,0 0 0,13-14 15,1 1-15</inkml:trace>
  <inkml:trace contextRef="#ctx0" brushRef="#br0" timeOffset="41976.96">8004 6244 0,'0'0'0,"-265"278"16,212-225 0,13 0-16,-12-13 0,12 12 0</inkml:trace>
  <inkml:trace contextRef="#ctx0" brushRef="#br0" timeOffset="42455.2">6562 6204 0,'0'40'15,"-14"26"1,14-26-16,0 13 0,-13 0 15,13 13-15,-13-13 0,0 0 0,13 13 16,-13-26-16,13 13 0,-14-14 16,1 1-16,13-14 0,0 14 0,-13-27 15,13 14-15,0-14 0,0 0 16,-13 0-16,13 1 0</inkml:trace>
  <inkml:trace contextRef="#ctx0" brushRef="#br0" timeOffset="42984.77">6628 6099 0,'53'-14'0,"-106"28"0,145-41 0,-65 27 15,13-13-15,12 0 0,-12-1 0,13 1 16,-13 13-16,13-13 0,-14 13 16,1-13-16,0 0 0,-14 13 0,1 0 15,-1 0-15,-13-14 0,1 14 0,-1 0 16,0 0-16,0 0 0,0 0 16,1 0-16,-1 0 15,-13 14 1,0-1-16,-13 0 15,13 13-15,0-12 0,0 12 16,0 1-16,0-1 0,-14 14 0,14-1 16,0 14-16,0-13 0,14 0 15,-14-1-15,0 1 0,0 0 0,0 0 16,0-1-16,13-12 0,-13-1 0,0 1 16,0-1-16,0-13 0,0 14 15,0-1-15,0-13 0,0 1 0,0 12 16,0-13-16,-13 1 0,13-1 0,-14 0 15,1 0-15,0 0 0,0 1 16,-27 12-16,14-13 0,-14 1 16,0-1-16,-13 13 0,0-12 0,-13 12 15,0 0-15,-13 1 0,-27-1 0,13 14 16,-12-13-16,12 12 0,0 1 16,-92 39-16,119-39 0,0-14 15,0 14-15</inkml:trace>
  <inkml:trace contextRef="#ctx0" brushRef="#br0" timeOffset="43736.93">4538 8334 0,'0'0'0,"0"-13"15,0 53 1,0-14-1,0-12-15,0 12 0,0 0 0,-14 14 16,14-13-16,-13 12 0,13 1 0,0-14 16,-13-12-16,13 12 0,0 1 15,-13-1-15,13-13 0,0 0 0,0 1 16,0-1-16,0 0 0,0 0 16,0 1-16,13-14 15</inkml:trace>
  <inkml:trace contextRef="#ctx0" brushRef="#br0" timeOffset="44697.94">4723 8493 0,'26'0'0,"-52"0"0,65 0 15,-25 0-15,-1 13 16,-13 1-1,-13 12-15,13-13 16,-14 0-16,14 1 0,-13-14 16,13 13-16,0 0 0,0 0 15,0 1-15,0-1 16,13-13-16,-13 13 0,14-13 16,-14 13-16,13-13 15,-13 14-15,13-1 0,-13 13 16,-13-26-16,13 13 15,-13 1-15,-1-14 0,14 13 16,-13-13-16,0 13 0,0-13 0,0 13 16,-1 1-16,1-14 0,0 0 0,13 13 15,-13-13-15</inkml:trace>
  <inkml:trace contextRef="#ctx0" brushRef="#br0" timeOffset="45000.98">5080 8705 0,'0'13'15,"-26"13"1,-1-12-16,1 12 16,-1-13-16,1 14 0,-1-1 0,-12 1 15,-1-1-15,0 1 0,0-1 16,14 1-16,0-14 0,-1 0 0,1 0 16,-1 1-16,14-1 0,13 0 0,-13-13 15,0 0-15,13 13 0</inkml:trace>
  <inkml:trace contextRef="#ctx0" brushRef="#br0" timeOffset="45200.17">5173 8705 0,'-67'79'31,"41"-52"-31,0-1 0,-14 1 16,0 12-16,0 1 0,1-14 0,-1 14 16,0-13-16,14-1 0,-1 0 0,1 1 15,0-14-15,12 14 0,1-27 16</inkml:trace>
  <inkml:trace contextRef="#ctx0" brushRef="#br0" timeOffset="47543.1">5398 9128 0,'52'0'15,"-25"0"-15,-1 0 0,1 0 0,-1-13 16,27 13-16,93-13 16,-80 13-16,-13 0 0,-14-14 15,14 14-15,-13-13 0,13 13 0,-27 0 16,1-13-16,-1 13 0,-12 0 15,12-13-15,-13 13 0,0 0 0,1 0 16,-1-13-16,0 13 16</inkml:trace>
  <inkml:trace contextRef="#ctx0" brushRef="#br0" timeOffset="47787.21">6138 8864 0,'40'13'0,"-80"-26"0,93 26 0,-26 0 0,-1-13 15,-13 13-15,14 0 0,-1 1 16,-12-1-16,12 0 0,-13 0 0,14 14 16,-27-14-16,13 0 0,-13 1 0,0-1 15,0 0-15,0 13 16,-13-12-16,-1-1 0,1 13 0,0-12 15,13-1-15,-13 0 0,13 0 0,-13-13 16,13 14-16,-14-14 0</inkml:trace>
  <inkml:trace contextRef="#ctx0" brushRef="#br0" timeOffset="51655.39">5953 9022 0,'-13'0'0,"39"14"31,-12-14-31,-1 0 16,13 13-16,-13-13 0,27 0 0,0 13 15,0-13-15,12 0 0,1 0 0,0 13 16,27-13-16,-14 13 0,13-13 15,-13 0-15,1 14 0,12-14 0,13 0 16,-12 0-16,12 0 0,1 0 0,0 0 16,-1 0-16,14 0 15,40 0-15,-1 0 0,-13 0 0,14 0 0,13 0 16,-1 0-16,1 0 0,0-14 0,13 14 16,-13 0-16,13 0 0,-14 0 15,14-13-15,-13 13 0,0 0 0,-14 0 16,1 0-16,-1-13 0,1 13 0,-40 0 15,0 0-15,-14 0 16,14 0-16,-13-13 0,-14 13 0,0 0 16,-12 0-16,-15 0 0,1 0 0,-26 0 15,13 0-15,-27 0 0,13 0 0,-13 0 16,1 0-16,-1 0 0,0-13 16,0 13-16,1 0 15,-1 0-15,0 0 16,0 0-16,1 0 15,-1 0 1,0 13 0,0-13-1,0 0-15,1 0 16,-14 13-16,13-13 0,0 0 0,0 0 16,1 0-16,-1 0 15,0 13-15,0-13 0,1 0 0,12 0 16,-13 0-16,0 0 0,1 0 0,-1 0 15,0 0-15,14 0 0,-14 0 16,0 0-16,0 0 0,14 0 0,-14 0 16,0 0-16,0 0 0,14 0 0,-14 0 15,0 0-15,1 0 0,-1 0 0,13 0 16,-13 0-16,1 0 16,-1 0-16,0 0 15,0 0-15,1 0 0,-1 0 31,-13-13-31,13 13 16</inkml:trace>
  <inkml:trace contextRef="#ctx0" brushRef="#br0" timeOffset="52088.04">11853 8890 0,'27'13'15,"-14"-13"-15,0 13 0,0-13 0,14 14 16,-14-14-16,14 13 0,-1 0 16,-13-13-16,14 13 0,-1 1 0,-13-1 15,1-13-15,12 13 0,-13 0 0,-13 1 16,14-1-16,-1 0 0,-13 0 15,0 0-15,0 1 0,0-1 0,-13 0 16,-14 14-16,1-1 0,-27 1 0,13-1 16,0 0-16,-13 1 0,1-1 15,-1-12-15,0-1 0,0 13 16,13-13-16,-13 14 0,14-14 0,-1 0 0</inkml:trace>
  <inkml:trace contextRef="#ctx0" brushRef="#br0" timeOffset="53286.01">11139 9657 0,'0'14'0,"13"25"15,-13-26-15,-13 14 16,13-14-16,0 0 15,0 1-15,0-1 0,0 0 0,0 0 16,0 0-16,-13-13 0,13 14 0,0-1 16,0 0-16,0-39 47,13 12-47,-13 1 0,0 0 15,0 0-15,0 0 0,0-1 0,13 1 16,-13 0-16,0 0 15,27 26 17,-27 0-17,0 0-15,13-13 0,-13 14 16,13-1-16,0-13 16,-13 13-16,14-13 0,-1 0 0,13-13 15,-13 13-15,1-13 16,-1 13-16,0-14 0,0 1 15,1 13-15,-1-13 0,0 13 16,0-13-16,1 26 16,-14 0-1,13-13-15,-13 13 0,0 1 16,0-1-16,0 0 0,13 0 16,-13 0-16,0 1 0,0-1 0,0 13 15,0-12-15,13-1 16,-13 0-1,13-13-15,1 0 16</inkml:trace>
  <inkml:trace contextRef="#ctx0" brushRef="#br0" timeOffset="53612.77">11642 9776 0,'0'-13'16,"-27"53"15,27-27-31,0 0 16,0 0-16,0 1 15,0-1-15,0 0 16,13-13-16,1 0 16,-1 0-16,0 0 15,0-13-15,1 0 0,-1-1 16,-13 1-16,13 13 0,-13-13 15,13 0-15,1 13 0,-14-13 16,13 13-16,-13-14 0,13 28 31,-13-1-15,0 0-16,0 0 0,0 0 16,13 1-16</inkml:trace>
  <inkml:trace contextRef="#ctx0" brushRef="#br0" timeOffset="53974.52">11959 9750 0,'0'-13'0,"13"39"32,-13-13-32,0 1 15,0-1-15,0 0 0,0 13 16,0-12-16,0-1 0,-13 13 15,13-12-15,-13-1 0,13 0 0,-13 0 16,13 1-16,-14-1 0,14 0 0,-13 0 16,26-39 15,1 13-31,-1-1 0,0 1 16,0 0-16,1 0 0,-1-14 15,13 27-15,-12-13 0,-14 0 0,13 13 16,0-14-16,0 14 0,0 0 15,-13 14 1,14-1 0,-28 0-16,14 0 15,0 1-15,-13-1 0,13 0 16,-13-13-16,13 13 0,-13 1 16</inkml:trace>
  <inkml:trace contextRef="#ctx0" brushRef="#br0" timeOffset="54093.17">12211 9710 0,'-14'-13'0</inkml:trace>
  <inkml:trace contextRef="#ctx0" brushRef="#br0" timeOffset="54263.91">12237 9856 0,'0'26'15,"0"-13"-15,0 1 0,40 12 32,-14-26-32,-13 0 15,1-13-15,-1 13 0,13-13 0,-13-1 16,14 14-16,-14 0 0,0-13 15</inkml:trace>
  <inkml:trace contextRef="#ctx0" brushRef="#br0" timeOffset="54512.2">11099 10372 0,'80'0'0,"-160"0"0,199 0 0,-66-14 15,0 14-15,13-13 0,14 13 0,-1-13 16,-13 0-16,14 0 0,-14 13 0,13-14 16,-13 1-16,-13 0 0,-13 0 15,0 13-15,-14-14 0,0 14 0,-12 0 16,-1-13-16,0 13 0</inkml:trace>
  <inkml:trace contextRef="#ctx0" brushRef="#br0" timeOffset="54723.24">11443 10464 0,'27'0'0,"-54"0"0,67 14 15,-27-14-15,14 0 0,12 0 16,1 0-16,13-14 0,0 14 0,13-13 15,0 0-15,-13 13 0,0-13 0,0-1 16,-13 14-16,-1-13 0,1 0 16,-14 13-16,1-13 0,-14 13 0,0-14 15,1 1-15,-28 0 16,1 13-16,0-13 0,-27 0 16,0-1-16</inkml:trace>
  <inkml:trace contextRef="#ctx0" brushRef="#br0" timeOffset="55659.97">3797 8559 0,'13'0'0,"13"13"15,-12 14-15,-1-14 0,-13 27 16,13 0-16,-13-1 0,0 14 16,0 0-16,0 0 0,-13 13 15,13-13-15,-13 13 0,13-26 0,-14 13 16,14 26-16,-13-39 0,13-14 15,0 1-15,0-14 0,0 13 16,0-12-16</inkml:trace>
  <inkml:trace contextRef="#ctx0" brushRef="#br0" timeOffset="56224.04">3797 8162 0,'79'-26'0,"-158"52"0,211-65 16,-92 39-16,13-14 0,13 1 0,13 13 16,-13-13-16,14 0 0,-1 0 15,0 13-15,1-14 0,-14 1 0,13 13 16,-13-13-16,1 13 0,-14-13 0,-1 13 15,1 0-15,0-14 0,-13 14 16,-14 0-16,14 0 0,-27 0 0,14 0 16,-14 0-16,0 0 0,1 0 15,-1 0-15,0 0 0,0 0 0,0 0 16,1 14-16,-1-14 0,0 13 16,0-13-16,14 26 0,-14-12 0,0 12 15,1 14-15,-1-14 0,0 14 0,-13 13 16,13-14-16,0 1 0,-13 13 15,14-13-15,-14-1 0,13 1 0,-13 13 16,13-13-16,0-1 0,-13 1 0,14 0 16,-14-1-16,13 1 0,-13 0 15,13-14-15,-13 1 0,0-1 16,0 1-16,13-14 0,-13 13 0,0-12 0,0-1 16,-13 0-16,13 0 0,0 1 15,-13-1-15,0 0 0,-1 13 16,-12-12-16,-14-1 0,1 0 0,-14 14 15,-14-14-15,1 13 0,0-12 0,-26 12 16,-14 0-16,-13 1 0,13-1 16,-13 1-16,13-1 0,0 1 0,0-1 15,14-13-15,12 14 0,-65 13 16,79-27-16,26 0 0,0 0 16,1 0-16,25 1 0</inkml:trace>
  <inkml:trace contextRef="#ctx0" brushRef="#br0" timeOffset="57580.94">12343 9723 0,'-40'14'0,"-39"39"31,66-40-31,13 0 0,-14 0 0,1 0 16,13 1-16,0-1 15,0 0-15,13-13 0,1 13 0,-1 1 16</inkml:trace>
  <inkml:trace contextRef="#ctx0" brushRef="#br0" timeOffset="58712.57">12912 10001 0,'-40'-13'0,"80"26"0,-93-39 16,40 26-16,-1 0 0,1-13 16,0-1-16,0 1 0,13 0 0,-14 0 15,1-1-15,13 1 0,-13 0 0,13-14 16,0 14-16,0-13 0,0 13 15,13-14-15,-13 1 0,13-1 0,1 14 16,-1-13-16,0 12 0,0 1 16,-13 0-16,14 0 0,-1 13 0,-13 13 15,0 0 1,-13 0-16,-1 14 0,1-1 0,-13 14 16,-1 0-16,-13-14 0,14 0 15,0 1-15,12-1 0,-12 1 16,13-1-16,-1-12 0,1-1 0,0-13 15,13 13-15,0 0 0,13 0 16,0-13-16,1 0 16,12 0-16,1 0 0,-1-13 0,14 13 15,13-13-15,-14 0 0,1 13 0,0-13 16,-1-1-16,1 1 0</inkml:trace>
  <inkml:trace contextRef="#ctx0" brushRef="#br0" timeOffset="59252.83">13600 9631 0,'-14'26'31,"14"-12"-31,-13-1 0,13 0 16,-13 13-16,0-12 0,13 12 15,-14 14-15,1-27 0,13 13 0,-13-12 16,13 12-16,-13-13 0,13 1 16,0-1-16,0 0 0,0 0 15,0 1-15,0-1 16,-27-26 15,14-1-31,0 14 0,0 0 16,-1 0-1,1 0-15,0 0 0,0 0 0,-1 0 16,1 0-16,0 0 0,0 14 0,0-14 16,13 13-16,-14-13 0,41 13 31,-14-13-31,0 0 0,0-13 0,14 13 15,-1 0-15,-12 0 0,-1 0 16,13 0-16,-12 0 0,-1 0 0,13 0 16,-13 0-16,1 0 0,-1 0 0,0 13 15,0-13-15,1 13 16,-14 0 0,0 1-16,0-1 15</inkml:trace>
  <inkml:trace contextRef="#ctx0" brushRef="#br0" timeOffset="59369.28">13705 9856 0,'-13'-14'0</inkml:trace>
  <inkml:trace contextRef="#ctx0" brushRef="#br0" timeOffset="59571.92">13772 9895 0,'0'40'16,"0"-27"-1,0 1-15,0-1 0,-14-13 16,14 13-16,-13 0 16,0 0-16,0 1 0,13-1 15</inkml:trace>
  <inkml:trace contextRef="#ctx0" brushRef="#br0" timeOffset="59909.11">14049 9869 0,'-39'40'31,"39"-27"-15,-14 0-16,28 0 31,-1-13-31,0-13 15,0 13 1,1 0-16,-1-13 0,0 13 16,0 0-1,1 13 17,-1-13-1,0 0-16</inkml:trace>
  <inkml:trace contextRef="#ctx0" brushRef="#br0" timeOffset="60227.3">13256 10491 0,'-14'26'16,"14"-13"0,0 1-16,0-1 0,0 0 0,-13 0 15,13 14-15,0-14 0,-13 0 0,13 0 16,-13 1-16,13-1 0,-14 0 16,14 0-16,0 1 0,-13-14 0</inkml:trace>
  <inkml:trace contextRef="#ctx0" brushRef="#br0" timeOffset="60477.13">13269 10478 0,'13'-27'15,"0"14"-15,1 13 0,-14-13 16,13 13-16,0 0 0,0 0 0,0 0 16,1 13-16,-1 0 0,0 0 15,-13 1-15,13-1 0,-13 0 0,14 0 16,-14 0-16,0 1 0,-14 12 15,14-13-15,0 14 0,-13-14 0,0 13 16,0-12-16,-1-1 0,1 0 16,0 0-16,0 1 0,0-1 0,-1 0 15,1-13-15,0 13 0,0-13 16,-1 0-16,14 14 0,-13-28 16</inkml:trace>
  <inkml:trace contextRef="#ctx0" brushRef="#br0" timeOffset="60819.95">13586 10517 0,'27'0'0,"-54"0"0,67 0 15,-40-13-15,13 13 0,0 0 0,1 0 16,-14-13-16,13 13 0,0 0 15,0 0-15,1-13 16,-1 13-16,0 0 16,-13 13-1,13-13-15,-13 13 16,0 0-16,0 0 0,0 1 0,0-1 16,0 0-16,0 14 0,0-14 15,0 0-15,0 0 0,0 0 16,-13 14-16,13-14 0,0 0 0,-13 1 15,13-1-15,-13 0 0,-1-13 16,1 13-16,0-13 0,0 14 16,-1-14-16,1 0 0,0 0 0,-13 0 15,12-14-15,-12 14 0,-1 0 0</inkml:trace>
  <inkml:trace contextRef="#ctx0" brushRef="#br0" timeOffset="72528.92">6773 5808 0,'14'13'0,"-14"0"16,0 0-16,0 1 0,0-1 16,0 0-16,0 0 0,0 0 15,0 14-15,0-14 0,0 0 0,0 1 16,0-1-16,0 0 0,0 0 15</inkml:trace>
  <inkml:trace contextRef="#ctx0" brushRef="#br0" timeOffset="72743.92">6562 5649 0,'-14'26'0,"28"-52"0,-41 66 16,27-14-16,0-13 0,-13 14 0,13-14 15,0 13-15,0 1 0,-13-1 16,26 1-16,-13-1 0,0 1 16,0-14-16,13 13 0,-13-12 0,13 12 0,1-13 15,-1-13-15</inkml:trace>
  <inkml:trace contextRef="#ctx0" brushRef="#br0" timeOffset="72943.98">7025 5450 0,'39'0'0,"-78"0"0,105 14 15,-53-1-15,0 13 0,14 1 0,-14 12 16,-13 1-16,13 13 0,-13-13 15,0 13-15,-13 13 0,0-13 0,0 13 16,-1-13-16,-39 53 16,27-53-16,13-14 0,-14 14 15,-12 0-15</inkml:trace>
</inkml:ink>
</file>

<file path=ppt/ink/ink18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3:00:54.577"/>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14393 11099 0,'-26'0'63,"13"0"-63,-1 13 15,1-13-15,-13 0 0,-1 0 0,14 0 16,-13 14-16,-1-14 0,-13 0 0,14 0 16,0 13-16,-1-13 0,1 0 0,-1 13 15,1-13-15,-1 0 0,14 0 16,-13 13-16,12-13 0,-12 0 16,13 0-16,-1 0 0,1 14 0,0-14 15,0 0-15,-1 0 0,1 13 16,0-13-1,0 0-15</inkml:trace>
  <inkml:trace contextRef="#ctx0" brushRef="#br0" timeOffset="306.94">13970 11020 0,'-40'13'0,"27"0"0,-13-13 16,12 14-16,1-14 0,-13 26 16,-1-13-16,14 0 0,0 1 15,-27 12-15,27-13 16,0 1-16,-14 12 0,27-13 15,-13 14-15,13-14 0,0 0 16,0 0-16,13 1 0,-13-1 16,13 0-16,14 14 0,-14-14 15,0-13-15,1 13 0,-1-13 16,0 13-16,0-13 0,0 0 16,1 14-16,-1-14 0</inkml:trace>
  <inkml:trace contextRef="#ctx0" brushRef="#br0" timeOffset="1830.04">10292 9776 0,'0'14'15,"0"-1"1,0 0-16,0 0 0,0 0 16,0 1-16,0 12 15,0 1-15,0-14 16</inkml:trace>
  <inkml:trace contextRef="#ctx0" brushRef="#br0" timeOffset="2071.48">10292 10160 0,'-13'0'0,"13"13"16,0 0 0,-13 1-16,13-1 15,0 0-15,0 0 16,0 1-16,13-14 0,-13 13 16,0 0-16,0 0 0,0 1 15</inkml:trace>
  <inkml:trace contextRef="#ctx0" brushRef="#br0" timeOffset="2253.89">10292 10411 0,'0'14'0,"0"-1"15,-13 0 1,13 0 0,0 1-1,0-1-15,0 0 16,-13-13-1,13 13-15,0 0 0,0 1 16,0-1-16,0 0 16</inkml:trace>
  <inkml:trace contextRef="#ctx0" brushRef="#br0" timeOffset="2465.08">10253 10663 0,'0'0'0,"0"13"0,0 0 31,0 0-31,-14-13 15,14 53 32,-13-39-31,26-1 15</inkml:trace>
  <inkml:trace contextRef="#ctx0" brushRef="#br0" timeOffset="2603.39">10253 10821 0,'0'27'63,"0"-54"-32,0 67-31,-14-40 16,14 13-16,0 1 15</inkml:trace>
  <inkml:trace contextRef="#ctx0" brushRef="#br0" timeOffset="2794.76">10239 10993 0,'0'14'0,"0"-1"31</inkml:trace>
  <inkml:trace contextRef="#ctx0" brushRef="#br0" timeOffset="3354.34">10266 11192 0,'0'13'15,"0"0"1,0 1-16,0-1 15,0 0-15</inkml:trace>
  <inkml:trace contextRef="#ctx0" brushRef="#br0" timeOffset="3545.21">10253 11549 0,'0'13'0,"0"1"31,0-1-31,0 0 16,0 0 0</inkml:trace>
  <inkml:trace contextRef="#ctx0" brushRef="#br0" timeOffset="3718.41">10253 11761 0,'0'0'15,"-14"13"-15,14 0 16,0 0 0,-13-13-16,13 14 15,0-1-15,0 0 16,-13 0-16</inkml:trace>
  <inkml:trace contextRef="#ctx0" brushRef="#br0" timeOffset="3895.35">10226 11946 0,'0'0'0,"0"13"31,0 0 16,-13-13-47,26 14 16,-26-1-1</inkml:trace>
  <inkml:trace contextRef="#ctx0" brushRef="#br0" timeOffset="4057.51">10239 12078 0,'0'13'0,"-13"-13"32,26 14-32,-26-1 31,13 0-15</inkml:trace>
  <inkml:trace contextRef="#ctx0" brushRef="#br0" timeOffset="4259.34">10239 12211 0,'0'13'31,"0"-26"-31,-13 39 16,13-13-1,0 14 1,0-14-1</inkml:trace>
  <inkml:trace contextRef="#ctx0" brushRef="#br0" timeOffset="4509.51">10226 12356 0,'0'26'31,"0"-12"-15,0-54-16,0 93 0,0-40 31,0 0-31,0 1 15,0-1-15,-13 0 16,13 0 0,13 1-16,-13-1 31,0 0-31,0 0 31,0 0-31,0 1 16,0-1-1,0 0-15,0 0 16,0 1-16,0-1 16,0 0-16</inkml:trace>
  <inkml:trace contextRef="#ctx0" brushRef="#br0" timeOffset="4640.38">10226 12740 0,'0'13'15,"0"13"16,0-12-15,0-1-16,0 0 16,0 0-16</inkml:trace>
  <inkml:trace contextRef="#ctx0" brushRef="#br0" timeOffset="4773.8">10226 12898 0,'0'14'15,"0"-41"-15,0 40 0,0 14 0,0-14 16,0 0-16,-13-13 15,13 14 1,0-1-16,0 0 16,0 0-16,0 1 15</inkml:trace>
  <inkml:trace contextRef="#ctx0" brushRef="#br0" timeOffset="4920.32">10213 13044 0,'0'13'31,"0"0"-31,-13 1 16</inkml:trace>
  <inkml:trace contextRef="#ctx0" brushRef="#br0" timeOffset="5085.46">10200 13176 0,'0'0'15,"0"13"1,0 1-16,-14-1 31,14 0-15</inkml:trace>
  <inkml:trace contextRef="#ctx0" brushRef="#br0" timeOffset="5282.92">10186 13348 0,'0'27'16,"0"-54"-16,14 54 0,-28-14 15,14 0-15,14-13 16,-28 13-16,14 1 16,0-1 15</inkml:trace>
  <inkml:trace contextRef="#ctx0" brushRef="#br0" timeOffset="5486">10186 13481 0,'0'13'0,"14"0"16,-14 0 15,0 0-15,0 1-16,0-1 31,0 0-31,0 0 15,0 1-15</inkml:trace>
  <inkml:trace contextRef="#ctx0" brushRef="#br0" timeOffset="11728.89">10306 9419 0,'-14'0'0,"14"13"94,0 1-94,0-1 16,0 0-16,0 0 15,0 1-15,0-1 0,0 0 0,0 0 16,0 0-16,0 1 16,0 12-16,14-13 0,-14 1 15,0-1-15,0 0 0,0 0 16,0 1-16,0-1 16,0 0-16,0 0 15,0 0-15,0 1 16,0-1-1,0 0-15,0 0 16,0 1 0,0-1-1,0 0 1,0 0 0,0 14 30,0-14-46,0 0 32,0 0-1,0 1 0,0-1 16,0 0-16,0 0 32,0 1-48,0-1 17,0 0-17,0 0 1,0 0 0,0 1-1,0-1 1,0 0-1,0 0 1,-14 1 0,14-1-1,0 0 17,0 0-17,0 1 1,0-1-16,-13-13 15,13 13 1,0 0-16,0 0 16,0 1-1,-13-14 1,13 13-16,0 0 16,0 0 15,0 1-16,0-1-15,0 0 32,0 0-17,0 1 1,0-1 0,0 0-1,0 0 1,0 0-1,13 1 1,-13-1 0,0 0-1,0 0 1,0 1 0,0-1-1,0 0-15,-13 0 31,13 1-31,0-1 16,0 0 0,0 0-1,0 0 1,0 1 0,0-1-1,0 13 1,0-12-1,0-1-15,0 0 16,0 0 0,0 0-1,0 1 1,0-1-16,0 0 16,0 0-1,0 1-15,0-1 16,0 0-1,0 0-15,0 1 16,0-1 0,0 0-1,0 0 1,0 0 0,0 1-16,0-1 15,0 0 1,0 0-1,0 1 1,-13-1 0,13 0-16,0 0 15,0 1 1,0-1-16,0 0 16,0 0-1,0 0 1,-14-13-16,14 14 15,0-1-15,0 0 16,0 0 0,0 1-1,0-1-15,0 0 16,-13-13-16,13 13 0,0 0 16,0 1-1,0-1 1,0 0-16,0 0 15,0 1 1,0-1-16,0 0 16,0 0-1,0 1 1,0-1-16,0 0 16,0 0-1,0 0 1,0 1-1,0-1 1,0 0-16,0 0 16,0 1-1,0-1 1,0 0 0,0 0-16,0 1 31,0-1-31,0 0 31,0 0-15,0 0-1,0 1 1,0-1 0,0 0-1,0 0-15,0 1 16,0-1-1,0 0 1,0 0-16,0 1 16,0-1-1,0 0 1,0 0 0,-13 0-1,13 1-15,0-1 16,0 0-1,0 0 1,0 1-16,0-1 47,-13 0-47,13 14 16,0-14-16,0 0 31,0 0-31,0 0 15,0 1 17,0-1-17,0 0 1,-14 0 0,14 1-1,0-1-15,0 0 31,0 0-15,0 0 15,0 1-15,0-1 15,0 0-31,0 0 16,0 1 15,0-1-15,0 0 15,0 0-15,0 1 15,0-1-16,0 0 1,0 0 15,0 0-15,0 1-16,0-1 47,0 0-32,0 0 32,0 1-15,0-1 14,0 0-30,0 0 15,0 1-15,0-1 0,0 0 15,0 0 0,0 0 16,0 1-31,0-1-1,0 0 1,0 0-1,0 1 17,0-1-32,0 0 15,0 0 1,0 0-16,0 1 31,0-1-31,0 0 16,0 0-1,0 1 1,0-1 0,0 0-1,0 0 1,0 1-16,0-1 16,0 0-1,0 0 16,0 0-15,0 1 0,0-1-1,0 0-15,14 212 219,-14-212-203,0 1-1,0-1 1,0 0 0,0 0-16,0 0 31,0 1-16,0-1 1,0 0 0,0 0-1,0 1 17,0-1-32,0 0 31,0 0-16,0 1 32,13-1-31,-13 0 31,0 0-32,0 0 32,0 1-15,0-1-32,0 0 15,0 0 1,0 1-1,0-1 1,0 0 0,0 0 15,0 0-31,0 1 31,0-1-15,0 0-16,0 0 31,0 1-15,0-1-1,0 0 1,0 0 31,0 1-16,0-1-15,0 0-1,0 0 17,0 0-17,0 1 32,0-1-31,0 0-1,0 0 1,0 1 15,0-1-15,0 0 31,0 0-47,0 1 15,0-1 1,0 0 0,0 0-1,0 0 16,0 1-31,0-1 32,0 0-1</inkml:trace>
  <inkml:trace contextRef="#ctx0" brushRef="#br0" timeOffset="14034.69">10306 9287 0,'0'40'63,"0"-14"-48,0 0-15,0 1 16,0-1-16,-14 54 0,14-41 16,0 1-16,0 0 0,0 13 0,0 0 15,0 13 1</inkml:trace>
  <inkml:trace contextRef="#ctx0" brushRef="#br0" timeOffset="23176.85">10597 9168 0,'52'-27'0,"-25"14"0,-14 13 0,0-13 16,1 0-16,12 13 0,-13-14 15,40 1-15,-40 0 16,1 0-16,25 0 0,-25 13 16,-1-14-16,0 14 0,0-13 15,1 13-15,-1-13 0,0 13 0,0 0 16,0 0-16,-13-13 0,14 13 0,-1-14 15,0 14 17,-53 0-1,27 0-31,13 14 16,-13-14-16</inkml:trace>
  <inkml:trace contextRef="#ctx0" brushRef="#br0" timeOffset="23806.95">10597 9009 0,'0'13'32,"-14"1"-32,14-1 0,-13 0 15,0 0-15,13 0 16,-13 1-16,13-1 16,-27 0-16,14 14 15,0-14-15,0-13 16,13 13-16,-14 0 15,1 1-15,0-1 32,26 0-17,0-13 1,-13 13-16,14-13 16,-1 0-16,0 0 0,0 0 15,0 13-15,1-13 16,-1 0-16,0 0 15,0 0-15,1 0 0,-1 0 16,0 0 0,0 0-1,0 0 1,1 0-16,-1 0 16,0-13-16</inkml:trace>
  <inkml:trace contextRef="#ctx0" brushRef="#br0" timeOffset="25007.72">11351 8797 0,'0'27'15,"0"-14"1,0 0-16,0 1 16,0-1-16,0 0 15,0 0-15,0 0 16,0 1-16,0-1 31,13-40 0,-13 14-15,13 13-16,-13-13 16,0 0-16,0 0 0,13 13 0,-13-14 15,14 1-15,-14 0 16,13 13-16,0 0 16,0 0-1,0 13-15,-13 0 16,14-13-1,-14 14-15,0-1 16,0 0-16,13-13 16,-13 13-16,0 0 15,0-39 32,13 0-31,-13 12-16,13 14 15,-13-13-15,14 13 16,-14-13-16,13 0 16,0 13-16,0 13 15,1-13-15,-14 13 16,13-13-16,-13 13 16,13 1-16,-13-1 15,0 0-15,0 0 16,13 0-1,0-13 1,1-13 0</inkml:trace>
  <inkml:trace contextRef="#ctx0" brushRef="#br0" timeOffset="25482.64">11748 8916 0,'26'-26'16,"-26"13"-16,13 0 16,0-1-16,-13 1 15,0 0-15,14 0 16,-14-1-16,0 1 16,0 0-16,0 0 15,-14 13-15,1 13 31,0 0-15,0 0-16,13 1 0,0-1 0,0 0 16,0 0-16,0 1 15,0-1-15,13 13 16,-13-13-16,13 1 0,0-1 16,14-13-1,-27 13-15,26-26 16,-12 13-16,-1 0 0,13-13 15,-13-1-15</inkml:trace>
  <inkml:trace contextRef="#ctx0" brushRef="#br0" timeOffset="26362.33">12039 8771 0,'-14'-13'16,"1"13"-16,0 13 15,-40 27 17,53-27-32,-13 0 0,13 0 15,-14 1-15,14-1 16,0 0-16,-13-13 0,13 13 0,0 0 15,0 1 1,0-1-16,13-13 16,1 0-16,-1 0 15,0-13 1,0 13-16,1-14 0,-14 1 16,13 13-16,-13-13 0,13 13 15,0-26-15,-13 12 16,14 1-16,-14 0 15,13 0-15,-13 39 79,0-13-64,0 1 1,0-1-1,13 0-15,0-13 32,0 0-17,1-13 1,-1 0-16,0 13 16,0 0-1,-13-14-15,14 14 16,-1 0-16,0 0 15,-13 14 1,13-1 0,-13 0-1,27-13 32,-27-13-31,13 0-16,0-1 15,0 14 1,1 0-16,-14 14 16,13-14-1,0 0 1,-13 13 0,13-13-1,1-13 1,12-1-1</inkml:trace>
  <inkml:trace contextRef="#ctx0" brushRef="#br0" timeOffset="26617.19">12449 8744 0,'26'-13'31,"-13"13"-31,1 0 0,-1 0 15,0 0-15</inkml:trace>
  <inkml:trace contextRef="#ctx0" brushRef="#br0" timeOffset="26809.85">12422 8864 0,'40'0'47,"-27"0"-47,0 0 0,14-14 15,-14 14 1,0 0-16,0-13 16,1 13-16</inkml:trace>
  <inkml:trace contextRef="#ctx0" brushRef="#br0" timeOffset="27663.35">13097 8652 0,'0'13'15,"0"0"-15,0 14 16,0-14-16,13 0 16,-13 0-16,0 1 0,0-1 15,0 0-15,0 0 16,13-39 15,1 13-15,-14-1-16,0 1 15,13 0-15,0 0 0,-13 0 16,13 13-16,0-14 16,1 28-1,-1-1 1,-13 0 0,0 0-16,13-13 15,-13 13-15,27-26 47,-27 0-47,13 0 16,0 13-16,0-13 15,1-1-15,-1 14 16,0 0-16,0 0 16,0 0-16,1 14 15,-14-1-15,13 0 16,-13 0-1,0 0-15,13-13 16,-13 14-16,13-14 16,1 0-1,-1 0 1,0-14-16</inkml:trace>
  <inkml:trace contextRef="#ctx0" brushRef="#br0" timeOffset="28002.88">13560 8758 0,'13'-14'0,"-13"1"0,13 0 16,-13 0 0,14-14-1,-14 1-15,13 13 16,-40 26 31,27 0-47,-13-13 15,13 27 1,13-14 0,-13 0-16,14-13 15,-1 13-15,13-26 16,-13 13-16,1 0 15,-1-13-15,13 13 0,1-13 16,-14 13-16,0-14 0</inkml:trace>
  <inkml:trace contextRef="#ctx0" brushRef="#br0" timeOffset="28607.34">13891 8612 0,'-27'0'15,"54"0"-15,-67 13 0,27-13 16,-1 14-16,1-1 0,0 0 16,0 0-16,13 1 15,0-1 1,0 0 0,13 0-16,0-13 15,0-13-15,1 13 16,-1 0-16,0-13 15,-13 0-15,13 13 0,-13-14 16,14 1-16,-14 0 0,13 0 0,-13-14 16,13 1-16,-13-1 15,0-12-15,13 12 0,-13-13 16,0 27-16,0 0 0,0 0 16,0 0-16,0-1 15,-13 14-15,0 14 16,13-1-1,-13 0-15,13 0 0,-14 0 16,14 27-16,0-27 16,-13 27-16,13-27 0,13 0 15,-13 1-15,0-1 0,0 0 16,0 0-16,14-13 0,-14 27 16,13-27-16,0 13 15,0-13-15,1 0 0,-1-13 16,0 13-16,0 0 0,0-13 15,1 13-15,-14-14 16,13 14-16,0 14 16,0-1-1,-13 0 1,0 0-16,14 1 16,-14-1-1,26-26 16</inkml:trace>
  <inkml:trace contextRef="#ctx0" brushRef="#br0" timeOffset="28726.56">14102 8480 0,'-13'-13'0</inkml:trace>
  <inkml:trace contextRef="#ctx0" brushRef="#br0" timeOffset="29622.42">14248 8586 0,'0'-14'0,"0"28"0,-13-41 15,13 14 1,-27 26 0,14-13-1,13 13-15,-13 1 16,-1-1-16,14 0 15,-13 0-15,13 1 16,0-1-16,0 0 16,13 0-16,1 1 15,-1-14 1,0 0-16,0 0 16,-13-14-16,14 1 15,-1 0-15,-13 0 16,0-1-1,13 1-15,-13 0 32,0 39 15,13-12-16,1-14-16,-1 0-15,0-14 16,0 14 0,0 0-1,1 0 1,-14 14-16,13-14 16,-13 13-16,13-13 15,-13 13 1,13-13-1,1 0 17,-1-13-32,0 13 15,0 0 1,0 0 0,1 0-1,-1 13-15,0-13 16,0-13 15,1 13-31,-1 0 0</inkml:trace>
  <inkml:trace contextRef="#ctx0" brushRef="#br0" timeOffset="29820.67">14698 8546 0,'26'-13'31,"-13"13"-31,1 0 16,-1 0-1</inkml:trace>
  <inkml:trace contextRef="#ctx0" brushRef="#br0" timeOffset="30001.26">14671 8639 0,'-13'0'0,"26"0"0,0 0 47,1 0-47,-1-14 0,0 14 15,0-13-15,1 13 0,12 0 16,-26-13-16,26 13 16</inkml:trace>
  <inkml:trace contextRef="#ctx0" brushRef="#br0" timeOffset="30705.66">15147 8401 0,'14'0'0,"-1"13"16,0 0-16,-13 0 16,0 0-16,13 1 15,-13-1-15,14 0 16,-14 0-1,0 1-15,13-1 16,0-26 15,-13-14-15,13 27-16,0-13 16,1 0-1,-1 13-15,13 0 16,-12 0-1,12 26 17,-13-13-17,-13-26 32,14 13-47,-14-13 16,13 13-16,-13-13 0,13-1 15,0 14 1,0 0-16,1 0 16,-1 14-1,0-1 1,-13 0-16,13 0 16,1-13-1,-1 0-15,0 0 16</inkml:trace>
  <inkml:trace contextRef="#ctx0" brushRef="#br0" timeOffset="31737.6">15690 8387 0,'-13'0'0,"26"0"0,-40 0 15,14 14-15,0-1 16,13 0-16,0 0 15,0 0 1,0 1-16,13-1 16,0-13-16,1 0 15,-1 0-15,0 0 16,13 0-16,-12-13 16,-1-1-16,0 1 15,-13 0-15,0 0 16,0 0-16,0-1 15,-13 14-15,0-13 0,-1 13 16,1 0-16,0 0 16,0 13-16,0-13 15,39 0 17,-13 0-17,14 0-15,-14-13 0,0 13 16,0 0-16,14-13 0,-14 13 15,0 0-15,14-13 0,-14 13 0,0 0 16,0 0-16,1 0 16,-1 13-1,-26 0 1,13 0 0,-14-13-16,14 14 0,-13-1 15,13 0 1,0 0-16,0 0 15,0 1-15,13-14 16,1 0 0,-1-14-16,0 14 0,0-13 15,1 13-15,-14-13 16,13 13-16,-13-13 0,13 0 0,0-14 16,1 1-16,-1 12 15,-13-12-15,13 13 0,0-40 16,-13 13-16,0 27 15,13-14-15,-13 14 16,0 0-16,0 0 0,14-1 16,-14 1-16,-27 26 31,27 14-15,-13-14-16,13 14 0,-13-1 15,0 14 1,13-27-16,119 93 187,-106-93-187,0 0 16,0 1 0,14-14-16,-14 0 15,0-14-15,0 14 0,1 0 16,-1-13-16,0 0 15</inkml:trace>
  <inkml:trace contextRef="#ctx0" brushRef="#br0" timeOffset="35353.86">16259 8374 0,'13'-13'0,"0"13"0,14-13 15,-27-1-15,13 14 0,13-26 16,-13 13-16,1 13 16,-14-14-16,13 1 0,-13 0 15,13 0-15,-13 0 0,0-1 16,-13 14 0,-14 14-16,14-14 15,0 26-15,0-13 16,0 14-16,13-14 0,-14 0 0,14 0 15,0 14-15,0-14 16,14 0-16,-1 14 0,0-14 16,0 0-16,0-13 0,27 13 15,13 1-15,-13-14 16,-14 0-16,27-14 16,-26 14-1,-14 0-15,13 0 16</inkml:trace>
  <inkml:trace contextRef="#ctx0" brushRef="#br0" timeOffset="45632.1">3559 6535 0,'-14'-13'31,"28"0"48,-1 13-79,0 0 0,-13-13 15,13 13-15,1 0 0,-14-14 0,13 14 16,0-13-16,0 13 0,14-13 0,-14 0 15,0 13-15,0-14 0,1 14 16,12-13-16,1 0 0,-14 13 16,0-13-16,13-1 0,-12 14 15,-1-13-15,0 13 0,0-13 16,1 13-16,-1-13 0,0 13 16,0-13-16,14 13 0,-27-14 15,13 14-15,0 0 16,0-13-16,14 0 15,-14 0-15,0 13 16,1-14-16,-1 14 0,-13-13 16,13 13-16,0-13 15,1 0-15,-1 13 16,-13-14-16,13 14 0,0 0 16,-13-13-16,13 13 0,1-13 15,-1 13 1,0-13-16,0 13 0,-13-13 15,14 13 1,-1-14-16,0 1 0,0 13 16,-13-13-16,13 13 15,1-13-15,-1 13 16,-13-14-16,13 14 0,0-13 16,1 13-1,-1-13-15,0 13 16,-13-13-16,13 13 0,1-14 15,-1 14-15,0-13 16,0 13-16,-13-13 16,13 13-16,1-13 15,52-27 32,-53 40-47,0-13 16,40-27 31,-40 40-47,1-13 15,-1 0-15,40-27 47,-40 27-31,0 0-16,0 13 15,1-14-15,-14 1 16,13 13-16,0-13 16,0 13-16,-13-13 15,14 13-15,-1-14 16,0 1-16,-13 0 16,13 13-16,-13-13 15,14 13 1,-14-13-16,13 13 0,-13-14 15,13 1 1,0 0 0,-13 0-1,13 13-15,-13-14 16,14 14-16,-14-13 16,13 13-1,-13-13-15,13 13 16,-13-13-16,13 13 15,-13-14 1,14 14-16,-14-13 16,13 13-16,0-13 15,0 0 1,-13 0 0,14 13-1,-1-14 1,0 1-1,0 13 1,-13-13 0,13 13-1,-13-13 1,14 13-16,-1-14 16,0 14-1,-13-13-15,13 13 16,-13-13-16,14 13 15,-14-13 1,13 13 0,-13-13-16,13 13 15,-13-14 1,13 14 0,-13-13-16,14 13 15,-14-13 1,13 13-1,-13-13 1,13 13 0,-13-14-1,13 14 1,-13-13 0,13 13-1,-13-13 1,14 13-16,-14-13 15,13 13 1,-13-14-16,13 14 16,-13-13-1,13 13 1,-13-13-16,14 0 16,-1 0-1,-13-1-15,13 14 16,-13-13-16,13 13 0,-13-13 15,14 13-15,-14-13 0,13-1 16,-13 1 0,13 13-1,-13-13-15,13 13 0,-13-13 16,13-14 0,1 14-1,-14 0 1,13 13-16,66-146 125,-79 133-125,0 0 15,13 13-15,-13-13 16,0-1 0,14 14-1,-14-13 1,0 0 0,13 13-1,-13-13-15,13-1 31,-13 1-15,0 0 15,13 13-15,-13-13 0,0-1-1,14 1 1,-14 0-1,13 13 1,-13-13-16,0 0 16,13 13-1,-13-14 1,0 1 0,13 13-1,-13-13 1,0 0-16,14 13 15,-14-14-15,13 1 32,0 0-1,-13 0-15,13 13-1,-13-13 1,0-1-1,13 14 1,-13-13 0,14 0-1,-1 0 1,-13-1 0,13 1-16,-13 0 15,13 13-15,-13-13 16,14 13-1,-14-14-15,13 1 16,-13 0 0,0 0-1,13 0 1,-13-1 15,13 1-15,-13 0-1,0 0 1,14 13-16,-14-14 16,13 1-1,-13 0 1,13 13-16,-13-13 16,0-1-1,13 14 1,-13-13-16,0 0 15,13 0 1,-13 0 0,0-1-1,14 14 1,-14-13-16,0 0 31,13 13-31,-13-13 16,0-1-1,13 1-15,-13 0 16,13 0 0,-13 0-1,0-1 1,14 14 0,-14-13-16,0 0 15,13 13-15,-13-13 16,0-1-16,13 14 15,-13-13 1,0 0 0,13 13-16,-13-13 15,0-1-15,13 1 16,-13 0 15,14 0-15,-14 0-1,13 13 1,-13-14-16,13 1 16,-13 0-1,13 13 1,-13-13-16,0-1 16,14 14-1,-14-13 1,13 13-16,-13-13 15,13 0 1,-13-1 0,13 14-1,-13-13-15,14 13 16,-14-13 0,13 13-1,-13-13 1,13 13-1,0-13 1,0 13 0,1 0-1,-1-14 17,0 14-17,0-13 16,1 13 1,-14-13-17,13 13 17,0 0-17,0 0 32,1 0-31,-1 0-1,0 0 32,0 0-16,0 0-15,1 0 31,-1 13 0,0-13 0,0 0-32,1 13 32,-1-13-16,-13 14-15,13-14 0,0 13 31,1 0-16,-1-13-16,-13 13 1,13 0 0,0 1 15,-13-1-31,13 0 16,-13 0 15,0 1-31,14-14 0,-14 13 15,0 0-15,0 0 16,13 1 0,-13-1-16,0 0 0,0 0 15,13 0-15,-13 14 16,0-14 0,0 0-16,13 1 0,-13 12 15,0-13-15,0 14 16,14-14-1,-14 0-15,0 0 16,0 1-16,13-14 0,-13 13 16,0 0-16,0 0 15,13-13-15,-13 14 0,13-1 16,-13 0-16,14 0 16,-14 0-1,13 1-15,-13-1 16,13-13-16,-13 13 15,0 0-15,13-13 0,-13 14 16,13-14 0,-13 13-16,0 0 15,14 0-15,-14 1 16,13-1 0,-13 0-1,0 0-15,13 0 16,-13 1-1,0-1 1,0 0 0,0 0-16,13 1 15,-13-1 1,0 0-16,0 0 16,0 1-1,0-1 1,0 0-16,0 0 15,0 0 1,0 1-16,0-1 16,14 0-1,-14 0 1,0 14 0,0-14-1,0 0 1,13 14 15,-13-14-15,0 0-1,0 0 1,0 1 0,0-1-16,0 0 15,0 0-15,13 1 16,-13-1-1,0 0 1,0 0-16,0 0 16,0 1-16,0-1 15,0 0 1,0 0-16,0 1 16,0-1-16,0 0 15,0 0 1,0 1-16,0 12 15,0-13-15,0 0 16,0 1-16,0-1 16,0 0-16,-13 0 15,13 1 1,0 12-16,0-13 31,0 1-31,0-1 16,0 0-1,0 0 1,0 0 0,13 1-1,-13-1-15,0 0 16,0 0 0,0 1-16,0-1 15,0 0 1,0 0-1,13-13 1,-13 14-16,0-1 0,0 0 31,0 0-31,13 0 16,-13 1 0,0-1-16,0 0 15,0 0-15,14 1 16,-14-1-16,0 0 15,13 0 1,-13 0-16,0 1 0,0-1 16,0 0-1,0 0-15,13-13 0,-13 14 0,0-1 16,0 0-16,0 14 16,13-14-1,-13 13 1,0-13-16,0 1 15,0-1-15,14-13 0,-14 13 0,0 0 16,0 1-16,0-1 16,0 0-16,13 0 15,-13 1-15,0 12 16,13-13-16,-13 0 16,0 1-16,0-1 15,13 0-15,-13 0 0,0 1 16,14-1-16,-14 0 15,13 0-15,-13 0 16,13 14 0,0-14-16,0 14 15,-13-14 1,14-13-16,-14 13 0,0 0 16,13 1-1,-13-1-15,0 0 16,13 0-16,-13 14 15,13-27-15,-13 13 0,14 13 16,-14-12-16,0-1 16,13 0-1,-13 0-15,13-13 0,-13 14 0,0-1 16,13-13-16,1 26 16,-1-13-1,0 14 1,13-1-16,-12-12 15,-1 12 1,0-13 0,0 1-16,1-1 15,-1 0 1,-13 0-16,39 27 16,-25-14-1,-1-12-15,13 25 16,-12-25-1,12 38 1,-13-38-16,1 12 16,-1-26-16,-13 13 15,0 1-15,13-1 0,0 0 16,-13 0 0,13 0-1,-13 1 1</inkml:trace>
  <inkml:trace contextRef="#ctx0" brushRef="#br0" timeOffset="50623.68">8771 6787 0,'-13'0'16,"26"-14"62,0 1-78,0 13 15,1-13 1,-1 0-16,0-1 16,0 1-16,1 13 15,-14-13-15,13 13 16,-13-13-16,13 0 0,-13-1 15,13 14-15,-13-13 0,13 13 16,-13-13-16,14 0 0,-14-1 16,13 1-16,-13 0 15,13 0-15,-13-1 16,0 1-16,13 13 0,-13-13 0,0 0 16,14 0-16,-14-1 0,0 1 15,13 13-15,-13-13 0,13-14 16,-13 14-16,0 0 0,13 13 0,-13-13 15,0-1-15,14 1 0,-14 0 16,13 0-16,-13 0 16,13-1-16,-13 1 0,0 0 15,13 13-15,-13-13 0,0-14 0,13 27 16,-13-13-16,0 0 0,14-1 16,-14 1-16,0 0 15,13 0-15,-13 0 0,0-1 16,13 14-16,-13-13 0,0 0 15,0 0-15,13-1 0,-13 1 16,0 0-16,0 0 0,14-1 16,-14 1-16,0 0 15,13 0-15,-13 0 0,13-1 16,-13 1-16,0 0 0,13 0 16,-13-1-16,0 1 0,14 0 15,-14 0-15,13 0 16,-13-1-16,0 1 0,0 0 15,13 0-15,-13-1 0,13-12 16,-13 13-16,0-1 16,13 1-16,-13 0 0,14 0 15,-14 0-15,0-1 0,0 1 16,13 0-16,-13 0 16,13-1-16,-13 1 0,0 0 15,13 0-15,-13-1 16,0 1-16,14 0 0,-14 0 15,0 0-15,0-1 0,0 1 16,13 13-16,-13-13 0,0 0 0,0-1 16,13 1-16,-13 0 15,0 0-15,0 0 0,13-1 16,-13 1-16,0 0 16,0-14-16,13-39 31,1 40-16,-14-1 17,0 14-32,0 0 0,0 0 15,0-1-15,0 1 16,0 0-16,0 0 16,0-1-16,0 1 15,0 0-15,0 0 16,13 0-16,-13-1 15,0-12-15,0 13 16,0-1-16,0 1 16,13-13-16,-13 12 15,0 1 1,0 0-16,0 0 16,0 0-16,13-1 15,-13 1-15,0 0 16,0 0-16,0-1 15,0 1-15,14 0 16,-14 0-16,0-1 16,0 1-1,0-13-15,13 26 16,-13-13-16,0-1 0,0 1 16,0 0-16,0 0 15,0-1-15,13 1 0,-13-13 16,0 13-16,0-1 15,13 1-15,-13 0 16,0 0-16,0-1 0,0 1 16,14 0-16,-14 0 0,0-1 15,0 1-15,13 0 16,-13 0-16,0 0 0,13-1 16,-13 1-16,0 0 15,13 0-15,-13-1 0,13 1 16,-13 0-16,14 0 15,-14-1-15,13 1 16,-13 0-16,0 0 16,13 13-16,-13-13 0,0-1 15,0 1-15,13 0 16,-13 0-16,14-1 16,-14 1-16,0 0 15,0 0-15,13 13 16,-13-13-16,0-1 0,0 1 15,0 0-15,13 0 16,-13-1-16,0 1 16,0 0-16,13 0 15,-13-1 1,0 1 0,0 0-1,14 13-15,-14-13 16,13 13-16,-13-13 15,13-1 1,-13 1 0,13 13-16,-13-13 15,13 13 1,1-13-16,-1-1 16,0 1-1,0 0 1,1 13-1,-14-13-15,13 13 16,0-14 0,0 1-1,0 13-15,-13-13 16,14 13-16,-1 0 16,-13-13-16,13 13 15,0 0 1,1-13-16,-1 13 15,0 0 1,0 0 0,-13-14-16,14 14 15,12 14 1,-13-14 15,-13 13-31,13-13 16,-13 13-16,14 0 15,-1 0 1,-13 1 0,13-1-16,-13 0 15,0 0 1,13 1-16,-13-1 16,0 0-16,14 0 15,-14 1-15,0-1 16,0 0-1,0 0-15,13 0 16,-13 1-16,0-1 16,0 0-16,13 0 15,-13 1-15,0-1 16,0 0-16,0 0 16,0 1-16,0-1 15,0 0-15,13-13 0,-13 13 16,0 0-16,0 14 15,0-14-15,0 0 16,0 1 0,0-1-16,0 0 0,0 0 15,0 0-15,0 1 16,0-1-16,0 0 16,0 0-16,0 1 0,0-1 15,0 0-15,0 0 16,14 1-16,-14-1 15,0 0 1,0 0-16,13 0 0,-13 1 16,0-1-16,0 0 15,13-13-15,-13 13 16,0 1-16,13-1 16,-13 0-16,0 0 15,13 1-15,-13-1 16,0 0-1,14 0-15,-14 0 16,0 1-16,13-14 16,-13 13-16,13 0 15,-13 0-15,0 1 16,13-14-16,-13 13 0,14 0 16,-14 0-1,13-13-15,-13 13 0,13 1 16,-13-1-16,13-13 0,-13 13 0,14-13 15,-14 13-15,13-13 0,-13 14 0,13-1 16,0-13-16,0 26 16,14 1-1,-14-14-15,-13 0 16,13-13-16,-13 13 0,14-13 16,-1 14-16,-13-1 0,13-13 0,0 26 15,1-26-15,-1 14 16,13 12-16,-13-26 0,1 13 15,12 14-15,-13-14 0,1-13 16,-1 13-16,0 0 0,0 1 0,14-1 16,-14 0-16,0 0 0,0-13 15,1 14-15,-1-1 16,0 0-16,14 0 16,-14 1-16,0-1 0,0-13 15,0 13-15,14 0 16,-14 0-16,14 1 15,-14-1-15,13 0 16,-12-13-16,25 27 16,-12-14-1,-27 0-15,13-13 0,0 13 16,0 1-16,27 12 16,-14 0-1,1-12-15,-14-1 16,27 0-16,-27 0 15,40 14 1,-13-1 0,13 14-1,0 0 1,-14-1 0,-12-12-1,12 12 1,-12-12-1,-14-14-15,0 0 16,14 14-16,-1-1 16,-13-26-16,1 14 15,-14-1-15,39 13 0,-25-13 16,-1 1 0,0-14-16,0 13 0,-13 0 0,14-13 0,25 27 15,-26-1 1,14-13-16,-14 0 15,27 14-15,-1-1 16,-25-26 0,12 27-16,-13-27 0,1 13 15,12 0 1,-13 1-16,27 12 0,-14-13 16,14 27-1,0-27-15,-27 0 0,0 1 16,53 25-1,-52-25-15,-1-1 0,27 13 16,-1 1-16,41 26 16,-41-27-1,-25-13-15,12 1 0,27 25 16,13 1 0,-13-14-1,-40-12-15,0 12 16,1-13-16,-1 1 0,-13 12 0,13 0 15,-13 41 1,0-54-16,0 13 0</inkml:trace>
  <inkml:trace contextRef="#ctx0" brushRef="#br0" timeOffset="52481.3">3903 4802 0,'0'13'15,"0"1"17,13-14-32,0 0 15,0 0-15,1-14 16,-1 14-16,0 0 0,0 0 15,0 0-15,1-13 0,-1 13 0,13 0 16,-12 0-16,-1-13 0,0 13 0,0 0 16,1-13-16,-1 13 15,0 0-15,0 0 16,0-14-16,1 14 31,-1 0-15</inkml:trace>
  <inkml:trace contextRef="#ctx0" brushRef="#br0" timeOffset="53473.64">4299 4683 0,'14'0'32,"-1"13"-17,0-13-15,-13 14 0,13-1 16,1 0-1,-1 0-15,-13 0 16,13-13-16,0 14 16,1-14-16,-14 13 15,13-13-15,0 13 16,0-26 15,-13 0-15,0-1-1,0 1-15,0 0 0,0 0 16,0 0-16,0-1 0,-13 1 16,13 0-1,0 0-15,0-1 16,0 1 0,13 0-1,0 13 1,1-13-16,-1 13 15,0 0-15,0 0 0,1-13 0,-1 13 16,0-14-16,0 14 0,1-13 16,12 13-16,-13-13 0,0 13 0,1-13 15,-14-1-15,13 14 0,0-13 16,0 0-16,-13 0 0,14-1 16,-14 1-16,13 0 15,-26 0 1,-14 26 15,27 0-31,0 0 16,-13-13-16,13 14 15,0-1-15,0 0 0,13 0 16,-13 1-16,0-1 16,13 0-16,-13 0 15,14 1-15,-1-14 16,-13 13-16,13-13 15,-13 13-15,13-13 16,0 0-16,1 0 16,-1 0 15,0 0-15,0 0-1,-26 13 126,13 0-141,-13-13 15,13 14-15</inkml:trace>
  <inkml:trace contextRef="#ctx0" brushRef="#br0" timeOffset="54211.08">4101 5252 0,'-53'0'16,"40"13"-1,0-13-15,-1 13 0,1-13 16,13 14-16,-13-14 0,13 13 15,-13-13-15,13 13 0,0 0 16,0 1 0,13-14-16,0 0 15,0 13-15,1-13 0,-1 0 0,0 13 16,0-13-16,1 0 0,-1 13 16,0-13-16,0 0 15,1 14-15,-1-14 16,-13 13-16,0 0 0,-13 0 15,-1 0 1,1 1 0,0-1-16,0-13 0,13 13 15,-27-13-15,14 0 0,13 13 16,-13-13-16,-1 0 16,1 0-16,0 0 15</inkml:trace>
  <inkml:trace contextRef="#ctx0" brushRef="#br0" timeOffset="54463.92">4180 5159 0,'0'-13'31,"14"40"-16,-14-14-15,13 0 16,-13 0-16,13 14 0,-13-14 0,0 0 16,13 0-16,-13 14 0,0-14 0,0 0 15,0 14-15,14-14 0,-14 0 16,0 1-16,0-1 0,0 0 16,0 0-16,0 0 15,0 1-15</inkml:trace>
  <inkml:trace contextRef="#ctx0" brushRef="#br0" timeOffset="54802.57">4352 5186 0,'-26'13'31,"13"0"-31,-1 1 16,1-14-16,13 13 0,-13 0 15,13 0-15,-13 0 16,13 1-16,-13-1 0,13 0 16,0 0-16,13 1 15,-13-1 1,13-13-16,0 0 15,0 0 1,14 0-16,-14-13 16,0 13-16,1 0 15,-1-14-15,0 14 0,0-13 0,1 13 16,-14-13-16,13 13 0,0 0 0,0 0 16</inkml:trace>
  <inkml:trace contextRef="#ctx0" brushRef="#br0" timeOffset="55614.04">4564 5252 0,'-13'-13'16,"13"0"0,-13-1-1,-1 1 1,1 26-1,0-13 1,13 14-16,-13-14 0,13 13 16,0 0-1,0 0-15,0 0 16,13-13-16,-13 14 16,13-14-1,0 0-15,1-14 0,-1 14 16,0-13-16,0 13 15,-13-13-15,14 0 16,-1 0-16,0-1 16,-13 1-16,13 13 15,-13-13 1,0 0 0,13 26 30,1-13-46,-14 13 16,13 0 0,0-13-1,0 0 1,1-13 0,-1 13-16,-13-13 15,13 13-15,-13-13 0,13-1 16,0 1-16,-13 0 15,14 13-15,-1-13 16,-13-1-16,13 14 31,0 14-15,1-14 15,-1 0-15,0 0-1,-13-14 1,13 14-16,-13-13 16,0 0-16,14 0 15,-14 0 1,0-1-16,-14 1 31,14 0-15</inkml:trace>
  <inkml:trace contextRef="#ctx0" brushRef="#br0" timeOffset="56741.61">11020 4233 0,'0'14'15,"0"-1"1,0 0-16,0 0 16,0 0-16,0 1 0,0-1 0,0 0 15,0 14-15,0-14 0,0 0 0,0 0 16,0 1-16,0-1 0,0 0 16,0 0-16,0 0 0,0 1 15,0-1-15,0 0 16,0 0-1,0 1 1</inkml:trace>
  <inkml:trace contextRef="#ctx0" brushRef="#br0" timeOffset="57043.89">10914 4471 0,'-13'0'0,"39"-13"31,-12 13-15,-1 0-16,0 0 0,0 0 15,0-13-15,1 13 0,-1 0 0,0 0 16,0 0-16,1 0 0,-1 0 15,0 0-15,0 0 0,0-13 16,1 13-16,-1 0 16,0 0-16,0 0 15,1 0 1</inkml:trace>
  <inkml:trace contextRef="#ctx0" brushRef="#br0" timeOffset="57830.37">11298 4379 0,'0'-13'0,"13"39"31,-13-13-16,13 1-15,-13-1 16,13 0-16,-13 0 16,14-13-16,-14 13 15,13-13-15,-13 14 0,13-14 16,-13 13-16,27-26 16,-27-1-1,13 1 1,-13 0-1,0 0-15,0 0 0,0-1 16,0 1 0,0 0-1,13 13 17,0 0-17,0 0-15,-13-13 16,14 13-16,-1 0 0,0 0 15,-13-14-15,13 14 0,1-13 0,12 0 16,-13 0-16,1-1 16,-14 1-16,13 13 0,-13-13 15,0 0 1,-27 26 15,27 0-31,-13-13 16,13 13-16,0 1 0,-13-1 15,13 0-15,13 0 16,-13 1-16,13-1 16,1 0-1,-1-13-15,0 13 16,0-13-16,0 0 16,1 0-1,-1 0-15,0 0 16</inkml:trace>
  <inkml:trace contextRef="#ctx0" brushRef="#br0" timeOffset="58492.63">11337 4882 0,'-39'0'16,"78"0"-16,-92 0 0,40 0 0,13 13 0,-13-13 16,0 0-16,13 13 0,-13-13 15,-1 13-15,28 0 16,-1 1 0,0-14-16,0 0 15,0 0-15,1 13 0,12-13 16,1 0-16,-14 13 0,0-13 0,0 0 15,1 13-15,-1-13 0,0 0 16,0 14-16,0-1 16,-13 0-1,-13 0-15,0-13 16,13 14-16,-13-14 0,0 0 16,-1 13-16,1-13 0,0 0 15,0 0-15,-1 0 16,1 0-16,0 0 15,13-13-15,0-1 16</inkml:trace>
  <inkml:trace contextRef="#ctx0" brushRef="#br0" timeOffset="58742.15">11549 4723 0,'0'-13'16,"0"39"15,0-13-31,0 0 0,0 1 16,0-1-16,0 0 0,0 14 0,0-14 16,-13 27-16,13-27 15,0 40-15,0-40 16,0 0-16,0 0 0,0 1 15,13-14 1,0 0-16</inkml:trace>
  <inkml:trace contextRef="#ctx0" brushRef="#br0" timeOffset="59141.47">11748 4829 0,'-14'0'16,"28"0"-16,-41-14 0,14 14 15,0 14-15,-1-14 16,1 0-16,0 13 0,0-13 0,-1 0 16,1 13-16,13 0 0,-13-13 15,13 14-15,-13-14 0,13 13 16,0 0-16,-13 0 0,26 0 16,0 1-1,0-14 1,0 0-16,14 0 15,79-14 32</inkml:trace>
  <inkml:trace contextRef="#ctx0" brushRef="#br0" timeOffset="59698.78">11893 4948 0,'-26'-93'78,"12"106"-62,54 67-16,-93-146 15,53 79-15,-13-13 0,13 13 16,0 0 0,0 0-16,13-13 15,0 0-15,1 0 16,-1 0-16,0 0 0,0-13 16,0 13-16,-13-13 0,27 0 15,-14 13-15,-13-13 0,13 13 16,-13-14-16,14 14 0,-1-13 15,-13 0 1,13 26 31,0 0-31,1-13-1,-1 0 1,0 0-1,0 0 1,0 0 0,1 0-16,-1 0 15,0 0 1,0 0 0,1 0-1,-1-13-15,0 13 16,-13-13-16,13 13 15,-13-13-15,14-1 16,-14 1 0,0 0-1</inkml:trace>
  <inkml:trace contextRef="#ctx0" brushRef="#br0" timeOffset="59837.84">12237 4815 0,'0'0'16,"13"0"0,-13-13-1,0 0-15,0 0 32,0-1-1</inkml:trace>
  <inkml:trace contextRef="#ctx0" brushRef="#br0" timeOffset="61453.15">3572 6363 0,'0'0'0,"0"13"31,0 1-31,-13-1 15,13 0-15,-14 0 0,14 1 16,-13-1-16,0 0 0,13 0 0,-13 1 16,13-1-16,-14 0 15,14 0-15,-13 0 0,0 1 16,13-1-16,-13 0 16,26 0-1,0 1 1,0-14-16,1 0 15,-1 0-15,0 0 16,0 0-16,1 0 16,-1 0-16,0 0 0,0 0 15,-13-14-15,14 14 16,-1 0 0,-40 14 15</inkml:trace>
  <inkml:trace contextRef="#ctx0" brushRef="#br0" timeOffset="62184.97">3373 6641 0,'-39'13'0,"26"-13"16,-1 14-16,1-14 15,0 13-15,0 0 0,-14-13 16,14 13-16,-14 0 0,-25 14 16,12-14-16,13 0 0,-12 1 0,12-1 15,-12 13-15,-1-13 16,0 1-16,1-1 0,-1-13 0,-13 13 16,13 0-16,-13 1 0,0-1 0,14 0 15,-14 0-15,0 1 0,-53 12 16,40-13-16,13 0 0,-53 14 15,66-14-15,1 0 16,-14 1-16,13-1 0,0 0 0,1 0 16,-41 1-16,54-1 0,-1 0 15,-25 0-15,25-13 0,1 13 16,-1-13-16,1 14 0,-1-14 16,1 13-16,13-13 0,-14 0 15,14 13-15,-14-13 0,14 0 0,0 13 16,0-13-16,0 0 0,-1 0 0,1 14 15,0-14-15,0 0 0,-1 0 0,1 13 16,0-13-16,0 0 16,-1 13-16,1-13 15,0 13 1,0-13-16</inkml:trace>
  <inkml:trace contextRef="#ctx0" brushRef="#br0" timeOffset="62653.25">1323 7223 0,'0'27'16,"-13"-14"-1,13 0-15,0 0 16,-14 0-16,14 1 0,0-1 0,-13-13 15,13 13-15,0 0 0,-13 1 16,13-1-16,0 0 0,-13-13 16,13 13-16,0 1 0,0-1 15,0 0 1,13 0 0,0 0-1,0-13 1,1 0-1,-1 0-15,0-13 16,0 13-16,1 0 0,-1-13 16,0 13-16,-13-13 15,0 0-15</inkml:trace>
  <inkml:trace contextRef="#ctx0" brushRef="#br0" timeOffset="62926.74">1336 7078 0,'27'-14'16,"-14"1"-1,0 13-15,14-13 16,-14 13-16,13-13 0,-13 13 0,1 0 16,-1-14-16,0 14 0,0-13 15,1 0-15,-1 13 0,0-13 16,0 13-16</inkml:trace>
  <inkml:trace contextRef="#ctx0" brushRef="#br0" timeOffset="63496.8">1707 6879 0,'13'0'16,"0"0"-1,-13 13-15,13-13 16,0 0-16,1 14 15,-1-14-15,0 13 0,0-13 32,1 0-32,-1 0 0,0-13 15,0-1 1,-13 1-16,0 0 16,0 0-16,0-1 15,0 1-15,0 0 16,0 0-16,0 0 15,0-1 1,0 1 0,14 13-16,-14-13 15,13 13-15,-13-13 16,13-1-16,0 14 0,-13-13 0,13 13 16,-13-13-16,14 13 0,-14-13 0,13 13 15,-13 13 16,13 0-15,-13 0-16,0 1 16,0-1-1,13-13-15,-13 13 0,14-13 16,-1 0 0,13 0-16,-12 0 15,-1 0-15,0-13 0,0 13 0,0 0 16,1-13-16,-1 13 0,0-14 15,0 1-15,1 13 0,-1 0 16</inkml:trace>
  <inkml:trace contextRef="#ctx0" brushRef="#br0" timeOffset="64240.92">2342 6482 0,'0'-13'0,"0"0"31,-14 0-15,14-1-16,0 1 15,0 0-15,0 0 0,0-1 16,0 1-16,0-13 0,0 13 16,0-14-16,14 1 0,-14-1 0,26-39 15,-13 40-15,14-14 16,-14 13-16,13 1 0,1-14 0,26-13 16,-27 27-16,54-40 15,-41 26-15,27 0 0,1-13 16,-41 27-16,14 13 15,-14-14-15,14 14 0,-27 0 16,53-14-16,-53 14 0,14 0 16,-14 0-16,0 13 0,1-14 15,-1 14 1,0-13 0,0 13-16,1 0 31,-14-13-16,13 13 1</inkml:trace>
  <inkml:trace contextRef="#ctx0" brushRef="#br0" timeOffset="64738.7">2990 5384 0,'-13'0'0,"-1"0"16,14 14 0,14-14 15,-1 13-31,0-13 15,0 0-15,14 0 16,-14 0-16,0 0 0,0 0 16,1 0-16,-1 0 0,0 0 0,0 0 15,1 0-15,-1 13 16,0-13-16,0 0 0,0 0 16,1 0-1,-1 0-15,0 13 16,-26 0-1,13 14 1,-13-14-16,-1 14 16,-105 118 15,106-118-15,0-1-1,-14 14-15,27-1 16,0-25-1,14-1-15,-14 0 0</inkml:trace>
  <inkml:trace contextRef="#ctx0" brushRef="#br0" timeOffset="66407.45">12740 6548 0,'0'27'47,"0"-14"-32,0 0-15,13 1 16,-13-1-16,13 0 0,-13 0 16,0 1-16,13 12 0,1-13 0,-14 0 15,13 1-15,-13-1 0,13 0 16,0 0-16,-13 14 0,14-14 0,-1 0 15,0 14-15,13-14 0,-12 0 0,-1 0 16,13 14-16,1-14 16,13 14-16,-14-14 0,0 0 0,1 0 15,13 0-15,12 14 0,-38-27 16,25 13-16,-12 0 16,-1 1-16,-12-14 0,12 13 0,0-13 15,1 13-15,13 0 0,-14-13 16,1 14-16,-1-14 0,14 0 0,-14 13 15,1-13-15,-1 0 0,14 13 16,-1-13-16,1 0 0,0 13 0,-14-13 16,14 0-16,-14 0 0,14 13 0,-13-13 15,-1 0-15,0 14 0,14-14 16,-13 0-16,-1 0 0,1 13 0,12-13 16,-12 0-16,-1 0 0,27 13 15,-26-13-15,25 0 16,-25 0-16,-1 0 0,-12 0 0,12 0 15,-13 0-15,0 0 0,14 0 16,-14 0-16,0 0 0,-13 13 0,14-13 16,-1 0-16,0 0 0,0 0 15,-13-13 1,14 13-16,-1 0 16,0 0 77</inkml:trace>
  <inkml:trace contextRef="#ctx0" brushRef="#br0" timeOffset="66836.85">15134 7183 0,'0'-13'0,"0"53"31,-13-27-15,13 0-16,0 14 0,0-14 0,0 0 15,0 27-15,-13-27 0,13 0 16,0 1-16,0-1 0,0 0 16,-14 14-16,14-14 0,0 0 15,0 0-15,0 0 16</inkml:trace>
  <inkml:trace contextRef="#ctx0" brushRef="#br0" timeOffset="67056.85">14975 7408 0,'-13'-13'0,"26"0"31,1 13-31,-1 0 0,0 0 16,0-13-16,1 13 16,12 0-16,-13 0 0,0 0 0,14 0 15,-1-14-15,-12 14 0,-1 0 16,0 0-16,0 0 0,1 0 16,-1 0-16,0 0 0</inkml:trace>
  <inkml:trace contextRef="#ctx0" brushRef="#br0" timeOffset="67632.02">15452 7276 0,'0'-13'0,"0"39"31,0-13-15,13 1-16,-13-1 15,0 0-15,13 0 0,-13 1 16,13-1-16,1 0 16,-1 0-16,0-13 15,0 0 1,1 0-16,-1-13 16,0 0-16,-13 0 15,0-1-15,0 1 0,0 0 16,0 0-1,0-1-15,13 14 16,0-13 0,1 13-1,-1 0-15,0 0 16,0 0-16,27-13 16,-27 13-16,0-13 0,1 13 15,-1-13-15,0 13 0,0-14 16,1 1-1,-41 13 1,14 13 0,0-13-16,-1 14 15,14-1-15,-13 0 16,13 0-16,0 14 0,13-27 16,-13 13-16,14 0 0,-1 0 15,0-13-15,-13 14 16,13-14-16,1 0 0,12 0 0,-13 0 15,1 0-15,-1 0 0,0 0 16,13 0-16,-12-14 0,-1 14 0,13 0 16,-12 0-16</inkml:trace>
  <inkml:trace contextRef="#ctx0" brushRef="#br0" timeOffset="67795.52">16219 7395 0,'0'0'16,"13"0"-1,-26-13 17,13 0-17,-13 13-15,-1-14 16,-12 1-16,13 13 16</inkml:trace>
  <inkml:trace contextRef="#ctx0" brushRef="#br0" timeOffset="69138.64">11761 5239 0,'53'-13'0,"-106"26"0,132-26 15,-52 13-15,-1 0 0,14-14 16,13 1-16,26 0 0,-26 0 16,-13-1-16,13 1 0,-1 0 0,-12 0 15,53-27-15,-40 27 16,0 0-16,13-27 0,-27 13 16,-12 1-16,52-27 0,-52 27 15,-1-14-15,14-26 16,-27 39-16,0-12 0,-13-1 15,14 0-15,-14 1 0,-14-1 0,14 0 0,-13 0 16,0 1-16,-14 12 16,14-12-16,-27-1 0,14 0 0,0 1 15,-14-1-15,0 13 0,0-12 0,14 12 16,-14-12-16,1 12 0,12 1 16,-52-27-16,52 26 0,-12 1 15,-41-27-15,41 26 0,-14 1 16,-27 0-16,41 12 15,-54-12-15,53 13 0,-13 13 16,14-14-16,-14 14 0,0 0 0,0 0 16,-13 0-16,-40 0 0,53 14 15,0-14-15,0 13 0,14 0 16,-14 0-16,-27 14 16,41-14-16,-1 13 0,-26 14 15,26-13-15,-26 39 16,39-40-16,1 1 0,0-1 15,-14 40-15,13-26 0,1 13 16,13-13-16,13-14 0,-14 14 16,14-14-16,0 54 0,0-41 15,14 1-15,-1 0 0,0-1 16,40 41-16,-13-41 0,-1 1 16,1 0-16,0-1 0,66 41 15,-1-14-15,-65-40 16,13 14-16,-13-13 0,13 12 0,-27-26 15,40 40-15,-26-39 16,-14 12-16,1-13 0,-1 14 0,14-1 16,0-13-16</inkml:trace>
  <inkml:trace contextRef="#ctx0" brushRef="#br0" timeOffset="74612.39">5821 4075 0,'0'-14'15,"0"41"32,0-14-31,0 0-16,-13-13 0,13 14 16,0-1-16,0 0 0,0 0 0,-14 0 15,14 1-15,0-1 0,0 0 0,0 14 16,0-14-16,0 0 15,0 0-15,0 0 0,0 1 16,0-1-16,14 0 16,-14 0-16,0 1 15,0-1 1,13 0 0,-26 0-1,13 1 1,0-1-16,0 0 15,0 0-15,0 0 0,0 1 16,0-1-16,0 0 16,0 0-16,0 1 0,0-1 15,0 0-15,0 0 16,0 1-16,13-14 16,-13 13-16,0 0 0,13 0 15,-13 0 16,0 1-15,0-1-16,0 0 31,0 0-31,0 1 16,0-1 0,0 0-1</inkml:trace>
  <inkml:trace contextRef="#ctx0" brushRef="#br0" timeOffset="76048.89">5146 4128 0,'0'26'31,"13"-13"-31,-13 0 16,0 1-16,0-1 0,14-13 16,-14 13-16,0 0 15,13-13-15,-13 14 0,0-1 0,13 0 16,-26-39 31,13 12-47,0 1 0,0 0 15,-13-14-15,13 14 16,0 0-16,0 0 0,0 0 16,-14-1-16,28 14 15,-1 14 1,27 38 31,-27-38-47,0-1 15,13-79 32,-26 53-47,14-1 16,-1 1-16,0 13 16,40 66 30,-40-39-46,-13-14 16,14-13 0,-14 13-16,13 0 15</inkml:trace>
  <inkml:trace contextRef="#ctx0" brushRef="#br0" timeOffset="76748.75">5490 4167 0,'0'-13'0,"0"-13"47,0 12-47,-13 28 31,13-1-16,0 0-15,0 0 16,13 0 0,0-13-1,1 0 1,-1 0-16,0 0 16,0-13-16,0 0 15,1 13-15,-14-13 0,26-14 16,-13 14-16,-13 0 15,0 0-15,14 13 0,-14-14 16,0 1-16,0 0 0,0 0 16,0-1-16,0 1 31,-14 26 0,14 1-15,0-1-16,0 0 15,0 0 1,0 1-16,0-1 16,14-26 15,-1 13-15,-13-14-16,0 1 15,13 13-15,-13-13 0,13 0 31,1-1-15,-1 14 15,0 0-15,0-13 15,-13 0-31,13 0 16,1 0-1,-1-1-15,0 14 16,0-13-16,1 0 16</inkml:trace>
  <inkml:trace contextRef="#ctx0" brushRef="#br0" timeOffset="77564.9">6376 3426 0,'0'-13'0,"0"26"0,0-39 15,14 52 32,-14 1-47,0-14 16,0 27-16,0 66 31,0-54-15,0-25-16,0-14 0,-14 53 47,14-52-32,-13-14 1</inkml:trace>
  <inkml:trace contextRef="#ctx0" brushRef="#br0" timeOffset="78422.48">6297 3651 0,'0'-13'0,"0"39"62,13-26-46,-13 14-16,0-1 0,0 0 0,0 0 15,14 1-15,-1 12 16,-13-13-16,0 1 16,13-1-16,0 0 15,0 0 1,1-13-16,-1 0 16,0 0-16,0-13 15,1 13 1,-14-13-16,13 13 0,0-13 15,0 13 1,-13-14-16,14 14 16,-14-13-16,13 13 0,-13-13 15,13 13-15,-13-13 16,13 13-16</inkml:trace>
  <inkml:trace contextRef="#ctx0" brushRef="#br0" timeOffset="80691.89">6601 3400 0,'0'-13'31,"0"-1"-15,0 41 312,0-14-313,14 0-15,-14 1 16,0-1-16,0 0 0,0 13 16,0-12-16,0-1 0,13 13 15,-13-12-15,0-1 16,0 0 0,0 0-16,0-39 46,0 13-46,0-1 16,0 1-16,0 0 0,0 0 16,0-1-16,0 1 0,13 0 15,0 13 1,1 0 0,-14 13-1,13-13-15,-13 13 0,13-13 0,-13 14 16,13-14-1,-13 13-15,13-13 16,-13 13 0,14-26-1,-14 0 1,0-1-16,13 1 16,-13 0-16,13 13 15,0 0 1,1 0-1,-1 13-15,0-13 16,0 0 0,0 0-16,14-13 15,-14 0 1,0 0-16,-13-1 16,14 14-16,-1-26 46,-13 39-30,13 0-16,27 27 47,-27-40-47,0 0 16,0 0-16,1-26 31,-14 12-16,0 1-15,0 0 16,0 0 0,0-1-1,13 1-15,0 0 16,0 13-16,1-13 0,-1 13 16,0-13-16,0 13 15,1 0-15,-14-14 16,13 28-1,0-14 1,-13 13-16,0 0 16,0 0-16,0 0 0,13 1 15,-13-1-15,13 0 16,1-13 0,-1 0-1,0 0-15,-13-13 0,13 13 16,1-27-16,-1-12 15,-13 26-15,0-1 16,0-12-16,0 13 0,0-14 0,0 14 16,0 0-16,0-1 0,0-12 15,-13 26-15,13-13 0,-14 13 16,1 13 0,0 0-16,13 14 15,-13 12-15,13-25 16,0 12-16,13 14 0,0-14 15,-13 1-15,13-14 16,-13 0-16,14 0 0,-1 1 0,-13-1 16,13 0-16,0-13 15,-13 13 1,13-26-16,1 13 0,-1-13 16,0 13-16</inkml:trace>
  <inkml:trace contextRef="#ctx0" brushRef="#br0" timeOffset="82457.75">9829 3373 0,'0'-13'0,"-13"53"31,13-27-15,0 0-16,0 1 0,0 12 15,0-13-15,0 14 0,13 12 16,-13-25-16,-13 25 0,13-25 16,0-1-16,0 0 0,0 0 15,0 0-15,0 1 0,0-1 16,0 0-16,0 0 16,0 1 15</inkml:trace>
  <inkml:trace contextRef="#ctx0" brushRef="#br0" timeOffset="82783.03">9723 3598 0,'0'0'31,"0"27"-15,14-1-16,-14-13 15,13 1-15,-13-1 16,0 0-16,13 0 0,14 14 47,12-40-32,-26 13-15,1-27 16,-1 27-16,-13-13 0,13 0 16,0-14-16,1 1 0,-14 13 15,0-14-15,13 1 0,-13 12 16</inkml:trace>
  <inkml:trace contextRef="#ctx0" brushRef="#br0" timeOffset="84374.64">9565 2910 0,'0'27'31,"0"-14"-31,0 0 0,0 1 16,0-1-16,0 0 15,13 0-15,-13 0 0,0 1 16,0-1-16,0 0 15,13-13-15,0-13 32,-13 0-17,0-1-15,14 1 0,-14 0 16,13 0 0,-13 0-16,13 13 15,0 0-15,-13 13 16,14-13-16,-1 13 15,0 0 1,0-26 47,0 13-63,-13-13 15,14 13 1,-1-13-1,0 13 1,0 0-16,-13-14 16,14 14-16,-1 0 0,0-13 15,0 13-15,0-13 0,1 13 16,-1-13-16,0 13 16,-13-14-16,13 14 15,-13 14 16,14-14-15,-14 13-16,0 0 16,13-13-16,-13 13 15,13-13-15,0 14 0,1-14 16,-1 0-16,0 0 0,13 0 16,-12 0-16,-14-14 15,13 1-15,-13 0 16,0 0-1,-13-1-15,13 1 16,-14 13-16,1 0 0,0-13 16,-13 13-1,12-13 1,41 13 15,198 79 157,-199-79-188,-13-13 15,1 0-15,-14-1 16,13 1-16,-13 0 0,0 0 0,13-14 16,-13 1-16,0 13 0,0-27 15,0 13-15,0-12 16,0 26-16,0-1 15,0-12-15,-13-1 0,13 14 16,0 0-16,-13 0 0,13-1 16,0 1-16,0 0 15,-14 13-15,14-13 16,-13 26 0,13 0-1,-13 0-15,13 1 0,0 12 16,-13 14-16,13-14 15,0 1-15,13-14 0,-13 0 16,0 0-16,0 14 0,13-1 16,0-12-16,-13-1 0,14 0 0,-1 0 15,-13 1-15,13-14 0,0 13 0,1-13 16,-14 13-16,26-13 16,-26 13-16,13-13 0,0-13 15,1 13-15,-1 0 0,0-13 16,-13 0-16,13-1 15,1 1-15,-14 0 0,0 0 16,0-1-16,0 41 63,13-14-63,53 14 46,-53-27-46,0 0 0,14 13 16,-1-13-16,-12 13 0</inkml:trace>
  <inkml:trace contextRef="#ctx0" brushRef="#br0" timeOffset="85358.31">10716 3426 0,'0'27'16,"0"-14"0,-14 27-16,14-27 15,0 13-15,0 1 0,0 26 16,0-14-16,-13 1 0,13 0 0,0 0 0,0-1 16,0 14-16,0-13 0,0 0 15,0 12-15,0 28 0,0-27 16,0-14-16,13 54 15,-13-40-15,0 26 0,0-26 16,14-13-16,-14 0 0,0 13 16,13 26-16,-13-39 15,0-1-15,0 1 0,0 0 0,13-1 0,-13 1 16,0-14-16,-13 14 0,13 0 16,0-14-16,0 14 0,0-14 15,0 14-15,0-13 0,-13 12 0,13 14 16,0-40-1,-14 1-15,14-1 16,0 27 31,0-27-47</inkml:trace>
  <inkml:trace contextRef="#ctx0" brushRef="#br0" timeOffset="85718.58">10636 5252 0,'0'40'16,"0"-27"0,13 0-16,-13 14 15,0-1-15,0 1 16,14-1-16,-1 0 15,-13-12-15,0-1 16,13-13-16,-13 13 0,13-13 16,1 0-16,12 0 15,-26-13-15,13 13 0,14-13 16,-14-1-16,13 1 16,14-26-16,0-28 15,-27 28-15,27-41 16,-27 27-16</inkml:trace>
  <inkml:trace contextRef="#ctx0" brushRef="#br0" timeOffset="86580.73">10676 3321 0,'0'-14'0,"0"1"0,13 40 47,-13-14-32,0 0-15,0 0 16,0 0-16,13 1 16,-13-1-16,0 0 15,14-39 32,-14 12-47,0 1 16,13 0-16,-13 0 0,13 0 15,-13-1 1,13 14-16,1-13 16,-1 13-16,0 13 15,0-13 1,-13 14-16,13-14 15,1 13-15,-14 0 32,13-13-32,0-13 31,-13 0-15,13-1-1,1 1-15,-1 13 16,0 0-1,0 0 1,1 13-16,-1 1 16,0-14-1,-13 13-15,13-13 16,-13 13-16,13-13 16,-13 13-16,14-13 15</inkml:trace>
  <inkml:trace contextRef="#ctx0" brushRef="#br0" timeOffset="87532.93">11112 3321 0,'14'-14'16,"-14"1"-1,0 0-15,0 0 16,0-1-16,-14 14 31,1 0-15,0 14-16,13-1 0,-13-13 15,13 13-15,0 0 0,0 1 16,0-1-16,0 0 16,13 0-16,0 0 15,0-13-15,1 14 16,-1-14-16,0 0 0,0 0 0,14 0 16,-14-14-16,0 14 0,27-13 15,-27 13-15,40-26 16,-40 26-16,1-13 15,-1-1-15,0 14 16,0-13-16,-13 0 0,0 0 16,0-1-16,0 1 15,-13 0 1,0 13 0,0 0-1,-1 13-15,1 0 0,13 1 31,-13-14-31,13 13 0,0 0 16,0 0 0,13-13-16,-13 14 15,13-14 1,1-14 0,-1 14-16,0-13 15,-13 0-15,13 13 16,1-13-16,-14-1 15,13 1 1,0 0 0,0 26 31,0-13-32,-13 13-15,14 1 16,-1-14-1,0 0 17,0 0-32,-13-14 15,14 14 1,-1-13 0,0 13-1,0 0 1,1 0-1,-1 0 1,0 0 15</inkml:trace>
  <inkml:trace contextRef="#ctx0" brushRef="#br0" timeOffset="87672.95">11840 3215 0,'0'-14'31</inkml:trace>
  <inkml:trace contextRef="#ctx0" brushRef="#br0" timeOffset="88712.78">18785 4299 0,'0'0'15,"-13"-13"-15,0 13 0,0 0 16,-1 0-16,-12 0 0,-14 13 15,1 1-15,-1-1 0,-26 13 16,13-12-16,-66 39 0,53-27 16,13 0-16,-66 27 15,66-26-15,0-14 0,-26 27 16,39-14-16,-13 1 0,40-27 16,-14 13-16,14-13 0,0 13 0,0-13 15</inkml:trace>
  <inkml:trace contextRef="#ctx0" brushRef="#br0" timeOffset="89014.88">18031 4247 0,'-39'52'0,"25"-38"0,-12 12 15,0 14-15,12-14 0,-12 1 0,-14 39 16,0 0-16,27-26 16,0 26-16,13-40 15,0 14 1,13-14-16,-13-12 0,13-1 0,1 13 16,-1-12-16,40-1 15,-40 0-15,14-13 0,-1 0 16,14 0-16,92-66 47</inkml:trace>
  <inkml:trace contextRef="#ctx0" brushRef="#br0" timeOffset="114448.64">19288 3373 0,'199'14'15,"-120"-14"-15,14 0 0,12 0 16,41 0-16,-1-14 0,1 14 0,171 0 16,-145-13-16,0 13 0,186 0 15,-186 0-15,0 0 16,0-13-16,0 13 0,-14 0 0,-12 0 15,-14 0-15,-26 0 0,0 0 0,0 13 16,-14-13-16,1 0 0,-14 13 16,-13-13-16,-13 0 0,-13 14 0,0-14 0,-14 0 15,-13 13-15,1-13 16,-1 0-16,-40 0 16,14 0-16,-13 0 15,-14 0-15,0 0 0</inkml:trace>
  <inkml:trace contextRef="#ctx0" brushRef="#br0" timeOffset="114813.64">21458 3122 0,'0'27'0,"0"-14"0,0 0 16,0 0-16,0 53 16,0-26-16,0 0 0,-14 52 15,14-52-15,-13 0 0,13-1 0,-13 1 16,13 0-16,-13-14 0,13 27 16,-13-26-16,13-1 0,0-13 15</inkml:trace>
  <inkml:trace contextRef="#ctx0" brushRef="#br0" timeOffset="115277.3">21259 3956 0,'0'26'15,"0"-13"-15,0 0 0,0 1 16,0-1-16,0 0 0,0 0 16,0 1-16,13-1 0,1 0 15,-14 0-15,13 1 0,0-14 0,0 13 0,1-13 16,-1 0-16,0 0 0,0 0 16,1 0-16,-1 0 0,0-13 15,0 13-15,0-14 0,-13 1 0,14 0 0,-14 0 16,0-1-16,0 1 0,0 0 15,-14 13-15,14-27 0,-13 27 16,0-13-16,0 0 0,-14-13 16,1 26-16,-1-14 0,-26 1 15,27 13-15</inkml:trace>
  <inkml:trace contextRef="#ctx0" brushRef="#br0" timeOffset="115735.78">19248 3744 0,'53'13'15,"-39"-26"1,12 13-16,-13 0 15,1 0-15,12 0 0,0 0 0,-12 0 0</inkml:trace>
  <inkml:trace contextRef="#ctx0" brushRef="#br0" timeOffset="116216.96">19698 3678 0,'13'13'32,"-13"0"-32,14 0 15,-14 1-15,13-14 0,-13 13 16,13-13-16,-13 13 0,13 0 16,1-13-1,-1 14-15,0-28 16,0 14-16,-13-13 0,14 0 15,-1 0 1,-13-1-16,13 1 0,-13 0 16,13 0-1,0 13 17,1 0-32,-1-14 15,0 14 1,0 0-16,-13 14 31,0-1-15,0 0-1,0 0-15,0 1 0,14 12 16,-1-26-16,0 13 16,0-13-16,14 0 15,-1 14-15,-13-14 0,14 0 0,13 0 16,-14 0-16,27 0 0</inkml:trace>
  <inkml:trace contextRef="#ctx0" brushRef="#br0" timeOffset="116745.15">23402 3572 0,'0'0'15,"-13"26"1,13-12-16,0-1 0,0 0 16,0 0-16,0 0 0,0 14 15,0-14-15,0 0 0,0 1 0,0 12 16,0-13-16,0 1 0,-13-1 0,13 0 15,0 0-15,0 0 0,-13 1 16,13-1-16</inkml:trace>
  <inkml:trace contextRef="#ctx0" brushRef="#br0" timeOffset="116937.93">23098 3784 0,'27'-14'31,"-14"1"-31,13 13 0,-12 0 16,12 0-16,-13 0 0,14 0 15,-1 0-15,1 0 0,-1 0 0,0 0 16,1 0-16,-1 0 0,1 0 0,-14 0 16,14 0-16,-1 0 0,-13 0 15</inkml:trace>
  <inkml:trace contextRef="#ctx0" brushRef="#br0" timeOffset="117408.95">23945 3572 0,'0'26'31,"0"-12"-31,0-1 16,0 0-16,-13-13 0,13 13 0,0 0 15,0 1-15,0-1 0,-14 0 16,14 0-16,0 1 0,-13-1 16,13 0-16,-13 0 15,13 1 1</inkml:trace>
  <inkml:trace contextRef="#ctx0" brushRef="#br0" timeOffset="117673.65">23812 3664 0,'14'0'15,"-1"-13"-15,0 13 0,0 0 16,1 0-16,-1 0 16,0 0-16,0-13 0,53 26 31</inkml:trace>
  <inkml:trace contextRef="#ctx0" brushRef="#br0" timeOffset="118384.4">23984 3612 0,'0'-14'15,"0"41"16,0-14-31,0 0 16,0 0-16,0 1 0,14-1 16,-14 0-16,0 0 0,0 1 15,0-1-15,13 0 0,-13 0 16,0 1-16,0-1 16,13-13-16,-13 13 15,13-13-15,1-13 16,-1 13-1,-13-13-15,13 13 0,-13-14 0,13 14 16,1-13-16,-1 0 16,0 13-16,0-13 15,0 13-15,1 0 16,-1 0-16,0 0 16,0 0-16,1 0 0,-1 0 0,0-14 15,0 14-15,1 0 0,-1 0 0,0-13 16,13 0-16,-12 13 15,-1-13-15,0-1 0,0 14 16,-13-13-16,-26 13 16,13 13-1,-1-13-15,1 14 16,13-1-16,0 0 16,-13 0-16,26 14 15,-13-14-15,13-13 16,1 13-16,-1 1 0,0-14 15,14 0-15,-14 0 16,0 0-16,0 0 0,1 0 16</inkml:trace>
  <inkml:trace contextRef="#ctx0" brushRef="#br0" timeOffset="118536.17">24527 3810 0,'0'0'0,"13"13"16,-26-39 62</inkml:trace>
  <inkml:trace contextRef="#ctx0" brushRef="#br0" timeOffset="133478.66">12713 6615 0,'0'13'46,"0"13"-30,0-12 0,0-1-16,0 0 0,0 0 15,13 0-15,-13 1 16,14-1-16,-14 0 0,0 0 16,13 1-16,-13-1 0,13 0 0,0 0 15,-13 0-15,14 14 0,-1-14 16,0 0-16,0 1 0,-13-1 15,14 0-15,-1 0 0,0 1 0,0-1 16,0 0-16,1-13 0,-1 13 16,0 0-16,0-13 0,1 14 15,-1-14-15,0 13 0,0-13 16,1 0-16,-1 13 0,0-13 0,-13 13 16,13-13-16,0 0 0,1 0 15,-14 14-15,13-14 0,0 0 0,-13 13 16,13-13-16,1 0 15,-14 13-15,13-13 0,0 0 32,-13 13-32,13-13 15,0 0-15,1 14 16,-1-14 0,0 0-16,0 0 15,1 0 1,-1 0-16,0 0 15,-13 13-15,13-13 16,1 0-16,-1 0 16,0 0-1,-13 13 1,13-13-16,0 0 31,1-13 79,-28 0-95</inkml:trace>
  <inkml:trace contextRef="#ctx0" brushRef="#br0" timeOffset="134924.29">9750 3903 0,'13'13'31,"-13"0"63,0 0-63,13-13 16,1 0-31</inkml:trace>
  <inkml:trace contextRef="#ctx0" brushRef="#br0" timeOffset="136433.28">14552 7236 0,'13'14'16,"-13"-1"15,14-13-16,-1 0 1,0 13 0,0-13-1,0 0 1,1 0 15,-1 0-15,-13 13 187,13 0-187,-13 1-16</inkml:trace>
  <inkml:trace contextRef="#ctx0" brushRef="#br0" timeOffset="137076.22">15597 7541 0,'-13'-14'15,"39"14"-15,-12-13 16,-1 13-16,13 0 0,1-13 16,-1 13-16,40-13 0,-26-1 15,-13 14-15,-1-13 0,0 13 16,14 0-16,-13-13 0,-14 13 0,13 0 16,-12 0-16,-1 0 0,0 0 15,0 0-15,0 0 0</inkml:trace>
  <inkml:trace contextRef="#ctx0" brushRef="#br0" timeOffset="137444.69">15531 7567 0,'0'13'16,"93"-13"15,-67-13-31,-13 13 0,27 0 15,13-13-15,-13 13 16,-14 0-16,1 0 0,-1 0 16,-13 0-16,14 0 0,-14 0 0,13 0 15,-12 0-15,-1 0 0,0 0 0,0-13 16,1 13-16,12 0 16,-13 0-1,0 0 1,1 0-1,-28 0 64,1 0-64,0-14-15</inkml:trace>
  <inkml:trace contextRef="#ctx0" brushRef="#br0" timeOffset="139008.51">6443 3479 0,'0'-13'16,"-14"0"0,1 39 15,13-13-31,0 1 16,0 12-16,0-13 0,0 14 15,0-14-15,0 0 0,-13 14 16,13-14-16,0 0 0,0 14 0,0-14 15,0 13-15,0-12 0,0-1 16,-13 0-16,13 0 0,0 1 16</inkml:trace>
  <inkml:trace contextRef="#ctx0" brushRef="#br0" timeOffset="139380.37">6324 3664 0,'0'0'16,"-14"0"-16,28 27 31,-14-14-15,13 14-16,0-1 15,0-13-15,0 1 16,-13-1-16,14 0 0,-1 0 16,0-13-16,0 0 15,1 0-15,-1 0 16,-13-13-16,13 13 0,0-13 16,1 0-16,-14-1 0,13 14 15,-13-13-15,13 0 0,-13 0 16,13 13-16,-13-14 0,13 1 0,-13 0 15,14 0-15,-14-1 16,13 14-16</inkml:trace>
  <inkml:trace contextRef="#ctx0" brushRef="#br0" timeOffset="140777.57">1389 7170 0,'0'0'0,"0"-13"31,-13 39 1,0-26-17,-1 14-15,1 12 0,0-13 0,13 1 16,-13-1-16,-1 13 0,1-13 0,0 14 15,-27 13-15,27-27 16,13 0-16,-13 0 0,0 1 16,13-1-16,-14 0 0,14 0 15,0 0-15,-13-13 16,26 14 0,-13-1-16,14-13 0,-1 0 15,0 0-15,0 0 0,1 0 16,-1 0-16,0 0 0,13 0 15,-12 0-15,-1 0 0,13 0 0,1 0 16,-14 0-16,0 0 0,14 13 16,-14-13-16,0 0 0,0 0 15,1 0 1,-1 0-16,0 0 16,0-13 62,-13 0-78,0-1 15,14 1-15</inkml:trace>
  <inkml:trace contextRef="#ctx0" brushRef="#br0" timeOffset="140984.87">1707 7131 0</inkml:trace>
  <inkml:trace contextRef="#ctx0" brushRef="#br0" timeOffset="146884.34">4564 7871 0,'-13'27'32,"13"-14"-17,0 0-15,-13 1 16,13 12-16,0 0 15,0-12-15,0-1 16,0 0-16,0 0 16,0-52 31,0 12-47,0 1 15,0 13-15,13-80 31,0 80-15,0 13 0,1 13-16,12 80 31,-26-67-15,13-13-1,14-52 16,-14 12-15,0 14-16,-13 0 16,27-27-16,-1 13 15,-13 27-15,14 14 16,-14-14-16,-13 13 16,13 13-16,0-12 15,-13-1-15,14 13 0,-14-12 16,13 12-16,-13-13 15,0 0-15,13 1 16</inkml:trace>
  <inkml:trace contextRef="#ctx0" brushRef="#br0" timeOffset="147644.31">5014 7964 0,'0'-26'0,"13"26"0,-13-27 15,0 1 1,0 12-16,-13 14 16,13-13-16,-13 13 15,-1 13 1,14 1-16,0-1 15,-13 0-15,13 0 16,0 1-16,0-1 0,0 0 16,0 0-16,13 0 0,1-13 15,-14 14-15,13-14 0,0 0 0,0 0 16,1 0-16,-1 0 16,13 0-16,-13 0 0,1-14 15,12 14-15,-13-13 0,1 0 0,-1 13 0,0-13 16,0 0-16,14-1 15,-27 1-15,0 0 0,13 13 16,-13-13-16,0-1 16,0 1-16,-13 0 0,0 0 31,-1 26-15,14 0-16,0 0 15,-13 1-15,13-1 16,0 0-1,0 0-15,13-13 0,-13 14 16,14-28 15,-1 1-31,0 13 16,0 0-16,-13-13 16,13 13-16,1 0 15,-1 0 1,-13 13-16,13-13 31,0 0-31,1 0 31,-14-13-31,13 13 16,-13-13-16,13 13 16,0 0-16,-13-14 15,14 14 1,-1 0-16,0-13 15,0 13 1,0 13 0,1-13-16</inkml:trace>
  <inkml:trace contextRef="#ctx0" brushRef="#br0" timeOffset="148152.68">5649 7885 0,'0'-14'16,"13"14"0,-13-13-16,13 0 15,-13 0-15,14-1 16,-14 1-16,0 0 15,0 0-15,0 0 16,0-1-16,-27 28 31,27-1-31,-13 0 16,13 0-16,0 0 16,0 1-16,0-1 0,0 0 15,0 0 1,13-13-16,-13 14 0,13-1 15,1-13 1,-1 0-16,0 0 31,0-13-31</inkml:trace>
  <inkml:trace contextRef="#ctx0" brushRef="#br0" timeOffset="149444.41">6072 7699 0,'-26'14'31,"12"-1"-31,1-13 0,0 0 0,0 13 16,0-13-16,-1 13 0,1 1 16,0-14-16,-14 26 15,14-13-15,0-13 16,13 13-16,-13-13 15,13 14-15,0-1 0,13 0 32,0-13-32,0 0 0,1 0 15,-1 0-15,27 0 16,-27 0-16,0 0 0,0 0 0,0 0 16,14 0-16,-14 0 0,0 0 15,1 0-15,-1 0 16,0 0-16,0-13 0,1 13 15,-1 0 1,0 0 0,0 0-1,0-13 1,1 13 0,-14-14-1</inkml:trace>
  <inkml:trace contextRef="#ctx0" brushRef="#br0" timeOffset="150190.62">6416 7633 0,'0'27'32,"0"-14"-17,0 0-15,0 0 0,0 1 16,0-1-16,0 0 0,0 0 16,0 1-1,0-1-15,13-40 47,-13 14-31,0 0-16,14 0 0,-14-1 15,13 1-15,-13 0 16,13 13-16,0 0 16,1 0-16,-1 0 15,-13 13-15,13 0 0,-13 1 16,13-1-1,-13 0-15,0 0 0,13 1 16,-13-1 0,0 0-16,14-39 47,-1 26-47,-13-14 0,13 1 15,-13 0-15,13 13 0,1-13 16,-1 13-16,0-14 15,0 28 1,1-1-16,-1 0 16,-13 0-1,13 1 1,0-1 0</inkml:trace>
  <inkml:trace contextRef="#ctx0" brushRef="#br0" timeOffset="151577.57">6866 7713 0,'0'-14'0,"-13"28"47,13-1-47,0 0 0,0 0 16,0 14-16,-14-14 0,14 0 15,0 0-15,14 14 16,-1-14-16,-13 0 16,66-13 15,-39-13-31,-14 0 15,-13-106 32,-13 119-47,-54-40 47,107 40 0,0 0-31,-27-13-16,13 13 0,1 0 15,-1 0-15,-12 0 0,-1 0 16,0-13-16,0 13 0,1 0 16,-1 13-16,-26 0 31,13 0-31,-14 1 15,14-1-15,-13 0 16,13 0-16,-13 1 0,13-1 16,0 0-16,0 0 15,13 0-15,0-13 32,1 0-32,-1 0 15,0 0-15,0-13 0,14 13 16,-27-13-16,26-13 15,-13 12-15,1 1 16,-1 0-16,-13 0 0,26-40 16,-26 39-16,0 1 0,13 0 15,-13 0-15,0 0 0,0-1 16,0-12-16,14 13 16,-14-1-16,0 1 15,0 0-15,-14 39 31,1-12-31,13-1 16,0 0-16,0 0 0,-13 1 0,13-1 16,0 13-16,0-13 15,0 14-15,0-1 16,13-12-16,0-1 16,1-13-16,-1 13 0,0-13 15,0 0-15,-13-13 16,14 13-16,12-13 15,-13 13 1,1 0 0,-1 0-16,0 13 15,0 0 1,0-13-16,1 0 16,-1 13-1</inkml:trace>
  <inkml:trace contextRef="#ctx0" brushRef="#br0" timeOffset="152198.38">5464 8824 0,'26'-13'31,"-13"-1"-31,1 14 16,-1 0-16,0-13 0,0 13 15,14 0-15,-14-13 16,0 13-16,0 0 0,1 0 16,-1-13-16,0 13 0,14-14 15</inkml:trace>
  <inkml:trace contextRef="#ctx0" brushRef="#br0" timeOffset="152717.34">5794 8625 0,'0'14'31,"0"-28"-31,14 28 16,12-1-16,-13 0 15,14 0 1,-14-13-16,13 14 31,-12-14-31,-1-14 16,-13 1 0,13 13-16,-13-13 15,0 0-15,0-1 16,0 1-1,13 13-15,1 0 16,-1-13 0,0 13-16,13-13 0,-12 13 15,-14-14-15,13 14 16,13-13-16,-12 0 0,12-13 16,-13 12-16,-13 1 31,-13 40-16,13-14 1,0 0-16,0 0 16,0 0-1,13 1-15,1-14 16,-1 0-16,0 0 16,0 0-16,0 0 15,1 0-15,-1 0 16,0 0-16,-13-14 15</inkml:trace>
  <inkml:trace contextRef="#ctx0" brushRef="#br0" timeOffset="154905.47">10213 7501 0,'-13'26'15,"13"-12"1,0-1-16,0 0 16,0 0-16,0 1 0,0-1 15,0 0-15,0 0 16,0 0-16,13-39 47,-13 13-47,13 0 15,-13-1-15,13 14 16,-13-13-16,14 13 16,-1 0-16,0 13 15,0-13-15,-13 14 16,14-1-1,-14 0 1,13-26 15,0 0-15,-13-1 0,13 14-16,0 0 15,1 0-15,-1 0 16,0 0-1,-13 14-15,13-14 0,1 0 16,-14 13-16,13-13 16,0 0-16,0 0 15,1 0-15,-1 0 0,0-13 16</inkml:trace>
  <inkml:trace contextRef="#ctx0" brushRef="#br0" timeOffset="155212.65">10636 7527 0,'0'-26'16,"0"52"-1,-13-52-15,-13 39 16,26 0 0,0 1-16,-14-1 15,28 0-15,-14 0 16,13-13-16,-13 14 0,13-14 16,0 13-16,0-13 15,1 0-15,-1 0 0,0 0 0,0 0 16,1-13-16,-1 13 15,-13-14-15,0 1 16,0 0 0,-13 0-16,-1 13 0,14-14 15,-13 14-15,0 0 16,0 0-16,-1 0 16,1 14-16,26-1 31</inkml:trace>
  <inkml:trace contextRef="#ctx0" brushRef="#br0" timeOffset="155881.71">10914 7488 0,'-26'13'0,"12"0"16,1 0-1,13 1-15,-13-14 16,13 13-16,0 0 0,-13-13 0,13 13 0,0 1 16,0-1-1,0 0-15,0 0 16,13-13 0,13-13-1,-12 13-15,-14-13 16,13 0-16,0-1 15,-13 1-15,13 0 0,-13 0 0,0-14 16,14 14-16,-14-14 0,13 14 16,-13-13-16,0 13 0,13-14 0,-13 14 15,0 0-15,0-1 0,13 1 0,-13 0 16,0 0-16,0-1 16,0 54 15,-13-27-31,13 1 15,0 12-15,0-13 0,0 14 0,0-14 16,-13 0-16,26 0 0,-13 1 16,0-1-16,0 0 0,13 0 15,-13 1-15,13-1 0,1 0 0,-1-13 16,0 0-16,14 0 16,-14-13-16,0 13 15,0-13-15,0-1 0,1 1 0,-1-13 16,0 26-16,-13-14 15,13 14-15,-13-13 0,-13 40 32,0-14-32,13 0 15,0 0-15,0 1 16,0 12 0,0-13-16,13 1 15,0-14 1,1 0-1,-1 0 1,0 0-16,0-14 0,1 14 16</inkml:trace>
  <inkml:trace contextRef="#ctx0" brushRef="#br0" timeOffset="161030.1">4882 7951 0,'-14'0'16,"41"-13"-1,-1-1-15,27 1 0,79-13 16,-52 12-16,-1 1 0,1 0 16,78-27-16,-65 27 0,0 0 15,-14 0-15,0-1 0,1 1 16,-1 0-16,-13 13 0,0-13 0,-13 13 15,27-14-15,-54 14 0,1-13 16,-1 13-16,-13 0 0,0 0 16,1 0-16,-1-13 0</inkml:trace>
  <inkml:trace contextRef="#ctx0" brushRef="#br0" timeOffset="161272.62">5120 7898 0,'-66'13'16,"132"-26"-16,-146 39 0,120-26 16,13 0-1,0-13-15,13 0 0,13 13 16,-12-13-16,12-1 0,13 1 0,-12 0 16,92 0-16,-93-1 0,1 1 15,-1 0-15,0 13 0,-13-13 16,-26 13-16,53-13 0,-54-1 15,14 14-15,-39 0 0,12 0 16,-13 0-16,1 14 0,-1-14 16,-13 13-16,13-13 0,-13 13 0,0 0 15</inkml:trace>
  <inkml:trace contextRef="#ctx0" brushRef="#br0" timeOffset="161814.91">5345 8837 0,'0'0'15,"26"-13"-15,-13 13 0,14-13 16,-1 13-16,14-14 0,0 1 0,-1 0 15,14 0-15,53-14 16,-66 14-16,52-13 0,-39 26 16,-26-14-16,12 1 0,-12 13 15,-14-13-15,27 13 0,-27 0 16,0-13-16,0 13 16</inkml:trace>
  <inkml:trace contextRef="#ctx0" brushRef="#br0" timeOffset="163498.76">5490 8229 0,'0'26'32,"-13"-26"-32,13 13 15,0 0-15,0 1 0,0-1 16,0 0-16,0 0 15,0 14-15,0-14 16,13-26 15,-13 0-31,13-1 16,-13 1-16,0 0 0,14 13 16,-1-13-16,-13-1 0,13 1 15,-13 0-15,13 13 0,0 0 16,1-13-16,-1 26 15,0 0 1,-13 0-16,13-13 16,-13 14-16,14-1 15,-1-26 32,0-1-47,-13 1 16,13 13-1,1 0 17,-1 13-32,0-13 15,0 0 1,0 0-16,1 0 16,-14-13-16,13 13 0,0 0 15,-13-13-15,13 0 0,1 0 16,-1 13-16,-13-14 15,13 1-15,0 0 16,1 26 15,-1 0-15,0-13-16,0 14 16,0-14-16,1 0 15,-1 0-15,0 0 16,-13-14-16,13 14 15,-13-13-15,-13 0 16,0 13-16,13-13 16,-13 13-16,-1 0 0,1-14 15,0 1 1,26 0 15,0 13-31,1 0 16,-1 0-16,0 0 0,-13-13 15,13 13-15,1 0 0,-1 0 16,0 0-16,0 13 0,0-13 16,1 13-1,-14 0-15,13-13 16,-13 14-16,0-1 0,0 0 16,13 0-16,-13 1 15,0-1-15,13-13 16,-13 13-16,14-13 15,-1 0 1,0-13 0,0 0-16,1-1 15,-14 1-15,0 0 0,13-27 16,0 27-16,-13 0 0,0-14 16,0 14-16,13 0 15,-13 0-15,0-1 0,0 1 16,0 0-16,-13 39 47,13-12-47,-13-1 0,13 0 15,0 0-15,0 27 0,0-27 16,0 0-16,0 1 0,0-1 0,0 0 16,13 0-16,0-13 31,0 0-31,1 0 15,-1-26 1,0 26-16,0 0 31,-13 13-15,14-13 0,-14 13-16,0 1 15,13-1-15,-13 0 16,13-13-1,0 13 1,1-13-16</inkml:trace>
  <inkml:trace contextRef="#ctx0" brushRef="#br0" timeOffset="166014.63">6601 8030 0,'27'13'32,"-14"1"-17,0-1-15,1-13 0,-1 0 16,-13 13-16,13-13 0,0 13 16,0-13-16,1 0 0,-1 13 15,0-13-15,0 0 0,1 0 16,-1 14-16,0-14 15,0 0 1,0 13-16,-26 0 31,0 0-15,0 1-16,-14-1 16,14-13-16,0 13 0,-14 14 15,14-27-15,0 13 0,0 0 16,0-13-16,13 13 0,-14-13 15,1 13-15,0 1 0</inkml:trace>
  <inkml:trace contextRef="#ctx0" brushRef="#br0" timeOffset="166839.68">7078 8109 0,'-14'0'15,"14"14"1,-13 12 0,13-13-1,13 1-15,-13-1 0,0 0 16,0 0-16,0 1 0,0-1 15,14 0 1,-1-26 0,-13 0-1,13-1-15,-13 1 0,0 0 16,13 0-16,1 13 16,-14-14-16,13 1 0,0 0 15,0 13-15,0 0 16,1 0-16,-1 0 0,-13 13 15,13-13-15,0 13 0,1-13 16,-14 14 0,0-1-16,13-13 0,0-13 47,-13-1-32,13 1-15,0 0 16,-13 0-16,14 13 15,-1-14-15,0 14 0,14 0 16,-14 0-16,0 14 16,0-14-1,-13 13-15,14 0 16,-1 0 0,0 1-1,0-1 1,0-13-16</inkml:trace>
  <inkml:trace contextRef="#ctx0" brushRef="#br0" timeOffset="167546.46">7607 8123 0,'0'-14'0,"0"1"16,-13 0-1,-14 13 1,27 13 0,-13 0-16,13 1 15,0-1-15,-13-13 0,13 13 16,0 0-16,0 1 16,13-14-16,-13 13 0,13 0 15,0-13-15,1 0 16,-1 0-16,0 0 15,0 0-15,0-13 16,1 13 0,-1-13-16,0-1 0,0 14 15,-13-13-15,14 0 16,-14 0 0,0-1-16,0 1 15,0 0 16,-27 26-15,27 0 0,0 1-16,0-1 31,0 0-31,0 0 16,13-13-1,1 0 1,-1-13-1,0 13-15,0-13 16,1 13 0,-1 0-16,0 0 15,0 0 1,0 13 0,1-13-1,-1 0 1,-13 13-16,13-13 15,0 0 1,1 0 0,-14-13 31</inkml:trace>
  <inkml:trace contextRef="#ctx0" brushRef="#br0" timeOffset="169742.76">5464 9208 0,'0'-14'31,"13"41"-15,-13-14-16,13 0 16,-13 0-16,13 1 15,-13-1-15,0 0 0,0 0 0,14 1 16,-14-1-16,0 0 0,0 0 0,0 0 15,0 1-15,13-1 0</inkml:trace>
  <inkml:trace contextRef="#ctx0" brushRef="#br0" timeOffset="170462.84">5636 9247 0,'0'-13'0,"0"26"0,13-26 0,-13 0 16,13 13-16,0 13 15,-13 0 1,0 0 0,0 1-16,0-1 15,-13-13-15,13 13 0,0 0 16,0 1-16,-13-1 0,13 0 16,0 0-1,13-13 16,0 0-15,1 0-16,-1-13 16,0 13-16,0-13 0,0 13 15,1-13-15,12-14 0,-13 27 16,1-13-16,-1 0 0,-13-1 16,13 14-16,-13-13 0,13 0 0,1 0 15,-14 0 1,0 39 62,13-26-78,0 0 16,0 0-16,0 0 15,1 0-15,-14-13 0,13 13 0,0 0 16,-13-13-16,13 13 0,-13-14 15,14 14-15,-14-13 0,0 0 16,-14 0-16,1 13 16,13-14-16,-13 14 15,0 0-15,-1-13 0,1 13 16,0 0-16,13 13 16,-13-13-16</inkml:trace>
  <inkml:trace contextRef="#ctx0" brushRef="#br0" timeOffset="170923.78">6482 9128 0,'14'-13'31,"-1"13"-31,-13-13 0,13 13 16,0 0-16,0-14 0,1 14 15,-1 0-15,0 0 16,-13-13-16,13 13 16,1 0-16,-1-13 15</inkml:trace>
  <inkml:trace contextRef="#ctx0" brushRef="#br0" timeOffset="172401.67">7197 8784 0,'13'13'15,"-13"1"1,13-1-16,-13 0 0,0 0 15,0 1-15,0-1 0,0 0 0,0 0 16,0 0-16,0 1 0,0-1 16,0 0-16,13 0 0,-13 1 15</inkml:trace>
  <inkml:trace contextRef="#ctx0" brushRef="#br0" timeOffset="172741.86">7382 8824 0,'-13'0'0,"26"26"31,0-12-15,0-1-16,1-13 15,-1 0-15,0 0 16,13 0-16,-12 0 15,-14-13-15,13 13 0,-13-14 16,13 14-16,-13-13 16,0 0-16,0 0 0,-13-1 15,0 1-15,13 0 0,-14 13 16,14-13-16,-13 13 0,0 0 16,13-14-16,-13 14 0,0 0 15,-1 0-15,1 14 0,0-14 16,13 13-1,13-13 1</inkml:trace>
  <inkml:trace contextRef="#ctx0" brushRef="#br0" timeOffset="173008.58">7527 8797 0,'0'0'16,"0"14"-16,14-14 0,-14 13 15,13 0-15,0-13 16,0 0 0,1 0-16,-1 0 15,-13-13-15,13 13 0,-13-13 16,13 13-16,-13-14 16,0 1-16,0 0 0,0 0 15,0-1-15,0 1 16,-13 13-16,13-13 0,-13 13 0,0 0 15,-1 0-15,1 0 16,0 13-16,-14 0 0,1 1 16,-14-1-16,14 0 0</inkml:trace>
  <inkml:trace contextRef="#ctx0" brushRef="#br0" timeOffset="173336.58">6019 9551 0,'0'0'0,"40"-13"15,-14 0-15,1-13 0,39 12 16,-13-12-16,79-27 15,1 13-15,-67 14 0,66-14 16,-13 0 0,-53 27-16,-13 0 0,40-13 15,-67 12-15,14 14 0,-14-13 0,1 13 16,-14-13-16,13 13 16,-52 13 15,0-13-31,12 13 0</inkml:trace>
  <inkml:trace contextRef="#ctx0" brushRef="#br0" timeOffset="173575.71">5887 9657 0,'0'0'15,"13"14"-15,14-28 16,-14 14-16,13 0 0,27-13 0,-13 0 15,26-14-15,0 14 0,67-27 16,-81 14-16,15 13 16,-14-14-16,-14 14 0,14 0 0,13-14 15,-39 14-15,12 0 0,-25 13 16,12-13-16,-26-1 16,13 14-16,-13-13 0,0 0 0,14 0 15,-14 0-15,0-1 0</inkml:trace>
  <inkml:trace contextRef="#ctx0" brushRef="#br0" timeOffset="176475.87">6443 8850 0,'13'14'62,"0"-1"-62,0-13 0,-13 13 16,14-13-16,-1 0 0,-13 13 15,13-13-15,0 13 0,0-13 0,1 0 16,-1 0-16,0 0 0,14 14 16,-14-14-16,0 0 0,0 0 15,1 0-15,-1 13 16,0-13-16,0 0 15,0 13 1,-13 0 15,-13-13-31,13 14 16,-13-1-16,0 0 16,13 0-1,-13 1-15,-1-1 0,1 0 16,0 0-1,0 14-15,-1-27 0,-25 53 47,25-40-31,1 0 0,0 0 46,0-13 2016,13-13-2062</inkml:trace>
  <inkml:trace contextRef="#ctx0" brushRef="#br0" timeOffset="177108.44">3678 10094 0,'26'0'15,"-13"-13"1,1 13-16,-1 0 0,0 0 16,0-14-16,1 14 0,-1 0 15,0-13-15,0 13 0,0-13 0,1 13 16,-1 0-16,0-13 0,0 13 0,14-14 15,-14 1 1</inkml:trace>
  <inkml:trace contextRef="#ctx0" brushRef="#br0" timeOffset="177657.51">4035 9869 0,'13'0'31,"0"13"-31,1-13 16,-1 13-1,0 1-15,0-14 0,1 13 16,-1 0-16,0-13 0,0 13 16,0 1-16,1-14 15,-1 13 1,0-13-16,0 0 15,-13-13 1,0-1-16,0 1 16,0 0-16,0 0 15,14-1 1,-14 1 0,13 0-1,0 13-15,-13-13 16,13 13-16,0-14 15,1 14-15,-1-13 0,0 0 16,-13 0-16,13 13 0,1-13 16,-14-1-16,13 1 0,-13 0 15,0 0 1,13 39 15,-13-13-15,13-13-1,1 0-15,-1 0 16,0 0-16</inkml:trace>
  <inkml:trace contextRef="#ctx0" brushRef="#br0" timeOffset="177937.52">3426 9975 0,'-26'53'0,"52"-106"0,-65 132 0,25-52 16,14-1-16,-13 14 0,13-14 15,13 40-15,1-39 0,-1 13 16,0-14-16,14 0 0,12 1 16,27 13-16,-26-27 0,39 0 15,1-26-15,-27 13 16,-14-13-16,28-14 0,25-26 16,-39 27-16,-13-14 0,13 14 15</inkml:trace>
  <inkml:trace contextRef="#ctx0" brushRef="#br0" timeOffset="178246.49">3956 9234 0,'79'-13'16,"-158"26"-16,198-26 0,-66 13 0,-1 13 0,1 0 16,13 14-16,-13-1 0,14 14 15,-15-1-15,15 14 0,-14 0 0,-14 0 16,41 53-16,-14 0 16,-40 26-16,-26-66 15,-13 0-15,0 1 0,-1-1 0,-12 13 16,-40 40-16,39-66 15,-12 0-15,-27 26 0,-1-39 16,41-13-16</inkml:trace>
  <inkml:trace contextRef="#ctx0" brushRef="#br0" timeOffset="182940.48">10530 8017 0,'27'-13'15,"-14"13"-15,0 0 0,1 0 16,12 13 0,-13-13-16,-13 13 15,-13 0-15,13 1 16,-13-1-16,0 0 0,-1 0 15,1 0-15,0 1 16,0-14-16,13 13 0,-14-13 0,1 13 16,0-13-16,13 13 15,-13-13 1,39 14 0,-13-14-16,1 0 15,-1 0-15,0 0 16,0 0-16,1 0 0,-1 0 0,0 0 15,0-14-15,0 14 0,14 0 16,-14 0-16,0-13 0,14 0 16,-14 13-16,0-13 0,1-1 15,-1 14-15,0-13 0,0 0 0,-13 0 16,13 13-16,-13-13 0,14 13 0,-14-14 16,0 1-1,0 0 1,-27 26-1,27 0-15,0 14 16,0-14 0,13 0-16,1-13 15,-14 13-15,13-13 16,13 0-16,-12 0 16,-1-13-16,0 13 15,0-13-15,-13 0 16,0 0-16,0-1 15,-13 1 1,0 0-16,0 13 16,-14 0-16,14 0 15,0 0-15,-1 13 16,1-13-16,13 13 31</inkml:trace>
  <inkml:trace contextRef="#ctx0" brushRef="#br0" timeOffset="184101.96">11576 7871 0,'13'0'0,"-13"-13"15,-13 26 32,-1 1-47,1-1 0,0-13 16,0 13-16,-14 0 0,14 1 0,-14-1 15,14 0-15,-13-13 0,-1 13 16,14 0-16,0 1 0,0-14 0,-1 13 16,1 0-16,0-13 0,0 13 15,-1-13-15,14 14 16,0-1-16,14-13 16,-1 13-1,0-13-15,0 13 16,1-13-16,-1 0 0,0 0 15,0 0-15,-13 13 0,14-13 0,-1 0 16,0 0-16,0 0 16,0 0-16,-13 14 15,14-14-15,-1 0 16,0 0 0,0-14-1,1 14 1,-1-13-16,0 13 15,0 0-15</inkml:trace>
  <inkml:trace contextRef="#ctx0" brushRef="#br0" timeOffset="184781.45">11893 7832 0,'0'0'0,"0"26"31,0-13-16,0 1-15,-13-1 16,13 0-16,0 0 16,0 1-16,0-1 31,13-26 0,0-1-31,-13 1 0,13 0 16,-13 0-1,14 13-15,-1-14 16,0 14-16,0 0 16,1 14-16,-1-14 15,-13 13-15,13-13 16,-13 13-16,13-13 0,-13 13 16,14 1-1,-14-1 1,13-26 15,0-1-15,0 1-1,0 13-15,1 0 16,-1 0 0,0 0-1,-13 13-15,13-13 0,1 14 16,-1-1-1,0-13 17,0 0-1</inkml:trace>
  <inkml:trace contextRef="#ctx0" brushRef="#br0" timeOffset="185577.08">12382 7911 0,'0'-26'0,"0"52"0,14-52 0,-14 12 15,0 1-15,0 0 16,0 0-1,-14 13 1,1 13 0,0-13-16,13 13 0,-13-13 15,13 13-15,0 1 0,-13-1 16,13 0 0,0 0-16,13 1 0,-13-1 15,13-13 1,0 13-16,0-13 15,1 0-15,-1 0 16,0 0-16,0 0 0,1-13 0,-1 13 16,0 0-16,0-13 15,1 13-15,-1-14 0,0 1 16,0 0-16,0 0 16,-13-1-1,0 1-15,0 0 31,-13 26 1,0-13-17,13 13-15,0 1 32,13-1-17,0-13 1,1 0-1,-1 0 1,0 0 0,0 13-16,1-13 15,-1 13 1,0-13-16,0 14 16,1-14-1,-1 0-15,0 13 16,0-13-16,0 0 15,1 0 1,-1 0-16,0 13 16,0-13-1,1-13 17</inkml:trace>
  <inkml:trace contextRef="#ctx0" brushRef="#br0" timeOffset="186757.72">12263 7382 0,'-26'26'0,"26"-12"15,-13-14-15,0 13 0,-1 0 0,-25 27 32,25-40-32,14 13 15,-13 0 1,26 0 0,14-13-1,-14 0-15,14 0 16,-14 0-16,13 0 15,-13 0-15,1 0 16,-1 0-16,0 0 16,0 0-16</inkml:trace>
  <inkml:trace contextRef="#ctx0" brushRef="#br0" timeOffset="186983.44">12316 7382 0,'-13'-13'0,"-13"52"31,26-25-31,0-1 16,0 0-16,-14 0 16,14 0-16,0 1 0,0-1 0,0 0 15,0 0-15,0 1 0,0 12 16,14-13-1,-14 1-15</inkml:trace>
  <inkml:trace contextRef="#ctx0" brushRef="#br0" timeOffset="187286.47">12435 7448 0,'-26'26'0,"13"-12"15,13-1 1,0 0 0,13-13-16,0 13 0,0-13 15,1 0-15,-1 0 16,0 0-16,0 0 16,1-13-16,-1 0 0,-13 0 15,13-1-15,-13 1 16,-13 0-16,13 0 15,0 0-15,0-1 0,-13 1 0,13 0 16,-14 0-16,1 13 16,0 0-16,0 0 15,-14 13-15,1 0 0,12 0 16,-12 14-16</inkml:trace>
  <inkml:trace contextRef="#ctx0" brushRef="#br0" timeOffset="188685.94">10742 8334 0,'-13'0'0,"0"0"0,52 14 31,-25-14-31,-1 0 16,13 0-16,14 0 0,-14 0 0,27 0 16,0 0-16,0 0 0,0-14 0,0 14 15,0 0-15,13 0 0,-13 0 0,0 0 16,0 0-16,0 0 0,13 0 15,-13 0-15,0 0 0,0 0 0,52-13 16,-52 13-16,0 0 16,53 0-16,-53 0 15,-13-13-15,13 13 0,-14 0 0,14 0 16,27-13-16,-41 13 0,1-14 16,0 14-16,-1-13 0,-12 13 0,12-13 15,-12 13-15,-1-13 0,1 13 16,-1-13-16,1-1 0,-1 1 0,1 13 15,-1-13-15,14 0 0,-27-1 16,0 14-16,14-13 0,-14 0 16,0 13-16,14-27 0,-14 27 15,-13-13-15,26 0 16,-12 13-16,-14-13 0,13 0 0,0-1 16,-13 1-16,0 0 0,0 0 15,0-1-15,13 14 0,-13-13 16,0 0-16,-13 0 0,13 0 0,0-14 15,-13 14-15,0 0 16,13-1-16,-14 1 0,-12 0 16,13 13-16,-1-13 0,1-1 0,0 14 15,-27-26-15,27 26 0,-13-13 16,-1 13-16,-13-27 16,1 14-16,12 13 15,-12-26-15,12 26 0,1-14 16,-1 14-16,1 0 0,13 0 0,-14-13 15,1 13-15,-1 0 0,14 0 16,-14 0-16,-25 0 0,25 0 16,1 0-16,-1 0 0,-12 0 15,12-13-15,1 13 0,-1 0 16,1 0-16,-1 0 0,1 0 0,-1 0 16,14 0-16,-27 0 0,-13 0 15,27 0-15,-14 0 0,-26 0 16,40 0-16,-14 0 0,0 0 15,14 0-15,-14 0 0,14 0 0,-14 0 16,-26 13-16,0-13 16,39 0-16,-12 0 15,12 0-15,-26 0 0,27 0 16,-14 13-16,-145 1 31,145-1-15,-13-13-16,27 13 0,-27 0 15,-13 1-15,13-1 16,-13 0-16,39-13 16,1 13-16,-27 0 0,0 1 15,-13-1 1,26 0-16,0 0 16,-26 14-1,40-1-15,-14 1 16,0-1-1,14 1-15,0-1 16,-1 1 0,1 12-16,12-26 15,1 27-15,0-13 16,13-14-16,0 0 0,0 0 16,0 14-16,13-14 15,0 27-15,-13-27 0,14 0 16,-1 0-16,13 14 0,-12-14 0,12 0 15,40 14-15,-26-14 16,0 0-16,52 0 0,14 1 16,0-14-16,0 0 15,-53-14 1,13 14-16,-13 0 0,66-26 0,-66 26 16,-1-13-16,1 13 0</inkml:trace>
  <inkml:trace contextRef="#ctx0" brushRef="#br0" timeOffset="189434.69">13203 7686 0,'13'13'31,"-13"1"-31,0-1 0,0 0 15,0 14-15,0-14 16,0 0-16,0 13 0,0-12 0,0 12 0,0-13 16,0 1-16,0-1 0,0 0 0,0 0 15,0 1-15,0-1 16,0 0-16,0 0 0,0 0 16,0 1-16</inkml:trace>
  <inkml:trace contextRef="#ctx0" brushRef="#br0" timeOffset="189664.45">13097 7924 0,'-13'0'0,"26"0"0,0-13 31,0 13-31,1 0 16,-1 0-16,0 0 0,0 0 15,0 0-15,1-13 0,-1 13 16,0 0-16,14 0 0,-14 0 16,0 0-16,14 0 0,-14-13 15,0 13-15,0 0 16</inkml:trace>
  <inkml:trace contextRef="#ctx0" brushRef="#br0" timeOffset="190221.55">13481 7792 0,'0'0'0,"13"13"47,-13 0-47,0 1 15,0-1-15,13 0 0,-13 0 16,13 1-16,-13-1 15,13-13-15,-13 13 0,0 0 16,14-13-16,-14 14 16,13-28-1,0 1 1,-13 0-16,0 0 0,0-1 16,13 14-16,-13-13 15,0 0-15,0 0 16,14 13-1,-1-14-15,0 14 16,0 0-16,0 0 16,1 0-16,-1-13 15,0 13-15,0 0 0,1-13 0,-1 0 16,0 13-16,-13-13 0,13 13 16,-13-14-16,0 1 15,-13 0 1,0 26-1,0-13-15,13 13 0,-14 1 16,14-1-16,0 0 16,0 0-16,0 0 15,14-13-15,-14 14 0,13-14 16,0 0-16,-13 13 0,13-13 16,1 0-16,-1 0 0,0 0 15,0 0-15,0 0 0,1 13 16,-1-13-1</inkml:trace>
  <inkml:trace contextRef="#ctx0" brushRef="#br0" timeOffset="190732.34">13150 8136 0,'-27'13'0,"41"-13"15,25 0 1,41-13-16,12 0 0,1 13 16,-40-14-1,53 1-15,-14 0 16,-52 13-16,39-13 0,-52 13 16,39-13-16,-53 13 15,0 0-15,1 0 16,-81 13-1,1 0 1,27 0-16,-14 0 0,0 1 16,-13-1-16,-67 0 15,41 14-15,65-27 16,-26 13-16,40 0 0,0-13 0,0 0 16,26 13-1,13-13 1,1 0-16,26 0 0,0 0 15,39 0-15,-39-13 0,0 13 16,0 0-16,0 0 0,-13-13 16,52 13-16,-65 0 15,-1 0-15,1-13 0,-14 13 0,13 0 0,-13 0 16,1 0-16,-1 0 16,0 0-16,0 0 15,-39 0 1,-14 13-1,27-13-15</inkml:trace>
  <inkml:trace contextRef="#ctx0" brushRef="#br0" timeOffset="211205.07">20002 6800 0,'27'-13'15,"-14"13"-15,0 0 0,14-14 16,-14 14 0,0 0-16,-13-13 15,14 13-15,-1-13 16,0 13-16,0 0 0</inkml:trace>
  <inkml:trace contextRef="#ctx0" brushRef="#br0" timeOffset="211546.51">20122 6482 0,'-14'0'31,"-12"133"0,13-94-31,-1-12 0,1 52 16,-13-26-16,132-384 0,-226 688 0,120-330 16,-13-1-16,13 1 15,-13-1-15,13 1 16,0-14-16,-13 0 0,26 0 16,-13 1-16,0-1 0,13-13 15,0 13-15,1-13 16,-1 0-16,0 0 15,0 0-15,1 0 0,-1 0 16,0-13-16,0 13 0,1 0 16,-1-13-16,0 13 0,0-14 15,-13 1 1</inkml:trace>
  <inkml:trace contextRef="#ctx0" brushRef="#br0" timeOffset="211785.41">19989 6866 0,'13'0'15,"1"-13"-15,-1 13 16,0 0-16,0-14 0,1 14 16,-1 0-16,0-13 0,0 13 0,1-13 15,-1 13-15,0-13 0,0 13 16,0 0-16</inkml:trace>
  <inkml:trace contextRef="#ctx0" brushRef="#br0" timeOffset="211993.52">20029 6628 0,'26'-13'15,"-12"-1"-15,-1 14 16,0 0-16,0 0 15,14 0-15,12 14 16</inkml:trace>
  <inkml:trace contextRef="#ctx0" brushRef="#br0" timeOffset="212417.04">20611 6641 0,'-13'27'16,"26"-54"-16,-26 67 0,0-27 0,-1 0 16,1 27-16,-27 13 15,1 13-15,12-40 0,-12 41 16,12-41 0,14-13-16,-27 27 0,1 0 15,-1-40 1,27 0-1,13-14-15,-14-12 16,14 13-16,0-1 0,0-12 16,0 0-16,0 12 0,14 1 15,-1 0 1,0 13 0,0 13-16,14-13 15,-1 27-15,-13-27 16,27 26-16,-13-13 15,-14 0-15,27 1 16,-14-14-16,0 13 16,1-13-16,-1-13 15,-12 13-15,25-14 16,-25 1-16</inkml:trace>
  <inkml:trace contextRef="#ctx0" brushRef="#br0" timeOffset="213004.54">20757 6813 0,'-40'0'15,"27"0"-15,-1 13 16,94-26-16,-93 13 0,-67 26 0,80-12 16,-13-14-16,13 13 0,0 0 15,0 0-15,0 14 0,0-14 16,0 0-16,13 1 15,-13-1-15,27 0 0,-14 0 16,0-13-16,0 0 0,1 0 0,-1 0 16,13 0-16,14-13 0,-27 13 15,14-26-15,-14 26 16,0-14-16,14 1 16,-27 0-16,13 13 0,0-13 15,-13-1-15,0 41 31,0-14-15,0 0-16,13-13 16,0 14-1,1-28-15,-1 14 0,13-13 16,-12 13-16,-1-13 0,0 0 16,27-14-16,-14 1 15,-26 12-15,13 1 16,1 0-16,-14 0 0,0 52 31,-14-25-31,14-1 16,0 0-16,-13 27 0,26-27 0,-13 0 15,14 27-15,-1-40 16,0 13-16,53 14 16,-26-27-16,-14 0 15,1 0-15,-1-14 0,40 1 16,-39 0-16,-14 0 0,14-27 15,-27 0-15,0 14 16,-27-1-16,14 1 0,-93-40 16</inkml:trace>
  <inkml:trace contextRef="#ctx0" brushRef="#br0" timeOffset="213518.08">10755 6668 0,'0'13'16,"0"0"-1</inkml:trace>
  <inkml:trace contextRef="#ctx0" brushRef="#br0" timeOffset="-214584.37">22119 6853 0,'13'0'15,"1"0"1,-1 0-16,0 0 0,0 0 16,1 0-16,-1 0 0,0 0 15,0 0-15,0 0 16,1-14-16</inkml:trace>
  <inkml:trace contextRef="#ctx0" brushRef="#br0" timeOffset="-214265.91">22344 6734 0,'13'0'15,"1"0"1,-1 0-16,0 0 0,0 0 15,0 13-15,14-13 0,-14 0 0,14 13 16,-14 0-16,0-13 16,0 14-16,0-1 0,1 13 15,-14-13 1,-14 1-16,1-1 16,0 0-16,0 0 0,0-13 15,-1 14-15,1-1 16,13 0-16,-13-13 0,13 13 15</inkml:trace>
  <inkml:trace contextRef="#ctx0" brushRef="#br0" timeOffset="-213782.3">23098 6892 0,'0'-26'16,"0"-1"-16,0 14 16,0 0-16,13 0 15,-13 0-15,0-14 0,14 14 16,-14 0-16,0-1 0,13 1 15,-13 0 1,13 26 0,0 0-1,-13 1-15,14-1 16,-1 0 0,0 0-16,0-26 15,0 13 1,1-13-16,-1 13 0,0 0 15,0-13-15,1-1 16,-1 14-16,0 0 16,0 14-1,0-14-15,-13 13 0,14 0 16,-14 0-16,0 1 16,13-14-16,-13 13 15,0 0-15,13 0 0,-13 0 16,13-13-16</inkml:trace>
  <inkml:trace contextRef="#ctx0" brushRef="#br0" timeOffset="-213211.19">23601 6787 0,'0'-14'0,"0"-12"16,0 13-1,-13 13-15,-1 0 16,1 13 0,0 0-16,13 0 15,0 1-15,-13-14 0,13 13 16,13 0-16,-13 0 16,13 0-16,0-13 15,14 14-15,-14-14 16,0 0-16,1 0 0,25 0 15,-12-14-15,-14 14 0,40-13 16,-14-13 0,14-40 31,-53 92 15,14-13-31,-1-13-15,0 14 0,0-14-1,1 0 1,-1 0-1,0-14 1,0 14-16,0 0 16,1 0-1,-14 14 1</inkml:trace>
  <inkml:trace contextRef="#ctx0" brushRef="#br0" timeOffset="-211800.57">23098 7461 0,'-13'27'15,"13"-14"1,0 0-1,0 0-15,0 1 16,0-1-16,0 0 0,0 0 31,13-39-15,0 26 0,-13-13-16,0-1 0,14 1 0,-14 0 15,13 13-15,-13-27 0,13 14 16,-13 0-1,13 26 17,1 0-32,-14 1 15,13-14 1,0 0-16,0 13 16,0-26-1,1 13 1,-1 0-16,-13 13 15,13-13 1,-13 13-16,13 0 16,1-13-1,-1 0 1,0 0-16,0 0 16,14-13-16,-14 13 15,-13-13-15,13 13 0,0-13 16,1 13-16,-1 0 15,-13-14-15,13 28 32,0-1-17,1 0 1,-1-13 0,0 0-16,0 0 15,0-13-15,1-27 47,-14 27-31,0 0-1,0 0 1,13 13 0,0-14-1,0 14 1,1 0-1,-1 0 1,-13 14-16,13-14 16,-13 13-1,0 0-15,0 0 16,0 0 0,0 1-1,13-14 1,1-14-1,-1 1-15,0 0 16,-13 0-16,13 0 0,-13-1 16,13-12-16,1 13 15,-1-14-15,0 1 16,-13 12-16,13 14 16,-13-13-16,0 0 15,-13 39 16,13-12-31,0-1 16,0 0-16,-13 0 0,13 1 16,0-1-16,0 0 0,0 0 15,0 1-15,0-1 0,0 0 16,13 0 0,0-13-1,1 0-15,-1 0 0,-13-13 16,13 13-16,0 0 15,-13-13-15,13 26 16,1-13 0,-14 13 15,13-13-15,-13 13-1</inkml:trace>
  <inkml:trace contextRef="#ctx0" brushRef="#br0" timeOffset="-210979.77">23191 8149 0,'-27'13'16,"27"1"-16,-13-14 16,13 13-16,0 0 0,-13 0 15,13 1-15,0-1 16,0 0-16,13-39 47,14-41-16,-27 54-15,13 0-1,0 26 17,-13 0-32,0 1 15,13-1-15,-13 0 16,13-13-1,-13 13-15,14-13 16,-14 14 0,13-14-1,0 0 17,0 0 14,-26 13 1</inkml:trace>
  <inkml:trace contextRef="#ctx0" brushRef="#br1" timeOffset="-195076.54">9842 3863 0,'-13'26'47,"13"-12"-47,0-1 15,0 0-15,0 0 16,13 1-16,-13-1 15,14-13 1,-1 0-16,0 0 16,0 0-16,-13-13 15,14 13-15,-14-14 0,13 1 0,-13 0 16,13 0-16,-13-1 16,0 1-16,0 0 15,-13 13-15,13-13 0,0-1 16,-13 14-16,-1 0 15,1 14-15,0-14 16,0 13-16,13 0 16,-14 0-16,14 1 0,0-1 15,-13-13-15,26 26 0,-13-12 32,14-14-32,-1 0 15,0-14-15,0 1 16,1 0-16,-14 0 15,0-14 1,0 14-16,0 0 16,-14 13-1,1 0-15,0 0 16,13 13-16,-13-13 16,13 13-16,-14-13 0,14 13 0,0 1 15,0-1 1,0 0-1,14-13-15,-1 0 16,0-13-16,0 0 16,-13-1-1,0 1-15,0 0 16,0 0-16,-13-1 16,0 14 15,0 14-31,-1-1 15,14 0-15,0 0 16,0 1 0,0-1-16,14-13 0,-1 0 15,0 0 1,0-13-16,1 13 16,-14-14-16,0 1 15,0 0-15,0 0 16,0-1-1,-14 14-15,1 14 16,13-1 0,0 0-16,0 0 0,0 1 15,0-1 1,13-13-16,-13 13 0,14-13 16,-1-13-1,-13 0 1,-13-1-1,-1 1-15,14 0 16,-13 13-16,0-13 0,0 13 16,-1 0-16,1 0 15,0 0-15,0 0 16</inkml:trace>
  <inkml:trace contextRef="#ctx0" brushRef="#br1" timeOffset="-193602.12">6297 3850 0,'-13'0'0,"13"13"16,-13 0-1,26 0-15,-13 1 0,0-1 16,0 0-16,13-13 15,0 13-15,1-13 16,-14 14-16,13-14 0,0-14 16,0 14-16,0 0 15,-13-13-15,14 0 16,-14 0 0,-14-1-16,1 14 15,13-13-15,-13 13 16,0 0-16,-14 0 15,27 13-15,-13-13 0,0 0 0,13 14 16,-13-1-16,-1 0 16,14 0-16,-13 1 0,13-1 15,13 0-15,1 0 16,-1-13 0,0-13-16,0 13 15,1-13-15,-1 13 0,-13-13 16,13 13-16,-13-14 0,13 1 15,-13 0-15,0 0 0,0-1 16,-13 1 0,13 0-16,-13 26 15,0-13-15,13 13 16,-14-13-16,1 14 16,13-1-16,0 0 0,-13-13 15,26 13-15,-13 1 16,13-14-1,14 0-15,-14-14 16,0 14-16,-13-13 0,13 13 16,1-26-16,-14 12 15,0 1-15,0 0 16,0 0-16,-14 13 31,1 13-31,0 0 16,13 0-16,0 1 15,0-1-15,0 0 16,13-13 0,0 0-1,1-13 1,-14 0-16,0-1 16,-14 1-1,14 0-15,0 0 16,-13-1-16,0 1 15,13 0 32</inkml:trace>
  <inkml:trace contextRef="#ctx0" brushRef="#br1" timeOffset="-192181.93">6443 3413 0,'13'-13'31,"-13"0"-15,-13-1-16,13 1 15,0 0-15,0 0 0,-14 0 0,1-1 16,0-12-16,13 13 0,-27-14 16,14-13-16,0 27 0,0-13 15,0-1-15,-14 1 0,14 13 16,0-1-16,13 1 0,-14 0 0,14 0 15,-13 13-15,13-14 16,0 1-16,13 0 16,1 13-16,-14-13 0,26 13 15,-13-13-15,14 13 0,-1-14 0,1 14 16,12-13-16,1 13 0,13-13 0,-13 0 16,13 13-16,-14-14 0,54 1 15,-40 0-15,0 13 0,0-13 16,0 13-16,13-13 0,0-1 15,53 1-15,-66 0 0,-14 13 16,67-13-16,-53-1 0,-13 14 16,13-13-16,0 13 0,-14-13 15,67 13-15,-66-13 0,13 13 16,26 0-16,-39 0 0,-14 0 16,14-14-16,-13 14 15,12 0-15,27 0 0,-39 0 0,-1 0 16,1 0-16,12 0 0,-12 0 0,-1 0 15,1 0-15,26 0 0,-27 0 16,1 0-16,-1 14 16,-13-14-16,14 0 0,26 0 15,-40 0-15,13 0 0,-12 0 0,12 0 16,-13 0-16,40 0 16,-40 0-16,14 0 0,-14 0 0,27-14 15,-27 14-15,0 0 0,27 0 16,-27 0-16,27 0 15,-27 0-15,0-13 0,1 13 16,-1 0-16,0 0 0,0 0 16,14 0-16,-14 0 15,0 0 1,0 0-16,-13-13 16,14 13-16,-1 0 15,0 0-15,0 0 16,1 0-1,-1 0-15,0-13 16,0 13-16,1 0 0,-1 0 16,0 0-16,13 0 15,-26-13-15,14 13 0,-1 0 0,0 0 16,0 0-16,14 0 16,-1-14-1,-13 14-15,1 0 16,-1 0-16,0 0 0,0 0 15,1 0-15,-1 0 16,0 0 0,0 0-16,1 0 15,-1 14-15,0-1 0,0 0 16,0 0-16,1 0 16,-1 1-16,0 12 0,14 40 15,-1-39-15,-13 12 0,1-12 0,12 13 16,-13-1-16,0-12 15,1 12-15,-1 28 0,0-41 0,-13-13 16,13 14-16,-13 26 16,14-27-16,-14 14 15,0-27-15,0 0 16,0 0-16,-14-13 0,14 27 16,-13-27-16</inkml:trace>
  <inkml:trace contextRef="#ctx0" brushRef="#br1" timeOffset="-191126.75">10914 2672 0,'0'14'31,"0"-41"16,0 14-15,0 26 93,13-26-63,-13 0-62,0-1 0,0 1 16,0 0-16,0-14 0,0 14 15,0-13-15,0 13 0,0-14 0,0 1 16,0 12-16,0-12 0,-13-1 16,13 1-16,-13 0 0,0 12 0,13 1 15,-14-13-15,14 12 0,-13 1 16,13 0-16,-13 0 15,13-1-15,-13 14 16,39 14 31,-13-1-31,1-13-16,-1 0 15,-13 13-15,13-13 16</inkml:trace>
  <inkml:trace contextRef="#ctx0" brushRef="#br1" timeOffset="-190646.07">10451 2540 0,'0'-13'16,"13"13"0,1 13-1,-14 0-15,13-13 16,0 13-16,-13 1 0,13-1 0,-13 0 16,13 14-16,1-14 0,-14 0 15,13 0-15,0 14 0,-13-14 16,13 0-16,-13 0 0,14 1 15,-14-1-15,26-40 16,-26 14-16,26-13 16,14-67-16,-13 53 15,26-92-15,-1 53 16,-12-14-16,26 1 0,53-120 16,-66 106-16,13 13 0,1-12 15,-1 12-15,0 14 0,0-1 0,-26 27 16,-1 14-16,1-1 0,13-26 15,-40 39-15</inkml:trace>
  <inkml:trace contextRef="#ctx0" brushRef="#br1" timeOffset="-188515.03">5265 4352 0,'0'14'16,"13"-14"0,1 13-16,-1-13 0,13 0 15,-12 0-15,12 0 0,-13 0 16,14-13-16,-14 13 0,13 0 16,1-14-16,-1 14 0,1-13 0,-1 0 15,27 0-15,-13-1 16,-14 1-16,1 0 0,12 0 0,-12 0 15,-1-14-15,-12 14 0,12 0 0,-13-1 16,14 1-16,-14 0 0,0 0 16,0 0-16,1-1 0,12-12 15,-26 13-15,13-1 0,-13-12 16,14 13-16,-14-1 0,13-25 16,-13 26-16,0-1 0,-13-12 15,13 13-15,-27-27 0,1 13 16,-27-12-16,26 12 0,-39 1 15,40 26-15,-1-13 16,-26 13-16,14 0 0,-14 0 16,0 13-16,0 0 0,0 0 0,0 14 15,-53 26-15,67-27 0,-41 54 16,27-1-16,0-13 16,40-39-16,-13 39 15,12-40-15,14 1 0,0-14 16,0 0-16,14 13 0,-1-12 15,0-1-15,0 0 0,1 0 0</inkml:trace>
  <inkml:trace contextRef="#ctx0" brushRef="#br1" timeOffset="-187404">11218 2963 0,'-26'-13'0,"-1"0"0,-12 0 16,25-1-16,-12 14 0,0 0 16,-1-13-16,1 13 0,-1 0 0,-12 0 15,12 0-15,-13 13 0,-52 14 16,52-14-16,0 0 0,14 14 15,-53 39-15,39-40 16,13 1-16,14 13 0,-13-14 16,13 14-16,-1-14 0,14 14 0,-13 13 15,26-27-15,-13 1 0,14-1 16,-1 14-16,13-14 0,-13 1 16,27-14-16,26 27 0,-26-27 15,53 13-15,-1-12 16,-39-14-16,0 0 0,0 0 0,0 0 15,0 0-15,66-14 16,-66 1-16,0 0 0,66-14 16,-80 14-16,14 0 0,40-27 15,-53 27-15,-1-13 0,1 12 16,39-39-16,-52 40 16,12-13-16,-12 13 0,39-40 15,-26 0-15,-14 39 0,-13-12 16,1-14-16,-14 14 15,-14-1-15,14 14 0,-13-27 0,-13 14 16,-27-27-16,-27 0 16,-25 14-16,52 25 0,0 1 15,-66 0 1,-14 13-16,-237 53 31</inkml:trace>
  <inkml:trace contextRef="#ctx0" brushRef="#br1" timeOffset="-184071.34">4022 7263 0,'0'0'0,"13"0"0,0 0 16,0 0-16,1 0 16,-1 13-16,0-13 0,0 0 15,14 0-15,-1 13 0,14-13 0,-14 0 16,27 0-16,0 0 0,0 0 0,0 0 16,0 0-16,0 0 0,13 0 15,-13 0-15,13 0 0,-13 0 0,66 0 16,-40 0-16,-12 0 15,91 13-15,-105-13 0,13 0 16,14 0-16,-14 0 0,13 0 16,1 0-16,65-13 0,-79 13 15,-13 0-15,0 0 0,13 0 0,-26-13 16,13 13-16,0 0 0,-14 0 0,-12 0 16,-1-13-16,14 13 0,-13 0 15,-14 0-15,40 0 0,-40 0 16,0 0-16,27-13 0,-27 13 15,0 0-15,1 0 16,-1 0-16,0 0 16,0 0-16,0 0 15,1 0 1,-1 0 0,0 0-1,0 0 16,-39-14 282,13 14-219,-1 0-94,1 0 15,0-13-15,0 0 0,0 0 0,-14-14 16,1 1-16,-41-54 16</inkml:trace>
  <inkml:trace contextRef="#ctx0" brushRef="#br1" timeOffset="-179959.4">3519 7369 0,'0'-14'0,"-13"41"31,-1-27-16,14 13-15,-13-13 0,13 13 0,-13-13 16,13 14-16,-13-1 16,26 0-16,-13 0 15,13 0 1,0-13 0,-13 14-16,14-14 15,-28 13 1,14 0-16,-13-13 15,13 13-15,-13-13 0,0 0 0,-14 14 16,14-1-16,0-13 0,0 0 16,-14 13-16,14-13 15,13-26 1,13 26-16</inkml:trace>
  <inkml:trace contextRef="#ctx0" brushRef="#br1" timeOffset="-179415.05">4154 6165 0</inkml:trace>
  <inkml:trace contextRef="#ctx0" brushRef="#br1" timeOffset="-178469.73">4048 7461 0,'-13'0'31,"-14"0"-15,27 13-16,-13 1 16,13-1-16,-13-13 0,13 13 15,0 0-15,-13-13 0,13 14 16,0-1 0,13-13-1,-13 13-15,13-13 0,0 0 16,14 0-1,-14 0-15,0 0 0,1 0 16,-1 0-16,0 0 0,0-13 16,1 13-16,-1 0 15</inkml:trace>
  <inkml:trace contextRef="#ctx0" brushRef="#br1" timeOffset="-178263.87">4061 7435 0,'0'26'0,"-13"1"15,13-1-15,-13 40 32,13-52-32,0-1 0,0 13 0,0-13 15,0 1-15,0-1 0,0 0 0,0 0 16,13 1-16,-13-1 15,0 0-15,13-13 0</inkml:trace>
  <inkml:trace contextRef="#ctx0" brushRef="#br1" timeOffset="-147715.71">16404 10597 0,'13'0'0,"-39"-14"46,13 14-46,-1 0 16,1 14-16,0-14 0,0 0 0,0 0 16,-1 13-16,1-13 15,0 0-15,0 13 0,-1-13 16,14 13-16,-13-13 0,13 13 16,13 1-16,-13-1 15,14-13-15,-1 13 16,0-13-16,53 40 15,-53-40-15,27 26 16,40 27 15,-80-26-31,-14-1 16,-171 54 31,159-67-47,-14-13 15,27 0-15,-67 0 47</inkml:trace>
  <inkml:trace contextRef="#ctx0" brushRef="#br1" timeOffset="-146682.25">16576 10676 0,'0'0'0,"-13"26"31,13-12-15,0 12-16,0-13 15,13 1-15,0-1 16,1 0-16,-1-13 0,0 13 15,0-13-15,1-13 16,-1 13-16,0 0 0,0-13 16,0 0-16,1-14 15,-14 14-15,13 13 0,-13-13 16,13-1-16,0 1 16,14 13-1,-27 13-15,13 14 16,-13-14-16,0 0 15,13 27-15,-13-27 16,0 14-16,0-1 0,0 14 16,0 0-16,-13-27 0,0 26 15,0-12 1,-1-1-16,-12-12 16,13-1-16,-1-26 15,1-1-15,13 1 16,0 0-16,13-14 15,-13 1-15,14 13 0,-1-27 16,13 14-16,-12 12 0,-1-12 16,0 13-16,0-1 15,1 14-15,-14-13 0,13 13 16,0 0-16,0 0 16,0 0-16,1 0 0,-14 13 15,13 1-15,-13-1 16,0 0-16,0 0 15,0 1 1,26-28 15,-26 1-15,27 0 0,-27 0-16,13-1 0,0 14 15,0-13-15,1 13 16,12 0-1,-26 13 1,13-13-16,-13 14 16,0-1-1,27-26 17,-27-1-17,13 14 1,0 0-1,1 0-15,91 40 79,-91-53-64</inkml:trace>
  <inkml:trace contextRef="#ctx0" brushRef="#br1" timeOffset="-145434.15">17410 10821 0,'0'14'15,"26"-14"32,-26-14-47,13 14 0,14-26 16,-14 13-16,0 0 0,0-14 15,1 1-15,-1-1 16,0 14-16,-13 0 0,0-1 0,13 1 16,-13 0-16,0 0 15,-13 13 1,0 0-1,0 13-15,-1 0 0,14 0 16,-13 14-16,13-14 16,0 0-16,0 1 15,0-1-15,0 0 0,13 0 0,1 1 16,-1-14-16,13 13 16,-12-13-16,12-13 15,0 13-15,1-27 0,-1 14 16,1-14-16,-14 1 0,14-1 0,-14 1 15,0-14-15,0 14 0,0-14 16,1 14-16,12-40 16,-26 39-16,13 14 0,-13 0 0,14-27 15,-14 27-15,0 0 16,13 39 15,-13 0-31,0-12 0,-13 39 16,13 0-16,0-14 15,-14 14-15,14-26 16,0-1-16,14 14 0,-14-1 16,0-12-16,0-1 15,0-12-15,0-1 16,0 0 0,0 0-16,0 0 0,-14-13 15,1 0-15,0 0 16,0-13-1,-1 0-15,1 0 16,0 0 0,13-1-16,-13 1 15,13 0-15,0 0 16,13-1-16,-13 1 16,13 13-16,-13-13 15,27 0-15,-14-1 16,0 14-16,14 0 15,-14 0-15,27 0 16,-14 14 0,-13-1-16,0 0 15,1 0 1,-14 27 0,0-27-16,13 1 15,-13 12 1,0-13 15,26-52-15,-12 25-16,12-25 15,1-1 1,-1 27-16,-13-1 31,14 28-15,-27-1-16,13 0 15,-13 0-15,0 1 0,13-1 16,-13 13-16,0-12 16,13-14-16,-13 13 0,0 0 15,0-39 32</inkml:trace>
  <inkml:trace contextRef="#ctx0" brushRef="#br1" timeOffset="-145302.98">18230 10478 0,'0'-14'16</inkml:trace>
  <inkml:trace contextRef="#ctx0" brushRef="#br1" timeOffset="-144434.9">18455 10478 0,'0'0'16,"-14"0"0,1 13-1,0 0-15,0-13 0,13 13 0,-13 0 16,-14 14-16,14 13 15,13-14-15,0-13 16,0 14-16,0-14 0,13 13 16,14 1-16,-14-14 15,0-13-15,27 13 0,-1 1 16,-25-14 0,-1 0-16,13-14 0,-12 14 0,25-13 15,-26 13-15,1-13 0,-1 13 16,0-13-16,0 13 0,1-14 0,-14 1 15,13 13-15,0-13 16,-13 0-16,0-1 16,13 1-16,-26 13 15,0-13 1,0 26-16,-1-13 16,14 13-16,-26 1 15,26-1-15,-13-13 16,13 13-16,0 0 15,13-13 1,0 14-16,0-14 16,14 0 15,-14 0-31,-13 13 16,13-13-16,0 0 0,1 0 31,-1 0-31,-13-13 0,13-1 15,0 14-15,1-26 0,-1 13 16,0-14-16,0-26 16,1 27-16,-1-14 0,0-13 15,0 40-15,-13 0 0,13-14 16,-13 14-16,0 0 0,-13 39 31,0-12-15,13-1-16,-13 27 0,0-1 15,13-12-15,0-14 0,0 27 16,13-27-16,-13 0 16,13 0-16,0 14 0,0-14 15,14 0-15,-1-26 16,-12 13 0,12-13-16,1-1 15</inkml:trace>
  <inkml:trace contextRef="#ctx0" brushRef="#br1" timeOffset="-143942.68">19473 10292 0,'27'-26'0,"-14"13"0,0-1 16,0 14-1,1 0-15,25 0 16,-25 0-16,-1 14 16,0-1-16,0 0 0,-13 0 15,14 27-15,-1 0 16,-13 13-16,0-40 15,-13 13-15,13 14 0,0-27 16,0 0-16,-14 27 16,14-13-16,0-14 15,-13 13-15,13 1 16</inkml:trace>
  <inkml:trace contextRef="#ctx0" brushRef="#br1" timeOffset="-143807.08">19606 10808 0,'0'0'16,"-14"-13"0</inkml:trace>
  <inkml:trace contextRef="#ctx0" brushRef="#br1" timeOffset="-142370.06">8758 12422 0,'26'-13'16,"-13"13"-16,1-13 16,78-40 46,-118 79-46,13-26-16,-14 13 15,27 1 1,-66 52 31,79-53-47,14-13 16,-14 0-16,79 13 62,-92 1-62,0-1 16,-13 0-1,0-13-15,0 13 0,0 0 16,-27 1-16,0 12 0,0 1 16,27-14-1,-13-13-15,-1 13 0,14 0 16,0-13-16,0 0 15,26-13 1,13 0 0</inkml:trace>
  <inkml:trace contextRef="#ctx0" brushRef="#br1" timeOffset="-141991.4">9009 12382 0,'-53'67'47,"106"-134"-31,-106 147-16,53-67 0,0 0 15,0 1-15,0-1 0,13 13 16,1 1-16,-1-27 16,0 13-16,0-13 0,1 0 15,12 0-15,0 0 16,1-13-16,-1 13 0,14-14 0,0 1 15,-14-13-15,-13 13 16,1 13-16,-14-14 0,0 1 16,0-13-16,0 12 15,-14 1-15,1 0 0,-13-14 16,-1 14 0,14 13-16,0-13 0,0 13 0,-1 0 15,1 0-15,0 0 0,0 0 16,-1 0-16,1 13 0,0-13 15,0 13-15,0 1 16,26-14 0</inkml:trace>
  <inkml:trace contextRef="#ctx0" brushRef="#br1" timeOffset="-141759.62">9499 12197 0,'13'-13'31,"-53"40"-31,80-41 16,-53 14-16,26 14 0,-13 12 15,0 14-15,0-1 16,0-25-16,-13 12 0,13-13 16,0 14-16,0-1 0,-14 1 15,14-1-15,0 1 0,-13-1 16,13-13-1,0 0-15</inkml:trace>
  <inkml:trace contextRef="#ctx0" brushRef="#br1" timeOffset="-141608.68">9300 12382 0,'0'-13'16,"13"13"-16</inkml:trace>
  <inkml:trace contextRef="#ctx0" brushRef="#br1" timeOffset="-141439.05">9763 12396 0,'-26'0'16,"52"0"-16,-13 0 16,-13-14 15</inkml:trace>
  <inkml:trace contextRef="#ctx0" brushRef="#br1" timeOffset="-140717.71">11364 12197 0,'26'-13'0,"-26"0"31,-26 13-15,13 13-16,-1-13 0,-12 13 0,13 1 16,-27-1-16,14-13 15,-1 26-15,14-26 16,-14 13-16,27 1 0,-13-14 16,26 13-1,1-13 1,-1 0-16,13 0 0,1 0 15,12 13-15,-12-13 16,-1 0-16,1 13 16,-14-13-16,0 14 15,1-14-15,-14 13 0,0 0 16,-14-13-16,1 26 16,0-12-16,0-1 0,-27 0 15,0 14-15,1-14 16,25 0-16,-12-13 15,13 13 1,-1-13-16,41-13 31,-14 0-31</inkml:trace>
  <inkml:trace contextRef="#ctx0" brushRef="#br1" timeOffset="-140363.06">11628 12171 0,'-13'0'15,"26"0"-15,-52 13 0,26 0 16,-1-13-16,14 14 0,-13 12 16,0-13-16,13 0 15,0 14-15,0-14 0,0 0 16,13 1-16,0-1 15,1 0-15,-1-13 0,0 0 16,13-13-16,-12 13 16,-1-13-16,-13-1 15,13 14-15,-13-13 16,-13-13-16,13 12 0,-13 1 0,-1 0 16,1-13-16,-13 12 15,26 1 1,-13 13-16,-14-13 0,14 13 15,0 13-15,-1-13 16,14 13-16,-13 1 16</inkml:trace>
  <inkml:trace contextRef="#ctx0" brushRef="#br1" timeOffset="-140119.56">11999 12078 0,'-27'27'31,"14"-14"-31,13 27 16,-13-27-16,0 13 16,-1 14-16,14-14 15,-13 1-15,13-1 0,-13-12 0,0 12 16,13 0-16,-13-12 0,13-1 0,-14 13 15,1 1-15,0-14 16</inkml:trace>
  <inkml:trace contextRef="#ctx0" brushRef="#br1" timeOffset="-139995.37">11748 12250 0</inkml:trace>
  <inkml:trace contextRef="#ctx0" brushRef="#br1" timeOffset="-139851.39">12052 12343 0,'13'0'31,"-26"0"-31,13-13 16,-13 13-1</inkml:trace>
  <inkml:trace contextRef="#ctx0" brushRef="#br1" timeOffset="-100141.11">15438 10160 0,'0'13'110,"0"53"-95,0 27-15,14 13 16,-1-14-16,13 1 15,-26-14-15,14 14 16,-14 13-16,0-14 16,26 14-16,-26-13 15,13-27-15,-13 27 16,14-14 0,12 14-16,-26-40 15,13-1-15,-13-12 16,0 0-16,13-14 15,-13-12-15,0 12 0,14-26 16,-14-13 93</inkml:trace>
  <inkml:trace contextRef="#ctx0" brushRef="#br1" timeOffset="-94934.45">15438 10134 0,'53'0'125,"40"13"-110,13-13 1,26 0-16,14 0 15,12 0-15,1 0 16,53 0-16,-14 0 16,-13 0-16,14 0 15,-14 0-15,13-13 16,-52-1-16,26 14 16,-13-13-16,26 0 15,-26 0-15,-27-1 16,0 1-16,-13 13 15,-13 0 1,0 0-16,-27 0 0,-12 0 16,-28 0-16,-12 0 15,12 0 1,-25 0-16,12 0 16,-13 0-16,27 0 15,-14 0 1,27 0-16,14 0 15,12 0-15,-26 0 16,-14 0-16,1 0 16,0 0-16,39-13 15,-39 0-15,-14-1 16,27 14-16,-39-13 16,-1 13-16,0 27 187,0 26-171,0-14-16,1 14 15,12 0-15,-13 13 0,1-26 16,-1 13 0,13 26-16,1 1 15,-14-54-15,-13 14 16,13-1-16,14 14 15,-14-13-15,0 13 16,14-13-16,12 39 16,-26-13-16,14-26 15,-14 0-15,14 12 16,-27-12-16,0 0 16,13-14-16,-13-12 15,0-1-15,13 26 16,-13-12-16,-13-27 234,-27 0-218,0 0-16,1 0 15,-54 0-15,53 0 16,-237 0-16,105 0 16,-40 0-16,14 0 15,-14 0-15,27 0 16,26 0-16,0 0 16,14 0-1,-27 0-15,53 0 0,39 0 16,27 0-16,-26-13 15,-14 13-15,40 0 16,14 0 0,-14 0-16,13 0 15,-13 0-15,14 0 16,-1 0-16,-13 0 0,-13 0 16,-14 0-1,1 13-15,13-13 16,-27 0-16,-12 13 15,12 0-15,27 1 16,-14-14-16,27 0 16,-13 13-16,0-13 15,26 0-15,14 0 16,0 0-16,-1 0 16,14 0-16,-27 0 15,0 0-15,1 0 16,12 0-16,-12 0 15,12 0 1,-12 0-16,-14 0 16,13 0-16,13 0 15,1 0-15,13 0 0,-14 0 16,1 0-16,-1 0 16,14 0-1,0 0 1,0 0-16,-1 0 31,1 13-31,0-13 0,0 0 16,0 0-1,-1 0-15,1 0 985,-13 0-970,12 0-15,-12 0 16,13 0-16,-14 0 16,1 0-1,-1 0-15,14 0 16,-13 0-16,12 0 15,-12 0-15,13 0 16,0 0-16,-1 0 16,1 0-1,0 0 17,0 0-32,-1 0 15,1 0 345,0 0-345,0 0 1,13 13-1,-14-13 1,1 0 47,0 0-48,0 0 1,0 0-1,-14 0 1,14 14 0,0-14-16,-14 0 31,14 0-15,0 0-1,-1 0 1,1 0 78,13 13-1,27 0-93,-1 27 16,14-40-16,0 26 16,-14 1-1,14 12-15,-27-25 16,0-1-16,-13 0 15,13-13 1,1 13-16,-14 0 16,13 1-1,-13-1-15,13-13 16,0 26-16,1-26 16,-1 0-16,0 27 15,0-27 1,-13 26-16,27-12 15,-27-1-15,0 0 32,13-13-32,-13 13 15,26 0 17,-12-13-32,-1 0 15,0 0-15,0 0 16,1 0-1</inkml:trace>
</inkml:ink>
</file>

<file path=ppt/ink/ink18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3:06:39.613"/>
    </inkml:context>
    <inkml:brush xml:id="br0">
      <inkml:brushProperty name="width" value="0.05292" units="cm"/>
      <inkml:brushProperty name="height" value="0.05292" units="cm"/>
      <inkml:brushProperty name="color" value="#FF0000"/>
    </inkml:brush>
  </inkml:definitions>
  <inkml:trace contextRef="#ctx0" brushRef="#br0">5331 1535 0,'-13'0'62,"13"26"-46,-13 1-1,13 12-15,0-26 0,0 54 16,0-15 0,0-12-16,0-13 15,0 12-15,0 14 16,13 27-16,-13-54 15,13 27-15,1 13 16,-1-26-16,13 52 16,-12-39-16,12 13 15,-26-26-15,0-13 16,26 26 0,-26-14-16,14-12 0,-14-1 15,0 1-15,0-14 16,0 0-16,0 0 15,39-13 220,-12 0-220,-1 0-15,1 0 16,39 0-16,13 0 16,27 0-16,26 0 15,-13 14-15,14-1 16,-14-13 0,13 26-16,0-13 0,-52 1 15,-27-14 1,26 13-16,27 13 15,-53-26-15,0 0 16,53 0-16,52 0 31,-118 0-15,476 0 31,-437 0-32,-39 0-15,0 0 16,13 0 0,-14 0-1,-12 0-15,-1 0 16,1 0-16,-14 0 31,27-26-31,-27 26 0,0-13 16,13 13-16,1 0 15,13 0-15,-14 0 16,1 0 0,12 0-16,-12 0 0,-1 0 15,-13 0 1,27 0-16,-27 0 0,14 0 16,-27-14-1,13 14 1,-13-13-1</inkml:trace>
  <inkml:trace contextRef="#ctx0" brushRef="#br0" timeOffset="2464.32">14605 886 0,'53'14'15,"-27"-14"-15,-12 13 0,12-13 0,1 0 16,-1 0-16,0 13 0,14-13 0,-27 0 16,14 0-16,-1 13 0,1-13 0,-14 0 15,27 0-15,-1 0 16,-25 0-16,-1 0 0,0 0 15,0 0-15,0 0 0,1-13 0,-1 13 16,0 0-16,0-13 0</inkml:trace>
  <inkml:trace contextRef="#ctx0" brushRef="#br0" timeOffset="2745.22">15015 675 0,'106'39'15,"-66"-25"-15,-14-1 16,14 13-16,-14-12 0,14 12 16,-14 0-16,14 1 0,0 13 15,-27-14-15,0-13 0,0 0 0,-13 14 16,0-14-16,0 0 0,0 14 15,-13-14-15,0 14 0,0-14 16,-14 13-16,1 1 0,-1-14 0,1 13 16,-1-12-16,14-14 0,0 13 0,-27 0 15,27-13 1</inkml:trace>
  <inkml:trace contextRef="#ctx0" brushRef="#br0" timeOffset="4065.89">17092 503 0,'0'-14'16,"0"28"-16,0-41 0,0 14 15,0 0 1,-13 0-16,0-1 16,-1 14-16,1 0 15,0 0-15,-14 14 0,14-14 16,-13 13-16,-1 13 0,1-13 15,-27 40-15,27-26 16,-1-1-16,14 1 0,-14-1 0,1 14 16,13-14-16,-14 1 0,14-1 15,0 1-15,0-1 0,-1 14 16,14-14-16,0-12 0,-13-1 0,26 13 16,-13-13-16,0 14 0,14-14 15,-14 0-15,13 1 0,0 12 16,0-26-16,0 13 0,1-13 15,-14 14-15,26-14 0,-13 0 16,1 0-16,-1 0 0,0-14 0,14 14 16,-14-13-16,0 13 0,0-13 0,0 0 15,1-1-15,-1 1 0,0 0 16,-13 0-16,0-1 0,0 1 0,0 0 16,0 0-16,-13-14 0,13 14 15,-13 0-15,13 0 0,-14-1 16,14 1-16,-13 0 0,13 0 15,-13 0-15,26-1 32,0 14-32,1 0 15,-1 0-15,0 0 0,0 0 16,14 0-16,-14 0 0,0 14 0,0-14 16,14 0-16,-14 0 0,14 13 15,-14-13-15,0 13 0,0-13 16,-13 13-16,14 0 0,-1 1 15,-13-1-15,0 0 0,0 0 0,0 1 16,13-1-16,-26 0 0,13 13 16,0-12-16,0-1 0,-13 0 15,13 0-15,0 1 0,0-1 0,0 0 16,0 0-16,-14-13 0,14 14 16,0-1-16,0 0 15,0 0-15,14-13 16</inkml:trace>
  <inkml:trace contextRef="#ctx0" brushRef="#br0" timeOffset="4509.01">17370 900 0,'0'0'16,"0"-14"-16,-27 28 31,27-1-31,0 0 16,-13 0-16,13 0 0,0 1 16,0-1-1,13 0-15,-13 0 0,0 1 16,14-14-16,-14 13 0,13-13 15,0 0-15,0-13 16,1-1-16,-1 1 16,-13 0-16,13 0 0,-13-1 15,13 14-15,-13-13 0,13 0 0,-13 0 16,14 0-16,-14 39 31,0-13-15,0 0-16,0 1 15,0-1-15,13 27 16,-13-27-16,0 0 16,13 0-16,-13 1 0,13-14 15,14 13-15,-1 0 0,-12-13 16,-1 0-16,0 0 0</inkml:trace>
  <inkml:trace contextRef="#ctx0" brushRef="#br0" timeOffset="4896.37">17806 939 0,'-13'-26'16,"26"52"-16,-39-52 0,13 13 15,0 13-15,-1 0 16,1 0-16,0 13 16,0-13-16,13 13 15,-14-13-15,1 26 0,0 1 31,26-14-31,-13 0 16,13-13 0,1 0-1,-1 0-15,0 0 16,-13-13-16,13 13 16,1 0-16,-1 0 31,0 0-16,-13 13-15,13 1 16,-13-1 0,13-13-16,-13 13 15,14-13-15,-1 0 16,13 0-16,-12 0 16,-1 0-16,0 0 0</inkml:trace>
  <inkml:trace contextRef="#ctx0" brushRef="#br0" timeOffset="5213.57">18098 926 0,'-27'0'0,"54"0"0,-80 0 16,39 0-16,14 13 16,-13-13-1,13 13-15,13-13 16,-13 14-16,0-1 0,14-13 0,-14 13 15,13 0-15,-13 1 0,13-14 16,-13 13-16,13 13 16,1-26-16,-14 14 0,13-1 15,-13 0-15,0 0 16,-13 0 0,-1 1-16,1-14 15,0 0-15,0 13 16,13-26-1,-14 13-15,14-14 16,0 1-16</inkml:trace>
  <inkml:trace contextRef="#ctx0" brushRef="#br0" timeOffset="5573.21">18362 913 0,'0'-13'0,"0"26"0,-13-26 0,0 13 0,-1 0 16,1 0-16,0 0 16,0 13-16,-1-13 15,1 0-15,13 13 0,-13-13 0,13 13 0,-13-13 16,13 13-16,-13-13 16,13 14-16,0-1 0,0 0 15,13 0-15,-13 1 0,13-1 16,0 0-16,0-13 15,-13 13-15,14 1 0,-1-1 16,0-13-16,0 13 0,-13 0 16,14-13-16,-14 13 15,0 1-15,-14-14 0,14 13 16,-13-13-16,13 13 16,-13-13-16,0 13 0,-1-13 0,1 14 15,0-14-15,0 0 0,0 0 16,-1 0-16,14-14 15</inkml:trace>
  <inkml:trace contextRef="#ctx0" brushRef="#br0" timeOffset="5765.36">18508 966 0,'13'13'16,"-13"0"-1,0 0-15,0 1 16,0-1-16,0 0 0,0 0 16,0 1-16,0-1 0,0 0 15,-13 0-15,13 14 0,0-14 16,-14 0-16,14 0 16</inkml:trace>
  <inkml:trace contextRef="#ctx0" brushRef="#br0" timeOffset="5891.92">18561 926 0,'-14'-13'16</inkml:trace>
  <inkml:trace contextRef="#ctx0" brushRef="#br0" timeOffset="6680.25">18865 966 0,'0'-14'0,"-13"14"15,-1 14-15,1-14 16,0 13-16,-14 0 16,14 0-16,-13 1 15,12 12 1,1-13-16,0 1 15,13-1-15,0 0 16,0 0-16,26 0 47,1-13-47,-14-13 0,0 13 16,1-13-16,-14 0 15,13 13-15,-13-13 0,13 13 16,-13-14-16,13 14 0,-13-13 15,0 0-15,14 13 16,-14-13-16,0 39 63,0-13-48,0 1 1,13-14-16,-13 13 15,13-13-15,0 0 16,0 0 0,1 0-1,-1 0-15,0 0 16,-13 13-16,13-13 16,-13 13-16,14-13 15,-14 13-15,0 1 16,13-14-1,0 13 17,0-13-17,14-13 1,-14 13 0,0 0-16,-13-14 31</inkml:trace>
  <inkml:trace contextRef="#ctx0" brushRef="#br0" timeOffset="7363.56">19897 556 0,'0'0'16,"0"26"-1,0-13-15,-14 14 0,14-1 0,-26 1 16,0 52-16,12-52 16,-12 12-16,13 1 0,-1 0 0,-12 12 15,26-38-15,0 12 16,-13-13-16,13 1 0,0 12 15,0-13-15,0 1 0,0-1 0,-14-13 16,14 13-16,-13-39 31,-26-27 1,39 39-32,158 41 140,-144-14-124,-1-13-16,-13 27 15,0-14 1,0 0-16,0 0 31</inkml:trace>
  <inkml:trace contextRef="#ctx0" brushRef="#br0" timeOffset="7480.9">19989 873 0</inkml:trace>
  <inkml:trace contextRef="#ctx0" brushRef="#br0" timeOffset="7827.84">20161 913 0,'-13'13'31,"13"0"-31,0 0 0,0 1 16,0-1-1,0 0-15,13 0 0,-13 1 0,0-1 16,0 0-16,0 0 0,0 1 16,0-1-1,0 0-15,0 0 0,-13 0 16,0-13-16,0 0 16,-1 14-1,1-14-15,-13-14 16,12 14-1,1-13-15</inkml:trace>
  <inkml:trace contextRef="#ctx0" brushRef="#br0" timeOffset="8237.84">20532 701 0,'0'40'16,"-14"-27"-1,14 0-15,-13 27 0,13-14 16,-13 1-16,13 13 0,-13-14 16,13 0-16,0-12 0,-13 25 15,13-12-15,-14-1 0,14-12 16,0-1-16,0 0 0,0 13 15,0-12-15,0-1 0,-13-13 16,13 13-16,-13 0 16,0-13-16,-1 0 15</inkml:trace>
  <inkml:trace contextRef="#ctx0" brushRef="#br0" timeOffset="8667.52">20307 1151 0,'-53'-40'0,"40"27"31,26 0-31,0 0 16,14-1-16,-14 1 16,0 0-16,0 13 0,14-13 0,-14 13 15,0-14-15,14 14 0,-14 0 16,0 0-16,14-13 0,-14 13 16,0 0-16,13 13 15,-12-13-15,-1 0 0,13 14 16,-12-1-16,-1 0 15,-13 0-15,13-13 16,-13 14-16,0-1 0,0 0 16,0 0-16,0 0 0,0 1 15,0-1 1,0 0-16,13-26 47,1 13-47,-1-13 0,-13-1 15,13 14-15,0-13 0,40-26 16,-53 25 0,13 14-16,14-13 15,-1 13 17,-26 13-17</inkml:trace>
  <inkml:trace contextRef="#ctx0" brushRef="#br0" timeOffset="8893.91">20915 847 0,'-13'13'31,"0"0"-31,13 0 0,-13 1 16,13-1-16,0 0 15,0 0-15,-14 0 0,14 1 16,0-1 0,14-13-16</inkml:trace>
  <inkml:trace contextRef="#ctx0" brushRef="#br0" timeOffset="9282.01">20889 1111 0,'13'13'47,"-13"1"-47,-13-1 16,26 0 0,-13 0-16</inkml:trace>
  <inkml:trace contextRef="#ctx0" brushRef="#br0" timeOffset="9767.82">21286 754 0,'0'0'0,"-27"53"16,14-40-16,0 27 16,0-27-16,-1 14 0,-12 25 15,-1-25-15,14-1 0,0 1 16,0-1-16,13-12 0,-13 12 0,-1 0 16,1-12-16,13-1 15,0 0 1,13-39-1,1 12 1,-1 1-16,0 0 0,0 0 0,0 0 16,14-1-16,-14 1 0,0 13 0,1-13 15,-1 13-15,13 0 16,1 0-16,-27 13 16,13-13-16,0 13 0,-13 1 15,0-1-15,0 0 16,-13 0-16,0 14 0,-1-14 15,1 0-15,0-13 0,-27 27 16,27-27-16,-27 13 16,27-13-16,0 13 0,0-13 15,13-13-15,-13 13 0,-1 0 16</inkml:trace>
  <inkml:trace contextRef="#ctx0" brushRef="#br0" timeOffset="10644.01">21458 1045 0,'13'-13'16,"-26"39"30,-1-26-46,14 14 0,-13-1 16,13 0 0,0 0-16,-13 0 15,53 1 32,-27-28-47,0 14 16,0-13-16,1 13 15,-1 27 17,-13-14-32,13-13 0,-13 13 15,0 0-15,27 1 16,-14-14 0,26-14-1,-12-12-15,13-1 16,-1-25-1,-12 25-15,-14 1 0,40-41 16,-13 28-16,-14-1 16,-13 14-16,1 12 15,-14 41 17,-14-14-32,14 0 0,0 14 15,-13 12-15,0-25 16,0 52-16,-1-40 15,14 14-15,-13 0 16,13-27 0,0 0-16,-13 0 0,0 1 15,-1-1-15,1-13 16,-13 0-16,13 0 16,-1 0-1,1-13-15,0-1 16,26 1 15,0 13-31,-13-13 0,27 0 16,-1-1-16,-13 14 0,14-13 15,-14 0-15,14 0 0,-14 13 0,13-13 0,-12 13 16,-1-14-16,13 14 16,-13 0-16,1 0 0,-1 14 15,0-1 1,-13 0-16,0 0 0,13 0 15,-13 1-15,0-1 0,0 0 16,0 14-16,0-14 0,0 0 16,0 0-16,0 1 0,-13-1 15,13 0 1</inkml:trace>
  <inkml:trace contextRef="#ctx0" brushRef="#br0" timeOffset="10784.21">22079 992 0,'0'-13'16</inkml:trace>
  <inkml:trace contextRef="#ctx0" brushRef="#br0" timeOffset="11382.02">22132 1045 0,'0'13'16,"0"1"0,0-1-1,0 0-15,0 0 16,0 0-16,-13 1 0,13-1 15,0 0 1,13 0-16,-13 1 16,14-14-1,-1 0-15,0 0 16,0-14-16,1 14 16,-14-13-16,13 0 0,0 13 0,0-27 15,-13 14-15,13-13 16,-13 13-16,0-1 15,14 1-15,-28 0 16,1 13 0,0 0-16,0 0 15,13 13-15,-13-13 16,13 13-16,-14-13 16,14 14-16,0-1 15,14 0 1,-1 0-1,13 0 1,-13 1-16,14-1 16,-14 0-1,0-13-15,1 13 0,-1-13 16,13 14-16,14-1 16,-14 0-16,14 0 15,-27-13 1,40 14-1,-40-28 1,1 14 0,-14-13-1,-27 0-15,-12-14 16,12 14-16,1 0 0</inkml:trace>
  <inkml:trace contextRef="#ctx0" brushRef="#br0" timeOffset="12868.73">14790 952 0,'13'14'0,"1"-1"16,-1 0-16,0 0 0,14 14 0,-1-1 15,53 67-15,-39-53 0,79 52 16,-53-39-16,14 0 16,12 0-16,80 53 0,-79-53 15,79 53-15,-80-54 0,-12 1 16,-1-13-16,53 39 0,-65-52 15,-14 13-15,13-14 16,53 40-16,-66-39 0,26 12 16,-52-12-16,39-1 15,-53-13-15,13 1 0,-12-14 16,12 13-16,-13 0 16,1-13-16,-1 13 0,0-13 15,0 14 1,0-14-1,-13-14 17,14 14-32,-14-13 15,13 13-15</inkml:trace>
  <inkml:trace contextRef="#ctx0" brushRef="#br0" timeOffset="13183.9">16999 2037 0,'14'-13'16,"12"53"15,-26-27-31,13 0 0,1 0 0,-1 1 16,0-1-16,0 0 0,1 0 0,38 40 15,-38-40-15,-1 14 16,0-27-16,-13 13 16,13 0-16,-13 1 0,0-1 0,-26 13 15,13-12-15,-14-1 16,1 0-16,-14 0 0,0 14 16,1-14-16,-1 0 0,0 0 0,-13-13 15,14 14-15,-27 12 0,39-26 16,1 0-16,12 13 0</inkml:trace>
  <inkml:trace contextRef="#ctx0" brushRef="#br0" timeOffset="13632.67">18494 2170 0,'0'39'47,"-13"-26"-47,13 1 0,-13 25 16,0 1-16,13-13 15,-14-14-15,14 13 0,-13 1 16,13-1-16,-13 14 16,0-27-16,13 0 0,0 1 15,0-1 1</inkml:trace>
  <inkml:trace contextRef="#ctx0" brushRef="#br0" timeOffset="14377.34">18494 2249 0,'14'-13'0,"-28"26"0,41-26 16,-14 13-16,0 0 0,1 0 15,-1 0-15,0 0 16,0 0-16,0 13 0,1 0 16,-14 0-16,-14 1 15,14-1-15,-13-13 0,13 13 16,-13-13-16,13 13 0,-13-13 15,13 14-15,0-1 16,0 0-16,13-13 16,0 13-16,0 0 0,1 1 15,-1-1-15,0-13 0,-13 13 16,13 0-16,1 1 0,-14-1 16,-14 0-16,14 0 15,-13-13-15,0 14 0,-40-1 16,27 0-16,-27 0 0,39-13 15,-12 0-15,13 0 0,-14 0 16,1 0-16,13-13 16,-1 13-16,28-13 15,-1 0 1</inkml:trace>
  <inkml:trace contextRef="#ctx0" brushRef="#br0" timeOffset="15125.94">18680 2540 0,'13'-13'16,"0"0"0,-13-1-16,13 14 15,0-13-15,1 0 0,-1-14 16,0 27-1,-13-13-15,0 0 16,-13 39 15,13-12-31,-13-1 16,13 0-16,-14 0 16,28 14-16,-14-14 15,13-13-15,0 0 16,-13 13-16,13-13 0,1 0 15,12 0-15,-13-13 0,1 13 0,25-26 16,1-1-16,0 1 16,-27-1-16,27-26 15,-14-26 1,-13 39-16,0 0 16,1 14-16,-14 13 15,0 0-15,-14 13 16,1 13-1,0 0-15,0 13 0,-14 14 16,14-13-16,0 12 0,0-12 16,13-14-16,-14 40 0,14-27 15,0-12-15,0-1 16,14 0-16,-14 0 0,13-13 0,0 14 16,0-14-16,1 0 15,-1 0-15,26-27 0,-12 1 16,-1 12-16,14-39 0,-13 27 15,-14 0-15,0-1 0,0 1 16,-13 12-16,13 1 0,1 0 16,-14 0-16,-14 39 15,14-13 1,-13 1-16,13 12 16,-13 1-16,13-14 0,0 13 0,0 14 15,0 0-15,13-1 16,-13-12-16,13-1 0,-13-13 15,14-13 1,-1 14-16,0-14 0,14 0 16,-14-14-16,0 14 0,14-13 15,12 0-15,-26 0 16</inkml:trace>
  <inkml:trace contextRef="#ctx0" brushRef="#br0" timeOffset="16084.58">20029 2222 0,'-13'0'16,"-1"0"-16,-12 14 15,13-14-15,0 13 0,-1 0 16,1 14-16,0-14 0,-14 27 16,14-1-16,0 14 15,26-13 1,0-14-16,1-12 16,12-1-1,27 0-15,-40-13 16,0-13-16,80-27 31,-80 27-31,1 0 0,-1-1 16,0 1-16,0 0 15,-13 0 1,-13 39 15,13-13-31,0 1 16,0-1-1,0 0-15,0 0 0,13 1 16,14-1-16,-14-13 16,0 0-16,0 0 15,14 0-15,-1 0 16,1-27-16,-1 1 16,-13 13-1,-13-1-15,14 14 16,-14-13-16,13 0 0,-13 39 47,0-12-32,0-1 1,13 0-16,-13 0 16,13-13-16,1 14 0,-1-14 31,0 0-31,0 0 0,1-14 15,-1 14-15,0-13 16,0 13-16,-13-13 0,13 13 16,1-13-1,12 13-15,-13 0 16,1 13-16,-1 0 16,0 0-16,-13 1 15,13-1-15,-13 0 16,0 0-16,14 0 15,-14 1-15,13-28 47,-13 1-47,13 0 0,0 0 16,0-14-16,1 27 16,-14-13-16,13 13 15,-13-13-15,13 13 0,-13-13 16,13 13-16,1 0 31</inkml:trace>
  <inkml:trace contextRef="#ctx0" brushRef="#br0" timeOffset="16526.5">20862 2421 0,'14'0'15,"-28"0"-15,41 13 31,-14-13-31,-13 13 0,0 1 16,13-14-16,-13 13 16,0 0-16,14-13 0,-14 13 15,0 1-15,13-14 16,-13 13-16,0 0 16,13-13-1,0 13-15,0-13 16,1-13-16,-1 13 0,0-13 15,0 0-15,1-1 0,-1 1 16,0 13-16,0-13 0,1 0 16,-14-1-16,13 14 15,-40 14 17,27-1-17,-13-13-15,13 13 16,0 0-16,13 1 0,1-14 15,-1 13 1,0-13-16,13 0 0,1-13 16,13 13-1,-27 0-15,0 0 0,0 0 16</inkml:trace>
  <inkml:trace contextRef="#ctx0" brushRef="#br0" timeOffset="16826.06">18891 2791 0,'172'-26'31,"-92"13"-31,78 13 0,-65 0 16,0 0-16,-1 0 0,93 0 15,-92 0-15,92 0 16,-92 0-16,-1 13 0,-12-13 0,-14 0 16,0 0-16,27 0 0,-27 0 15,-40 13-15,-12-13 0,-1 0 16,0 0-16,-53 0 31</inkml:trace>
  <inkml:trace contextRef="#ctx0" brushRef="#br0" timeOffset="17089.14">19103 2791 0,'-27'14'16,"54"-28"-16,-67 28 0,80-1 15,0-13-15,-1 0 16,14 13-16,27-13 0,-1 0 16,0 13-16,1-13 0,12 0 0,-12 14 0,-1-14 15,14 0-15,52 13 16,-79-13-16,-13 0 0,40 13 16,-53-13-16,-14 0 0,0 0 0,-12 0 15,-1-13-15,13 13 16,-12 0-16,-1 0 0,-13-13 15,-13-1 1,-14 1-16,14 0 0,-27 0 0</inkml:trace>
  <inkml:trace contextRef="#ctx0" brushRef="#br0" timeOffset="17616.41">18058 1376 0,'106'13'32,"-40"-13"-32,13 13 15,1-13-15,105 0 16,-93 0-16,160 0 0,-146 0 16,39 0-16,-13 0 0,1 0 15,-28 0-15,1 0 0,0 0 0,-13 14 0,13-14 16,-27 0-16,14 13 0,-14-13 15,-26 0-15,0 13 0,-14-13 0,-12 0 16,13 0-16,-27 13 16,-93-13-1</inkml:trace>
  <inkml:trace contextRef="#ctx0" brushRef="#br0" timeOffset="17893.75">17952 1614 0,'291'-13'31,"-185"13"-31,26 0 16,14 0-16,-1 0 0,1 0 15,-1 0-15,133 0 0,-40 0 16,-145 0-16,-1 0 0,80 13 15,-92-13-15,-27 0 16,39 0-16,-52 0 16,-14 0-16,1 13 0,-1-13 0,-12-13 15,-54 26 17,13-13-32</inkml:trace>
  <inkml:trace contextRef="#ctx0" brushRef="#br0" timeOffset="37242.07">5398 1561 0,'13'0'0,"0"13"31,0-13-31,0 0 0,14-13 15,-14 13-15,0 0 16,14 0-16,-1 0 0,1 0 0,12-13 16,14 13-16,0 0 0,0-13 15,0 13-15,13-14 0,0 14 0,14-13 16,-14 0-16,13 13 0,-13-13 0,1 13 16,12-14-16,-13 1 0,0 13 15,-13-13-15,0 13 0,26 0 0,-26-13 16,0 13-16,13-13 0,1 13 0,-15 0 15,1-14-15,14 14 0,-15-13 16,1 13-16,0 0 0,-13-13 0,13 13 16,0 0-16,-14-13 0,1 13 15,0-14-15,0 14 0,26 0 16,-40-13-16,1 13 0,-1 0 0,14-13 16,-27 13-16,13 0 0,1 0 15,-14 0-15,0 0 0,14-13 0,-14 13 16,0 0-16,1 0 0,-1 0 15,0 0-15,0 0 16,0 0 0,1-14-16,-1 14 15,0 0 17,0 0-32,1 0 15,-1-13 1,0 13-16,0 0 15,14-13-15,-14 13 16,0 0-16,0 0 0,1 0 0,-1 0 16,0 0-16,0-13 0,1 13 15,-1 0-15,0 0 0,0 0 16,0 0-16,1 0 16,-1 0-16,0-13 15,0 13-15,1 0 16,-1 0-1,0 0 32,-13 13-31,0 0-16,0 0 16,0 0-1,0 1-15,-13-1 0,13 0 16,0 14-16,0-1 0,0-13 15,0 14-15,0-14 0,0 13 16,0 14-16,13-13 0,-13-1 16,0 1-16,0-14 0,13 13 15,-13 1-15,0-1 0,14 27 16,-1-40-16,-13 14 0,0-1 16,13 27-16,0-13 15,-13-27-15,0 13 0,13 14 16,-13-27-16,14 1 0,25 197 47,-39-198-32,0 27-15,14 0 16,-14 0-16,0-1 16,13 1-16,-13 0 15,0-27-15,0 0 16,0 14-16,13 12 0,-13-26 15,0 14-15,13 52 32,-13-65-17,13-1-15,-13 0 16,0 0 0,0 0-1,0 1 16,0-1 16,-13-13-31,0 0 15,0 13-31,0-13 16,-1 0-1,1 0 1,0 0-16,0 0 16,-1 0-1</inkml:trace>
  <inkml:trace contextRef="#ctx0" brushRef="#br0" timeOffset="50713.16">1402 3387 0,'-13'0'15,"40"0"17,-1 0-17,-13 0-15,14 0 0,12 0 16,1 0-16,0 0 0,13 0 0,0 0 16,-1 0-16,68 0 0,-68 0 15,1 0-15,0 13 0,-13-13 16,0 0-16,-1 0 0,-12 0 0,12 0 15,-12 0-15,-1 0 0,1 0 16,-1 0-16,1 0 0,-14 0 16</inkml:trace>
  <inkml:trace contextRef="#ctx0" brushRef="#br0" timeOffset="50981.71">1759 3559 0,'0'0'0,"53"0"32,-39 0-32,12-14 0,1 14 0,25 0 15,-12 0-15,0-13 16,0 13-16,-1 0 0,27 0 15,-26 0-15,-14 0 0,27 0 16,-26 0-16,26 13 16,-40-13-16,13 0 0,1 14 15</inkml:trace>
  <inkml:trace contextRef="#ctx0" brushRef="#br0" timeOffset="51871.32">2831 3969 0,'40'0'0,"-14"0"0,27 0 15,331-13 16,-305 13-31,0 0 0,1 0 0,-1 0 16,-13 0-16,14 0 0,-14 0 16,-13 0-16,66 0 0,-66 0 15,0 0-15,0 0 0,0 0 16</inkml:trace>
  <inkml:trace contextRef="#ctx0" brushRef="#br0" timeOffset="52210.2">3704 4114 0,'53'0'16,"-106"0"-16,133 0 0,-54 0 0,14 0 0,-14 0 16,27 0-16,0 0 0,0 0 0,0 0 15,39 14-15,-39-14 16,0 0-16,0 0 0,0 0 0,-13 0 16,-1 13-16,1-13 0,-13 0 0,-1 0 15,1 0-15,-1 0 0,-13 13 0,14-13 16,-14 0-16,0 0 15,0 0-15,1 0 0</inkml:trace>
  <inkml:trace contextRef="#ctx0" brushRef="#br0" timeOffset="53548.12">2262 4657 0,'40'-14'16,"-27"14"-16,14 0 0,12 0 15,1-13-15,13 13 0,26 0 0,-13-13 16,27 13-16,-14-13 0,1 13 0,-1 0 16,14-13-16,-1 13 15,-12 0-15,-1 0 0,0 0 0,1-14 0,-27 14 16,13 0-16,-13 0 0,53 0 16,-53 0-16,13 0 15,-40 14-15,1-14 0,-1 0 0,1 0 16,-14 0-16</inkml:trace>
  <inkml:trace contextRef="#ctx0" brushRef="#br0" timeOffset="53916.66">3135 4696 0,'119'-13'31,"-66"13"-31,0-13 0,66 13 16,-53 0-16,14 0 0,52-13 15,-53 13-15,-12 0 0,78 13 16,-92-13-16,13 0 0,-13 0 15,0 0-15,13 0 0,-13 13 16,0-13-16,0 0 0,-13 0 0,-14 0 16,14 0-16,-14 0 0,1 0 0,-1 13 15,-13-13-15,14 0 16,-14 0-16,13 0 0,-12 0 0,-1 0 16,13 0-16,-12 0 15,12 0-15</inkml:trace>
  <inkml:trace contextRef="#ctx0" brushRef="#br0" timeOffset="55101.49">7845 4696 0,'79'0'15,"-158"0"-15,185 14 0,-53-14 0,-14 0 0,14 13 16,0-13-16,93 13 0,-67-13 0,-13 13 15,14-13-15,-1 13 16,40-13-16,-40 0 0,-12 14 16,-1-14-16,13 0 0,-13 0 0,0 0 15,53 0-15,-52-14 16,-15 14-16,1 0 0,0-13 0,0 13 16,0 0-16,-13-13 0,13 13 0,-14-13 15,1 0-15,26-1 0,-39 1 16,-1 13-16,1-13 0,-14 0 15,13 13-15,-12-14 0,-1 1 0,0 0 16,0 13-16,0-13 0,1-14 16,-14 14-16,0 0 0,0 0 15,0-14-15,0 14 0,0 0 16,-14-27-16,1 14 0,0 12 16,0-12-16,-14-1 0,14 1 0,-40-27 15,27 27-15,-14-1 16,14 1-16,-54-40 0,-12 13 15,-1 0-15,-79-13 16,66 26 0,0 13-16,-66-12 15,-238-1 17,291 27-17,-489 132 32,502-40-31,0 27-1,66-53 1,-39 92 0,66-92-1,13-13 1,13-13-16,-13-14 0,13 13 0,0-13 15,1 1-15,-1 12 0,13-13 16,1 1-16,-1-1 0,1-13 16,-14 0-16,13 13 0,1-13 0</inkml:trace>
  <inkml:trace contextRef="#ctx0" brushRef="#br0" timeOffset="56109.48">2209 5265 0,'66'0'0,"-132"0"0,159-13 0,-40 13 16,0 0-16,0 0 0,26-13 0,0 13 15,1 0-15,92 0 0,-80-13 16,1 26-16,92-13 16,-105 0-16,78 13 0,-78-13 15,-1 0-15,-26 0 0,13 0 16,-13 13-16,0-13 0,0 0 15,26 0-15,-52 0 0,26 13 16,-14-13-16,-25 0 16,-1 0-16</inkml:trace>
  <inkml:trace contextRef="#ctx0" brushRef="#br0" timeOffset="56447.62">2858 5305 0,'52'0'16,"1"0"0,66-13-16,27-1 15,-67 14-15,93-13 16,0 13-16,0-13 15,-92 13-15,211 13 32,-146-13-32,-79 13 15,67 1 32,-173-1-31,27-13-16,-14 0 0,1 0 15,-40 26-15</inkml:trace>
  <inkml:trace contextRef="#ctx0" brushRef="#br0" timeOffset="57129.28">2051 5913 0,'52'0'0,"-25"-13"0,-1 13 15,27 0-15,66-13 0,-53 0 16,14 0-16,-1 13 0,1-14 16,12 14-16,-12-13 0,92 0 15,79 0 1,-119 26-16,-79-13 0,0 0 15,-13 0-15,13 0 0,-27 0 16,14 0-16,-14 0 0,-13 13 0,14-13 16,-14 0-16,0 0 0,1 0 0,-1 0 15,0 0-15</inkml:trace>
  <inkml:trace contextRef="#ctx0" brushRef="#br0" timeOffset="57586.84">2355 5953 0,'-27'-13'16,"54"26"-16,-67-26 0,93 13 31,-27 0-31,14-13 0,13 13 16,13-14-16,14 1 0,-14 13 15,13-13-15,1 13 0,-1-13 16,-13 13-16,27-13 0,-27 13 0,13-14 16,-13 14-16,0 0 0,-13 0 0,0 0 15,0-13-15,0 13 0,13 0 16,-26 0-16,-14 0 0,14 0 16,13 0-16,-40 13 0,14-13 15,-14 0-15,0 0 0,0 0 16,1 0-16,-1 0 0,0 0 0,0 0 15,1 0 1,-1 0-16,0 0 16,0 0-1,0 0 17,1 0-1</inkml:trace>
  <inkml:trace contextRef="#ctx0" brushRef="#br0" timeOffset="58504.09">2514 6456 0,'66'-13'0,"-40"13"16,67-14-16,-27 1 0,79 0 16,-65 13-16,12-13 15,-12 13-15,12 0 0,1-14 16,13 14-16,-14 0 0,1 0 0,0 0 16,92 0-16,-106 0 0,1 0 15,39 0-15,-66 0 0,-1 14 16,1-14-16,0 0 0,-26 0 15,12 13-15,-12-13 0,-14 0 0,14 0 16,-14 0-16,13 0 0,-12 0 16,-14 13-16,-27-13 15,14 0 1,-14 0-16</inkml:trace>
  <inkml:trace contextRef="#ctx0" brushRef="#br0" timeOffset="58836.81">2910 6601 0,'-52'0'32,"104"0"-32,-25 0 15,26 0-15,0-13 0,13 13 0,13-13 16,1 13-16,-1-13 0,0 13 15,80-14-15,-80 14 0,14 0 16,-27-13-16,14 13 0,-14 0 0,-13 0 16,0 0-16,0 0 0,-1 0 15,1 0-15,-26 13 16,12-13-16,-12 0 0,-1 0 0,-12 0 0,12 0 16,-13 0-16,14 14 0,-14-14 15,0 0 1,-26 13 15</inkml:trace>
  <inkml:trace contextRef="#ctx0" brushRef="#br0" timeOffset="59487.62">5583 6231 0,'79'0'0,"-158"0"0,185-13 16,-67 13-16,67 0 0,0-14 16,-53 14-16,53-13 15,13 13-15,-80 0 16,54-13-16,-14 13 15,54 0 32</inkml:trace>
  <inkml:trace contextRef="#ctx0" brushRef="#br0" timeOffset="59836.36">6297 6032 0,'27'0'15,"-14"0"-15,0 0 16,27 14-16,66 39 31,-80-40-31,-13-13 16,14 40-16,-14-27 15,0-13-15,0 13 0,-13 0 16,14 0-16,-14 1 0,0 12 16,0-13-16,0 1 0,-14-1 0,14 13 15,-13-12-15,-13-1 0,-1 13 16,14-13-16,-13 14 0,-27-1 15,39-26-15,-12 14 16,13-1-16,-1-13 0</inkml:trace>
  <inkml:trace contextRef="#ctx0" brushRef="#br0" timeOffset="70077.16">10597 9512 0,'0'-13'16,"-14"52"15,1-26-31,0 14 0,13 13 16,-27-1-16,14 41 0,0-41 15,0 1-15,0 13 0,-1-13 16,1-1-16,0 1 0,0 0 0,13-1 16,-14-12-16,1 13 0,13-14 0,-13 0 15,13-12-15,0-1 0,-13 0 16,13 0-16,0 1 0,0-1 0,0 0 15,-14 0-15,14 1 16,0-1 0,0 0 15,14-13-15,-1 0-1,0 0 1,0 13-16,1-13 0,-1-13 15,27 13-15,-14 0 0,0 0 16,1 0-16,-1 0 0,1 0 16,12 0-16,-12 0 0,-1 0 0,1 0 15,13 0-15,-1 0 0,-12 0 16,26 0-16,0 0 0,-14 0 0,14 0 16,0 0-16,40 13 0,-40-13 15,-1 0-15,1 0 0,0 0 16,0 0-16,0 0 0,0 0 0,0 0 15,0 0-15,0 0 0,13 0 16,-13 0-16,0 0 0,0 0 0,0 0 16,13 0-16,-13 0 0,0 0 0,0 0 15,-1 13-15,15-13 16,38 0-16,-52 0 0,0 0 0,0 0 16,0 14-16,0-14 0,0 0 0,0 0 15,0 0-15,0 0 0,0 0 16,0 0-16,-1 0 0,1 0 0,0 0 15,53 0-15,-53 0 16,-13 13-16,13-13 0,0 0 0,-14 0 16,1 0-16,13 0 0,-14 0 15,14 0-15,0 0 0,-13 13 0,13-13 16,-13 0-16,-1 0 0,14 0 0,-26 0 16,26 0-16,0 0 0,-14 0 0,14 0 15,-13 0-15,13 0 0,0 0 16,-14-13-16,14 13 0,-13 0 15,0 0-15,13 0 0,-14 0 0,14 0 0,-13 0 16,13-13-16,-14 13 0,1 0 16,13 0-16,-13 0 0,39 0 15,-39 0-15,-1 0 0,-12 0 16,52-14-16,-52 14 0,12 0 16,1 0-16,-13 0 0,-1 0 15,14 0-15,-14 0 0,1 0 0,12 0 16,-12 0-16,-1 0 0,1-13 0,-1 13 15,1 0-15,-14 0 0,13 0 0,1 0 16,-14 0-16,0 0 0,14 0 16,-14 0-16,13 0 0,-12 0 0,12 0 15,-13 0-15,1 0 0,25 0 16,-26 0-16,27 0 16,-27 0-16,14 0 0,-14 0 15,14 0-15,-1 0 0,-13 0 16,0 0-16,1 0 0,-1 0 0,0 0 15,0-13-15,1 13 0,-1 0 16,0 0-16,0 0 0,14 0 16,-27-13-16,13 13 0,0 0 0,0 0 15,1-13-15,-1-1 16,0 14 0,53-92 15,-53 78-16,1-25-15,-1-1 16,0-26 0,0 26-16,14-26 0,-1-13 15,1-1-15,-14 41 16,0-1-16,14-39 0,-14 12 16,0 1-1,-13 53-15,13 0 0,-13-14 16,0 14-16,0 0 15,14-14-15,-14 14 16,0 0 0,0 0-1,0 0 1,0-1 0,-14 14-1,1 0 1,-13 0-1,12 0-15,1-13 0,0 13 16,0 0-16,-27 0 0,27 0 16,-14 0-16,1 0 0,-1 0 15,1 0-15,-40 0 16,39 0-16,-12 0 0,-14 0 0,0 0 16,13 0-16,-13 0 0,0 0 0,14 0 15,-14 0-15,13 0 0,-13 0 16,13 13-16,-12-13 0,12 0 0,-13 0 15,0 0-15,0 0 0,0 0 0,-53 14 16,40-14-16,13 0 0,0 0 16,0 0-16,-79 13 15,79-13-15,-26 0 0,26 0 16,-13 0-16,13 0 0,-13 0 0,0 0 16,13 0-16,-27 0 0,1 0 0,0 0 15,12 0-15,-12 13 0,13-13 16,-66 0-16,79 0 0,-13 0 0,-1 0 15,-65 0-15,66 0 16,13 0-16,-13 0 0,0 0 16,13 0-16,-53 0 0,40 0 15,13 0-15,0 0 0,0 0 0,0 0 16,0 0-16,0 0 0,0 0 0,14 0 16,-1 0-16,-39 13 15,52-13-15,-12 0 0,-28 0 16,41 0-16,-40 0 0,26 0 15,14 0-15,-1 0 0,1 0 16,-1 0-16,14 0 0,-40 0 16,40 0-16,0 0 0,-1 0 15,-12 0-15,13 0 0,0 0 0,-1 0 16,1 0-16,0 13 16,0-13-16,-1 0 15,1 0-15,0 0 16,0 0-16,-1 0 15,14 14 1,-13-14 0,0 0-1,0 0 1,0-14 0,-1 14-1,1 0-15,0 0 16,0 0-16,-1 0 15,1 0-15,0 0 16,0 0-16,0-13 0,-1 26 16,1-13-16,0 0 0,0 0 15,-1 0-15,1 0 0,-13 0 16,12 0-16,1 0 0,0 0 16,0 0-16,0 0 0,-14 0 15,14 0-15,0 0 0,-1 0 16,1 0-16,-27 0 0,27 0 0,0 14 15,-13-14-15,-1 0 16,14 0-16,0 0 0,-1 0 0,1 0 16,0 0-16,0 0 15,-1 0-15,-12 0 0,13 0 16,0 0-16,-14 0 16,14 0-1,0 0 1,-1 0-16,1 0 15,0 0 1,0 0 15,-1 0-15,1-14 0,0 14-1,0 0 1,0 0 31,-1 0-32,1 0 1,13-13 0,-13 13-1,0 0-15,-14 0 16,14 0-1,-13 0-15,12 0 0,1 0 16,0 0-16,-14 0 16,14 0-16,0 0 0,-14 0 15,1 0-15,13 0 0,-14 0 16,14 0-16,0 0 16,0 0-16,-1 0 0,1 0 0,0 0 0,0 0 15,-1 0-15,1 0 0,0 0 16,0 0-16,0 0 15,-1 13-15,1-13 16,0 0 0,0 0-1,-1 0 1,1 0 0,0 0-1,0 0 1,0 0-1,-1 0 32,1 14-15,13-28 249,13 1-266</inkml:trace>
  <inkml:trace contextRef="#ctx0" brushRef="#br0" timeOffset="72186.61">18018 9499 0,'13'52'32,"-13"-38"-32,0 12 15,-13-13-15,13 1 0,0 12 16,0-13-16,0 1 0,-13-1 0,13 13 16,0-13-16,0 1 0,0-1 0,0 0 15,0 0-15,-13 1 0,26-1 16</inkml:trace>
  <inkml:trace contextRef="#ctx0" brushRef="#br0" timeOffset="72509.06">18217 9578 0,'0'0'0,"-27"26"31,27-12-16,0-1-15,0 0 0,0 0 16,0 1-16,13-1 16,-13 0-16,14-13 0,-14 13 0,13-13 15,13 0-15,-13 0 16,1 0-16,-1 0 0,0 0 16,0-13-16,1 0 0,-14 0 15,13-1-15,-13-12 0,0 13 16,0-1-16,0-12 0,-13 13 15,13-1-15,-14 1 0,14 0 16,-13 13-16,0-13 0,0 13 16,-1 0-16,-12 13 15,13-13-15,13 13 0,-13-13 16,13 13-16,-14 1 16</inkml:trace>
  <inkml:trace contextRef="#ctx0" brushRef="#br0" timeOffset="72677.64">18680 9525 0,'26'-13'16,"-13"13"-16,0-13 0,14 26 31</inkml:trace>
  <inkml:trace contextRef="#ctx0" brushRef="#br0" timeOffset="72831.87">18613 9631 0,'-13'0'15,"26"13"16,14-13-31,-14 0 16,0 0-16,1 0 0</inkml:trace>
  <inkml:trace contextRef="#ctx0" brushRef="#br0" timeOffset="73026.1">19063 9432 0,'-13'14'47,"0"-1"-31,13 0-16,0 0 0,-13 1 0,-1 12 15,14-13-15,-13 0 16,13 1-16,0-1 0,0 0 16,0 0-16</inkml:trace>
  <inkml:trace contextRef="#ctx0" brushRef="#br0" timeOffset="73299.31">19209 9485 0,'0'0'0,"-13"27"31,13-14-31,-14-13 16,14 13-16,14 0 0,-14 1 15,13-14-15,-13 13 16,13-13-16,0 0 0,0 0 15,-13-13-15,14 13 16,-14-14-16,0 1 0,13 13 16,-13-13-16,0 0 0,0 0 0,0-1 15,-13 1-15,13 0 16,0 0-16,-14 13 16,14-14-16</inkml:trace>
  <inkml:trace contextRef="#ctx0" brushRef="#br0" timeOffset="73476.19">19619 9406 0,'13'-13'0,"0"13"16,1 0-16,-1 0 15,0 0-15,0 0 16</inkml:trace>
  <inkml:trace contextRef="#ctx0" brushRef="#br0" timeOffset="73609.85">19579 9512 0,'13'13'15,"-26"-26"-15,40 26 0,-14-13 16,0 0 0,0 0-16,1 0 0,-1-13 15</inkml:trace>
  <inkml:trace contextRef="#ctx0" brushRef="#br0" timeOffset="73849.48">20122 9300 0,'0'-13'0,"0"39"32,0-12-17,0-1-15,-14 0 0,14 0 16,-13 0-16,13 1 15,-13-1-15,0 27 32</inkml:trace>
  <inkml:trace contextRef="#ctx0" brushRef="#br0" timeOffset="74137.34">20267 9340 0,'0'26'32,"13"-13"-17,1-13-15,-14 14 16,13-14-16,0 0 0,0 0 16,0 0-16,14 0 0,-14-14 15,0 1-15,1 0 16,-1 0-16,-13 0 15,0-1-15,0 1 0,0 0 16,-13 13-16,13-13 0,-14 13 16,-12-14-16,-1 14 15,14 0-15,0 14 0,0-14 16,0 0-16,13 13 0,-14-13 0</inkml:trace>
  <inkml:trace contextRef="#ctx0" brushRef="#br0" timeOffset="75309.56">18018 10120 0,'-13'0'0,"0"0"15,-1 14-15,-12-14 0,13 26 16,0-26-16,-14 40 31,27-27-31,13 0 16,1-13-16,-1 0 16,-13-13-16,13 13 15,0-13-15,0-1 0,1 1 16,-1 0-16,0 0 15,0 0 1,1 26 0,-14 0-1,0 0-15,0 0 0,-14 1 0,14-1 16,0 0-16,0 0 0,-13 1 16,13-1-16,0 0 0,-13 0 15,13 1-15,0-1 16,13 0-16</inkml:trace>
  <inkml:trace contextRef="#ctx0" brushRef="#br0" timeOffset="75448.27">18164 10253 0,'0'-14'15</inkml:trace>
  <inkml:trace contextRef="#ctx0" brushRef="#br0" timeOffset="75754.12">18322 10147 0,'14'0'0,"-1"0"0,13 13 31,-12 0-31,-14 0 16,13 1-16,-13-1 0,13 0 15,-13 0-15,0 1 0,0-1 16,0 0-16,0 0 16,0 1-16,0-1 0,0 0 15,0 0-15,0 0 16</inkml:trace>
  <inkml:trace contextRef="#ctx0" brushRef="#br0" timeOffset="75928.97">18296 10345 0,'0'13'15,"0"-26"-15,26 0 16,41 0 0,-54 13-16,0 0 15,27 0-15,-27-13 16,27 13-16</inkml:trace>
  <inkml:trace contextRef="#ctx0" brushRef="#br0" timeOffset="76639.25">19156 10054 0,'-27'0'16,"14"0"-16,0 0 16,0 13-16,-14 14 15,14-14-15,-13 66 31,26-65-31,13-14 16,0 13-16,0-13 16,0-13-16,1 13 0,12 0 15,-13-14-15,14 1 0,-14 0 16,0 13-16,14-13 0,-14 0 16,0 13-1,-13 13-15,13 0 16,-13 0-16,0 14 15,0-14 1,-13-13-16,13 13 0,0 0 16,0 1-16,0-1 0,-13 0 15,13 0-15,0 1 16</inkml:trace>
  <inkml:trace contextRef="#ctx0" brushRef="#br0" timeOffset="76805.56">19381 10213 0,'0'-13'15</inkml:trace>
  <inkml:trace contextRef="#ctx0" brushRef="#br0" timeOffset="77152.52">19592 10067 0,'-13'0'0,"26"0"0,-39 0 0,13 14 0,-1-14 16,1 13-16,0-13 0,0 0 16,13 13-16,-13 0 15,13 1-15,0-1 16,13-13-16,0 0 16,13 0-16,-12 0 15,-1-13-15,0 13 16,67 79 31,-80-66-47,0 0 0,0 1 15,52 12 17</inkml:trace>
  <inkml:trace contextRef="#ctx0" brushRef="#br0" timeOffset="78081.28">20413 9962 0,'0'39'31,"0"-26"-31,0 1 16,0 12-16,-14-13 0,14 1 15,0 12-15,-13-13 0,13 1 0,0-1 16,0 0-16,0 0 0,0 0 0,-13 1 15,26-1-15,-13 0 16</inkml:trace>
  <inkml:trace contextRef="#ctx0" brushRef="#br0" timeOffset="78375.47">20598 10028 0,'0'0'0,"-27"26"16,27-13-1,-13 1-15,13-1 16,0 0-16,0 0 0,0 1 0,0-1 16,13 0-16,1 0 15,-1 0-15,0 1 16,0-14-16,1 0 0,-1 0 16,0 0-16,0-14 15,0 1-15,1 0 0,-14 0 16,0 0-16,0-1 15,-14 1-15,14 0 16,-13 13-16,0-13 0,0 13 16,0-14-16,-1 14 0,1 14 15,0-14-15</inkml:trace>
  <inkml:trace contextRef="#ctx0" brushRef="#br0" timeOffset="78488.14">20836 10094 0,'0'0'0</inkml:trace>
  <inkml:trace contextRef="#ctx0" brushRef="#br0" timeOffset="78780.14">21008 10014 0,'13'0'0,"0"0"15,-13 14 17,0-1-32,-13 0 0,13 0 15,-13 1-15,13-1 0,-13-13 0,13 13 16,0 0-16,0 1 0,0-1 15,0 0-15,0 0 0,13-13 16,-13 13-16,13-13 0,0 0 16,1 0-16,-1 14 15,0-14-15,0 0 0,1 0 32,-41 26-17</inkml:trace>
  <inkml:trace contextRef="#ctx0" brushRef="#br0" timeOffset="87012.5">18177 9988 0,'-13'0'0,"-1"0"0,14-13 15,-52 26 1,38-13-16,-12 0 16,13 0-16,-1 13 0,-12-13 0,-14 13 15,14 14-15,-1-14 0,-12 14 16,12-14-16,-13 13 0,14 1 16,-14-1-16,14 1 0,-1-1 0,1 1 15,-1-1-15,-12 14 0,26-14 16,-1-13-16,14 14 0,-13-1 15,13-12-15,0 12 0,27 1 16,-14-14-16,13 13 0,40 14 16,-26-27-16,0 0 15,13 1-15,-14-1 0,14-13 0,-13 13 16,13 0-16,0 0 0,0-13 0,0 14 16,13-14-16,0 13 0,-13-13 15,0 13-15,0-13 0,0 0 16,0 13-16,13-13 0,-13 0 0,-1 0 15,1 0-15,0 0 0,0 0 0,0 0 16,0 0-16,0 0 0,0-13 16,-13 13-16,39 0 0,-26-13 15,-13 13-15,-1 0 0,1 0 0,13-13 16,-13 13-16,-1 0 0,14-14 16,-13 14-16,0-13 0,52 13 15,1-13-15,-54 13 0,1-13 16,0 13-16,13 0 0,-14 0 15,14 0-15,0-13 0,0 13 16,0 0-16,0 0 0,13 0 0,-13 13 0,0-13 16,-13 0-16,13 0 0,0 0 15,-1 0-15,1 0 0,-13 0 16,13 13-16,0-13 0,0 0 0,-14 0 16,54 0-16,-53 0 0,-14 0 15,27 0-15,-13 0 0,-14 0 16,14 0-16,-14 0 0,14-13 0,-13 13 15,-1 0-15,0 0 0,1 0 0,-1-13 16,-12 13-16,12-14 0,-13 14 16,14-13-16,-14 13 0,0-13 15,0 13-15,14-13 0,-1-1 16,-26 1-16,14 0 0,12 0 16,-13 0-16,1-1 0,-14 1 15,13 0-15,-13 0 0,13-1 16,-13 1-16,13 0 15,-13 0-15,0-1 0,0 1 16,0-13-16,0 13 16,0-14-16,0 14 0,0 0 0,0-1 15,-13-12-15,13 13 0,-13-14 16,0 14-16,-1-13 0,1-1 16,-13 1-16,-14-14 0,0 13 15,1 1-15,-1 0 0,-40-14 0,-25-13 16,52 40-16,0-14 15,-53 1-15,53-1 16,0 14-16,13 0 0,-65 0 16,52-1-16,0 1 0,0 0 15,0 13-15,0-13 0,0 13 16,0-13-16,0 13 0,0 0 0,0-14 0,1 14 16,12 0-16,-13 0 0,-40 0 15,54 0-15,-14 0 0,0 0 16,26 0-16,-12 0 0,-27 0 15,26 14-15,13-14 0,-39 0 16,40 0-16,-14 0 0,14 0 16,-1 13-16,1-13 0,12 0 15,-38 0-15,38 0 0,-12 0 16,-1 13-16,1-13 0,13 0 16,0 0-16,-1 0 0,-12 0 15,13 0-15,-1 0 0,1 0 16,0 13-16,-27-13 0,27 0 0,0 0 15,-14 0-15,1 13 0,13-13 16,-27 0-16,27 0 0,-14 14 16,-12-14-16,12 0 15,1 13-15,12-13 16,-25 0-16,12 0 16,14 0-16,0 0 0,-27 13 15,0-13-15,1 13 16,25-13-16,-25 14 15,12-14-15,-78 26 16,25 0 0,-52 1-16,79-14 15,-79 27 1,79-27-16</inkml:trace>
  <inkml:trace contextRef="#ctx0" brushRef="#br0" timeOffset="92601.58">11867 11020 0,'0'0'0,"39"0"32,-12 0-32,12 0 0,14 0 15,0 0-15,27-13 0,12 13 0,1 0 16,13 0-16,-1 0 0,41 0 15,-14-14-15,1 14 0,12 0 16,-13 0-16,1-13 0,-14 13 0,-13 0 16,-1 0-16,-12-13 0,13 13 15,-14 0-15,-12 0 0,92-13 16,-93 13-16,1-13 0,-28 13 0,15 0 16,-28-14-16,14 14 0,0 0 0,-26 0 15,-1 0-15,1 0 0,-14-13 16,0 13-16,0 0 0,0 0 0,1 0 15,-54 0 1,27 0 0,-14 0-16</inkml:trace>
  <inkml:trace contextRef="#ctx0" brushRef="#br0" timeOffset="93008.02">13018 11126 0,'-14'0'16,"28"0"-16,25 0 15,1 0-15,26-14 0,0 14 16,14-13-16,12 13 0,1-13 16,-1 13-16,14-13 0,-13 13 0,105-13 15,-92 13-15,-13 0 0,-1-14 16,1 14-16,-1 0 0,67-13 15,-79 13-15,-1 0 0,-13 0 16,0 0-16,0-13 0,-13 13 0,0 0 16,0 0-16,-13 0 0,0 0 15,-1 0-15,-12 13 0,-1-13 0,1 0 16,12 0-16,-12 0 0,-14 0 16,0 0-16,0 0 0,1 0 15,-1 0-15,0 0 0,0 0 16,1 0-16,-41-26 47,14 12-32,0 14-15,-14-13 16,14 0-16,-13 0 0</inkml:trace>
  <inkml:trace contextRef="#ctx0" brushRef="#br0" timeOffset="95307.8">7250 9155 0,'-14'13'15,"14"0"1,0 0-16,0 1 0,0-1 16,0 0-16,-13-13 0,13 13 15,0 0-15,0 1 0,0-1 16,0 0-16,0 14 0,0-1 15,0-13-15,0 0 0,0 27 16,0-13-16,-13-14 16,13 13-16,0-12 0,0 25 15,-13-26-15,13 14 0,0-1 16,-14-12-16,14-1 0,0 0 16,0 0-16,0 1 0,0-1 0,0 0 15,0 0-15,-13 0 0,13 14 16,0-14-16,0 0 0,0 1 0,0-1 15,0 0-15,0 0 0,0 0 16,0 1-16,0-1 0,-13-13 16,13 26-16,0-12 0,0-1 15,0 0 1,0 0-16,0 1 0,0-1 16,0 0-16,0 0 15,0 0-15,0 1 16,0-1-16,0 0 0,-13 0 15,13 1-15,0-1 16,0 0-16,0 14 16,0-14-16,0 0 15,0 0-15,0 0 16,0 1-16,0-1 0,0 0 16,0 0-16,0 1 15,0-1-15,13-13 0,-13 26 16,0-12-16,0-1 15,13 0 1,-13 0-16,0 0 16,0 1-16,0-1 0,13 0 15,-13 0-15,0 1 16,0-1-16,0 0 16,0 0-16,14 1 0,-14-1 15,0 0-15,0 0 0,0 0 16,0 1-16,0-1 15,13 0-15,-13 0 0,0 1 16,0-1-16,0 0 16,0 0-16,0 0 0,0 1 15,0-1-15,0 0 0,0 14 16,13-14-16,-13 0 0,0 0 0,0 1 16,0-1-16,0 13 0,0-13 15,0 1-15,0 12 0,-13-13 0,13 14 16,0-14-16,0 14 0,0-14 0,0 66 31,0-26-31,13-40 0,-13 14 16,0 26-16,0-14 15,0 14-15,13-13 16,-13-14-16,14 27 16,-14 0-16,0 0 15,0-26-15,0 26 16,0-27-16,0 27 0,0-40 15,0 40-15,0-13 16,0-14-16,0 1 0,0-14 16,0 13-16,0-12 0,-14 25 15,14 1 1,0 0-16,0-1 0,-13-12 16,13-14-16,0 27 15,0-27-15,0 0 0,0 0 16,0 14-16,0-14 0,-13 27 15,13-14-15,0-13 16,0 1-16,0-1 0,0 0 0,0 14 16,0-14-16,-13 13 15,13 1-15,0-14 0,0 0 0,0 0 16,0 1-16,0 12 0,0-13 16,0 1-16,0-1 0,0 0 15,0 0-15,0 0 0,0 1 16,0-1-16,0 0 15,0 0 1,0 1 0,0-1-1,-14-40 32,1 27-47,13-13 16,0 0-16,-13-14 0</inkml:trace>
  <inkml:trace contextRef="#ctx0" brushRef="#br0" timeOffset="100325.28">8520 11655 0,'-14'-13'47,"1"13"-47,13-14 0,-26 1 15,12 13-15,1-13 0,0 0 0,-13 0 16,-1-1-16,1 1 0,-1 0 16,-13 0-16,1-1 0,-27-12 15,39 26-15,-13-13 0,1 13 0,12 0 16,-12 0-16,12 0 0,-12 0 16,-1 0-16,0 13 0,0 0 15,1 0-15,12 14 0,-12-1 0,-1 1 16,-39 39-16,39-26 0,-13 39 15,26-26-15,14-27 16,0 14-16,0 0 0,13-1 0,-13 1 16,26 53-16,-13-54 0,13 1 15,0 0-15,0-14 0,40 40 16,-26-26-16,-1-14 0,14 1 16,26 13-16,-13-14 15,-13-13-15,52 14 0,-39-27 16,0 0-16,-13 13 0,13-13 0,0-13 15,-14 13-15,14-13 0,-13-1 16,13 14-16,-13-13 0,13 0 16,-1-14-16,-12 14 0,0 0 0,13-14 15,-27 14-15,14-13 0,0 13 0,-1-14 16,-12 1-16,12-1 0,-12 14 0,-1-13 16,1-1-16,-1 14 0,-13-14 15,14 1-15,-14 13 0,0-14 16,14-12-16,-14-1 0,-13 13 15,13 1-15,-13-1 0,-13 1 16,13 0-16,-13-14 0,0 13 16,-27-39-16,13 40 0,1-1 15,13 1-15,-53-14 0,39 14 16,-26-1-16,27 14 16,-1-13-16,1 26 0,-1-14 0,1 1 15,-1 13-15,1-13 0,0 13 16,-1 0-16,14 0 0,-14 0 0,14 0 15,-13 0-15,-1 0 0,14 0 16,0 0-16</inkml:trace>
  <inkml:trace contextRef="#ctx0" brushRef="#br0" timeOffset="101805.93">6548 11655 0,'-39'-40'0,"39"27"16,-13 13-16,-1-13 0,1 13 15,0-13-15,-14-1 0,14 1 0,-53-13 16,40 12-16,-67 1 16,53 0-16,1 13 0,-14-13 0,13 13 15,-13 0-15,13-14 0,1 14 0,-1 0 16,-13 14-16,13-14 0,1 13 16,-14 0-16,13 0 0,-13 1 15,13 12-15,-12 1 0,12 12 0,-13 1 16,13 0-16,1-1 0,-1 1 0,0 13 15,1 0-15,12 0 0,-26 53 16,27-40-16,12-13 16,1 52-16,13-65 0,0 13 0,13-13 15,1 13-15,12-14 16,1 1-16,39 39 0,-13-39 16,26 13-16,-26-27 0,40 14 15,-41-27-15,15 1 0,-14-14 16,66 0-16,-53 0 15,0-14-15,0 1 0,0 0 0,14 0 16,-28-14-16,15 1 0,-14-1 0,13 1 16,-13-14-16,-14 14 0,14-1 15,40-52-15,-14-1 16,-52 41-16,12-1 0,-12 0 0,26-26 16,-40 40-1,13-14-15,-12 0 0,-1 14 0,-13-14 0,13-39 16,-13 52-16,-13-52 15,0 39-15,-14 14 0,-26-53 16,14 52-16,-1-13 0,0 14 16,-66-40-16,53 39 15,-132-26-15,119 53 16,0-13-16,13 13 0,-13-13 16,13 26-16,-66 0 0,66 1 15,-13-1-15,-27 27 0,54-14 16,-1-13-16,0 14 0</inkml:trace>
  <inkml:trace contextRef="#ctx0" brushRef="#br0" timeOffset="103184.52">1191 10226 0,'13'27'16,"0"39"0,-13-53-16,0 27 15,0-14-15,0-13 0,13 14 16,-13-14-16,0 14 0,0-14 0,0 13 16,0-13-16,0 1 0,14-1 15,-14 0-15,0 0 0,0 1 0,0-1 16,13 0-16</inkml:trace>
  <inkml:trace contextRef="#ctx0" brushRef="#br0" timeOffset="103528.09">1349 10253 0,'-13'0'0,"26"0"0,-13 26 31,0-13-31,14 1 16,-1-1-16,0 13 0,0-13 16,1 1-16,-1-1 0,26 0 15,-25 0-15,-1-13 0,13 14 16,-12-14-16,12 0 16,-26-14-16,13 14 15,-13-13-15,0 0 0,0 0 16,0-1-16,0 1 0,-13 0 15,0 0-15,13 0 16,-13 13-16,-1-14 0,1 14 0,0-13 16,-14 0-16,14 13 15,0 0 1,0 0-16</inkml:trace>
  <inkml:trace contextRef="#ctx0" brushRef="#br0" timeOffset="103818.11">1521 10200 0,'27'13'32,"-14"0"-32,40 27 31,-40-40-31,14 13 16,-14-13-16,0 0 15,0 0-15,1 0 0,-1 0 0,0-13 16,0 13-16,-13-13 0,13-1 15,1 1-15,-14 0 0,0 0 16,0-14-16,0 14 0,0 0 16,-14-14-16,1 14 0,0 0 15,0 0-15,0 13 0,-1 0 16,-12 0-16,13 0 0,-1 13 16,-12-13-16,-14 26 0,27 1 15,-27 12-15,40-25 0,-13-1 16,13 0-16,0 0 15,-13 1-15,13-1 0</inkml:trace>
  <inkml:trace contextRef="#ctx0" brushRef="#br0" timeOffset="105072.42">4710 10570 0,'26'-13'16,"-13"13"-16,-13-13 16,13 13-16,1 0 0,-1-14 15,-40 41 16,14-27-15,-13 13-16,13 0 0,-1-13 16,14 14-16,-13-14 0,13 13 15,-13-13-15,13 13 0,0 0 16,0 0 0,13-13-16,0 0 15,1 0-15,-1 14 0,0-14 16,0 0-16,0 13 0,1-13 15,-1 0 1,0 13-16,-13 0 16,-13 1-16,13-1 15,-13 0-15,-1-13 0,1 13 16,0 1-16,0-1 0,0 0 0,-1-13 16,1 13-16,0 0 0,0-13 15,13 14-15,-14-14 0,28-14 31,-14 1-31,13 0 0,0 0 0</inkml:trace>
  <inkml:trace contextRef="#ctx0" brushRef="#br0" timeOffset="105410.31">4868 10583 0,'14'-13'0,"-54"53"0,66-67 0,-26 41 47,0-1-47,0 0 15,0 0-15,14 0 0,-14 1 16,13-1-16,0 0 16,0-13-16,0 13 15,1-13-15,-1-13 0,0 13 16,0 0-16,1-13 0,12 13 0,-13-13 16,27-14-16,-27 14 15,-13 0-15,13 0 16,-13-1-16,-13 1 15,13 0-15,-13 13 0,0-13 16,0 13-16,-1 0 0,1 0 16,0 0-16,0 0 15,-1 13-15,1-13 0,0 13 0,0-13 16,-1 13-16,1-13 0,13 14 16,-13-1-16</inkml:trace>
  <inkml:trace contextRef="#ctx0" brushRef="#br0" timeOffset="105615.46">5292 10372 0,'13'-14'32,"-26"28"-32,26-14 0,-13 13 0,0 13 15,0 1 1,-13 13-16,13-27 15,0 13-15,-14-13 0,14 14 0,-39 92 32,26-106-17,13 0-15</inkml:trace>
  <inkml:trace contextRef="#ctx0" brushRef="#br0" timeOffset="105772.27">5093 10478 0,'0'-14'15,"-13"14"-15</inkml:trace>
  <inkml:trace contextRef="#ctx0" brushRef="#br0" timeOffset="105930.54">5411 10530 0</inkml:trace>
  <inkml:trace contextRef="#ctx0" brushRef="#br0" timeOffset="107036.45">6707 12898 0,'13'14'0,"-65"-14"31,38 13-31,-12-13 0,13 0 16,-14 0-16,-13 0 0,14 0 15,-14 0-15,14 13 0,-14-13 0,0 0 16,1 0-16,-1 0 0,0 0 16,14 0-16,-14 0 0,14 0 0,-14 0 15,14 0-15,-1 0 0,1 0 16,-1 0-16,14 0 0,-13 0 0,-1 0 15,14 0-15,-14 0 0,14 0 0,0 0 16,0-13-16,0 13 0,-1 0 16,1 0-16,0 0 0,0 13 15,-1-13-15,1 0 0,0 0 16,13 13 0,-13-13-16</inkml:trace>
  <inkml:trace contextRef="#ctx0" brushRef="#br0" timeOffset="107353.18">5900 12846 0,'-13'-14'0,"0"14"0,0 0 15,-1 0-15,1 14 0,-27-1 16,14-13-16,-14 13 0,-26 27 15,40-27-15,-14 13 0,13-12 16,-12 12-16,12-13 0,-26 27 16,27-27-16,13 0 0,-14 14 15,14-14-15,13 0 0,-13 1 16,13-1-16,13 0 0,-13 0 16,13-13-16,1 13 0,-1 1 0,13-1 15,-13 0-15,14 0 0,-1-13 0,1 14 16,26-1-16,-27-13 15,1 0-15,-14 0 0,13 0 0,1 0 16,12 0-16,-12-13 0,13-1 0,-1 1 16,1 0-16,0 0 0</inkml:trace>
  <inkml:trace contextRef="#ctx0" brushRef="#br0" timeOffset="108174.53">8692 10557 0,'0'0'16,"-27"13"-1,14-13-15,-14 13 16,14-13-16,-13 14 0,12-1 0,-12 0 16,13-13-16,0 13 15,-1-13-15,14 13 0,-13-13 16,13 14-16,13-1 0,1-13 16,-1 0-16,0 0 0,0 13 15,0-13-15,14 0 0,-14 0 16,0 0-16,1 13 0,-1-13 15,0 0-15,-13 14 0,13-14 0,-13 13 16,-13 0 0,13 0-16,-13-13 15,0 14-15,-1-1 0,1 0 0,0-13 16,0 13-16,-1-13 0,1 13 16,0-13-16,0 14 0,26-41 31</inkml:trace>
  <inkml:trace contextRef="#ctx0" brushRef="#br0" timeOffset="108470.93">8824 10583 0,'0'0'16,"0"14"0,0-1-16,0 0 0,0 0 15,0 0-15,13 1 16,-13-1-16,0 0 0,13 0 0,1 1 15,-1-1 1,0-13-16,0 0 16,0-13-16,1 13 0,-14-14 15,13 14-15,-13-13 16,0 0-16,0 0 0,0-1 16,0 1-16,0 0 0,-13 0 0,13 0 15,-14 13-15,14-14 0,-13 14 16,13-13-16,-13 13 0,0 0 15,0 0-15,-1 13 0,1 1 0,0-1 16,0 13-16,-14 1 0,1-1 16,12 1-16</inkml:trace>
  <inkml:trace contextRef="#ctx0" brushRef="#br0" timeOffset="109060.4">7713 12449 0,'13'13'15,"0"-13"-15,0 0 16,14 0-16,-14 0 0,13 0 16,1 13-16,13-13 0,-14 0 0,14 0 15,-14 0-15,14 0 0,-14 13 16,14-13-16,-14-13 0,14 13 0,-13 0 15,12 0-15,1 0 0,0 0 16,-1 0-16,-12-13 0,-1 13 0,1 0 16,-1 0-16,-13 0 0,14 0 0,-14 0 15,0-13-15,1 13 0,-1 0 16,0 0-16,0 0 16,0 0-16,1 0 0,-1-14 15</inkml:trace>
  <inkml:trace contextRef="#ctx0" brushRef="#br0" timeOffset="109401.68">8533 12316 0,'26'0'32,"-13"0"-17,1 14-15,12-14 0,-13 0 16,14 0-16,-1 13 0,1-13 0,-1 0 16,-13 13-16,14-13 0,-1 0 15,1 13-15,-14-13 0,14 13 0,-14-13 16,13 14-16,-13-14 0,1 13 0,-1 0 15,0 0-15,0 1 0,-13-1 16,14 0-16,-14 0 0,-14 14 0,1 12 16,0-12-16,-14 26 0,-12-13 0,-1 12 15,-13-12-15,0 0 0,14 13 16,-14-14-16,0 1 0,13-13 0,0 12 16,1-12-16,-14 26 15</inkml:trace>
  <inkml:trace contextRef="#ctx0" brushRef="#br0" timeOffset="112193.54">9393 10411 0,'-14'-13'16,"-12"26"15,13 1-31,0-1 16,-14 0-16,14 0 0,-14 14 0,1-14 15,0 13-15,-1 1 0,1-14 0,-1 14 16,1-1-16,-1-13 0,1 0 15,13 1-15,-1-1 0</inkml:trace>
  <inkml:trace contextRef="#ctx0" brushRef="#br0" timeOffset="112315.81">9088 10530 0,'14'-13'0</inkml:trace>
  <inkml:trace contextRef="#ctx0" brushRef="#br0" timeOffset="112433.85">9419 10610 0,'13'0'0,"1"0"15</inkml:trace>
  <inkml:trace contextRef="#ctx0" brushRef="#br0" timeOffset="116457.5">7078 13004 0,'-14'0'0,"-12"0"16,13 14 0,-1-1-16,1 13 15,13-13-15,-13 1 0,13-1 16,0 13-16,-13-12 0,13 25 15,0-26-15,0 1 0,13 12 16,0 1-16,-13-14 16,13 0-16,1 0 0,-1-13 0,-13 14 15,13-14-15,0 13 0,1-13 0,-1 0 16,13-13-16,1 13 0,-14-14 16,0 14-16,0-13 0,1 0 15,12 0-15,-13-1 0,-13-12 16,14 13-16,-1-1 0,-13 1 0,13 0 0,-13 0 15,0 0-15,0-1 0,13 1 16,-26 0-16,13 0 0,0-1 16,-13 14-16,13-13 0,-13 13 15,-1-13 1,1 26 0,13 0-16,0 1 15,0-1-15,0 0 16,0 0-16,13 1 0,-13-1 15,14 0-15,-14 0 0,13 0 16,0 1 0,0-1-1,0-13-15,1 0 16,-1 0 0,0 0-16,-13-13 15,13 13-15,1-14 16,-1 14-1,0 0 17,0 0-32,1 0 15,-1 14 1,0-14 0,0 0-1,-13 13-15,13-13 16,1 0-16,-1 0 15,0 0-15,0 0 16,1-13 0,-1-1-16,-13 1 0,13 0 15,-13 0-15,0 0 0,13-1 0,-13-12 16,0-14-16,0 14 16,0-1-16,0 1 0,0-1 0,0 1 15,0-1-15,0 14 0,0 0 16,0-13-16,0 12 0,0 1 0,0 0 15,0 53 17,0-27-32,0 13 0,0-13 0,0 14 15,14-14-15,-14 14 16,0-14-16,0 0 0,13 27 16,0-27-16,-13 0 0,13 14 15,-13-14-15,13-13 0,-13 13 16,14 0-16,-1-13 15,0 0 1,0 0 0,-13 14-16,14-14 15,-1 0-15,0 0 16,0 13-16,1-13 31,-1 0-31,-13-13 16,0-1-1,0 1-15,-13 0 16</inkml:trace>
  <inkml:trace contextRef="#ctx0" brushRef="#br0" timeOffset="116840.06">7514 13004 0,'-13'-13'16,"26"13"-16,0-13 15,1 13-15,-1 0 16,0-13-16,0 13 0,1 0 0,-1 0 16,0 0-16,13 0 0,-12 0 15,12 13-15,-13-13 0,1 13 16,-1-13-16,0 13 0,0-13 16,1 14-16,-1 12 15,0-13-15,66-66 141</inkml:trace>
  <inkml:trace contextRef="#ctx0" brushRef="#br0" timeOffset="116947.05">8057 13004 0,'0'0'47,"-27"-13"-32</inkml:trace>
</inkml:ink>
</file>

<file path=ppt/ink/ink18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3:09:07.438"/>
    </inkml:context>
    <inkml:brush xml:id="br0">
      <inkml:brushProperty name="width" value="0.05292" units="cm"/>
      <inkml:brushProperty name="height" value="0.05292" units="cm"/>
      <inkml:brushProperty name="color" value="#FF0000"/>
    </inkml:brush>
    <inkml:brush xml:id="br1">
      <inkml:brushProperty name="width" value="0.05292" units="cm"/>
      <inkml:brushProperty name="height" value="0.05292" units="cm"/>
      <inkml:brushProperty name="color" value="#0070C0"/>
    </inkml:brush>
  </inkml:definitions>
  <inkml:trace contextRef="#ctx0" brushRef="#br0">847 1217 0,'53'13'109,"26"1"-109,40 12 16,13-13-1,133 0-15,26-13 16,40 0-16,26 0 16,53 27-16,93-1 15,-173-12-15,-131-14 0,-27 0 16,-13 13-16,-14 0 15,-79-13 1,-26 0-16,-27 0 16,0 0-16,14 0 328,39 0-313,40 0-15,-40 0 16,40 0-16,-14 0 16,41-26-16,-27 26 15,13-14-15,-14 14 16,-12-13 0,-27 0-16,-39 0 0,-27-1 15,13 14-15,0-13 16,-13 0-16,13-13 15,1-1 1,-1 14-16,-13-14 16,0-12-16,0 25 15,13-25-15,-13-14 16,0 0 0,0-26-16,0-1 15,0 1-15,-13-1 16,0 41-16,-14-41 15,-13 1-15,27 26 16,-27-13-16,27 40 0,0-14 16,13 27-1,-26-27-15,26 27 16,-14-27-16,14 27 16,-26-14-16,26 14 15,0 0-15,-13 13 172,-67 0-172,27 0 16,-52 0-16,-1 0 15,-27 0-15,28 0 16,-41 0-16,1 0 16,-14-13-16,-53 13 15,40-14-15,27 14 16,-1-13-16,27 13 15,-27-26-15,54 12 16,-14 1-16,0 0 16,-53 13-16,40 0 15,14 0-15,25 0 16,1 0-16,-27 0 16,40 0-16,-14 0 15,14 0-15,-92 0 16,52 0-16,0 0 15,13 0 1,27 0-16,-40 0 16,14 0-16,-1 0 0,14 0 15,13 0-15,-14 0 16,14 0-16,-13 0 16,-27 0-1,40 0-15,-40 0 0,27 0 16,26 0-1,13 0-15,13 0 16,-12 0-16,-1 0 16,27 0-16,-14 0 15,1 0-15,-1 0 16,1 13-16,13-13 16,0 0-16,-1 0 15,-12 0-15,-1 0 16,1 0-1,-14 0-15,27 0 16,-13 0 0,12 0-16,1 0 15,0 0 1,13 13 0,-13-13-16,-14 0 15,27 14 1,-13-1 31,0-13-32,0 13-15,-1 0 16,14 1 15,-13-1-31,13 0 16,-13 14-16,13-1 15,-13 0-15,-1 1 16,14 13-16,0-14 16,-26-26-16,26 40 15,0-27-15,-27 13 16,27 1-16,-13 13 16,13-14-16,0 14 15,0-14-15,0 14 16,0 0-16,0-27 15,0 40-15,0-27 16,0 1 0,0-1-16,0-13 0,0 1 15,0-1-15,0 26 16,0-25-16,0 12 16,0-13-16,-13 14 15,13-1 1,0 1-16,0-14 15,0 0-15,0 0 16,0 1 0,0-1-16,0 0 15,0 0-15,0 14 16,0-14-16,13-13 16,0 26-16,1-26 15,-1 27 1,13-27-16,1 0 15,-1 26-15,1-12 16,-1-14-16,14 13 16,-14 0-16,14-13 15,-27 0 1,14 0-16,12 13 0,-12 1 16,26-1-16,13-13 15,13 0-15,-13 13 16,-39-13-16,-14 0 15,0 0-15,27 0 16,-27 0-16,14 0 16,-14 0 15,0 0 47,0 0-62,1 0-16,-1 0 15,0 0-15,0-13 16,14 13-16,-1 0 16,-13 0 15</inkml:trace>
  <inkml:trace contextRef="#ctx0" brushRef="#br1" timeOffset="19644.55">9671 2077 0,'-14'0'0,"1"-13"16,40 26 15,-14-13-31,13 0 16,-13 13-16,27-13 0,0 0 15,-1 13-15,14-13 0,0 14 0,-13-14 16,13 0-16,26 13 0,-13 0 0,1-13 15,12 13-15,-13-13 0,0 0 16,14 14-16,-14-14 0,0 13 0,0-13 16,-13 0-16,0 0 0,13 13 0,-13-13 15,13 0-15,-13 0 0,0 13 16,53-13-16,-53 0 16,39 0-16,-12 13 0,-41-13 15,-12 0-15,13 0 16,-14 0-16,0 0 0,14 0 0,-13 0 0,-1 0 15,1 0-15,-1 0 0,0 0 0,1 0 16,-1 0-16,1 0 16,-1 0-16,-13 0 0,40 0 15,-26 0-15,-1 0 0,-12 0 0,12 0 16,0 0-16,-12 0 16,12 0-16,-13 0 0,14 0 0,-14 0 0,14 0 15,-14 0-15,13 0 0,-13 0 16,27-13-16,-13 13 0,-14 0 15,13-13-15,-13 13 0,1 0 0,25-13 16,-25 13-16,12 0 16,1-13-16,-1 13 0,-13-14 15,0 14-15,1 0 0,-1 0 16,0-13-16,0 13 0,1 0 0,12 0 16,1-13-16,-1 0 15,0 13-15,-12-14 16,-1 14-16,80-66 47,-80 53-32,0-13-15,0-1 16,-13-65 15,-13 78-31,-13-12 16,-41-14 15</inkml:trace>
  <inkml:trace contextRef="#ctx0" brushRef="#br1" timeOffset="20772.34">18653 1455 0,'0'27'0,"0"-14"15,-13 13-15,0 14 0,-14 66 16,1-53-16,-1 53 0,1-53 16,13-1-16,-1-12 0,1 0 15,0 39-15,0-39 16,-1 13-16,14-27 0,0 1 15,-13-1-15,13 1 0,0-14 16,0 0-16,13 0 0</inkml:trace>
  <inkml:trace contextRef="#ctx0" brushRef="#br1" timeOffset="22196.33">18415 1363 0,'40'-14'16,"-14"14"-16,1 0 15,105 0-15,-66 0 16,13 0-16,1 14 16,12-14-16,-12 0 0,92 0 0,-80 0 15,107 13-15,-93-13 16,-14 0-16,107 13 0,-94-13 16,1 0-16,0 0 0,93 0 15,-94 0-15,81 0 16,-81 0-16,173 13 15,-185-13-15,66 0 16,-67 0-16,-12 0 0,78 14 16,107-14-1,-199 13-15,40-13 16,-40 0-16,291 13 47,-304-13-32,-26 0-15,-14 0 16,66 13 31,-66-13-31,1 13-16,-1-13 15,-13 14 1,13-14-16,0 0 15,14 13-15,-1-13 16,1 13 0,12-13-16,-12 0 0,-14 13 15,40-13-15,0 0 16,-13 14-16,-14-14 16,14 0-16,13 0 15,-27 0-15,1 0 0,-14 0 16,0 0-16,14 0 0,-1 0 15,14 0-15,-27 0 16,27 0-16,-27 0 16,0 0-16,-13-14 0,27 14 15,-14 0 1,0 0-16,0 14 16,0-14-1,-13 13 1,0 0-1,0 0-15,0 1 16,0-1-16,14-13 0,-14 39 16,0-25-16,0-1 0,13 40 15,13 0-15,-26-14 16,14-12-16,-1-1 16,0 14-16,14 0 0,-14-1 15,13 1-15,-26-27 16,13 14-16,1-14 15,-14 13-15,13-12 0,-13-1 16,0 0-16,0 0 16,-13 1-1,-1-1-15,1-13 16,0 0-16,-13 13 0,12-13 16,-12 0-16,-1 0 15,1 0-15,-1 13 0,1-13 0,0 0 0,-27 0 16,13 0-16,-66 13 0,53-13 15,0 0-15,-13 0 0,0 14 16,13-14-16,-26 0 0,-80 13 16,80-13-16,-1 0 0,1 0 0,-93 13 15,79-13 1,1 0-16,-14 0 0,0 0 0,-132-13 16,106 13-16,26 0 0,-27 0 15,-105-13-15,106-1 16,26 14-16,-26 0 0,26 0 0,13 0 15,-12 0-15,12 0 0,0 0 0,1 0 16,-80 14-16,92-14 16,1 0-16,-40 0 15,13 13-15,-13-13 16,13 13-16,14-13 16,39 0-16,-53 13 15,66-13-15,1 0 0,12 0 0,-39 0 16,53 0-16,-14 0 0,1 0 15,13 0-15,-27 0 16,13 14-16,1-14 16,13 0-16,-14 0 15,14 0 1,0 13-16,0-13 0,-14 13 16</inkml:trace>
  <inkml:trace contextRef="#ctx0" brushRef="#br1" timeOffset="23922.07">19394 4987 0,'0'-13'0,"-13"13"16,0 0-16,-1 0 16,1 13-16,0-13 0,0 14 15,-1 12-15,1-13 0,0 14 16,-14-1-16,14 1 0,13-1 15,-13-13-15,13 14 0,0-1 0,-13-12 16,26 12-16,-13-13 0,0 14 0,13-14 16,0 13-16,-13-12 0,14-1 15,-1 0-15,0 0 0,0-13 0,27 14 16,-27-1-16,1-13 0,-1 0 16,0 0-16,13-13 0,1 13 0,-14-14 15,14 14-15,-1-13 16,14-13-16,-27 12 0,13 1 15,1-13-15,-14-1 0,-13 14 16,13 0-16,-13-14 16,14 14-16,-14 0 0,0-14 0,0 1 15,-14 13-15,1-14 0,13 14 16,-13 0-16,0 0 0,-1-1 16,1 1-16,-13 0 0,12 13 0,1-13 15,0 13-15,-13-14 0,12 14 0,1 0 16,-13 0-16,12 0 0,1 0 15,0 0-15,0 0 0,-14 0 0,14 0 16,0 0-16,0 14 0,-1-1 16,28 0-1</inkml:trace>
  <inkml:trace contextRef="#ctx0" brushRef="#br1" timeOffset="24505.98">20518 5199 0,'40'0'47,"-13"13"-47,12-13 0,1 0 15,13 0-15,13 0 0,13 0 16,1 0-16,-1 0 0,14 0 0,-14 0 16,80 14-16,-67-14 0,1 0 15,-14 0-15,14 0 16,-14 0-16,1 13 0,-1-13 0,1 0 16,-14 13-16,-13-13 0,0 0 0,-1 0 15,1 0-15,0 0 0,-13 0 0,-14 13 16,1-13-16,-14 0 0,14 0 15,-1 0-15,-13 0 16,0 0-16,1 0 0,-1 0 0,0 0 16,0 0-1,-13-13-15,0 0 63,0 0-48</inkml:trace>
  <inkml:trace contextRef="#ctx0" brushRef="#br1" timeOffset="25608.18">22450 4987 0,'13'14'0,"0"-1"15,1-13 1,-1 0 15,0 0-31,-13 13 0,13-13 16,0 0-1,14 0-15,-14 13 16,0-13 0,1 0-16,-1 0 15,0 14-15,0-14 16,1 0 0,-1 0-16,0 13 31,0-13 0,0 0 78,1 0-93,-1 13 15,0-13-15,0 0 0,1 13 15,-1-13-16,0 13 17,-13 1 15,0-1-47,-13 0 15,13 0-15,-13 1 0,-1 12 16,-12 1-16,13-1 15,-14-13-15,1 14 0,-1-1 0,1 1 16,-27 12-16,40-25 0,-27 12 16,27-13-16,0 0 15,-14 1-15,14-1 16,0-13-16,-1 13 0,1-13 0,13 13 16,-13-13-16,26-13 31</inkml:trace>
  <inkml:trace contextRef="#ctx0" brushRef="#br1" timeOffset="26792.88">17806 5318 0,'27'-13'15,"-14"13"1,0 0-16,1 0 15,-1 0-15,0 0 0,0 0 0,1 0 16,-1 0-16,13 13 16,-13-13-16,1-13 15,-1 13-15,0 0 0</inkml:trace>
  <inkml:trace contextRef="#ctx0" brushRef="#br1" timeOffset="27056.16">18309 5106 0,'13'14'16,"-26"12"-16,13-13 15,-13 1-15,0 12 16,13-13-16,-14 14 0,1-1 0,13-13 15,-13 14-15,0-14 0,13 14 0,-13-1 16,13 1-16,-14-14 0,14 0 16,0 0-16,0 0 15,0 1-15,0-1 16,14-13-16</inkml:trace>
  <inkml:trace contextRef="#ctx0" brushRef="#br1" timeOffset="27613.1">19368 5808 0,'0'0'0,"13"0"0,-13 13 15,0 0 1,0 0-16,0 1 0,-13-1 0,13 0 16,0 0-16,0 0 0,0 14 0,-14-14 15,14 0-15,0 14 0,-13-14 16,13 0-16,0 0 0,0 1 0,0-1 16,-13 0-16,13 0 15,0 1-15</inkml:trace>
  <inkml:trace contextRef="#ctx0" brushRef="#br1" timeOffset="27831.79">19394 5781 0,'-26'40'31,"12"-27"-31,14 0 16,-13 1-16,0-1 0,0 0 0,-1 0 15,-12 27-15,13-27 0,-1 0 16,1 1-16,0-1 0,0 0 16,13 0-16,-13-13 0,13 13 0</inkml:trace>
  <inkml:trace contextRef="#ctx0" brushRef="#br1" timeOffset="28022.34">19341 5781 0,'0'0'0,"0"27"0,0-14 16,0 0-16,0 0 15,0 1-15,13-1 0,-13 0 0,0 13 16,14-12-16,-14-1 0,13 0 0,0 0 15,0 1-15,0-1 16,1 0-16,-1-13 0,0 0 16,0 0-16</inkml:trace>
  <inkml:trace contextRef="#ctx0" brushRef="#br1" timeOffset="28670.42">23786 4934 0,'0'53'16,"-13"-39"-16,13 12 15,0-13-15,0 14 0,-13-1 0,13-13 16,0 14-16,0-1 0,0 14 16,-14-13-16,14 12 15,0-26-15,-13 1 0,13-1 0</inkml:trace>
  <inkml:trace contextRef="#ctx0" brushRef="#br1" timeOffset="29904.36">18957 5358 0,'-39'-13'31,"25"13"-31,1 0 0,0 0 16,0 0-16,-14 0 0,14 0 16,0 0-16,0 0 15,-1 0-15,1 0 0,0 0 16,-14 0-16,14 0 0,13-14 15,-13 14-15,0 0 16,0 0-16,-1 0 16,1 0-16</inkml:trace>
  <inkml:trace contextRef="#ctx0" brushRef="#br1" timeOffset="30439.03">18825 5212 0,'-13'-13'16,"-14"13"-16,14 13 16,0-13-16,0 0 15,-1 0-15,1 0 0,0 14 16,0-14-16,-14 13 0,14-13 16,0 0-16,0 13 15,-1-13-15,1 0 16,0 13-16,0 0 15,0-13 1,-1 14 0,14-1-1,0 0 1,0 0 0,14-13-16,-14 14 0,0-1 15,13-13 1,-13 13-16,13-13 15,0 13 1,0 1-16,1-1 31,-14 0-15</inkml:trace>
  <inkml:trace contextRef="#ctx0" brushRef="#br1" timeOffset="32205.33">18164 5834 0,'-14'13'31,"14"1"-31,-13-14 16,13 13-16,0 0 0,0 13 15,-13-12-15,13-1 0,0 13 16,0 1-16,0-14 0,-13 13 16,13-12-16,0 12 0,0-13 0,0 14 15,13-1-15,-13 1 0,0-14 16,26 27-16,-26-27 15,14 13-15,-1-12 0,0-1 16,0 13-16,1-12 0,12-1 0,-13 0 16,0-13-16,14 13 0,-14 0 0,14 1 15,-1-1-15,-13-13 16,14 13-16,-1-13 0,27 13 16,-13 1-16,66-1 15,-80-13 1,146 0 15,-159 0-31,159-27 31,-158 27-31,-1-13 16,40 0-16,-14 0 16,94-14 15,-120 27-31,27-13 15,-1 13-15,-12 0 16,-14 0-16,40 13 0,-27-13 16,40 13-1,-39-13-15,-1 14 0,14-1 16,-27-13-16,27 26 16,-27-26-16,27 27 0,-27-14 15,0-13-15,1 13 0,-1 14 16,0-27-16,0 26 0,1-26 15,-1 13-15,-13 1 16,13-1-16,-13 0 16,0 0-1,13-13-15,-13 14 16,27-28 31,-14 1-32,0 0-15,-13 0 16,13-1-16,1 1 0,-1-13 16,0 13-16,0-1 0,14-12 15,12-14-15,1 0 16,26 14 0,-13-14-16,13 14 15,-26 13-15,39-14 16,-39 14-16,39-14 0,1 14 15,12 0-15,1 0 16,13 13-16,-66 0 16,12 0-16,1 0 0,0 0 15,0 0-15,-13 0 0,13 0 16,92 13-16,-92-13 0,53 13 16,-53 0-16,0-13 15,0 14-15,0-1 0,-14 0 0,14-13 16,40 27-16,-53-27 15,92 26-15,-92-13 0,-1 1 16,1-14-16,0 13 0,-1 0 16,67 13-16,-66-26 15,0 14-15,12-1 0,-25-13 16,-1 13-16,14 0 0,-13-13 16,-1 14-16,14-14 0,-14 13 15,1-13-15,-1 0 0,1 13 0,25 0 16,-25-13-16,-1 0 0,14 0 15,-13 14-15,-14-14 0,13 0 16,1 0-16,-1 0 0,14 0 16,-14 0-16,1 0 0,-1 0 15,27 0-15,-26 0 16,-14-14-16,13 14 0,14-13 16,0 0-16,-14 0 15,-13-1-15,27-12 0,-27 26 16,14-27-16,-14 27 0,0-13 15,27-13-15,-27 13 16,0-1-16,1 1 16,-1 13-16,-13-13 0,13 13 15,-13-13-15,13-1 0,0 1 0,-13 0 16,14 13-16,-14-27 16,0 1-1</inkml:trace>
  <inkml:trace contextRef="#ctx0" brushRef="#br1" timeOffset="32823.87">23535 4987 0,'0'-13'15,"-27"40"1,27-14-16,-13 13 15,13-12-15,-13 12 16,0 0-16,13-12 0,-14 12 16,1 1-16,0 12 15,13-25 1,0-1-16,-13 0 16</inkml:trace>
  <inkml:trace contextRef="#ctx0" brushRef="#br1" timeOffset="33014.99">23257 5106 0,'40'0'0,"-27"0"0,13 0 16,-13 0-16,40 0 0,-26 0 15,-1 14-15,1-14 0,12 0 16,-12 0-16,13 0 0,-14 0 16</inkml:trace>
  <inkml:trace contextRef="#ctx0" brushRef="#br1" timeOffset="34996.96">2738 7818 0,'14'-13'16,"-14"40"15,-14-14-15,14 0-16,0 14 0,0-14 15,0 13-15,-13-12 0,13 12 0,0-13 0,0 0 16,0 14-16,0-14 0,0 0 16,-13 14-16,13-14 15,0 0-15,0 0 0,0 1 16</inkml:trace>
  <inkml:trace contextRef="#ctx0" brushRef="#br1" timeOffset="35266.1">2514 8043 0,'26'0'16,"-26"-13"0,26 13-16,1 0 0,-14 0 15,14 0-15,-14-13 0,13 13 0,1 0 16,-14 0-16,13 0 0,-12 0 16,12 0-16,-13-13 0,1 13 0,-1 0 15,13 0-15,-12 0 0,-1 0 0,0 0 16,-13-14-16,13 14 0,0 0 15,1 0-15,-1 0 0,0 0 16,0 0-16,-13 14 0,14-14 16</inkml:trace>
  <inkml:trace contextRef="#ctx0" brushRef="#br1" timeOffset="35942.18">2844 8308 0,'0'13'0,"40"14"31,-27-27-31,14 13 0,26-13 16,-14 13-16,-12-13 0,26 0 15,0-13-15,-1 13 0,1-13 16,14-1-16,-15 1 0,1 13 0,0-26 15,40-1-15,-40 14 0,0 0 16,26-27-16,-39 27 16,-14-14-16,14 14 0,0-13 0,-14-1 15,27-12-15,-27 12 0,1 1 16,-14 12-16,0-12 0,1 0 16,-14 12-16,13-12 0,-13 13 0,0-14 15,0 14-15,0-14 0,-13 1 0,13 13 16,-14-14-16,-12-12 15,-14-14-15,14 39 16,-1-12-16,1 13 0,-1-14 0,-12 14 16,12-13-16,-39-1 0,-13-13 15,39 27-15,-13 0 16,0 0-16,13 0 0,-12 13 16,-1 0-16,-13 0 0,13 0 0,-14 0 15,-12 13-15,13 0 0,0 0 0,0 14 0,-80 12 16,93-12-16,-13-1 15,-40 27-15,14 0 16,52-26-16,0-1 0,14 1 16,-40 25-16,26 1 0,13-26 15,14-14 1,13 0-16</inkml:trace>
  <inkml:trace contextRef="#ctx0" brushRef="#br1" timeOffset="36927.11">2487 2342 0,'-26'52'31,"26"-12"-31,-14 26 16,1 0-16,13 1 0,-13 12 0,-14 80 16,14-80-16,13 14 15,-13-14-15,0 0 0,0 1 0,13-14 16,-14 13-16,1-13 0,13 1 15,-13-14-15,13-14 0,-13 14 0,-1 13 16,14-39-16,0-14 16,0 0-16,0 0 0,0 1 0,0-1 15</inkml:trace>
  <inkml:trace contextRef="#ctx0" brushRef="#br1" timeOffset="37837.94">2143 2381 0,'27'-13'0,"-14"13"0,0 0 0,13-13 16,1 13-16,26-13 0,0 13 0,0-14 15,26 14-15,0-13 0,1 13 16,79-13-16,-67 13 16,1-13-16,92 13 0,-92 0 0,-1 0 15,1 0-15,13 0 0,-14 0 16,1-14-16,13 14 0,-14 0 0,-12 0 15,12 0-15,1 0 0,-1 0 0,-12 0 16,-1 0-16,1 14 0,-1-14 16,-13 0-16,0 0 0,-13 0 15,0 0-15,0 0 0,0 0 0,-13 13 16,-14-13-16,1 0 0,-1 0 16,0 0-16,-12 0 0,12 0 0,-13 0 15,1 0-15,-1 0 0,0 0 16,0-13-16,1 13 15,-14-14 1,-27 28 47,14-1-63,13 0 0,-13 0 15,13 1-15,-14 12 0,14 0 16,-13 14-16,0 40 0,13-41 15,-13 14-15,13-13 0,-14 26 0,14-13 16,0-13-16,0 13 0,0-1 16,14 1-16,-14 0 0,0-13 0,13 13 15,0-13-15,-13 12 0,13 41 16,-13-53-16,14-1 0,-14 1 16,13-13-16,-13-1 0,0 14 0,13-14 15,-13 1-15,0-1 0,13 14 16,-13-14-16,0-13 0,0 1 15,0 12-15,0-13 0,0 1 16,0-1-16,0 0 0,0 0 16,0 1-16,0 12 15,0-13 1,-13 0 0,0-13-1,13 14-15,-106-14 31,80 0-31,-1-14 16,-13 14-16,-52 0 0,39 0 16,-13 0-16,13 0 0,-27 0 15,1 0-15,-106 14 16,92-1-16,1-13 0,-94 26 16,94-12-16,-120 25 0,93-25 15,13 12-15</inkml:trace>
  <inkml:trace contextRef="#ctx0" brushRef="#br1" timeOffset="40728.01">1124 6218 0,'-13'0'0,"13"13"62,13-40-15,-13 14-47,0 0 0,0 0 16,0 0-16,0-14 0,0 14 15,0-14-15,14 14 0,-14-13 16,0-1-16,0 1 0,0 13 0,0-14 15,13 1-15,-13-1 0,0 14 0,13-13 16,-13-1-16,0 14 16,13-14-16,-13 14 0,0-13 0,0 12 0,14-12 15,-14 13-15,0 0 0,0-1 16,13-25-16,-13 25 0,0 1 16,0 0-16,13 0 15,-13-1-15,0 1 0,0 0 0,0 0 16,13 0-1,-13-1 1,0 1 0,0 0 31,-13 39 281,0-12-297,0-1-15,13 0-16,-14-13 0,14 13 15,-13-13-15,13 13 0,-13 1 16,0-1-16,13 0 15,-14-13-15,14 13 0,-13 1 0,0-1 16,13 0-16,-13-13 0,13 13 16,-13-13-16,13 14 0,-14-14 15,14 13-15,0 0 16,-13-13-16,0 13 16,13 0-1,-13 1 32,26-41 0,0 27-31,-13-13-16,13 13 15,-13-13-15,14 13 0,-14-13 0,13 13 16,-13-14-16,13 1 15,0 0-15,0 0 16,1-1 0,-1 1-1,-13 0 1,13 13-16,-13-13 16,13 13-16,-13-14 15,14 14-15,-14-13 16,13 0-1,0 0 1,0 13 0,-13-13-16,14 13 15,-1-14 17,0 28 46,0-1-63,-13 0 1,0 0-16,13 0 0,-13 1 16,0-1-16,0 0 15,14 0-15,-14 1 0,0-1 0,0 13 16,0-12-16,13-1 0,-13 0 15,0 0-15,0 0 0,0 1 16,13-1-16,-13 0 16,0 0-16,0 1 15,13-1 1,-13 0 15,14-13-31,-14 13 16</inkml:trace>
  <inkml:trace contextRef="#ctx0" brushRef="#br1" timeOffset="42972.44">1561 6297 0,'0'-13'47,"13"0"-31,-13-1-1,0 1-15,0 0 16,0 0-16,0-1 0,14 1 0,-14 0 16,0 0-16,0 0 0,0-1 0,13 1 15,-13-13-15,0 12 0,0-12 16,13 13-16,-13-1 0,0-12 0,0 13 15,13-14-15,-13 14 0,13-27 16,-13 27-16,0-13 16,14 13-16,-14-14 0,0 14 0,0 0 15,13-14-15,-13 14 0,0 0 0,13-14 16,-13 14-16,0 0 0,0 0 16,0-14-16,0 14 0,13 0 0,-13-1 15,0 1-15,0 0 0,0 0 0,0-1 16,0 1-16,0 0 0,0 0 15,0 0-15,0-1 16,0 1-16,0 0 0,0 0 16,0-1-1,0 1 1,0 0 31,0 0 15,-26 39 110,13-13-156,13 1-1,-14-14-15,14 13 16,-13-13-16,13 13 0,-13-13 0,13 13 0,-13 1 16,0-1-16,13 0 15,-14-13-15,14 13 0,-13 0 16,0 1-16,13-1 0,-13-13 0,13 13 16,-14 0-16,1 1 0,13-1 15,-13-13-15,0 13 0,13 0 16,-14 1-16,1-1 15,13 0 1,-13-13 0,13 13-1,13-26 48,0 0-48,-13 0 1,14 13-16,-14-14 0,13 1 16,0 0-16,0 0 15,1-1 1,-1 1-16,-13 0 16,13 13-16,-13-13 0,13-1 15,-13 1 1,14 13-16,-1-13 15,-13 0-15,13 13 0,-13-13 16,0-1-16,13 14 16,0-13-16,1 0 15,-14 0 1,13-1 0,0 1 15,0 0 0,1 26 188,-1 0-204,0-13-15,-13 14 16,13-14-16,-13 13 0,13-13 16,1 13-16,-1 0 0,-13 1 15,13-14-15,0 13 0,1 0 16,-1 0-16,0 0 16,0 1-16,1-1 0,-1 0 15,0 0-15,0 1 31,0-1-31,1 0 32,-1 0 46,-26-13 16,-1 14-79,1-1-15,-13 0 0,13 0 16</inkml:trace>
  <inkml:trace contextRef="#ctx0" brushRef="#br1" timeOffset="43384.6">1111 6429 0</inkml:trace>
  <inkml:trace contextRef="#ctx0" brushRef="#br1" timeOffset="47545.35">2977 8321 0,'-14'13'0,"1"-13"31,0-13-15,0 13 0,-1 0-16,1 0 15,0-13-15,0 13 16,0 0-16,-1 0 0,1-13 0,0 13 16,0-14-16,-1 14 0,-12-13 15,13 0-15,-27-13 0,14 12 16,-27-25-16,26 25 0,1 1 15,-1 0-15,14 0 0,-13-1 0,12 1 16,1 0-16,-13 0 16,-1 0-16,14-1 15,0 14-15,13-13 0,-14 13 0,14-13 16,-13 0-16,0-1 16,13 1-1,-13 0-15,13 0 31,0 0-15,0-1 31,13 1 62</inkml:trace>
  <inkml:trace contextRef="#ctx0" brushRef="#br1" timeOffset="49966.07">14830 13335 0,'0'-26'31,"0"12"-15,0 1 0,0 0-16,0 0 15,0-1-15,0 1 16,-13 0-16,13 0 0,-14-1 16,14 1-16,-13 0 0,13 0 0,-13 0 15,0-1-15,13 1 0,-13 0 16,-1 0-16,1 13 0,0-14 15,0 1-15,-1 0 0,1 0 0,0 13 16,-14-13-16,14-1 0,-13 14 0,13-13 16,-14 13-16,14-13 0,-14 13 15,14 0-15,-13-13 0,-1 13 0,1 0 16,-14 0-16,14 0 0,-1 0 16,-12 0-16,12 0 15,14 0-15,-40 13 0,26-13 16,14 0-16,-13 13 0,-1-13 0,1 13 15,13 1-15,-40-1 0,26 0 16,-12 0-16,12 0 16,14 1-16,-14-1 0,14 0 15,-27 27-15,27-27 0,0 0 16,0 14-16,0-14 0,-1 0 16,1 14-16,0-1 0,13 1 15,-13-14-15,13 13 0,0-13 0,0 27 16,0-13-16,0-14 0,13 13 15,-13-12-15,13 12 0,14 14 16,-14-14-16,40 14 16,-27-14-16,1-13 0,-1 1 15,14 12-15,-14-13 0,1 1 16,12-1-16,-12 0 0,13 0 0,12 14 16,1-14-16,0 0 15,0 0-15,-26-13 16,39 0-16,-40 0 15,14 0-15,13 0 0,-13 0 16,12 0-16,-25 0 16,13 0-16,-14-13 0,1 13 0,12-13 15,-12 13-15,12-13 16,-25 0-16,12-1 16,14 1-16,-27 0 0,0 0 15,0-1-15,1 1 16,-1 0-16,13-14 0,-12 1 15,-1 0 1,0-1-16,0-65 47,-13 65-47,0 1 16,0 12-16,-13-12 15,0-14-15,0 14 16,-1-1-1,14 14-15,-13 13 16,-53-66 0,53 53-16,-27-1 15,0-12 1,14 0 0,13 12-16,13-25 15,0 25-15,13-25 0</inkml:trace>
  <inkml:trace contextRef="#ctx0" brushRef="#br1" timeOffset="50897.15">14023 8930 0,'40'0'0,"-27"-14"0,0 14 0,0 0 15,1 0-15,12 0 0,0 0 16,27 0-16,-26 0 0,-1 0 16,27 0-16,-26 0 15,-1 0-15,1 14 0,-1-14 0,0 0 16,1 0-16,-14 0 0,0 0 15,14 13-15,-14-13 16</inkml:trace>
  <inkml:trace contextRef="#ctx0" brushRef="#br1" timeOffset="51453.61">13758 9353 0,'27'13'15,"-1"-13"1,-13 0-16,14 0 0,39 13 16,-26 1-16,13-14 0,-14 13 15,1-13-15,-13 13 0,12-13 16,-12 0-16,-1 13 0,14-13 0,-14 0 16,27 14-16,-13-14 15,-27 0-15,14 13 0,-1-13 0,-13 0 16,0 0-16,1 0 0,-1 0 0,0 0 15,0 13-15,1-13 16,-41 13 15,14-13-31,0 0 16,-1 14-16,1-14 0,13 13 16,-13-13-16,0 13 0,0-13 15</inkml:trace>
  <inkml:trace contextRef="#ctx0" brushRef="#br1" timeOffset="52158.13">13838 9988 0,'53'0'0,"-106"0"0,132 0 0,-66 13 15,14-13-15,-1 0 0,1 0 16,-1 0-16,27 13 0,0-13 0,-13 0 16,13 14-16,13-14 0,-13 13 0,0-13 15,-1 0-15,1 13 0,-13-13 16,13 0-16,13 0 16,-53 13-16,14-13 0,13 0 0,-27 0 15,0 0-15,0 0 0,0 0 16,1 0-16,-1 0 0,0 0 15,0 14 1,1-14-16,-1 0 16,0 0 15,-39 0 31,12 0-46,1 0 0</inkml:trace>
  <inkml:trace contextRef="#ctx0" brushRef="#br1" timeOffset="54579.05">16642 11695 0,'14'13'16,"-14"-26"77,0-1-77,13 14-16,-13-13 16,0 0-16,0 0 15,0-1-15,0 1 16,-13 0-1,13 0-15,0 0 0,0-1 16,0 1-16,0-13 16,13 26-16,-13-14 15,0 1-15,0 0 0,0 0 0,0-1 16,13 1-16,-13 0 0,0 0 0,0-14 16,13 1-16,-13 13 15,0-1-15,0 1 0,13 0 0,-13-14 16,0 14-16,0 0 0,14 0 0,-14-14 15,0 14-15,0 0 0,13 0 0,-13-1 16,0 1-16,13 0 0,-13 0 16,0-1-16,0 1 0,13 0 15,-13 0-15,0 0 16,0-1-16,14 1 0,-14 0 16,0 0-1,13-1-15,-13 1 0,13 0 31,-13 0-15,13 0 15,-13-1 16,-26 28 188,13-1-220,-1-13-15,1 13 16,0-13-16,0 13 0,-1 0 15,1-13-15,0 0 16,13 14-16,-13-1 0,0-13 0,-1 13 16,1-13-16,0 13 0,0-13 0,-1 14 15,1-1-15,0-13 0,13 13 16,-13-13-16,-1 13 16,1-13-1,13 13-15,-13-13 16,0 0-1,13 14 1,13-28 93,0 1-109,0 13 16,1-13 0,-1 13-1,0 0-15,0-13 0,1 13 16,-1 0-16,0-13 0,0 13 16,1-14-16,-1 14 15,0 0-15,0 0 16,-13-13-16,13 13 0,1 0 15,-1-13-15,0 13 0,0-13 16,1 13 0,-1-14-16,0 14 0,0-13 15,1 13 1,-1-13-16,0 0 16,0 13-1,0-13 16,1 26 1,-14 0-17,0 0 1,13-13 0,-13 13-16,0 1 0,0-1 15,13 0-15,-13 0 16,13 1-16,-13-1 15,14 0-15,-14 0 16,0 0-16,13-13 0,-13 14 16,0-1-16,13 0 0,-13 0 31,13 1-15,0-14-16</inkml:trace>
  <inkml:trace contextRef="#ctx0" brushRef="#br1" timeOffset="55673.34">17330 10954 0,'0'-27'15,"13"54"48,-13-14-63,0 0 15,0 0-15,0 1 16,0-1-16,0 0 0,0 0 16,0 1-16,0-1 0,-13 0 0,13 0 15,0 0-15,0 1 16,0 12-16,0-13 0,0 1 0,0-1 15,0 13-15,-13-12 0,13 12 0,0-13 16,0 0-16,0 14 0,0-14 0,0 14 16,0-14-16,0 13 0,0-12 15,0 25-15,0-26 0,0 27 16,0-27-16,0 1 0,0 12 16,0-13-16,0 1 15,0-1-15,0 13 0,0-13 16,0 1-16,0-1 15,0 0-15,0 0 16,0 1 0,0-1-1,0 0 32,0 0 16,0-39 93</inkml:trace>
  <inkml:trace contextRef="#ctx0" brushRef="#br1" timeOffset="56686.14">17145 11589 0,'13'13'31,"-13"0"0,13 0-31,-13 1 16,14-1-16,-14 0 16,0 0-16,0 1 15,0-1-15,13-13 0,-13 13 0,0 0 16,0 1-16,0-1 16,13 0-16,-13 0 15,0 0-15,0 1 16,13-1-1,-13 0 1,0 0 31,14-13-31,-1 0 46,0-13-15,0 13-31,1 0-1,-1-13-15,0 13 16,0-13-16,0 13 0,1-14 15,-1 14 1,13-13-16,1 0 16,12 0-16,-25 13 0,-1 0 15,13-13-15,-12 13 16,-1 0-16,0-14 0,14 14 16,-14 0-16,0 0 15,0-13-15,0 13 16,1 0-1,-1 0 1,0 0 47,-13-13-17,0 0-14,0-1-32,0 1 0,0 0 15,0 0 1,-13-1-16,13 1 16</inkml:trace>
  <inkml:trace contextRef="#ctx0" brushRef="#br1" timeOffset="59153.86">503 5609 0,'0'0'0,"-14"0"15,1 0 1,-13 0-16,13 0 0,-14 13 16,14-13-16,13 14 0,-13-14 15,-1 13-15,1-13 0,0 13 16,0-13-16,0 13 16,13 1-1,13-14-15,0 13 16,13-13-16,-12 0 15,-14 13-15,26-13 0,-13 0 0,1 0 16,12 13-16,-13-13 0,0 13 16,1-13-16,-1 0 15,-13 14-15,13-14 16,-13 13-16,-13 0 16,0 0-16,-1-13 15,1 14-15,0-14 0,0 13 0,0-13 16,-1 13-16,1-13 0,-13 13 15,12-13-15,1 0 0,0 0 0,0 0 16,0 0-16,13-13 16</inkml:trace>
  <inkml:trace contextRef="#ctx0" brushRef="#br1" timeOffset="60447.33">622 5649 0,'-13'-13'15,"-1"13"1,1 13-16,13 0 16,-13-13-1,26 40 32,40-93 0,-53 40-31,13 13-16,0 13 46,1 0-30,-1-13 0,0 0-16,0 0 15,1 0 1,-14-13-16,13 0 16,0-1-16,-13 1 15,0 0-15,0 0 0,0-14 16,0 14-16,0 0 0,0 0 0,0-14 15,0 14-15,0 0 16,0-1 0,0 41 15,0-14-15,0 0-16,13 1 0,-13-1 15,14 0-15,-14 0 16,13 0-16,0-13 0,0 0 15,-13 14 1,13-14-16,1 0 16,-1-14-16,0 1 15,-13 0 79,13 13-78,1 0-1,-1 0-15,0 0 16,-13-13-16,13 13 16,0 13-1,1-13 1,-1 0 15,0-13-15,-13 0-1,13 13 1,-13-14-16,0 1 0,14 0 16,-14 0-1,26 13 79,-13 0-47,1 0 31,-14-14-62,13 14-16,-13-13 15,13 0-15,-13 0 16,13 13-16,-13-13 0,13-1 15,-13 1-15,14 13 16,-14-13-16,13 0 16,-13-1-16</inkml:trace>
  <inkml:trace contextRef="#ctx0" brushRef="#br1" timeOffset="63372.33">833 6853 0,'27'-14'0,"-54"28"0,67-41 15,-40 14-15,13 0 16,-13 0 0,0-1-1,-13 1 1,0 13-1,0 0-15,-1 13 16,14 1-16,-13-1 16,13 0-16,0 0 15,0 0-15,0 1 16,0-1-16,0 0 16,13 0-1,1-13-15,-1 0 16,13 0-1,-26-13-15,14 13 0</inkml:trace>
  <inkml:trace contextRef="#ctx0" brushRef="#br1" timeOffset="64804.48">357 5252 0,'27'-26'47,"-27"12"-32,13 1-15,0 0 16,-13-14-16,0 14 15,0 0-15,0-14 16,0 14-16,0 0 16,-13 13-16,13-13 0,-13 0 15,-1 13-15,1 0 16,0 13-16,0-13 16,13 13-16,-13-13 0,13 13 15,0 0-15,0 1 16,13-14-16,-13 13 0,13 0 15,0 0-15,0-13 16,1 14-16,-1-14 0,0 0 16,0 0-16,1 0 0,-1 0 15,0 0-15,0-14 16,0 14-16,1 0 0</inkml:trace>
  <inkml:trace contextRef="#ctx0" brushRef="#br1" timeOffset="65123.52">542 5014 0,'0'0'0,"14"0"0,-14-13 15,26 26 1,-13-13 0,-13 13-16,14 0 15,-14 1-15,0-1 16,0 13-16,0-13 16,-14 1-16,14-1 15,-13 0-15,0 0 16,0 1-16</inkml:trace>
  <inkml:trace contextRef="#ctx0" brushRef="#br1" timeOffset="65858.23">635 4974 0,'0'27'47,"0"-14"-47,13-13 16,-13 13-16,13-13 0,-13 13 15,14-13-15,-14 14 0,13-14 0,0 0 16,0 0-16,1 0 15,-1 0-15,0 0 16,0 0-16,1-14 0,-1 14 16,-13-13-16,0 0 15,13 0-15,-13-1 16,0 1-16,0 0 0,-13 0 0,13-1 16,0 1-16,0 0 0,0 0 15,-13 0-15,13-1 0,0 1 16,0 0-16,-14 13 15,28 26 17,-14-12-17,13-1-15,-13 0 0,13 0 16,-13 0-16,0 14 0,13-1 0,-13-12 16,13 25-16,1 1 15,-14-27-15,0 0 0,13 1 16,-13-1-16,0 0 0,0 0 15,0 1-15,13-1 0,-13-40 47,0 14-31,0 0-16,0 0 0,0-1 0,0-12 16,0 13-16,13 0 0,-13-14 15,0 14-15,14 0 0,-14-1 0,13 1 16,-13 0-16,13 13 15,0 0 1,-13 13 0,13-13-16,-13 13 0,0 1 15,-13-1-15,13 0 16,0 0-16,-13-13 16,13 14-16,-13-1 0,0 0 15,-1 0-15,1-13 16</inkml:trace>
  <inkml:trace contextRef="#ctx0" brushRef="#br1" timeOffset="66036.62">1124 5186 0,'0'-13'32</inkml:trace>
  <inkml:trace contextRef="#ctx0" brushRef="#br1" timeOffset="75729.42">17185 11576 0,'0'26'94,"0"-13"-94,0 0 16,0 1-16,0-1 15,0 0-15,0 0 0,0 1 16,0-1-16,0 0 0,0 0 16,13 1-16,-13-1 15,0 0-15,0 0 16,0 0-16,13 1 15,-13-1 17,0 0-17,0 0 17,0 1 14,13-1 17,1-13-32,-1 0 0,0-13-31,0 13 16,1 0 0,-14-14-16,13 14 0,0 0 15,0 0-15,0-13 0,14 0 16,-14 13-16,14-13 0,-14 13 0,13-14 16,1 14-16,-1-13 0,1 0 15,-1 13-15,1-13 0,-14 13 0,26-13 16,-12 13-16,-14 0 0,0 0 15,1-14-15,-1 14 0,0 0 16,0 0-16,1 0 16,-1 0-16,-13-13 15,13 13 1,-39-13 31</inkml:trace>
  <inkml:trace contextRef="#ctx0" brushRef="#br1" timeOffset="102460.45">15703 10597 0,'0'13'15,"0"0"1,0 0-16,0 0 16,-13 1-16,13-1 0,0 0 0,0 0 15,0 1-15,0-1 0,0 0 16,0 0-16,0 1 16,0-1-16,0 0 15,0 0 1,0-52 15,0 25-31,0 1 16,13 13-16,-13-13 0,0 0 15,13 13-15,-13-14 0,13 1 16,1 0 0,-1 13-16,0 13 15,0-13-15,-13 13 16,14-13-16,-14 14 15,0-1-15,13-13 16,-13 13-16,0 0 16,13-26 15,-13 0-15,13 13-16,-13-13 0,14 13 0,-14-14 15,13 14-15,0-13 0,0 0 16,0 13-16,1 0 15,-1 0-15,0 0 16,0 13-16,-13 0 16,14-13-16,-14 14 15,0-1-15,13 0 0,-13 0 16,13-13 15</inkml:trace>
  <inkml:trace contextRef="#ctx0" brushRef="#br1" timeOffset="104008.79">16153 10597 0,'0'-14'16,"-53"107"-16,93-186 0,-27 107 0,-40-1 31,27 0-15,0 0-1,0 0-15,0 1 0,0-1 0,0 13 16,14-12-16,-14-1 16,0 0-16,13-13 15,0 13-15,0-26 16,0 13-16,1-13 16,-14 0-16,13 13 15,-13-14-15,0 1 0,0 0 0,0 0 16,0-1-16,0 1 15,0 0-15,-13 13 0,13-13 16,-14 0-16,1-1 16,0 14-16,0 14 31,13-1-15,0 0-1,13 0-15,-13 0 16,13-13-16,0 14 15,1-14-15,-1 0 16,-13-14-16,26 14 16,-12 0-16,-14-13 15,13 13-15,0-13 16,0 0 0,1 13-1,-14 13 32,13-13-47,-13 13 16,13 0-1,0-13 17,0-13-17,1 13-15,-1-13 16,0 0-1,0 13 1,-13-13 0,14 26 31,-14 0-47,0 0 15,13 0 1,0 1-1,0-14 1,1 0 0,-1-14-16,0 14 15,-13-13-15,13 13 16,-13-13-16,13 0 0,-13 0 16,14-14-16,-1 14 15,0-40-15,0 13 16,-13 27-16,14-27 15,-14 27-15,13-13 16,-13 12-16,13 14 16,-13-13-16,13 26 15,-13 1 1,0-1-16,14 0 0,-14 0 16,0 1-16,0-1 0,0 0 15,13 0-15,-13 1 0,0-1 16,0 0-16,0 0 0,0 0 0,0 1 15,0-1 1,0 0-16,-13 0 16,-1-13-1,1 0 1,0 0 0,0 0-16,-1-13 15,28 0 16,-1 13-31,0-13 0,0 13 16,1-14-16,-1 14 0,-13-13 16,13 13-16,0-13 0,0 13 15,1-13-15,-1 0 0,0 13 16,0-14-16,1 14 31,-28 14 0,14-1-31,0 0 16,-13-13-16,13 13 16,0 0-16,0 1 15,13-14 1,1-14 0,-1 1-1,0 0-15,0 0 16,-13 0-1,14 13-15,-1 13 47,-13 0-47,0 0 16,0 0 0,0 1 15</inkml:trace>
  <inkml:trace contextRef="#ctx0" brushRef="#br1" timeOffset="104154.97">16907 10358 0,'0'-13'15,"-13"13"17</inkml:trace>
  <inkml:trace contextRef="#ctx0" brushRef="#br1" timeOffset="104469.72">16920 10425 0,'0'0'0,"13"13"15,-13 0 1,0 0-16,0 1 31,14-14-31,-1 0 31,0 0-15,0 0 0,0 0-1,1 13 1</inkml:trace>
  <inkml:trace contextRef="#ctx0" brushRef="#br1" timeOffset="115955.29">18005 11906 0,'0'-13'16,"-13"26"-1,13 0 1,-14 1-16,14-1 0,0 13 0,-13-12 16,13-1-16,0 0 0,0 14 15,-13-14-15,13 0 0,0 0 0,0 14 16,13-1-16,-13-13 15,0 1-15,13-1 0,-13 0 16,14-13-16,-14 13 0,13-13 16,0 0-16,0 0 15,1 0-15,-14-13 16,-14-13 0</inkml:trace>
  <inkml:trace contextRef="#ctx0" brushRef="#br1" timeOffset="116142.4">17859 12052 0,'53'13'0,"-106"-26"0,40 13 0,0 0 15,39-13 17,-12 13-32,-1 0 15,0 0-15,0 0 0,14-14 16,-14 14-16,0 0 0,0 0 0,27-13 15,-27 13-15,1 0 0,-1 0 16,0 0-16,0 0 0</inkml:trace>
  <inkml:trace contextRef="#ctx0" brushRef="#br1" timeOffset="116828.74">18098 12158 0,'26'-14'0,"-26"1"16,13 13-16,0-13 15,-13 0-15,14 13 0,-14-14 0,13 1 16,0 0-16,-13 0 16,13 13-16,-13-13 15,0-1-15,-13 67 47,13-40-31,0 1-16,0-1 15,13 0-15,1 0 16,-1-13-16,53-26 47,-53 13-47,0 13 0,-13-14 15,14 14-15,-14-13 0,13 13 16,0-13 0,0 13-16,1 0 15,-1 13 1,-13 0-16,0 1 16,26-28 30,-13 14-30,-13-13 0,14 13-1,-1 0 1,0 13-16,0 1 16,1-14 15,-14 13-31,13-13 15,13-13 1,-12 13 0,-1-14-1,0 14 1,-13-13 0</inkml:trace>
  <inkml:trace contextRef="#ctx0" brushRef="#br1" timeOffset="117293.7">18640 11959 0,'0'-13'0,"13"39"47,-13-12-47,0-1 0,0 0 16,-13 14-16,13-14 0,0 13 15,0 1-15,0-14 0,0 27 0,0-14 16,0 14-16,0 13 16,0-40-16,0 0 0,0 14 15,0-14-15,0 0 0,0 0 16,13-39 15,0-1-31,1 14 0,-1-27 16,0 14-16,0 0 0,0-1 0,14 1 15,-14 12-15,0 1 16,1 0-16,-1 13 16,0 0-1,-26 13 1,13 14-16,-13-27 15,13 13-15,-14 0 16,1 0-16,13-26 31</inkml:trace>
  <inkml:trace contextRef="#ctx0" brushRef="#br1" timeOffset="118243.46">19460 11853 0,'0'0'15,"-13"27"-15,0-14 16,13 0-16,0 0 0,-14 1 16,14-1-16,-13 13 0,13 1 15,0-1-15,0-12 0,-13-1 16,13 13-16,0 14 31,-26-53 0,-107 66 79,146-40-95,1-13-15,-1 0 0,13 0 16,-12-13-16,12 13 0,14-27 16,-14 27-16,27-40 15,-40 27-15,14 0 16,-14 13-16,-13-13 0,13 13 15,-13-13-15,13 13 0,1 0 16,-28 26 15,1-26-15,13 13-16,0 0 16,13-13-16,-13 14 0,14-14 15,-1 13 1,13-13-1,-12 0-15,12-13 16,-13 13-16,14-14 0,-14 14 16,0-13-16,0 13 0,1-13 0,-1 13 15,0-13-15,0 0 16,1 13-16,-1-14 16,-26 28 30,-1-1-46,14 0 16,0 0-16,0 0 16,14 1-1,-1-1-15,0 0 16,0-13 0,1 0-16,-1 0 15,0 0-15,0 0 16,0-13-16,1 13 15</inkml:trace>
  <inkml:trace contextRef="#ctx0" brushRef="#br1" timeOffset="118416.75">20069 12105 0,'0'-14'47</inkml:trace>
  <inkml:trace contextRef="#ctx0" brushRef="#br1" timeOffset="121364.46">16748 7938 0,'13'-14'16,"-13"1"-16,14 0 16,-14 0-1,0-1-15,13 14 0,-13-13 16,0 0-16,13-14 0,-13 1 15,13 13-15,-13-14 0,0 14 16,0-13-16,0 12 0,0-25 16,0 12-16,-13 1 0,0-14 15,-27-13-15,14 13 0,-1 14 16,-26-14-16,14 14 16,-41-14-16,41 27 0,-41-14 15,27 27-15,14-13 0,-14 13 16,13 0-16,-13 0 0,0 0 15,0 13-15,-53 14 0,53-1 16,1 1-16,-41 26 0,40-14 16,-13 28-16,26-28 15,14 1-15,-14 53 16,14-14-16,26-39 0,0-14 0,0 14 16,13 0-16,0-1 0,40 27 15,-27-26-15,14 0 16,53 13-16,13-14 15,-1-12-15,1-14 16,13-13-16,14-13 16,-67 13-16,-13-13 0,39-1 15,-39 1-15,-13 0 0,0 0 16,26-27-16,-27 27 0,1-27 16,-13 14-1,-1-14-15,0-13 0,-12 27 16,-1-27-16,-13 13 15,0 13-15,-13 1 16,13-14-16,-27-26 0,1 40 16,-14-27-16,-13 0 15,13 40-15,-79-54 16,40 28-16,39 39 16,-26-27-16,0 14 15,40 13-15,-1 0 16,14 0-16,0 0 0,-1 0 0,1 13 15</inkml:trace>
  <inkml:trace contextRef="#ctx0" brushRef="#br1" timeOffset="122844.4">17410 8136 0,'13'-13'0,"0"-1"15,0 14-15,0-13 0,1 13 16,12 0-16,1-13 0,-1 13 16,1 0-16,12 0 0,1-13 0,39 13 15,-39 0-15,-14 0 16,14 0-16,-13 0 0,-1 0 0,1 0 0,-1 0 15,-13-13-15,14 13 16,-14 0-16,13 0 0,-12 0 16,-1 0-16,13 0 0,-12 0 15,-1-14 1,0 14-16,0 0 31</inkml:trace>
  <inkml:trace contextRef="#ctx0" brushRef="#br1" timeOffset="123188.03">18111 7938 0,'0'0'0,"-13"13"16,26 0 15,0-13-31,0 0 0,-13 13 0,13-13 16,1 13-16,-1-13 0,13 14 0,-12-14 15,-1 13-15,0-13 0,13 13 16,-12-13-16,12 13 0,-13 1 16,1-1-16,-28 13 15,1-13 1,0 1-16,-40 25 15,27-25-15,-1 12 0,-39 14 16,26-14-16,14-13 0,-14 14 16,14-1-16,-40 14 15,26 0-15,27-27 16,13 0-16,-14 0 0,14 1 0</inkml:trace>
  <inkml:trace contextRef="#ctx0" brushRef="#br1" timeOffset="134606.5">18230 8043 0,'-13'0'47,"-1"-13"-16,1 13-31,0 0 16,13-13-16,-13 13 15,-1-13-15,1-1 16,0 1 0,0 13-16,0-13 15,-1 0-15,1 13 0,13-13 16,-13 13-16,0-14 0,-1 1 16,1 0-16,0 0 0,0 13 15,13-14-15,-14 1 0,1 0 16,0 0-16,0-1 15,0 1 1,13 0-16,-14 13 16,14-13-1,-13 13 1,13-13-16,13 26 78,1 0-62,-1 0-16,13 0 15,-13-13-15,1 14 16,-1-1-16,0 0 0,0-13 0,1 13 16,-1 1-16,0-1 0,0 0 0,1-13 15,-1 27-15,0-27 16,0 13-16,0-13 0,-13 13 0,14-13 15,-1 13-15,0-13 0,-13 13 16,13-13-16,-13 14 0,14-14 16,-1 13-1,0-13 1,-13 13 0,13-13-1,-26 13 48,13 1-48,-13-14-15,0 13 16,-1-13-16,1 13 16,0 0-16,0 0 0,-1-13 15,1 14-15,0-1 0,13 0 0,-13-13 16,13 13-16,-13-13 0</inkml:trace>
  <inkml:trace contextRef="#ctx0" brushRef="#br1" timeOffset="147026.25">19394 7713 0,'13'-14'0,"-13"1"31,13 40-16,-13-14 1,-13 0-16,13 14 0,0-1 16,0 0-16,-13 14 0,13-13 15,-13 12-15,13-25 0,-13 12 0,13 0 16,0 1-16,-14-1 0,14 1 0,-13-1 16,13-13-16,0 14 0,-13-14 15,13 0-15,0 1 0,0-1 0,0 0 16,-13 0-16,13 1 0</inkml:trace>
  <inkml:trace contextRef="#ctx0" brushRef="#br1" timeOffset="147625.94">19460 7673 0,'-26'13'32,"12"-13"-32,1 13 0,0-13 15,0 14-15,0-1 0,-1 0 16,-12 0-16,13-13 16,-1 14-16,1-1 0,0-13 0,13 13 15,-13-13-15,-14 13 0,14 0 16,0-13-1,13 14-15</inkml:trace>
  <inkml:trace contextRef="#ctx0" brushRef="#br1" timeOffset="147884.54">19381 7713 0,'0'0'0,"13"0"0,0 13 0,0 0 15,1-13-15,-1 13 16,-13 1-16,13-14 16,0 13-16,1 0 0,-1-13 15,0 13-15,-13 0 16,13-13-16,-13 14 15,13-14-15,-13 13 0</inkml:trace>
  <inkml:trace contextRef="#ctx0" brushRef="#br1" timeOffset="151076.81">21669 7686 0,'14'0'0,"-14"-13"0,0 39 47,0-12-47,0-1 15,0 0-15,0 0 0,0 14 0,0-14 16,-14 13-16,14-12 0,0 12 15,0-13-15,-13 14 0,13-14 0,0 0 16,0 1-16,-13-1 0,13 13 0,0-13 16,0 1-16,-13-1 15,13 0-15,0 0 16</inkml:trace>
  <inkml:trace contextRef="#ctx0" brushRef="#br1" timeOffset="151456.01">21775 7660 0,'-26'0'31,"13"13"-31,-1-13 0,1 13 0,0 0 15,0-13-15,-1 14 0,1-1 16,0 0-16,0 0 0,-1 1 0,1-1 16,0-13-16,0 13 0,0 0 0,-1 0 15,1-13-15,13 14 16,-13-14-16,0 13 0,-1 0 16</inkml:trace>
  <inkml:trace contextRef="#ctx0" brushRef="#br1" timeOffset="151687.84">21736 7686 0,'13'13'0,"13"14"31,-13-14-31,1 0 0,-1 1 16,-13-1-16,13-13 0,-13 13 15,13 0-15,1-13 0,-14 13 16,13-13-16,0 14 0</inkml:trace>
  <inkml:trace contextRef="#ctx0" brushRef="#br1" timeOffset="152633.96">19897 8070 0,'66'0'16,"-40"0"-1,1-13-15,-14 13 0,27 0 16,-14 0-16,27 0 0,0 0 0,-13 0 15,13 0-15,-1 0 0,-12 0 0,0 0 16,-14 0-16,14 0 0,26 0 16,-53 0-16,14 0 0,-1 0 15,-12 0-15,-1 0 0,0 0 0,0 0 16,0 0-16,1 0 0,-1 0 16,0 0-16,0 0 15,1 0 1,-1-14-1</inkml:trace>
  <inkml:trace contextRef="#ctx0" brushRef="#br1" timeOffset="153014.25">20770 7964 0,'0'-13'0,"26"26"15,-13-13-15,1 13 16,-1-13-16,0 0 0,0 13 15,1-13-15,-1 14 0,0-14 16,0 13-16,1-13 16,-14 13-16,13-13 15,-13 13-15,0 1 16,-13-14-16,13 13 16,-14-13-16,-12 13 0,-1 0 15,14-13-15,0 13 16,0-13-16,-1 14 0,-12-14 15,13 0-15,0 13 0,-27-13 16,27 13-16,-1-13 0,1 0 0</inkml:trace>
  <inkml:trace contextRef="#ctx0" brushRef="#br1" timeOffset="153616.6">20016 7951 0,'-66'13'31,"39"-13"-31,14 13 0,-14-13 16,1 13-16,-14 1 15,14-1-15,13 0 0,-14-13 0,14 13 16,0 1-16,-1-1 0,1-13 16,13 13-16,-13 0 0,13 0 15,-13 1-15,26-1 16,-13 0-16,13 0 0,0 1 16,1-14-16,-1 13 15,0 0-15,0-13 0,1 13 16,-1 1-16</inkml:trace>
  <inkml:trace contextRef="#ctx0" brushRef="#br1" timeOffset="159457.94">18785 7316 0,'0'-14'0,"0"41"63,0-14-63,0 0 0,-13 1 0,13-1 15,0 0-15,-13 0 0,13 1 16,0-1-16,0 0 0,-13-13 0,13 13 16,0 0-16,0 1 15,-14-1-15,14 0 16</inkml:trace>
  <inkml:trace contextRef="#ctx0" brushRef="#br1" timeOffset="159849.97">18904 7316 0,'-26'13'31,"26"0"-31,0 0 16,0 1-16,-13-1 15,13 0-15,13 0 0,-13 1 16,0-1 0,13-13-16,-13 13 0,13-13 0,-13 13 15,14-13-15,-1 0 0,13 13 16,-12-26 0,-1 13-1,-13-13-15,13 13 0,-13-13 16,0 0-1,0-1-15,0 1 16,-13 13-16,13-13 16,-13 13-1,13-13-15,-14-1 16</inkml:trace>
  <inkml:trace contextRef="#ctx0" brushRef="#br1" timeOffset="161297.66">18878 7408 0,'13'0'0,"0"-13"0,1 0 16,-1 13 0,-13-13-16,13-1 0,-13 1 15,-13 0 1,0 13 0,-1 0-1,1 0-15,0 0 16,13 13-16,-13-13 0,0 13 0,-1 1 15,1-1-15,13 0 16,-13-13-16,13 13 0,0 1 16,0-1-16,13-13 15,-13 13-15,13-13 16,1 0-16,-1-13 16,0 13-16,0-13 0,0 13 15,1-14-15,-14 1 16,0 0-16,0 0 15,-14-1 1,1 14 0,0 14-16,0-14 15,0 0-15,-14 13 0,14 0 16,0-13-16,13 13 0,-14 1 16,14-1-16,0 0 31,14-13-31,-1 0 15,0 0-15,0 0 16,1-13-16,-1 13 0,0-13 0,0 13 16,-13-14-16,13 14 0,-13-13 15,0 0-15,0 0 16,0-1-16,-13 14 0,0 0 16,-13 0-1,12 0-15,1 0 0,13 14 0,-13-14 16,0 13-16,-1-13 0,1 13 0,0-13 15,13 13-15,-13 1 0,-1-1 16,14 0-16,0 0 16,0 0-16,14-13 15,-1 0-15</inkml:trace>
  <inkml:trace contextRef="#ctx0" brushRef="#br1" timeOffset="161771.81">19156 7316 0,'-13'39'16,"13"-12"-1,-14-14 1,14 0-16,-13 14 0,13-14 15,-13 0-15,13 0 0,-13 1 16,13-1-16,0 0 0</inkml:trace>
  <inkml:trace contextRef="#ctx0" brushRef="#br1" timeOffset="163321.69">19090 7422 0,'0'13'15,"13"-13"1,0-13 15,-13-1-31,0 1 16,-13 0-1,0 13-15,13-13 16,-27 13-16,1 0 16,13 0-16,-1 0 0,1 13 15,0-13-15,0 13 0,-1 0 16,1-13-16,13 14 0,-13-1 0,13 0 15,0 0-15,13-13 16,0 13-16,1-13 16,-1 0-16,0 0 0,0 0 0,14-13 15,-14 13-15,13 0 0,1-13 16,-14 0-16,14 0 0,-14-1 16,-13 1-16,13 0 0,-13 0 15,-13-1-15,0 1 16,-14 13-16,14 0 15,0 0-15,-14 0 0,14 13 16,-13-13-16,12 14 0,-12-1 0,13 0 16,-27 14-1,27-14-15,-1 0 16,28 0 0,-1-13-16,13 0 15,-12-13-15,-1 0 16,0 0-1,-13-1-15,-13 1 16,13 0-16,-13 13 16,-1 0-16,1 0 15,0 0 1,0 0-16,13 13 0,-14-13 0,1 13 16,0-13-16</inkml:trace>
  <inkml:trace contextRef="#ctx0" brushRef="#br1" timeOffset="170457.98">18931 8480 0,'0'0'0,"0"13"0,-13 0 16,13 1-16,0-1 16,-14 0-16,14 13 0,-13-12 15,13-1-15,0 13 0,-13-12 16,13-1-16,0 0 16,0 0-16</inkml:trace>
  <inkml:trace contextRef="#ctx0" brushRef="#br1" timeOffset="170815.04">18997 8506 0,'0'27'46,"0"-14"-46,0 0 16,13 0-16,-13 1 0,0-1 16,14 0-16,-14 0 15,13-13-15,0 14 0,0-14 16,14 0 0,-27-14-16,13 1 15,-13 0-15,13 0 16,-26-1-16,13 1 15,0 0-15,-13 0 16,-1 0-16,1 13 16,-13-14-1,13 14-15,13 14 0,-14-14 16,1 0-16</inkml:trace>
  <inkml:trace contextRef="#ctx0" brushRef="#br1" timeOffset="171315.71">19301 8440 0,'-26'27'16,"26"-14"-1,0 0-15,-13 0 0,13 1 16,0-1-16,-14 0 16,14 0-16,0 0 15,14 1-15,-14-1 16,13-13 0,0 0-16,0-13 15,1 13-15,-1-14 16,0 14-1,-13 14 1,13-14 0,-13 13-1,14-13 1,-14 13 0,13-13-1,0 0 1,0 0-16,0 13 15,1-26 1,-1 13-16,0 0 31</inkml:trace>
  <inkml:trace contextRef="#ctx0" brushRef="#br1" timeOffset="171861.94">18852 8824 0,'0'0'0,"26"0"15,-13 0-15,14 0 16,-14 0-16,13 0 0,1 0 15,-1 0-15,14 0 0,-14 0 16,14-13-16,-13 13 0,-1 0 0,14 0 16,-14 0-16,1-14 0,12 14 15,14-13-15,-26 13 0,-1 0 16,1 0-16,-1-13 0,-13 13 16,14 0-16,-14-13 0,0 13 0,14-14 0,-14 1 15,0 13-15,0-13 0,14 0 0,-14 0 16,0-14-16,1 14 15,-14 0-15,13-14 0,0 1 0,-13-1 0,0 14 16,13-13-16,-13-1 0,-13 1 16,13-1-16,0 1 0,-13-1 15,0 1-15,-14-1 0,14 1 0,-14 13 16,1-14-16,-1 14 0,1 0 0,0 0 16,-54-1-16,1 14 15,26 0-15,0 0 16,0 27-16,-13-14 0,13 0 0,-53 40 15,53-26-15,0 12 0,-39 27 16,52-39-16,0 13 0,14-14 16,-1 0-16,-12 27 0,26-26 15,-1-14-15,1 14 0,13-14 16,0 13-16,0-13 0,0 1 16,0-1-16,0 0 0,13 0 15,1-13-15,-14 14 0,13-14 0,0 0 16,0 13-16,14-13 0,-14 0 0,13-13 15</inkml:trace>
  <inkml:trace contextRef="#ctx0" brushRef="#br1" timeOffset="175646.86">19778 8665 0,'26'0'16,"-13"0"-16,1 13 0,-1-13 15,13 14-15,-13-14 0,1 0 16,12 13-16,-13-13 16,14 13-16,-1-13 0,1 0 0,52 13 15,-39-13-15,13 0 0,0-13 0,0 13 16,-1 0-16,1-13 16,14 0-16,-28 13 0,14-14 0,0 1 15,0 0-15,-13 13 0,13-13 0,-14-1 16,1-12-16,0 13 0,-1-1 15,1 1-15,13-13 0,13-1 16,-26 14-16,-1-13 0,1 12 16,-13 1-16,-14 13 15,13-13-15,-13 0 16,1 13-16,-1 0 0,-13-13 16,13 13-16,0 0 15,-13-14 1</inkml:trace>
  <inkml:trace contextRef="#ctx0" brushRef="#br1" timeOffset="176001.84">21259 8308 0,'13'0'15,"-26"0"-15,40 13 0,-1-13 0,-13 0 16,1 0-16,12 13 16,14 1-16,-27-14 15,0 13-15,-13 0 16,13 14-16,-13-14 16,-13 0-16,0 13 0,0-12 15,13-1-15,-40 27 16,27-27-16,-14 0 0,14 0 15,0 0-15,0 1 0,-14-14 16</inkml:trace>
  <inkml:trace contextRef="#ctx0" brushRef="#br1" timeOffset="176677.75">19910 8520 0,'-40'13'31,"27"-13"-31,0 0 15,0 13-15,-1 0 0,-25 0 16,25 1-16,-12-1 0,-1 0 16,14 0-16,-13 14 15,26-14-15,-13-13 0,-1 13 16,14 1-16,-13-1 0,13 0 16,0 0-16,0 0 15,13-13-15,-13 14 16,14-14-16,-14 13 0,13-13 0,0 0 15,0 13 1,14-13-16,-14 0 0,0 0 16,0 0-16,1 13 0,-1-13 0,13 0 15,-12 0-15,12 0 0,-13 0 16</inkml:trace>
  <inkml:trace contextRef="#ctx0" brushRef="#br1" timeOffset="177247.95">21114 9049 0,'-13'-13'0,"13"-1"31,-27 28-31,1-1 0,-14 13 16,13 1-16,-25 26 15,-1 0-15,26-27 16,1 14-16,-14-14 0,-13 40 15,27-39-15,-1-1 0,-12 14 16,25-14-16,1-12 0,0-1 16,-14 13-16,14-13 0,0 1 15,0-1 1,-1-13-16,1 13 16,0-13-16,13-13 15,-13 13-15,-14-13 16,27-1-16,-13-12 15</inkml:trace>
  <inkml:trace contextRef="#ctx0" brushRef="#br1" timeOffset="177706.75">20095 8983 0,'-13'-14'16,"53"41"15,-27-14-31,13 14 16,14-1-16,53 27 0,12 13 16,1-13-16,-53-13 15,13-14-15,-13 1 0,0-1 16,0 0-16,40 27 15,-54-26-15,1-14 0,-14 0 0,41 27 16,-28-14-16,14-12 16,-40-1-16,14 0 15,-1 0 1,-12-13-16,-1 14 0,0-1 16,0-13-16,0 13 31,1-13-16,-41 0 79</inkml:trace>
  <inkml:trace contextRef="#ctx0" brushRef="#br1" timeOffset="182571.15">7474 8334 0,'14'-13'16,"-1"13"0,0 0-16,14 13 0,26 1 15,-14-14-15,14 13 0,79 13 16,-65-26-16,-1 14 0,-13-1 16,13 0-16,0 0 0,0-13 15,-13 13-15,13-13 0,-13 0 16,13 0-16,40 0 0,-53 0 0,0-13 15,53-13-15,-67 26 0,14-27 16,0 14-16,0-13 0,-13-1 16,0 14-16,-14-14 0,14 1 15,-14 0-15,1-1 0,12-26 16,-39 27-16,14-1 0,-14 1 0,0-1 16,0-12-16,-14 12 0,1-12 15,-13-1-15,-1-13 0,-52-26 16,39 39-16,-79-26 0,0 13 15,53 26-15,0 1 16,-1-1-16,1 1 0,0 13 0,0-1 16,0 1-16,0 0 0,0 0 0,13 13 15,0 0-15,-13 0 0,13 0 0,-13 13 16,-1-13-16,1 13 0,0 0 16,0 14-16,-13-14 0,12 14 15,-65 12-15,66 1 0,13-14 16,-13 1-16,13 13 0,13-14 15,-13 1-15,-13 39 0,40-40 16,-1 1-16,-12 26 0,25-40 16,14 13-16,-13 1 0,26-14 15,-13 13-15,14-12 0,12-1 16,-13 0-16,27 0 0,0 0 0,-1-13 16,14 14-16</inkml:trace>
  <inkml:trace contextRef="#ctx0" brushRef="#br1" timeOffset="183405.02">11351 8387 0,'13'14'0,"-13"-1"15,13-13-15,0 13 0,14 0 0,-14-13 16,27 13-16,-1 1 0,14-1 16,-13 0-16,79 14 15,-53-27-15,66 13 0,-79-13 16,80-13-16,-67 13 0,13-14 15,-13 14-15,0-13 0,1-13 16,-1 12-16,0 1 0,0-13 0,-13 13 16,0-14-16,0 1 0,0-1 0,-14 1 15,14-1-15,-13-12 0,13-14 16,-13 26-16,-27 1 0,13-14 16,14-26-16,-40 26 0,13 1 15,-13 12-15,0-13 0,-13 1 16,0-1-16,-14-13 0,1 13 15,-67-52-15,-39 12 0,66 41 16,-80-14-16,67 26 16,0 1-16,-14 13 0,14-14 15,-14 27-15,-92-13 0,105 13 16,1 0-16,0 0 0,-1 13 0,14 0 16,-13 14-16,-54 13 15,81-1-15,-134 54 16,133-67-16,-52 54 0,65-41 15,0 1-15,14 0 16,-27 39-16,26-52 0,14 52 16,13-53-16</inkml:trace>
  <inkml:trace contextRef="#ctx0" brushRef="#br1" timeOffset="186394.84">3321 8467 0,'0'0'0,"0"26"32,0-13-32,0 1 0,0 12 0,-14 14 15,14 13-15,-13 79 16,0-53-16,0 14 0,-14 13 0,14 13 16,0-13-16,-14 13 0,14 0 15,-13 0-15,-1 13 0,14-13 16,-14 0-16,-12 106 0,25-119 15,-12 0-15,13-14 0,-14 14 0,14-26 16,0-1-16,-14 80 16,14-80-16,0 0 0,0 1 0,0-1 15,13 1-15,-14-1 0,1 0 0,0-12 16,13-1-16,-13 13 0,13-26 16,0 13-16,0-13 0,0 0 0,0-13 15,0 13-15,13-14 0,-13 14 16,26 27-16,-12-41 0,12 41 15,0-41-15,1 1 0,-14 0 16,40 13-16,-13-14 16,-14-12-16,54 39 0,-41-26 15,14-14-15,-13 0 0,13 1 16,0 13-16,0-14 0,-1 1 0,68 25 16,-68-38-16,15 12 0,-1 1 15,0-14-15,0 13 0,13 1 16,1-1-16,-14-13 0,119 40 15,-105-26-15,25-1 0,94 27 16,-107-26-16,14-1 0,119 27 16,-119-27-16,0 14 15,105 13-15,-105-26 0,119 25 16,-106-25-16,106-1 16,-13 14-16,-120-40 0,41 13 15,-14 0-15,145 1 0,-12-1 16,-133 0-16,13 0 15,119 14-15,-131-27 0,-1 13 16,132 14-16,-132-14 16,-26-13-16,12 13 0,-12-13 0,0 13 15,12-13-15,-12 13 0,13-13 0,-13 0 16,-1 14-16,1-14 0,-1 0 0,1 0 16,0 0-16,-1 0 15,1 0-15,-1 0 0,1 0 0,-14 0 16,14 0-16,0-14 0,-14 14 0,14 0 15,-14 0-15,0-13 0,1 13 0,-1-13 16,80 13-16,-80-13 16,80 13-16,-27 0 15,-79 0-15,13 0 0,53 0 16,-66 0-16,0 13 0,53-13 16,-53 0-16,-13 0 0,52-13 15,-52 13-15,0 0 16,26 0-16,-40 0 0,27-13 15,-26 13-15,-14 0 16,0 0-16,13 0 0,-12 0 0,-1 0 0,0 0 16,14-14-16,-14 14 15,0 0-15,13 0 0,-12 0 16,12 0 0,-13 0-1,1 0-15,-14-13 16,13 13-1,-13-13-15,0-14 32</inkml:trace>
  <inkml:trace contextRef="#ctx0" brushRef="#br1" timeOffset="186725.44">12422 13295 0,'53'14'0,"-26"-1"16,25 13-1,-25-13-15,13 1 0,-1-1 16,-12 13-16,39 1 0,-26-1 15,13 1-15,13 12 16,-53-25-16,0-1 0,0 0 16,14 14-16,-27-1 15,0 14-15,-27-1 16,1-12-16,-40 39 16,13-26-16,0-1 0,0 1 15,-13 0-15,13-14 0,-93 54 16</inkml:trace>
  <inkml:trace contextRef="#ctx0" brushRef="#br1" timeOffset="192861.74">17436 13163 0,'13'-13'0,"0"13"0,14-13 16,13-1-16,-1 1 0,94-13 16,-67 12-16,13 1 0,14 0 15,26-13-15,0 12 0,0 1 0,0-13 16,0 26-16,0-14 0,-13 1 0,-13 0 15,92 0-15,-13-1 16,-13 1-16,-27 0 16,-79 13-16,-14 0 15,54-13-15,-40 13 16,0-13-16,-27 13 16,14-53 15</inkml:trace>
  <inkml:trace contextRef="#ctx0" brushRef="#br1" timeOffset="193154.29">19473 12488 0,'14'0'31,"12"0"-31,27 0 16,-27 0-16,-92 27 0,225-40 16,-119 26-16,-1 0 0,-330-53 0,622 93 15,-291-40-15,-1 14 0,-12-14 0,-1 0 16,-12 1-16,12 12 0,-13 14 16,-13-27-16,0 27 0,0-14 15,-13 14-15,-27 13 16,1 0-16,-14-14 15,0 1-15,26-27 16,14 1-16,0-14 16,13 13-16</inkml:trace>
  <inkml:trace contextRef="#ctx0" brushRef="#br1" timeOffset="194780.94">22132 12184 0,'-26'0'15,"52"0"-15,-65 0 0,25 0 0,1 13 0,-26 14 16,25-1-16,-12 1 15,13-1-15,-14 14 0,14-14 0,13 1 16,-13 12-16,13-12 16,0 13-16,0-14 15,0-13-15,13 14 0,-13-14 0,13 13 16,-13-12-16,13-1 0,1 0 16,-1-13-16,-13 13 0,13-13 0,0 0 15,1 0-15,-1 0 0,13 0 0,-13-13 16,14 0-16,-1 0 0,1-1 0,-1-12 15,14-14-15,-14 1 16,-12 12-16,-1 1 16,0 12-16,-13 1 15,0 0 1,0 0-16,-13 39 31,13-13-31,0 1 16,0-1-16,13 0 15,14 14-15,-14-14 16,0-13-16,27 13 16,-27 0-16,0-13 0,14 0 0,-1-13 15,27 0 1,-13-53 0,-54 39-1,14 14-15,-26 0 16,-119-27 31,131 40-32,54 0 17,13-26-17,-27 26 1,1 0-16,12-14 15,-25 14-15,-1 0 16,0 14-16,27-14 0,-14 13 16,-12 13-16,-1-13 15,0-13-15,-13 14 0,13-1 16,-13 0-16,0 0 0,0 1 16,0-1-1,0 0-15,0-53 31,13 27-15,-13 0-16,0 0 0,0-1 16,14 1-16,-14 0 0,13 0 0,0 0 15,-13-1-15,13 14 0,1-13 16,-14 0-16,13 13 16,0 0-16,0 13 15,1 0-15,-1-13 0,0 27 16,0-14-16,-13 0 15,13 14-15,-13-14 16,0 0-16,14-13 16,-14 13-16,13-26 31,-13-13-31,13-1 16,-13 14-16,13 0 0,-13 0 15,14-1-15,-14 1 16,0 0-16,0 0 15,13 13-15,-13-14 0,13 1 16,0 13 0</inkml:trace>
  <inkml:trace contextRef="#ctx0" brushRef="#br1" timeOffset="195173.23">23310 11999 0,'-13'-13'0,"-1"26"0,1-13 15,13 13-15,-13 0 0,0 1 16,-1 25-16,1-26 0,0 40 16,13-13-16,0-13 15,0-1-15,13 0 0,0-12 16,1 25-16,-1-25 15,13 12-15,-12-13 0,25 14 16,-26-27-16,27 0 16,-13 0-16,-1 0 15,-13 0-15,14-14 0,-14 14 16</inkml:trace>
  <inkml:trace contextRef="#ctx0" brushRef="#br1" timeOffset="195478.28">23892 11893 0,'13'0'16,"-26"0"-16,53 0 0,-14 13 15,14 14-15,-27-14 0,0 0 16,40 40 0,-40-26-16,-13-1 0,0-13 15,0 14-15,-13 12 16,0-12-16,-27 26 0,27-27 16,-53 27-16,13-13 15,0-14-15,-13 1 16</inkml:trace>
  <inkml:trace contextRef="#ctx0" brushRef="#br1" timeOffset="197669.53">22794 11205 0,'0'-13'16,"-27"53"15,27-27-31,0 0 0,0 0 0,0 14 16,14-1-1,-14 1-15,0-14 16,0 27-16,13-14 16,-13-13-1</inkml:trace>
  <inkml:trace contextRef="#ctx0" brushRef="#br1" timeOffset="197988.96">22847 11126 0,'26'-27'15,"-52"54"-15,65-54 0,-25 14 0,-1 13 16,0 13-1,-13 0-15,0 1 16,0 12-16,0-13 16,0 14-16,-13-14 0,13 0 15,-13 14-15,-14 12 0,14-25 16,0 12-16,0-26 16,-1 13-16,14 1 0,-13-14 15,13 13-15,-13-13 0,0 13 16</inkml:trace>
  <inkml:trace contextRef="#ctx0" brushRef="#br1" timeOffset="198666.68">23032 11298 0,'-26'13'31,"26"0"-15,13 0-16,0-13 31,0 0-31,0 0 16,1-13-16,-1 13 0,13 0 15,-12 0-15,-1 0 0,0 0 16,14 0-16,-14 0 0,13 13 16,-13 14-16,1-27 0,-1 26 15,-13-12-15,0 12 16,0-13-16,0 0 0,0 1 16,-13-1-16,13 0 0,-14 0 15,1 1 1,0-28 15,26 1-15,0 0-16,-13 0 15,0-1-15,27-12 0,-14 13 0,-13-14 16,13 14-16,1-27 16,12 14-16,-13-1 0,0 1 0,1 0 15,-1-14-15,27-53 16,-27 40-16,-13 40 15,13-27-15,-13 14 16,0 0 15,0 52-15,0-13-16,-13 27 16,13-27-16,0 27 0,13-27 15,-13 13-15,0 14 16,0 0-16,13 0 15,-13-27 1,0 0-16,0 0 16,0 0-1</inkml:trace>
  <inkml:trace contextRef="#ctx0" brushRef="#br1" timeOffset="199663.15">23389 11165 0,'53'-39'0,"-106"78"0,119-105 0,-39 40 16,-14 13-16,0-1 16,-13 1-1,13 0-15,1 0 16,-14 39 15,0-13-15,-14 1-16,14 12 15,0-13-15,0 0 0,-13 1 16,13-1-16,0 13 16,0-12-1,-13-1-15,13 0 16,13-13-16,-13 13 16,13-13-1,-13 14 1,14-14-16,-1 0 15,0-14-15,0 14 16,1 0-16,-1-13 0,0 13 16,-13-13-16,13 13 0,1-13 15,-1 13-15,-13-14 0,13 14 0,-13-13 16,13 0-16,0 13 16,-13-13-16,14 39 31,-14-13 0,13 1-31,-13-1 16,13-13-16,0 13 15,1-13-15,-1 0 16,0 0-16,0 0 16,0 0-16,-13-13 0,14 13 15,-14-13-15,0-1 16,-14 1-16,1 0 15,0 0-15,0 13 16,0-14-16,-1 14 16,1-13-1,40 13 17,-14 0-17,0 0-15,13 0 16,-12 0-1,-1 0-15,0 13 16,0-13-16,14 14 16,-14-1-1,0-13 1,1 13 0,-1-26 15,0 13-31,0-13 15,14-14 1,-14 14 15</inkml:trace>
  <inkml:trace contextRef="#ctx0" brushRef="#br1" timeOffset="199805.93">24064 11060 0,'13'0'16,"-26"0"15,13 13 0,-13 0-31,-1 0 0,-25 14 16</inkml:trace>
  <inkml:trace contextRef="#ctx0" brushRef="#br1" timeOffset="200399.16">23045 11695 0,'80'-14'16,"-14"1"-16,26-13 15,41 12 1,-80 1-16,13 0 0,0 0 0,0 0 16,53-14-16,0 1 15,-66 12-15,13-12 0,40-1 16,-53 1-16,53-14 16,-53 14-16,-14-1 0,54-26 15,-53 27-15,26-53 16,-13 12-16,-27 41 15,14-40-15,-27 26 0,0-52 16,-26 65-16,0 1 16,0-14-16,-14 14 0,-13-14 15,-12 13-15,-1 1 0,-13-1 0,-1 1 16,-12 13-16,13-14 0,-106 14 16,0 0-16,92 13 15,-91 0-15,78 13 16,0 0-16,-13 14 0,-79 39 0,13 27 15,93-54-15,-80 80 16,40-26 0,26 13-16,27-14 15,27-26-15,39-26 16,-14-13-16,14-1 0,14 27 16,-1-27-16,13 1 0,27-1 15,13 1-15,1-27 16,-15-13-16,1 13 15,14-14-15,-1 1 0,53-27 0,0 1 16,-79 26-16,26-14 16</inkml:trace>
  <inkml:trace contextRef="#ctx0" brushRef="#br1" timeOffset="201565.18">22542 11536 0,'-13'0'0,"26"0"0,-39 13 16,13-13-16,-14 27 15,27-14-15,-13 0 0,0 13 16,0-12-16,13 12 0,0-13 0,-14 14 15,14-14-15,0 0 0,0 14 16,0-14-16,0 0 0,14 0 0,-14 1 16,0-1-16,13 13 15,-13-12-15,0-1 0,13 0 16</inkml:trace>
  <inkml:trace contextRef="#ctx0" brushRef="#br1" timeOffset="201857.34">22371 11681 0,'-14'0'0,"1"14"16,13-1-1,0 0-15,-13 0 0,13 1 16,0 12-16,0-13 0,0 0 15,0 14-15,13-14 16,-13 0-16,0 1 0,0-1 0,13-13 0,-13 13 16,14 0-16,-1 0 15,0-13-15,13 0 16,-12 0 0,-1 0-16,-13-13 0,13 13 0,0 0 15,1 0-15,-14-13 0,13 13 0,0 0 16,0-13-16</inkml:trace>
  <inkml:trace contextRef="#ctx0" brushRef="#br1" timeOffset="208874.05">22503 10253 0,'13'-14'0,"0"41"31,-13-14-31,13 14 16,-13-1-16,14 0 15,-1-12-15,-13 12 0,13 1 0,-13-1 16,13 1-16,-13 25 0,14-25 16,-14-14-16,0 14 0,13-14 15,-13 0-15,0 0 0,0 14 16,13-14-16,-13 0 0,-13 0 15</inkml:trace>
  <inkml:trace contextRef="#ctx0" brushRef="#br1" timeOffset="209185.72">22463 10557 0,'0'0'0,"0"26"16,0 1 0,0-14-16,13 0 0,-13 14 15,0-14-15,14 0 0,-14 0 16,13 1-16,-13-1 0,13 0 0,0 0 16,0 1-16,1-1 0,-1 0 15,0-13-15,0 13 0,1-13 16,-1 0-16,13 0 15,1-13-15,-14 0 16,0 13-16,53-66 31,-52 52-31,-1-12 16</inkml:trace>
  <inkml:trace contextRef="#ctx0" brushRef="#br1" timeOffset="209865.9">22185 9393 0,'0'0'0,"-13"26"16,13-13 0,-13 27-16,13-27 15,0 14-15,0-1 0,0 1 0,-13-1 0,13 27 16,0-26-1,-14-1-15,14 0 0,0 1 0,0-14 16,0 14-16,0-1 16,0-13-16,0 0 15,14-39 1,-1 13 0,-13 0-16,13-1 0,0 1 15,1 0-15,-14 0 0,13-1 0,13-12 16,-13 26-16,1-13 15,-1 13-15,0 13 16,0-13-16,1 13 16,-14 0-16,13-13 0,-13 14 15,13-1-15,-13 0 0,0 0 16,13 1 0,-13-1-16,14 0 31,-1-13-16</inkml:trace>
  <inkml:trace contextRef="#ctx0" brushRef="#br1" timeOffset="210192.74">22490 9737 0,'26'-27'16,"-13"27"-16,0-26 15,-13 13-15,27-40 32,-40 39-17,-14 28 1,14-1 0,13 0-16,-13-13 15,0 13-15,13 1 0,0-1 0,-14 0 0,14 0 16,0 0-1,0 1-15,0-1 0,14-13 16,-14 13-16,13-13 0,13 13 16,-13-13-16,1 0 15,-1 0-15,0 0 0,14 0 16,-14 0-16,0 0 0,0 0 0,1 0 16</inkml:trace>
  <inkml:trace contextRef="#ctx0" brushRef="#br1" timeOffset="210849.27">22807 9684 0,'-13'-27'16,"0"14"-1,39 53 1,-79-67-16,40 41 16,13-1-1,-13 0-15,13 0 16,0 0-1,13 1 1,0-28 0,0 14-16,1 0 0,12-26 15,-13 26-15,1-26 0,25-27 32,-39 39-17,0 41 32,0-14-31,0 0-16,0 1 15,13-1-15,1-13 16,-14 13-16,26-13 16,-13 0-16,1-13 15,-1 13-15,13-13 0,-12-1 16,-1 1-16,0-27 15,0 1-15,14-27 0,-14 39 16,0-13-16,0-52 16,-13 65-16,14 1 15,-14 13-15,0-14 0,0 1 16,0 13-16,-14 26 16,14 0-1,-13 0-15,13 27 16,0-27-16,0 14 0,0-1 0,13 27 15,-13-40-15,0 14 16,14-1-16,-14-13 0,13 1 16,0 12-16,0-13 0,-13 0 15,14 1-15,-1-14 0,-13 13 0,13-13 16,-13 13-16,13-13 16,0 0-16</inkml:trace>
  <inkml:trace contextRef="#ctx0" brushRef="#br1" timeOffset="211054.72">22913 9512 0,'-79'-13'15,"105"-1"17,0 1-17,-12 13-15,-1 0 16,13-13-16,1 13 0,-1-13 0,27-1 15,-26 1-15,26 13 16,-40-13-16,13 13 0,1 0 16,-14 0-16,0 0 0,0 0 15,1 0-15,-1 0 0</inkml:trace>
  <inkml:trace contextRef="#ctx0" brushRef="#br1" timeOffset="211559.34">23323 9419 0,'13'13'47,"-13"1"-47,0-1 0,0 0 16,0 0-16,0 1 0,0-1 16,0 0-16,0 0 15,0 0-15,13 1 16,1-28 15,-14 1-15,13 0-16,0 0 0,0 0 15,-13-1 1,14 14-16,-1-13 16,0 26-1,-13 1 1,13-1-1,-13 0-15,0 0 16,27-26 15,-27 0-15,13 0-16,0 13 16,-13-14-16,13 14 15,1 0-15,-1-13 16,0 13-16,0 13 15,1-13 1,-1 0 0,-13 14-16,13-14 15,0 0 1</inkml:trace>
  <inkml:trace contextRef="#ctx0" brushRef="#br1" timeOffset="212337.48">23746 9406 0,'-13'-13'15,"26"26"-15,-39-26 0,13 13 16,-1 0 0,1 0-16,0 0 15,13 13-15,-13-13 0,13 13 16,-13 0-16,13 1 15,13-1 1,0-13 0,0-13-1,14 13 1,-14-14-16,0 14 16,0 0-1,1 0 1,-1 14-16,0-28 15,0 14-15,0 0 16,-13-13-16,14 13 0,-1-13 16,0 0-16,0-1 15,1 1-15,-14 0 0,26-27 16,-26 14-16,13-1 0,-13 1 0,14 13 16,-14-14-16,26-39 15,-26 53-15,13-14 16,-13 54 15,0-1-31,0-12 0,0 25 0,-13 41 16,13-27-16,0-14 15,0 1-15,0 13 0,0-13 0,0-1 16,-13-12-16,13 26 0,0-14 16,-13-12-16,13-14 0,0 13 15,0-12-15,-14-1 16,28-53 15,-14 14-31,13-1 0,0-12 16,13-14-16,-12 0 0,12 13 0,-13 0 15,27-26-15,-27 53 16,14-13-16,-14-1 16,0 27-16,0 0 15,-13 13-15,0 1 16,0-1-1,-13 0-15,0 0 0,0 0 16,13 1-16,-13-14 0,-1 13 16,-25 13-16,12 1 15,-118 79 1,78-67 0,-38 28-1</inkml:trace>
  <inkml:trace contextRef="#ctx0" brushRef="#br1" timeOffset="212659.78">22741 10001 0,'-13'0'0,"26"0"0,0-13 31,14 13-31,-1-13 0,27 13 16,-13-13-16,26-1 0,66-12 15,0-1-15,14 1 16,-80 13-16,0-1 16,0-12-16,1 13 0,-15 13 0,-12-13 15,0-1-15,26 14 0,-26-13 16,-14 13-16,-13 0 15,1 0-15,-41 27 16,1-27 0,-1 13-16,-39 13 0,13-13 15</inkml:trace>
  <inkml:trace contextRef="#ctx0" brushRef="#br1" timeOffset="212901.07">23006 10014 0,'-80'14'0,"27"12"31,186-66-31,-239 80 16,132-40 0,1 0-16,26 0 0,-14-13 15,67 0-15,-53 13 0,66-27 16,-66 14-16,0 13 16,0-13-16,0 0 0,0 13 0,-14-14 15,1 1-15,0 13 0,26-13 16,-53 0-16,13 13 0,1-14 15,-14 1-15,0 13 16,-13-13-16,-13-14 16,0 27-16</inkml:trace>
  <inkml:trace contextRef="#ctx0" brushRef="#br1" timeOffset="213201.87">22662 9062 0,'52'-26'16,"-38"12"-16,25 1 15,54 0-15,-27 0 16,0-1-16,53-12 0,-39 13 16,-14-1-16,66 1 0,-79 0 15,0 0-15,0 13 0,0-13 16,-27 13-16,27 0 16,-40 0-16,1 0 0</inkml:trace>
  <inkml:trace contextRef="#ctx0" brushRef="#br1" timeOffset="213456.58">22794 9168 0,'40'26'31,"-80"-52"-31,146 52 16,-14-39-16,1 0 15,-40 13-15,-13-13 0,12 13 16,94-27 0,-93 27-16,26-13 0,1 0 15,-27-1 1,-27 14-16,53 0 16,-65 0-16,12 0 15</inkml:trace>
  <inkml:trace contextRef="#ctx0" brushRef="#br1" timeOffset="213757.3">24368 8837 0,'13'13'16,"1"1"-1,-14-1-15,13 0 0,0 40 16,-13-27-16,13 14 0,1 0 16,-14-1-16,26 28 15,-26-28-15,0 1 0,0 39 0,0-52 16,0-1-16,-13 14 0,13-14 16,0 1-16,-13 13 15,13-27-15,0 0 0,-14 0 0,14 0 16,-13 1-1,13-41 1,0 14-16</inkml:trace>
  <inkml:trace contextRef="#ctx0" brushRef="#br1" timeOffset="213970.9">24527 9075 0,'66'-172'0,"-40"106"16,-118 304-1,198-489-15,-120 291 16,1-14-1,-13 53-15,13-26 0,-1 0 16,-12 0-16,13 0 0,-1-13 16,1 39-16,0-39 15,13 39-15,0-39 0,0-14 16,0-12-16,0 12 16,0-13-16,0 0 0,-13 1 15,13-1-15,0 0 0,-27-13 16</inkml:trace>
  <inkml:trace contextRef="#ctx0" brushRef="#br1" timeOffset="214522.04">21762 9406 0,'-13'-27'0,"13"14"16,-13 40-1,13-1-15,-14 1 16,14 12-16,-13 41 16,13-41-16,0 67 0,-13-66 15,13 13-15,0-14 0,0 1 16,0-13-16,0 12 0,0-25 0,0 12 15,0-13-15,0 0 0,13 1 16,0-28 0</inkml:trace>
  <inkml:trace contextRef="#ctx0" brushRef="#br1" timeOffset="214691.9">21894 9432 0,'14'-66'0,"12"27"31,-66 144-31,80-184 0,-40 92 15,0 27-15,-40 251 16,27-146 0,0-12-16,0-67 15,-14 119-15,14-92 16,13-54-16</inkml:trace>
  <inkml:trace contextRef="#ctx0" brushRef="#br1" timeOffset="-203891.7">556 10001 0,'13'27'0,"0"12"16,-13-12-1,13-14-15,-13 0 0,14 1 0,-14-1 16,13 0-16,0 0 0,0 0 16,-13 1-16,27-1 0,-14 0 15,0-13-15,0 0 0,1 0 16</inkml:trace>
  <inkml:trace contextRef="#ctx0" brushRef="#br1" timeOffset="-203659.66">886 9909 0,'14'-14'0,"-28"28"0,28-41 16,-28 54 15,1-1-31,13-13 0,0 14 16,-13 12-16,0-12 0,13 13 0,-14-14 15,14 14-15,-13-1 0,0-12 16,13 13-16,-13-1 0,13-12 16,-13-1-16,13 1 0,0-1 0,-14-13 0,14 1 15,0 12-15,-13-13 0,13 1 16,0-1-16,0 0 16,0 0-16</inkml:trace>
  <inkml:trace contextRef="#ctx0" brushRef="#br1" timeOffset="-203347.5">939 10173 0,'0'0'0,"13"-13"15,1 13 1,-14-13-16,13 13 15,0 0-15,0-13 0,27-1 16,-27 14-16,1 0 0,-1 0 16,0-13-16,0 13 0</inkml:trace>
  <inkml:trace contextRef="#ctx0" brushRef="#br1" timeOffset="-203131.57">1005 10306 0,'0'0'16,"-13"13"0,53-26 15,-27 13-31,0 0 16,1-14-16,12 14 15,-13-13-15,0 13 0,14-13 0,-14 0 16,27-1-16,13-25 0,-27 25 15,1 1-15</inkml:trace>
  <inkml:trace contextRef="#ctx0" brushRef="#br1" timeOffset="-202925.79">1640 9776 0,'14'27'16,"-14"-14"-1,0 13-15,0-12 16,0-1-16,0 13 0,-14-12 0,14 12 16,0 1-16,0-1 0,0 0 15,0 1-15,0-1 0,-13 1 16,13-14-16,0 14 0,0-14 0,-13 0 0,13 0 16</inkml:trace>
  <inkml:trace contextRef="#ctx0" brushRef="#br1" timeOffset="-202711.45">1389 9975 0,'27'-13'32,"-14"26"-32,13-13 15,-13 0-15,1 13 0,12-13 16,-13 13-16,27 0 0,-27-13 15,1 14-15,12-1 0,-13-13 0,0 0 16,1 13-16,-1-13 16,0 0-16,14 0 0,-14 0 15</inkml:trace>
  <inkml:trace contextRef="#ctx0" brushRef="#br1" timeOffset="-202499.02">1812 9710 0,'0'-13'16,"14"39"0,-1-12-1,-13-1-15,26 13 16,-26-12-16,14-1 0,-1 13 16,0-13-16,13 14 0,-26-14 15,14 0-15,-1 1 0,0 12 16,-13-13-16,13-13 0,-13 14 15,0-1-15</inkml:trace>
  <inkml:trace contextRef="#ctx0" brushRef="#br1" timeOffset="-202303.63">1852 9922 0,'13'-13'31,"-13"-1"-31,27 1 0,-14 13 16,0-13-16,0 0 0,1 13 15,12-14-15,-13 1 16,14 0-16,26-27 0,-27 27 16</inkml:trace>
  <inkml:trace contextRef="#ctx0" brushRef="#br1" timeOffset="-202077.86">2315 9525 0,'-106'93'31,"93"-80"-31,0 0 0,13 0 16,0 14-16,132-186 0,-277 344 16,158-145-16,13-14 15,1 1-15,-14-27 16,0 13-16,27-13 15,-14 0-15,1-13 16,-14 13-16,40-13 16,-40 13-16,0 0 15</inkml:trace>
  <inkml:trace contextRef="#ctx0" brushRef="#br1" timeOffset="-201815.51">1759 10319 0,'27'-27'31,"-14"14"-31,0 0 0,27 0 0,0-14 16,-1 14-16,14-14 0,0 1 15,0 0-15,0-1 0,53-13 16,-66 14-16,39-1 16,-39 14-16,13-13 0,-27 26 15,1 0-15</inkml:trace>
  <inkml:trace contextRef="#ctx0" brushRef="#br1" timeOffset="-201572.88">1667 10491 0,'92'-40'16,"-52"27"0,66-40-16,-53 40 15,0-14-15,0 1 0,0-1 0,13 1 16,-27-1-16,14 14 0,-13 0 15,-13 0-15,12-14 0,-12 27 16,-14-13-16,13 0 0,-12 13 0,-1-13 0,0-1 16,0 1-1,-26 0-15,13 0 16</inkml:trace>
  <inkml:trace contextRef="#ctx0" brushRef="#br1" timeOffset="-201250.82">1455 9512 0,'27'-13'0,"-14"-1"15,13 14-15,1-26 0,-1 13 0,14-1 16,0-12-16,-1-1 0,1 1 16,0 13-16,13-14 0,0 1 0,26-14 15,-39 27-15,-1 0 16,-12 0-16,-1-1 0,1 14 0,-14 0 15,0-13-15</inkml:trace>
  <inkml:trace contextRef="#ctx0" brushRef="#br1" timeOffset="-201033.72">1588 9551 0,'26'-26'15,"0"13"-15,1 0 16,-1-1-16,1-12 0,12 13 0,-12-14 16,52 1-16,1-14 15,-41 27-15,41-14 16,-41 14-16,-12 0 0,13 0 16,-14-1-16,-13 14 15,0 0-15,1 0 0</inkml:trace>
  <inkml:trace contextRef="#ctx0" brushRef="#br1" timeOffset="-200527.69">2566 9300 0,'14'13'16,"-1"1"-16,0 12 0,0-13 16,1 14-16,-1 12 0,13-12 15,-12 13-15,25 26 16,-12-13-16,-14-14 0,13 14 16,-12-26-16,-1-14 15,0 13-15</inkml:trace>
  <inkml:trace contextRef="#ctx0" brushRef="#br1" timeOffset="-200323.65">2699 9313 0,'0'27'0,"13"-1"16,-13-13-16,13 27 0,0 0 15,1-14-15,-1 14 0,0 0 16,0-1-16,1-12 0,12 52 16,-26-52-16,13-1 0,-13 14 15,14-14-15,-14-13 0,0 1 16</inkml:trace>
  <inkml:trace contextRef="#ctx0" brushRef="#br1" timeOffset="-199678.43">304 10160 0,'0'0'16,"14"13"-16,-1 27 15,0-14-15,0 1 16,0 13-16,1-1 0,-1 1 16,0 0-16,14 13 0,-14-14 0,0 1 15,13 39-15,-12-39 0,12 0 16,-26-14-16,13-13 16</inkml:trace>
  <inkml:trace contextRef="#ctx0" brushRef="#br1" timeOffset="-199473.83">278 10134 0,'-13'0'16,"26"26"-16,0 14 16,14 26-1,-14-26-15,13 12 0,-13-12 0,14 66 16,-1-27-16,-12-39 15,12 0-15,-13-1 0,14 14 16,-1-13-16,1 0 16</inkml:trace>
  <inkml:trace contextRef="#ctx0" brushRef="#br1" timeOffset="-196387.97">1958 6668 0,'-13'-14'47,"26"1"31,0 13-78,0-13 0,1 13 16,-14-13-16,13 13 0,0-14 16,0 14-16,1-13 0,-1 0 0,13 13 15,-13-13-15,1-1 0,-1 14 0,0-13 16,0 0-16,1 13 0,-14-13 15,13 13-15,0-13 0,0 13 0,0-14 16,1 1-16,-1 0 0,0 13 16,-13-13-16,13 13 0,1-14 15,-1 14-15,0-13 0,-13 0 16,13 13-16,1-13 0,-1 13 0,0-14 16,0 1-16,0 13 0,1-13 15,-1 13-15,0-13 0,-13 0 0,13 13 16,1-14-16,-1 1 0,0 13 0,0-13 15,1 0-15,-1 13 16,0-14-16,0 14 0,0-13 0,-13 0 16,14 13-16,-1-13 0,0 13 15,0-14-15,1 1 0,-1 0 16,0 13-16,0-13 0,1 13 0,12-13 16,-13-1-16,0 1 15,1 13-15,-1-13 0,0 13 16,-13-13-16,13 13 15,1 0-15,-14-14 0,13 14 0,0 0 16,0-13-16,1 13 16,-14-13-16,13 13 0,0 0 15,-13-13-15,13 13 0,0 0 0,1-14 16,-1 1-16,0 13 0,0 0 16,1-13-16,-1 0 15,0 13-15,0 0 0,0-13 16,1 13-16,-1-14 0,13 1 15,-12 13-15,-1-13 16,0 13-16,0-13 0,1 13 0,-1-14 16,0 1-16,13 13 0,-12-13 0,-1 13 15,0-13-15,0 0 0,14 13 16,-14-14-16,0 1 0,14 0 0,-14 13 16,27-27-16,-27 27 0,40-26 15,-40 13 1,0-1-16,0 14 0,1-13 0,12 0 15,-13 0-15,1 13 16,-1-13-16,0-1 0,0 14 0,1-13 16,-1 13-16,0-13 0,0 0 15,14 13-15,-1-27 0,-13 27 16,1-13-16,-1 0 0,27-1 16,-27 1-16,0 13 0,13-13 15,-12 0-15,-1 0 0,13 13 16,1-27-16,-1 27 0,1-26 15,-1 12-15,-13 14 16,14-13-16,-14 0 0,14 0 0,-14 13 16,0-13-16,14-1 0,-1-12 0,0 13 15,-12 13-15,-1-14 16,13 1-16,-12 13 0,-1-13 0,0 0 16,13-1-16,-12 1 0,12 0 0,-13 0 15,1 0-15,12-1 0,-13 1 16,14 13-16,12-26 0,-25 12 15,25-12-15,-25 13 16,25-1-16,-25 1 0,-1 0 16,0 13-16,0-13 0,0 0 15,1-1-15,-1 14 0,13-13 16,-12 0-16,-1 0 0,0 13 16,0-14-16,0 1 15,1 0-15,-1 13 16,-13-13-16,13 13 0,-13-14 15,13 14 1,1-13 0</inkml:trace>
  <inkml:trace contextRef="#ctx0" brushRef="#br1" timeOffset="-164342.75">2249 9499 0,'344'383'156,"-304"-436"-156,-40 27 16,-384-278-16,781 568 0,-397-290 15,0-1-15,0 1 0,-13-1 0,-1-26 16,-25 0 0,12 27-16,14 13 0,-27-27 15,27 27-15,0 13 0,-27-13 16,27-1-16,-40 14 15,40 14-15,0-14 16,-14 13-16,1 13 0,-1 1 16,14-14-16</inkml:trace>
  <inkml:trace contextRef="#ctx0" brushRef="#br1" timeOffset="-163804.48">2262 9472 0,'-53'119'16,"40"-92"-16,13 12 16,13 41-16,-13-41 15,13 41-15,1-41 0,-1-12 16,13 13-16,-12-14 0,-1 0 0,13 1 15,1-1-15,-14-12 0,13-1 16,-12-13-16,25 13 0,-12-13 16,52-13-16,-52-14 15,-1 14-15,1-13 16,-1-1-16,1 1 0,-1-27 16,-13-27-16,0 28 15,-26-1-15,0-13 0,0 26 16,0 0-16,-54-39 15,41 52-15,-27-12 16,40 25-16,0 14 16,-14 0-16,14 0 0,0 0 0,-1 0 15,-12 14-15,13-1 0,-1 0 0,-12 40 16,13-27-16,0 1 16</inkml:trace>
  <inkml:trace contextRef="#ctx0" brushRef="#br1" timeOffset="-163501.22">2633 10041 0,'39'79'32,"-78"-158"-32,92 185 15,-40-67-15,26 81 16,1-1-16,0 26 16,-27-118-1,0-1-15,1 14 16,-14-27-16,13 13 15</inkml:trace>
  <inkml:trace contextRef="#ctx0" brushRef="#br1" timeOffset="-163282.75">2805 10134 0,'-27'26'16,"1"14"-16,-1 13 16,27-27-16,-26 53 15,13-52-15,-1 13 0,1-14 16,0 27-16,13-13 16,0-27-16,-13 0 0,13 0 15</inkml:trace>
  <inkml:trace contextRef="#ctx0" brushRef="#br1" timeOffset="-163081.18">2527 10120 0,'13'0'16,"-26"0"-16,92 40 15,-39-14-15,-14-12 16,1-1-16,39 13 0,-26-12 15,-14 12-15,14-13 0,26 14 16,-40-27-16,1 13 0,-1 0 16,14 0-16,0 1 15,-27-1-15</inkml:trace>
  <inkml:trace contextRef="#ctx0" brushRef="#br1" timeOffset="-161944.99">2831 11337 0,'-13'14'0,"26"-28"0,-13 1 15,27-13-15,-1 12 0,0-12 16,41-27-16,-28 27 0,1-1 15,26-39-15,0 13 16,0 0-16,-13 14 16,-13 12-16,-27 14 15,0 13 1</inkml:trace>
  <inkml:trace contextRef="#ctx0" brushRef="#br1" timeOffset="-161770.78">2818 11417 0,'-13'13'0,"52"-26"15,-25 0-15,25-1 0,41-39 16,316-185 31</inkml:trace>
  <inkml:trace contextRef="#ctx0" brushRef="#br1" timeOffset="-161610.56">3056 11509 0,'53'-53'16,"-304"-13"-16,515 119 0,-145-145 31</inkml:trace>
  <inkml:trace contextRef="#ctx0" brushRef="#br1" timeOffset="-159344.96">397 9631 0,'0'-13'125,"0"-133"-109,13-79-16,27-79 15,13-14 1,92-184-16,107-160 15,-173 517-15,40-14 16,66-39 0,-79 118-1,-27 1-15,1 26 16,-27 13 0,-40 40-16</inkml:trace>
  <inkml:trace contextRef="#ctx0" brushRef="#br1" timeOffset="-158394.41">1521 6548 0,'27'0'141,"-1"0"-110,-12 14-16,-1-14-15,0 0 16,0 0 0,-13 13-16,13-13 0,1 0 93,-1 0-77,0 26 0,-13 27-1,13 13-15,1 40 16,-1-26-16,0 39 16,-13-40-16,0 14 15,0-14-15,0 14 16,0-14-16,0-39 0,0-14 15,0 1 1</inkml:trace>
  <inkml:trace contextRef="#ctx0" brushRef="#br1" timeOffset="-142783.78">8797 331 0,'-13'211'31,"0"-144"-31,13-15 0,0 15 16,-13-14-16,13-1 0,0 1 0,0-13 16,0 0-16,0 13 0,-14-14 0,14 27 15,0-39-15,0-1 0,0 1 16,0-14-16,0 14 16,0-14-16,0 0 0,0 0 0</inkml:trace>
  <inkml:trace contextRef="#ctx0" brushRef="#br1" timeOffset="-142434.37">7990 1032 0,'40'0'0,"-13"-13"16,12 13-16,14 0 0,27 0 16,12-14-16,1 14 0,13-13 15,26 13-15,172-26 0,-145 26 16,158-14-16,-145 14 0,146-13 16,-146 13-16,-13-13 15,-14 13-15,1 0 0,-1 0 0,1 0 16,52 0-16,-92 0 0,-13 0 15,65 13-15,-92-13 0,-13 0 16,0 0-16,-13 0 0,-14 0 16,1 0-16,-14 0 0,0 0 0,-66-13 31</inkml:trace>
  <inkml:trace contextRef="#ctx0" brushRef="#br1" timeOffset="-140750.87">8996 675 0,'0'-14'47,"0"1"-31,13 0-16,0 0 15,-13 0 1,14-1-16,-1 1 15,-13 0-15,13 0 0,0-1 16,0 1-16,-13 0 16,14 0-16,-1-1 0,0 14 0,0-13 15,1 0-15,-1 0 0,0 13 16,0-13-16,14-14 0,-14 27 16,0-13-16,14-14 15,-1 14-15,1 0 0,-1 0 16,-13 13-16,0-13 0,14-1 15,-14 14-15,14-13 0,-14 13 16,13-13-16,-12 0 0,12 13 0,0-14 0,1 1 16,-1 13-16,-12-13 0,12 13 15,1-13-15,-1 13 0,0 0 16,1-14-16,-1 14 0,1 0 0,12-13 16,-12 13-16,-1 0 0,1-13 0,-14 13 15,40 0-15,-27 0 0,1 0 16,-1 0-16,-12 0 0,12 0 15,27 0-15,-40 0 16,14 13-16,-1-13 0,-13 0 0,14 0 0,-1 0 16,-12 13-16,12-13 0,-13 0 15,14 0-15,-1 14 0,-13-14 0,14 0 16,-14 13-16,14-13 0,-1 0 0,-13 13 16,14-13-16,-14 13 0,13-13 15,-12 0-15,78 40 16,-65-27-1,26 1 1,-14 12 0,41 14 15,-54-27-31,-26 0 16,13-13-16,1 13 0,12 14 15,-13-27 1,0 13-16,1 0 15,-1 0-15,27 14 32,-27-14-32,0-13 15,-13 13-15,13-13 16,0 14 0,1-1 46,-28-13 297,14 13-359</inkml:trace>
  <inkml:trace contextRef="#ctx0" brushRef="#br1" timeOffset="-140164.78">13123 344 0,'0'26'16,"-13"1"0,13-14-16,0 14 0,0 12 0,-13 54 15,0-27-15,-1-13 16,14-13-16,-13 13 0,13-14 0,-13 1 15,13 0-15,-13 12 0,13-38 0,-13 65 16,-1-52-16,14 12 16,-13-12-16,13 12 0,0-25 15,-13-1-15,13 0 16,0 0-16,0 1 16</inkml:trace>
  <inkml:trace contextRef="#ctx0" brushRef="#br1" timeOffset="-139711.21">12290 1058 0,'0'0'0,"-13"0"15,-1 0-15,54-13 32,39 13-17,54-13-15,-54 13 16,1-13-16,118-1 0,-66 1 16,-13 13-16,-13 0 0,26-13 0,1 13 15,-1-13-15,-26 13 0,0 0 0,-14 0 16,107 0-16,-93 13 15,-27-13-15,14 0 0,-14 0 16,80 0-16,-53 13 16,-54-13-16,15 0 0,91 13 62,-184-13-46,13 0-1,-1 0-15,-12 0 0</inkml:trace>
  <inkml:trace contextRef="#ctx0" brushRef="#br1" timeOffset="-138500.28">13229 886 0,'13'-13'63,"1"0"-63,-1 13 0,0 0 15,14-13-15,-14-1 0,13 14 16,1-13-16,-14 0 0,13 0 16,1 13-16,-14-13 0,14-1 15,-1 1-15,0 0 0,-12 0 0,12-1 16,1 14-16,-14-13 0,26-13 0,-12 12 16,-1 1-16,1 0 0,39-27 15,0 1-15,0 12 16,-26 14-16,-14 0 0,1-1 15,-1 1-15,1 0 0,26-13 16,-40 12-16,40 1 16,-27 0-16,-12 0 0,39-14 15,-40 27-15,40-26 16,-14 13-16,1-1 16,-27 1-16,0 13 0,27-13 15,-27 0-15,1 13 0,-1 0 16,0-14-16,0 14 15,1 0-15,-14-13 0,13 13 16,0 0-16,-13-13 16,13 13-16,0 0 15,1 0 32,-41 0 78,14 0-109,0 13-1</inkml:trace>
  <inkml:trace contextRef="#ctx0" brushRef="#br1" timeOffset="-137647.37">14208 1124 0,'0'-13'0,"-13"40"47,13-14-47,0 0 0,0 27 15,0-27-15,0 14 0,-13 12 16,13-26-16,-14 14 16,14-14-16,0 14 0,-13-14 0,13 27 15,-13-27-15,13 0 16,-13 13-16,13-12 0,0-1 16,0 0-16,-13-13 15</inkml:trace>
  <inkml:trace contextRef="#ctx0" brushRef="#br1" timeOffset="-137364.09">14248 1164 0,'0'-13'16,"-27"26"0,14-13-16,13 13 0,-13-13 15,0 14-15,13-1 0,-14 0 0,1-13 16,0 13-16,0 1 0,13-1 16,-13 0-16,-1 0 0,1 0 0,13 1 15,-26-1-15,12 0 16,14 0-16,-13-13 0,13 14 15,-13-14-15,0 13 0</inkml:trace>
  <inkml:trace contextRef="#ctx0" brushRef="#br1" timeOffset="-137092.33">14142 1151 0,'40'26'31,"-27"-12"-31,0-1 0,0-13 16,1 13-16,-14 0 0,13 1 16,0-1-16,0 0 0,1-13 0,-1 13 15,-13 0-15,13 1 0,0-1 16,-13 0-16,13 0 15,-13 1-15,0-1 16</inkml:trace>
  <inkml:trace contextRef="#ctx0" brushRef="#br1" timeOffset="-135414.56">15227 609 0,'0'-14'0,"0"41"32,13-27-32,-13 13 15,0 0-15,13 0 0,-13 1 16,13-1-16,-13 0 0,0 14 0,14-27 15,-14 13-15,0 0 0,0 0 16,13 1-16,-13-1 0,0 0 0,0 0 16,13 0-16,-13 1 15,0-1 1,13-13-16,1 0 16,-1 0-16,-13-13 15,26-1-15,-12-12 0,12 13 16,0-14-16,14-12 0,0 12 0,13-13 15,53-39-15,-40 53 16,0-14-16,53-13 0,-66 13 16,13 14-16,-26-1 0,52-12 15,-65 26-15,39-14 16,-53 14-16,14 13 0,-14-13 0,0 13 16,0-14-16,0 14 0,1-13 15,-1 13-15,0 0 16,0-13-16,1 13 0,-14-13 15,13 13 1,0 0-16,0 0 47,-13-14 31,14 14 16,-1 14-32,-26-1-46,-1 0 0,14 0-16,-13-13 0,0 14 0</inkml:trace>
  <inkml:trace contextRef="#ctx0" brushRef="#br1" timeOffset="-134190.59">11827 265 0,'0'-14'31,"-13"41"0,-1-14-15,1 0-16,0 1 0,0-1 16,0 0-16,-27 27 0,27-14 15,-1-13-15,1 14 0,-13-14 16,12 0-16,1 0 0,13 1 0,-13-1 15,0 0-15,0 0 0,13 1 0,-14-14 16,1 13-16,13 0 0,-13 0 16,0 1-1</inkml:trace>
  <inkml:trace contextRef="#ctx0" brushRef="#br1" timeOffset="-133657.52">11509 238 0,'0'0'0,"14"13"47,-1-13-47,0 14 0,14 12 15,-14-13-15,0 1 0,27 12 16,-27 0-16,27 14 15,-1 0-15,-25-27 16,-1 0-16,13 14 0,-13-14 16,1 13-16,12 1 15,-13-14-15,-13 0 16,14-13-16,-14 14 16,13-14-16,-13 13 15,13-13-15,-13 13 16,13-26 46</inkml:trace>
  <inkml:trace contextRef="#ctx0" brushRef="#br1" timeOffset="-156424.9">6720 13176 0,'-13'-13'46,"-13"0"-14,-1 13-17,1-13-15,-27-14 0,-26 27 16,26-13 0,-27-14-16,14 27 15,-40 0-15,14 0 16,12 0-16,14 0 15,13 0-15,-66 27 16,13 52-16,67-52 16,25-1-16,-25 27 15,-1 26-15,40-52 16,0 13-16,-13-14 16,13 1-16,0 12 15,0-12-15,0-14 16,0 13-16,0-12 15,0 12 1,26 0-16,1 27 16,-14-13-16,27 39 0,13-39 15,-40 0 1,53 0-16,-26-14 0,26 14 16,0-1-16,-26-25 15,26 12-15,-27-13 16,28 14-1,-1 12-15,13-25 16,-39-14-16,26 0 0,0 13 16,27-13-1,-1 0-15,1 0 16,-14 0-16,80 0 16,-13-13-16,-41-14 15,81-12-15,-81 12 16,-65 14-16,26 0 15,-39-1-15,-14 1 16,27-13-16,-40-1 16,0 1-16,13-1 15,0-12-15,0-14 16,1 0-16,-14 13 16,0 14-16,0-1 15,0 1-15,0 12 16,0 1-1</inkml:trace>
  <inkml:trace contextRef="#ctx0" brushRef="#br1" timeOffset="-155357.65">9260 8705 0</inkml:trace>
  <inkml:trace contextRef="#ctx0" brushRef="#br1" timeOffset="-155094.56">14142 7713 0</inkml:trace>
  <inkml:trace contextRef="#ctx0" brushRef="#br1" timeOffset="-154638.36">16298 7752 0</inkml:trace>
  <inkml:trace contextRef="#ctx0" brushRef="#br1" timeOffset="-154077.89">14142 13454 0</inkml:trace>
  <inkml:trace contextRef="#ctx0" brushRef="#br1" timeOffset="-151106.32">4128 5530 0,'0'39'63,"0"54"-63,0-40 15,0 66-15,0-13 16,0 0-16,-14 0 15,1-1-15,0 28 16,-14-54 0,27 80-16,-26-93 0,26-26 15,-13-14-15</inkml:trace>
  <inkml:trace contextRef="#ctx0" brushRef="#br1" timeOffset="-150040.41">4114 5556 0,'-13'27'62,"-13"12"-62,-14 14 16,27-26-16,-14 26 16,14-14-16,-13-12 15,26-1-15,-14-12 16,1-1 0,13 0 15,40-39 78,-14-27-93,14 13-16,13-13 15,0-40-15,-40 80 16,27-40-16,-40 40 16,26-13-16,-26 12 15,13 28 79,-13 65-78,40-39-16,-14 26 0,-12 26 15,12 27 1,-26-79-16,13-13 16,1-1-16,-14-13 15,0 14-15,13-27 16</inkml:trace>
  <inkml:trace contextRef="#ctx0" brushRef="#br1" timeOffset="-45771.45">23984 13586 0,'0'53'31,"0"13"-15,14 14-16,-1 12 16,-13-39-16,0 0 15,0-13-15,13 13 16,-13 26 0,13-26-16,-13-13 0,0-14 15</inkml:trace>
  <inkml:trace contextRef="#ctx0" brushRef="#br1" timeOffset="-43068.82">23958 13626 0,'13'0'109,"27"0"-93,-14-13-16,1 13 16,-1 0-16,14-13 15,-14 13-15,1 0 16,-14 0-16,14 0 15,-14 0-15,13 0 16,1 0-16,-1 0 16,1 0-16,12 0 15,-12 0-15,13 0 16,-14 0-16,14 0 16,-14 0-16,1 0 15,-14 0-15,0 0 16,13 0-16,-26-14 15,14 1-15,-1 13 16,0 0-16,0 0 78,-13-13-62,14 13-1,-1 0-15,0 0 110,-13 13-95,27 27 1,-14 13-16,-13-27 16,0 1-16,13-1 15,0 1-15,-13-1 16,13 0-16,-13-12 16,0-1-1,0 13-15,0-12 16,0-1-16,0 0 0,14 0 15,-14 1 1,0-1 0,0 0-16,0 0 15,0 0-15,13 1 16,-13-1-16,0 0 0,0 0 187,0 1-187,0-1 16,-13-13 0,-1 0 15,-12 13 0,26 0-31,-13-13 16,-14 0-16,14 0 15,-13 0-15,12 0 16,-25 0 0,25 0-16,-12 0 15,13 0-15,0 0 16,-1 0-16,1 0 16,-53 0-16,26 0 15,1 0-15,-1 0 16,0 0-16,1 0 15,12 0-15,-13 0 16,27 0-16,0 0 16,0 0-16,-14 0 15,14 0 1,-13 0 15,12 0-15,1 0-1,0 0-15,0 0 16,-1 0-16,1 0 0,-13 0 16,12 0-1,-25 0 1,26 0-16,-14 0 16,14 0-1,0 0 1</inkml:trace>
</inkml:ink>
</file>

<file path=ppt/ink/ink18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1:36:40.784"/>
    </inkml:context>
    <inkml:brush xml:id="br0">
      <inkml:brushProperty name="width" value="0.05292" units="cm"/>
      <inkml:brushProperty name="height" value="0.05292" units="cm"/>
      <inkml:brushProperty name="color" value="#0070C0"/>
    </inkml:brush>
  </inkml:definitions>
  <inkml:trace contextRef="#ctx0" brushRef="#br0">23508 384 0,'13'0'47,"-13"13"-31,0 0 0,-13-13-16,13 13 15,0 1 1,0-1-16,13 0 31,1-13-15,12 0-1,-26 13 1,0 0 0,0 1-16,-13-14 15,13 13-15,0 0 0,-13-13 0,13 13 16,0 1-16,0-1 15,0 0-15,0 0 16,13-13 0,0 0-16,0 0 0,1 0 15,-1 0-15,0 0 0,0 0 16,14-13-16,-14 13 0,0 0 0,0-13 16,1 13-16</inkml:trace>
  <inkml:trace contextRef="#ctx0" brushRef="#br0" timeOffset="138571.59">4524 2249 0,'40'0'15,"-13"0"-15,-1 13 0,14-13 16,79 0-16,39 0 16,1 0-16,-66 0 15,-14 0-15,1 0 0,-1 0 0,80 0 16,-40-13-16,-80 13 16,14 0-16,-13 0 15,-13 0-15,12 0 0,-12 0 16,-14 0-16,0 0 0,0 0 15,-52 0 1,12 0 0</inkml:trace>
  <inkml:trace contextRef="#ctx0" brushRef="#br0" timeOffset="139054.71">4339 2143 0,'159'13'31,"-106"-13"-31,13 0 0,93-13 16,-80 13-16,14 0 0,-14 0 15,0 0-15,1 0 0,-14 0 16,40 0-16,-53 0 0,-14 0 16,1 0-16,-13 0 0,-14 0 15,13 0-15,14 0 0,-27 0 16,0 0-16,1 0 0,-1 0 15</inkml:trace>
  <inkml:trace contextRef="#ctx0" brushRef="#br0" timeOffset="139699.79">4604 1296 0,'39'14'47,"-12"-14"-47,13-14 0,65 14 16,-25 0-16,-14-13 0,13 13 0,1-13 15,-1 13-15,-13-13 0,-13 13 16,0 0-16,0 0 0,0-13 0,26 13 15,-39 0-15,-14 0 0,14 0 16,-27 0-16,-13 13 16</inkml:trace>
  <inkml:trace contextRef="#ctx0" brushRef="#br0" timeOffset="140001.72">4670 1548 0,'106'-27'15,"-67"14"1,14 13-16,-13-13 0,13 13 16,0-13-16,0 13 0,0 0 15,0-14-15,0 14 0,-1 0 0,28-13 16,-40 13-16,-1 0 0,-12 0 15,-1 0-15,-13 0 0,27 0 16,-14 13-16,-12-13 0,12 0 16,-13 0-16,1 14 15,-14-1 1,0 0 0</inkml:trace>
  <inkml:trace contextRef="#ctx0" brushRef="#br0" timeOffset="141716.9">9803 2077 0,'26'0'16,"1"0"-16,12 0 0,1 13 0,13-13 15,93 0-15,-54 0 0,1 0 16,13 0-16,-1 13 16,1-13-16,93 0 0,-93 0 15,-14 0-15,80 14 0,-93-14 16,-26 0-16,14 0 0,-15 0 16,-12 0-16,-13 0 0,-1 0 15,1 0-15,-1 13 0,-13-13 0,14 0 16,-14 0-16,0 0 0,0 0 15,1 0 1</inkml:trace>
  <inkml:trace contextRef="#ctx0" brushRef="#br0" timeOffset="142608.76">14010 2024 0,'26'0'16,"14"0"0,0 0-16,-1 0 0,67 0 15,-40 0-15,0 0 0,14 13 16,-1-13-16,-13 0 0,14 0 15,-14 14-15,13-14 0,-26 0 16,0 0-16,66 0 0,-79 0 0,-1 13 16,1-13-16,-13 0 0,-1 0 15,0 0-15,-12 0 16,-1 0-16</inkml:trace>
  <inkml:trace contextRef="#ctx0" brushRef="#br0" timeOffset="142884.62">13944 2130 0,'52'13'32,"-12"-13"-17,40 0-15,-28 0 0,15 13 16,-1-13-16,13 0 0,-13 0 0,0 14 15,1-14-15,-1 0 0,-13 0 16,52 13-16,-65-13 0,0 0 16,-1 0-16,-12 0 0,-14 0 0,14 0 15,-14 13-15,13-13 0,-12 0 16,-1 0-16,0 0 0,0 0 16,0 0-1</inkml:trace>
  <inkml:trace contextRef="#ctx0" brushRef="#br0" timeOffset="143792.4">17449 1958 0,'-13'0'32,"39"0"-17,1 0 1,-1 0-16,14 0 0,39 0 16,-26 0-16,0 0 0,0 0 15,-13 0-15,13 0 0,0 0 16,0 0-16,-14 13 0,14-13 0,-26 0 15,12 0-15,-12 0 0,-1 0 16,-12 0-16,12 13 0,-13-13 0,0 0 16,1 0-16,-1 0 0,0 0 15,0 0-15,1 0 16,-1 0-16,0 0 16,0 0-1,-26-13 95</inkml:trace>
  <inkml:trace contextRef="#ctx0" brushRef="#br0" timeOffset="144111.68">17582 2037 0,'-14'14'0,"28"-1"31,-1-13-31,0 0 0,0 13 16,0-13-16,1 0 0,39 13 16,-27-13-16,1 0 0,-1 0 15,0 13-15,14-13 0,-13 0 0,-1 0 16,1 0-16,-1 0 0,-13 14 15,14-14-15,-14 0 0,0 0 0,14 0 16,-14 0-16,0 0 0,0 0 16,1 0-16,-1 0 0,0 13 15,13-13-15,-12 0 0,12 0 16,1 0-16,25 0 0</inkml:trace>
  <inkml:trace contextRef="#ctx0" brushRef="#br0" timeOffset="144573.54">20876 2222 0,'13'0'0,"0"-13"16,0 13-16,14 13 15,-1-13-15,1 0 0,-1 0 16,1 0-16,-1 0 0,14 0 15,-1 0-15,-12 0 0,26 0 16,0 0-16,53 0 0</inkml:trace>
  <inkml:trace contextRef="#ctx0" brushRef="#br0" timeOffset="144759.54">21365 2236 0,'40'0'31,"-27"0"-31,13 0 0,1 0 16,-1 0-16,1 0 0,13-14 16,-14 14-16,-13 0 0,14 0 15</inkml:trace>
  <inkml:trace contextRef="#ctx0" brushRef="#br0" timeOffset="150760.01">6085 5821 0,'14'-13'31,"-1"13"-31,0 0 31,0 0-31,1 0 16,-1-14-16,0 14 15,0 0-15,0 0 16,1 0-16,12-13 0,-13 13 16,1-13-16,12 0 0,-13 13 15,14 0-15,-14-14 0,27 1 16,-27 13-16,0-13 15,14 13-15,-14-13 0,13 0 16,-12 13-16,12-14 0,-13 14 16,0-13-16,1 13 0,-1 0 0,0-13 15,0 13-15,1 0 0,-1-13 0,13-1 16,-12 14-16,-1 0 16,-13-13-16,13 13 0,0 0 0,14-13 15,-14 0-15,0 13 16,0-14-16,1 14 15,-1 0-15,0-13 0,0 13 16,-13-13-16,13 13 0,1-13 16,-1 13-16,0-13 15,0 13-15,1-14 16,-1 14-16,-13-13 16,13 0-16,0 13 15,1-13-15,-1 13 16,0-14-16,0 14 15,-13-13-15,13 13 0,-13-13 16,14 13-16,-14-13 16,13 13-16,0-13 15,0 13-15,-13-14 0,14 14 16,-14-13-16,13 0 16,0 13-16,0-13 15,1-1 1,-1 14-16,-13-13 15,13 13-15,-13-13 16,13 13-16,-13-13 16,13 13-16,-13-14 15,14 14-15,-14-13 0,13 13 16,-13-13-16,13 13 0,-13-13 16,13 13-16,-13-13 15,14 13-15,-1-14 0,0 1 16,0 13-1,-13-13-15,13 13 0,-13-13 16,14 13-16,-14-14 16,13 14-16,0-13 0,0 0 15,1 0-15,-1-1 16,0 1 0,0 0-1,-13 0 1,14 13-16,-14-13 15,13 13-15,-13-14 0,13 1 16,0 0 0,-13 0-1,13 13-15,-13-14 16,14 14-16,-14-13 16,13 13-16,-13-13 0,13 0 31,0-1-31,1 1 15,-14 0 1,13 13-16,-13-13 16,13 13-16,-13-13 15,13 13-15,-13-14 0,14 1 16,-14 0 0,13 13-1,-13-13-15,13-1 16,-13 1-1,13 0-15,-13 0 16,13-1-16,-13 1 16,14 13-16,-14-13 15,13 0-15,-13 0 0,0-1 16,13 14-16,-13-13 16,13 0-16,-13 0 0,14-1 15,-14 1 1,0 0-16,13 0 15,-13 0-15,0-1 16,13 1-16,-13 0 16,0 0-1,13-1-15,-13 1 16,0 0-16,14 13 16,-14-13-16,0-1 15,13 1-15,-13 0 0,0 0 16,13 13-16,-13-13 0,0-1 15,13 14-15,-13-13 0,13 0 16,-13 0-16,14-1 16,-14 1-16,13 0 0,0 0 15,-13-1 1,13 14-16,-13-13 0,14 0 16,-14 0-16,13 13 0,-13-13 15,13-1-15,0 1 16,1 0-16,-14 0 15,13-1-15,0 1 16,-13 0-16,13 13 16,-13-13-16,13 13 0,-13-13 15,14-1-15,-14 1 16,13 13-16,-13-13 0,13 0 16,-13-1-16,13 14 0,-13-13 15,14 0-15,-14 0 16,13-1-16,-13 1 15,13 0-15,0 0 16,-13 0 0,13-1-16,-13 1 15,14 0-15,-1 0 16,-13-1-16,13 1 16,-13 0-1,13 0-15,-13-1 16,14 1-16,-14 0 15,13 13 1,-13-13-16,0 0 0,13-1 16,-13 1-1,13 0 1,-13 0 0,0-1-16,14 14 0,-14-13 15,13 0 1,-13 0-1,0-1-15,13 14 16,-13-13-16,13 0 16,-13 0 15,13 13-31,-13-13 16,14-1-1,-14 1 1,13 13-1,-13-13 1,13 0 0,0-1 15,1 14-15,-14-13-1,13 13 1,-13-13-1,13 13 1,-13-13-16,13 13 16,-13-14-1,14 14 1,-14-13 0,13 13-16,0-13 15,0 0 16,0 0 1,1 13-32,-1-14 31,0 14 0,0 0-15,1 0-1,-1 0 17,0 0-17,0 0-15,0 0 32,-13 14-17,14-14 1,-1 13-1,-13 0 1,13-13 0,-13 13-1,13-13-15,-13 13 16,0 1 0,14-14-1,-14 13-15,0 0 16,13 0-1,-13 1 1,0-1 0,0 0-1,0 0 1,0 1-16,0-1 16,0 0-1,0 0 1,0 0-1,0 1 1,0-1-16,-13-13 16,13 13-16,0 0 31,0 1-31,0-1 16,0 0 15,0 0-31,-14-13 15,14 14 1,0-1-16,0 0 31,0 0-15,14 0 0,-14 1-1,0-1 1,0 0-1,0 0 17,0 1-17,13-1 1,-13 0 15,13 0-15,-13 1-1,13-14-15,-13 13 16,0 0-16,14-13 16,-14 13-16,13 0 15,-13 1 1,13-1 0,-13 0-16,13 0 15,-13 1 1,13-1-16,-13 0 15,0 0-15,0 1 16,14-14-16,-14 13 16,0 0-16,13 0 15,-13 0-15,13 1 16,-13-1 0,0 0-16,0 0 15,13-13-15,-13 14 0,0-1 16,14-13-16,-14 13 15,0 0-15,13 0 16,-13 1-16,0-1 16,13 0-16,-13 0 15,0 1-15,13-1 16,-13 0-16,0 0 16,0 1-16,0 12 15,0-13 1,14 0-16,-14 1 15,0-1-15,0 0 16,0 0 0,0 1-16,0-1 15,0 0-15,0 0 16,0 1-16,0-1 0,0 0 16,0 0-16,0 0 15,0 1-15,0 12 16,0-13-16,0 1 0,0-1 15,0 0-15,0 13 16,0-12 0,0-1-16,0 0 0,0 0 15,0 1-15,0-1 16,0 0-16,0 0 0,0 1 16,-14-1-1,14 0-15,0 0 0,0 0 16,0 1-16,0-1 15,0 0-15,0 0 16,0 1 0,0-1-1,0 0-15,0 0 16,0 1-16,0-1 16,0 0-16,0 0 15,0 0 1,0 1-16,0-1 15,0 0 1,0 0-16,0 1 16,0-1-1,0 0 1,0 0-16,0 1 16,14-14-16,-14 13 15,0 0-15,13 13 31,-13-12-31,0-1 16,13-13-16,-13 13 16,0 0-16,13 1 15,-13-1 1,13 0-16,-13 0 16,0 1-16,14-1 15,-14 0-15,13-13 16,-13 13-16,13 0 15,-13 1-15,13-14 0,-13 13 16,14-13-16,-14 13 0,13-13 0,0 13 16,-13 1-16,13-14 15,-13 13-15,14-13 0,-14 13 0,13 0 16,0-13-16,-13 13 0,13 1 0,0-1 16,1 0-16,-1 0 15,0 1-15,0-1 0,27 13 16,0 14-16,-14-27 15,40 67-15,-39-54 16,26 53-16,-27-52 16,27 52-1,-26-39-15,-1 0 16,14-14-16,-27 1 16,27-14-16,13 13 15</inkml:trace>
  <inkml:trace contextRef="#ctx0" brushRef="#br0" timeOffset="155070.7">14433 6059 0,'0'13'16,"0"0"-1,13-26 32,-13 0-47,13 13 0,-13-13 16,14-1-16,-1 14 0,-13-13 15,13 0-15,-13 0 0,13 0 16,1-1-16,-1-12 0,0 13 16,0-1-16,1-25 0,-1 26 15,-13-1-15,13-12 0,0 13 16,-13-1-16,13-25 0,1 25 16,-14 1-16,13-13 0,-13 13 0,0-1 15,13 1-15,-13 0 0,13-14 16,-13 14-16,0 0 0,14 0 15,-14-1-15,0-12 0,13 13 0,-13 0 16,0-1-16,13 1 0,-13 0 0,0 0 0,13-1 16,-13 1-16,0-13 15,14 13-15,-14-1 16,13 1-16,-13 0 0,0 0 0,0-1 16,13 1-16,-13 0 15,0-14-15,13 14 16,-13-13-16,0 13 0,13-1 15,-13-12-15,0 13 16,14-40 0,-14 39-16,13 1 0,-13 0 0,0 0 15,13 0-15,-13-1 16,0 1-16,0 0 0,0 0 0,13-1 16,-13 1-16,0 0 15,0 0-15,0-1 0,0 1 16,0 0-16,14 0 0,-14 0 15,0-1-15,0 1 0,0 0 16,0 0-16,13 13 0,-13-14 0,0-12 16,0 13-16,13-1 15,-13 1-15,0 0 16,0 0-16,0 0 0,13-14 16,-13 14-16,0 0 0,0-14 15,0 14-15,13 0 16,-13 0-16,0-1 15,0 1-15,0 0 0,14 0 16,-14-1-16,0 1 0,0 0 16,0 0-16,13-1 0,-13 1 15,0 0-15,0 0 16,0 0-16,13-1 0,-13 1 16,0 0-16,0-14 0,13 27 15,-13-13-15,0 0 16,0 0-16,0-1 0,14-12 15,-14 13-15,0 0 0,13-14 16,-13 14-16,0 0 0,0-1 16,13 1-16,-13-13 15,0 13-15,0-1 0,13-12 16,-13 13-16,0-1 0,0 1 16,0 0-16,14 13 0,-14-13 15,0-14-15,0 14 0,0 0 16,13-14-16,-13 14 15,0-13-15,0 12 16,13 1-16,-13 0 16,0 0-16,0-1 0,13 14 15,-13-13-15,0 0 0,0 0 16,0 0-16,13-1 16,-13 1-16,0 0 15,14 13-15,-14-13 16,13-1-16,-13 1 15,0 0-15,13 13 0,-13-13 16,0-1-16,13 14 16,-13-13-16,14 13 0,-14-13 15,13 0 1,0 0-16,0 13 16,1-14-1,-14 1-15,13 13 16,0 0-16,-13-13 0,13 13 15,0-13-15,1 13 16,-1-14-16,0 1 16,0 13-1,1 0 1,-1-13-16,0 13 31,0 0-15,1 0-16,-1 0 31,0 13-31,0-13 16,0 13-1,1-13 1,-14 14-16,13-14 0,-13 13 16,13 0-16,-13 0 15,13 1 1,-13-1-16,14-13 15,-14 13-15,0 0 16,13 0-16,-13 1 16,0-1-16,13 0 15,-13 0-15,0 1 16,0-1-16,13 0 16,-13 0-16,0 1 15,0-1-15,0 0 16,0 0-16,0 0 0,0 1 15,0-1-15,0 0 16,0 0-16,0 1 0,-13 12 16,13-13-16,0 1 0,0-1 15,0 0-15,0 0 0,0 0 16,0 1-16,0-1 16,0 0-16,0 0 0,0 14 15,0-14-15,0 14 16,0-14-1,0 0-15,0 0 0,0 0 16,0 1-16,0-1 16,0 0-16,0 0 0,13 1 15,-13-1-15,0 0 16,0 0-16,0 0 16,0 1-16,0-1 0,14 0 15,-14 0-15,0 1 16,0-1-16,0 0 15,13 0-15,-13 1 16,0-1-16,0 0 16,13 0-16,-13 0 15,0 1-15,13-1 16,-13 0-16,0 0 16,0 1-16,13-1 15,-13 0-15,0 0 16,0 1-16,14-1 15,-14 0-15,0 0 16,13-13-16,-13 13 0,0 1 16,0-1-1,0 0-15,13-13 0,-13 13 16,0 1-16,0-1 0,13 0 16,-13 0-1,0 0-15,14-13 16,-14 14-16,0-1 15,13 0-15,-13 0 16,13-13-16,0 14 16,-13-1-16,13 0 15,1 0 1,-1 1-16,0-1 16,0 0-1,-13 0 1,14-13-16,-1 13 15,0 1-15,0-1 16,1-13 0,-1 13-16,-13 0 15,13-13-15,0 14 16,0-14-16,-13 13 0,14-13 16,-1 13-16,0-13 15,-13 13-15,13-13 16,-13 14-16,14-14 0,-1 13 0,0-13 15,-13 13-15,13 0 16,1-13-16,-1 13 16,0-13-16,0 14 15,-13-1-15,13-13 16,1 13-16,-1-13 0,-13 13 16,13-13-16,-13 14 15,13-14-15,1 0 0,-14 13 16,13-13-16,0 13 0,0-13 15,0 13-15,1-13 16,-14 14-16,13-14 0,0 13 16,0-13-16,1 13 15,-1 0-15,0-13 0,-13 13 16,13-13-16,1 0 0,-14 14 16,13-14-16,0 13 15,0-13-15,0 13 16,1-13-16,-1 13 0,0-13 15,0 14-15,1-14 16,-1 13 0,0-13-16,0 13 0,1-13 15,-1 13-15,0-13 16,-13 14-16,13-14 0,0 0 16,1 13-16,-1-13 15,0 0-15,-13 13 0,13-13 0,1 0 16,-1 13-16,0-13 15,0 0 1,1 13-16,-1-13 16,0 0-16,0 14 0,0-14 15,1 0-15,-1 0 0,0 13 16,0-13 0,1 0-16,-1 13 0,0-13 15,14 13 1,-14-13-16,26 14 15,-12-14 1,-1 13 0,-12-13-16,-1 13 15,0-13-15,13 0 16,-26 13-16,14-13 16,12 13-16,1-13 15,-14 0-15,0 14 16,14-1-16,-14-13 15,0 0-15,-13 13 0,13-13 16,0 0-16,1 0 0,-1 13 16,13-13-16,-12 0 15,12 14 1,-13-14-16,14 13 16,-1 0-16,-13-13 15,1 13-15,12-13 16,-13 14-16,14-1 15,-14-13-15,0 13 16,0-13-16,1 13 0,-1-13 16,0 13-1,0 1-15,1-14 0,-1 13 16,0-13-16,0 13 16,1-13-16,12 13 15,-13-13 1,-13 14-16,13-14 0,1 0 0,-14 13 15,13-13-15,0 13 0,0-13 16,-13 13-16,14 1 0,12-1 16,-13 0-16,1 0 0,-1-13 0,0 13 15,40 27-15,-40-27 16,14 1-16,-1-1 16,14 13-16,-1-13 15,1 1 1,-27-14-16,40 13 15,-26-13-15,12 13 16,-12-13-16,-14 0 0,0 0 0,14 0 16</inkml:trace>
  <inkml:trace contextRef="#ctx0" brushRef="#br0" timeOffset="158216.24">8744 6879 0,'0'-13'16,"14"39"15,-14-12-31,0 12 16,0-13-16,0 14 0,0-1 0,-14 1 15,14-1-15,0 1 0,0 12 0,0 1 16,-13-14-16,13 1 0,0 13 15,0-14-15,0-13 0,-13 27 16,13-27-16,0 0 16</inkml:trace>
  <inkml:trace contextRef="#ctx0" brushRef="#br0" timeOffset="158464.97">8797 6800 0,'0'0'0,"-13"0"15,0 13-15,-14 13 16,14-12-16,0 12 15,0-13-15,-14 14 0,14-1 0,-13 1 16,12-14-16,1 0 0,0 14 0,0-14 16,-1 0-16,1 0 15,13 1-15</inkml:trace>
  <inkml:trace contextRef="#ctx0" brushRef="#br0" timeOffset="158671.5">8665 6800 0,'27'0'0,"-1"13"15,0 0-15,67 40 16,-53-26-16,-14-14 16,1 0-16,-1 0 0,1 1 0,-1-1 15,1 0-15,-1-13 0,-13 13 0,14 0 16,-1-13-16,1 14 0,-14-14 15,13 0-15,1 13 0</inkml:trace>
  <inkml:trace contextRef="#ctx0" brushRef="#br0" timeOffset="159361.25">12806 6456 0,'13'13'16,"0"0"-16,-13 14 0,0-1 15,14 1-15,-14-1 16,0 14-16,13 0 0,-13-1 0,0 1 15,0 13-15,0-14 0,-13-12 0,13 13 16,-14-1-16,14 14 0,-13-40 16,13 27-16,-13-13 15,13-14-15,-13 0 0,13 0 16</inkml:trace>
  <inkml:trace contextRef="#ctx0" brushRef="#br0" timeOffset="159567.6">12859 6535 0,'-13'0'0,"-40"27"31,39-14-31,1 0 0,0 14 0,-14-14 16,14 13-16,-13 1 0,13-14 15,-1 13-15,1-12 0,0-1 16,0 0-16,-1 14 0,1-27 0</inkml:trace>
  <inkml:trace contextRef="#ctx0" brushRef="#br0" timeOffset="159767.4">12806 6482 0,'40'14'0,"-80"-28"0,93 41 0,-27-1 16,-13-13-16,1 1 0,-1-1 15,13 0-15,14 14 0,-13-14 0,-1 13 16,0-12-16,14-1 16,26 26-16,-26-25 0,0-1 15,39 0-15,-39 0 0</inkml:trace>
  <inkml:trace contextRef="#ctx0" brushRef="#br0" timeOffset="160358.62">16021 6416 0,'0'0'0,"26"66"47,-26-39-47,0-1 0,0 1 0,0-1 15,-13 14-15,13 0 0,0-1 0,0 1 16,-13 0-16,13-1 0,0 1 15,0 0-15,-14-1 0,14-12 0,0-1 16,-13 1-16,13-1 0,0 1 0,0-1 16,-13 1-16,13-14 0,0 13 15,-13-13-15,-1 14 0,14-14 16</inkml:trace>
  <inkml:trace contextRef="#ctx0" brushRef="#br0" timeOffset="160625.66">16060 6416 0,'0'-13'0,"-26"39"31,13-12-31,-1-14 0,1 26 16,0-13-16,-14 1 0,1 12 0,13 0 0,-14 1 16,1-14-16,-1 14 0,14-14 15,-13 0-15,12 0 0,1 14 16,0-27-16,0 13 0,13 0 0,-14-13 16</inkml:trace>
  <inkml:trace contextRef="#ctx0" brushRef="#br0" timeOffset="160815.46">16021 6416 0,'66'40'16,"-66"-27"-16,13 0 0,0 1 16,14 12-16,-14-13 0,13 14 15,-13-1-15,1 1 0,12-14 0,-13 13 16,14-12-16,-14-1 0,0 13 0,1-13 15,25 1-15,-26-1 16,1-13-16,-1 0 0,0 0 0</inkml:trace>
  <inkml:trace contextRef="#ctx0" brushRef="#br0" timeOffset="179763.2">6244 5755 0,'-26'13'110,"12"0"-79,1-13 0,0 0-31,0 0 16,0 13 0,-1-13-1,1 0-15,0 0 16,0 0-16,-1 0 15,1 0 1,0 14-16,0-14 0,-1 0 16,1 0-1,0 0 1,0 0-16,0 0 16,-1 0-16,14 13 15,-13-13-15,0 0 16,0 0-16,-1 0 0,14 13 15,-13-13-15,0 0 0,0 0 16,0 13-16,-1-13 16,1 0-16,-13 14 15,12-14-15,1 0 16,0 0-16,13 13 0,-13-13 16,-1 0-16,1 0 15,0 13-15,0-13 0,0 0 16,-1 13-16,1-13 15,0 0-15,0 13 16,-1-13-16,1 0 0,0 0 0,0 14 16,-1-14-16,1 0 15,-13 13-15,13-13 0,-1 0 16,1 0-16,0 13 0,-14-13 0,14 13 16,0-13-16,-13 0 0,12 14 0,1-14 15,0 0-15,0 0 0,-14 13 16,14-13-16,0 13 0,-1-13 15,1 0-15,0 0 0,0 13 0,0-13 16,-1 0-16,1 0 0,0 13 16,0-13-16,-1 0 0,1 0 0,13 14 15,-26-14-15,12 13 0,1-13 16,0 0-16,0 13 0,0-13 16,-1 0-16,1 0 0,0 13 0,0-13 15,-1 0-15,1 14 0,0-14 16,0 0-16,-14 13 0,14-13 15,0 13-15,0-13 0,-1 0 16,1 13-16,-13-13 0,12 14 16,1-14-16,-13 0 0,-14 13 15,27 0-15,-14-13 0,1 13 16,-1-13-16,1 13 0,-14 1 16,14-14-16,-1 13 0,1-13 0,-1 13 15,1-13-15,0 13 0,-1 1 16,1-14-16,-1 13 0,-13 0 15,1 0-15,12-13 0,1 14 0,-27-1 16,40 0-16,-14-13 0,1 13 16,-1-13-16,14 13 0,-40 1 15,40-1-15,-13-13 16,-14 13-16,27-13 0,-14 13 16,14-13-16,-14 0 0,14 14 15,-13-14-15,-27 26 0,26-26 16,-12 13-16,12 1 0,1-14 0,-1 0 15,1 13-15,-1-13 0,1 13 16,-1-13-16,-12 13 0,26-13 16,-14 13-16,1-13 15,12 14-15,-12-14 0,0 0 16,12 0-16,1 13 0,0-13 16,0 0-16,-1 0 0,1 13 0,0-13 15,0 0-15,-1 13 0,-12-13 0,0 0 16,12 14-16,1-14 0,0 0 15,0 0-15,-1 0 0,-12 13 16,13-13-16,-1 0 0,1 0 16,0 13-16,0-13 0,0 0 15,-1 0-15,1 0 0,0 0 0,0 13 16,-1-13-16,1 0 0,0 0 0,0 0 16,0 0-16,-1 0 0,1 0 15,13 14-15,-13-14 0,0 0 16,-1 0-16,1 0 15,0 0-15,0 13 16,-1-13-16,1 0 16,0 0-1,0 0 1,13 13 0,-13-13-1,-1 0 16,41-13 48,-14 0-64,0 13-15</inkml:trace>
  <inkml:trace contextRef="#ctx0" brushRef="#br0" timeOffset="180636.45">4961 6337 0,'13'26'0,"0"80"31,-13-79-31,0-1 16,0 0-16,0 1 0,14-1 0,-14 1 16,0-1-16,0 1 0,0-14 0,0 13 15,0-12-15,0 12 0,0-13 0,0 1 16,0-1-16,0 0 0,0 0 16</inkml:trace>
  <inkml:trace contextRef="#ctx0" brushRef="#br0" timeOffset="180875.42">5080 6324 0,'-13'0'0,"-67"39"31,67-12-31,0-14 0,-14 13 16,14 1-16,-13-1 0,13 1 16,-1-1-16,1-13 0,0 14 0,0-14 15,-1 14-15,14-14 0,-13 0 16,13 14-16,-13-27 0,13 13 0,0 0 16,-13-13-16</inkml:trace>
  <inkml:trace contextRef="#ctx0" brushRef="#br0" timeOffset="181075.57">4829 6416 0,'26'13'16,"-13"-13"-16,1 14 0,-1-1 16,13 0-16,-13-13 0,14 13 15,-1 1-15,1-1 0,-1 0 16,-12 0-16,12 0 0,-13 1 0,14-1 0,-14 0 15,0 0-15,0 1 0,1-1 16,-1 0-16,-13 0 0,13 1 0,-13-1 16,-13 0-16</inkml:trace>
  <inkml:trace contextRef="#ctx0" brushRef="#br0" timeOffset="181912.28">4432 7197 0,'0'0'0,"-13"0"0,13 13 0,0 0 16,0 0-16,0 1 0,0-1 15,0 13-15,0 1 0,13-1 0,-13 14 16,0-14-16,13 1 0,-13 12 0,0-12 16,13-1-16,-13-12 0,0 12 0,0-13 15,13 14-15,-13-14 0,0 0 16,0 0-16,-13 1 0,13-1 16,-13 0-16,0-13 15,0 0-15,-1 0 0,-12 0 16,13 0-16,-1 0 0,-12 0 15,-1-13-15,14 13 0,0-13 16,0 13-16,0 0 0,13-14 16,0 1-16,0 0 15,13 0-15,-13 0 0,13-1 16,13-12-16,1 13 0,13-14 0,-14 14 16,1-14-16,-1 14 0,0 0 0,1 0 15,-14 0-15,0-1 0,1 14 16,-1-13-16,0 13 0,0 0 31,-13 13-31,-13 1 0,13-1 16,0 0-16,0 0 15,0 0-15,0 1 0,0-1 16,0 0-16,0 0 0,0 1 16,13-1-16,-13 0 15,14-13-15,-1 0 16,0-13-16,0 13 0,0-13 15,-13-1-15,14 1 0,-14 0 16,13 0-16,-13-1 16,13 1-1,-13 0-15,13 26 32,-13 0-17,14-13-15,-14 14 16,13-14-16,0 0 15,0 0 1,0 0 0,1 13-1,-1-13 1,0 13-16,-13 0 16,13-13-16,-13 14 15,0-1-15,14-13 16,-14 13-16</inkml:trace>
  <inkml:trace contextRef="#ctx0" brushRef="#br0" timeOffset="182067.23">4908 7302 0,'-13'0'0</inkml:trace>
  <inkml:trace contextRef="#ctx0" brushRef="#br0" timeOffset="182566.66">5133 7144 0,'0'39'15,"0"-25"1,0 12-16,0 1 0,0-1 0,-13 0 16,13 1-16,0-1 0,0 1 15,0-1-15,0 1 0,0-1 0,0 1 16,0-14-16,0 13 0,0-12 15,0-1-15,0 0 0,13 0 0,-13 1 16</inkml:trace>
  <inkml:trace contextRef="#ctx0" brushRef="#br0" timeOffset="182968.81">5636 7567 0,'26'-13'32,"1"0"-17,12-1-15,-26 1 16,27 0-16,26-14 0,-39 1 16,12 13-16,14-14 15,-39 14-15,-1 0 0,13 13 16,-13-13-16,1-1 0,-1 1 15,0 13-15,-13-13 0,13 13 0,1-13 16,-14-1 0,13 14-1</inkml:trace>
  <inkml:trace contextRef="#ctx0" brushRef="#br0" timeOffset="183303.61">5980 7236 0,'39'0'47,"-26"0"-47,1 14 15,-1-14-15,0 0 0,0 0 16,1 0-16,-1 0 0,0 0 0,0 0 16,14 13-16,-14-13 15,0 0-15,0 0 0,1 13 0,-1 0 16,0-13-16,-13 13 16,0 14-16,0-14 0,0 0 15,0 1-15,-26 12 0,12 1 0,-12 12 16,0-12-16,12-1 0,-25 14 15,-1-14-15,13 14 0,-12-14 0,12 1 16</inkml:trace>
  <inkml:trace contextRef="#ctx0" brushRef="#br0" timeOffset="185606.41">18005 7646 0,'0'0'0,"-27"-26"63,14 13-48,0 0-15,0 13 0,-27-27 16,27 1-16,-14 12 0,1-12 16,13 13-16,-1-1 0,-25-12 15,26 13-15,-1 0 0,-12-14 16,13 27-16,-1-13 0,-12 0 15,13 13 1,-1 0-16,1-14 0,0 14 0,0 0 16,0 0-16,-1 0 15,1 0-15</inkml:trace>
  <inkml:trace contextRef="#ctx0" brushRef="#br0" timeOffset="186090.16">17740 7236 0,'-26'-26'16,"13"26"-16,-1-13 16,1 13-16,0-14 15,0 14 1,-1 0-1,14-13-15,-13 13 16,0 13 0,0-13-1,13 14-15,0-1 16,0 0-16,0 0 0,0 1 16,0-1-16,0 13 0,0 14 15,0-27-15,13 14 0,0 12 16,-13-12-16,0-1 0,13-13 15,-13 1-15,14 12 0,-14-13 0,0 1 16,0 12-16,0-13 0,0 1 16,0-1-16,0 0 0,0 0 15</inkml:trace>
  <inkml:trace contextRef="#ctx0" brushRef="#br0" timeOffset="187590.34">18164 6046 0,'-14'0'16,"1"0"15,26 26-15,1-26-1,-1 13-15,40 1 0,-27-1 16,1 0-16,26 0 0,-14-13 15,14 14-15,-13-1 0,13 0 16,0 0-16,0 0 0,39 14 16,-39-14-16,0-13 0,-13 13 15,13 1-15,-14-14 0,1 13 0,0 0 16,-1-13-16,1 13 0,-13-13 0,-1 0 16,1 14-16,-14-14 0,13 0 0,1 0 15,-14 0-15,0 13 0,14-13 16,-14 0-16,0 0 0,0 0 0,1 0 15,-1 0-15,0 0 16,0 0 0,0 13-16,1-13 15,-1 0 1,-13-13 31,-27 26 140</inkml:trace>
  <inkml:trace contextRef="#ctx0" brushRef="#br0" timeOffset="190056.2">19500 6813 0,'0'13'0,"0"-26"0,0 39 16,0-12-16,0-1 0,0 0 0,0 0 15,0 1-15,0-1 0,13 0 16,-13 0-16,0 1 0,0-1 0,0 0 15,0 0-15,0 0 0,0 1 0</inkml:trace>
  <inkml:trace contextRef="#ctx0" brushRef="#br0" timeOffset="190388.36">19539 6866 0,'-26'0'0,"-14"26"32,27-12-32</inkml:trace>
  <inkml:trace contextRef="#ctx0" brushRef="#br0" timeOffset="190532.36">19606 6813 0,'26'0'0,"-52"0"0,65 0 15,-25 0-15,-1 0 16,-13 13-16,13-13 0</inkml:trace>
  <inkml:trace contextRef="#ctx0" brushRef="#br0" timeOffset="192235.47">12012 3704 0,'13'0'47,"-13"13"-31,-13 1-16,13-1 0,0 0 15,0 0-15,-13 1 16,13-1-16,0 0 16</inkml:trace>
  <inkml:trace contextRef="#ctx0" brushRef="#br0" timeOffset="192432.17">11906 4141 0,'0'13'0,"0"13"31,0-12-15</inkml:trace>
  <inkml:trace contextRef="#ctx0" brushRef="#br0" timeOffset="192898.12">11880 4696 0,'0'14'0,"0"-1"0</inkml:trace>
  <inkml:trace contextRef="#ctx0" brushRef="#br0" timeOffset="193066.14">11933 4921 0,'-14'27'0,"14"-1"16</inkml:trace>
  <inkml:trace contextRef="#ctx0" brushRef="#br0" timeOffset="193224.37">11933 5212 0,'0'0'16,"0"14"0,0-1-16,0 0 0,0 0 15,0 0-15</inkml:trace>
  <inkml:trace contextRef="#ctx0" brushRef="#br0" timeOffset="193399.01">11933 5543 0,'0'0'0,"0"13"0,0 0 16,-14 1-1,14-1-15</inkml:trace>
  <inkml:trace contextRef="#ctx0" brushRef="#br0" timeOffset="193623.39">11919 5794 0,'0'27'0,"-13"-27"0,13 13 0,0 0 15,0 40 1,0-40-1,0 1-15,0-1 0,0 0 16,0 0-16,0 1 0,0-1 16,0 0-16,0 0 15</inkml:trace>
  <inkml:trace contextRef="#ctx0" brushRef="#br0" timeOffset="194808.15">11099 5596 0,'27'-13'0,"-14"13"16,0-14-16,0 14 15,1 0 1,-41 14 15,14-1-31,-14 0 16,14-13-16,0 13 0,0 1 15,0-14-15,-1 13 0,1 0 16,-13 14-16,26-14 16,-14-13-16,14 13 15,14 0-15,-1-13 16,-13 13-16,13-13 0,0 0 0,-13 14 15,14-14-15,-1 0 0,0 0 16,0 13-16,0-13 0,1 13 16,-28 0-1,1 1 1,0-14-16,0 13 0,0-13 16,-1 0-16,1 13 0,0-13 15,0 13-15,-1-13 0,1 0 16,13 14-16,-13-14 0,0 0 15</inkml:trace>
  <inkml:trace contextRef="#ctx0" brushRef="#br0" timeOffset="195184.16">11271 5622 0,'-26'14'32,"26"-1"-32,-13 0 0,13 0 15,0 1-15,0-1 0,-14 0 16,14 0-16,14 0 0,-14 1 16,0-1-16,13-13 0,-13 13 15,13-13-15,0 0 0,14 0 16,-14 0-16,0-13 15,0 13-15,1-13 16,-14-1-16,13 14 16,-13-13-16,0 0 0,0 0 15,0 0-15,-13 13 16,13-14-16,-14 1 16,1 13-16,0 0 15,0 0-15,-1 0 16,1 0-16,0 0 15,0 13-15,0-13 16</inkml:trace>
  <inkml:trace contextRef="#ctx0" brushRef="#br0" timeOffset="195411.23">11628 5464 0,'14'-14'0,"-28"54"31,14-27-15,0 1-16,-13-1 0,13 0 0,-13 0 16,13 14-16,-13-14 0,13 0 0,-13 0 15,13 14-15,-14-14 0,14 0 16,-13 1-16,13-1 0,-13-13 0</inkml:trace>
  <inkml:trace contextRef="#ctx0" brushRef="#br0" timeOffset="195568.34">11509 5596 0</inkml:trace>
  <inkml:trace contextRef="#ctx0" brushRef="#br0" timeOffset="195718.43">11668 5649 0,'0'13'16</inkml:trace>
  <inkml:trace contextRef="#ctx0" brushRef="#br0" timeOffset="197229.26">12462 5503 0,'0'14'31,"13"-14"-15,0 0-1,-39 0 48,13 0-63,-1 0 0,1 13 15,0-13-15,0 13 0,-1-13 16,1 0-16,13 13 0,-13-13 0,0 0 16,13 13-16,-13-13 0,-1 14 15,28-1 16,-1-13-31,-13 13 0,13-13 16,0 0-16,0 0 0,1 13 16,-1-13-16,0 14 0,0-14 15,1 0-15,-14 13 0,13-13 0,-13 13 16,13-13-16,-13 13 16,0 1-16,-13-1 15,0 0-15,-1 0 16,1-13-16,0 13 15,0-13-15,-1 0 0,1 14 16,0-14-16,0 0 0,13 13 16,-13-13-16,-1 0 15</inkml:trace>
  <inkml:trace contextRef="#ctx0" brushRef="#br0" timeOffset="197612.5">12568 5583 0,'-14'26'32,"14"-13"-32,0 1 15,0 12 1,0-13-16,14 1 0,-1-1 15,0-13-15,0 0 16,1 0 0,-1 0-16,0 0 0,0 0 15,1-13-15,-1-1 16,-13 1-16,13 0 16,-13 0-16,0-1 0,0 1 15,-13 0-15,13 0 16,-13 13-16,13-14 0,-14 14 15,1 0-15,0 0 0,0 0 16,-1 0-16,1 0 16,0 14-16,0-14 0,-1 13 0,1-13 15,13 13-15,-13 0 0,13 1 16</inkml:trace>
  <inkml:trace contextRef="#ctx0" brushRef="#br0" timeOffset="197860.74">12912 5530 0,'0'0'15,"13"0"-15,-13 13 32,0 0-17,0 0-15,-13 1 16,13-1-16,0 0 0,-14 14 15,14-14-15,-13 0 0,13 0 0,-13 14 16,13-14-16,-13 0 0,13 0 0,-13 1 16,13-1-16,-14 0 0,14 0 15,-13-13-15,13 14 0,0-1 16</inkml:trace>
  <inkml:trace contextRef="#ctx0" brushRef="#br0" timeOffset="198016.57">12766 5636 0,'-13'-14'0</inkml:trace>
  <inkml:trace contextRef="#ctx0" brushRef="#br0" timeOffset="198171.18">12951 5741 0</inkml:trace>
  <inkml:trace contextRef="#ctx0" brushRef="#br0" timeOffset="210512.67">8427 9485 0,'26'14'31,"-12"-1"-31,12-13 0,-13 0 15,14 0-15,-1 13 0,14-13 0,-14 0 16,1 0-16,-1 0 0,14 0 0,13 0 16,-40 0-16,14 0 15,-1 0-15,-13 0 0,14 0 16,-14 0-16,0 0 0,0 0 0,1 0 0,-1 0 16,0 0-16,0 0 31,1 0 0,-14-13 32,13 13-48</inkml:trace>
  <inkml:trace contextRef="#ctx0" brushRef="#br0" timeOffset="211547.39">10292 9565 0,'27'0'47,"-1"0"-47,-13 0 0,14 0 15,13 0-15,-14 0 0,14 0 16,-14 13-16,14-13 0,-14 0 0,14 0 15,-14 0-15,1 0 0,-1 0 0,-12 0 16,12 0-16,-13 0 0,1 0 16,-1 0-16,13 0 0,-13 0 15,1 0-15,-1 13 0,0-13 16,0 0-16,1-13 16,-1 13-1,0 0 1,0 0-16,1 0 0,-1 0 15,0 0-15</inkml:trace>
  <inkml:trace contextRef="#ctx0" brushRef="#br0" timeOffset="212566.3">12422 9565 0,'40'0'16,"-27"0"-1,14 0-15,-14 0 0,13 0 16,1 0-16,-1 0 0,1 0 0,-1 0 16,1 0-16,-14 0 0,13 0 15,1 0-15,-1-14 0,1 14 16,-14 0-16,0 0 0,0 0 0,1 0 15,-1 0-15,0 0 0,0 0 0,0 0 16</inkml:trace>
  <inkml:trace contextRef="#ctx0" brushRef="#br0" timeOffset="213824.19">8506 3043 0,'0'-14'15,"0"41"16,0-14-31,14 0 16,-14 1-16,0-1 0,0 0 16,0 0-16,0 1 0,13-1 0,-13 0 15,0 13-15,0-12 0,0-1 16,-13 0-16,13 0 0,0 1 0,0-1 16,0 0-16,0 0 0,0 1 15,0-1-15,0 0 16,0 0-1</inkml:trace>
  <inkml:trace contextRef="#ctx0" brushRef="#br0" timeOffset="214263.9">8440 3268 0,'0'26'47,"0"-13"-47,13 1 16,-13-1-16,0 0 15,0 0-15,0 0 16,14 1-16,-14-1 16,0 0-16,0 0 15,13-13 1,13 0 15,-12 0-31,-14-13 16,13 13-16,0 0 0,0-13 0,0 13 15,1 0-15,-1-13 0,0-1 16,0 14-16,1-13 16,-1 0-16,0 0 0</inkml:trace>
  <inkml:trace contextRef="#ctx0" brushRef="#br0" timeOffset="-214247.63">8480 2619 0,'-13'-13'32,"13"40"-1,0-1-15,-14-26-16,14 13 0,0 1 15,0-1-15,0 0 0,0 0 16,0 0-1,0 1-15,0-1 16,0 0 0,14-39 31,-1 12-32,-13 1 1,0 0-16,13-13 15,-13 12-15,0 1 0,0 0 16,13 13-16,-13-13 0,0-1 16,0 1-16,0 0 15,14 13-15,-14-13 16,13 13 15,0 0-15,-13 13-16,13-13 15,-13 13-15,13-13 0,-13 13 16,14-13-16,-14 14 16,13-14-16,-13 13 0,13-13 15,-13 13-15,13 0 16,1-26 31,-1 0-47,0 0 15,-13-1 1,13 1-16,-13 0 16,14 13-16,-14-13 15,0-1-15,13 14 16,0 0 0,0 0-1,-13 14 1,13-14-16,-13 13 0,14 0 15,-14 0-15,13 1 0,-13-1 16,13 0-16,-13 0 16,0 1-16,0-1 0,13 0 15,-13 0-15,14-13 16,-14 13-16,13-13 16</inkml:trace>
  <inkml:trace contextRef="#ctx0" brushRef="#br0" timeOffset="-213883.24">8943 2619 0,'-13'14'31,"13"-1"-31,0 0 16,-14 0-16,14 1 0,14 25 31,-1-26-31,-13 1 16,13-14-16,0 0 15,1-14 1,-1 14-16,-13-13 16,13 13-16,-13-13 0,0 0 15,0 0-15,0-1 16,0 1-16,0 0 15,-13 0-15,13-14 16,-13 14-16,-1 13 31,1 0-31,0 0 16</inkml:trace>
  <inkml:trace contextRef="#ctx0" brushRef="#br0" timeOffset="-213180.61">9128 2447 0,'13'27'31,"-13"-14"-31,0 0 16,0 1-16,0-1 0,0 13 15,0-13-15,0 1 0,0 12 0,-13-13 0,13 1 16,0 12-16,0-13 0,0 1 16,0-1-16,0 0 0,0 0 15,0 0-15,0 1 0,0-1 16,-13-26 62,0 13-62,-1-14-16,1 14 15,0 14 1,0-14 0,13 13-16,-13 0 15,13 0 1,13 1-1,-13-1-15,13-13 16,0 0-16,0 0 16,-13 13-16,14-13 0,-1-13 15,0 13-15,0 0 0,14 0 0,-1-13 16,-12-1-16,-1 1 0,13 13 16,-13-13-16,1 0 0,-1-14 15,0 14-15,0 0 0,1 0 16,-14-1-16,13 14 15,-13-13-15,-27 26 32,27 1-17,-13-1-15,13 0 16,13 0-16,-13 0 16,14-13-16,-1 14 15,0-14-15,0 0 16,0 0-16,1-14 15,-1 14-15,0 0 16,0 0-16</inkml:trace>
  <inkml:trace contextRef="#ctx0" brushRef="#br0" timeOffset="-206848.4">8176 3281 0,'0'26'109,"0"54"-78,0-67-31,0 13 16,0-12-16,0-1 0,-14 0 16,14 13-16,0-12 0,0-1 0,0 27 15,-13-27-15,13 0 0,0 0 16,0 1-16,0-1 16,0 0-16,0 0 0,-13-13 0,13 13 15,0 1-15,0-1 0,0 0 31,0 0-31,0 1 32</inkml:trace>
  <inkml:trace contextRef="#ctx0" brushRef="#br0" timeOffset="-206216.46">8096 3585 0,'13'27'78,"-13"-14"-78,0 0 16,0 0-16,0 0 0,0 1 16,0-1-16,0 0 0,0 0 15,0 1-15,0-1 16,0 0-16,0 0 16,0 1-1,0-1 1,27-13 31,-27-13-47,13 13 0,0-14 15,1 14-15,-1-13 0,0 0 16,0 0 0,1 13-16,-14-14 0,13 1 15,-13 0-15,13 13 16</inkml:trace>
  <inkml:trace contextRef="#ctx0" brushRef="#br0" timeOffset="-205255.57">7752 3069 0,'0'27'47,"0"-14"-47,0 0 16,0 0 0,0 1-16,0-1 15,0 0-15,0 0 16,14-13-16,-14 13 15,0-39 48,0 13-63,0 0 16,0-14-16,0 1 15,0 12 1,0 1-1,0 0-15,13 26 63,0-13-47,0 13-16,0-13 15,-13 14 1,27-28-1,-27 1 1,13 13-16,-13-13 0,13 13 16,-13-13-1,0-1-15,14 1 16,-1 26 15,0-13-15,-13 14-16,0-1 15,13-13-15,-13 13 0,14 0 0,-14 1 16,0-1-16,13-13 16,-13 13-16,0 0 0,13 1 15,0-14 1</inkml:trace>
  <inkml:trace contextRef="#ctx0" brushRef="#br0" timeOffset="-204932.65">8043 3109 0,'0'-13'0,"0"-1"16,-13 14 31,0 14-16,26-1-15,-13 0-1,13-13 1,1 13-1,-1-13-15,-13-13 16</inkml:trace>
  <inkml:trace contextRef="#ctx0" brushRef="#br0" timeOffset="-204352.41">8162 3056 0,'-13'-13'0,"0"26"31,13 0-15,0 0-16,0 1 31,0-1-15,26-26 15,-12-1-16,-14 1-15,0 0 16,0 0-16,0-1 16,0 1-16,0 0 0,0 0 15,0 0-15,0-1 0,0 1 16,0 0-16,0 0 0,0-1 16,0 1-16,0 0 15,0 39 32,0-12-47,0-1 16,13-13-16,-13 13 0,0 0 0,13 1 15,-13-1-15,0 0 16,13-13-16,-13 13 0,0 0 16,14-13-1,-14 14-15,13-14 31,0 0-15,-13 13 0,13-13-1,-13 13 1,13 0 0</inkml:trace>
  <inkml:trace contextRef="#ctx0" brushRef="#br0" timeOffset="-204224.37">8295 2910 0</inkml:trace>
  <inkml:trace contextRef="#ctx0" brushRef="#br0" timeOffset="-203939.36">8361 2910 0,'-27'14'0,"14"-1"15,13 0 17,13-13-1,1 0-15,-1 0 15,0 0-16</inkml:trace>
  <inkml:trace contextRef="#ctx0" brushRef="#br0" timeOffset="-203005.44">7779 3757 0,'0'27'15,"0"-14"1,0 13-16,0 14 0,13-27 15,-13 14-15,0 12 16,0-12-16,0 12 16,0-12-16,0-14 0,-13 0 0,13 14 15,0-14-15,0 0 0,0 1 16,0-1-16</inkml:trace>
  <inkml:trace contextRef="#ctx0" brushRef="#br0" timeOffset="-202342.34">7699 4022 0,'0'-14'0,"14"41"47,-14-14-47,13 0 16,-13 1-16,0-1 0,13-13 0,-13 13 16,0 0-16,0 1 0,13-1 15,-13 0-15,0 0 0,0 0 0,14 14 16,-14-14-16,0 0 15,0 1-15,13-1 16,-13 0 0,26-26-1,-13 13-15,1-13 16,-1-1-16,0 1 16,0 0-16,-13 0 0,14-1 0,-1 14 15,0-13-15,-13 0 0,13 0 0,-13 0 16</inkml:trace>
  <inkml:trace contextRef="#ctx0" brushRef="#br0" timeOffset="-201610.14">7038 3625 0,'13'13'16,"-13"0"-16,0 0 0,0 1 15,13-1-15,-13 0 16,0 0-16,0 1 0,0-1 15,14 0-15,-14 0 16,0-39 47,0 13-48,0-1-15,13 14 31,0 0-15,0 0 0,-13 14-16,14-14 15,-1 13 1,0-26 0,0 13-1,-13-14-15,13 1 16,1 0-1,-1 0-15,0-1 16,0 14 0,1 0-1,-1 0 1,0 0-16,0 14 16</inkml:trace>
  <inkml:trace contextRef="#ctx0" brushRef="#br0" timeOffset="-200999.47">7369 3598 0,'13'-13'0,"-26"0"15,13 0 1,-14 26 31,14 0-47,0 0 15,14 1 1,-1-14 0,0 13-1,0-26-15,1 13 0,-1 0 16,0-14-16,0 14 15,-13-13-15,27 0 0,-27 0 16,13-1-16,-13 1 16,13 0-16,-13 0 15,0-1-15,-13 28 63,13-1-48,0 0 1,13 0 0,0-26 15,1 13-15,-1 0-1,0 0 1,0 0-1,1 0-15,-1 0 32,-13-13-32,13 13 15,0 0-15,-13-13 0,13 13 16,-13-14-16,14 1 16,-1 13-16</inkml:trace>
  <inkml:trace contextRef="#ctx0" brushRef="#br0" timeOffset="-200340.23">8070 3122 0</inkml:trace>
  <inkml:trace contextRef="#ctx0" brushRef="#br0" timeOffset="-200104.17">7514 3519 0,'0'0'0</inkml:trace>
  <inkml:trace contextRef="#ctx0" brushRef="#br0" timeOffset="-198196.49">11986 3109 0,'0'-27'16,"0"14"0,0 40 31,0-14-47,0 0 0,0 0 15,0 1-15,0 12 0,0-13 0,0 0 16,0 14-16,0-14 0,0 14 0,0-14 15,0 0-15,0 14 0,0-14 0,0 0 16,0 0-16,0 0 16,0 1-16,0-1 0,0 0 0,0 0 15,0 1 1,13-1 0</inkml:trace>
  <inkml:trace contextRef="#ctx0" brushRef="#br0" timeOffset="-197688.71">11880 3334 0,'-13'0'15,"26"26"17,-13-13-17,0 1-15,0-1 0,13-13 16,-13 13-16,0 0 0,0 1 16,0-1-16,0 0 15,0 0-15,13-13 16,-13 13-16,13-13 15,1 0 1,-1 0-16,0 0 0,0 0 16,1-13-16,-1 13 0,0-13 15,0 13-15,1 0 0,-1-13 0,0 13 16,0 0-16,-13-13 16,13 13-16,1 0 0,-1-14 0,0 14 15,0 0-15,1 0 16,-1-13-1</inkml:trace>
  <inkml:trace contextRef="#ctx0" brushRef="#br0" timeOffset="-196479.7">11470 2778 0,'-14'0'16,"14"13"15,0 1-31,0-1 15,0 0-15,-13 0 16,13 14-16,13-27 0,-13 13 16,0 13-16,0-12 31,0-41 31,0 14-62,0 0 0,0 0 16,0-1-16,0 1 16,0 0-1,14 13 17,-1 13-17,0-13 16,0 0 1,-13-13-32,14 0 15,-14-1-15,13 14 16,-13-13-16,13 0 16,-13 0-1,13 26 1,1 0-1,-14 0-15,13 1 16,-13-1-16,13 0 16,-13 0-1,13 1 1,-13-1 0,13-13-16,-13 13 15,14-13-15</inkml:trace>
  <inkml:trace contextRef="#ctx0" brushRef="#br0" timeOffset="-196197.74">11761 2738 0,'0'0'0,"13"0"0,-13-13 16,13 13-16,0 0 16,-13-13-16,14 13 15,-1 0-15,0 0 16,0 0-1</inkml:trace>
  <inkml:trace contextRef="#ctx0" brushRef="#br0" timeOffset="-196025.74">11800 2858 0,'14'-14'46,"-1"14"-30,0 0-16,-13-13 0,13 13 16,1 0-16,-1-13 0,0 0 15,0 13-15,0 0 0</inkml:trace>
  <inkml:trace contextRef="#ctx0" brushRef="#br0" timeOffset="-195408.53">12078 2686 0,'0'-14'16,"0"54"15,0-27-31,0 0 16,0 1-1,0-1-15,-13 0 16,13 0 0,13-39 31,-13 13-32,0-1-15,0 1 16,0 0-16,0 0 0,13 13 15,-13-13-15,0-1 16,0 1 0,14 26 15,-1 1-15,0-14-1,-13 13 1,13-26-1,1 13-15,-14-14 16,13 14-16,0-13 16,-13 0-1,13 13 1,1 13 0,-14 0-1,0 1-15,13-14 16,-13 13-16,0 0 0,0 0 15,13-13-15,-13 13 16,0 1-16,13-14 16,0 0-16</inkml:trace>
  <inkml:trace contextRef="#ctx0" brushRef="#br0" timeOffset="-195154.63">12409 2646 0,'13'-13'31,"0"13"-16,1-14 1,-1 14-16,0 0 16,0 14-1</inkml:trace>
  <inkml:trace contextRef="#ctx0" brushRef="#br0" timeOffset="-194981.7">12396 2765 0,'26'-13'47,"-13"-1"-31,1 1-16,-1 13 16,0-13-16,0 13 0,1-13 15</inkml:trace>
  <inkml:trace contextRef="#ctx0" brushRef="#br0" timeOffset="-194483.37">12687 2699 0,'-13'-13'16,"13"-1"-16,0 1 15,0 0 1,0 0-16,0-1 0,0 1 16,13 0-16,-13 0 31,13 26 0,-13 0-15,13-13-16,0 13 15,1-13 1,-1 0 0,0 0-16,-13-13 15,13 13-15,1-13 16,-1 13-16,0 0 31,0 0-15,-13 13-16,0 0 15,0 1-15,14-14 16,-14 13-16,0 0 0,0 0 16,0 1-1</inkml:trace>
  <inkml:trace contextRef="#ctx0" brushRef="#br0" timeOffset="-193637.45">13018 2408 0,'0'0'0,"-14"-14"0,1 14 0,13-13 16,-13 13-16,0-13 0,-1 0 0,1 13 15,-13-13-15,-1-1 0,-12 1 16,-1 0-16,0 0 0,0 13 0,-12-14 16,12 1-16,-13 13 0,13-13 15,-13 13-15,0-13 0,0 13 16,1 0-16,-1 0 0,-13 13 0,13-13 0,-14 0 15,1 13-15,0 0 0,26 1 0,-26-1 16,27 0-16,-14 14 16,0-14-16,13 13 0,-13 1 0,14-1 15,-41 40-15,40-39 0,1 12 16,12-12-16,1 13 0,-1-14 16,-12 40-16,25-26 0,1-14 15,0 14-15,0 0 0,13-14 0,0 1 16,13-1-16,-13 1 0,13 12 15,14-12-15,-1-1 0,1 1 0,-1-1 16,14-13-16,-1 14 0,14-1 16,14-13-16,-15 1 0,15-1 0,-14 0 15,-1-13-15,1 13 0,66-13 16,-52-13-16,12 13 0,-13-13 16,0 0-16,0-1 0,14-12 0,-14 13 15,0 0-15,0-14 0,-13 1 16,0 12-16,0-12 0,0-1 0,39-12 15,-52 12-15,0 14 0,0-13 16,-1-1-16,-12 1 0,12-1 16,-12 14-16,-1-13 0,-13-1 15,14 1-15,13-1 0,-40 14 16,13 0-16,0 0 0,-13-14 0,13 14 16,-13 0-16,0-1 0,0 1 15,0 0-15,0 0 0,-13-14 0,0 14 16,0-13-16,-14-1 0,1 1 0,12-1 15,-12 1-15,0-1 0,-1 14 16,1-13-16,-67-1 16,67 27-16,-14 0 0,-13 0 0,0 13 15,0 1-15,0-1 0,0 13 0,0 1 16,0-1-16</inkml:trace>
  <inkml:trace contextRef="#ctx0" brushRef="#br0" timeOffset="-177828.69">15319 2924 0,'0'39'31,"0"-25"-31,0 25 16,0-12-16,0 39 16,0-40-16,0 1 0,0-1 15,0 1-15,0-14 0,0 13 16,0 1-16,0-14 0,0 14 16,0-14-16,0 0 0,0 0 0,0 0 15,0 1-15,0-1 0,0 0 16,0 0-16,-13-13 15</inkml:trace>
  <inkml:trace contextRef="#ctx0" brushRef="#br0" timeOffset="-177511.85">15227 3347 0,'-13'13'16,"-1"0"-1,14 1-15,0-1 0,0 0 0,0 0 16,0 1-16,0-1 0,0 0 16,0 0-16,0 0 0,0 1 15,14-14-15,-14 13 0,13 0 16,0 0-16,0-13 15,14 0-15,-14-13 16,0 13-16,0-13 0,1 0 0,12-1 16,14-12-16,-14 0 15,-13-1-15,1 14 0,-1 13 16,0-13-16,0-1 0</inkml:trace>
  <inkml:trace contextRef="#ctx0" brushRef="#br0" timeOffset="-176645.83">15002 2699 0,'-13'26'31,"13"-13"-31,0 1 16,0-1-16,-14-13 0,14 26 16,0-12-16,0-1 15,0 0-15,0 0 16,0 1-16,-13-1 16,13 0-1,13-13 16,-13-13 16,14 0-47,-14-1 16,0 1-16,0 0 16,0 0-16,0-1 15,13 1-15,-13 0 16,0 0-16,0-1 0,0 1 15,13 13-15,-13-13 16,13 26 15,1 0-15,-14 1 0,13-14-16,-13 13 0,13-13 15,-13 13 1,13-13-1,0-13 1,1 0-16,-14-1 16,13 14-16,-13-13 0,13 13 15,-13-13-15,13 13 16,-13 13 0,14-13-1,-14 13-15,0 1 0,0-1 16,0 0-1,0 0-15,0 1 0,0-1 16,13 0 0,-13 0-16,13-13 15,0 0-15</inkml:trace>
  <inkml:trace contextRef="#ctx0" brushRef="#br0" timeOffset="-176331.71">15333 2765 0,'-14'26'47,"14"-12"-47,14-1 16,-14 0-16,13-13 0,-13 13 16,13-13-16,0 0 15,-13 14-15,14-14 0,-1 0 16,0 0-16,-13-14 15,0 1 1,-13 13 0,13-13-16,-13 0 15,-1-1-15,1 14 16,0-13-16,0 13 16,-1 0-16,1 0 15,0 0 1,13-13-1</inkml:trace>
  <inkml:trace contextRef="#ctx0" brushRef="#br0" timeOffset="-175746.47">15544 2540 0,'0'0'0,"14"0"0,-14-13 15,13 26 1,-13 13-16,-13-12 15,13-1-15,0 0 16,0 0-16,0 14 0,0-14 0,0 0 16,0 14-16,0-14 0,0 0 0,0 0 15,-14 1-15,14-1 0,0 0 0,0 0 16,0 1-16,0-1 16,0 0-1,0 0 16,-13-26-15,0 13 0,0 0-16,-1 0 15,1 13-15,0-13 16,0 14-16,-1-1 16,14 0-1,0 0-15,14 0 16,-1-13-1,0 0-15,0 0 0,14 0 16,-1 0-16,1 0 16,-1-13-16,-13 0 0,1 13 0,-1-13 15,0 0-15,0 13 0,1-14 16,-1 14-16,-13-13 0,13 13 16,-13-13-16,13 0 15,-13 39 32,0-13-47,0 1 0,13-14 16,-13 13-16,14-13 15,-1 13 1,0-13-16,0 13 16,1-13-16</inkml:trace>
  <inkml:trace contextRef="#ctx0" brushRef="#br0" timeOffset="-174572.75">15769 3651 0,'0'-13'15,"-13"0"1,13 52 0,0-25-16,0-1 15,0 0-15,0 14 0,0-14 0,0 13 16,0-12-16,0 12 0,0-13 16,0 14-16,0-14 0,0 13 0,13-12 15,-13-1-15,0 0 0,0 0 0,-13 1 16,13-1-16,0 0 0,0 0 15,0 0-15</inkml:trace>
  <inkml:trace contextRef="#ctx0" brushRef="#br0" timeOffset="-174282.58">15703 3863 0,'0'-13'0,"-13"39"47,13-13-47,0 1 15,0-1-15,0 0 0,13 0 16,-13 1-16,0-1 0,0 0 16,0 0-16,13-13 0,-13 13 15,13-13-15,-13 14 16,14-28-16,12 14 15,-26-13-15,13 13 0,1-13 16,-1 0-16,0-14 0,0 14 0,1-13 16,-14 12-16,13-12 0,0-1 15</inkml:trace>
  <inkml:trace contextRef="#ctx0" brushRef="#br0" timeOffset="-173600.08">15822 3069 0,'-13'13'0,"13"1"16,-13-1 0,13 0-16,0 0 15,0 1-15,0-1 0,-14-13 0,14 13 16,0 0-16,0 0 16,0 1-1,14-28 16,-14 1-15,0 0-16,13 13 0,-13-13 16,13 0-16,-13-1 0,0 1 15,13 13 1,1 13 0,-14 1-1,13-1-15,-13 0 16,13-13-1,-13 13-15,13 0 16,0-26 31,1 13-47,-14-13 16,13 13-1,-13-13-15,13 0 16,0 13-1,-13-14 1,14 14 15,-14 14-15,13-14 0,-13 13-16,13-13 0,-13 13 15,13-13-15</inkml:trace>
  <inkml:trace contextRef="#ctx0" brushRef="#br0" timeOffset="-172582.43">16126 3268 0,'14'-27'46,"-14"14"-30,13 13-16,-13-13 0,0-1 16,0 1-1,-13 26 17,13 1-32,-14-14 15,14 26-15,0-13 16,0 1-16,0-1 15,0 0-15,14-13 16,-14 13 0,13-13-16,13-13 15,-13 13-15,1-13 0,-1 0 16,0-1-16,0 1 16,1 13-16,-14-13 15,13 26 16,-13 0-15,0 1 0,13-1-16,0-13 15,1 0 1,-1-13 0,0-1-1,-13 1-15,13 0 0,-13 0 16,13-1-16,-13 1 0,0-13 0,14 13 15,-14-14-15,0 14 0,0-14 0,0 14 16,0 0-16,0 0 0,-14-1 16,14-12-16,0 13 15,0 0-15,-13 26 32,13 0-32,-13 0 15,13 0-15,0 1 0,0-1 16,0 0-16,0 0 0,0 1 0,0-1 15,0 0-15,0 0 0,0 1 16,13-1-16,-13 0 16,13 0-16,-13 0 0,14-13 15,-1 14-15,0-14 16,0 0 0,1 0-16,-1 0 15,0 0-15,0 0 16,1 0-16</inkml:trace>
  <inkml:trace contextRef="#ctx0" brushRef="#br0" timeOffset="-171950.55">16285 3982 0,'-13'13'32,"13"14"-17,13-27-15,-13 13 0,0 0 16,0 0-16,0 1 0,0-1 0,0 13 16,0-12-16,0-1 0,0 0 0,0 0 15,13 14-15,-13-14 16,-13 0-16,13 0 0,0 1 0,0-1 15,-13 0-15,13 0 0</inkml:trace>
  <inkml:trace contextRef="#ctx0" brushRef="#br0" timeOffset="-171652.52">16206 4260 0,'0'26'32,"13"-26"-17,-13 13-15,0 1 16,13-1-16,0 0 16,1-13-1,-1 0 1,0 0-16,0-13 15,1 13-15,-14-13 0,13 13 16,-13-14-16,0 1 0,13 13 16,-13-13-16,0 0 0,13-14 15,-13 14-15</inkml:trace>
  <inkml:trace contextRef="#ctx0" brushRef="#br0" timeOffset="-171018.71">16338 3413 0,'-13'13'31,"13"1"-31,0-1 0,0 0 15,0 0-15,0 0 16,0 1 0,0-1-1,0-40 1,13 14-16,-13 0 16,13 0-16,-13 0 15,13-1-15,-13 1 16,14 13-16,-14-13 15,13 26 1,-13 0-16,13 1 0,0-1 16,-13 0-16,14 0 15,-14 0-15,13 1 16,0-1 0,0-13-1,1 0-15,-1-13 16,0 13-1,0 0-15,-13-14 0,13 14 16,1 0-16,-14-13 16,13 13-1,0 13 1,0-13 0,1 0-1,-1-13 48,0 13-48</inkml:trace>
  <inkml:trace contextRef="#ctx0" brushRef="#br0" timeOffset="-170384.79">16801 3492 0,'0'0'0,"0"-13"0,0 0 16,-13 0-16,13 0 31,-13 26-15,13 0-1,-14-13-15,14 13 0,0 0 16,0 1-16,0-1 16,0 0-16,0 0 15,14-13-15,-1 0 16,0 0-1,0 0-15,1 0 0,-14-13 0,13 13 16,0 0-16,0-13 0,0 0 0,1 13 16,-14-14-16,13 14 0,-13-13 15,13 13-15,0-13 0,-13 0 16,-26 26 31,26 0-47,-13 0 15,13 1 1,13-14 15,0 13-15,0-13-16,1 0 31,-1 0-15,0 13-16,0-13 31,14 0-15,-14 0-1,0-13 1</inkml:trace>
  <inkml:trace contextRef="#ctx0" brushRef="#br0" timeOffset="-170268.64">17066 3519 0,'13'0'0,"-26"0"0,39-13 31,-13 13-31,1 0 16,-1-14 0</inkml:trace>
</inkml:ink>
</file>

<file path=ppt/ink/ink18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1:51:01.356"/>
    </inkml:context>
    <inkml:brush xml:id="br0">
      <inkml:brushProperty name="width" value="0.05292" units="cm"/>
      <inkml:brushProperty name="height" value="0.05292" units="cm"/>
      <inkml:brushProperty name="color" value="#0070C0"/>
    </inkml:brush>
  </inkml:definitions>
  <inkml:trace contextRef="#ctx0" brushRef="#br0">833 2950 0,'14'0'62,"52"0"-46,0 13-1,27 1-15,12-14 16,41 13-16,-1-13 16,14 26-16,-27-26 15,1 0-15,-80 0 16,66 0-16,39 0 16,-52 0-16,40 0 15,13 0-15,-1 0 16,54 0-16,-53 0 15,0-13-15,-1 0 16,107 13-16,-133 0 16,-105 0-1,-14 0-15,0 0 360</inkml:trace>
  <inkml:trace contextRef="#ctx0" brushRef="#br0" timeOffset="2629.9">6906 3810 0,'26'0'235,"14"0"-235,-1 0 15,41 0-15,-14 0 16,66 13-16,-26-13 16,-40 0-16,14 13 15,-14-13-15,-13 0 16,-27 14-16,1-14 15,-14 0-15,0 0 16,0 0-16</inkml:trace>
  <inkml:trace contextRef="#ctx0" brushRef="#br0" timeOffset="4357.89">8096 3836 0,'27'0'109,"12"0"-93,1 0-16,-13 0 15,12 0-15,1 0 16,0 0-16,-27 0 16,0 0-16,14 0 15,-14 0 1,13 0-16,-13 0 15,1 0 1,-1 0-16,0 0 16,0 0-1,1 0 1</inkml:trace>
  <inkml:trace contextRef="#ctx0" brushRef="#br0" timeOffset="6943.87">11470 3321 0,'0'13'46,"13"26"-46,-13-12 16,26 39-16,1-13 16,-27-27-16,26 41 15,-26-28-15,0-12 0,0-1 16,0-13 0,0 1-16,0-1 15,0 0-15,0 0 16,0 14-1,0-14 1</inkml:trace>
  <inkml:trace contextRef="#ctx0" brushRef="#br0" timeOffset="8557.9">11483 3201 0,'0'-13'125,"66"13"-125,40 0 16,53 0-16,105 0 15,-39 0-15,26 0 16,-26-26-16,-66-1 0,119 14 16,-106 0-16,0-27 15,-40 27-15,-26 13 16,0 0-1,0 0-15,-40 0 16,40 0-16,0 0 16,52-13-16,-12 13 15,13-14-15,12 14 16,28-13-16,118 13 16,-118-13-16,-67 13 15,-26 0-15,-53 0 16,-27 0-16,-26 13 219,14 67-219,-1 12 15,-13 1-15,0-1 16,13 1-16,0 13 15,-13-40-15,0 13 16,0-26-16,0 13 16,0-39-16,0-1 15,-26-26 126,-1 0-125,-65 0-16,-54 0 15,-12 0-15,-1 0 16,0 0-16,-13 27 15,-66-27-15,39 26 16,41-26-16,-1 0 16,40 0-16,13 0 15,-53 0 1,120 0-16,-14 0 16,0 0-16,13 0 15,0 0-15,1 0 16,-1 0-16,-26 0 15,0 0 1,-14 0-16,27 0 0,1 0 16,12 0-16,-13 0 15,-40 0-15,14 0 16,0 0 0,-107 0-16,120 0 15,0 0-15,-13 0 16,26 0-16,-40 0 0,27 0 15,13 0-15,0 0 16,0 0 0,14 0-16,12 0 15,1 0-15,-1 0 16,-12 0-16,25 0 16,-12 0-16,13 0 15</inkml:trace>
  <inkml:trace contextRef="#ctx0" brushRef="#br0" timeOffset="9484.96">16192 3426 0,'40'0'110,"13"0"-110,40-13 15,-1 13-15,1 0 16,13-13-16,0 13 16,13-13-1,-14-1-15,-25 1 16,-27 13-16,-40 0 31</inkml:trace>
  <inkml:trace contextRef="#ctx0" brushRef="#br0" timeOffset="11954.71">17066 3188 0,'26'13'15,"-13"-13"-15,1 0 0,-1 0 16,0 14-16,0-14 16,14 13-16,-14-13 0,13 13 0,-12-13 15,-1 13-15,0 1 0,14-14 0,-14 13 16,-13 0-16,13-13 0,0 13 15,0 1-15,-13 12 0,0-13 16,0 0-16,0 1 0,-13 12 16,0-13-16,-13 14 0,12-1 0,-12 1 15,-1-1-15,-12 1 0,-14 26 16,13-27-16,14-13 0,-1 14 0,1-1 16,-1 1-16,14-14 0,0 13 0,0-12 15,-1-14-15,1 13 0,13 0 16</inkml:trace>
  <inkml:trace contextRef="#ctx0" brushRef="#br0" timeOffset="12904.39">17926 3109 0,'0'13'0,"0"14"16,0-1-16,0-13 16,0 0-16,-14 1 15,14-1-15,0 0 0,0 14 16,0-14-16,0 0 16,0 0-16,14-39 46,-14 13-46,13-1 16,-13 1-16,13 0 0,-13 0 16,13-1-16,0 14 0,1-13 15,-1 26 1,0 1-16,0-14 16,-13 13-16,0 0 0,14 0 0,-14 1 15,13-1-15,-13 0 0,13 0 16,-13 1-16,13-14 0,-13 13 0,0 0 15,14-13-15,-1 13 0,0-13 16,0-13 0,0 13-16,-13-13 0,14 0 0,-14-1 15,13 14-15,-13-13 0,13 0 16,-13 0-16,13-1 0,-13 1 16,14 26 15,-1-13-31,-13 14 0,13-14 15,-13 13-15,13-13 0,0 13 0,1 0 16,-1-13-16,0 0 0,0 0 0,1 14 16,12-14-16,-13 0 0,1 0 15,-1-14-15,0 14 16,0-13-16,0 0 0,-13 0 16,-13-14-16,0 14 15,-66-40 16,65 53-31,-12 0 0,13-13 0,-1 13 0,1 0 16,0 13-16,0-13 0,0 0 16,13 13-1,13 0-15,0-13 16</inkml:trace>
  <inkml:trace contextRef="#ctx0" brushRef="#br0" timeOffset="13234">18706 3029 0,'0'0'16,"-26"0"-16,12 0 0,1 0 16,13 14-16,-13-14 0,13 13 15,13 0-15,-13 0 0,0 1 16,13-1-16,1 0 0,-14 0 15,13 1-15,0 12 0,13 0 16,-12-12-16,-1 12 16,0-26-16,-13 13 0,13 1 0,-13-1 15,0 0-15,0 0 0,0 1 16,-13-14-16,13 13 0,-13 0 0,0 0 16,-1 0-16,1 1 0,-13-1 0,13-13 15,-1 13-15,1-13 0,0 13 0,0-13 16,-1 0-16,1-13 15,0 13-15,13-13 0,0 0 0,0-1 16</inkml:trace>
  <inkml:trace contextRef="#ctx0" brushRef="#br0" timeOffset="13455.91">18878 2897 0,'40'-53'31,"-27"67"-16,-13-1-15,13 0 0,-13 0 16,0 14-16,0-1 16,0-13-16,0 14 0,0 12 0,0-12 0,-13-1 15,13 1-15,-13-1 0,13 1 16,-14-1-16,14 1 0,-13-14 0,13 13 16,0-12-16,-13-1 0,13 0 15,0 0-15,0 1 0,0-1 16,13-13-16</inkml:trace>
  <inkml:trace contextRef="#ctx0" brushRef="#br0" timeOffset="13751.88">19235 3043 0,'-26'0'0,"-80"39"31,79-25-31,1-1 0,-14 13 0,27-12 16,-13-1-16,12 0 0,1 0 0,0 0 16,0 1-16,-1 12 15,1-13-15,13 1 0,0-1 16,13 0-16,1 0 16,-1-13-16,0 0 15,0 0-15,14 0 0,-14 0 16,14 0-16,-1 0 0,-13-13 0,14 13 15,-1-13-15,-13 13 0,14 0 0,-14-13 16,14 13-16,-14 0 0,0 0 16</inkml:trace>
  <inkml:trace contextRef="#ctx0" brushRef="#br0" timeOffset="14302.08">19328 3307 0,'26'-39'31,"-26"25"-31,14 1 0,-14 0 16,0 0-16,0-1 15,0 1 1,-14 26 15,14 1-31,-13-14 16,13 13-16,0 0 15,0 0 1,0 1-16,13-14 0,14 0 16,-14 0-1,0 0-15,0-14 16,1 14-16,-1 0 0,-13-13 15,13 13-15,0-13 0,1 13 0,-1-13 16,0 13 0,0 0-1,0 13-15,1-13 16,-1 0-16,-13 13 0,13-13 16,0 0-16,1 0 15,-1 0-15,0 0 16,0 0-16,-13-13 0,14 13 0,-1 0 15,0-13-15,0-1 16,0 1-16,1 13 16,-14-13-16,13 0 0,0 0 0,-13-1 15,13 1-15,1 0 0,-14 0 16,26-14-16,-26 14 0,0 0 16,-13-1-16</inkml:trace>
  <inkml:trace contextRef="#ctx0" brushRef="#br0" timeOffset="17081.98">11324 8162 0,'-13'-13'78,"13"0"-62,0 0 0,0-1-1,0 1-15,0 0 16,0 0 15,0 0-15,0-1-1,13 14 32,0 0-31,1 0 0,-1-13-1,0 13 1,0 0-16,1 0 15,-1 0-15,0 0 0,0 0 16,0 0-16,1 0 16,-1 0-16,0 0 0,0 0 15,1 0-15,-1 0 0,-13-13 0,13 13 16,0 0-16,1 0 0,-1 0 16,0 0-16,0 0 0,0 0 15,1 0-15,-1 0 0,0 0 16,0 0-16,1 0 0,-1 0 0,0-13 15,0 13-15,1 0 0,12 0 16,-13 0-16,0 0 0,1 0 16,-1 0-16,0 0 0,0-14 0,1 14 15,-1 0-15,0 0 16,0 0-16,14 0 16,-1 0-16,-13 0 15,14 0 1,-14 0-16,0 0 0,1 0 15,-1 0-15,0 0 0,0 0 16,0 0-16,1 0 16,-1 0-16,0 0 0,0 0 15,1 0-15,-1 0 16,0 0-16,0 0 16,1 0-16,-1 0 0,0 0 15,0 0-15,0 0 0,1 0 16,-1-13-16,0 13 0,0 0 0,14 0 15,-14 0-15,0 0 0,0 0 16,1 0-16,-1 0 0,0 0 16,0-13-16,1 13 0,-1 0 0,0 0 15,0 0-15,1 0 0,-1 0 0,0 0 16,0 0-16,0 0 0,14 0 16,-14 0-16,0 0 15,1 0-15,-1 0 0,13 0 0,-12 0 16,12-13-16,-13 13 15,0 0-15,1 0 0,-1 0 0,0 0 16,0 0-16,1 0 0,-1 0 16,0 0-16,0 0 0,1 0 15,-1 0-15,0 0 0,0 0 0,0 0 16,1-13-16,-1 13 16,13 0-16,-12 0 0,-1 0 0,0 0 15,0 0-15,1 0 0,-1 0 16,0 0-16,0 0 0,0 0 0,1 0 15,-1 0-15,0 0 0,0 0 0,1 0 16,12 0-16,-13 0 0,0 0 16,1 0-16,-1 0 0,13-14 0,-12 14 15,-1 0-15,0 0 0,14 0 0,-14 0 16,0 0-16,0 0 0,14 0 0,-14 0 16,0 0-16,0 0 0,1 0 15,-1 0-15,0 0 0,0-13 0,1 13 16,-1 0-16,0 0 0,0 0 0,0 0 15,1 0-15,-1 0 16,0 0-16,0 0 0,1 0 16,-1 0-16,0 0 0,0 0 15,0-13-15,1 13 16,-1 0-16,0 0 16,0 0-1,1 0-15,-1 0 16,0 0-16,0-13 15,1 13 1,-1 0-16,0 0 16,0 0-16,0 0 31,1 0-15,-1 0-1,-13-14 1,13 14-1,0 0 32,-13 14-15,0-1-32,0 0 15,0 0 1,0 1-16,0-1 0,0 0 15,0 0-15,0 0 16,0 1-16,0-1 16,0 0-1,0 0-15,0 1 32,0-1-32</inkml:trace>
  <inkml:trace contextRef="#ctx0" brushRef="#br0" timeOffset="18521.86">12277 10570 0,'-14'-13'0,"28"13"31,-1 0-31,13 0 16,-12 0-16,12-13 0,0 13 15,1 0-15,-1-14 0,14 14 0,0 0 16,-1 0-16,-12-13 0,13 13 16,-14 0-16,1 0 0,-1 0 15,0 0-15,1 0 0,-14 0 0,0 0 16,1 0-16,12 0 0,-13 0 15,1 0-15,-1-13 16,0 13-16,0 0 16</inkml:trace>
  <inkml:trace contextRef="#ctx0" brushRef="#br0" timeOffset="18831.91">12528 10544 0,'26'0'31,"-12"0"-16,-1 0-15,0 0 0,14 0 0,-14 0 16,0 0-16,0 0 0,14 0 0,-14 0 16,0 0-16,0 13 0,1-13 0,-1-13 15,0 13-15,0 0 0,1 0 16,12 0-16,-13 0 16,1 0-1</inkml:trace>
  <inkml:trace contextRef="#ctx0" brushRef="#br0" timeOffset="19461.86">12541 10874 0,'13'-13'47,"1"13"-47,-1 0 0,0 0 0,0 0 16,1 0-16,-1 0 0,13-13 15,-12 13-15,-1 0 0,0 0 0,0 0 16,0-13-16,1 13 0,-1 0 0,0 0 16,0 0-16,1 0 15,-1 0-15</inkml:trace>
  <inkml:trace contextRef="#ctx0" brushRef="#br0" timeOffset="19749.68">12607 10914 0,'53'-13'16,"-39"13"-16,-1 0 16,0 0-16,0 0 0,0-13 15,1 13-15,-1 0 0,0 0 0,0-14 16,1 14-16,-1 0 0,0 0 16,0 0-1,1 0-15,-1-13 16,0 13-1,-13-13 1,13 13-16</inkml:trace>
  <inkml:trace contextRef="#ctx0" brushRef="#br0" timeOffset="23428.26">6707 4908 0,'-13'-13'0,"26"26"0,-39-26 0,65 13 46,-25 0-30,12 0-16,-13 0 0,1 0 0,-1 0 16,0-13-16,0 13 0,0 0 15,1 0-15,12 0 16,-39 13 31,0-13-47,-1 0 0,1 0 15,0 0-15,13 13 0,-13-13 0,0 0 16,-1 0-16,1 0 16,0 0-1,39-13 17,-12 13-17,-1 0 1,-53 0 31,27 0-47,0 0 15,-1 0-15,1 0 16,0 0-16</inkml:trace>
  <inkml:trace contextRef="#ctx0" brushRef="#br0" timeOffset="24913.9">7951 4882 0,'-13'0'31,"39"0"-15,-13 0-1,0-14-15,1 14 0,-1 0 16,0 0-16,14 0 0,-14-13 0,0 13 16,0 0-16,14 0 0,-14 0 0,0 0 15,0 0-15,1 0 0,-14-13 0,13 13 16,0 0-1,-53 13 17,27-13-32,0 0 15,0 0-15,-14 0 0,14 13 16,0-13-16,0 0 0,-1 0 0,1 0 16,0 0-16,0 0 15,39 14 16,1-28-15,-14 14 0,13 0-16,-13 0 15,1 0 1,-41 14 31,14-14-47,0 0 15,0 0-15,-1 0 16,1 0-16,0 0 16,13 13-16,-13-13 15,-1 0 1,1 0 0</inkml:trace>
  <inkml:trace contextRef="#ctx0" brushRef="#br0" timeOffset="26426.07">9869 5027 0,'0'0'0,"40"-13"32,-14 13-17,1 0-15,-1-13 0,27 13 16,0 0-16,0 0 0,0-14 0,0 14 15,13 0-15,0-13 0,-13 13 16,0 0-16,66-13 0,-80 13 16,14 0-16,-13 0 0,-13 0 0,-1 0 15,0 0-15,1 0 0,-14-13 16,14 13-16,-14 0 0,0 0 16,0 0-16,-52 13 31,12-13-16,-13 0-15,1 0 0,-14 13 0,0-13 0,0 0 16,0 13-16,-13-13 0,0 0 16,13 0-16,0 14 0,0-14 15,-13 13-15,13-13 0,13 0 0,1 0 16,12 13-16,1-13 0,12 0 0,-12 0 16,13 0-16,0 0 15,26-13 1,0 13-16,13-13 15,-12 13-15,12 0 0,-13-14 0,14 14 16,-1 0-16,-12 0 0,12-13 16,-13 13-16,14 0 0,-1 0 15,-13 0-15,1 0 0,12 0 0,-13 0 16,1 0-16,-1 0 16,0 0-16,-39 0 62,12 0-46,1 0-1,0 0-15,0 13 16,-1-13 0</inkml:trace>
  <inkml:trace contextRef="#ctx0" brushRef="#br0" timeOffset="28620.9">15015 4868 0,'-13'-13'16,"39"13"30,-12 0-46,-1 0 16,13 0-16,-13 0 16,1 0-16,12 0 15,-13 0-15,1 0 0,-1 0 0,0 0 16,14 0-16,-14 0 16,0 0-16,0 0 15,-39 0 32,13 0-47,-14 0 16,14 0-16,0 0 15,-1 13-15,1-13 32,40-13 30,-14 13-46,-40 0 31,14 0-32,-13 0 1,12 0-1</inkml:trace>
  <inkml:trace contextRef="#ctx0" brushRef="#br0" timeOffset="30304.64">16206 4882 0,'13'0'15,"0"0"1,0 0 0,1 0-16,-1 0 15,0 0 1,0 0 0,-52-14 30,25 14-46,1 0 0,0 0 16,0 0-16,-1 0 0,1 0 16,53 0 31</inkml:trace>
  <inkml:trace contextRef="#ctx0" brushRef="#br0" timeOffset="31228.96">17330 4908 0,'-13'0'15,"0"0"1,52 0 47,-25 0-63,-1 0 15,13 0-15,-12 13 0,12-26 16,0 13-16,1 0 0,13 0 15,-1 0-15,14 0 0,-13 0 0,0 0 16,-1 0-16,1 0 0,-14 0 0,14 0 16,-13-13-16,12 13 0,-12 0 15,-1 0-15,1 0 0,-1 0 16,-13 0-16,27 0 0,-27 0 16,1 0-16,-1 0 0,0 0 15,-53-13 16,27 13-31,0 0 0,-14 0 16,14 0-16,-27 0 0,14 0 16,-14 13-16,1-13 0,-14 0 0,13 13 15,0-13-15,14 0 0,-1 0 0,1 0 16,-1 13-16,1-13 0,13 0 0,-14 0 16,14 0-16,0 0 0,0 0 15,-1 13 1,41-13-1,-1 0-15,-12 0 16,12 0-16,0-13 0,14 13 16,-13 0-16,39 0 0,-40 0 15,14 0-15,-14 0 0,1 0 0,-1 0 16,-12 0-16,12 0 0,-13 0 0,0 0 16,14 0-16,-14 0 0,0 0 15,1 0-15,-1 0 16,-53 0 15,27 0-15,0 0-16,-1 0 0,-12 0 15,13 0-15,0 0 0,-1 0 16,-12 0 0,13 0-16,-1 0 0,1-13 15,0 13 1,0 0-16</inkml:trace>
  <inkml:trace contextRef="#ctx0" brushRef="#br0" timeOffset="33249.69">20320 4882 0,'40'0'32,"-27"0"-32,13 0 0,1 0 0,-1 0 15,80 0-15,-53 0 0,0 0 16,0 0-16,0-14 0,13 14 16,-13 0-16,0 0 0,13 0 0,-13 0 15,0 14-15,0-14 0,-14 0 0,-12 0 16,12 0-16,-12 0 0,-1 0 0,-12 0 15,12 0-15,-13 0 16,1 0-16,-1 0 0,0 0 0,0 0 16,-52 0 15,25 0-31,-12 0 0,13-14 16,-14 14-16,1 0 0,-1 0 0,14 0 15,-27 0-15,27 0 0,-13 0 16,12 0-16,1 0 0,0 0 15,-13 0-15,26-13 16</inkml:trace>
  <inkml:trace contextRef="#ctx0" brushRef="#br0" timeOffset="35140.87">1627 4921 0,'-13'-13'47,"0"13"-47,0 0 0,-1 0 15,1 0-15,0 0 0,0 13 16,-14-13-16,1 0 0,12 0 16,-12 0-16,0 0 0,-1 0 0,1 0 15,-1 0-15,1 0 0,-1 0 0,1 0 16,-1 0-16,-12 13 0,12-13 15,1 0-15,-1 0 0,1 0 0,-1 0 16,-12 0-16,12 14 0,1-14 0,-1 0 16,1 0-16,-1 13 0,1-13 15,13 13-15,-14-13 0,1 13 0,-1-13 16,14 14-16,-13-1 0,-1 0 0,14 0 16,-14 1-16,14-1 0,-13 0 15,13 0-15,-14 14 0,14-14 16,-14 0-16,14 14 0,0-14 0,0 0 15,-1 0-15,1 14 0,0-14 0,0 0 16,13 14-16,-13-14 0,13 0 16,-14 27-16,14-27 0,-13 0 15,13 1-15,13-1 0,-13 0 0,0 0 16,14 0-16,-14 14 0,13-14 16,0 0-16,13 1 0,-12-1 0,25 0 15,-12 13-15,-1-12 0,14-1 0,0-13 16,-1 13-16,14 0 0,-13 1 15,0-14-15,65 13 16,-65 0-16,13-13 0,0 0 0,13 13 16,-13-13-16,13 0 0,-13 0 15,13 0-15,-13 0 0,66 0 16,-53 0-16,-13 0 0,13 0 0,1 0 16,-14 0-16,13 0 0,0 0 15,-13 0-15,13 0 0,-13 0 0,13-13 16,-13 13-16,13 0 0,-13 0 0,79-13 15,-79 13-15,13 0 0,-13-13 16,13 13-16,-13 0 0,53-14 16,-66 1-16,13 13 0,-14-13 15,1 13-15,13-13 0,-13 13 0,-1-14 16,1 14-16,0-13 0,-1 13 16,1-13-16,-13 13 0,12-13 15,1 13-15,-14-13 0,1 13 0,-1-14 16,1 14-16,12-13 0,-12 13 15,-1-13-15,1 13 0,-1 0 0,1-13 16,-1 13-16,27-14 0,-26 14 16,-1-13-16,1 13 0,-1 0 0,0-13 15,1 13-15,-1 0 16,-12-13-16,12 13 0,-13 0 0,14-13 16,-1 13-16,-13 0 0,14-14 0,-14 14 15,0 0-15,14-13 0,-14 13 0,0-13 16,0 13-16,1-13 0,12-1 15,-13 1-15,-13 0 0,14 0 16,-14-1-16,13 1 0,-13 0 16,0 0-16,0-14 0,0 1 0,0-1 15,0 1-15,-13-1 0,-1-12 0,1 12 16,0-12-16,-14 12 0,1-13 16,-14 14-16,1-14 0,-1 14 15,-13-1-15,-66-12 0,66 25 0,-13 1 16,-93 13-16,80-13 15,-1 26-15,-92-13 0,93 13 16,0 1-16,-14-1 0,14 0 16,13 0-16,-14 1 0,14-1 0,0-13 15,13 13-15</inkml:trace>
  <inkml:trace contextRef="#ctx0" brushRef="#br0" timeOffset="38943.82">6734 5040 0,'13'27'31,"-13"-14"-31,0 13 16,0-12-16,0-1 0,0 13 15,-13 1-15,13-1 0,0 1 0,-14 26 16,14-40-16,0 13 0,-13 1 16,13-14-16,0 14 0,-13-14 15,13 0-15,0 0 0,0 0 0,0 1 16,0-1-16,0 0 0,-13 0 16,13 1-1,13-14-15,-13 13 16,0 0-16,13-13 15,0 0 1,1 13-16,-1-13 0,0 0 16,0 0-16,1 0 15,-1 0-15,13 0 0,-13 0 16,1 0-16,12 0 0,1 0 0,-1 0 16,1 0-16,12 0 0,-12 0 0,12 0 15,1-13-15,13 13 0,-13 0 16,13 0-16,-14 0 0,14-13 0,-13 13 15,0 0-15,12 0 0,-12 0 0,13-13 16,-13 13-16,13 0 0,-14-14 0,14 14 16,-13 0-16,13-13 15,-13 13-15,-1 0 0,1-13 0,0 13 16,-14 0-16,14 0 0,-14 0 0,27 0 0,-13-13 16,0 13-16,-14 0 15,27 0-15,0 0 0,-13-14 0,12 14 16,1 0-16,-13 0 0,0 0 0,-1 0 15,41 0-15,-41 0 0,-12 0 16,13 0-16,-1 0 16,1 0-16,0-13 0,13 13 0,-14 0 0,14 0 15,-13 0-15,13 0 0,-13 13 0,12-13 16,-12 0-16,-13 0 16,12 0-16,1 0 0,0 0 0,-1 0 15,1 0-15,-14 0 0,14 0 0,-13 0 16,12 0-16,1 0 0,0 0 0,-1 14 15,1-14-15,-14 0 0,14 0 16,-13 0-16,-1 0 0,1 0 0,12 0 16,-12 0-16,-1 0 0,1 0 0,26 13 15,-27-13-15,0 0 16,1 0-16,-1 0 0,1 0 0,-1 13 16,1-13-16,-14 0 0,13 0 0,14 13 15,-13-13-15,-1 0 0,1 0 0,-1 14 16,0-14-16,1 0 15,-1 0-15,1 0 0,-1 13 0,1-13 0,-1 0 16,-13 0-16,14 0 0,-1 0 16,1 13-16,-14-13 0,13 0 15,-12 0-15,39 0 0,-40 13 16,13-13-16,-12 0 0,38 0 16,-25 13-16,-1-13 0,1 0 0,-1 0 15,1 14-15,39-14 16,-40 0-16,1 13 0,12-13 0,-12 0 15,13 0-15,-1 13 0,1-13 0,-14 0 16,27 0-16,-13 13 0,0-13 16,-14 0-16,27 0 0,-13 14 0,13-14 15,-14 0-15,1 13 0,13-13 16,-13 0-16,13 0 0,0 13 0,-14-13 16,14 0-16,0 0 0,0 13 15,0-13-15,53 0 0,-40 14 16,53-14-16,-53 13 0,-13-13 15,13 0-15,14 13 0,-14-13 0,13 0 16,-13 0-16,14 13 0,-14-13 16,13 0-16,-13 13 0,0-13 15,1 0-15,12 0 0,0 0 0,1 14 0,-1-14 16,0 0-16,-12 0 0,12 0 16,0 13-16,80-13 15,-93 0-15,14 0 0,-1 0 0,0 0 16,1 13-16,-1-13 0,-13 0 0,14 0 15,-1 0-15,-13 0 0,0 0 16,14 0-16,-27 0 0,26 0 0,-13 0 16,0 0-16,0 0 0,1 0 0,52 0 15,-53 0-15,-13 0 16,13 0-16,-13 0 0,0 0 0,0 0 16,13 0-16,-13 0 0,-1 0 0,1 0 15,0 0-15,0-13 0,0 13 0,0 0 16,-13 0-16,13 0 15,-14 0-15,-12-13 0,13 13 0,-14 0 16,14 0-16,-14 0 0,14 0 0,-14-14 16,1 14-16,-1 0 0,1 0 0,-14 0 15,13-13-15,-12 13 0,-1 0 16,0 0-16,0 0 0,0 0 0,1 0 16,-1-13-16,0 13 15,0 0-15,1 0 16,-1-13-1,0 0 1,-13-1 0,0 1-16,0 0 15,0 0-15,-13 13 0,13-14 16,0 1-16,-13 0 16,-1 0-16,14-1 15,-13 1-15,0 0 0,13 0 16,-13 13-16,-1-13 0,14-1 0,-13 14 15,-13-26-15,13 13 16,-1-1-16,1 14 0,13-13 16,-13 13-16,0-13 0,-1 0 15,1 13-15,0-13 0,0-1 16,0 14-16,-1-13 0,1 0 16,0 0-16,0 13 15,13-14-15,-14 1 0,1 0 16,0 0-16,0-1 15,-1 1-15,14 0 0,-13 13 16,13-13-16,-13 0 0,0-1 16,0 1-16,-1 0 15,1 13-15,0-13 16,13-1-16,-13 1 16,-1 0-1,1 0-15,13-1 16,-13 14-16,13-13 15,-13 13-15,-1-13 16,1 0 0,0 13-1,13-13 1,-13 13-16,13-14 16,-13 14-16,-1 0 15,14-13-15,-13 13 16,0-13-1,0 13 1,-1-13 15,1 13 32,13-14-1,-13 14-46,26-13 0</inkml:trace>
  <inkml:trace contextRef="#ctx0" brushRef="#br0" timeOffset="44714.84">6998 6403 0,'-13'0'15,"39"13"32,-12-13-47,-1 13 16,0-13-16,0 14 0,1-14 0,-1 0 15,0 13-15,14-13 0,-1 13 16,0-13-16,-12 0 0,12 0 16,-13 13-16,1-13 0,12 0 0,-13 0 15,14-13-15,-14 13 0,13 0 0,-12 0 16,12-13-16,-13 13 0,1-13 15,12 13-15,-13-14 0,0 14 16,1-13-16,-1 13 0,0-13 0,0 0 0,14-1 16,-27 1-16,13 13 15,0-13-15,-13 0 0,14 0 16,-14-1-16,0 1 0,13 0 0,-13 0 16,13-1-16,-13 1 0,0 0 15,0 0-15,13-1 0,-13 1 16,0 0-16,0 0 0,0 0 0,0-1 15,0 1-15,0-13 0,0 12 16,0 1-16,0 0 16,-13 0-16,13-1 0,0 1 15,0 0-15,0 0 0,-13 13 16,13-13-16,0-1 0,-13 14 16,13-13-16,-14 0 0,1 0 15,13-1-15,-13 14 0,0-13 0,-1 0 16,1 0-16,0 13 15,0-13-15,13-1 0,-14 14 0,1-13 16,0 13-16,0-13 0,0 13 0,-1 0 16,14-13-16,-13 13 0,0 0 0,0-14 15,-1 14-15,1 0 0,0 0 16,0 0-16,-1-13 0,-12 13 16,13 0-16,0 0 0,-1 0 0,1 0 15,0 0-15,-14 0 0,14 0 16,-13 0-16,13 0 15,-1 13-15,-12-13 0,13 0 0,-1 0 16,1 0-16,0 14 0,0-14 16,-1 0-16,1 13 0,-13 0 15,13-13-15,13 13 0,-27 1 16,14-14-16,0 13 0,-1 0 16,14 0-16,-13 0 0,0-13 0,0 14 15,-1-1-15,14 0 0,-13 0 0,13 1 16,-13-1-16,0 0 0,13 0 15,-13-13-15,13 13 0,-14 1 16,14-1-16,-13 0 0,13 0 0,-13 1 16,13-1-16,0 0 0,-13 0 0,13 1 15,0-1-15,0 0 0,0 0 16,0 0-16,-14 1 0,28-1 0,-14 0 16,0 0-16,0 14 0,0-14 0,0 0 15,13 1-15,-13-1 0,13 0 16,-13 0-16,13 0 0,1 1 0,-14-1 15,13 0-15,0 0 0,0-13 0,0 14 16,-13-1-16,14-13 0,-1 13 16,0-13-16,0 13 0,1-13 15,-14 14-15,13-14 0,0 0 0,0 0 16,-13 13-16,14-13 0,-1 0 16,0 0-16,0 0 0,0 0 15,1 13-15,-1-13 16,0 0-1,0 0-15,1 0 16,-1 0 0,0 0-16,0 0 62,1 0 16</inkml:trace>
  <inkml:trace contextRef="#ctx0" brushRef="#br0" timeOffset="46030.64">14724 6469 0,'-13'0'16,"0"0"-16,-1 0 15,1-13 1,0 13-1,39 13 32,-12-13-47,-1 0 0,13-13 16,-12 13-16,-1 0 0,13 0 16,-13-13-16,14 13 0,-14-14 0,0 14 15,14-13-15,-1 0 0,14 0 16,-27-1-16,14 1 0,-14 0 15,0 0-15,0-14 0,1 14 0,-1 0 16,-13-14-16,13 14 0,-13 0 16,13 0-16,-13-14 0,0 14 0,0 0 15,0 0-15,0-1 0,0-12 16,-13-1-16,0 14 0,0-13 16,-1-1-16,1 14 0,13 0 15,-13 0-15,0-1 0,-1 1 16,1 0-16,0 13 0,0-13 15,-1-1-15,1 14 0,0-13 0,0 13 0,0 0 16,-1 0-16,-25-13 0,25 13 16,-12 0-1,0 13-15,12-13 0,-25 0 16,25 13-16,1-13 0,-13 14 0,12-1 16,-12-13-16,13 13 0,0 0 15,-14 1-15,14-14 0,0 13 16,-1 13-16,-12-13 0,13 1 0,-1-1 0,1 0 15,0 14-15,0-14 0,13 0 16,-13 14-16,-1-14 0,14 13 0,-13 14 16,0-14-16,13-12 0,-13 12 15,13-13-15,0 14 0,0-14 0,0 27 16,0-27-16,13 13 16,-13-12-16,0-1 0,13 13 15,-13-12-15,13 12 0,-13-13 16,14 0-16,-1 1 0,-13-1 15,13 0-15,0-13 16,0 0-16,1 0 0,-1 13 16,0-26-16,0 13 0,1 0 15,-1-13-15,0 13 16,0 0-16</inkml:trace>
  <inkml:trace contextRef="#ctx0" brushRef="#br0" timeOffset="47357.61">22013 6469 0,'0'0'0,"40"0"46,-14 0-46,1 0 16,26 13-16,0-13 0,0 0 0,0 0 16,13 0-16,-13 0 15,13 0-15,-13 0 0,0 0 0,13 0 16,-13 0-16,0 14 0,39-28 16,-39 14-16,-26 0 0,12 0 0,-12 0 15,-1 0-15,27-13 16,-40 13-16,14-13 0,-14 13 15</inkml:trace>
  <inkml:trace contextRef="#ctx0" brushRef="#br0" timeOffset="47560.55">22318 6496 0,'13'13'0,"27"-13"0,-27 0 16,13 13-16,40-13 0,212 13 31,-238-13-31,13 0 16,0 0-16,13 0 0,-40-13 16,1 13-16,-14 0 15</inkml:trace>
  <inkml:trace contextRef="#ctx0" brushRef="#br0" timeOffset="48420.94">1416 7197 0,'26'0'15,"-13"0"-15,14-14 0,-14 14 0,13 0 16,14 0-16,0-13 0,13 0 15,-14 13-15,14-13 0,13 0 0,1-1 16,12 1-16,-13 13 0,0-13 0,40-14 16,-53 14-16,0 13 0,0-13 15,-14 13-15,1-13 0,13 13 16,-26 0-16,-14 0 16</inkml:trace>
  <inkml:trace contextRef="#ctx0" brushRef="#br0" timeOffset="48712.76">1548 7408 0,'40'-13'0,"-27"13"0,13-13 15,1 13-15,12-13 0,14 13 16,-13-14-16,0 1 0,13 13 15,-1-13-15,1 13 0,-13-13 0,53-1 16,-54 14-16,1-13 0,13 0 16,-27 13-16,14 0 15,-13-13-15,-14 13 0,0 0 16,0 0-16,0 0 0,1-13 16,-1 13-16,0 0 15,-13-14 1</inkml:trace>
  <inkml:trace contextRef="#ctx0" brushRef="#br0" timeOffset="-201156.55">18825 7726 0,'-26'-27'16,"26"14"0,0 53 15,0-27-16,13 14-15,-13 12 0,13 1 0,0 13 16,1 13-16,-1 0 0,0 0 16,0 0-16,0 14 0,-13-14 0,14 27 15,-1-14-15,0 27 0,0 0 0,-13-27 16,14 40-16,-14-13 0,0 13 16,0 119-16,0-119 15,-14-13-15,14 13 0,0-13 0,-13-14 16,13 14-16,-13-13 0,13-14 0,0 1 15,-13 12-15,13-12 0,0-1 0,0 0 16,0-13-16,0 14 0,0-14 16,0-13-16,0 0 0,0-13 0,0 12 15,0-12-15,0-13 0,0-1 0,0 0 16,0 1-16,0-14 0,-14 0 0,14 1 16,-13-41 15,13 14-31,0 0 0,0-1 0,0 1 15</inkml:trace>
  <inkml:trace contextRef="#ctx0" brushRef="#br0" timeOffset="-200304.31">18190 10544 0,'27'13'31,"-14"-13"-15,0 0-16,13 0 0,14 0 0,-13-13 15,26 13-15,-1 0 0,1 0 0,0 0 16,13-14-16,14 14 0,-1 0 16,1-13-16,12 13 0,-12-13 0,12 13 15,1-13-15,92 13 0,-92-13 16,12 13-16,-12 0 0,13-14 16,26 14-16,-26 0 0,13-13 15,-13 13-15,13 0 0,-13 0 0,26 0 16,-26-13-16,26 13 0,-13 0 0,-13 0 15,13 0-15,13 0 0,1 0 0,-27-13 16,-1 13-16,1 0 0,106 0 16,-106 0-16,0 0 0,-14-14 15,14 14-15,-13 0 0,-1 0 0,1 0 16,-1 0-16,1 0 0,-14 0 16,1 0-16,-1 0 0,1 0 0,-14 0 15,-13 0-15,13 0 0,0 0 16,-13 0-16,13 0 0,-13 0 0,0 0 0,0 0 15,0 0-15,-1-13 0,-25 13 16,13 0-16,-14 0 0,14 0 16,-14 0-16,-13 0 0,14 0 0,-1 0 15,-12 0-15,-1 0 0,0 0 0,0 0 16,1 0-16,-1 0 0,0 0 16,0 0-16,0 0 15,1 0-15,-1 0 16,0 0-16,0 0 15,1 0 1,-1-13-16,0 13 16,0 0-16,1 0 15,-1 0 1,-26-13 15,-1-1-31,1 1 0</inkml:trace>
  <inkml:trace contextRef="#ctx0" brushRef="#br0" timeOffset="-199126.61">18838 7686 0,'0'-13'16,"-26"26"0,26 0-1,-13-13-15,13 14 0,-14-14 0,14 13 16,-13 0-16,0 0 0,0 1 16,-1-14-16,14 13 0,-13 0 15,0 0-15,0 0 0,0 1 0,-1-14 16,14 13-16,-13-13 0,0 13 15,13 0-15,-13-13 16,26-26 15,-13 13-31,13-1 16,0 1-16,1 0 0,-14 0 16,13 0-16,-13-1 0,13 1 0,0 0 15,0 0-15,-13-1 16,14 1-16,-1 13 15,-13-13-15,13 13 0,0 0 16,1 0 0,-1 13-16,0 0 15,-13 1-15,13-14 0,-13 13 16,14 0-16,-1 0 0,0 1 16,-13-1-16,13 0 0,-13 0 15,13-13-15,-13 13 0,14 1 16,-1-1-16,0 0 0,0 0 15,1-13 1,12 0-16,-13 0 0,1 0 0</inkml:trace>
  <inkml:trace contextRef="#ctx0" brushRef="#br0" timeOffset="-197904.65">24209 10266 0,'-13'0'0,"26"26"62,-13-12-46,14-1 0,-1 0-16,0 0 15,0 0-15,1-13 0,-14 14 16,13-14-16,0 13 0,0-13 16,-13 13-16,13-13 0,1 13 15,-1-13-15,-13 14 16,13-14-1,0 13-15,-13 0 32,-13 0-17,0 1-15,0-1 0,-1 0 16,1 0-16,-13 0 0,13 1 0,-14-1 16,14 0-16,-14 0 0,14 1 15,0-1-15,-14 0 0,27 0 16,-13 0-16,0 1 0,0-14 0,0 13 15,13 0-15</inkml:trace>
  <inkml:trace contextRef="#ctx0" brushRef="#br0" timeOffset="-196305.59">17357 12846 0,'0'-14'0,"0"28"0,-14-41 16,1 27-16,0 0 16,0 0-1,0 13-15,-1-13 0,1 14 0,-13-1 16,12 0-16,1 0 0,-13 14 0,-1-1 16,14-13-16,0 14 0,0-14 15,-1 0-15,1 14 0,13-14 0,0 0 16,-13 0-16,13 27 15,0-27-15,0 1 0,13-1 16,-13 0-16,13 0 0,1-13 16,-1 13-16,13 1 0,-13-14 15,1 0-15,-1 0 0,0 0 0,0 0 16,1 0-16,12 0 0,-13-14 16,1 14-16,12-13 0,-13 13 0,0 0 15,1-13-15,-1 0 0</inkml:trace>
  <inkml:trace contextRef="#ctx0" brushRef="#br0" timeOffset="-195746.26">17568 12965 0,'-39'0'16,"25"0"-1,1 0-15,0 13 0,0-13 16,-1 13-16,1 0 0,0-13 15,13 14-15,-13-1 16,13 0-16,0 0 0,0 0 16,13 1-16,0-1 15,0 0 1,1-13 0,-1 0-1,-13-13 1,0 0-16,13 13 15,-13-14-15,0 1 32,0 0-17,13 13-15,1 0 16,-1 13-16,0-13 16,-13 13-16,13-13 15,-13 14-15,14-1 0,-14 0 16,0 0-16,0 1 0,0-1 15,0 0-15,-14 0 16,14 0-16,0 1 16,-13-14-16,26-27 47,-13 14-47,0 0 0,14 13 0,-1-27 15,0 14-15,0 0 0,0 0 16,1-1-16,-1 14 15,0-13-15,0 13 0,1-13 0,-1 13 16,0 0-16,0-13 0,1 13 0,12 0 16</inkml:trace>
  <inkml:trace contextRef="#ctx0" brushRef="#br0" timeOffset="-194726.78">15491 13137 0,'0'-14'0,"14"14"16,-1 0 0,0 14-16,-13-1 15,0 0-15,0 0 16,-13 40-1,-40 66 17,26-92-17,14 12 48,26-39-48,199-105 17,-199 91-32,1 14 15,-14-13-15</inkml:trace>
  <inkml:trace contextRef="#ctx0" brushRef="#br0" timeOffset="-194327.69">15703 12978 0,'0'-13'0,"-13"26"31,13 0-15,0 0-16,0 1 15,0-1-15,0 0 16,0 0 0,13-13-16,-13 13 15,13-26 17,0 13-32,1-13 15,-1 13 1,0-13-1,0 13 1,1 13-16,-1-13 16,0 13-1,0-13 1,1 0-16</inkml:trace>
  <inkml:trace contextRef="#ctx0" brushRef="#br0" timeOffset="-193944.97">16060 12819 0,'0'0'0,"-13"13"47,13 1-47,0-1 15,0 0-15,13 0 16,-13 0-1,0 1 1,-13-14 0,13 13-16,-13-13 15,0 0-15,13 13 0,-14-13 16,1 13-16,0-13 0,13 14 0,-13-1 16,-1 0-16,14 0 15,-13-13-15,13 14 16,13-1-16,1-13 31,-1 0-31,0-13 16,0 13-16,1 0 15,-1 0 1,0 0 0</inkml:trace>
  <inkml:trace contextRef="#ctx0" brushRef="#br0" timeOffset="-192432.23">18071 12978 0,'0'0'15,"-13"-13"-15,0 26 16,-1 0-1,14 0-15,0 1 0,0-1 16,-13 0-16,13 0 0,0 0 16,0 14-16,13-14 0,-13 14 0,0-14 0,0 0 15,0 13-15,14 1 16,-14-14-16,0 0 0,0 1 16,13-1-16,-13 0 15,-13-39 16,-1 12-31,14 1 0,-13 0 16,13-14-16,0 1 16,-13 0-16,13-1 0,0 14 0,0-14 15,0 14-15,0-13 0,0 13 0,0-1 16,0-12-16,13 13 16,0-1-16,1 1 15,-1 13-15,0 0 0,-13 13 16,13-13-16,1 0 0,-14 14 0,13-1 15,-13 0 1,0 0-16,0 1 16,0-1-16,0 0 0,-13-13 0,13 13 15,-14 0-15,14 1 0,-13-14 16,13 13-16,-13-13 0,13 13 0,-13-13 16,-1 13-16,14-26 31,14 0-16,-1 0 1,0 13-16,0-14 0,1 14 16,-1 0-16,0 0 15,-13-13-15,26 26 0,-12-13 16,-1 0-16,0 14 0,0-1 16,1-13-16,-14 13 15,0 0-15,13 1 16,-13-1-16,0 0 0,0 27 31,0-27-31,13-40 47,-13 14-47,13 13 16,-13-13-16,13 0 0,1 0 0,-14-1 15,13 14-15,0-13 0,0 13 16,1 0-1,-1 0-15,0 0 0,0 13 16,-13 1 0,14-1-1,-14 0-15,-14 0 16,14 0-16</inkml:trace>
  <inkml:trace contextRef="#ctx0" brushRef="#br0" timeOffset="-192293.7">18441 12965 0,'-13'0'16,"-26"0"-1,39 13 1</inkml:trace>
  <inkml:trace contextRef="#ctx0" brushRef="#br0" timeOffset="-191948.37">18587 12965 0,'13'13'0,"-26"0"15,13 0-15,-13-13 0,13 14 16,-13-14-16,13 13 15,0 0-15,-14 0 0,14 0 0,0 1 16,0-1-16,0 0 16,14-13-16,-14 13 0,13-13 0,-13 14 15,13-14-15,0 0 16,0-14-16,1 14 0,-1 0 16,0-13-16,0 0 0,1 0 15,-1 13-15,0-14 16,0 28 15,0-14-15,1 13-16,-1-13 15,0 0-15,0 0 16,1 0-16,-1-13 0,0 13 16</inkml:trace>
  <inkml:trace contextRef="#ctx0" brushRef="#br0" timeOffset="-189947.75">18732 10663 0,'-13'-14'0,"0"14"15,0 14 1,13-1 0,-13 0-1,13 0-15,0 1 16,0-1-16,0 0 0,0 0 16,0 1-16,13-1 15,-13 0-15,13 0 16,0-13-1,0 13-15,1-13 16,-1-13-16,0 13 16,0-13-16,1 0 15,-14 0 1,0-1-16,0 1 16,0 0-1,0 0-15,-14-1 16,14 1-16,-13 13 15,0-13-15,13 0 16,-13 13-16,-1 0 16,1 0-16,-13-14 15,13 28-15,-1-14 16</inkml:trace>
  <inkml:trace contextRef="#ctx0" brushRef="#br0" timeOffset="-188768.29">24024 10385 0,'0'26'31,"-13"-12"-31,13-1 0,0 0 16,0 0-16,0 1 15,0-1-15,0 0 0,0 0 16,0 0-16,0 1 0,0-1 0,0 13 15,0-12-15,0-1 0</inkml:trace>
  <inkml:trace contextRef="#ctx0" brushRef="#br0" timeOffset="-187972.79">23971 10901 0,'13'-13'16,"1"13"0,-1 0-1,-26 13 1,13 0-16,-14 0 16,14 1-16,-13-14 15,0 13-15,0 0 16,13 0 15,13-13-15,0 13-16,0-13 0,-13 14 15,14-14-15,-1 13 16,-13 0 0,0 0-1,-13 1 1,-1-14-16,1 0 0,0 0 15,0 13-15,-14-13 16,14 0 0,13-13-1</inkml:trace>
  <inkml:trace contextRef="#ctx0" brushRef="#br0" timeOffset="-187603.4">24143 10927 0,'-13'0'16,"0"14"-1,13-1 1,-13 0-16,13 0 0,0 0 15,13-13-15,-13 14 0,13-14 16,-13 13-16,13-13 16,0 0-16,1 0 15,-1 0-15,0 0 0,0-13 16,1 13 0,-14-14-16,0 1 0,0 0 15,0 0 1,0 0-1,-14 13-15,14-14 0,-13 14 16,13-13-16</inkml:trace>
  <inkml:trace contextRef="#ctx0" brushRef="#br0" timeOffset="-187372.64">24381 10874 0,'0'-13'16,"14"26"15,-14 1-31,0-1 0,0 0 16,13-13-16,-13 13 0,0 1 15,0-1-15,0 0 16,13 0-16,-13 0 0,0 1 15,0-1-15,0 0 16,0 0 0</inkml:trace>
  <inkml:trace contextRef="#ctx0" brushRef="#br0" timeOffset="-186671.57">24553 10954 0,'0'-13'31,"-13"26"-16,0-13 1,13 13-16,-13-13 16,13 13-16,0 0 15,0 1 1,13-14 0,0 0-16,0 0 15,-13-14-15,14 14 0,-1-13 16,0 0-16,0 0 15,0 0 17,-13 26 15,0 0-47,0 0 15,14-13-15,-1 0 16,0 0-1,0 0-15,1 0 0,-1-13 16,0 13-16,0-13 0,1 0 16,-1 13-16,-13-14 0,13 14 15,0-13-15,0 0 0,-13 0 16,-26 26 31,26 0-47,-13-13 15,13 13-15,0 1 0,13-1 16,-13 0 0,13-13-16,0 0 15,-13 13-15,14-13 0,-1 0 16,0 0-16,0 0 16,-13 13-16</inkml:trace>
  <inkml:trace contextRef="#ctx0" brushRef="#br0" timeOffset="-185864.65">24011 10888 0,'-27'13'31,"27"0"-31,-13 0 0,0 1 16,0-1-16,0 0 0,-1 0 16,1 0-16,13 1 0,-13-1 15,0 0-15,-1 0 0,1-13 0,13 14 16,-13-1-16,0 0 0,-1 0 15,14 0 1,0 1 0,14-14-16,-1 0 15,0 0-15,0 0 16,1 0-16,-1 0 0,0 0 0,0-14 16,27 14-16,-27 0 0,0 0 15,1 0-15,-1-13 0,0 13 16,0 0-16,1 0 0,-1 0 15,-13-13-15,13 13 16</inkml:trace>
  <inkml:trace contextRef="#ctx0" brushRef="#br0" timeOffset="-185568.6">23998 10954 0,'0'-13'16,"0"39"-1,-14-13-15,14 0 0,0 1 16,0-1-16,0 0 0,-13 0 0,13 14 16,0-14-16,0 0 0,0 14 0,0-14 15,0 0-15,0 0 0,0 14 16,0-14-16,0 0 0,0 1 16,0-1-16</inkml:trace>
  <inkml:trace contextRef="#ctx0" brushRef="#br0" timeOffset="-183036.41">20968 11562 0,'0'0'0,"27"0"32,12-13-17,-12 13-15,26 0 0,-14-13 16,14 13-16,0 0 0,0-13 15,0 13-15,0-14 0,0 14 0,0 0 16,0-13-16,-14 13 0,1 0 0,-13 0 16,12 0-16,-25-13 0,12 13 0,-13 0 15,0 0-15,1 0 0,-1 0 16,0 0-16,0 0 0,1-13 16,-41-1 15,14 1-31</inkml:trace>
  <inkml:trace contextRef="#ctx0" brushRef="#br0" timeOffset="-182739.44">21683 11337 0,'13'14'31,"0"-14"-31,0 0 15,1 13-15,-1-13 0,0 13 0,0-13 16,0 13-16,14-13 0,-14 14 0,0-1 16,14-13-16,-1 13 0,-12 0 15,-1-13-15,0 13 0,0-13 0,0 14 16,1-1-16,-1-13 16,-13 13-16,13-13 0,-13 13 0,-13 1 31,13-1-31,-13 0 0,-1-13 0,1 13 15,-13 1-15,13-1 0,-14 0 0,14 0 16,0 0-16,-14 1 0,1-1 16,12 13-16,-12 1 0</inkml:trace>
  <inkml:trace contextRef="#ctx0" brushRef="#br0" timeOffset="-182420.84">21603 12131 0,'0'0'15,"-13"27"1,13-14-16,0 0 0,0 0 16,0 1-16,0 12 0,0-13 15,-13 14-15,13-1 0,0 1 0,0-14 16,0 13-16,0 1 0,0-14 0,0 13 16,0-12-16,0-1 0,0 0 15,0 0-15,0 1 0,0-1 0</inkml:trace>
  <inkml:trace contextRef="#ctx0" brushRef="#br0" timeOffset="-182067.8">21497 12224 0,'0'-66'31,"14"52"-31,-1 14 16,13 0-1,-12 0-15,-1 14 0,0-14 16,0 13-16,0 0 0,1-13 0,-14 13 16,13 1-16,0-1 0,-13 0 0,0 0 15,0 0-15,0 1 0,0-1 16,0 0-16,-13 0 0,0 1 0,13-1 15,-14-13-15,1 13 0,0 0 0,0-13 16,0 0-16,13 13 0,-14-13 16,1 0-16,0 0 0,0 0 15,13-13-15,26 0 32</inkml:trace>
  <inkml:trace contextRef="#ctx0" brushRef="#br0" timeOffset="-181699.67">21643 12330 0,'13'0'16,"-26"0"-16,39 0 0,-12 13 16,-14 0-1,13 0-15,-13 0 16,13 1-16,-13-1 0,0 0 16,0 0-1,0 1-15,13-1 16,-13-40 15,14 14-31,-1 0 0,-13 0 16,13-1-16,0 1 0,0 0 0,1 0 15,-1 0-15,0 13 0,0-14 16,1 14-16,-1-13 0,0 13 0,0 0 16,1 0-16,-1 0 0,0 0 15,0 0-15,0 13 0,1 1 16,-1-14-16,-13 13 15,13-13-15,-13 13 0,0 0 0,13 0 16,-13 1-16,0-1 0,0 0 16,14 0-1</inkml:trace>
  <inkml:trace contextRef="#ctx0" brushRef="#br0" timeOffset="-181575.35">22053 12171 0,'-13'0'0</inkml:trace>
  <inkml:trace contextRef="#ctx0" brushRef="#br0" timeOffset="-181191.62">22185 12197 0,'-13'14'32,"0"-1"-32,13 0 15,0 0-15,0 0 16,0 1-16,0-1 15,13 0-15,14-13 16,-14 0 0,0 0-16,0-13 0,-13 0 15,13 13-15,-13-14 0,14 14 16,-14-13-16,13 0 16,-13 26 15,0 0-31,13 1 15,0-1-15,1 0 16,-1-13-16,13 0 16,-12 0-16,25-13 0,-12 13 15,-14 0-15,13-13 0,-12 13 0,-1 0 16,0-14-16,-13 1 0</inkml:trace>
  <inkml:trace contextRef="#ctx0" brushRef="#br0" timeOffset="-180451.8">17859 8916 0,'0'27'16,"0"-14"-16,0 14 15,0-14-15,0 27 0,14-1 0,-14 1 16,0 0-16,0-1 0,13 14 16,-13-13-16,0 13 0,0-14 0,0 1 15,0 0-15,0-14 0,0 1 0,0-1 16,-13 1-16,13-14 0,0 13 15,0-12-15,0-1 0,0 0 16,-14-13-16,14 13 0,-13-26 31,0 0-31,13 0 16,0-1-16,-13 1 16</inkml:trace>
  <inkml:trace contextRef="#ctx0" brushRef="#br0" timeOffset="-180193.54">17899 8983 0,'0'-14'0,"-13"14"15,0 14 1,-1-14-16,14 13 0,-13 0 0,13 0 15,-13 1-15,13-1 0,-13 0 16,-1 0-16,1 14 0,0-14 0,0 13 16,0-12-16,-1-1 0,1 13 0,0-12 15,0-1-15,-1 0 0,1 0 16,13 0-16,-13-13 16</inkml:trace>
  <inkml:trace contextRef="#ctx0" brushRef="#br0" timeOffset="-179975.65">17833 8956 0,'13'-13'16,"0"26"-16,1-13 16,-1 13-16,-13 1 15,13-1-15,0 0 0,1 0 0,-1 1 16,0-1-16,0 0 0,14 0 0,-14 0 15,0 1-15,0-14 0,1 13 16,-1 0-16,0-13 0,0 13 16,1-13-16,-1 14 0</inkml:trace>
  <inkml:trace contextRef="#ctx0" brushRef="#br0" timeOffset="-179009.53">16814 8520 0,'0'0'0,"0"-14"0,0 28 31,14 12-15,-14-13-16,0 0 16,0 1-16,0 12 0,0-13 0,0 1 15,0-1-15,0 0 0,0 14 0,0-14 16,13 0-16,-13 0 0,0 0 15,0 1-15,0-1 16</inkml:trace>
  <inkml:trace contextRef="#ctx0" brushRef="#br0" timeOffset="-178780.94">16894 8427 0,'0'-13'0,"0"0"31,0 39-15,0-13-16,0 0 0,13 1 15,-13 12-15,0-13 0,0 1 0,0 12 16,0-13-16,0 14 0,0-14 0,13 13 0,-13-12 16,0-1-16,0 13 15,0-12-15,0-1 0,0 0 0,13-13 16,-13 13-16,0 0 15</inkml:trace>
  <inkml:trace contextRef="#ctx0" brushRef="#br0" timeOffset="-178555.21">16695 8731 0,'0'-13'0,"13"13"16,1-13-16,-1 0 0,0 13 0,93-53 31,-80 39-31,14 1 0,-27 0 0,40 0 16,-40-1-16,1 14 0,-1 0 16,0 0-16</inkml:trace>
  <inkml:trace contextRef="#ctx0" brushRef="#br0" timeOffset="-178348.36">16656 8771 0,'0'0'0,"26"0"31,-13-13-31,0 13 16,1 0-16,12-14 0,-13 14 0,14-13 0,-1 13 15,-12-13-15,12 13 0,0-13 0,1 0 16,-1 13-16,1-14 0,-1 14 16,-13-13-16,14 13 0,-1-13 0,-12 13 15,-1-13-15,13 13 0</inkml:trace>
  <inkml:trace contextRef="#ctx0" brushRef="#br0" timeOffset="-177655.74">17449 8255 0,'-13'0'0,"0"0"0,0 13 31,-1 0-31,1-13 0,13 14 0,-13-1 15,13 13-15,0-12 0,-13-1 0,13 0 16,0 14-16,0-14 0,0 0 0,-14 0 16,28 0-16,-14 1 0,0-1 15,0 0-15,13 0 0,-13 1 0,13-1 16,0-13-16,1 0 0,-1 13 16,13-26-1,-13 13-15,1 0 0,-1-13 0,0-1 16,0 14-16,-13-13 0,14 0 0,-14 0 15,13-1-15,-13 1 16,0 0-16,13 13 0,-13-13 16,0 0-16,-13 13 15,13-14-15,-27 28 32,27-1-32,0 0 15,14-13 16,-1 0-15,0 0-16,14 0 16,-14 0-1,0 0-15,0 0 16,0 0-16,-13 13 0,14-13 16,-14 13-1,0 1-15,0-1 16,0 0-1,-14-39 32,28 12-47,-14 1 0,13 13 16,-13-13-16,13 0 0,0 13 16,-13-13-16,14 13 0,-14-14 0,13 14 0,0-13 15,0 13-15,1-13 16</inkml:trace>
  <inkml:trace contextRef="#ctx0" brushRef="#br0" timeOffset="-177177.63">17939 8242 0,'13'-13'31,"-26"13"47,-14 13-62,14-13 0,0 13-16,13 0 15,-13-13-15,13 13 16,13 1 0,-13-1-16,13-13 15,-13 13-15,13-13 0,-13 13 0,14 1 16,-14-1-16,13-13 15,-13 13-15,0 0 16,0 1 0,-13-1-16,-1-13 0,1 13 15,0 0-15,0-13 16,-1 13-16,1-13 0,0 14 16,0-14-16,-1 13 0,1-13 15,13 13-15</inkml:trace>
  <inkml:trace contextRef="#ctx0" brushRef="#br0" timeOffset="-174031.83">19407 10451 0,'-13'0'0,"13"27"93,0-14-93,0 0 0,0 0 16,-13-13-16,13 13 0,0 1 0,0-1 16,0 0-16,0 0 0,0 1 15,0-1-15,0 0 0,0 0 16,0 0-16</inkml:trace>
  <inkml:trace contextRef="#ctx0" brushRef="#br0" timeOffset="-173495.63">19341 10795 0,'-13'13'31,"0"0"-31,-1 1 16,1-1-1,0 0 1,13 0 0,-13 1-16,26-14 31,0 13-31,0-13 16,1 0-16,-1 0 15,0 0-15,0-13 16,1 13-16,-1 0 15,0 0 1</inkml:trace>
  <inkml:trace contextRef="#ctx0" brushRef="#br0" timeOffset="-173315.83">19381 10808 0,'0'0'0,"-13"13"15,13 1 1,0 12 0,-14-13-16,14 1 0,0-1 0,0 0 15,0 0-15,0 1 0,0-1 16,0 0-16,0 0 0,14 0 16</inkml:trace>
  <inkml:trace contextRef="#ctx0" brushRef="#br0" timeOffset="-171680.48">19235 10901 0,'27'-13'16,"-14"-1"-1,0 14-15,0-13 0,1 13 16,-1 0-16,0 0 0,0 0 15,1 0-15,-1 0 16,0 13-16,-13 1 16,0-1-16,0 0 15,0 0-15,-13-13 0,13 27 0,-13-14 16,-1 0-16,14 0 0,-13-13 16,0 14-16,13-1 0,-13 0 0,-1-13 15,14 13-15,-13 1 0,0-1 16,26 0 15,0-13-31,1 0 0,-1 0 16,0 0-16,0 0 15,14-13-15,-14 13 0,0 0 0,0 0 16,14-13-16,-14 13 0,14-14 0,-1 14 16,-13-13-16,14 0 0,-1 0 0,1-1 15</inkml:trace>
  <inkml:trace contextRef="#ctx0" brushRef="#br0" timeOffset="-171092.85">19976 10464 0,'13'-13'16,"-13"40"15,0-14-31,0 0 15,0 0-15,0 0 0,0 1 16,0-1-16,0 0 0,0 14 16,0-14-16,0 26 0,0-25 15,-13-1-15,13 0 0,0 0 16,0 1-16</inkml:trace>
  <inkml:trace contextRef="#ctx0" brushRef="#br0" timeOffset="-170732.18">20016 10888 0,'-27'13'47,"27"0"-47,-13-13 0,13 13 16,-13-13-16,13 14 15,-13-14-15,13 13 16,13 0 15,-13 0-31,13-13 16,0 0-16,0 0 0,1 0 15,12 0-15,-13 0 16,14 0 0,-14-13-16,0 13 15</inkml:trace>
  <inkml:trace contextRef="#ctx0" brushRef="#br0" timeOffset="-170547.72">20108 10888 0,'0'13'16,"-13"27"0,13-27-16,0 0 15,0 13-15,0-12 16,0-1-16,0 0 0,0 0 16,13 1-16,-13-1 0,14-13 15</inkml:trace>
  <inkml:trace contextRef="#ctx0" brushRef="#br0" timeOffset="-170060.79">20624 10438 0,'0'-13'0,"0"26"31,0 13-15,0-12-16,0-1 15,0 0-15,0 0 0,-13 0 0,13 1 16,0-1-16,0 0 16,0 0-16,0 1 0,0 12 0,-13-13 15,13 0-15</inkml:trace>
  <inkml:trace contextRef="#ctx0" brushRef="#br0" timeOffset="-169697.75">20638 10848 0,'-27'13'31,"14"0"-31,13 1 16,-13-1-16,13 0 15,0 0-15,0 1 0,0-1 16,0 0-16,0 0 0,13 0 16,0 1-16,0-14 15,1 0 1,-1 0-16,0 0 15,-39 0 32,12 13-47,1-13 16</inkml:trace>
  <inkml:trace contextRef="#ctx0" brushRef="#br0" timeOffset="-169152.09">21101 10451 0,'13'-13'31,"-13"26"-31,0 0 16,0 1-16,13-1 0,-13 0 16,0 0-16,0 0 0,0 1 15,0-1-15,0 0 0,0 0 16,0 14-16,0-14 0,0 0 15,0 14-15</inkml:trace>
  <inkml:trace contextRef="#ctx0" brushRef="#br0" timeOffset="-168259.56">21127 10861 0,'-13'-13'32,"13"39"-1,13-12-31,-13-1 15,13 0 1,-13 0-16,0 1 0,13-1 16,-13 0-16,-13 0 0,13 0 15,0 1-15,-13-14 16,13 13-16,-13 0 0,0-13 16,13-13 15,13 0-31,-13-1 0,13 1 15,0 0-15,0 13 0,1-13 0,-14 0 16,13-1-16,0 1 0,0 0 16,-13 0-16,14-1 0,-14 1 15,0-13 1,-14 12-16,1 1 16,0 13-1,0-13-15</inkml:trace>
  <inkml:trace contextRef="#ctx0" brushRef="#br0" timeOffset="-167217.78">21683 10425 0,'0'-14'0,"0"41"47,-14-14-47,14 0 0,0 1 15,0-1-15,0 13 0,0 1 16,0-1-16,0-13 0,0 1 0,0-1 16,0 13-16,0-13 0,0 1 0,0-1 15,0 0-15,0 0 0</inkml:trace>
  <inkml:trace contextRef="#ctx0" brushRef="#br0" timeOffset="-166768.81">21630 10901 0,'-14'-13'0,"14"39"47,0-13-47,0 1 15,0-1-15,0 0 16,0 0-16,-13 0 0,13 1 15,0-1-15,13 0 0,-26-13 0</inkml:trace>
  <inkml:trace contextRef="#ctx0" brushRef="#br0" timeOffset="-166455.52">21696 10967 0,'13'0'0,"0"13"47,1 0-47,-1 1 16,0-14-16,0 0 15,0 13-15,1-13 0,-1 0 16,0 0-16,0-13 0,1 13 16,-14-14-1,-14 1 1,1 0-16,0 13 15,0 0 1,-1-13-16,1 13 16,0 0-16,13-13 31</inkml:trace>
  <inkml:trace contextRef="#ctx0" brushRef="#br0" timeOffset="-166031.89">22251 10385 0,'0'0'0,"-26"26"31,26-12-15,0-1-16,-13 0 0,13 0 16,0 1-16,0-1 0,0 0 0,0 0 15,0 27-15,0-27 16,0 0-16,0 1 0,0-1 0</inkml:trace>
  <inkml:trace contextRef="#ctx0" brushRef="#br0" timeOffset="-165267.96">22172 10901 0,'13'-13'16,"1"13"0,-1 0-16,0 13 15,0-13-15,-13 13 0,0 14 16,-13-14 0,13 0-16,-13 0 0,13 0 15,-13 1-15,-1-1 0,14 0 16,-13 0-16,13 1 15,-13-14 1,26 13 0,14-26-1,-14 13-15,0-14 16,0 14-16,0 0 16,1 0-16,-1 0 0,0 0 15,0 0 1,1 0-16,-1 0 0,0 0 15,0 0-15,-13-13 0,14 13 16,-1 0-16,0 0 16,-13-13-16,13 13 0,-13-13 15,0-1 1,0 1 0,-39 0-1,39 0 1,-14 13-16</inkml:trace>
  <inkml:trace contextRef="#ctx0" brushRef="#br0" timeOffset="-164296.61">22741 10464 0,'-13'14'32,"13"-1"-32,0 0 15,0 0-15,0 0 0,0 1 16,0-1-16,0 0 0,0 0 16,0 14-16,13-14 0,-13 0 0,0 0 15,0 14-15,0-1 16</inkml:trace>
  <inkml:trace contextRef="#ctx0" brushRef="#br0" timeOffset="-163923.7">22714 10914 0,'14'-13'16,"-1"0"-16,0 13 16,-13 13-1,13-13-15,-13 13 16,0 0-16,-13-13 16,13 27-16,-13-14 0,13 0 15,-13 0-15,13 1 16,0-1-1,-14-13 1,28 0 0,12 0-1,-13 0 1,-13-13-16,14 13 0,-1 0 0,0-14 16,0 14-1,1 0-15</inkml:trace>
  <inkml:trace contextRef="#ctx0" brushRef="#br0" timeOffset="-163667.3">22953 10901 0,'-14'0'0,"1"0"16,0 13-1,13 0-15,0 1 31,0-1-31,0 0 0,13-13 16,-13 26-16,0-12 16,-13-1-16,13 0 15,-13-13-15,13 13 16,-14-13-16,1 14 0,0-14 16,0-14-1,13 1-15,0 0 16</inkml:trace>
  <inkml:trace contextRef="#ctx0" brushRef="#br0" timeOffset="-163243.86">23270 10425 0,'0'26'47,"0"-13"-47,0 1 16,13-14-16,-13 13 0,0 0 0,0 0 15,0 0-15,0 14 0,14-27 0,-14 13 16,0 14-16,0-14 0,13 0 16,-13 0-16</inkml:trace>
  <inkml:trace contextRef="#ctx0" brushRef="#br0" timeOffset="-162787.49">23217 10861 0,'0'27'47,"0"-14"-32,0 0-15,0 0 16,0 1-1,0-1-15,0 0 16,0 0 0,0 0-16,-13 1 15,0-1-15,0 0 16,-1 0 0,1-13-16,0 14 15</inkml:trace>
  <inkml:trace contextRef="#ctx0" brushRef="#br0" timeOffset="-162516.7">23310 10914 0,'0'13'31,"0"1"-31,13-14 15,0 0 1,0 0-16,1 0 16,-1-14-16,0 1 15,-13 0 1,-13 13-16,0-13 16,-1 13-1,1 0-15,0 0 16,0 0-1</inkml:trace>
  <inkml:trace contextRef="#ctx0" brushRef="#br0" timeOffset="-162088.89">23535 10372 0,'0'13'15,"0"0"-15,0 0 16,0 1-16,0-1 0,0 0 0,0 0 16,13 1-16,-13-1 0,0 13 0,0-13 15,0 1-15,0 12 0,0-13 16,0 14-16</inkml:trace>
  <inkml:trace contextRef="#ctx0" brushRef="#br0" timeOffset="-161696.87">23469 10874 0,'0'-13'0,"13"13"15,0 13 17,-13 1-17,13-1-15,-13 0 16,0 0 0,13-13-16,-13 14 15,0-1-15,14-13 0,-14 13 16,0 0-16,13 0 15,-26 1 1,13-1-16,-14 0 0,1 0 16,0-13-16,13 14 0,-13-14 15,0 13-15,-1-13 16,1 0 0</inkml:trace>
  <inkml:trace contextRef="#ctx0" brushRef="#br0" timeOffset="-161415.95">23654 10848 0,'-13'0'0,"-1"0"0,1 13 15,13 0 1,0 1-1,13-14-15,-13 13 16,14-13-16,-1 13 0,-13 0 16,13 1-16,0-1 0,-13 0 15,0 0-15,0 0 0,0 1 16,-13-1-16,0 0 16,0 0-16,-1 1 15,1-14-15,13 13 0,-13-13 16</inkml:trace>
  <inkml:trace contextRef="#ctx0" brushRef="#br0" timeOffset="-159059.95">23191 10808 0,'13'0'46,"0"0"-30,0 0 0,-13 13-1,0 1 1,-13-1 0,13 0-16,-13-13 15,0 13-15,0 1 16,-1-14-1,14 13 1,-13-13-16,40 0 47,-14 13-47,0 0 16,0 1-1,0-1 1,-13 0-16,0 0 15,0 0-15,0 1 16,-13-14-16,13 13 0,0 0 0,-13-13 16,13 13-16,-13-13 0,13 14 0,-13-14 15,13 13-15,-14-13 0,14 13 16,-13-13-16,0 0 0,0 0 16</inkml:trace>
  <inkml:trace contextRef="#ctx0" brushRef="#br0" timeOffset="-158492.87">23323 10914 0,'-13'27'63,"13"-14"-63,13 0 15,-13 0-15,13 0 16,0 1 0,1-14-16,-1 0 15,0-14-15,0 14 16,-13-13-16,14 0 16,-14 0-16,0 0 31,-14-1-31,1 14 15,-13 0-15,-1 0 16,14 0 0,0 0-16</inkml:trace>
  <inkml:trace contextRef="#ctx0" brushRef="#br0" timeOffset="-157046.91">16708 7144 0,'0'-13'16,"0"52"-1,0-12 1,0-14-16,14 0 0,-14 14 16,0-14-16,0 13 0,0-13 0,13 14 15,-13-14-15,0 0 0,13 14 0,-13-14 16,0 0-16,13 1 0,-13-1 16,0 0-16,0 0 15,14 0-15</inkml:trace>
  <inkml:trace contextRef="#ctx0" brushRef="#br0" timeOffset="-156572.58">16642 7170 0,'14'-13'16,"-28"26"-16,28-39 0,-14 13 0,13-1 0,0 14 15,-13-13-15,13 13 0,0-13 16,1 13-16,-1 0 0,0-13 0,0 13 15,1 13-15,-1-13 0,-13 13 16,0 0-16,0 1 0,0-1 16,0 0-16,0 13 0,0-12 0,0-1 15,0 0-15,0 0 0,-13 1 0,13-1 16,13 0-16,-13 0 0,0 0 16,13 1-16,0-1 15,1 0-15,-1 0 16,0 1-16,0-14 0,0 26 15,-13-13-15,0 1 16,0-1-16,0 0 0,-13 0 0,13 0 16,-13 1-16,0-1 0,0 0 15,-1 0-15,1-13 0,13 14 0,-13-14 16,0 0-16,-1 0 16</inkml:trace>
  <inkml:trace contextRef="#ctx0" brushRef="#br0" timeOffset="-155880.84">17079 7170 0,'-13'0'0,"-14"0"16,1 13-16,26 1 15,-14-1-15,1 0 0,0 0 0,13 1 16,-13-1-16,0 0 0,13 0 16,0 0-16,-14 1 0,14-1 0,0 0 15,0 0-15,0 1 0,14-1 0,-1 0 32,0-13-32,0-13 15,0 13-15,1-13 0,-14-1 16,13 1-16,-13 0 15,13 0-15,-13-1 0,0 1 16,0 0-16,13 0 16,1 26 31,-14 0-47,13-13 15,-13 13 1,13-13-16,0 0 15,1-13 1,-1 13-16,0 0 16,0 0-16,0 0 15,1 0-15,-1 0 16,-13 13 0,13-13-16,-13 14 0,13-14 15,-13 13-15,14-26 47,-14-1-47,13 1 16,-13 0-16,13 13 15,-13-13-15,13 13 0,1-13 16,-1 13-16,-13-14 16,13 14-16,0 0 0,0 0 15,1 0-15,-1 14 16,0-14-1,0 13-15</inkml:trace>
  <inkml:trace contextRef="#ctx0" brushRef="#br0" timeOffset="-154541.85">17555 7144 0,'-13'0'15,"26"0"-15,-39 0 0,12 0 0,1 0 16,0 13-1,13 0-15,0 0 16,0 1-16,0-1 0,0 0 16,0 0-16,0 14 0,13-14 0,-13 0 15,0 14-15,0-14 0,0 13 16,-13-12-16,13 12 0,0-13 0,-13 1 16,13-1-16,-14 0 0,1 0 0,13 0 15,-13 1-15,0-1 16,0-13-16,13-13 31,13-1-31,-13 1 16,13 0-16,0-13 0,0 12 15,14-12-15,-14-1 0,14 14 0,-1-13 16,-13-1-16,14 1 0,-14 13 0,0-1 16,0 1-16,1 0 0,-1 0 15,0-1-15,0 1 0,1 0 16,-14 0-16,0 0 0,-14 26 47,1 0-47,0 0 15,13 0 1,0 1-16,-13-14 0,13 13 16,0 0-16,0 0 15,13-13 16,0 0-31,0-13 16,1 13 15,-1 0 1,0 0-32,0-13 15,1 13 1,-14-13-16,13-1 15,0 1-15,-13 0 0,0 0 16,13 0-16,-13-1 0,0-12 0,0 13 16,0-14-16,0 14 0,0-14 15,0 14-15,0-13 0,0-1 16,-13 14-16,13 0 0,0 0 16,-13 26 15,13 0-31,0 0 0,0 1 0,0-1 15,0 0-15,0 0 0,0 14 16,0-14-16,0 0 0,13 0 0,-13 1 16,0-1-16,13 0 0,-13 0 15,13-13-15,-13 14 0,14-14 16,-1 0-16,0 0 16,0-14-1,1 14-15,-1 0 31,0 0-31,-13 14 16,13-14-16,1 13 16,-1-13-1,0 0-15,0 0 16,-13-13 0,13-1-1,-13 1-15,0 0 16,0 0-1,14 13-15,-14-14 16,13 14-16,0 0 16,0 0-1,-13 14-15,14-1 16,-1 0 15,0-26 0,-13 0-31,0-1 16,13 1-16,-13 0 16,0 0-16,14 13 0,-14-14 0,0 1 15,13 13-15,-13-13 0,13 13 16,0 0-16,0 0 31,-13 13-31,14-13 16</inkml:trace>
  <inkml:trace contextRef="#ctx0" brushRef="#br0" timeOffset="-154310.71">18217 6985 0,'13'-26'16,"-40"65"-16,41-52 0,-1-27 0,-13 27 31,-27 26-15,14 1-1,13-1-15,-13-13 0,13 13 16,0 0-16,0 0 15,13 1 1,0-14 0,1 0-16,12 0 15,-13-14-15,0 14 16,1 0-16,-1 0 16,0 0-16,0 0 0,14 0 15</inkml:trace>
  <inkml:trace contextRef="#ctx0" brushRef="#br0" timeOffset="-142636.59">19143 7726 0,'-14'0'32,"1"0"14,13-13-30,0-1 0,13 1-1,-13 0 1,14 13 0,-14-13-16,13 13 15,-13-14-15,13 14 0,0-13 16,1 13-16,-1-13 15,0 13-15,0 0 16,0-13 0,1 13-16,-1 0 15,0 0 1,0 0 0,1 0-16,-1 0 15,-13 13-15,13-13 16,0 0-1,1 0-15,-14 13 16,13-13 0,0 13-1,0-13 1,0 0 0,1 0-1,-1 14 1,0-14-1,0 0-15,1 0 16,-14-14 0,13 14-16,0 0 15,0 0 1,0 0 0,1 0-1,-1 0-15,0 0 16,0-13-1,1 13 1,-1 0 0,0 0-16,-13-13 15,13 13-15,1 0 16,-14-13-16,13 13 16,0-13-1,-13-1 1,13 14-1,-13-13 1,0 0 15,13 26 110,1-13-125,-14 13-1,13-13 1,0 0-1,0 14 1,14-14 0,-14 0 15,0 0-31,1 0 16,-1 0-16,0 0 15,0 0 1,0 0-1,1 0-15,-1-14 16,0 14 0,0 0-1,1 0 1,-1 0 0,0-13-1,0 13 16,0 0-31,1 0 16,-14-13-16,13 13 16,0 0-16,0 0 15,1 0 1,-1 0 0,13 0-1,-26-13-15,14 13 16,-1 0-1,0 0-15,0 0 16,0 0-16,1 0 16,-1 0-1,0 0-15,0 0 16,1 0-16,-1 13 16,0-13-1,0 0 1,1 0-16,-1 0 15,0 13-15,0-13 16,0 13-16,1-13 16,-1 14-1,0-1 1,0 0 0,1-13-1,-14 13-15,13-13 16,-13 13-16,13-13 15,-13 14-15,13-1 16,-13 0 0,14 0-1,-1-13 32,-13 14-31,0-1 15</inkml:trace>
  <inkml:trace contextRef="#ctx0" brushRef="#br0" timeOffset="-139403.79">18852 9856 0,'26'-14'0,"-13"14"16,0 0-16,1 0 15,-1-13-15,0 13 0,14 0 0,-14 0 0,13-13 16,-12 13-16,-1 0 0,0-13 15</inkml:trace>
  <inkml:trace contextRef="#ctx0" brushRef="#br0" timeOffset="-138611.98">18283 9869 0,'-14'-13'31,"28"39"-15,-14-13-1,13 1 1,-13-1-16,0 0 0,0 0 15,13 1-15,-13-1 0,0 0 16,0 0-16,0 0 16,0 1-16</inkml:trace>
  <inkml:trace contextRef="#ctx0" brushRef="#br0" timeOffset="-137628.75">18402 9869 0,'13'-13'31,"0"26"1,-13 0-32,13 0 0,-13 1 15,0-1-15,0 0 16,0 0-16,0 1 15,0-1-15,0 0 16,14-13-16</inkml:trace>
  <inkml:trace contextRef="#ctx0" brushRef="#br0" timeOffset="-137390.81">18587 9842 0,'0'0'0,"-13"0"0,-14 14 16,14-1-16,0 0 16,0 0-16,-1-13 0,14 14 15,-13-1-15,13 0 16,-13 0-16,26-13 16,0 0-1,1 0-15,12 0 16,-13-13-16,1 13 0,-1-13 15,0 13-15,0-13 0,0-1 0,14 1 16</inkml:trace>
  <inkml:trace contextRef="#ctx0" brushRef="#br0" timeOffset="-136911.39">18865 9168 0,'26'0'16,"-13"-13"0,1 13-16,-1 0 0,0 0 15,0-14-15,1 14 0,-1 0 16,0-13-16,0 13 0</inkml:trace>
  <inkml:trace contextRef="#ctx0" brushRef="#br0" timeOffset="-136324.79">18283 9327 0,'13'0'0,"0"-14"0,0 14 16,1 14 0,-14-1-1,0 0-15,-14 0 16,14 0-16,0 1 0,-13-14 16,13 13-16,0 0 15,-13-13-15,13 13 16,26-26 15,-12 13-31,-1-13 16,0 13-16,-13-13 0,13 13 0,1-14 15,-1 14-15,0-13 0,0 0 0,0 0 16,1 0 0,-14-1-16</inkml:trace>
  <inkml:trace contextRef="#ctx0" brushRef="#br0" timeOffset="-136163.95">18508 9194 0,'0'-13'16,"13"40"31,-13-14-47,0 0 0,0 0 16,0 0-1,13-13-15,-13 14 0,13-14 16</inkml:trace>
  <inkml:trace contextRef="#ctx0" brushRef="#br0" timeOffset="-135948.78">18653 9194 0,'0'0'0,"-13"0"16,0 14 0,-1-14-16,14 13 0,-13-13 15,13 13-15,0 0 16,13-13 15,1 0-31,-1 0 16,0 0-16,0 0 0,1-13 0,-1 13 15,0-13-15,0 0 0,0 13 0,1-14 16,-1 1-16,0 0 0,0 0 16,1 13-16</inkml:trace>
  <inkml:trace contextRef="#ctx0" brushRef="#br0" timeOffset="-135409.9">18878 8612 0,'-13'0'0,"26"-13"47,0 13-47,0-13 0,1 13 16,-1-14-16,0 14 0,0 0 0,1-13 15,-1 13-15,0-13 0,0 13 16</inkml:trace>
  <inkml:trace contextRef="#ctx0" brushRef="#br0" timeOffset="-134900.79">18349 8692 0,'26'-14'16,"-12"28"-1,-14-1 1,13 0-1,0 0-15,-13 0 16,13-13-16,-13 14 16,13-14-16,-13 13 15,0 0 1,0 0-16,0 1 16,-13-14-16,0 13 0,0 0 15,13 0-15,-13-13 16</inkml:trace>
  <inkml:trace contextRef="#ctx0" brushRef="#br0" timeOffset="-134740.64">18508 8639 0,'0'-14'15,"0"28"-15,13-28 0,-13 28 16,0-1-1,0 0 1,0 0-16,0 1 0,0-1 16</inkml:trace>
  <inkml:trace contextRef="#ctx0" brushRef="#br0" timeOffset="-134520.6">18693 8612 0,'-27'13'16,"14"-13"0,13 14-16,-13-14 0,0 13 0,13 0 15,-14-13-15,1 13 0,0 1 16,13-1-16,-13-13 16,13 13-16,0 0 15,13-13-15,0 0 16,0 0-16,1 0 15,-1-13-15,0 13 0</inkml:trace>
  <inkml:trace contextRef="#ctx0" brushRef="#br0" timeOffset="-134041.6">18746 8070 0,'-14'-13'0,"54"13"31,-13 0-31,-14 0 16,13-14-16,-12 14 0,12 0 0,0-13 16,1 13-16,-14 0 0,14-13 15,-14 13-15,0 0 0,0 0 0,1 0 16</inkml:trace>
  <inkml:trace contextRef="#ctx0" brushRef="#br0" timeOffset="-133568.55">18269 8162 0,'-39'53'31,"26"-39"-31,13-1 0,-14 0 16,14 0-16,-13 0 15,13 1-15,-13-1 0,0 0 16,13 0-1,0 1 1,13-14-16,0 0 16,0 0-16,1 0 0,12 0 15,-13 0-15,0 0 0,1 0 16,-1 0-16,0-14 0,0 14 0,1 0 16,-1 0-16</inkml:trace>
  <inkml:trace contextRef="#ctx0" brushRef="#br0" timeOffset="-133130.2">18336 8136 0,'0'0'0,"-14"13"16,1 0 0,13 1-16,0-1 15,0 0-15,0 0 0,-13 1 0,13-1 16,0 0-16,0 13 0,0-12 0,0-1 15,0 0-15,13-13 0,-13 13 16,0 1-16,13-14 16,1 13-16,-1-26 15,0-1-15,0 1 16,1 0-16,-14 0 16,13 13-16,-13-14 15,26 28 1,-13-14-1,1 0-15,-14 13 0,13-13 16,13-13-16,-12 13 0,-1-14 16,0 1-16,0 13 15,-13-13-15,14 0 0,-14 0 16,0-1-16,-14 1 0,14 0 16,-13 13-16,13-13 0,-13 13 15,0 0-15,-1-14 0,-12 28 16,13-14-16,-1 13 15,1-13-15,13 13 0,-13-13 16,13 13-16</inkml:trace>
  <inkml:trace contextRef="#ctx0" brushRef="#br0" timeOffset="-129875.67">19235 9750 0,'0'26'47,"-13"-12"-32,13-1 1,0 0-16,-13 0 0,13 0 0,-13 1 15,13-1-15,0 0 0,-14 0 16</inkml:trace>
  <inkml:trace contextRef="#ctx0" brushRef="#br0" timeOffset="-129518.02">19169 9803 0,'27'0'15,"-27"13"-15,13-13 16,-13 13-16,13-13 16,-13 13-16,13-13 0,0 14 0,1-14 15,-14 13-15,13 0 16,0-13-1</inkml:trace>
  <inkml:trace contextRef="#ctx0" brushRef="#br0" timeOffset="-129196.02">19209 9737 0,'0'26'31,"0"-13"-15,0 1-16,13-1 16,-13 0-16,0 0 0,0 0 15,0 1-15,0-1 16,0 0-16,0 0 16</inkml:trace>
  <inkml:trace contextRef="#ctx0" brushRef="#br0" timeOffset="-128988.54">19143 9909 0,'26'-27'0,"-13"27"0,1-13 15,-1 13-15,0-13 0,13-1 16,1 14-16,-14-13 0,0 13 0,1-13 16,-1 13-16</inkml:trace>
  <inkml:trace contextRef="#ctx0" brushRef="#br0" timeOffset="-124219.92">19883 9049 0,'-26'26'0,"26"-13"0,-13 1 15,13-1-15,-13 0 16,13 0-16,-14 1 16,14-1-16,-13 0 0,13 0 15</inkml:trace>
  <inkml:trace contextRef="#ctx0" brushRef="#br0" timeOffset="-123932.09">19764 9088 0,'14'-13'31,"-1"26"-31,0-13 16,0 14-16,1-14 0,-14 13 16,13-13-16,-13 13 0,13-13 15,0 13-15,0-13 0,-13 14 16,14-1-16,-1-13 16,-13 13-1</inkml:trace>
  <inkml:trace contextRef="#ctx0" brushRef="#br0" timeOffset="-123645.64">19844 9022 0,'-13'14'31,"-1"-1"-31,14 0 0,0 0 16,0 0-16,0 1 0,0-1 16,0 0-16,0 0 0,0 1 15,0-1 1,0 0-16,0 0 0,0 1 15,-13-1-15</inkml:trace>
  <inkml:trace contextRef="#ctx0" brushRef="#br0" timeOffset="-123394.95">19645 9221 0,'14'-13'0,"-1"13"16,0 0-16,0 0 0,0-14 15,1 14-15,12 0 0,-13 0 0,14 0 16,-14-13-16,0 13 0,14 0 15</inkml:trace>
  <inkml:trace contextRef="#ctx0" brushRef="#br0" timeOffset="-120155.96">20201 8401 0,'13'-14'16,"-26"41"46,13-14-62,-13 0 16,13 0-16,-14 1 16,14-1-16,-13 0 0,0 0 15,13 1-15,0-1 0,-13 0 16,13 0-16,-13-13 0,13 13 0</inkml:trace>
  <inkml:trace contextRef="#ctx0" brushRef="#br0" timeOffset="-119842.96">20108 8427 0,'-13'-13'16,"40"26"15,-27 0-31,13-13 0,0 13 15,-13 1-15,13-14 16,-13 13-16,13-13 0,-13 13 0,14-13 16,-14 13-16,13 1 0,-13-1 15</inkml:trace>
  <inkml:trace contextRef="#ctx0" brushRef="#br0" timeOffset="-119559.99">20161 8387 0,'0'-13'0,"0"53"32,0-27-17,0 0-15,0 0 0,0 1 16,-13-14-16,26 13 0,-13 0 0,0 0 16,0 1-16,0-1 0</inkml:trace>
  <inkml:trace contextRef="#ctx0" brushRef="#br0" timeOffset="-119343.95">20029 8533 0,'26'0'15,"-12"-13"1,-1 13-16,0 0 0,0-14 16,1 14-16,-1 0 15,0-13-15,0 13 0,0 0 0</inkml:trace>
  <inkml:trace contextRef="#ctx0" brushRef="#br0" timeOffset="-117391.77">20479 7713 0,'13'0'16,"-39"13"15,26 0-31,-14 0 16,14 1-16,-13-1 0,13 0 0,-13 0 15,0-13-15,13 13 0,-14 1 16,1-1-16,13 0 0,-13 0 15,13 1-15,-13-1 0</inkml:trace>
  <inkml:trace contextRef="#ctx0" brushRef="#br0" timeOffset="-117104.66">20346 7779 0,'0'-13'0,"0"26"0,14-26 16,-1 26 0,0-13-16,0 13 15,1-13-15,-1 13 0,0-13 16,-13 13-16,13-13 0,1 0 15,-14 14-15,13-14 0,0 0 16,-13 13-16,13-13 0,-13 13 0,13-13 16,1 13-16</inkml:trace>
  <inkml:trace contextRef="#ctx0" brushRef="#br0" timeOffset="-116792.78">20452 7726 0,'-26'0'31,"26"13"-31,-13 0 16,13 1-16,0-1 0,0 0 15,0 0-15,0 0 0,0 1 16,0-1-16,0 0 16,0 0-16,0 1 0,0-1 15,0 13 1</inkml:trace>
  <inkml:trace contextRef="#ctx0" brushRef="#br0" timeOffset="-116523.9">20267 7898 0,'79'-13'31,"-65"13"-31,-1 0 16,13-14-16,-12 14 0,-1 0 0,13 0 16,-12 0-16,-1 0 0,0-13 15,0 13 1,0 0-16,1 13 15</inkml:trace>
  <inkml:trace contextRef="#ctx0" brushRef="#br0" timeOffset="-112085.04">21167 8321 0,'-27'13'47,"27"1"-47,0-1 0,-13-13 0,13 13 16,-13 0-16,13 1 15,-13-14-15,13 13 0,-14 0 0,14 0 16,-13 0-16,13 1 0,-13-1 16,13 0-1</inkml:trace>
  <inkml:trace contextRef="#ctx0" brushRef="#br0" timeOffset="-111797.64">21074 8374 0,'0'-13'0,"13"26"47,1-13-47,-1 13 0,-13 1 16,13-14-16,-13 13 15,13-13-15,-13 13 0,13-13 16,-13 13-16,14-13 16,-1 13-1,0 1 1</inkml:trace>
  <inkml:trace contextRef="#ctx0" brushRef="#br0" timeOffset="-111532.14">21180 8295 0,'-13'-14'0,"13"41"47,-14-14-47,14 0 0,0 1 16,0-1-16,0 0 0,-13 0 16,13 1-16,0-1 0,0 0 15,0 0-15,0 0 0,-13 1 0,13-1 16,0 0-16</inkml:trace>
  <inkml:trace contextRef="#ctx0" brushRef="#br0" timeOffset="-111281.75">20955 8506 0,'40'-13'31,"-27"0"-15,0 13-16,14-13 0,-14 13 0,0 0 15,0-14-15,1 14 0,12-13 0,-13 13 16,0 0-16,1-13 0,-1 13 15</inkml:trace>
  <inkml:trace contextRef="#ctx0" brushRef="#br0" timeOffset="-109923.92">21802 8877 0,'-14'13'78,"1"-13"-63,13 13-15,-13 0 16,0-13-16,13 14 16,-13-14-16,-1 13 15</inkml:trace>
  <inkml:trace contextRef="#ctx0" brushRef="#br0" timeOffset="-109666.87">21669 8890 0,'27'13'16,"-14"-13"-1,-13 13-15,13-13 16,-13 14-16,14-14 16,-14 13-16,13-13 0,0 13 15</inkml:trace>
  <inkml:trace contextRef="#ctx0" brushRef="#br0" timeOffset="-109432.65">21775 8850 0,'0'14'31,"0"12"-15,-13-26-16,13 13 0,0 0 16,0 1-16,0-1 15</inkml:trace>
  <inkml:trace contextRef="#ctx0" brushRef="#br0" timeOffset="-109224.02">21630 8983 0,'0'0'0,"26"0"31,-13-14-31,1 14 0,12 0 16,-13 0-16,1 0 0,-1-13 15,0 13-15</inkml:trace>
  <inkml:trace contextRef="#ctx0" brushRef="#br0" timeOffset="-108252.95">22516 9327 0,'-13'13'16,"13"0"0,-13 0-16,13 0 15,-14-13-15,14 14 0,-13-1 16,13 0-16,-13-13 0,13 13 15,-13-13-15,13 14 0,-14-14 16,14 13-16</inkml:trace>
  <inkml:trace contextRef="#ctx0" brushRef="#br0" timeOffset="-107994.02">22410 9327 0,'0'0'0,"27"0"31,-27 13-15,13-13-16,-13 13 15,13 0-15,-13 0 16,13-13-16,-13 14 0,14-14 15,-14 13-15,13 0 16,0 0-16</inkml:trace>
  <inkml:trace contextRef="#ctx0" brushRef="#br0" timeOffset="-107719.95">22490 9274 0,'0'-14'0,"0"28"0,-14-14 31,1 0-15,13 13-16,0 0 0,0 0 0,-13 1 15,13-1-15,0 0 0,0 0 16,0 0-16,0 1 0,0-1 0,0 0 16,-13 0-16,13 1 0,0-1 15,0 0-15</inkml:trace>
  <inkml:trace contextRef="#ctx0" brushRef="#br0" timeOffset="-107520.66">22357 9419 0,'0'-13'16,"27"13"0,-14 0-16,0-13 0,0 13 15,1 0-15,-1 0 0,0 0 16,14 0-16,-14 0 0,0-14 15,0 14-15,14 14 0</inkml:trace>
  <inkml:trace contextRef="#ctx0" brushRef="#br0" timeOffset="-106871.9">23178 9684 0,'-14'13'16,"1"-13"0,13 13-16,-13-13 15,13 13-15,-13 1 0,13-1 16,-14-13-16,14 13 0,-13 0 0,13 1 15,-13-14-15,13 13 16,0 0-16,-13-13 0</inkml:trace>
  <inkml:trace contextRef="#ctx0" brushRef="#br0" timeOffset="-106655.54">23045 9723 0,'27'0'31,"-27"14"-15,13-14-16,-13 13 0,13-13 0,-13 13 16,13 0-16,1 1 15,-1-14-15,0 13 16,0-13-16</inkml:trace>
  <inkml:trace contextRef="#ctx0" brushRef="#br0" timeOffset="-106452.83">23204 9671 0,'-13'13'31,"13"0"-15,0 0-16,0 0 0,-13 14 15,13-14-15,0 0 0,-14 1 16,14-1-16,0 0 16</inkml:trace>
  <inkml:trace contextRef="#ctx0" brushRef="#br0" timeOffset="-106280.84">23045 9842 0,'27'-13'32,"-14"13"-32,0-13 15,0 13-15,1 0 0,-1 0 0,0 0 16,0 0-16,1 0 0,-1 0 15</inkml:trace>
  <inkml:trace contextRef="#ctx0" brushRef="#br0" timeOffset="-105980.95">23561 9750 0,'-13'26'31,"13"-12"-16,0-1-15,-13 0 16,13 0-16,0 0 0,-14 1 16,14-1-16,0 0 0,-13 0 0,13 1 15,0-1-15</inkml:trace>
  <inkml:trace contextRef="#ctx0" brushRef="#br0" timeOffset="-105754.1">23469 9895 0,'13'0'31,"-13"14"-15,13-1-16,0-13 0,0 13 15,1-13 1,-1 13-16</inkml:trace>
  <inkml:trace contextRef="#ctx0" brushRef="#br0" timeOffset="-105429.21">23614 9909 0,'-13'0'0,"26"0"0,-39 13 16,12 0-16,1-13 16,13 13-16,-13-13 15,13 14-15,-13-14 0,13 13 0,-14-13 16,1 13-16,0 0 16,0-13-1</inkml:trace>
  <inkml:trace contextRef="#ctx0" brushRef="#br0" timeOffset="-105254.85">23402 9922 0,'53'-13'31,"-39"13"-31,-1 0 16,0 0-16,13 0 0,1 0 0</inkml:trace>
  <inkml:trace contextRef="#ctx0" brushRef="#br0" timeOffset="-104567.8">24183 10094 0,'-27'13'16,"27"0"-16,-13-13 0,13 14 15,-13-1-15,0-13 0,13 13 0,-13 0 16,-1 0-16,14 1 0,-13-14 16,13 13-16</inkml:trace>
  <inkml:trace contextRef="#ctx0" brushRef="#br0" timeOffset="-104371.89">24024 10186 0,'0'-13'31,"27"26"-31,-14-13 16,0 0-16,0 0 0,1 14 15,-1-14 1,0 0-16,0 0 0</inkml:trace>
  <inkml:trace contextRef="#ctx0" brushRef="#br0" timeOffset="-104006.42">24567 10041 0,'-14'26'32,"1"-12"-32,13-1 15,-13 0-15,0 0 0,13 1 16,-14-1-16,14 0 15,-13-13-15,13 13 0,-13 0 16</inkml:trace>
  <inkml:trace contextRef="#ctx0" brushRef="#br0" timeOffset="-103788.17">24434 10134 0,'14'-14'16,"-1"28"0,0-14-1,0 13-15,0-13 16,1 13-16,-1-13 16,0 0-1,-13 13-15,13-13 16,1 0-16</inkml:trace>
  <inkml:trace contextRef="#ctx0" brushRef="#br0" timeOffset="-103584.02">24739 10107 0,'26'13'16,"-13"-13"-1,0-13 1</inkml:trace>
  <inkml:trace contextRef="#ctx0" brushRef="#br0" timeOffset="-98067.95">18865 10147 0,'0'-13'46,"13"-1"-30,0 14 0,-13-13-16,13 13 15,-13-13-15,14 13 0,-1-13 16,0-1-16,0 1 16,1 0-1,-1 13-15,-13-13 0,13 13 16,0-14-16,14 1 0,-27 0 15,13 0-15,13 0 0,-12-1 16,-1 1-16,0 0 16,0 0-16,1 13 0,-14-14 15,13 1-15,0 13 0,-13-13 0,13 13 0,1-13 16,-14-1-16,13 14 0,-13-13 16,13 13-16,-13-13 0,13 13 15,-13-13-15,13 0 0,1-1 0,-1 1 16,0 0-1,0 0-15,-13-1 16,14 14-16,-14-13 0,13 13 16,-13-13-16,13 13 0,-13-13 0,13 0 15,1-1-15,-14 1 16,13 0-16,0 0 16,-13-1-16,13 14 0,-13-13 15,13 0-15,-13 0 16,14 13-16,-14-14 0,13 1 15,-13 0-15,13 13 16,-13-13-16,0 0 16,13 13-16,-13-14 0,14 1 15,-14 0-15,13 0 16,-13-1-16,13 14 0,-13-13 16,13 13-16,-13-13 0,13 0 15,-13-1-15,14 14 0,-14-13 16,13 13-16,-13-13 0,13 0 15,-13 0 1,13-1-16,1 1 0,-14 0 16,13 13-16,-13-13 0,13 13 15,-13-14-15,13 14 16,-13-13-16,14 13 16,-14-13-16,13 0 0,-13 0 15,13 13-15,-13-14 0,13 14 16,-13-13-16,13 0 15,1 0-15,-14-1 16,13 14-16,-13-13 0,13 0 0,0 0 16,-13-1-1,14 1-15,-14 0 0,13 13 16,-13-13-16,13 0 0,0-1 0,-13 1 16,14 13-16,-14-13 0,13 0 15,0-1-15,0 1 16,-13 0-16,13 0 0,-13-1 15,14 1-15,-1 0 16,-13 0-16,13 13 16,-13-13-16,13-1 0,-13 1 15,14 0-15,-14 0 16,13 13-16,-13-14 0,13 1 16,-13 0-16,13 0 15,-13-1 1,13 14-16,-13-13 15,14 0-15,-14 0 16,13 0 0,-13-1-16,13 1 15,-13 0 1,13 0-16,-13-1 16,14 1-16,-14 0 15,0 0 1,13 13-16,-13-14 0,0 1 15,0 0-15,13 0 16,-13 0 0,0-1-16,0 1 15,13 0-15,-13 0 16,0-1-16,0 1 16,14 0-1,-14 0 1,0 0-16,0-1 15,13 1 1,-13 0-16,0 0 16,0-1-16,0 1 0,0 0 15,13 0-15,-13-1 16,0 1 0,0 0-16,13 0 15,-13 0-15,0-1 16,0 1-1,13 0 1,-13 0 0,0-1-1,0 1 1,0 0-16,14 13 16,-14-13-16,0-1 15,0 1 1,13 0-16,-13 0 15,13 0 17,-13-1-32,0 1 15,13 13 1,-13-13-16,0 0 16,14-1-1,-14 1 1,0 0-1,13 0 1,-13 0 0,13-1 15,0 1-15,1 13-1,-14-13 1,13 13-16,-13-13 15,13 13-15,-13-14 16,13 1 0,0 0-1,1 0 1,-1-1 0,0 14-1,-13-13 1,13 13-16,1 0 0,-1-13 15,0 0 1,0 13-16,-13-13 16,14 13-16,-1 0 15,0-14 1,0 14-16,0 0 16,1 0-1,-14-13-15,13 13 16,0 0-16,0 0 15,1 0 1,-1 0-16,-13 13 16,13-13-1,0 0-15,1 14 16,-1-14 0,-13 13-16,13-13 15,0 13-15,0 0 16,1-13-1,-14 13-15,13-13 16,-13 14-16,13-1 16,0 0-1,-13 0-15,14-13 16,-14 14-16,13-1 16,0 0-16,0 0 15,-13 1 1,13-14-16,1 13 15,-1 0-15,-13 0 16,13-13-16,-13 13 16,13-13-16,1 14 0,-14-1 15,13-13-15,-13 13 16,13-13-16,-13 13 0,13 1 16,1-1-16,-1-13 15,-13 13-15,13-13 0,-13 13 16,13-13-16,0 13 15,-13 1-15,14-14 16,-1 13-16,-13 0 16,13-13-16,0 13 0,-13 1 15,14-14-15,-14 13 16,13-13-16,-13 13 0,13-13 0,0 13 16,1 1-16,-1-1 15,0 0-15,-13 0 16,13-13-16,-13 13 15,13-13-15,1 14 0,-14-1 16,13-13-16,-13 13 16,13-13-16,-13 13 0,13-13 15,-13 14-15,14-14 0,-14 13 16,13-13-16,-13 13 0,13-13 0,-13 13 16,13-13-16,0 14 0,1-1 15,-1-13-15,-13 13 16,13-13-16,0 13 0,1 0 15,-14 1-15,13-14 16,-13 13-16,13-13 0,0 13 16,1 0-16,-14 1 15,13-14-15,0 13 0,0 0 16,0-13-16,-13 13 0,14-13 16,-1 13-16,0 1 15,0-14-15,1 13 16,-1-13-16,-13 13 0,13-13 15,0 13-15,1-13 16,-1 14-16,0-14 16,-13 13-16,13-13 0,0 13 15,1-13-15,-14 13 16,13-13-16,0 14 16,0-1-16,1-13 0,-1 13 15,0 0-15,0-13 0,1 13 16,-1 1-16,0-14 0,0 13 15,0 0-15,1-13 0,-1 13 16,0 1-16,0-1 16,1-13-16,-14 13 0,13-13 15,0 13-15,0 1 16,1-14-16,-1 13 16,0-13-16,-13 13 0,13-13 15,0 13-15,1 0 16,-1-13-16,-13 14 15,13-14-15,-13 13 0,13-13 16,1 13-16,-1-13 0,-13 13 16,13 1-1,0-1-15,0 0 16,-13 0-16,14-13 16,-1 14-16,0-1 15,0 0 1,1 0-16,-1-13 15,-13 13-15,13-13 16,-13 14-16,13-14 16,1 13-16,-1 0 15,0-13 1,-13 13-16,13-13 0,0 0 16,-13 14-16,14-14 15,-1 13-15,0-13 0,0 0 16,-13 13-16,14-13 0,-1 13 15,0-13-15,0 14 16,1-14-16,-1 13 0,0-13 16,0 0-16,14 13 0,-14 0 15,0-13-15,0 13 0,1-13 16,12 14 0,-13-14-16,14 13 15,-1 0-15,-13 0 16,1-13-16,-1 0 0,0 14 15,0-14-15,1 13 16,-1-13-16,0 0 0,13 13 16,-12 0-16,-1-13 15,0 0-15,0 13 16,1-13-16,-14 14 16,26-14-16,-26 13 0,13-13 15,1 0-15,-1 13 0,0-13 16,0 13-16,0-13 15,1 14-15,-1-14 0,0 0 16,0 13-16,1 0 0,-1-13 16,0 0-16,0 13 15,1-13-15,-1 14 16,0-14-16,27 13 16,-27 0-16,13-13 15,-12 13-15,-1-13 16,0 13-16,0-13 0,1 14 15,-1-14-15,0 0 0,-13 13 16,13-13-16,0 0 0,1 13 16,-1-13-16,0 13 15,0-13-15,1 0 0,12 14 16,-13-1-16,0-13 16,1 0-16,-14 13 15,26-13-15,-13 13 0,1-13 16,-1 0-16,-13 14 15,13-14-15,0 0 0,1 0 0,-1 13 0,0-13 16,0 0-16,0 13 16,1-13-16,-1 0 15,0 13-15,14-13 0,-14 0 0,0 13 16,0-13-16,14 0 16,-14 14-16,0-14 0,0 0 15,1 0-15,-1 13 0,0-13 0,0 0 16,1 13-16,-1-13 0,0 0 0,13 13 15,-12-13-15,-1 0 0,0 14 16,0-14-16,1 0 0,12 13 16,-13-13-16,1 13 0,-1 0 15,0-13-15,0 0 16,14 13-16,-1 1 16,-13-1-16,1-13 15,-1 13-15,0 0 0,0-13 16,-13 14-16,14-14 0,-1 0 0,-13 13 15,13-13-15,0 0 16,0 13-16,1-13 0,-1 13 16,13 1-16,-12-14 15,-14 13-15,26-13 0,-13 0 16,1 13-16,-1-13 16,0 13-16,0-13 0,0 0 0,-13 13 15,14-13-15,-1 0 0,0 0 0,0 14 16,1-14-16,12 13 15,-13-13-15,1 0 16,-1 0-16,-13 13 0,13-13 16,0 0-16,0 13 0,1-13 15,-1 0-15,-13 14 0,13-14 16,0 0-16,1 13 16,-1-13-16,0 0 0,0 0 15,0 13-15,1-13 16,-1 0-16,0 13 0,0-13 15,1 0-15,-1 0 16,13 14-16,-12-14 16,-1 13-16,0-13 0,0 0 0,0 13 15,1-13-15,25 13 0,-25-13 16,12 0-16,-13 13 16,1-13-16,12 0 0,0 14 15,-12-14-15,12 13 0,-13-13 16,1 0-16,-1 0 0,0 0 15,0 13-15,0-13 0,1 0 16,-1 0-16,0 0 0,-13-13 16,13 0-16,-26-1 15,0 14 1,0-13-16,-1 13 0,-12-13 16,13 0-16</inkml:trace>
  <inkml:trace contextRef="#ctx0" brushRef="#br0" timeOffset="-86968.13">19315 10411 0,'13'-26'94,"-13"13"-94,0-1 15,0 1 1,0 0-16,0 0 16,13 13-16,-13-13 15,0-1-15,13 1 16,-13 0-16,14 13 15,-14-13-15,13 13 0,-13-14 16,13 14-16,0-13 16,0 0-16,1 13 15,-1-13-15,0 13 16,0 0-16,1-14 16,-1 14-1,0 0-15,0 0 16,0 0-1,1 0-15,-1 0 16,0 0-16,0 14 16,1-14-1,-1 0 1,0 13-16,0-13 16,1 0-16,-1 0 15,0 13-15,0-13 16,0 0-1,1 0-15,-1 0 0,0 13 16,0-13 0,1 0-16,-1 0 15,0 0-15,0 0 16,1 0-16,-1 0 0,0 0 16,0 0-1,0 0-15,1 0 0,-1 0 16,0 0-16,-13-13 0,13 13 0,1 0 15,38-13 1,-38 13-16,-14-13 16,13 13-16,0-14 15,0 14 1,1-13-16,-1 13 16,-13-13-16,13 13 0,-13-13 15,13 0 1,-13-1-1,14 1 1,-14 0 47,13 26-32,0 0-16,0 1 1,0-14 0,1 0-16,-14 13 15,13-13-15,0 0 0,0 0 16,1 0-16,-1 0 16,0 0-16,0 0 15,1 0-15,-1 0 16,0 0-16,0 0 0,0-13 15,1 13-15,-1 0 0,0 0 16,0 0-16,1-14 16,-1 14-16,0 0 0,0 0 15,1 0-15,-1-13 0,13 13 16,-13 0 0,1 0-16,-1 0 0,0 0 15,0 0-15,-13-13 16,14 13-16,-1 0 0,0 0 15,0 0-15,1 0 0,-1 0 16,0-13-16,0 13 16,0 0-16,1 0 15,-1 0-15,0 0 16,0 0-16,1-14 16,-1 14-16,0 0 0,0 0 15,0 0-15,1 0 0,-1 0 16,13-13-1,-12 13-15,-1 0 16,0 0-16,0 0 31,1 0-15,-1 0-16,0 0 16,0 0 15,0 0-16,1 0 1,-1 13 0,0 1 15,-13-1 0,13-13-31,-13 13 16,0 0-1,0 1-15,14-14 16,-14 13 0,0 0-16,0 0 15,13-13-15,-13 13 0,13 1 16,-13-1 31,13-13-47,-26 13 31,13 0-15,-13-13-1</inkml:trace>
  <inkml:trace contextRef="#ctx0" brushRef="#br0" timeOffset="-77628.13">22384 11390 0,'0'-13'31,"13"40"16,0-14-47,0 0 16,1 0-16,-1 0 16,0 1-16,0-1 15,1 0-15,-1 0 16,0 1-16,0-1 15,0-13-15,-13 13 16,14-13-16,-1-13 31,0 13-31,-13-13 0,13 13 16,-13-14-16,14 14 0,-14-13 16,13 13-16,0-13 15,0 0-15,1 13 16,-14-14-16,13 14 0,0-13 15,0 13-15,0-13 16,1 13-16,-1 0 0,0-13 0,0 13 16,1 0-16,-1 0 0,13 0 15,-12 0-15,-1 13 0,0-13 16,0 13-16,0-13 16,1 13-16,-1-13 0,0 14 0,0-1 15,1-13-15,-14 13 0,13-13 16,0 13-16,-13 1 15,13-14-15,-13 13 0,14-13 0,-1 13 32,0-13-17,0-13 17,-13 0-32,13 13 0,-13-14 15,14 14-15,-14-13 0,13 0 16,0 0-16,0 13 0,14-14 0,-1 1 15,1 0-15,-1 13 0,-13-13 0,14 13 16,-14 0-16,14 0 0,-1 0 16,0 0-16,-12 0 0,12 0 0,1 13 15,-1-13-15,1 0 0,-1 13 0,0-13 16,1 13-16,13-13 0,-14 14 16,14-14-16,-14 13 0,1-13 0,-1 0 15,1 13-15,-1-13 0,0 0 16,1-13-16,-14 13 0,14 0 0,-1 0 15,1 0-15,-14-13 0,13 13 16,-13-14-16,14 14 0,-14-13 0,0 13 16,1 0-16,-1-13 0,0 13 0,0 0 15,1-13-15,-1 13 16,-13-13-16,13 13 0,0-14 16,0 1-16,1 13 15,-1 0 1,-26 13 15,13 1-31,-14-1 0</inkml:trace>
  <inkml:trace contextRef="#ctx0" brushRef="#br0" timeOffset="-75205.16">23812 11576 0,'0'26'31,"0"0"-31,0-12 0,0 12 16,14 14-16,-14 0 0,13-1 15,0-12-15,-13 12 0,13 1 0,-13 0 16,0-14-16,14 1 0,-14-1 0,0 1 15,13-1-15,-13 0 0,13-12 16,-13 25-16,0-12 0,13-14 16,-13 0-16,0 1 0,0-1 0,0 0 15,0 0-15,-13 0 16</inkml:trace>
  <inkml:trace contextRef="#ctx0" brushRef="#br0" timeOffset="-74797.29">23773 12131 0,'0'27'32,"0"-14"-17,13 0-15,-13 0 0,0 14 0,13-14 16,-13 0-16,13 0 0,-13 14 0,14-14 16,-1 0-16,-13 14 0,13-14 15,-13 0-15,13 0 0,1 1 0,-14-1 16,13 0-16,0-13 0,0 13 15,1-13-15,-1 0 16,0 0-16,0-13 0,0 0 0,1 0 16,12-1-16,-13 1 0,1 0 0,-1 0 15,0-14-15,0 14 0,1 0 16,-1 0-16,-13-1 0,13 1 16,-13 0-1</inkml:trace>
  <inkml:trace contextRef="#ctx0" brushRef="#br0" timeOffset="-67733.24">19354 11284 0,'-13'14'31,"13"-1"-16,0 0-15,13-13 16,-13 13-16,0 1 0,14-1 16,-14 0-16,13 0 15,-13 1-15,13-1 0,0 0 0,-13 0 16,13 0-16,1 1 16,-14-1-16,13-13 0,0 13 15,-13 0-15,13-13 0,1 0 0,-1 0 16,-13 14-16,13-14 15,0 0-15,0 0 16,1-14-16,-1 14 0,0 0 16,0-13-16,1 13 15,-14-13-15,13 13 0,0-13 16,0-1-16,1 14 16,-14-13-16,13 13 0,0-13 0,0 0 15,0 0-15,1 13 16,-1-14-16,0 14 0,0-13 15,14 0-15,-14 0 0,0-1 16,1 14-16,-1-13 0,0 0 16,0 13-16,0 0 0,1-13 15,-1 13-15,0 0 0,0 0 16,14 0-16,-14 0 16,0 0-16,0 0 15,1 13-15,-1-13 16,0 0-16,-13 13 0,13-13 0,1 0 15,-14 13-15,13-13 0,0 0 0,-13 14 16,13-14-16,1 13 0,-1-13 16,-13 13-16,13-13 15,0 13 1,0-13 0,1 0 15,-14-13-16,13 13-15,-13-13 16,13 0-16,-13-1 0,13 14 16,-13-13-16,14 0 0,-1 0 0,0-1 15,0 1-15,1 13 0,-1-13 16,0 0-16,0 0 0,0 13 0,1-14 16,-1 1-16,13 13 0,-12-13 15,-1 13-15,0-13 0,27 13 16,-27-14-16,0 14 0,14 0 15,-14 0-15,0 0 0,0 0 0,1 0 16,12 0-16,-13 0 0,1 0 0,-1 0 16,0 14-16,0-14 0,14 0 15</inkml:trace>
  <inkml:trace contextRef="#ctx0" brushRef="#br0" timeOffset="-66188.77">20651 11179 0,'26'26'63,"-13"-13"-63,1-13 15,-14 14-15,13-14 16,0 0-16,-13 13 0,13-13 0,1 13 15,-1-13-15,0 13 0,0-13 16,0 0-16,1 0 0,-1 0 16,0 0-16,14 0 15,-14 0-15,0 0 16,0-13-16,1 13 0,-1 0 16,-13-13-16,26 0 15,-13 13-15,1 0 0,-1-14 16,0 1-16,0 13 0,1-13 15,-1 13-15,0-13 0,0 13 16,1-14-16,-1 14 0,0-13 16,0 13-16,-13-13 0,13 13 15,1-13-15,-1 13 16,-13-14-16,13 14 16,-13-13-16</inkml:trace>
  <inkml:trace contextRef="#ctx0" brushRef="#br0" timeOffset="-54424.9">20704 7157 0,'0'26'0,"0"-12"0,0-1 0,0 0 15,0 0-15,0 27 0,0-27 16,0 14-16,0-1 0,0 1 16,0-14-16,0 0 0,0 14 15,0-14-15,0 0 0,-14 0 16</inkml:trace>
  <inkml:trace contextRef="#ctx0" brushRef="#br0" timeOffset="-54169.06">20479 7488 0,'26'-14'16,"-13"14"-16,1 0 16,-1-13-16,0 13 0,14 0 15,-14-13-15,13 13 0,-12 0 0,12-13 16,-13 13-16,14 0 0,-14-13 0,13 13 16,-12 0-16,-1-14 0,0 14 15,0 0-15,0 0 0,1-13 16,-1 13-16</inkml:trace>
  <inkml:trace contextRef="#ctx0" brushRef="#br0" timeOffset="-53595.92">20942 7289 0,'0'0'0,"13"13"31,-13 1-15,0-1-16,13-13 0,-13 13 0,0 0 16,13 1-16,-13-1 15,14 0-15,-1 0 0,-13 1 16,13-1-16,0 0 15,1-26 17,-14 0-32,0-1 15,13 1-15,-13 0 16,0 0 0,0-1-1,13 14-15,0 0 16,1-13-16,-1 13 0,0 0 15,-13-13-15,13 13 0,0 0 0,1-13 16,-1 13-16,0-14 0,0 1 16,-13 0-16,14 13 15,-41 13 17,14 0-32,13 1 15,0-1-15,0 0 0,0 0 16,0 1-16,13-1 15,0 0-15,1 0 16,-1-13-16,0 0 16,0 14-16,0-14 0,1 0 15,-1 13-15</inkml:trace>
  <inkml:trace contextRef="#ctx0" brushRef="#br0" timeOffset="-53128.9">20796 7713 0,'27'0'0,"-14"0"16,0 0-16,40-14 0,-13 14 15,13-13-15,-14 0 0,28 0 16,-28-1-16,27 1 0,0 0 0,-13 0 15,0-14-15,0 14 0,0-13 16,40-14-16,-67 27 0,14-14 16,-14 1-16,1-1 0,-1 1 15,1-1-15,-14 1 0,13-40 16,-26 39-16,14 1 0,-28-14 0,14 1 16,-13-1-16,0-13 0,-13 0 15,12 0-15,-25 0 0,-1 13 0,-13 1 16,0 12-16,-13 1 0,0-1 0,-14 14 15,1 13-15,0 0 0,-1 0 16,1 13-16,0 1 0,12 12 0,-12 14 16,13-14-16,-13 27 0,26-13 0,0 0 15,13 12-15,0 1 0,14 0 16,-1 0-16,1 0 0,26-13 0,0-1 16,0 14-16,26-13 0,1 0 15,-1 13-15,27-27 0,-13 14 0,13-14 0,0 1 16,0-1-16,13-13 15,-13 1-15,0-1 0,0-13 0,-1 0 16,1 0-16,-13 0 0,0-13 0</inkml:trace>
  <inkml:trace contextRef="#ctx0" brushRef="#br0" timeOffset="-46818.3">18587 9168 0,'0'-13'16,"0"-1"-1,0 1 32,-13 13 0,13-13-31,-13 0 15,13-1 0,-14 14-15,14-13-1,-13 26 48,13 1-47,0-1-16,13 0 0,-13 0 15,0 14-15,0-14 0,14 14 0,-14-14 16,13 13-16,-13 1 0,13-1 0,-13-13 15,13 14-15,-13-14 0,13 13 16,-13-12-16,14-1 0,-14 13 0,0-12 16,13-1-16,-13 0 0,0 0 15,13 1-15,-13-1 16</inkml:trace>
  <inkml:trace contextRef="#ctx0" brushRef="#br0" timeOffset="-46127.95">18547 9181 0,'0'0'0,"14"-13"0,-14 0 0,13 13 15,-13-14-15,13 14 0,0-13 16,0 0-16,1 0 15,-1-1-15,0 14 16,-13-13 0,13 13-16,-26 13 47,0 1-32,0-1-15,-1 0 16,1 0-1,0 1 1,26-1 15,0-13-15,1 0-16,-1 0 16,0 0-16,0 0 15,1 0-15,-1 0 16,0 0-16,0 0 0,0 0 15,1 0-15,-1 0 16,0 0-16,0 0 31,1 0-15,-14-13 62</inkml:trace>
  <inkml:trace contextRef="#ctx0" brushRef="#br0" timeOffset="-40272.39">19209 9842 0,'13'0'31,"-13"14"-15,0-1-16,0 0 0,13 14 15,-13-14-15,0 13 0,13 1 0,-13-1 16,14 14-16,-1 0 0,-13-1 0,13-12 16,-13 12-16,13-12 0,-13-1 15,0 1-15,14-1 0,-14 1 16,13 12-16,-13-25 0,0-1 0,0 13 16,13-12-16,-13-1 15,0 0 1,0-39-1</inkml:trace>
  <inkml:trace contextRef="#ctx0" brushRef="#br0" timeOffset="-39843.26">19143 9829 0,'13'0'0,"-26"0"0,26-13 16,0 13-16,0-13 0,1 0 0,-1 13 15,0-14-15,13 1 0,-12 0 0,12 13 16,14-13-16,-14-1 0,-12 1 16,12 0-16,0 13 0,1-13 0,-1 0 15,-12 13-15,12 0 0,-13-14 0,0 14 16,1 0-16,-1 0 0,0 0 15,14 0-15,-14 0 16,0 14-16,0-14 0,-13 13 16,14 0-16,-1 13 0,0-12 15,0 25-15,0-12 16,1 12-16,-1 1 0,0-13 0,0 52 16,1-39-16,-1-1 0,0 1 0,0 0 15,-13-14-15,14 14 0,-1-14 16,-13 1-16,13-1 0,-13 1 0,0-1 15,13-13-15,-13 14 0,13-14 0,-13 14 16,0-14-16,0 0 0,14 0 16,-14 1-16,0-1 0</inkml:trace>
  <inkml:trace contextRef="#ctx0" brushRef="#br0" timeOffset="-38957.22">19659 9697 0,'0'-26'15,"0"12"-15,0 1 16,13 13-16,-13-26 0,0 12 0,0 1 16,0-13-16,0 12 0,0-12 15,0 0-15,0-1 0,0 14 0,0-14 16,0 14-16,0-13 0,0 12 0,13 1 15,-13 0-15,0 0 0,0 0 0,0-1 16,0 1-16,0 0 16,0 0-16,13-1 15,-13 1-15,13 13 16,1-13 0,-1 13-16,0 0 0,0-13 15,1 13-15,-1 0 0,0 0 16,0 0-16,1-13 0,-1 13 15,0 0-15,13 0 0,-12 0 16,12-14-16,-13 14 0,14 0 0,-14 0 16,0-13-16,0 13 0,1 0 15,-1 0-15,0 0 0,0 0 16,1 0-16,-1-13 0,0 26 16,0-13-16,1 13 15,-1 1 1,-13-1-16,13 0 0,-13 13 15,0-12-15,13-1 0,-13 13 16,0 1-16,13-1 0,1 40 16,-1-26-16,-13 0 0,13-1 15,-13 1-15,13 0 0,-13 0 0,14-1 16,-14 1-16,13 0 0,-13-1 16,0 1-16,13 0 0,-13-1 0,0-12 15,0 12-15,13-12 0,-13-1 0,0 1 16,0-1-16,0 1 15,14-14-15,-14 0 0,0 0 0,0 1 16,0-1-16,13-13 0,-13 13 0,0 0 16,13-13-1,0-13 1,-13 0-16</inkml:trace>
  <inkml:trace contextRef="#ctx0" brushRef="#br0" timeOffset="-37928.17">20108 9247 0,'0'-26'15,"-13"13"-15,13-1 16,0 1-16,0 0 0,0 0 16,0-14-16,-13 14 0,13-14 15,0 1-15,-13 0 0,13-14 0,0 13 16,0-12-16,-14 12 0,14 1 0,0-1 15,0 1-15,0-1 16,0 14-16,0 0 0,0-14 0,0 14 0,0 0 16,0 0-16,0 0 0,0-1 15,0 1-15,0 0 16,0 0-16,0-1 16,14 1-16,-14 0 15,0 0-15,13 13 16,-13-14-16,13 14 0,-13-13 15,13 13-15,1-13 16,-1 13 0,0 0-16,13 0 15,-12 0-15,12-13 16,-13 13-16,1 0 16,-1 0-16,0-13 0,0 13 15,14-14-15,-14 14 0,0 0 16,14-13-16,-14 13 15,0 0-15,0 0 16,1 13-16,-1-13 0,-13 14 16,13-1-16,-13 13 15,13-13-15,1 40 0,-14-13 16,13 0-16,-13-1 0,13 14 16,0-13-16,-13 13 0,13 0 0,1 0 15,-14 0-15,13 13 0,0-13 16,-13 0-16,0 13 0,13-13 0,-13 0 15,0 0-15,0 0 0,0-1 0,14 1 16,-14 0-16,0 0 0,0 40 16,0-40-16,0-14 0,0 54 15,13-53-15,-13-1 0,0 28 16,0-41-16,0 0 16,0 1-16,13-1 0,-13-12 0,0 12 15,13-13-15,-13 14 0,0-14 0,14 13 16,-14-12-16,13-1 0,-13 0 0,0 0 15,13 14-15,-13-14 0,0 0 16,0 14-16,13-14 0,-13 0 16,0 0-16,0 1 15,0-41 17,0 14-17,0-13-15</inkml:trace>
  <inkml:trace contextRef="#ctx0" brushRef="#br0" timeOffset="-36268.39">20439 8281 0,'-13'-39'0,"26"78"0,-26-91 0,13 38 16,0 1-16,0 0 0,-13 0 16,13-1-16,0 1 0,0 0 15,0 0-15,0-1 0,0 1 16,13 0-16,-13 0 0,0 0 15,0-1-15,13 14 0,-13-26 16,13 13-16,1-1 0,-14 1 16,13 13-16,-13-13 0,13 13 15,-13-13-15,13 13 0,-13-13 0,13 13 16,1-14 0,-1 14-1,-13-13-15,13 13 0,0 0 16,-13-13-16,14 13 15,-1-13-15,0 13 16,0 0-16,1-14 0,-1 14 16,0 0-16,-13-13 0,13 13 15,0 0-15,1 0 0,-1 0 0,0-13 16,0 13-16,1 0 0,-1-13 16,0 13-16,0 0 15,0 0-15,1 0 0,-14-14 16,13 14-16,0 0 15,0 0 1,1 14 0,-14-1-16,0 13 15,0-12-15,0 12 16,13 1-16,-13-1 0,0 14 0,0-1 16,0 14-16,0 0 0,0-13 0,0 26 15,0 0-15,13-13 0,-13 13 0,0-13 16,0 13-16,0-13 0,0 0 15,0 13-15,0-13 0,13 0 16,-13 0-16,0-13 0,0 13 0,14-14 16,-14 1-16,0 13 0,13-13 15,-13-1-15,0 14 0,0-13 0,0 0 16,0 12-16,0-12 0,0 0 0,13 0 16,-13-1-16,0-12 0,0-1 15,-13 14-15,13 0 0,0-14 0,0 0 16,0 1-16,0-1 0,0 1 15,0-1-15,0 1 0,0-14 0,13 13 16,-13 1-16,0-14 0,13 27 16,-13-14-16,0-13 0,0 14 0,13-14 15,-13 14-15,0-14 0,0 13 0,0-12 16,0-1-16,0 0 0,0 27 16,0-27-16,0 0 0,0 0 15,0 1-15,0-1 16</inkml:trace>
  <inkml:trace contextRef="#ctx0" brushRef="#br0" timeOffset="-35328.81">20902 8533 0,'13'-13'31,"1"13"-15,-1 0-16,-13-14 0,13 14 0,0 0 16,0 0-16,1-13 0,12 13 0,-13-13 15,1 13-15,-1-13 0,13 13 16,-12 0-16,-1-14 0,0 14 0,0-13 16,0 13-16,1 0 0,-1 0 15,0 0 1,0 13-16,-13 1 15,14-1-15,-14 0 0,13 14 0,-13-1 16,13 14-16,0-1 0,-13 28 16,13-15-16,1 15 0,-14-1 15,13-13-15,-13 13 0,13 0 0,-13 13 16,0-12-16,0-1 0,13 13 16,-13-13-16,0 0 0,14 0 0,-14 1 15,13-14-15,0 52 0,-13-65 16,13 13-16,-13-13 0,0-1 15,0 1-15,14-14 0,-14 14 0,0-13 16,0-14-16,0 13 0,0-12 16,0 12-16,0-13 0,0 0 0,0 1 15,0-1-15,0 0 16</inkml:trace>
  <inkml:trace contextRef="#ctx0" brushRef="#br0" timeOffset="-34457.23">21272 8916 0,'53'-13'31,"-39"13"-31,-1 0 0,13 0 0,1 0 16,-1 0-16,1-13 15,12 13-15,-12 0 0,13 0 0,-1-13 16,-12 13-16,12 0 0,-12-13 0,-1 13 15,1 0-15,-14 0 0,13-14 16,1 14-16,-14 0 0,0 0 16,1 0-16,-1 0 0,0 0 15,0 0-15,1 14 16,-1-14-16,-13 13 0,13 0 16,-13 0-16,13 14 0,-13 12 0,13-12 0,1 13 15,-14 12-15,13-12 0,-13 13 16,13 0-16,-13 13 0,0-13 15,13 13-15,-13-26 0,0 52 16,0-39-16,0 0 0,14-13 0,-14 13 16,0-13-16,0-1 0,0 14 15,0-13-15,13 0 0,-13-14 0,0 14 16,0-14-16,13 1 0,-13-1 0,0-13 16,0 14-16,13-1 0,-13-13 15,0 14-15,0-14 0,0 0 0,13 1 16,-13-1-16,0 0 0,0 0 0,0 1 15,0-1-15,0 0 0,0 0 16,14-26 31,-14 0-47</inkml:trace>
  <inkml:trace contextRef="#ctx0" brushRef="#br0" timeOffset="-33788.28">22027 9208 0,'-14'0'0,"41"26"31,-14-13-31,0-13 0,0 0 16,1 13-16,-1-13 0,0 0 15,14 0-15,-1 14 0,1-14 0,-1 0 16,0 0-16,1 13 0,-1-13 0,27 0 15,-26 0-15,-1 0 0,-13 0 16,1 0-16,-1 0 0,0 0 16,0 0-16,1 0 0,-1 0 15,0 0-15,0 0 0,-13 13 16,13-13-16,-13 13 16,14 1-16,-14-1 0,13 13 15,-13-13-15,0 14 0,13-1 0,-13 1 16,0 13-16,0-1 0,0 1 15,13 0-15,-13 13 0,0-14 0,0 1 16,0 0-16,0-1 0,-13 1 16,13 0-16,0-1 0,0 1 0,0 0 15,-13-14-15,13 1 0,0-1 16,0 1-16,-13-14 0,13 13 0,0-13 0,0 1 16,0 12-16,0-13 0,0 1 15,0-1-15,0 0 16,13-13-16</inkml:trace>
  <inkml:trace contextRef="#ctx0" brushRef="#br0" timeOffset="-33147.31">22635 9671 0,'0'0'0,"-13"0"0,39 13 31,-12-13-31,-1 0 15,13 0-15,-13 0 0,14 0 0,-1 0 16,1 0-16,13 0 16,-14-13-16,14 13 0,-14 0 0,27 0 15,-26 0-15,-1 0 0,-13 0 16,0 0-16,14 0 0,-1 0 16,-12 0-16,-1 0 0,-13 13 15,13-13-15,0 13 0,-13 0 0,14-13 16,-14 13-16,0 14 0,13-14 15,-13 14-15,0-1 0,0 0 0,0 1 16,0-1-16,0 1 0,0 13 0,0-1 16,0 1-16,0 0 0,-13-14 15,13 40-15,0-39 0,-14-1 16,14 1-16,0-1 0,0 1 0,-13-1 16,13-13-16,0 14 0,0-14 15,0 0-15,0 14 0,0-14 16,0 0-16,0 0 0,0 1 15</inkml:trace>
  <inkml:trace contextRef="#ctx0" brushRef="#br0" timeOffset="-32596.49">23270 9842 0,'27'0'32,"-14"0"-32,13 0 15,-13 0-15,1-13 0,12 13 16,-13 0-16,14 0 0,-14 0 0,0 0 15,14 0-15,-14 0 0,0 0 16,14 0-16,-14 13 0,0-13 0,0 0 16,1 14-16,-1-1 0,-13 0 0,13 0 15,-13 1-15,13-1 0,-13 13 16,0-12-16,14 12 0,-14 0 0,0 1 16,0-1-16,0 1 0,0-14 15,0 14-15,13-1 0,-13-13 0,0 53 16,0-39-1,13-14-15,-13 0 0,0 14 0,13-14 16,-13 0-16,0 0 0,13 1 16,-13-1-16,14 0 0,-1 0 15</inkml:trace>
  <inkml:trace contextRef="#ctx0" brushRef="#br0" timeOffset="-32024.16">23680 10134 0,'13'-14'16,"1"14"-1,-1 0-15,0 0 0,0 0 16,14 0-16,-14-13 0,13 13 16,14 0-16,-27 0 0,14 0 15,-1 0-15,-12 0 0,12 0 16,-13 0-16,14 0 0,-14 0 0,0 0 15,0 0-15,1 0 0,-1 0 16,0 0-16,0 13 0,1-13 0,-14 14 16,13-14-16,0 13 0,-13 0 15,0 0-15,13 0 0,-13 14 0,0-14 16,0 14-16,0-14 0,0 13 0,0-12 16,0 12-16,0-13 0,-13 14 15,13-14-15,0 13 0,0-12 0,0-1 16,0 13-16,0-12 0,0-1 15</inkml:trace>
  <inkml:trace contextRef="#ctx0" brushRef="#br0" timeOffset="-10440.29">516 7964 0,'-27'40'0,"-25"158"31,38-132-31,1 0 0,0 1 16,13 12-16,-13 0 0,-1 1 0,1 78 15,0-65-15,0 0 0,0-14 16,-1 14-16,1-14 0,0 0 0,0 1 15,13-14-15,-14 0 0,1 0 16,0 0-16,13 0 0,-13-26 0,13 0 0,0-1 16,-14 1-16,14-13 0,0-1 15,0-13-15,0 14 0,14-14 16,-14 0-16,0 0 0</inkml:trace>
  <inkml:trace contextRef="#ctx0" brushRef="#br0" timeOffset="-9984.08">26 9379 0,'-13'-13'31,"40"13"-31,-14 0 16,13-13-16,1 13 0,26 0 15,13-13-15,0 0 0,13-1 16,14 1-16,26 0 0,0 0 0,13-14 16,14 14-16,-1 0 0,14 0 15,-13-1-15,13 1 0,12 0 16,-12 13-16,0-13 0,0-1 0,-1 14 16,1 0-16,-26-13 0,-1 13 0,66 0 15,-105 0-15,-14 0 0,-13 0 16,-13 0-16,-13 0 0,26 0 15,-53 0-15,14 0 0,-27 13 16,13-13-16,-53 0 16,14 0-16</inkml:trace>
  <inkml:trace contextRef="#ctx0" brushRef="#br0" timeOffset="-6946.48">291 9327 0,'13'-14'47,"-13"1"-32,14 0 1,-14 0-16,0-1 0,13 1 16,-13 0-16,0 0 15,0 0-15,13-1 16,-13 1-16,0 0 0,0 0 0,13-1 16,-13 1-16,0 0 0,0 0 0,0-1 15,13 1-15,-13 0 0,0 0 16,0 0-16,0-1 0,14-12 0,-14 13 15,0-14-15,0 14 16,0 0-16,13-1 0,-13 1 16,0 0-16,0 0 0,0 0 15,0-1-15,13-12 0,-13 13 16,0-1-16,0 1 16,0 0-16,0 0 15,13-1-15,-13 1 16,0 0-16,0 0 15,0 0-15,0-1 16,0 1-16,0 0 16,0 0-1,0-1-15,0 1 16,0 0-16,0 0 16,14 13-16,-14-14 0,0 1 15,0 0-15,0 0 0,0 0 16,0-1-1,0 1-15,0 0 16,0 0-16,13-1 0,-13 1 16,0 0-1,0 0-15,0 0 16,0-1-16,0 1 16,13 13-1,-13-13-15,0 0 16,0-1-1,0 1 1,0 0-16,0 0 16,0-1-16,13 1 15,-13 0 1,0 0-16,0 0 16,13-1-1,-13 1-15,0 0 31,14 13-31,-14-13 16,13-1-16,-13 1 16,13 0-1,-13 0 1,13-1 15,-13 1-15,14 13-1,-1-13 1,0 0 0,0 13 15,1-13 0,-1 26 0,0-13-15,-13 13 0,13-13-16,-13 13 0,0 0 15,13-13-15,-13 14 16,14-1-16,-14 0 16,0 0-16,13-13 0,-13 14 15,0-1-15,13 0 16,-13 0-16,0 1 0,13-1 15,-13 0-15,0 0 16,14 0-16,-14 1 0,0-1 16,13 0-16,-13 0 0,0 1 15,0-1-15,13-13 0,-13 26 16,13-12-16,1-1 16,-14 0-16,13 0 0,0 0 15,-13 1-15,13-1 0,0 0 16,-13 0-16,14 1 0,-1-1 15,0 0-15,0 0 0,1 0 16,-1 1-16,0-14 16,0 13-16,0 0 0,1 0 15,-1-13-15,0 14 0,0-1 0,1-13 16,-1 13-16,0-13 0,14 13 0,-14 1 16,0-14-16,13 13 0,-12 0 15,-1 0-15,0-13 0,14 13 16,-14 1-16,0-14 0,14 13 0,-14-13 15,0 13-15,13 0 0,-12-13 0,25 14 16,-12-1-16,-14-13 0,14 13 16,-14 0-16,0-13 0,13 14 15,-12-14-15,12 13 0,-13-13 0,1 0 16,12 13-16,-13-13 0,1 13 0,12-13 16,-13 0-16,0 13 0,14-13 15,-14 0-15,14 14 0,-14-14 0,13 0 16,-13 0-16,14 0 0,-14 13 0,14-13 15,12 0-15,-12 0 16,-1 0-16,1 0 0,-14 13 0,27-13 16,13 0-16,-27 0 15,0 0-15,1 13 0,-1-13 0,-12 0 16,12 0-16,0 0 0,1 0 0,-1 14 16,1-14-16,-1 0 0,1 0 15,-1 13-15,1-13 0,12 0 0,-12 0 16,-1 13-16,1-13 0,-14 0 0,13 13 15,1-13-15,-1 0 0,1 0 16,-1 0-16,1 0 0,-1 14 0,1-14 16,-14 0-16,13 0 0,1 0 0,-1 0 15,1 0-15,-1 0 0,-13 0 16,14 0-16,-1 0 0,1 0 0,-1 0 16,-13 0-16,14 0 0,-1 0 0,-12 0 15,12 0-15,-13 0 0,1 0 0,12 0 16,-13 0-16,14 0 15,-14 13-15,13-13 0,-12 0 0,-1 0 16,13 0-16,-12 0 0,12 0 0,-13 0 16,0 0-16,14 0 0,-14 0 0,0 0 15,14 13-15,-14-13 0,0 0 16,14 0-16,-14 0 0,0 0 0,0 0 16,1 0-16,-1 0 0,0 0 15,0 0-15,1 0 0,-1 0 16,0 0-16,0 0 31,0 0-31</inkml:trace>
  <inkml:trace contextRef="#ctx0" brushRef="#br0" timeOffset="-4704.4">1654 8162 0,'-14'0'0,"28"0"47,-1 0-32,0 0-15,14 0 16,-14 0-16,0-13 0,0 13 0,0 0 16,1 0-16,-1 0 0,0-13 15,0 13-15,1 0 0,-1-13 16,0 13-16,-13-14 0,13 14 0,1-13 16</inkml:trace>
  <inkml:trace contextRef="#ctx0" brushRef="#br0" timeOffset="-4519.85">1931 8004 0,'0'-14'16,"0"41"15,0-14-31,0 0 0,0 1 0,14-1 16,-14 0-16,0 13 16,0-12-16,13 12 0,-13-13 15,0 1-15,0-1 0,0 0 0,0 0 16,0 1-16,0-1 0,13-13 15,-13 13-15</inkml:trace>
  <inkml:trace contextRef="#ctx0" brushRef="#br0" timeOffset="-3916.14">1931 7713 0,'-26'-14'15,"13"1"-15,-14 13 0,14-13 16,0 13-16,0 0 0,-40-13 16,39 13-16,-25 13 0,12-13 0,-12 13 15,-1-13-15,14 13 0,-14 14 16,13-14-16,1 14 0,-1 12 0,14-12 16,-26 39-16,39-26 15,-14 39-15,28-39 0,-14 12 0,39 54 16,-12-53-16,-1-13 0,1 13 15,-1-27-15,14 14 16,-14-14-16,14 1 0,-14-14 0,14 14 16,26-1-16,-39-26 0,-1 0 15,1 13-15,-1-26 0,0 13 16,14-13-16,40-14 0,-54 14 16,0-13-16,27-27 0,-26 13 15,-14 14-15,13-14 0,-26 0 16,14 14-16,-1-54 0,-26 41 15,13-14-15,-14 13 0,1 0 16,-13 1-16,13-14 0,-54-27 16,54 54-16,-13 0 0,-27-27 15,26 39-15,14 1 0,-27 0 16,14 0-16,13 13 0,-14 0 16,14 13-16,0 0 0,0 14 15,-1-1-15,14 27 16</inkml:trace>
  <inkml:trace contextRef="#ctx0" brushRef="#br0" timeOffset="-3540.44">2315 8493 0,'-26'13'0,"12"1"16,14-1-16,0 40 15,0-27 1,0 1-16,14-1 0,-14-13 16,0 1-16,0 12 0,0-13 0,0 0 15,0 1-15,0-1 0,0 0 16,0 0-16</inkml:trace>
  <inkml:trace contextRef="#ctx0" brushRef="#br0" timeOffset="-3233.17">2130 8705 0,'-13'0'15,"26"26"1,0-26-16,-13 13 0,13 1 0,1-14 16,12 26-16,-13-13 15,27 1-15,-27-14 16,0 13-16,14-13 0,-14 13 0,14-13 16,-1 0-16,-13-13 15,0 13 1,1-13-16,-1 13 0,-13-14 0,13 1 15,-13 0-15,13 13 0,-13-13 16,0-1-16,0 1 0,14 13 16,-14-13-16,0 0 15</inkml:trace>
  <inkml:trace contextRef="#ctx0" brushRef="#br0" timeOffset="-1985.23">714 10332 0,'0'0'16,"-13"26"-1,13 14-15,0 13 0,0 13 16,-13 14-16,13 12 0,-13 14 16,-1 145-16,1-132 0,13 14 15,-13-1-15,13-13 0,-13 0 0,13 0 16,-13-39-16,13 12 0,0-12 16,13-14-16,-13 0 0,0 0 0,0-13 15,0-13-15,0-1 0,13-12 0,-13-1 16,0 1-16,0-14 0,0 0 0,0 0 15,0-39 1,0 13 0,-13-14-16,13 1 0,0-1 15</inkml:trace>
  <inkml:trace contextRef="#ctx0" brushRef="#br0" timeOffset="-742.32">370 11853 0,'0'0'16,"-39"0"-16,26 0 0,-1 0 0,1 14 0,0-14 15,0 0 1,-1 0-16,41 13 31,-1-13-15,1-13-16,12 13 0,14 0 0,13-14 16,14 1-16,-14 13 0,13-13 0,14-14 15,-14 14-15,14 0 0,26-13 0,-13 12 16,-14 1-16,1 0 0,119-27 15,-93 27-15,-27 0 0,107-1 16,-80 1-16,-27 0 0,1 0 16,13 0-16,-13 13 0,-1-14 15,1 1-15,-1 13 0,-12 0 16,-1-13-16,-13 13 0,0 0 0,-13 0 0,0-13 16,0 26-16,-13-13 15,-14 0-15,1 0 0,-14 0 0,0 0 16,0 0-16,1 0 0,-1 0 15,-40-13 1,14 13 0,-13 0-16</inkml:trace>
  <inkml:trace contextRef="#ctx0" brushRef="#br0" timeOffset="1314.78">1707 8017 0,'-14'26'16,"14"-12"-1,0 12-15,0 0 0,14 1 16,-14 13-16,0-1 0,0 14 16,0-13-16,0 0 0,0-1 0,13 1 15,-13 0-15</inkml:trace>
  <inkml:trace contextRef="#ctx0" brushRef="#br0" timeOffset="6152.83">622 11800 0,'0'-13'78,"13"13"-16,0-13-46,0 13-16,1 0 16,-1 0-16,-13-13 0,13 13 15,0 0-15,1-13 0,-1 13 16,0 0-16,0 0 0,1-14 0,-1 14 16,0 0-16,0-13 15,0 13-15,1 0 0,-1 0 16,0-13-16,0 13 15,1 0-15,-1 0 0,0-13 16,0 13-16,0 0 0,1 0 16,-1-14-16,0 14 0,0 0 15,1 0-15,-1-13 0,0 13 0,0 0 16,1 0-16,-1 0 0,-13-13 16,13 13-16,0 0 0,0 0 15,1-13-15,-1 13 0,0 0 16,0 0-16,1-14 0,-1 14 15,0 0-15,0 0 16,1-13-16,-1 13 0,0 0 16,0-13-16,0 13 0,1 0 15,-1 0-15,0-13 16,0 13-16,1 0 0,-1 0 16,0 0-16,0 0 0,1-13 15,-1 13-15,0 0 16,0 0-16,0 0 15,1-14-15,-1 14 0,0 0 16,0-13 0,1 13-16,-1 0 0,0 0 15,-13-13-15,27 13 16,-14 0-16,0-13 16,0 13-1,0 0-15,1-14 0,-1 14 16,13-13-1,-12 13-15,-1-13 16,0 13-16,0 0 16,-13-13-16,13 13 0,1 0 0,-1-14 15,0 14 1,0 0-16,-13-13 0,14 13 16,-1 0-16,0-13 15,0 13 1,1-13-16,-1 13 15,0-13-15,0 13 16,0-14-16,1 14 0,-1-13 16,0 13-1,-13-13-15,13 13 0,1 0 0,-1-13 16,0 13-16,-13-14 16,13 14-16,1 0 0,-14-13 15,13 13-15,0-13 0,0 13 16,-13-13-16,13 13 15,1-14-15,-1 1 0,0 13 16,0-13-16,1 0 16,-1 13-16,0-13 15,-13-1-15,13 14 0,0-13 16,1 13 0,-14-13-16,13 0 0,0-1 15,0 1 1,1 0-1,-1 0-15,-13-1 16,13 14-16,-13-13 0,13 0 16,-13 0-16,14 13 15,-14-13 1,13 13-16,-13-14 16,13 1-1,53-106 79,-26 79-63,26-79 16,-53 119-47,-13-13 16,13 0-16,-13 0 0,14 13 15,-14-14-15,13 1 0,-13 0 16,13 13-16,-13-13 0,13-1 16,1 1-16,-14 0 15,13 13-15,-13-13 0,13 13 16,-13-13-1,13-1-15,-13 1 16,14 13-16,-14-13 16,13 13-16,-13-13 0,13-1 15,0 1 1,-13 0 0,13 13-1,-13-13-15,14 13 16,-14-13-16,13-1 15,0 1-15,0 0 16,-13 0 0,14 13-16,-1-14 15,-13 1-15,13 13 16,0-13-16,1 0 16,-1 13-16,-13-14 15,13 14 1,-13-13-16,13 13 15,0 0-15,1 0 32,-1 0-17,0 0 1,0 13-16,1-13 31,-14 14-31,13-14 16,-13 13-16,13-13 15,-13 13-15,0 0 16,13-13-16,-13 14 16,13-1-16,-13 0 15,0 0-15,14-13 0,-14 14 16,0-1-16,0 0 0,13-13 16,-13 13-16,0 0 0,0 1 15,0-1-15,13 0 0,-13 0 0,0 1 16,13-1-16,-13 13 0,0-13 15,14 1-15,-14-1 16,0 0-16,0 14 0,13-14 0,-13 0 16,0 0-16,13 1 0,-13-1 0,13 0 15,-13 0-15,0 0 0,14 1 16,-14-1-16,0 0 0,13 0 16,-13 1-16,13-1 0,-13 0 0,0 0 15,13 1-15,-13-1 0,13 0 0,-13 0 16,14 0-16,-14 1 0,0-1 0,13 0 15,-13 0-15,13 1 0,-13-1 16,13 0-16,-13 0 0,14 0 16,-14 1-16,0-1 0,13 0 15,-13 0-15,13 1 0,-13-1 16,13 0-16,-13 0 0,0 14 0,14-14 16,-14 0-16,26 27 0,-26-14 15,13 1-15,14 26 0,-27-27 16,13 1-16,0-14 0,0 13 15,-13 1-15,14-14 0,-1 0 16,-13 14-16,13-14 0,-13 0 0,0 0 16,13-13-16</inkml:trace>
  <inkml:trace contextRef="#ctx0" brushRef="#br0" timeOffset="6654.72">2262 10094 0,'13'-13'47,"1"13"-47,-1 0 0,0 0 16,0-14-16,1 14 0,-1 0 15,0 0-15,0 0 0,0 0 16,14 0-16,-14-13 0,0 13 0,1 0 16,-1 0-16,-13-13 0,13 13 15,0 0-15,1-13 0,-1 13 0</inkml:trace>
  <inkml:trace contextRef="#ctx0" brushRef="#br0" timeOffset="6823.87">2593 9895 0,'0'40'32,"0"-27"-32,0 1 15,0-1-15,0 13 16,13-13-16,-13 1 0,0 12 0,0-13 16,0 1-16,13-1 0,-13 0 0,0 0 15,0 1-15,0-1 0</inkml:trace>
  <inkml:trace contextRef="#ctx0" brushRef="#br0" timeOffset="7475.65">2289 10319 0,'26'0'31,"-13"-13"-31,14 13 0,12-14 16,-12 14-16,13-13 0,-14 0 15,14 13-15,-1-13 0,1-1 16,-13 1-16,12-13 0,-12 12 0,-1 1 15,1 13-15,-14-13 0,13 0 0,-12 0 16,-1-1-16,0-12 0,0 13 16,1-1-16,-14 1 0,13-13 0,-13 12 15,0-38-15,0 25 0,-13-13 16,-14-26-16,14 27 16,-14-1-16,-12 0 0,12 1 0,-12-1 15,-14 13-15,0 1 0,0 13 16,0-1-16,-79 1 0,79 13 15,-14 0-15,1 13 0,0 1 16,13 12-16,-13 1 0,13-1 0,0 14 16,0-14-16,14 27 0,-14-13 15,13 13-15,14 0 0,-27 52 16,26-52-16,27-13 0,-13 0 0,26-1 16,-13 14-16,14-13 0,12-13 0,0 12 15,1 1-15,13-14 0,-1 1 16,1-1-16,0-12 0,13-1 0,-14 0 15,14 0-15</inkml:trace>
  <inkml:trace contextRef="#ctx0" brushRef="#br0" timeOffset="9894.49">1759 11179 0,'0'0'0,"-13"0"0,0-14 15,0 14-15,0 0 16,-1-13-16,1 13 0,-13 0 0,-1 0 15,1 0-15,-14 0 0,14 0 16,-27 0-16,0 0 0,0 0 0,0 0 16,0 13-16,-13 1 0,0-1 15,0 0-15,-1 0 0,1 14 16,0-1-16,0-13 0,13 14 0,-13-1 16,0 14-16,13-13 0,0 12 0,-13-12 15,13 12-15,13 1 0,-13 0 0,14-1 16,-14 1-16,26 0 0,-12 13 0,-1-14 15,13 1-15,14 0 0,-13-14 16,12 14-16,1-14 0,0 14 16,13-13-16,0-1 0,0 0 0,13 1 15,0 13-15,14-14 0,-1 14 0,14-14 16,0 1-16,13-1 0,0-13 16,13 14-16,0-14 0,0-13 0,13 13 15,1-26-15,12 13 0,-12-13 0,12 0 16,27-1-16,-13-12 0,0-1 15,0 1-15,0 0 0,-27-1 0,-13-13 16,14 14-16,-14-1 0,13 1 0,-13 0 16,0-14-16,54-13 0,-68 13 15,1 14-15,-13-14 16,0 14-16,-14-1 0,1 1 0,-1-1 16,1 14-16,-1-13 0,0-27 15,-12 26-15,-1 14 0,0-13 0,-13 12 16,13-12-16,-13 13 0,0-14 15,0 14-15,0-14 0,0 14 0,0-13 16,-13-1-16,13 14 0,-13-27 0,-27-13 16,14 27-16,-54-40 15,41 53-15,-1-14 16,14 14-16,-14 0 0,0-1 0,1 1 16,-1 0-16,-13 0 0,13 13 15,-13 0-15,0 0 0,0 0 16,-26 0-16,-53 26 0,66-13 15,0 1-15,-1-1 0,1 0 0,13 14 16,0-14-16,14 0 0,-1 0 0,0 1 16,14-1-16,-1 0 0,14-13 15,0 0-15</inkml:trace>
  <inkml:trace contextRef="#ctx0" brushRef="#br0" timeOffset="11458.88">3400 8771 0,'-27'-13'16,"27"-1"-1,-13 14-15,0 0 0,0-13 16,0 13-16,-1-13 0,1 13 15,-13-13-15,12 13 0,-12-13 0,-14-1 16,14 14-16,-1-13 0,1 13 16,-1-13-16,1 13 0,-14-13 15,1 13-15,-14-14 0,13 14 0,-13 0 16,0-13-16,0 13 0,0 0 0,0 0 16,-13 0-16,0 0 0,-13 13 15,13-13-15,-14 0 0,14 14 16,13-14-16,0 0 0,0 13 0,0-13 15,0 13-15,1 0 0,-1-13 0,0 14 16,0-1-16,0 0 0,0 0 16,13 0-16,1 1 0,-1-1 0,0 0 15,1 0-15,-1 14 0,13-14 0,1 0 16,-1 1-16,14-1 0,-13 0 16,13 0-16,-1 14 0,1-1 15,0 1-15,0-14 0,-1 27 16,14-27-16,0 13 0,0-13 15,0 1-15,0 12 0,14 1 0,-1-14 16,0 13-16,0 1 0,14-1 0,-1 1 16,1-1-16,12-13 0,1 14 15,0-14-15,13 0 0,0 14 16,66-1-16,-53-13 0,0 1 16,0-14-16,0 13 0,14-13 0,-14 13 15,79-13-15,-65 0 16,-27 0-16,26 0 0,0 0 0,-13 0 15,1 0-15,-1-13 0,0 13 0,0 0 16,-13 0-16,0-13 0,13 13 16,-13 0-16,0-14 0,0 14 0,0 0 15,0 0-15,-14 0 0,14-13 16,-13 13-16,-14 0 0,40 0 0,-39 0 16,-1-13-16,1 13 15,13 0-15,-14 0 0,0-13 0,1 13 16,-1-14-16,1 14 0,-1 0 0,1-13 15,12 0-15,-12 0 0,13 13 16,-1-13-16,-12-1 0,-1 1 0,14 0 16,-14 0-16,1-1 0,-14 14 15,0-13-15,14 0 0,-14 13 0,0-13 16,-13 0-16,13-1 0,1 1 16,-14 0-16,0 0 0,13-1 15,-26 1-15,13-13 0,0 12 0,-14-12 16,1 0-16,-13-1 0,-1 1 0,14-1 15,-13 1-15,-14-14 0,0 14 16,1-1-16,-54-39 0,40 53 16,0-14-16,-66-12 0,66 12 15,-79 14-15,66 0 16,13 13-16,0 0 0,-13 0 0,0 0 16,-1 13-16,-12 0 0,-53 14 15,66-1-15,-1-13 0,15 14 16,-15-1-16</inkml:trace>
  <inkml:trace contextRef="#ctx0" brushRef="#br0" timeOffset="16939.91">820 9499 0,'0'26'0,"-26"67"31,26-67-31,0 1 0,0 12 16,-13-12-16,13-1 0,0 1 0,0-1 15</inkml:trace>
  <inkml:trace contextRef="#ctx0" brushRef="#br0" timeOffset="17160.55">833 9459 0,'0'0'16,"-13"13"-16,0 0 0,13 1 0,-13-1 15,0 0-15,-1 13 0,1-12 16,0 12-16,0-13 0,-1 1 0,14 12 16,-13-13-16,0 1 0,0-1 0,-1 0 15,14 0-15,-13 0 16</inkml:trace>
  <inkml:trace contextRef="#ctx0" brushRef="#br0" timeOffset="17315.56">661 9525 0,'14'0'0,"-28"0"0,41 0 16,-14 0-16,0 0 16,1 13-16,-1-13 0,27 13 15,-27-13-15,13 14 0,-13-14 0,14 0 16,13 0-16,-14 0 0,14-14 16,13 14-16,-14-13 0,1 0 0,0 0 15</inkml:trace>
  <inkml:trace contextRef="#ctx0" brushRef="#br0" timeOffset="18675.4">2699 11800 0,'0'-13'16,"0"40"-1,0-14 1,0 13-16,0 1 0,0-1 15,0 67-15,0-53 0,0 12 16,0-12-16,-13 13 0,13-13 0,0 13 16,0-14-16,0-12 0,0-1 15,0 1-15,0-1 0,0 1 0,0-14 16,-14 0-16,14 0 0,0 1 16</inkml:trace>
  <inkml:trace contextRef="#ctx0" brushRef="#br0" timeOffset="18991.46">2725 11814 0,'-26'13'0,"-14"27"16,27-27 0,0 0-16,-14 0 0,14 14 15,0-14-15,-14 0 0,14 14 0,0-14 16,0 0-16,-1 14 0,1-14 0,0 0 15,0 0-15,13 0 0,-14 1 16</inkml:trace>
  <inkml:trace contextRef="#ctx0" brushRef="#br0" timeOffset="19175.33">2514 11906 0,'79'-13'16,"-53"13"-16,-131 13 0,237-13 0,-119 0 16,27 0-16,-14 0 0,14 0 0,0 0 15,-1 13-15,1-13 0,0 14 0,-1-1 16,1 0-16,0 0 0,-14 1 16</inkml:trace>
  <inkml:trace contextRef="#ctx0" brushRef="#br0" timeOffset="92206.41">19447 807 0,'13'13'0,"-39"0"16,12-13 0,-12 14-16,0-14 0,12 13 15,-12 0-15,-1-13 0,1 13 0,-1-13 16,14 14-16,0-14 0,0 13 16,0-13-16,-1 0 0,14 13 0,0 0 15,14 0 1,-1-13-16,0 0 0,0 14 15,14-14-15,-14 13 0,0-13 0,0 0 16,-13 13-16,14-13 0,-1 13 16,-13 1-16,-13-1 15,-1 0-15,1 0 0,0 1 0,-53 12 16,26-13 0,14 14-16,-14-14 0,13 0 0,14-13 15,-13 13-15,13 1 0,-1-14 16,1 13-16,0 0 0,13 0 15,13-13 1,0 0-16,1 14 0,-1-14 0,13 0 16,-13 0-16,14 13 0,-14-13 0,14 0 15,-14 0-15,13 0 0,-12 0 16,-1 0-16,13 0 0,-13 0 16,1 0-16,-1 0 0,0-13 0,0 13 15,1 0 1,-1 0-16</inkml:trace>
  <inkml:trace contextRef="#ctx0" brushRef="#br0" timeOffset="92448.13">19539 1177 0,'0'14'31,"-13"-1"-31,13 0 16,0 0-16,0 1 0,0-1 0,-13 0 15,13 0-15,0 0 16,0 1-16,-13-1 0,13 0 16,0 0-1</inkml:trace>
  <inkml:trace contextRef="#ctx0" brushRef="#br0" timeOffset="92602.48">19513 1111 0,'0'-13'0</inkml:trace>
  <inkml:trace contextRef="#ctx0" brushRef="#br0" timeOffset="92833.36">19685 1283 0,'-13'-26'0,"26"26"31,0-13-31,0 13 0,1 0 16,-1-14-16,0 14 0,0 0 15,-13 14 1</inkml:trace>
  <inkml:trace contextRef="#ctx0" brushRef="#br0" timeOffset="93001.41">19619 1363 0,'0'0'0,"0"13"0,13-13 31,0 0-15,1 0-16,-1 0 15,0 0-15,0-13 0,0 13 16,1 0-16,-1-14 16</inkml:trace>
  <inkml:trace contextRef="#ctx0" brushRef="#br0" timeOffset="93599.45">19976 1124 0,'0'27'16,"0"-14"-1,0 0-15,0 1 0,0-1 16,0 0-16,0 0 0,0 1 16,0-1-16,0 0 0,0 0 0,0 0 15,0 1-15,13-14 16</inkml:trace>
  <inkml:trace contextRef="#ctx0" brushRef="#br0" timeOffset="94707.15">19698 728 0,'-26'-14'15,"26"1"-15,0 0 16,0 0-16,13-1 31,0 28-15,-13-1 0,13-13-16,-13 13 0,14-13 15,-14 13-15,13-13 0,-13 14 16,13-14-16,0 0 15,-13-14 1,14 14-16,-14-13 16,13 0-16,-13 0 0,0-1 15,0 1-15,0 0 16,0 0-16,13 13 0,-13-13 16,13-1-16,1 14 0,-1-13 15</inkml:trace>
  <inkml:trace contextRef="#ctx0" brushRef="#br0" timeOffset="95890.43">20585 741 0,'-53'92'16,"39"-52"-1,1-13-15,0 12 0,0-26 0,0 27 16,13-13-16,0-1 0,0 1 0,0-1 16,13 0-16,-13-12 0,13 12 15,0-13-15,0 14 0,1-14 0,-1 0 16,0 1-16,0-14 0,1 13 15,-1-13-15,0 0 0,0 0 0,1 0 16,-1 0-16,0 0 0,13-13 16,-12 13-16,-1 0 0,0-14 0,0 1 15</inkml:trace>
  <inkml:trace contextRef="#ctx0" brushRef="#br0" timeOffset="96383.2">20849 886 0,'13'27'47,"-13"-14"-47,14-13 0,-1 13 16,0 0-16,0-13 16,1 0-16,-1 0 0,0 0 0,0 0 15,0 0-15,1 0 0,-1 0 16,0-13-16,0 13 0,1-13 15,-1 13-15,0 0 16,-13-13-16,-13 39 31,13-13-15,-13-13-16,-1 14 0,-12 25 16,13-12-16,-1-14 0,1 14 0,0-14 15,0 0-15,0 13 0,-1 1 16,14-14-16,-13 0 15,13 1-15,-13-1 0,13 0 0,0 0 16,13 1 0</inkml:trace>
  <inkml:trace contextRef="#ctx0" brushRef="#br0" timeOffset="96615.29">21220 1217 0,'13'0'0,"-26"27"47,13-14-47,0 0 0,0 0 16,0 0-16,-14-13 15,14 14-15,0-1 0,0 0 16,0 0-1</inkml:trace>
  <inkml:trace contextRef="#ctx0" brushRef="#br0" timeOffset="96769.63">21259 1045 0,'-13'0'0,"26"0"0,-26-13 16,0 13 0</inkml:trace>
  <inkml:trace contextRef="#ctx0" brushRef="#br0" timeOffset="97428.28">21405 1098 0,'13'0'31,"13"0"-31,-12 0 15,-1 0-15,0 0 0,0 0 16,1 0-16,-14-13 16,13 13-16,0 0 0,0 0 15,1 0-15,-1 0 0,0 0 0,0 0 16,0 0 0</inkml:trace>
  <inkml:trace contextRef="#ctx0" brushRef="#br0" timeOffset="97999.75">21736 873 0,'0'0'0,"0"27"31,0-14-15,13 0-16,0 0 15,0 0-15,0-13 0,1 0 16,-1 0-16,0 0 0,0 0 16,1 0-16,-1 0 0,0 0 0,14 0 15,-14 0-15,0 0 0,0 0 0,-13-13 16,13 13-16,1 0 15,-1-13-15,0 0 0,0 13 16,-13-13 0,-13 39-1,0-13-15,13 0 16,-40 27-16,27-13 0,-13-1 16,12 1-16,1 12 0,-13-12 15,26-14-15,-14 13 0,1-12 0,13-1 16,-13 13-16,0-12 0,13-1 0,0 0 15,-14-13-15,28 13 16</inkml:trace>
  <inkml:trace contextRef="#ctx0" brushRef="#br0" timeOffset="98316.08">21709 754 0,'13'-13'16,"1"13"-16,-1 0 15,0 0-15,13 0 0,-12 0 0,-1 0 0,13 0 16,1-13-16,-14 13 0,14 0 16,-14 0-16,13 0 0,1 13 0,-14-13 15</inkml:trace>
  <inkml:trace contextRef="#ctx0" brushRef="#br0" timeOffset="99543.24">22066 635 0,'13'13'32,"1"0"-32,-1 1 15,13 52-15,-12-40 0,-1 14 16,-13 0-16,13-14 0,-13 14 0,13-1 16,-13 1-16,0 0 0,0 0 0,0-14 15,0 0-15,0 14 0,0-13 16,0-1-16,-13 1 0,13-14 0,0 13 15,-13-13-15,13 1 0,-13-1 0,13 0 16,0 0-16,-14 1 0,1-1 16,0-40-1,13 14 1,0 0-16</inkml:trace>
  <inkml:trace contextRef="#ctx0" brushRef="#br0" timeOffset="100142.16">22225 569 0,'0'-13'0,"53"13"16,-40 0 0,-13 13-16,13-13 0,1 0 15,-14 13-15,0 0 16,0 1-16,0-1 15,-14-13-15,14 13 0,-13-13 0,13 13 16,-13 0 0,26-13-1,-13 14-15,13-1 16,1-13-16,-14 13 0,13 0 16,-13 1-1,13-14-15,-13 13 0,-13 0 16,13 0-16,-13 1 15,-1-14-15,14 13 16,-13-13-16,13 13 0,-13-13 0,0 0 16,13 13-16,-14-13 15</inkml:trace>
  <inkml:trace contextRef="#ctx0" brushRef="#br0" timeOffset="101033.4">22781 582 0,'0'-13'0,"-14"39"32,14-12-32,-13-1 0,13 13 0,-13 1 15,0 12-15,-1-12 0,14 13 16,-13 12-16,-13-12 0,13 13 0,-1-13 16,-12 13-16,13-14 0,-14 1 0,14 0 15,0-1-15,-1-12 0,1 13 16,-13-1-16,26-12 0,-13-14 15,13 0-15,-14 0 0,14 1 16,-13-1-16,26-13 16,1-13-1,-1 13-15,0-14 0,13 1 16,-12 0-16</inkml:trace>
  <inkml:trace contextRef="#ctx0" brushRef="#br0" timeOffset="101518.32">22913 1204 0,'-13'-13'31,"13"-40"-16,0 39-15,0 1 16,13-13-16,-13 13 0,0-14 16,13 1-16,-13 12 0,0 1 0,13 0 15,-13 0-15,0-1 0,14 14 16,-1 0 0,-13 14-1,0-1-15,13 0 0,-13 0 16,13 1-16,-13-1 0,14 0 15,-1 0-15,0 1 16,0-14-16,-13 13 16,27-26-16,-14 13 15,-13-14-15,13 14 0,0-13 16,-13 0-16,14 0 0,-14-14 0,13 14 16,-13-14-16,13 14 0,-13-13 0,13-1 15,-13-12-15,0 25 0,14-12 16,-14 0-16,13 12 0,-13-12 0,13 13 15,-13-1-15,-13 28 16,0-1 0,-1 0-16,-12 14 15,13-1-15</inkml:trace>
  <inkml:trace contextRef="#ctx0" brushRef="#br0" timeOffset="102170.83">20651 1746 0,'0'0'0,"79"-13"0,-26 13 0,13 0 15,14-13-15,12 13 0,1-13 0,13 13 16,26-14-16,0 1 0,0 13 0,1-13 16,-1 0-16,14 13 0,-14-14 15,0 14-15,-26-13 0,-13 13 16,12 0-16,1 0 0,-13 0 0,-1 0 16,-12-13-16,-1 13 0,-13 13 0,-13-26 15,13 26-15,-26-26 0,0 13 16,-1 0-16,-12 0 0,-1 0 0,1 0 15,-14 0-15,0 0 0,14 0 0,-14 0 16,0 0-16,0 0 16,1 0-16,-54 0 31,27 0-31,-14 13 0,1-13 16</inkml:trace>
  <inkml:trace contextRef="#ctx0" brushRef="#br0" timeOffset="103339.17">21881 2090 0,'-26'-13'31,"12"13"-15,1 0-16,-13 13 15,12-13-15,1 0 0,0 13 0,0-13 16,0 0-16,13 14 0,-14-14 15,1 0-15,0 13 16,13 0-16,13 0 16,0-13-1,-13 14-15,14-14 0,-1 13 16,0-13-16,0 0 0,0 13 0,1-13 16,-1 13-16,0 0 0,0-13 0,-13 14 15,14-14-15,-1 13 0,-13 0 16,0 0-1,-13 1-15,-1-1 0,1 0 16,0-13-16,-14 13 16,14 1-16,-26-14 0,25 13 15,1-13-15,-27 0 0,27 0 16,0 0-16,0 0 0,-1 0 16,1-13-16,0 13 0,0 0 15,13-14-15,0 1 0,0 0 0,13 13 16,-13-13-16</inkml:trace>
  <inkml:trace contextRef="#ctx0" brushRef="#br0" timeOffset="103988.24">22119 1879 0,'0'-14'0,"27"14"31,-14 0-31,0 14 0,0-1 16,-13 0 0,0 0-16,0 0 15,0 1 1,0-1-1,14 0 1,-14 0-16,13-13 16,-13 14-16,13-14 0,-13 13 15,13 0 1,-26 0 0,13 1-16,-13-14 15,0 0-15,13 13 0,-14-13 0,1 13 16,0-13-16,0 0 15,-1 13-15,1-13 16</inkml:trace>
  <inkml:trace contextRef="#ctx0" brushRef="#br0" timeOffset="105603.27">21802 2606 0,'0'27'16,"0"-14"0,0 0-16,0 0 15,0 1-15,0-1 0,0 0 16,0 0-16,0 0 0,-14 1 0,14-1 16,0 0-16,0 0 0,0 1 15,0-1-15,0 0 0,0 0 16,0 1-16</inkml:trace>
  <inkml:trace contextRef="#ctx0" brushRef="#br0" timeOffset="105861.54">21815 2619 0,'0'0'16,"-13"0"-16,-14 14 16,27-1-1,-13-13-15,0 13 0,0 0 16,-1 1-16,1-1 15,0 0-15,0 0 0,-1 0 16</inkml:trace>
  <inkml:trace contextRef="#ctx0" brushRef="#br0" timeOffset="106030.24">21775 2646 0,'13'0'0,"1"13"16,52 27 15,-53-40-31,14 13 0,-14-13 16</inkml:trace>
  <inkml:trace contextRef="#ctx0" brushRef="#br0" timeOffset="106955.33">22384 2368 0,'0'-13'15,"13"13"1,0 0-1,0 0-15,1 0 0,-1-13 16,0 13-16,0 0 0,1 0 0,-1 0 16,0 0-16,13 0 0,-12 0 15,-1 0-15,0-14 0,0 14 16,1 0-16,-1 0 16,0 0-16,0 0 15</inkml:trace>
  <inkml:trace contextRef="#ctx0" brushRef="#br0" timeOffset="107270.06">22609 2262 0,'0'-13'31,"13"13"-31,0 0 16,0 13-16,1-13 0,12 13 15,-13-13-15,0 14 0,1-1 16,-1-13-16,-13 13 16,13 0-16,-13 1 0,13-1 0,-13 0 15,0 0-15,0 0 16,-13 1-16,0-1 15,13 0-15,-13 0 0,13 1 16,-14-14-16,14 13 0,-13-13 16</inkml:trace>
  <inkml:trace contextRef="#ctx0" brushRef="#br0" timeOffset="107704.29">23178 2222 0,'-27'-13'0,"54"26"0,-67-26 15,27 13-15,-1 13 0,1-13 16,0 0-16,0 14 15,-1-1-15,14 0 16,14 0 0,-1 1-16,0-14 15,0 13-15,1 0 0,-1-13 16,13 13-16,-12-13 0,-1 14 16,0-14-16,0 13 0,0-13 15,-13 13-15,14-13 0,-1 0 0,0 13 16,-26 0 15,13 1-31,-13-14 0,-1 13 16,1-13-16,0 0 0,0 13 15,0-13-15,-1 0 0,-12 13 16,13-13-16,-1 0 0,1 0 16,0 0-1</inkml:trace>
  <inkml:trace contextRef="#ctx0" brushRef="#br0" timeOffset="107951.32">23376 2249 0,'0'0'16,"13"0"-1,-13 13 16,0 0-31,0 1 16,0-1-16,-13 0 16,13 0-16,0 1 15,0-1-15,0 0 0,0 0 16,0 0-16,-13 1 16,26-1-1</inkml:trace>
  <inkml:trace contextRef="#ctx0" brushRef="#br0" timeOffset="108262.99">23323 2249 0,'0'-13'0,"0"26"0,0-40 16,0 14-16,13 13 0,-13-13 15,13 13-15,1 0 16,-1 0-16,0 0 16,0 0-16,1 0 0,-1 13 0,0-13 15,0 13-15,14 14 16,-14-14-16,-13 0 16,13 1-16,-26-1 0,13 0 15,-13 0-15,13 1 0,-13-1 16,-1 0-16,14 0 0,-13-13 15,0 13-15,0 1 0,-14-1 0,27 0 16,-13 0-16,0-13 0,-1 14 0,1-14 16,0 0-16</inkml:trace>
  <inkml:trace contextRef="#ctx0" brushRef="#br0" timeOffset="109322.65">23455 1124 0,'0'-13'15,"14"13"1,-1 0-1,0 0 1,0 0-16,0 0 0,1 0 0,12 0 16,-13 0-16,1 0 0,-1 0 0,0 0 15,0 0-15,1 0 0,-1 0 16,0 0-16,0 0 0,0 0 0,1-13 16,-1 13-16,0 0 15,0 0-15</inkml:trace>
  <inkml:trace contextRef="#ctx0" brushRef="#br0" timeOffset="109700.45">23720 992 0,'26'0'15,"-12"0"1,-1 13-16,0-13 0,0 14 15,0-1-15,1-13 0,-1 13 0,0 0 16,0-13-16,1 14 0,-1-1 0,-13 0 16,13-13-16,0 13 15,-13 0-15,14 1 0,-14-1 16,-14 0-16,14 0 0,-13 1 16,13-1-16,-13-13 0,0 13 15,13 0-15</inkml:trace>
  <inkml:trace contextRef="#ctx0" brushRef="#br0" timeOffset="111511.26">20915 807 0,'0'13'0,"0"-39"31,0 13-15,0-1-16,0 1 0,0 0 0,-13 0 16,13-1-16,0 1 0,-13-13 15,13-1-15,-13-12 0,-1 12 16,14 14-16,-13-14 0,13 14 0,0 0 16,-13 0-16,13-1 0,0 1 15,0 0-15,-13 0 0,13 0 16,-14-1-1</inkml:trace>
  <inkml:trace contextRef="#ctx0" brushRef="#br0" timeOffset="111751.06">20876 357 0,'-14'13'0,"1"-13"16,0 27 0,0-14-16,-1 14 0,1-14 15,13 0-15,-13 0 0,0 0 16,0 1-16,-1 12 0,14-13 0,-13 1 15,13-1-15,-13 0 0,13 0 16,-13 1-16,-1-1 0</inkml:trace>
  <inkml:trace contextRef="#ctx0" brushRef="#br0" timeOffset="112000.02">20876 357 0,'13'0'16,"0"13"-16,-13 1 16,13-14-1,-13 13-15,14-13 0,-14 13 0,13-13 16,-13 13-16,13-13 0,0 14 0,0-14 15,1 0-15,-1 13 0,0-13 16,14 0-16,-1 0 0,-13 0 0</inkml:trace>
  <inkml:trace contextRef="#ctx0" brushRef="#br0" timeOffset="112523.32">21749 582 0,'0'-13'0,"-13"0"15,13-1-15,0 1 0,0 0 16,0 0-16,0-1 16,-14 1-16,14 0 0,0-13 15,0 12-15,0 1 0,0 0 16,0 0-16,0-1 0,0 1 15,-13 13-15,13-13 0,0 0 16</inkml:trace>
  <inkml:trace contextRef="#ctx0" brushRef="#br0" timeOffset="112715.36">21736 318 0,'-27'13'31,"14"0"-15,0 0-16,-1 0 16,14 1-16,-13-14 0,0 13 0,13 0 15,-13 0-15,13 1 0,-14-1 0,1 0 16</inkml:trace>
  <inkml:trace contextRef="#ctx0" brushRef="#br0" timeOffset="112930.36">21696 304 0,'13'0'16,"0"0"-16,1 14 15,-1-1-15,0 0 0,0-13 16,0 13-16,1 0 0,-1-13 16,0 14-16,0-1 0,1 0 15,-1-13-15,0 13 0,0 1 0,1-14 16,-1 13-16,0-13 0,0 0 16,0 13-16</inkml:trace>
  <inkml:trace contextRef="#ctx0" brushRef="#br0" timeOffset="115296.33">10464 913 0,'-26'26'15,"26"-13"1,-13-13-16,-14 27 0,14-1 15,0 1-15,-14 13 0,14-14 0,-13 0 16,12 14-16,-12-13 0,13-1 0,-1 1 16,1-1-16,0 0 0,0-12 15,13-1-15,-14 0 0,1 0 0,0 1 16,0-14-16</inkml:trace>
  <inkml:trace contextRef="#ctx0" brushRef="#br0" timeOffset="115506.31">10094 1138 0,'26'0'16,"-12"13"-16,-1 0 0,13 0 16,-13-13-16,1 14 0,-1-1 0,13 0 15,-12 0-15,12 14 0,-13-14 16,1 0-16,25 14 15,-26-14-15,1 0 0,39 27 32,-40-27-32</inkml:trace>
  <inkml:trace contextRef="#ctx0" brushRef="#br0" timeOffset="115706.64">10663 1257 0,'0'13'15,"0"0"1,0 0-16,0 1 0,0-1 16,0 0-16,0 0 0,0 1 0,-14-1 15,14 0-15,14 0 16,-14 1-16</inkml:trace>
  <inkml:trace contextRef="#ctx0" brushRef="#br0" timeOffset="115886.08">10610 1138 0,'-13'-14'32</inkml:trace>
  <inkml:trace contextRef="#ctx0" brushRef="#br0" timeOffset="116379.32">11271 1124 0,'-13'-13'0,"39"13"31,-12 0-15,-1-13-16,0 13 0,0 0 15,1 0-15,12 0 0,-13-13 16,1 13-16,-1 0 0,0 0 15,0 0-15,0-13 0,14 13 0,-14 0 0,14-14 16,-14 14-16,13-13 16,1 13-16</inkml:trace>
  <inkml:trace contextRef="#ctx0" brushRef="#br0" timeOffset="116587.32">12065 860 0,'13'0'16,"-26"26"0,13-12-16,-13-1 15,0 13-15,13-13 0,-14 1 0,1 12 16,-13 1-16,12-1 0,1 1 16,0-1-16,13-13 0,-13 0 15,-1 14-15,1-14 0,13 0 0,-13 1 16,13-1-16</inkml:trace>
  <inkml:trace contextRef="#ctx0" brushRef="#br0" timeOffset="116823.2">11787 952 0,'-13'0'16,"39"0"-1,-12 0 1,-1 0-16,0 14 16,14-1-16,-14-13 0,0 13 0,13 0 15,-12-13-15,12 14 0,-13-1 0,1-13 16,12 13-16,-13-13 0,1 0 16,-1 13-16,0-13 0,0 0 0,0 0 15,1 0-15,-1 0 0</inkml:trace>
  <inkml:trace contextRef="#ctx0" brushRef="#br0" timeOffset="117090.33">11774 781 0,'0'0'0,"26"-14"15,1 1 1,-1 13-16,-12 0 0,12-13 16,-13 13-16,14 0 0,-1-13 0,1 13 15,-14 0-15,13 0 0,1 0 16,-14-14-16,0 14 0,0 0 0</inkml:trace>
  <inkml:trace contextRef="#ctx0" brushRef="#br0" timeOffset="118826.4">11919 1402 0,'0'0'0,"14"0"0,-1 0 0,0 0 16,14-13-16,-1 13 0,-13-13 15,27 0-15,-14-1 0,1 1 0,-1-13 16,14 12-16,-13 1 0,-1 0 0,14-13 16,-14 12-16,1-12 0,12-14 15,-12 14-15,-1-1 0,-13 1 16,14-1-16,-14 1 0,0-1 0,1-12 15,-1 25-15,0 1 0,-13-26 16,0 12-16,0 1 0,0-14 16,0 0-16,-13 1 0,0 12 0,-1-13 0,1 1 15,-13 12-15,12 1 0,-12-14 16,-1 14-16,1-1 0,0 14 16,-1-13-16,1 12 0,-14 1 0,0 0 15,1 0-15,-1 13 0,0 0 16,1 0-16,-1 0 0,-13 0 0,13 13 15,-13 0-15,14 0 0,-1 1 0,0 12 16,1 0-16,-1 14 0,13 0 16,-12 0-16,26-14 0,-1 14 15,1-1-15,0 1 0,0-13 0,13 12 16,0-12-16,0-1 0,0 1 0,13 12 16,0-26-16,0 14 0,1-1 0,-1 1 15,13-1-15,-13-12 0,1-1 16</inkml:trace>
  <inkml:trace contextRef="#ctx0" brushRef="#br0" timeOffset="119635.3">10385 1746 0,'26'0'16,"-52"0"-16,66 0 0,-14 0 0,-13 0 16,1 0-16,-1-13 0,13 13 0,-13-13 15,14 13-15,-1-27 0,40-12 16,-39 25-16,-1-12 0,1 0 15,-1-14-15,1 0 0,39-39 16,-26-14-16,-14 53 0,1-12 16,-14-1-16,0 13 15,0 0-15,0 1 0,1-1 0,-14 0 16,13-26-16,-13 13 0,-13 13 16,13 1-16,-14 12 0,1-12 0,-13-1 15,13 13-15,-14-12 0,-13 12 16,1 1-16,-14-1 0,0 1 15,0 13-15,0-1 0,13 1 0,-26 13 0,13 0 16,0 0-16,-13 13 0,-13 1 16,13-1-16,-14 13 0,14 14 15,-13 0-15,13-1 0,-1 1 0,1 13 16,13 0-16,-13 13 0,13 13 16,-39 54-16,52-67 0,14 0 15,-1-13-15,1 26 0,-1-12 0,14-15 16,0 15-16,13-14 0,0-1 0,13-12 15,0 0-15,0 13 0,27 26 16,-13-52-16,-1-1 0,1-13 16</inkml:trace>
  <inkml:trace contextRef="#ctx0" brushRef="#br0" timeOffset="124155.27">11681 1098 0,'14'13'47,"-1"-13"-31,-13 13-16,0 1 16,13-1-16,0 0 0,1 14 15,12-1-15,-13 1 0,14-1 16,-14 0-16,0 1 0,14-14 0,-14 0 15,0 1-15,0 12 0,0-13 0,14 1 16,-14-1-16,0 0 0,1 0 16,-1-13-16,0 13 0,0-13 0,1 14 15,-1-1-15</inkml:trace>
  <inkml:trace contextRef="#ctx0" brushRef="#br0" timeOffset="126312.02">10570 1998 0,'13'26'0,"-26"-52"0,26 65 0,-13-12 0,0-14 15,0 0-15,0 0 0,0 14 0,0-14 16,0 14-16,14-1 0,-14-13 16,0 14-16,0-14 0,0 13 0,0-12 15,0-1-15,0 13 0,0-12 0,0-1 16,0 0-16,0 0 16</inkml:trace>
  <inkml:trace contextRef="#ctx0" brushRef="#br0" timeOffset="126521.03">10649 2024 0,'-26'27'15,"13"-14"-15,0 0 16,-1 0-16,14 0 0,-13 1 0,0-1 15,0 13-15,-1-12 0,1-1 0,-13 0 16,13 0-16,-1 14 0,1-14 16,0 0-16,0-13 0,13 13 0,-14-13 15</inkml:trace>
  <inkml:trace contextRef="#ctx0" brushRef="#br0" timeOffset="126691.08">10385 2222 0,'13'0'0,"14"0"16,-14 0-16,93 14 31,-80-14-31,1 13 0,-14-13 0,13 0 16,1 0-16,-1 0 0,-13 13 16,14-13-16,-14 13 0,14-13 15,-14 14-15</inkml:trace>
  <inkml:trace contextRef="#ctx0" brushRef="#br0" timeOffset="127631.18">10438 2606 0,'-40'0'15,"14"40"1,26-14-16,0-12 0,0 12 15,0-13-15,0 14 0,0-1 0,13 1 16,-13-14-16,13 13 0,0-12 16,1 12-16,-1-13 0,0-13 0,0 13 15,1 1-15,-1-14 0,0 0 16,0 0-16,0 0 0,1-14 0,-1 14 16,0-13-16,0 0 0,1 0 15,-1-14-15,-13 14 0,0-13 0,0-1 16,0 1-16,-13-1 0,-14-39 15,14 40-15,0-1 0,-1 14 16,1 0-16,0-1 0,0 1 16,0 0-16,-1 13 0,1 13 15,0-13-15,13 13 0,-13 1 16,13 12-16,0-13 0,-14 1 0,14-1 16,14 0-16,-14 0 0,13 1 0,-13-1 15,13 0-15,0-13 0,1 13 16,-1-13-16,0 0 0,0 0 15,0 0-15,1-13 0,-1 13 0,0-13 16,0 0-16,-13-1 0,14 1 0,-14 0 16,13-14-16,-13 14 0,0-13 15,-13 12-15,13-12 0,0 13 0,0 0 16,-14-27-16,14 27 16,14 52 15,-1-25-31,13 65 15,-26-53-15,13 14 0,1-13 0,-14-1 16,13-13-16,-13 14 0,13-14 16,-13 0-16,13 0 0,-13 1 15,14-41 17,-14 14-32,0 0 0,0-1 0,13 1 15,-13 0-15,13 0 0,0 0 0,1-1 16,-1 1-16,0 13 0,0 0 15,0 0-15,1 0 0,-1 0 16,0 13-16,0-13 0,-13 14 16,14-1-16,-14 0 0,0 0 15,0 0-15,-14 1 0,14-1 16,-13 0-16,13 0 0,-13 1 16,0-1-16,-1-13 0,1 13 0,0 0 15,0-13-15,0 0 0,13 14 0,-14-14 16,1 0-16,0 0 15</inkml:trace>
  <inkml:trace contextRef="#ctx0" brushRef="#br0" timeOffset="128818.25">10980 2738 0,'0'-52'32,"0"38"-32,0 1 0,0 0 31,0 0-31,0-1 16,0 1-1,0 0-15,-13 13 31,13-13-15,-13 26 562,13 0-578,0 14 16,0-14-1,13 0-15,-13 0 0,13 1 16,-13-1-16,13-13 0,-13 13 16,14-13-16,12 0 15,-13 0 1,1 0-16,-1-13 0,0 0 16,0-1-1,-13 1-15,13 0 16,-13 0-16,14-1 15,-14 1-15,0 0 16,0 0 0,0-1-1,26 28 17,-26-1-32,13-13 0,1 13 15,-1 0 1,0 1-16,0-1 15,-13 0 1,0 0-16,14 1 0,-28-1 16,14 0-16,-13 0 15,0 0-15,0 1 16,-1-14 0,14 13-16</inkml:trace>
  <inkml:trace contextRef="#ctx0" brushRef="#br0" timeOffset="129557.17">12382 1442 0,'0'0'0,"14"13"31,-1 0-31,0 14 0,0-1 16,1 1-16,12 13 0,-13-1 0,14 27 15,-14-26-15,0 0 16,0-14-16,1 1 0,-14-1 0,13-13 16,-13 1-16,0 12 0,13-13 15,-13 14-15,0-14 16,0 0 0</inkml:trace>
  <inkml:trace contextRef="#ctx0" brushRef="#br0" timeOffset="129784.12">12449 1468 0,'-27'0'15,"-39"80"1,53-54-1,0-12-15,-1 12 0,1-13 16,0 14-16,13-14 0,-13 0 0,-1 14 16,14-14-16,-13-13 0,13 13 0</inkml:trace>
  <inkml:trace contextRef="#ctx0" brushRef="#br0" timeOffset="129950.25">12290 1442 0,'13'-13'0,"0"26"16,40 13 0,-40-12-16,14-1 15,-1-13-15,1 13 0,26 0 16,-27 1-16,1-1 0,-1-13 16,-13 13-16,14-13 0,-1 13 0,-12-13 15,-1 0-15,0 14 0</inkml:trace>
  <inkml:trace contextRef="#ctx0" brushRef="#br0" timeOffset="130742.2">12793 2051 0,'-14'52'31,"14"-38"-31,0-1 0,0 0 0,0 0 15,14 1-15,-14-1 0,0 0 16,0 0-16,0 0 0,0 1 16,13-14-16,-13 13 0,0-40 47,0 14-47,13 0 0,-13 0 0,0 0 15,13-1-15,-13 1 0,0 0 16,14 0-16,-1-1 15,0 1-15,0 13 0,0 0 16,1 13 0,-1-13-16,-13 14 0,13-14 15,-13 13-15,13-13 0,-13 13 16,14-13-16,-14 13 16,13-13-1,0-13 1,0 0-1,-13 0-15,14-1 16,-1 1-16,0 0 16,0 13-16,0 0 15,1 13-15,-1 0 16,0 1 0,0-1-16,1-13 15,-1 0 1,0 0-16,13 0 15,-12 0 1,-1-13-16</inkml:trace>
  <inkml:trace contextRef="#ctx0" brushRef="#br0" timeOffset="131282.15">13322 2037 0,'-13'0'0,"13"-13"31,-14 13-31,1 13 16,13 1-16,0-1 16,0 0-1,13 0-15,1 0 16,-1-13-16,0 0 16,0 0-16,0 0 0,1 0 0,-1 0 15,13-13-15,-12 13 0,-1-13 16,0 0-16,0 13 0,14-27 15,-27 14-15,13 13 0,-13-13 0,13 0 16,-13-1-16,0 1 16,-26 26 31,26 1-32,-13-1-15,26 0 16,0-13 15,0 0-15,0 0-16,1 0 15,-1-13 1,0 13-16,0 13 16,1-13-16,-1 0 15,0 0-15,0 0 16,0 0-1,1-13-15,-1 13 16,0 0 0,-13-13-16,13 13 15</inkml:trace>
  <inkml:trace contextRef="#ctx0" brushRef="#br0" timeOffset="131515.2">12965 2381 0,'105'-53'16,"-65"40"-16,0 0 0,13 0 15,0-14-15,52 1 16,-52-1-16,0 14 0,-13 0 0,0 0 15,-1-1-15,1 1 0,13 0 0,-27 0 16,1 13-16,-1-14 0,1 14 16,-14 0-16</inkml:trace>
  <inkml:trace contextRef="#ctx0" brushRef="#br0" timeOffset="131983.17">13031 2368 0,'-40'13'16,"80"-26"-16,-93 26 0,79-13 31,1-13-31,-14 13 0,13-13 16,14 0-16,0-1 0,-1 14 15,1-13-15,0 0 0,0 0 0,12-1 16,-25 1-16,-14 13 0,27-13 15,-27 13-15,0 0 16,1-13-16,-1 13 0,0 0 16,0 0-16,0-14 15,1 14 1,-1 0-16,0 0 31,-13-13 0,13 13 32,-39 0-1,13-13-62</inkml:trace>
  <inkml:trace contextRef="#ctx0" brushRef="#br0" timeOffset="136028.06">14949 503 0,'0'-14'32,"0"1"-17,-13 26 1,-1 1 0,14-1-16,-13-13 0,0 13 0,0 14 15,13-14-15,-13 13 0,-1-12 16,1 12-16,0-13 0,0 14 0,-1-14 15,14 13-15,-13-12 0,0-1 16,13 0-16,-13 0 0,13 1 0,-13-1 16,13 0-16,-14 0 0</inkml:trace>
  <inkml:trace contextRef="#ctx0" brushRef="#br0" timeOffset="136326.17">14737 609 0,'0'0'0,"27"13"31,-27 0-15,13-13-16,0 13 0,0 0 15,1 1-15,-1-14 0,0 13 16,-13 0-16,13-13 0,1 13 0,-1 1 16,0-14-16,-13 13 0,13-13 15,0 13-15,1-13 0</inkml:trace>
  <inkml:trace contextRef="#ctx0" brushRef="#br0" timeOffset="136514.03">15121 714 0,'0'14'0,"0"12"15,0-13 1,0 1-16,0-1 15,0 0-15,0 0 16,0 0-16,13 1 0,0-1 31</inkml:trace>
  <inkml:trace contextRef="#ctx0" brushRef="#br0" timeOffset="137065.07">15306 661 0,'-13'0'16,"39"-13"15,1 13-15,-14-13-1,0 13 1,1 0-16,-1 0 16</inkml:trace>
  <inkml:trace contextRef="#ctx0" brushRef="#br0" timeOffset="137469.61">15094 622 0,'-13'-13'0</inkml:trace>
  <inkml:trace contextRef="#ctx0" brushRef="#br0" timeOffset="137831.01">15809 503 0,'-27'26'31,"14"-13"-31,13 1 16,-13 12-16,13-13 0,-13 1 0,-1 12 16,14-13-16,-13 0 0,0 1 15,13-1-15,0 0 0,-13 0 0,13 1 16</inkml:trace>
  <inkml:trace contextRef="#ctx0" brushRef="#br0" timeOffset="138063.32">15610 582 0,'0'-13'0,"27"26"31,-14 0-31,0 1 16,1-14-16,-1 13 0,0 0 15,0-13-15,0 13 0,1 0 0,-1 1 16,0-14-16,0 13 16,1 0-16,-1-13 0,0 13 15</inkml:trace>
  <inkml:trace contextRef="#ctx0" brushRef="#br0" timeOffset="139322.49">15941 595 0,'-13'0'0,"26"0"0,-26-13 15,0 0 1,13 0 15,-14 13 16</inkml:trace>
  <inkml:trace contextRef="#ctx0" brushRef="#br0" timeOffset="139585.34">15531 397 0,'-13'0'16,"53"0"-1,-27-13-15,13 13 16,1-14-16,-1 14 0,1 0 16,-1-13-16,0 13 0,1-13 15,-1 13-15,-12 0 0,-1 0 0,13 0 16,-12 0-16</inkml:trace>
  <inkml:trace contextRef="#ctx0" brushRef="#br0" timeOffset="140017.03">14989 1204 0,'-14'26'31,"1"-12"-31,13-1 16,0 0-16,-13 0 0,13 0 0,-13 14 15,13-14-15,-14 0 0,1 1 0,13 12 16,0-13-16,-13 1 0,0-1 16,13 0-16,0 0 0,-13 0 15,13 1-15</inkml:trace>
  <inkml:trace contextRef="#ctx0" brushRef="#br0" timeOffset="140342">14803 1323 0,'27'13'0,"-14"0"0,0 1 16,1-14-16,-1 13 0,0-13 15,0 13-15,14 14 16,-14-27-16,0 13 15</inkml:trace>
  <inkml:trace contextRef="#ctx0" brushRef="#br0" timeOffset="140540.99">15187 1389 0,'0'13'15,"0"1"1,0-1-16,0 0 0,0 0 16,0 0-16,0 1 15,0-1-15,0 0 0,0 0 0,0 1 16</inkml:trace>
  <inkml:trace contextRef="#ctx0" brushRef="#br0" timeOffset="140827.08">15452 1323 0,'0'-13'31,"26"13"1,-13 0-32,1-14 0,-1 14 15,0 0-15,0 0 0,1-13 0</inkml:trace>
  <inkml:trace contextRef="#ctx0" brushRef="#br0" timeOffset="141050.29">15901 1191 0,'-26'39'0,"26"-25"16,-26 38-1,12-38-15,14-1 16,0 0-16,-13-13 0,13 13 16</inkml:trace>
  <inkml:trace contextRef="#ctx0" brushRef="#br0" timeOffset="141274.45">15769 1257 0,'0'-13'0,"13"26"31,-13 0-31,14-13 16,-1 13-1,0 0-15,0-13 16,1 14-16,-1-14 16,0 0-16,0 0 15,-13-14-15</inkml:trace>
  <inkml:trace contextRef="#ctx0" brushRef="#br0" timeOffset="141479.09">15716 1032 0,'27'-13'31,"-14"13"-31,0 0 0,0-14 0,1 14 16,12 0-16,-13 0 0,1 0 15,-1-13-15,0 13 0</inkml:trace>
  <inkml:trace contextRef="#ctx0" brushRef="#br0" timeOffset="141831.2">15108 1865 0,'-14'53'31,"14"-40"-31,0 1 0,-13-1 16,13 0-16,0 0 0,-13 1 15,13-1-15,0 0 0,-13 0 16,13 1-16</inkml:trace>
  <inkml:trace contextRef="#ctx0" brushRef="#br0" timeOffset="142043.17">15002 1931 0,'0'-13'15,"0"0"16,26 39-31,-12-26 16,-14 14-16,13-1 0,0-13 16,0 13-16,0 0 0,1 1 15,-1-1-15,13 0 0,-12-13 16,-1 13-16</inkml:trace>
  <inkml:trace contextRef="#ctx0" brushRef="#br0" timeOffset="142354.03">15425 1971 0,'13'0'16,"1"0"0,-14 13-1,-14 1-15,14-1 16,0 0-16,-13-13 15,13 13-15,0 1 0,0-1 16,0 0 0,0 0-1,0 0-15,13-13 16,1 0 0,-1 14-1,0-14-15,14-14 16,-14 14-16,0-13 15,0 13-15</inkml:trace>
  <inkml:trace contextRef="#ctx0" brushRef="#br0" timeOffset="142607.08">15729 1931 0,'0'0'0,"27"-26"31,-14 26-31,0 0 15,1-13-15,-1 13 0,0-13 0</inkml:trace>
  <inkml:trace contextRef="#ctx0" brushRef="#br0" timeOffset="142782.17">16153 1680 0,'-13'40'15,"-1"-27"-15,14 0 16,-13 0-16,13 1 0,-13 12 16,13-13-16,-27 27 0,14-13 15,13-14-15,-13 13 0</inkml:trace>
  <inkml:trace contextRef="#ctx0" brushRef="#br0" timeOffset="142983.25">15994 1839 0,'0'-13'31,"13"26"-15,1 0-16,-1-13 0,0 13 15,0-13-15,0 14 16,1-14-16,-1 0 0,0 0 15</inkml:trace>
  <inkml:trace contextRef="#ctx0" brushRef="#br0" timeOffset="143434.12">15822 1561 0,'27'-13'31,"-14"13"-31,13-13 0,1 13 16,-14-14-16,13 1 0,1 13 16,-14 0-16,14 0 0,-14 0 0</inkml:trace>
  <inkml:trace contextRef="#ctx0" brushRef="#br0" timeOffset="144011.23">15425 2342 0,'-26'26'0,"-1"40"32,14-53-32,13 1 0,-13-1 15,0 0-15,13 0 16,-14-13-16,14 14 0,-13-28 31,0 1-31,13 0 16,0 0-16,0-1 15,0 1 17,13 13-32,0 0 15,1 0-15,-14 13 0,13-13 16,0 0-16,0 14 0,1-14 15,-1 13-15,0-13 0,0 0 16,0 0-16,1 13 16,-1-13-16</inkml:trace>
  <inkml:trace contextRef="#ctx0" brushRef="#br0" timeOffset="144255.51">15558 2421 0,'0'0'0,"13"0"16,0 0 0,0 0-16,-13 13 0,13-13 15,-13 13-15,14-13 16,-14 14-16,13-14 0,0 13 16,0 0-1,-13 0 16,0 1-15</inkml:trace>
  <inkml:trace contextRef="#ctx0" brushRef="#br0" timeOffset="144581.55">16259 2183 0,'-14'13'0,"14"0"0,-13-13 16,13 13-16,-13 1 0,0 12 15,-14-13-15,27 1 0,-13-1 16,0 0-16</inkml:trace>
  <inkml:trace contextRef="#ctx0" brushRef="#br0" timeOffset="144786.56">16140 2262 0,'13'0'0,"40"0"31,-40 13-31,0-13 16,0 0-16,1 0 0,-1 0 0,0 0 16,0 0-16,1 0 0,12 0 15,-13 0 1</inkml:trace>
  <inkml:trace contextRef="#ctx0" brushRef="#br0" timeOffset="146123.16">14711 1138 0,'-27'13'0,"54"-26"0,-54 39 0,14-13 16,13 1-16,0 12 0,0 1 15,0-1-15,0 0 0,0 14 0,13 0 16,1 0-16,-1-1 0,0-12 15,0 12-15,14-12 0,26 13 16,-14-14-16,-12-26 0,12 13 0</inkml:trace>
  <inkml:trace contextRef="#ctx0" brushRef="#br0" timeOffset="146542.08">15941 807 0,'66'40'16,"-39"-14"-16,-1 1 0,1-1 15,-14 0-15,27 1 0,-27 13 0,13-1 16,-13-12-16,1 12 0,-1 14 16,0-13-16,-13 0 0,0-1 0,0 1 15,-13 0-15,0 0 0,-14-1 16,14 1-16,-53 26 0</inkml:trace>
  <inkml:trace contextRef="#ctx0" brushRef="#br0" timeOffset="146936.16">14817 1812 0,'-14'53'0,"28"-106"0,-41 120 16,27-41-16,0 0 0,0 1 0,0-1 16,0 1-16,13-1 0,1 14 15,-1-14-15,13 1 0,1-1 0,12-12 16,1-1-16,0 0 0,13 0 0,-14-13 16,14-13-16</inkml:trace>
  <inkml:trace contextRef="#ctx0" brushRef="#br0" timeOffset="147311.2">16351 1482 0,'27'13'0,"-54"-26"0,67 39 15,-27 1-15,-13-14 0,13 0 16,14 27-16,-27-14 0,13 1 16,-13 26-16,0-27 0,0 0 15,-13 14-15,13 0 0,-13-14 16,-1 1-16,1-14 0,-13 13 0,12-12 16,1-1-16,0 0 0,0-13 15</inkml:trace>
  <inkml:trace contextRef="#ctx0" brushRef="#br0" timeOffset="148253.18">16219 622 0,'26'13'0,"-12"0"31,-14 0-15,0 1 15,13-1-15,-13 0-16,13-13 15,0 13-15,1 1 16,-1-14-16,-13 13 0,0 0 16,13 0-16,-26 1 15,13-1-15,-13-13 0,-1 13 16,14 0-16,-13 0 0,0-13 15,0 14-15,-1-1 0,1-13 16,13 13-16,-13-13 0,13 13 16</inkml:trace>
  <inkml:trace contextRef="#ctx0" brushRef="#br0" timeOffset="148819.07">16484 1323 0,'13'0'0,"0"0"31,0 0-31,0 13 16,1 0-1,-1 1 1,0-1-1,0 0 1,1-13-16,-14 13 0,13-13 16,-13 14-16,0-1 15,-13 0 1,13 0-16,0 0 0,-14-13 16,14 14-16,-13-1 0,13 0 0,-13 14 15,0-14-15</inkml:trace>
  <inkml:trace contextRef="#ctx0" brushRef="#br0" timeOffset="149526.29">15094 2487 0,'-26'79'15,"26"-65"-15,0 12 16,13 1-16,-13-1 0,0-13 0,13 14 15,1-1-15,12 1 0,27 12 16,-26-25-16,-1-14 0,0 13 16,14-13-16,0-13 0,13 13 0,13-27 15,-13 14-15</inkml:trace>
  <inkml:trace contextRef="#ctx0" brushRef="#br0" timeOffset="149823.03">16351 2143 0,'13'0'0,"-26"0"0,40 13 15,-14-13-15,-13 14 0,13-1 16,0 0-16,-13 0 0,14 0 0,-14 1 16,0 12-16,13-13 0,-13 14 0,0-14 15,0 14-15,-13-14 0,13 13 16,-14 1-16,14-14 0,0 0 0,-13 0 16,13 1-16</inkml:trace>
  <inkml:trace contextRef="#ctx0" brushRef="#br0" timeOffset="151539.16">16880 556 0,'-13'13'15,"0"0"-15,13 0 0,-13 1 16,0-1-16,13 13 0,-27 1 0,14-1 15,0 1-15,-1 12 0,1-12 0,0-1 16,0 14-16,-14-14 0,14 1 16,0-1-16,0-13 0,-1 1 0,1 25 15,0-25-15,13-1 16</inkml:trace>
  <inkml:trace contextRef="#ctx0" brushRef="#br0" timeOffset="151997.39">16933 1058 0,'-13'-53'32,"13"40"-32,0-13 15,0 12-15,13 1 32,1 26-17,-1-13-15,0 0 16,0 0-16,0 14 15,1-14-15,-1 0 0,0 13 16,0-13-16,1 0 16,-1 0-1,0-13-15,0 13 0,-13-14 16,0 1-16,0 0 16,0 0-16,0 0 15,0-1-15,0 1 0,0 0 0,0 0 16,-13-1-16,13 1 0,13 0 15,-13 0-15,14 0 16</inkml:trace>
  <inkml:trace contextRef="#ctx0" brushRef="#br0" timeOffset="154596.25">14420 1680 0,'13'27'32,"-13"-14"-32,0 0 15,0 0-15,0 0 0,0 1 16,0-1-16,0 0 0,0 0 16,0 1-16,13 12 0,-13-13 0,0 1 15,0-1-15,0 0 0,0 0 0,0 0 16,0 1-16</inkml:trace>
  <inkml:trace contextRef="#ctx0" brushRef="#br0" timeOffset="154814.04">14340 1945 0,'14'-14'16,"-1"14"0,0 0-16,0-13 0,1 13 15,-1-13-15,0 0 0,0 13 0,0-13 16,14 13-16,-14 0 0,0 0 0,27-14 16,-27 14-16</inkml:trace>
  <inkml:trace contextRef="#ctx0" brushRef="#br0" timeOffset="155263.12">14724 2461 0,'0'0'0,"-13"-14"0,13 41 31,13-14-15,-13 0-16,0 1 15,0-1-15,0 0 0,0 0 16,0 0-16,0 1 0,0-1 16,0 0-16,0 0 0</inkml:trace>
  <inkml:trace contextRef="#ctx0" brushRef="#br0" timeOffset="155486.32">14565 2633 0,'27'-14'32,"-14"14"-32,0-13 0,0 13 15,1 0-15,12-13 0,-13 0 16,14-1-16,13 1 0,-14 0 0,0-13 15,14 12-15,-13 1 0,12-13 16,1 12-16</inkml:trace>
  <inkml:trace contextRef="#ctx0" brushRef="#br0" timeOffset="156103.13">16867 1389 0,'-26'27'16,"26"-14"-16,-13 0 0,13 13 15,-14 1-15,1 13 0,0-14 0,0 14 16,-1-1-16,1-12 0,0-1 0,0 1 16,13-1-16,-14-13 0,14 14 15,-13-14-15,13 0 0,0 1 0,-13-1 16,13 0-1,13-13-15</inkml:trace>
  <inkml:trace contextRef="#ctx0" brushRef="#br0" timeOffset="156537.13">17079 1773 0,'-27'-27'16,"27"14"-16,0 0 15,0 0-15,0-1 0,14 1 16,-14 0-16,0 0 0,0-1 15,0 1-15,13 13 0,0-13 16,0 26 15,1-13-31,-1 0 0,-13 13 16,13-13-16,0 0 0,0 0 16,1 0-16,-1 0 15,0-13-15,0 0 16,1 13-16,-14-13 0,13 0 15,-13-1-15,13 1 0,-13 0 0,13 0 0,-13-14 16,0 14-16,0 0 0,0-1 16,0 1-16,0 0 0,0 0 0,-13 0 15,0 13-15,0-14 0,-1 14 0,-12 0 16,-1 0-16</inkml:trace>
  <inkml:trace contextRef="#ctx0" brushRef="#br0" timeOffset="164062.89">15571 2447 0,'39'0'16,"-25"0"0,-14 14-1,0-1-15,0 0 16,0 0 0,0 1-16,0-1 15,13 0 1,0 0-16,0 0 15,1 1 1,-1-1 0,-13 0-16,0 0 15,-13-13-15,-1 14 16,1-1 0,0-13-16</inkml:trace>
  <inkml:trace contextRef="#ctx0" brushRef="#br0" timeOffset="164356.26">15849 2408 0,'26'-14'62,"-13"14"-62,0 0 16,1 0-16,-1-13 15,0 13-15</inkml:trace>
  <inkml:trace contextRef="#ctx0" brushRef="#br0" timeOffset="164789.9">16126 2170 0,'14'-14'16,"-1"1"-1,0 13-15,0 0 16,0 0-16,1 0 0</inkml:trace>
  <inkml:trace contextRef="#ctx0" brushRef="#br0" timeOffset="165572.96">16563 2090 0,'26'0'31,"-12"0"-15,-14 13-16,13 1 16,-13-1-1,13 0 1,-13 0-1,13-13-15,1 14 32,-14-1-17,-14 0 1,1-13 0,13 13-1</inkml:trace>
  <inkml:trace contextRef="#ctx0" brushRef="#br0" timeOffset="165821.89">16880 2037 0,'0'40'16,"-13"-27"-1,13 0-15,-13 14 0,13-14 16,-13 0-16,0 14 0,-1-14 16,1 0-16,13 14 0,-13-14 15,0 0-15,-1 14 0,14-14 0,-13 0 16,13 0-16,13-13 31</inkml:trace>
  <inkml:trace contextRef="#ctx0" brushRef="#br0" timeOffset="166254.86">16999 2328 0,'14'-13'31,"-14"0"-31,0 0 16,0-1-16,13 1 16,-13 0-16,13 0 15,0 13 17,1 0-32,-14 13 15,13-13-15,0 0 0,-13 13 16,13-13-16,1 13 15,-1-13-15,0 0 16,0 0-16,-13-13 16,13 13-16,-13-13 15,14 13-15,-14-13 0,0-1 0,13 14 16,-13-13-16,0 0 0,0 0 16,0 0-16,0-1 0,13 1 15,-13 0-15,0 0 16,0-1-16,0 1 15</inkml:trace>
  <inkml:trace contextRef="#ctx0" brushRef="#br0" timeOffset="168226.57">17119 225 0,'0'0'15,"39"-27"-15,-12 14 0,-1 13 16,-13 0-16,1-13 0,-1 26 0,0-13 16,14 0-16,-14 13 0,0 1 0,13-1 15,-12 13-15,-1 1 0,0 13 16,0-14-16,-13 14 0,0 13 0,0-1 15,0 1-15,-13 0 0,0 13 0,13-13 16,-13 0-16,13-13 0,-14 0 16,14-1-16,-13 1 0,13-14 15,0 1-15,0-1 0,0 1 0,13-1 16,-13 1-16,0-14 0,0 0 0,14 14 16,-14-14-16,0 0 0,13 0 15,0 1-15,0-14 16,1 13-16,-1-26 0,0 13 15,0-14-15,0 1 0,1 13 16,-1-13-16,0 13 0,-13-13 0,13 13 16,-13-14-16,14 14 0,-1 0 15,0 14 1,-13-1-16,0 0 0,13 14 16,-13 12-16,14 1 0,-14 0 0,13-1 15,0 28-15,-13-15 0,13 1 0,0 14 16,-13-15-16,14 15 0,-14-15 15,13 1-15,-13 0 0,0-13 0,13 13 16,-13-13-16,0-1 0,-13 41 16,13-41-16,-13 27 15,13-26-15,-14-13 0,1-1 0,0 1 16,0-1-16,0-13 0,13 14 0,-27-14 16,14 0-16,0 0 0,-1 1 15,1-1-15,0-13 0,-27 13 16,27-13-16,0 0 0,-14 0 15,-12 0-15</inkml:trace>
  <inkml:trace contextRef="#ctx0" brushRef="#br0" timeOffset="168853.4">16140 2699 0,'13'13'31,"-13"0"-31,0 0 16,0 1-16,0-1 0,0 0 15</inkml:trace>
  <inkml:trace contextRef="#ctx0" brushRef="#br0" timeOffset="169019.3">16259 2884 0,'0'13'15,"13"-13"1,-13 13 0,13-13-16</inkml:trace>
  <inkml:trace contextRef="#ctx0" brushRef="#br0" timeOffset="169553.08">16457 3003 0,'0'-13'0,"13"0"31,1 26 0,-14 0-31,0 0 16,13-13-16,-13 13 0,0 1 15,0-1-15,13 0 16,-13 0-16,0 1 16,26-28 15,-26 1-31,14 13 16,-14-13-16,13 0 0,0-1 15,0 1-15,1 13 16,-1 0-1,0 0-15,-13 13 16,13-13-16,1 14 16,-1-14-1,-13 13-15,13-13 16,0 13 0</inkml:trace>
  <inkml:trace contextRef="#ctx0" brushRef="#br0" timeOffset="193874.96">24606 992 0,'-13'27'0,"26"-54"0,-26 67 0,0-14 16,13 1-16,0-14 0,0 13 0,0-12 0,-13 25 16,13-25-16,0 12 15,-14-13-15,14 1 0,0-1 16,0 13-16,-13-26 0,13 13 15,0 1-15,0-1 0,-13-13 16,13 13-16,0 0 16,-13-13-1,-1-13 1,14 0-16,0 0 16,0-1-16,0 1 15,0-13-15,0-1 0,14 1 0,-14-1 16,13 1-16,-13-14 0,13 27 0,-13-13 15,13-1-15,-13 14 0,14 0 16,-1-1-16,0 1 0,0 13 0,14-13 16,-14 13-16,13 0 15,-26 13-15,14-13 0,-14 13 16,0 1-16,0-1 16,0 0-16,-14 0 0,14 1 0,-13-1 15,0 0-15,0 0 0,-1 0 0,1 1 16,0-14-16,0 13 15,0 0-15,-14 0 0,27 1 0,-13-14 16,13 13-16</inkml:trace>
  <inkml:trace contextRef="#ctx0" brushRef="#br0" timeOffset="194814.14">24739 1177 0,'-14'14'31,"1"-1"-31,13 0 0,-13 0 16,13 1-16,13-1 15,0-13 1,1 13-16,-1-13 16,13 0-16,-26-13 0,13 13 15,1-13-15,-1-1 16,-13 1-16,0 0 0,0 0 15,0-1-15,-13 1 0,13 0 16,-14 0-16,1-1 16,0 1-16,0 13 15,26-13 17,0 13-32,0 0 15,1 0-15,-1 0 0,0 0 0,27 0 16,-27 0-16,0 0 0,1 13 15,-1-13-15,0 13 0,0 14 16,0-14-16,-13 0 0,0 1 16,0-1-16,0 13 0,-13-12 0,13 12 15,-13-13-15,13 14 0,-13-1 16,0 1-16,-1 12 16,1-25-1,26-54 16,14 13-31,-14 1 0,13-1 16,-12 1-16,12 13 16,-13 0-16,1-1 0,-1 14 0,0-13 15,0 13-15,0 0 0,-13 13 16,-13 1 0,13-1-16,-26 13 15,13-13-15,-1 1 0,14-1 16,-13-13-16,13 13 15,13-13-15,14-13 16,-14 13-16,0-13 16,0-1-16,1 14 15,-1-13-15,0 0 0,0 13 0,1-13 0,-1 13 16,-13-13-16,13 13 16,-13 13 46,0 0-62,13-13 16,1 0-1,-1 0 17,0 13-17,0-13-15,0-13 16,1 13-1,-1 0-15,0-13 16,0 0-16,1 13 0,-14-14 16,13 1-16,-13 0 0,13 0 15,-13-1-15,0-12 0,13 13 0,-13-1 16,14-12-16,-14 13 0,13 0 0,-13-14 16,0 14-16</inkml:trace>
  <inkml:trace contextRef="#ctx0" brushRef="#br0" timeOffset="195018.04">25387 1032 0,'-27'79'16,"-12"14"0,39-67-16,-14-12 15,14-1-15,0 0 0,0 0 0,-13 0 16,13 1-16,-13-14 0,13 13 16,-13 0-1,-1 0-15,1-13 16,0 0-1,0 0 1,13 14-16,-13-14 31</inkml:trace>
  <inkml:trace contextRef="#ctx0" brushRef="#br0" timeOffset="195306.08">24646 1548 0,'26'0'16,"1"0"-16,-1-13 16,1 13-16,26 0 0,0-14 15,0 14-15,13-13 0,0 13 0,0-13 16,-13 13-16,0 0 0,0-13 0,0 13 16,-14 0-16</inkml:trace>
  <inkml:trace contextRef="#ctx0" brushRef="#br0" timeOffset="195563.14">24619 1601 0,'-26'-13'0,"52"26"0,-12-26 31,12 13-31,1-14 15,26 14-15,-14 0 0,80-13 16,-66 13-16,0 0 0,0-13 16,13 13-16,-13 0 0,-13 0 0,-1 0 15,-12 0-15,-1 0 0,1-13 0,-14 13 16,0 13-16,1-13 0</inkml:trace>
  <inkml:trace contextRef="#ctx0" brushRef="#br0" timeOffset="195918.8">24897 1693 0,'-79'-13'15,"39"13"-15,-52 0 16,52 0-16,-13 0 16,0 0-16,0-13 0,14 13 0,-1 0 15,0 0-15,0 0 0,27 0 0,-40-13 16,40 13-16,-13 0 15,12 0-15,1 0 0,0 0 0,0 0 16,-1 0-16,1 13 16,0-13-16,0 13 15</inkml:trace>
  <inkml:trace contextRef="#ctx0" brushRef="#br0" timeOffset="196199.12">24104 1601 0,'-40'13'0,"27"-13"16,-14 26-16,1-12 0,-27 52 31,40-53-31,13 0 0,0 0 16,0 1-16,0-1 0,13 0 0,0 0 15,13 1-15,1-1 0,-1 0 16,14-13-16,13 13 0,-13-13 0,13 14 16,0-14-16,-14 0 0,14 0 0,-13-14 15,-14 14-15</inkml:trace>
  <inkml:trace contextRef="#ctx0" brushRef="#br0" timeOffset="196877.98">23310 3757 0,'-40'0'0,"14"0"16,-1 0-16,1 0 0,-1 13 0,1-13 16,13 14-16,-14-14 0,14 13 0,0 0 15,-1-13-15,14 13 0,0 0 16,0 1-16,14 25 15,-1-25-15,13-1 0,1 13 0,-1-12 16,-12-1-16,-1 13 0,13-13 0,-13-13 16,1 14-16,-14-1 0,13 0 15,-13 0-15,0 1 16,-13-1-16,-1-13 0,1 13 0,-13-13 16,-1 13-16,14-13 0,-13 14 15,-1-14-15,1 0 0,-1 13 0,-12-13 16,25 0-16,1 0 0,0-13 15,0 13-15,-1-14 16,28 1-16</inkml:trace>
  <inkml:trace contextRef="#ctx0" brushRef="#br0" timeOffset="197214.03">23349 3903 0,'14'0'15,"-14"13"-15,0 0 16,0 0 0,13-13-16,-13 14 0,0-1 0,13 0 15,-13 0 1,13-13-16,-13 13 16,27-26 15,-27 0-16,13 13-15,-13-13 16,13 0 0,-13-1-1,14 14-15,-1 0 16,0 0 0,0 0-16,0 0 15,1 14-15,12-14 0,-13 0 16,1 0-16</inkml:trace>
  <inkml:trace contextRef="#ctx0" brushRef="#br0" timeOffset="197629.11">23588 4247 0,'79'-27'32,"-53"27"-32,1-13 0,-1 13 15,1 0-15,-1-13 0,14 13 16,-14 0-16,1 0 0,13-14 0,-14 14 15,0 0-15,1 0 0,-14 0 0,14 0 16,-14 0-16,13 0 0,-12 0 16</inkml:trace>
  <inkml:trace contextRef="#ctx0" brushRef="#br0" timeOffset="198038.96">24249 4458 0,'0'0'16,"0"-26"0,0 13-1,0-1-15,0 1 16,0 0-1,13 13-15,1 13 16,-1-13 0,0 13-16,0 1 15,0-14-15,-13 13 16,14-13-16,-1 0 0,0 0 16,0 0-16,1 0 15,-1 0-15,-13-13 0,13 13 0,0-14 16,1 1-16,-14 0 0,13 13 15,-13-13-15,0-1 0,13 14 16,-13-13-16,13 0 16</inkml:trace>
  <inkml:trace contextRef="#ctx0" brushRef="#br0" timeOffset="198261.01">24593 4339 0,'13'-13'0,"-26"26"0,39-26 16,-12 13-16,-1-13 15,0 13-15,0 0 0,1 0 16,-14 13-16,13-13 16,0 0-16,-13 13 0,0 0 15,0 1 1,0-1-1,0 0-15,0 0 16</inkml:trace>
  <inkml:trace contextRef="#ctx0" brushRef="#br0" timeOffset="198450.04">24130 4313 0,'0'0'0,"-53"26"0,27-13 16,12 1-1,1-1-15,13 0 0,-13 0 0,13 14 16,0-14-16,0 0 0,0 0 0,13 14 16,0-14-16,1 0 0,-1 1 0,13-14 15,1 13-15,-1-13 0</inkml:trace>
  <inkml:trace contextRef="#ctx0" brushRef="#br0" timeOffset="198678.88">24977 4128 0,'26'26'16,"-52"-52"-16,65 65 0,-39-26 0,14 1 0,-14-1 15,13 13-15,-13 1 0,0-1 16,-13 14-16,13 0 0,-27-1 0,1 14 16,-1 0-16,1-13 0,-14 13 0,0-14 15,-13 1-15,14 0 0,-1-1 16,-39 14-16,52-26 0,-12-14 16,12 0-16</inkml:trace>
</inkml:ink>
</file>

<file path=ppt/ink/ink18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1:59:16.972"/>
    </inkml:context>
    <inkml:brush xml:id="br0">
      <inkml:brushProperty name="width" value="0.05292" units="cm"/>
      <inkml:brushProperty name="height" value="0.05292" units="cm"/>
      <inkml:brushProperty name="color" value="#0070C0"/>
    </inkml:brush>
  </inkml:definitions>
  <inkml:trace contextRef="#ctx0" brushRef="#br0">6469 5900 0,'27'-13'47,"-14"0"-47,0 0 16,0-1-16,14 1 0,12-13 0,-12 12 15,13-12-15,-1-1 0,54-39 16,-54 40-16,14-1 0,0 1 15,-13-1-15,13 1 0,-13 13 0,-14-14 16,14 14-16,-1 0 0,-12-14 16,-1 14-16,-12 13 0,12-13 0,-13 0 15,0 13-15,1-13 0,-1 13 16,0-14-16,0 14 16,-13-13-16,-13 26 31,0-13-16,0 0-15,-14 14 0,1-14 16,13 13-16</inkml:trace>
  <inkml:trace contextRef="#ctx0" brushRef="#br0" timeOffset="532.84">6601 5609 0,'0'0'0,"0"-13"32,0 39-1,-13-26-31,0 27 16,13-14-16,-13 0 0,-1 1 15,14-1-15,-13 13 0,13-13 16,-13 1-16,0-1 0,13 0 0,-13 0 15,13 1-15,-14-1 0,1 0 16,13 0-16,0 1 16,-13-1-16,13 0 15,13-13-15,0 13 16,1-13-16,-1 0 16,26 13-16,-25-13 15,-1 0-15,0 0 0,14 0 0,-14 0 16,0 0-16,0 0 0,1 0 0,12 0 15,-13 0-15,0 0 16,1-13-16,-1 13 0,0 0 0,14 0 16,-14-13-16,13 13 0,1-13 0</inkml:trace>
  <inkml:trace contextRef="#ctx0" brushRef="#br0" timeOffset="1287.1">7871 5067 0,'-13'0'0,"13"-13"0,-13 13 16,13 26 0,0 0-16,0-12 15,0-1-15,0 13 0,13-12 16,-13 12-16,0-13 0,13 14 0,-13-14 16,0 13-16,0-12 0,0 12 15,0-13-15,14 1 0,-14-1 0,0 0 16,0 0-16,0 1 0,0-1 0,0 0 15,0 0 1,-14-39 15,14 13-15,0-1-16,-13 1 0,13-13 0,-13 12 16,13-12-16,-13 13 0,13-14 15,0 1-15,0-1 0,0 14 0,-14-13 16,28 12-16,-14-12 0,0 13 15,0-1-15,13-12 0,-13 13 0,13 0 16,14-14-16,-14 27 0,-13-13 16,13 13-16,0 0 0,1 0 15,-1 13-15,-13 0 0,13-13 16,-13 14-16,0-1 0,0 0 16,0 0-16,0 0 0,0 14 0,-13-14 15,13 0-15,-13 14 0,-1-14 16,1 0-16,0 14 0,13-14 0,-13-13 0,-1 13 15,1 0-15,13 1 0,-13-14 0,13 13 16,-13-13-16,13 13 16,0 0-1,13-13-15</inkml:trace>
  <inkml:trace contextRef="#ctx0" brushRef="#br0" timeOffset="1715.89">8136 5424 0,'40'-53'15,"-27"53"1,-13-13-16,0 0 0,0-1 16,0 1-16,13 0 0,-13 0 15,-13-1-15,13 1 0,0 0 16,-13 0-16,-1 0 16,1 13-16,0 13 15,0 0 1,13 0-16,-14 0 0,14 1 15,0-1-15,0 0 0,0 0 16,0 1-16,0-1 0,14 0 0,-1 0 16,0 1-16,0-14 15,1 0-15,-1 0 16,0 0-16,0-14 0,14 14 16,-14 0-16,0-13 0,0 13 0,14-13 0,-14 13 15,14-13-15,-14-1 16</inkml:trace>
  <inkml:trace contextRef="#ctx0" brushRef="#br0" timeOffset="2099.66">8520 5186 0,'-40'-13'15,"27"13"-15,-1 13 0,1-13 16,0 13-16,0 0 15,0 1-15,13-1 16,-14 0-16,14 0 0,0 0 16,-13 1-16,26-1 0,-13 0 15,14-13 1,-1 13-16,0-26 16,0 0-16,0 13 15,1-13-15,-1-1 0,-13 1 16,13 0-16,-13 0 15,13 13-15,-13-13 0,14 13 16,-1 13 0,-13 0-16,0 0 15,0 14 1,13-27-16,-13 13 0,0 0 16,13 0-16,-13 1 0,13-14 15,1 0 1,-1 0-1</inkml:trace>
  <inkml:trace contextRef="#ctx0" brushRef="#br0" timeOffset="2381.83">8718 4882 0,'0'-14'0,"0"1"31,0 53-15,0-27-16,0 0 0,0 40 15,13-13-15,-13 0 0,0-14 16,0 0-16,0 14 0,0-13 0,0-1 16,0 1-16,-13-1 0,13-13 0,0 14 15,0-14-15,0 0 0,0 0 0,0 1 16,0-1-16,0 0 15,13-26 1,0 0-16</inkml:trace>
  <inkml:trace contextRef="#ctx0" brushRef="#br0" timeOffset="2670.92">8956 5040 0,'-40'0'31,"40"14"-31,-13-1 0,0-13 16,0 13-16,0 13 0,-14-12 0,14-1 15,13 0-15,-13 0 0,-1 1 0,14-1 16,-13 0-16,13 0 0,-13 1 16,13-1-16,0 0 0,0 0 15,13 0-15,0 1 16,1-14-1,-1 0-15,-13 13 0,13-13 0,0 0 16,1 0-16,-1-13 0,0 13 16,0 0-16,0-14 0,1 14 0,-1-13 15,0 13-15,0 0 0,1-13 16,12 13-16</inkml:trace>
  <inkml:trace contextRef="#ctx0" brushRef="#br0" timeOffset="4150.71">9128 5305 0,'27'-27'0,"-54"54"0,54-67 15,-14 40-15,0-13 16,-13 0-16,13 0 0,-13-1 16,0 1-16,0 0 0,0 0 15,-13-1 1,0 14 0,0 14-16,-1-1 15,1 0-15,13 0 0,-13-13 16,13 27-16,0-14 15,0 0-15,0 0 16,13-13-16,0 14 0,1-14 16,-1 0-16,0-14 15,14 14-15,-14 0 0,13-13 0,-13 0 16,14 13-16,-14-13 0,14 0 0,-14-1 16,0 14-16,-13-13 0,13 13 0,0-13 15,1 0-15,-1 13 16,-40 13 15,27 0-31,-13 0 16,13 1-16,-13-1 0,13 0 15,0 0-15,-13 0 0,13 1 16,13-1-16,0-13 16,14 0-1,-14-13-15,0 13 16,-13-14-16,13 1 0,1 0 15,-1-13-15,-13 12 0,13-12 0,-13-1 16,13 14-16,-13-13 0,0-1 16,14 1-16,-14-1 0,0 1 0,0-1 15,0 1-15,13 13 0,-13-1 16,0 1-16,0 0 0,0 0 16,-13 39-1,-1-13 1,14 14-16,0-14 0,0 14 15,-13 12-15,13-12 0,0 12 16,0-25-16,0 12 0,13-13 16,-13 1-16,0-1 0,0 0 0,14 0 15,-14 1 1,0-1-16,13-13 16,0 0-1,0-13 1,0-1-16,1 1 15,-1 13 1,0 0-16,0 0 16,1 13-1,-1 1 1,-13-1-16,13-13 16,-13 13-1,13-26 16,1 13-31,-1-13 16,0 13 0,-13-14-16,13 14 15,0 0 1,1 0 0,-1 0-16,-13-13 0,13 13 15,-13-13-15,13 13 0,-13-13 16,14-1-16,-14 1 15,0 0 1,0 0 0,-14 39 15,1-26-31,13 13 16,0 1-16,0-1 15,0 0-15,13 0 16,1 1-1,-1-14 1,0 0-16,0-14 0,0 14 16,1 0-16,-1-13 15,0 13-15,0 0 32,-13-13-32,14 26 31,-1-13-16,0 13 1,0-13-16,1 0 16,-1 0-1,-13 14 1,13-14-16,0 0 0,0 13 16,1-13-16,-14 13 15,13-13-15,-13 13 16,-13 0-1,-1-13 1,14 14-16,-13-14 16,0 0-16,0 0 0,0 0 15,-1 0-15</inkml:trace>
  <inkml:trace contextRef="#ctx0" brushRef="#br0" timeOffset="5279.92">6601 9790 0,'-39'13'15,"39"0"-15,-14 0 16,1 0-16,0 1 0,-13 12 16,12 1-16,-12 12 0,-1-12 0,14-1 15,-13 1-15,-1-1 0,14 1 16,-13-1-16,-1 1 0,14-1 0,-14 0 15,14-12-15,13-1 0,-13 0 0,0-13 16,-1 13-16,14 1 0,-13-14 16</inkml:trace>
  <inkml:trace contextRef="#ctx0" brushRef="#br0" timeOffset="5616.01">6337 9842 0,'0'-13'31,"13"13"-31,0 0 16,0 0-16,1 0 15,-1-13-15,0 13 0,14 0 0,-14 0 16,13 0-16,-12 0 0,12 0 0,-13-13 16,0 13-16,1 0 0,-1 13 15,13-13-15,-12 0 0,-1 0 16,0 13-16,0-13 0,-13 13 16,14-13-16,-14 14 0,13-1 0,-13 0 15,0 0 1,0 1-16,0-1 0,0 0 15,0 0-15,0 1 0,-13-1 0,13 0 16</inkml:trace>
  <inkml:trace contextRef="#ctx0" brushRef="#br0" timeOffset="6484.05">5596 10623 0,'-13'-13'31,"-1"26"-31,14 0 0,0 0 16,0 14-16,0 13 0,0-1 16,0 1-16,0 13 0,14 0 0,-14-13 15,0 12-15,13-12 0,-13 0 0,0-1 16,13 1-16,-13 0 0,0-27 15,13 14-15,-13-14 0,0 13 0,0-13 16,0 1-16,0-1 0,-13 0 16,13 0-16,-13-13 15,0 0-15,-1 0 16,1 0-16,0-13 0,0 13 0,0 0 16,13-13-16,-14 13 0,1-13 15,0-1-15,13 1 16,0 0-16,0 0 15,13 0-15,-13-1 0,13-12 16,1 13-16,-1-14 0,0-13 16,0 14-16,0-14 0,1 14 0,-1-14 15,-13 1-15,13-1 0,0 13 0,1 1 16,-14-1-16,13 14 0,-13 0 16,0 0-16,13 0 0,-13-1 0,0 1 15,13 26 1,-13 1-1,0-1-15,14 0 0,-14 0 16,0 14-16,0-14 0,0 13 16,0 1-16,13-1 0,-13-12 0,0 12 0,0-13 15,13 14-15,-13-14 0,0 13 16,13-12-16,-13-1 0,13 0 16,-13 0-16,0 0 0,14-13 15,-14 14-15,13-14 0,13 0 31,-12-14-31</inkml:trace>
  <inkml:trace contextRef="#ctx0" brushRef="#br0" timeOffset="8066.76">5953 10901 0,'-53'-13'31,"53"26"-16,-13-13-15,0 13 0,0-13 0,13 13 16,-14 1-16,1-1 0,13 0 0,-13 0 16,13 0-16,-13 1 0,13-1 15,0 0-15,0 0 0,13 1 16,0-14-16,-13 13 16,27-13-16,-27-13 15,13 13-15,0 0 0,0-14 16,-13 1-16,13 0 0,1 0 15,-14-1-15,13 1 0,-13 0 16,13 0 0,-13 39-1,0-13 1,13 1 0,-13-1-16,14-13 15,-1 0-15,0 0 16,0 0-16,0 0 0,1-13 0,-1 13 15,-13-14-15,13 14 0,-13-26 16,13 13-16,1 0 0,-14-14 0,0 1 16,13 12-16,-13-12 0,0-1 0,0 1 15,0 0-15,0 12 0,0 1 0,0 0 16,0 0-16,0-1 16,0 1-16,0 0 0,0 53 31,0-27-31,0 0 0,13 0 15,-13 14-15,0-14 0,13 13 0,1-12 16,-14 12-16,13-13 0,0 1 0,-13-1 16,13 0-16,-13 0 0,13-13 0,-13 14 15,0-1 1,-13-13 0,-13-13-1,13 13-15,-1 0 16,1 0-16,0-14 15,0 14-15,-1 0 16,14-13 0,0 0-1,14 13-15,-14-13 0,13 13 16,-13-14-16,13 14 0,0-13 0,1 13 16,-14-13-16,13 13 0,0 0 15,-13-13-15,13 13 16,0 0-16,1 0 0,-1 0 15,0 13-15,0-13 0,1 13 16,-1-13-16,0 13 0,0-13 16,-13 14-16,14-1 0,-1-13 15,-13 13-15,13 0 0,0-13 0,-13 14 16,13-14-16,-13 13 0,14 0 31,-1-26-15,-13 0-1,0-1-15,0 1 0,13 13 0,-13-13 16,13 13-16,-13-13 0,14-1 16,-1 14-16,0 0 15,0 0 1,-13 14-16,14-14 0,-1 13 16,0-13-16,0 0 15,-13 13-15,13-13 0,1 0 16,-1 0-16,0 0 15,0 0-15,1-13 16,-1 0-16,0 13 0,-13-14 16,0 1-16,13 0 0,-13 0 15,0-1-15,14 1 16,-14 0-16,-14 39 47,14-12-32,0-1 1,0 0-16,14-13 16,-14 13-16,13-13 15,0-13-15,0 13 16,0 0-16,1-13 16,-1 13-16,0-13 0,0-1 15,1 14 1,-1 0-1,-13 14 1,13-14 0,0 0-1,0 0 1,1 0 0,-1 0-16,0 0 0,0 0 15,1 0-15,-1 0 0,0 13 16,0-13-16,1 13 15,-14 0-15,13-13 16,-13 14-16,0-1 16,-13 0-1,-1 0-15,1 1 16,0-1 0,0-13-16,13 13 0,-14-13 15</inkml:trace>
  <inkml:trace contextRef="#ctx0" brushRef="#br0" timeOffset="8963.81">6628 11284 0,'0'0'15,"-13"0"1,-1 14-16,14-1 0,0 0 16,-13 0-16,13 1 0,-13-1 15,13 13-15,0-12 0,-13-1 0,13 0 16,0 0-16,13 14 15,-13-14-15,13 0 0,-13 0 0,13-13 16,-13 14-16,14-14 0,-1 0 16,13-14-16,-12 1 15,-1 13-15,-13-13 0,0 0 16,13-1-16,-13 1 0,0 0 16,-13 13-16,13-13 0,0 0 15,-13 13-15,-1-14 0,1 1 16,0 13-1,0 0 1,39 13 0,-13 1-16,1-1 15,-1-13-15,0 13 0,13 13 0,-12-12 16,-1-1-16,0 0 0,-13 14 16,13-14-16,1 13 0,-14-12 0,0 12 15,0-13-15,0 0 0,13 1 0,-13-1 16,0 0-16,0-39 47,0-1-47,13 1 0,-13-14 0,26-26 15,-12 39-15,-1 1 0,0 13 16,0-14-16,1 14 0,-1 0 16,0 13-16,-13 13 15,13 0-15,-13 1 16,-13 12-16</inkml:trace>
  <inkml:trace contextRef="#ctx0" brushRef="#br0" timeOffset="9299.76">6376 12197 0,'0'-13'16,"0"40"-1,0-14-15,0 0 16,0 13-16,14-12 0,-14 12 15,0 1-15,13-1 0,-13 0 0,0 1 0,13-14 16,-13 14-16,0-14 0,13 13 16,-13-12-16,0-1 0,0 0 15,0 0-15,0 0 0,0 1 0,14-14 16,-14 13-16</inkml:trace>
  <inkml:trace contextRef="#ctx0" brushRef="#br0" timeOffset="9838.71">6522 12197 0,'-13'-26'16,"26"52"-16,-26-65 0,13 65 47,0-13-32,0 1-15,0-1 0,0 13 0,0-13 16,0 1-16,0 12 0,0-13 15,0 1-15,0-1 0,0 0 0,0 0 16,0 0-16,0 1 0,0-1 0,0 0 16,0 0-16,0 1 15,0-1 1,0 0 0,0 0-1,0 1 1,-13-14-16,13 13 15,-14-13 1,28-27 15,-1 14-15,0 13-16,-13-13 0,13 13 16,0-13-16,1 13 0,12 0 15,1 0 1,-14 13-1,0-13-15,0 13 0,1-13 16,-1 13-16,0-13 16,0 0-1,0 14-15,1-14 0,-1-14 16,0 14-16,-13-13 16,13 0-16,-13 0 15,0-1-15,0 1 16</inkml:trace>
  <inkml:trace contextRef="#ctx0" brushRef="#br0" timeOffset="10043.95">6204 12435 0,'-13'0'15,"40"-13"1,-14 0-16,0 13 0,14-13 15,12-1-15,-12-12 0,12 13 0,-12 0 16,13-1-16,-14 14 0,1-13 0,-1 13 16,-13-13-16,14 13 0,-1 0 15,-13 0-15,1 0 0,12 13 0,-13-13 16,1 13-16</inkml:trace>
  <inkml:trace contextRef="#ctx0" brushRef="#br0" timeOffset="10309.54">6839 12435 0,'0'-26'16,"-13"-14"-1,13 27-15,-13 0 16,0 13-16,13-13 16,-13 26-16,-1-13 0,14 13 15,-13 0-15,13 0 0,0 1 16,0-1-16,0 13 0,0-12 0,0-1 15,0 0-15,13 0 0,1 1 0,-14-1 16,26 0-16,-13-13 0,14 13 16,-14-13-16,13 0 0,1 0 15,13 0-15,-1-13 0,1 13 0,13-13 16,-13 0-16,-1-1 0,1 1 0,-14 0 16</inkml:trace>
  <inkml:trace contextRef="#ctx0" brushRef="#br0" timeOffset="11382.07">7448 12131 0,'-40'13'31,"40"1"-31,-13-14 0,13 13 16,0 0-16,-13 0 0,13 27 16,0-27-16,0 0 0,0 1 15,0 12-15,0-13 0,13 1 0,-13-1 16,13 13-16,-13-13 0,14-13 0,-1 14 16,0-1-16,0 0 0,0-13 15,1 0-15,-1 0 16,0 0-16,0-13 15,1 13-15,-1 0 16,-13-13-16,13 13 0,-13-14 16,13 1-1,1 0-15,-14 0 16,13 13-16,-13-13 16,0-1-16,13 14 15,-13-13 1,13 0-1,-13 0 17,-13 13 202,0-14-234,13 1 16,0 0-16,-13-27 15,-1 27-15,1-27 0,0 1 0,0 12 16,-1-12-16,1-1 0,0 0 0,0 14 16,-1-1-16,1-12 15,0 25-15,0 1 0,13 0 16,0 39-1,0-12 1,0-1-16,0 13 0,13-13 0,-13 27 16,13 0-16,0-14 0,1 14 0,-1 0 15,13 26-15,-12-26 0,-1-14 16,0 14-16,0-27 0,1 13 16,-14-12-16,13-1 0,0 13 0,-13-13 15,13-13-15,-13 14 0,13-1 0,1-13 16,-1 13-16,0-26 15,0 13-15,1-13 16,-1-1-16,13 1 0,-12 0 16,-1 0-16</inkml:trace>
  <inkml:trace contextRef="#ctx0" brushRef="#br0" timeOffset="11915.92">7885 12184 0,'0'-26'0,"0"52"0,-14-66 16,1 27-1,0 13 1,0 0-16,-1 13 15,1-13-15,0 14 0,0-1 16,13 0-16,-13-13 16,13 13-16,0 1 0,0-1 0,-14 0 15,28 0-15,-1-13 32,0 0-32,0 0 0,0 0 15,1-13-15,-1 13 16,0-13-16,14 13 15,-14 0 1,0 0 0,0 13-16,1-13 15,-1 0-15,0 0 16,-13-13-16,13 13 0,0 0 16,1-13-16,-1-1 0,-13 1 0,13 0 15,0 0-15,-13-1 0,0 1 16,14 0-16,-14-14 0,0 14 0,0-40 15,0 27-15,0-1 16,0 1-16,-14 13 0,14-14 0,0 14 16,0 0-16,0 0 0,0-1 15,-13 14-15,13-13 0,13 40 32,-13-14-32,14 0 0,-14 13 0,13-12 15,0 12-15,0 1 0,14-1 16,-14-13-16,0 14 0,0-14 0,1 0 15,-1 14-15,0-14 16,0 0-16,1 0 0,-1 1 16,-13-1-16</inkml:trace>
  <inkml:trace contextRef="#ctx0" brushRef="#br0" timeOffset="12389.75">8004 12091 0,'-14'-13'16,"28"0"-1,-1 0 1,0 13-16,0-13 0,1 13 0,-1-14 16,40-12-16,-40 26 15,27-27-15,-14 14 0,1 0 0,-1 0 16,-13 13-16,14-14 0,-14 1 15,0 0-15,0 13 0,1-13 0,-1 13 16,0 0-16,-13-13 16,13 26-1,-26 0-15,13 0 0,0 0 16,-13 1-16,13-1 0,-13 0 0,13 0 16,0 1-16,0-1 0,-14-13 15,14 13-15,0 0 0,14 1 16,39-28-1,-40 1 1,0 13-16,0-13 0,0 0 16,1-1-16,-1 1 0,0 13 15,-13-13-15,13 13 0,1 0 16,-1 0-16,-13 13 0,13-13 16,-13 13-16,13-13 0,0 14 0,1-1 15,-14 0-15,13-13 0,-13 13 16,13-13-16,0 14 0,1-14 15,-1 0 1,0-14 0</inkml:trace>
  <inkml:trace contextRef="#ctx0" brushRef="#br0" timeOffset="13650.9">8162 5569 0,'67'-13'31,"-28"0"-31,27 0 0,67-14 15,-67 14-15,13 0 16,-13 0-16,14-1 0,-1 1 0,0 0 16,1 0-16,-1 0 0,1 13 0,-14-14 15,13 1-15,-13 13 0,0-13 16,-13 13-16,0-13 0,0 13 0,-13-14 16,0 14-16,-14 0 0,0 0 15,1 0-15,-14 0 0,0 0 0,1 0 16,-1 0-16,-13 14 15,-27-14 1,14 13-16,-13 0 0,-14 0 0,0 1 16,1-1-16,-14 0 0,-13 13 0,-1-12 15</inkml:trace>
  <inkml:trace contextRef="#ctx0" brushRef="#br0" timeOffset="14155.16">8612 5675 0,'-79'27'0,"52"-27"0,1 0 16,-1 13-16,14-13 0,0 0 15,0 0-15,39-13 16,1 13 0,26-13-16,-1-1 0,15 1 0,-1 0 15,0-14-15,13 14 0,1 0 0,-14 0 16,13-1-16,1 1 0,-14 0 16,53 0-16,-66 0 0,0 13 15,0 0-15,-14-14 0,-12 14 0,-1 0 16,1 0-16,12-13 0,-12 13 15,-14 0-15,0 0 0,0 0 16,1 0-16,12 0 16,-13 0-16,1 0 15,-1 0 1,0 0 0,0 0-1,0 0 48,-39-13 46,13 13-93,0-13-16,-1 13 0,1 0 0,0-14 15</inkml:trace>
  <inkml:trace contextRef="#ctx0" brushRef="#br0" timeOffset="15395.85">5702 11284 0,'172'-26'32,"-119"13"-17,13 0-15,0-1 0,0 1 16,0 0-16,0 0 0,1-1 0,-15 1 16,1 0-16,0 13 0,-13-13 0,0-1 15,-1 14-15,-25-13 0,12 13 16,-13-13-16,14 13 0,-14 0 0,0 0 15,0 0-15,-39 0 32,0 13-32,12-13 0,-25 13 15</inkml:trace>
  <inkml:trace contextRef="#ctx0" brushRef="#br0" timeOffset="15775.79">5543 11417 0,'-13'0'16,"39"-13"0,1 13-16,26-27 15,-14 14-15,14 0 0,0-1 16,13 1-16,-13 0 0,13-14 16,0 14-16,-13 0 0,14 0 0,-15 0 15,-12 13-15,13-14 0,-13 1 16,-1 13-16,-12-13 0,-1 13 0,1 0 15,-14-13-15,14 13 0,-14 0 16,0 0-16,0 0 0,0 0 16,1-14-16,-1 14 0,0 0 15,0 0 1,1 0 0,-14-13 15,13 13 0</inkml:trace>
  <inkml:trace contextRef="#ctx0" brushRef="#br0" timeOffset="195583.53">3162 10755 0,'13'0'31,"-26"-26"0,0 26-31,-1-13 16,1 13-16,0 0 0,0-14 15,-14 14-15,1 0 0,-1 0 16,-12 0-16,-1 0 0,-13 0 16,0 0-16,-13 14 0,0-1 0,0 0 15,-1 0-15,1 1 0,0-1 0,-13 13 16,13-13-16,-1 14 0,1-14 16,13 14-16,1-1 0,-15-13 0,28 14 15,-1-1-15,0-13 0,14 14 0,-1-1 16,1-12-16,13 12 0,-1-13 15,1 0-15,0 1 0,13-1 0,0 0 16,0 0-16,13 1 0,0-1 0,1 0 16,25 0-16,1-13 0,13 0 15,13 0-15,0 0 0,14 0 16,-1-13-16,14 0 0,-14 0 0,40-14 16,-40 14-16,14 0 0,13-27 0,-40 27 15,13-14-15,-12 1 0,-1 13 16,-13-14-16,0 1 0,-14 13 0,27-27 15,-39 27-15,-14-1 0,-13-12 16,13 13-16,-13-1 0,-13 1 16,13 0-16,-13 0 0,-14 0 0,1-1 15,-27 14-15,13-13 0,-13 13 0,-13 0 16,0 0-16,-13 0 0,-1 13 16,14 1-16,0-14 0,0 13 15,26 0-15,-13 0 0,27 0 0,-1 1 0</inkml:trace>
  <inkml:trace contextRef="#ctx0" brushRef="#br0" timeOffset="196730.37">10398 11007 0,'0'0'15,"0"-14"-15,0 1 0,-53-40 31,40 40-31,-13 0 0,-14 0 16,13-1-16,-12 14 0,-14-13 16,13 13-16,-13-13 0,0 13 0,14 0 15,-14 13-15,13-13 0,-13 13 0,13 1 16,1-1-16,-1 0 0,14 0 16,-14 14-16,13-14 0,1 13 0,13 1 15,-1-14-15,1 14 0,13-1 16,0 0-16,0 1 0,0-14 0,27 67 15,-1-54-15,-13 14 0,67 26 16,-41-26-16,1-14 16,13 0-16,0 1 0,0-1 0,0-12 15,-14 12-15,14-13 0,-13-13 0,13 14 16,0-14-16,0 13 0,-13-13 16,12 0-16,1 0 0,-13 0 0,0 0 15,13-13-15,-14 13 0,1-14 0,-14 1 16,14 0-16,0 0 0,-14-1 0,1 1 15,-1 0-15,-13-14 16,1 14-16,-1 0 0,0-13 0,0 12 16,-13 1-16,0-13 0,0 12 0,-13-12 15,0-1-15,-14 1 0,1 0 16,-14-14-16,-13 27 0,0-14 0,1 1 16,-15 12-16,15-12 0,-15 13 15,1 0-15,0-1 0,13 1 0,0 13 16,0-13-16,0 13 0,14-13 0,-14 13 15,13 0-15</inkml:trace>
  <inkml:trace contextRef="#ctx0" brushRef="#br0" timeOffset="202968.25">9062 6959 0,'66'-14'94,"27"-12"-78,13 13-16,-1 13 15,1 0 1,53 0-16,-27 0 15,53 0-15,-65 13 16,25 13-16,-39 1 0,-40-14 16,-66 0-16</inkml:trace>
  <inkml:trace contextRef="#ctx0" brushRef="#br0" timeOffset="204998.26">9221 7713 0,'26'0'157,"54"0"-157,39 0 15,92 0-15,-39 13 16,93 13-16,-67-26 15,-12 0-15,12 0 16,-92 0-16,0 0 16,-40 0-1,-27-13-15,-25 13 0,-1 0 16</inkml:trace>
  <inkml:trace contextRef="#ctx0" brushRef="#br0" timeOffset="206326.23">886 10253 0,'14'0'78,"12"0"-78,14 0 16,13 0-16,39 0 15,41 0-15,25 13 16,133-13-16,-66 0 16,-40 0-16,-39 0 15,-53 0-15,-54 0 16</inkml:trace>
  <inkml:trace contextRef="#ctx0" brushRef="#br0" timeOffset="208629.06">9644 10239 0,'13'0'203,"93"0"-203,0 0 15,0 0-15,0 0 16,26 0-16,80 0 16,-54 0-16,28 0 15,-28 0-15,-25 0 16,-14 0-1,-53 0-15,-40 0 16</inkml:trace>
</inkml:ink>
</file>

<file path=ppt/ink/ink18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2:02:59.555"/>
    </inkml:context>
    <inkml:brush xml:id="br0">
      <inkml:brushProperty name="width" value="0.05292" units="cm"/>
      <inkml:brushProperty name="height" value="0.05292" units="cm"/>
      <inkml:brushProperty name="color" value="#0070C0"/>
    </inkml:brush>
  </inkml:definitions>
  <inkml:trace contextRef="#ctx0" brushRef="#br0">10729 1177 0,'53'0'141,"79"0"-141,0 0 16,54 14-16,52-1 15,53-13-15,66 0 16,40 0-16,-27 0 15,-13 0-15,-132 0 16,-40 0-16,-39 0 16,-27 0-16,-79 0 15,-27 0-15,13 0 16,-26-13-16</inkml:trace>
  <inkml:trace contextRef="#ctx0" brushRef="#br0" timeOffset="6680.54">17185 503 0,'13'-14'0,"-26"54"47,13-27-47,0 14 0,-14-1 0,14 14 16,-13 0-16,0-1 0,13 1 0,-13 0 15,0-14-15,13 14 0,-14 0 16,14-14-16,-13 0 0,13-12 0,-13 12 15,13 1-15,0-14 0,-13 0 0,13 0 16,0 1-16,0-1 16,0 0-16</inkml:trace>
  <inkml:trace contextRef="#ctx0" brushRef="#br0" timeOffset="6900.58">17449 529 0,'0'0'16,"0"-13"-16,0 0 0,0 52 31,0-12-31,0-1 0,0 14 16,-13 0-16,13-14 0,0 14 16,-13 0-16,13-14 0,0 0 0,0 1 0,0-1 15,0 1-15,0-1 16,0-13-16,0 14 0,0-14 0,0 14 15,0-14-15,0 0 0</inkml:trace>
  <inkml:trace contextRef="#ctx0" brushRef="#br0" timeOffset="7119.59">17158 939 0,'27'0'31,"-14"0"-31,0 0 16,0 0-16,14 0 0,-14 0 0,14 0 16,-1 0-16,-13-13 0,14 13 0,-1 0 15,1 0-15</inkml:trace>
  <inkml:trace contextRef="#ctx0" brushRef="#br0" timeOffset="7272.55">17634 860 0,'0'0'16,"14"0"-16,-1 0 16,0 13-16,-13 0 15,13 1-15,-13-1 16,0 0 0,0 0-16,0 0 0,14-13 0,-14 14 15,0-1-15,0 0 0,0 14 16,0-14-16,0 0 15</inkml:trace>
  <inkml:trace contextRef="#ctx0" brushRef="#br0" timeOffset="7432.56">17674 754 0,'0'-13'15,"0"39"17,0-12-32</inkml:trace>
  <inkml:trace contextRef="#ctx0" brushRef="#br0" timeOffset="8047.44">17912 833 0,'-53'-13'31,"40"13"-15,13 13-16,0 1 15,0-1-15,0 0 0,0 0 16,13 1-16,-13-1 0,0 0 0,14 0 15,-14 0-15,0 1 0,0-1 16,-14 27-16,14-27 0,-13 13 16,0-12-16,0-1 0,-1 13 0,1-26 15,0 13-15,0 1 0,0-14 16,-1 13-16,1-13 0,0 0 16,0 13-16,-1-13 15,41-26 16,-14 26-31,0-14 0,14-12 16,-1 13-16,1-14 0,-1 14 0,-13-13 16,14-1-16,-1 1 0,-12 12 15,12-12-15,-13-14 0,0 14 0,1-1 16,-1 14-16,-13-13 0,13 13 0,-13-1 16,13 1-16,-13 0 0,0 0 15,14-1-15,-14 1 16,0 40-1,0-14 1,0 0-16,0 14 0,0-14 16,-14 0-16,14 13 0,0-12 0,14-1 15,-14 0-15,0 27 0,0-27 16,0 0-16,13 0 0,0 1 16,-13-1-16,13 0 15,-13 0-15,14-13 16,-14 14-16,13-14 0,0 13 15,0-26 1</inkml:trace>
  <inkml:trace contextRef="#ctx0" brushRef="#br0" timeOffset="8304.75">18719 582 0,'0'-13'0,"13"39"32,-13 1-32,0-14 0,-13 13 0,13 1 15,0 13-15,-13-14 16,0 14-16,13-14 0,-13 1 0,13-1 15,-14-13-15,1 14 0,13-14 0,-13 13 0,0-12 16,13-1-16</inkml:trace>
  <inkml:trace contextRef="#ctx0" brushRef="#br0" timeOffset="8562.95">19010 675 0,'-26'-14'0,"52"28"0,-65-28 0,25 14 16,1 0-16,-13 0 0,12 14 15,-12-14-15,13 13 0,-14 0 0,1 0 16,13 1-16,-1-14 0,1 13 0,0 0 16,0 0-16,-1 1 0,14-1 0,0 0 15,-13 0-15,13 0 0,0 1 16,13-14-16,-13 13 0,0 0 15,14-13-15,-1 13 0,13 1 16,-12-14-16,12 0 0,1 0 16,-14 13-16,13-13 0,1-13 0,-1 13 15</inkml:trace>
  <inkml:trace contextRef="#ctx0" brushRef="#br0" timeOffset="8961.37">19182 847 0,'-26'0'63,"26"13"-48,0 0 1,13 0 0,0-13-16,1 0 15,12-13-15,-13 13 16,0 0-16,14-13 15,-14 13-15,0 0 16,1 0-16,-1 0 16,-13 13-16,13-13 15,-13 13-15,0 1 16,0-1 0,13 0-1,-13 0 1,14-26 31,-14 0-47,13 13 15,0-13 1</inkml:trace>
  <inkml:trace contextRef="#ctx0" brushRef="#br0" timeOffset="9660.46">19672 569 0,'0'26'32,"0"-12"-32,0 12 0,0-13 15,0 14-15,-13-14 0,13 13 16,0 1-16,0-1 0,-14 1 15,14-1-15,0-13 0,0 14 0,-13-14 16,13 14-16,-13-14 0,13 0 0,-13 0 16,-1 0-16,1-13 15,0 0-15,0 0 16,-1 0 0,14-13-1,14 13-15,-14-13 16,13 0-16,0 13 0,0-13 0,1-1 15,-1 1-15,13 0 0,-12 13 16,25-27-16,-26 27 0,1-13 16,-1 13-16,-13-13 0,13 13 0,0 0 15,1 0 1,-14 13-16,13-13 16,-13 13-16,0 1 0,13-14 15,-13 13-15,13-13 0,-13 13 16,14 0-16,-1-13 0,0 14 15,0-14-15,0 0 0,1 0 16,12 0-16,-13-14 16,1 14-1,-14-13-15,0 0 0,0 0 16,0-1-16,0 1 0,-14 13 16,14-13-16,-13 13 0,0-13 15,0 13-15,-1 0 0,-12 0 16,26 13-16,-13-13 0,0 0 15</inkml:trace>
  <inkml:trace contextRef="#ctx0" brushRef="#br0" timeOffset="10064.54">19963 807 0,'26'0'15,"-13"0"-15,1 13 16,-1 0-16,-13 1 15,13-1-15,0-13 0,1 26 16,-14-12-16,13-1 0,-13 0 0,13 0 16,-13 0-16,13-13 0,-13 14 15,0-1-15,0 0 0,0 0 0,-13-13 16,13 14-16,-13-1 0,0 0 16,-1-13-16,1 0 15,0 0-15,0 0 16,-1-26-1,28 26-15,-14-14 0,13 1 0,-13 0 16,26 0-16,-12-1 0,-1 14 16,0-13-16,0-13 0,14 26 0,-14-13 15,0-1-15,0 14 0,-13-13 16,14 13-16,-1-13 0,0 13 16,0 0-16,-13 13 15,14-13 1,-14 13-16,0 1 0,0-1 15,-14 0-15,14 0 0,-13 0 16,0 1 0</inkml:trace>
  <inkml:trace contextRef="#ctx0" brushRef="#br0" timeOffset="10193.83">20280 820 0,'0'-13'16</inkml:trace>
  <inkml:trace contextRef="#ctx0" brushRef="#br0" timeOffset="10359.5">20452 926 0,'-13'26'15,"13"1"1,0-14-16,0 0 16,0 1-16,-13-1 15,13 0-15,-13-13 16,-1 13-16,1-13 0,0 14 16,0-14-16</inkml:trace>
  <inkml:trace contextRef="#ctx0" brushRef="#br0" timeOffset="10609.94">18455 1177 0,'0'14'0,"0"-28"0,26 28 15,1-14-15,12 0 0,14 0 0,13 0 16,14 0-16,12 0 0,-12 0 15,12 0-15,1 0 0,0 0 16,-14 13-16,14-13 0,-14 0 0,0 0 16,1 13-16,-27-13 0,-1 0 0,1 13 15,-26-13-15,-1 0 0,14 14 16,-27-14-16</inkml:trace>
  <inkml:trace contextRef="#ctx0" brushRef="#br0" timeOffset="10816.32">18719 1270 0,'-13'0'0,"26"0"0,0 13 16,40-13-16,0 0 16,13 13-16,80-13 0,-67 14 15,1-14-15,-1 0 0,1 13 0,-1-13 16,-13 0-16,-13 0 0,0 0 15,0 0-15,-27 0 0,27 0 16,-40 0-16,1 0 0,-54-27 31</inkml:trace>
  <inkml:trace contextRef="#ctx0" brushRef="#br0" timeOffset="11984.6">14380 1124 0,'27'14'15,"-14"-14"-15,0 13 0,0-13 0,0 13 16,14-13-16,-14 13 0,14-13 15,12 0-15,-12 0 0,-1 0 0,14 0 16,13 0-16,-13 0 0,12 0 0,-12 0 16,0-13-16,-1 13 0,1-13 15,0 0-15,0 13 0,-14-14 16,0 1-16,1 0 0,-1 13 0,-12-13 16,12 0-16,-13-1 0,1 1 0,-1 0 15,13 0-15,-26-1 0,13 1 16,1-13-16,-1 12 0,0 1 15,-13-13-15,13 13 0,-13-1 0,0-12 16,14 13-16,-14-14 0,0 14 16,0-13-16,0 12 0,0-12 15,0 13-15,0-1 0,0-12 0,0-1 16,-14 14-16,14-13 0,-13-1 0,0 14 16,13-13-16,-27-1 0,14 1 15,0-1-15,0 14 0,0-13 0,-1-1 16,1 14-16,-13-14 0,12 1 0,1 13 15,0 0-15,-14-14 0,14 14 16,-13-14-16,-1 1 0,14 13 0,-13-1 16,12-12-16,-12 13 0,13 0 0,-14-1 15,1 1-15,-1-13 0,14 12 16,-27-12-16,14 26 0,0-13 16,12-1-16,-12 1 0,-1 26 0</inkml:trace>
  <inkml:trace contextRef="#ctx0" brushRef="#br0" timeOffset="13773.7">13785 26 0,'0'0'0,"-53"0"0,13 27 15,14-14-15,12 0 0,1 1 16,-13-1-16,13 0 0,-1 0 16,1 1-16,0-1 0,0 0 0,-1 0 15,14 0-15,-13 1 0,0-1 16,0 0-16,13 0 0,-13 1 0,13-1 16,-14 0-16,1-13 0,13 13 15,-13 1-15,13-1 0,-13 0 0,13 0 16,-14-13-16,14 13 0,-13 1 0,13-1 15,0 0-15,-13 0 0,13 1 16,-13-14-16,13 13 0,0 13 0,0-13 16,0 1-16,0-1 0,0 0 0,0 14 15,0-14-15,0 13 0,0-12 16,0 12-16,13 0 0,-13-12 16,0 12-16,13-13 0,-13 14 0,0-14 15,0 14-15,13-14 0,-13 0 0,0 13 16,14-12-16,-14 12 0,0-13 15,13 1-15,-13 12 0,0-13 0,13 0 16,-13 1-16,0-1 0,13 0 0,-13 14 16,14-14-16,-1 0 0,-13 0 0,13 14 15,0-14-15,0 13 0,1-12 16,12 25-16,-13-25 0,1-1 16,-1 13-16,0-12 0,0-1 0,0 0 15,27 27-15,-27-27 16,1 0-16,12 0 0,-13 1 15,1 12-15,12-26 0,0 13 0,-12 1 16,12-1-16,14 0 0,-14-13 16,-12 13-16,12-13 0,0 0 15,-12 13-15,12-13 0,1 0 0,-1 0 16,-13 0-16,14 0 0,-1 0 0,1 0 16,-1 0-16,1 0 0,-1-13 0,1 13 15,-1 0-15,0 0 0,1 0 16,-1-13-16,1 13 0,-1 0 0,1 0 15,-1-13-15,-13 13 0,14 0 0,-1 0 16,-12 0-16,-1 0 0,13-13 16,-13 13-16,1 0 0,-1 0 0,0 0 15,0 0-15,1 0 16,-1 0-16,0 0 16,0-14-16,1 14 15,-1 0 1,0 0 15,0 0 16,-13-13 797,13 13-813,-13-13-15,0 0-16,0-1 15,0 1-15,0 0 16,14 13-16,-14-13 0,13-1 0,0-12 15</inkml:trace>
  <inkml:trace contextRef="#ctx0" brushRef="#br0" timeOffset="24084.32">5715 2752 0,'-26'0'0,"78"0"47,-25 0-47,-1 0 16,1 0-16,13 0 0,-1 13 0,14-13 16,-13 0-16,13 0 0,0 0 0,-14 0 15,14 0-15,-13 13 0,0-13 0,-14 0 16,1 0-16,12 0 0,-26 0 15,14 0-15,-14 0 0,14 13 16,-14-13-16,0 0 0,0 0 0,1 0 16</inkml:trace>
  <inkml:trace contextRef="#ctx0" brushRef="#br0" timeOffset="24330.46">5794 2805 0,'53'-14'16,"-26"14"0,-14-13-16,13 13 0,1 0 0,-1 0 15,1 0-15,-1 0 0,1 0 0,-1-13 16,-13 13-16,14 0 0,-14 0 15,14 0-15,-14 0 0,0 0 16,0 0-16,0 0 0,1 0 0,-1 13 16,0-13-1,-13 13-15,13-13 0,-13 14 0</inkml:trace>
  <inkml:trace contextRef="#ctx0" brushRef="#br0" timeOffset="25164.86">8890 2791 0,'106'0'31,"-40"0"-31,-13 0 16,13 0-16,0 0 0,14 0 15,-14 0-15,13 0 0,0 0 0,-12 0 16,12 0-16,-13-13 0,-13 13 0,0 0 16,0 0-16,0 0 0,-14 0 15,-12 0-15,-1 0 0,1 0 0,-14 0 16,14 0-16,-14 0 0,0 0 0,0 13 31</inkml:trace>
  <inkml:trace contextRef="#ctx0" brushRef="#br0" timeOffset="25516.4">9181 2871 0,'106'-13'32,"-66"13"-32,12-14 15,1 14-15,0 0 0,0-13 0,0 13 16,13 0-16,-13 0 16,13-13-16,-13 13 0,0 0 0,0 0 0,0 0 15,-13 0-15,-14 0 0,14 0 16,-14 0-16,1 0 0,-14 0 15,13 0-15,-12 0 0,-1 0 0,0 0 16,0 0-16,1 0 0,-1 0 0,0 0 16,0 0-16,1 0 15,-1 0 17</inkml:trace>
  <inkml:trace contextRef="#ctx0" brushRef="#br0" timeOffset="27448.57">17701 2791 0,'39'14'0,"-25"-14"16,12 0-16,14 0 0,13 0 0,0 0 15,-1 13-15,28-13 0,12 0 16,-12 0-16,12 13 0,1-13 0,0 0 15,-1 13-15,14-13 0,92 14 16,-105-1-16,-14 0 0,14-13 16,-14 13-16,-12 0 0,-1-13 0,0 14 15,-13-14-15,-14 0 0,14 13 16,-13-13-16,0 0 0,-14 13 0,1-13 0,-1 0 16,1 0-16,-14 0 15,0 0-15,0 13 0,1-13 0,-1 0 16,0 0-1,-53-13 1,27 13 0,0 0-16,-14 0 0,1-13 0,13 13 15,-14 0-15</inkml:trace>
  <inkml:trace contextRef="#ctx0" brushRef="#br0" timeOffset="27988.54">19804 2778 0,'172'0'31,"-146"0"-15,14 0-16,0 0 0,0 0 0,-1 0 16,1 0-16,0 0 0,-14 0 0,14 0 15,-1 0-15,-12 0 0,-1 0 16,1 0-16,-14 0 0,0 0 0,1 0 16,-1 0-16,0 0 0</inkml:trace>
  <inkml:trace contextRef="#ctx0" brushRef="#br0" timeOffset="28304.84">19804 2844 0,'93'0'31,"-67"0"-31,14 0 0,-14 0 15,14 0-15,13 0 0,-13 0 0,-14 0 16,67 0-16,-67 0 0,14 0 16,-14 0-16,1 0 0,-1 0 15,1 0-15,-14 14 0,13-14 16,-12 0-16,-1 0 0,0 0 0,0 0 16,0 0-16,1 0 15,-1 0-15,0 0 16,0 0-1</inkml:trace>
  <inkml:trace contextRef="#ctx0" brushRef="#br0" timeOffset="38272.43">10702 3387 0,'0'0'0,"40"0"16,-27 0-16,27 0 15,-14-14-15,27 14 0,0 0 0,0 0 16,13 0-16,-13 0 0,0 0 0,0 0 16,13 0-16,-26 0 0,13 0 15,-13 0-15,-1 0 0,-12 0 0,12 0 16,-25 0-16,12 0 0,-13 0 0,1 0 16,-1 0-16,0 0 0,-53 14 31,14-14-31,-1 0 15,-12 0-15,-14 0 16,-106 0-16,106 0 16,0 0-16,0 0 0,0 0 0,0 0 15,14 0-15,12 13 0,-12-13 16,12 0-16,1 0 0,12 0 0,1 0 16,0 0-16,0 0 0,0 0 15,52 0 1,-12 13-16,-1-13 15,1 0-15,12 0 0,-12 0 16,12 0-16,1 0 0,0 0 0,-1 0 16,1 0-16,-13 0 0,12-13 15,-12 13-15,-1 0 0,1 0 0,-14 0 16,0 0-16,0 0 0,1 0 0,-1 0 16,0 0-16,0 0 15,1 0-15,-1 0 0,0 0 16,0 0-16</inkml:trace>
  <inkml:trace contextRef="#ctx0" brushRef="#br0" timeOffset="39575.76">13838 3360 0,'119'0'31,"-66"13"-31,0-13 0,26 0 0,0 0 0,1 0 15,12 0-15,1 0 0,0 14 16,12-14-16,-12 0 0,13 0 16,-14 13-16,14-13 0,-13 0 0,13 0 15,-14 13-15,1-13 0,-14 0 0,1 0 16,-1 0-16,-26 13 0,0-13 16,-13 0-16,12 0 0,-25 0 15,-14 0-15,0 0 0,1 0 0,-1 0 16,0 0-16,-66-13 31,27 13-31,-1 0 0,-26 0 16,0 0-16,0 0 0,-13-13 15,0 13-15,-13 0 0,-1 0 0,1 0 16,13 0-16,-13 0 0,-1 0 0,1 0 16,13 0-16,-14 0 0,14 0 0,13 0 15,-13 0-15,13 0 0,0 0 16,14 0-16,-1 0 0,13 0 0,1 0 15,13 0-15,-1 0 0,1 0 0,0 0 16,53 0 0,-1 0-16,1 0 15,26 0-15,0 0 0,14 0 0,12 0 16,-12 0-16,12 13 0,-12-13 16,12 0-16,1 0 0,-14 0 15,14 13-15,-14-13 0,-13 0 0,14 0 16,-27 14-16,0-14 0,0 0 15,-14 0-15,1 0 0,-14 13 0,1-13 16,-14 0-16,0 0 0,1 0 0,-1 0 16,0 0-16,0 0 0,0 0 15,1 0-15,-14-13 32,-14-1-1,1 14 0,-13 0-15,13 0-1,-1 0-15,1 0 0,0 0 0</inkml:trace>
  <inkml:trace contextRef="#ctx0" brushRef="#br0" timeOffset="41315.93">15187 5569 0,'13'14'31,"-13"-1"-31,0 0 0,0 0 16,0 14-16,0-14 0,14 14 15,-14 12-15,0 1 0,0 13 0,0 0 16,0 13-16,0 0 0,0 0 0,0 14 16,13-14-16,-13 13 0,0 14 15,0-1-15,0-12 0,0 39 0,-13-13 16,13 13-16,0 106 0,-14-106 15,14 0-15,-13 0 0,0 0 16,0 0-16,-1 0 0,1 0 16,0 13-16,0-13 0,-1 0 0,1 0 15,-13 0-15,26 1 0,-13-15 0,-1 14 16,1-13-16,0 0 0,13 0 16,-13-13-16,13-14 0,0 14 0,-14-14 15,28 0-15,-14 1 0,0-14 0,0 0 16,13 0-16,-13 0 0,13-13 0,-13 0 15,13-13-15,1-1 0,-14-12 16,0-1-16,13-12 0,-13-1 0,13 0 16</inkml:trace>
  <inkml:trace contextRef="#ctx0" brushRef="#br0" timeOffset="42292.2">14261 9737 0,'53'0'16,"-40"0"-1,0 0-15,14 0 0,-14 0 0,14 0 16,-1 13-16,0-13 0,14 0 15,-13 0-15,26 0 0,-1 0 0,1 0 16,0 0-16,0 0 0,0 0 16,13 0-16,0 0 0,1 0 0,-1 0 15,13 0-15,0 0 0,1 0 16,-1 0-16,14 0 0,-1 0 0,1 0 0,0 0 16,-1 0-16,1 0 0,-1 0 15,14 13-15,0-13 0,-13 0 0,13 0 16,-1 0-16,1 0 0,0 0 15,26 13-15,-26-13 0,0 0 0,26 0 16,-26 0-16,26 14 0,-26-14 16,0 0-16,26 0 0,1 13 0,-27-13 15,132 0-15,-106 0 0,0 13 16,-26-13-16,26 0 0,-26 0 0,13 0 16,14 0-16,-1 13 0,-26-13 15,-1 0-15,1 0 0,-13 0 0,13 13 16,0-13-16,-1 0 0,1 0 15,0 0-15,0 0 0,-13 14 0,-1-14 16,1 0-16,79 0 0,-80 13 16,-12-13-16,-14 0 0,13 0 15,-26 13-15,0-13 0,0 0 0,0 0 16,-13 0-16,-1 13 0,-12-13 16,-1 0-16,-13 0 0,14 0 0,-14 0 15,0 0-15,1 0 0,-1 0 0,0 0 16,-13-13-1,-13 0 1,0 13-16,-1-13 0</inkml:trace>
  <inkml:trace contextRef="#ctx0" brushRef="#br0" timeOffset="44767.14">17304 11139 0,'26'13'16,"-13"-13"-16,14 0 16,-14 13-16,14-13 0,-1 0 0,27 0 15,-13 14-15,13-14 0,-1 0 16,1 13-16,27-13 0,-14 0 0,13 0 15,1 0-15,12 13 0,1-13 0,-14 0 16,14 0-16,-1 0 0,1 0 16,-14 0-16,14 0 0,0 0 15,-14 0-15,0 0 0,-12 0 0,-15 0 16,1 0-16,0 0 0,-13 0 0,-14 0 16,1 0-16,-1 0 0,1 0 15,-14 0-15,0 0 0,1 0 0,-1 0 16,0 0-16,0 0 15</inkml:trace>
  <inkml:trace contextRef="#ctx0" brushRef="#br0" timeOffset="45213.37">19182 11033 0,'0'0'0,"27"13"0,-14-13 0,0 14 15,0-14-15,1 13 0,-1-13 16,0 13-16,14-13 0,-14 13 0,0-13 16,14 13-16,-14-13 0,0 14 15,13-14-15,-12 13 0,12-13 0,-13 13 16,1-13-16,-1 0 0,0 13 0,0-13 16,0 0-16,-13 14 0,14-14 15,-1 13-15,-13 0 0,13-13 16,-13 13-16,-13 1 0,13-1 0,-13 13 15,-1-13-15,1 14 0,-13-1 16,-1 14-16,1-13 0,-14-1 0,1 14 16,-1-14-16,0 1 0,14-1 15,-27 1-15,26-1 0,-12-13 16,-1 14-16,13-14 0</inkml:trace>
  <inkml:trace contextRef="#ctx0" brushRef="#br0" timeOffset="49531.73">15214 5596 0,'0'-13'32,"-27"26"-17,14 0-15,13 0 16,-13 1-16,-1-1 0,1 0 16,-13 0-16,12 14 0,1-14 15,-13 13-15,13-12 0,-1-1 0,1 0 16,0 0-16,0 1 0,-1-14 15,14 13-15,-13-13 0,13 13 0</inkml:trace>
  <inkml:trace contextRef="#ctx0" brushRef="#br0" timeOffset="49719.33">15147 5543 0,'14'0'0,"-1"13"0,-13 0 0,13 1 15,0-1-15,1 0 0,-1 0 16,13 1-16,-13 12 0,14 1 0,-1-14 16,1 13-16,-1-13 0,1 14 0,-1-14 15,1 14-15,-1-14 16,1 13-16,-1-12 0,1-1 0,-14 0 16</inkml:trace>
  <inkml:trace contextRef="#ctx0" brushRef="#br0" timeOffset="50862.4">21577 9737 0,'13'26'63,"0"-13"-63,0 1 16,1-1-16,-1-13 15,0 13-15,0-13 0,1 13 16,-1-13-16,0 13 0,0-13 15,-13 14-15,14-1 16,-28 13 0,14-12-16,-13-1 0,0 0 15,-14 14-15,1-1 0,-1-13 0,1 14 16,-14-1-16,14 1 0,-1-1 0,1 1 16,-14-14-16,14 13 0,-1 1 15,1-14-15</inkml:trace>
  <inkml:trace contextRef="#ctx0" brushRef="#br0" timeOffset="51874.65">23720 10623 0,'0'-13'15,"0"39"1,0-13 0,-13 1-16,13-1 15,0 0-15,0 0 0,-14 1 0,14-1 16,0 0-16,-13 0 0,13 1 0,-13 12 16,13-13-16,-13 0 0,13 1 15,0-1-15</inkml:trace>
  <inkml:trace contextRef="#ctx0" brushRef="#br0" timeOffset="52208.69">23865 10702 0,'-13'-13'15,"0"26"1,0-13-16,-1 14 0,14-1 15,-13 0-15,0 0 16,13 1-16,-13-1 0,13 0 0,0 0 16,0 0-16,0 1 0,13-14 15,-13 13-15,13-13 0,0 0 16,1 13-16,12-26 16,-13 13-16,1-13 15,-1-1-15,-13 1 16,0 0-16,0 0 0,0 0 15,0-1-15,0 1 16,0 0-16,-13 13 0,13-13 16,-14 13-16,1-14 15</inkml:trace>
  <inkml:trace contextRef="#ctx0" brushRef="#br0" timeOffset="52559.44">24249 10623 0,'-13'13'16,"0"0"-1,13 1-15,0-1 16,13 0-16,-13 0 0,0 1 16,0-1-16,0 0 0,0 14 0,0-14 15,0 0-15,0 0 0,0 0 16,0 1-16,0-1 0,0 0 0,-13 0 16,13 1-16,-14-1 0,1 0 0,0 0 15,0 1-15,-1-14 0,1 13 16,0 0-16,-13 0 0,12-13 0,1 0 15,-13 13-15,12-13 0,1 0 0,0 0 16,0 0-16,-1 0 16,14-13-16</inkml:trace>
  <inkml:trace contextRef="#ctx0" brushRef="#br0" timeOffset="53064.54">24408 10649 0,'13'0'32,"-13"14"-17,0-1-15,0 0 0,0 0 16,-13 1-16,13-1 0,0 0 0,0 14 16,-13-14-16,13 0 0,-14 13 15,14-12-15,-13-1 0,13 0 0,0 0 16,-13 1-16,13-1 0,-13 0 15,13 0-15,26-26 47,-13 13-31,1-13-16,-1 0 31,0 26-15,0-13-1,1 0-15,-1 0 16,0 0 0,0 13-16,0-13 15,1 0-15,-1 13 16,0-13-16,0 14 16,1-14-1,-1 0-15,0 13 16,0-13-1,-13-13 1,13-1 0,-26 1-1</inkml:trace>
  <inkml:trace contextRef="#ctx0" brushRef="#br0" timeOffset="55098.73">14552 10001 0,'-13'13'31,"0"1"-31,13-1 16,13 13-1,-13-12-15,13-14 16,-13 13-16,13-13 0,-13 13 0,14-13 16,-1 0-16,13 0 15,-13-13-15,1 13 0,-14-13 16,13 13-16,-13-27 15,-13 27-15,13-13 16,-53-40 0,40 53-1,-1-13-15,1 0 0,-13-1 0,12 1 16,14 0-16,-13 0 0,0-1 16,0 1-16,13 0 0</inkml:trace>
  <inkml:trace contextRef="#ctx0" brushRef="#br0" timeOffset="55874.03">15174 5913 0,'13'0'47,"0"0"-47,1 0 0,-1 0 16,13 0-16,-13 0 0,1-13 0,-1 13 15,0 0-15</inkml:trace>
  <inkml:trace contextRef="#ctx0" brushRef="#br0" timeOffset="56539.69">14420 5927 0,'-27'13'47,"14"0"-47,0-13 0,0 0 15,-1 13-15,1-13 16,0 14-16,0-14 0,13 13 16,-13-13-16,13 13 15,13-13 1,0 13-1,0-13-15,0 0 0,1 0 16,-14 13-16,13-13 0,0 0 0,0 14 16,1-1-1,-28 0 1,1-13-16,13 13 0,-13-13 16,0 14-16,-1-14 0,1 13 15,0-13-15,0 0 0,0 13 0,-1-13 16,1 13-16,0-13 15,0 0-15</inkml:trace>
  <inkml:trace contextRef="#ctx0" brushRef="#br0" timeOffset="56848.08">14512 5953 0,'0'27'16,"0"-14"0,0 0-1,0 0-15,14-13 0,-14 13 0,13-13 16,0 14-16,0-14 0,1 0 16,-1 13-16,0-26 15,0 13-15,0 0 0,1-14 16,-1 14-16,-13-13 0,0 0 15,0 0 1,0 0-16,0-1 0,-13 14 16,13-13-16,-14 13 0,1-13 15,0 26-15,0-13 0,0 13 16,-1-13-16,1 14 16</inkml:trace>
  <inkml:trace contextRef="#ctx0" brushRef="#br0" timeOffset="58075.77">15518 9710 0,'-13'-13'15,"13"39"16,0-12-31,0 12 16,0-13-16,0 1 0,-14-1 16,14 13-16,0-13 0,0 14 0,0-14 15,-13 27-15</inkml:trace>
  <inkml:trace contextRef="#ctx0" brushRef="#br0" timeOffset="58276.41">15452 10186 0,'-14'14'16,"14"-1"-1,0 0-15,0 0 0,0 1 16,0-1-16,0 0 15,0 0-15</inkml:trace>
  <inkml:trace contextRef="#ctx0" brushRef="#br0" timeOffset="58719.29">16470 9750 0,'0'26'16,"-13"-12"-16,13-1 0,0 0 16,0 0-16,0 0 0,0 1 0,-13 12 15,13-13-15,0 14 0,-13-14 16,13 0-16,0 14 0</inkml:trace>
  <inkml:trace contextRef="#ctx0" brushRef="#br0" timeOffset="59035.52">16391 10160 0,'13'-13'0,"0"13"31,-13 13-31,14-13 0,-14 13 0,-14 0 15,14 1-15,0-1 0,-13 13 0,0 1 16,0-14-16,-1 0 0,1 14 16,0-14-16,0 0 0,13 0 0,-13 1 15,-1-1-15,1 0 16,13 0 0,27-26-1,-14 13-15,0-13 16,0 0-16,14 13 0,-1-14 15,-13 1-15,14 0 0,-1 0 16</inkml:trace>
  <inkml:trace contextRef="#ctx0" brushRef="#br0" timeOffset="59243.74">16986 9829 0,'0'0'0,"-13"27"32,0-14-17,13 0-15,0 0 0,0 1 16,-13-1-16,13 13 0,0-12 0,-14-1 16,14 0-16,0 0 0,0 0 15,0 1-15,14-1 0</inkml:trace>
  <inkml:trace contextRef="#ctx0" brushRef="#br0" timeOffset="59692.61">17052 10279 0,'14'13'0,"-1"1"15,0-1-15,-13 0 16,0 0-16,0 0 16,0 1-16,0 12 0,0-13 15,0 1-15,-13-1 0,13 0 16,-40 27-1,40-27-15,-13-13 16,13-26 0</inkml:trace>
  <inkml:trace contextRef="#ctx0" brushRef="#br0" timeOffset="59999.48">17926 9750 0,'0'40'15,"0"-27"-15,0 0 16,-14 13-16,14 1 0,-13-1 0,13 14 16,-13 0-16,0-14 0,13 14 0,-14-27 15,14 14-15</inkml:trace>
  <inkml:trace contextRef="#ctx0" brushRef="#br0" timeOffset="60388.61">17806 10306 0,'-26'13'15,"13"-13"-15,0 13 16,-1-13-16,1 0 0,0 13 16,0 0-16,-1-13 15,14 14-15,-13-14 0,0 13 16,13 0 0,0 0-1,13-13-15,14 0 16,-27-13-16,13 13 0,0 0 15,0 0-15,1-13 0,-1 13 16,0 0-16,0 0 31,-13 13-31,0 0 0,0 1 16,0-1-16,-13-13 16,13 13-16,0 0 0,0 1 15,13-1-15,0-13 16,1 0-16</inkml:trace>
  <inkml:trace contextRef="#ctx0" brushRef="#br0" timeOffset="60649.55">18402 9697 0,'0'26'31,"0"-12"-31,0-1 0,0 13 0,0-12 16,0 12-16,-13 14 15,13-14-15,0 1 0,0 26 16,-14 39-1</inkml:trace>
  <inkml:trace contextRef="#ctx0" brushRef="#br0" timeOffset="60967.53">18389 10239 0,'0'0'16,"-14"0"-16,1 0 15,0 0-15,0 14 0,-1-14 16,14 13-16,-13 0 16,13 0-16,13 1 15,-13-1-15,0 0 16,0 0-1,0 0-15,0 1 0,-13-1 16,13 0-16,-13 0 16,0-13-16,-1 14 15,14-41 1</inkml:trace>
  <inkml:trace contextRef="#ctx0" brushRef="#br0" timeOffset="61250.46">19103 9763 0,'0'40'31,"0"-27"-31,0 0 0,0 0 16,0 1-16,0 12 0,0-13 0,0 14 16,-13-14-16,13 14 0,0-1 0,0 0 15,-14 1-15,14-1 0</inkml:trace>
  <inkml:trace contextRef="#ctx0" brushRef="#br0" timeOffset="61568.57">19050 10319 0,'0'0'0,"-13"26"0,0-26 0,13 13 0,-14 1 16,14-1-16,0 0 0,-13 0 16,13 1-16,0-1 0,13-13 15,-13 13-15,0 0 0,14-13 0,-14 14 16,13-14-16,-13 13 0,13-13 16,-39-13 15,12 13-16,1 0-15,0-14 0,13-12 32,13 13-32,0-1 15,1 1-15</inkml:trace>
  <inkml:trace contextRef="#ctx0" brushRef="#br0" timeOffset="61928.68">19950 9737 0,'0'13'0,"-14"0"15,14 0-15,0 1 0,-13-1 16,13 13-16,0-13 0,0 1 15,-13 12-15,13 1 0,0-14 0,-13 13 16,13 1-16,0-1 0,-14-13 16,14 14-16,-13-1 0</inkml:trace>
  <inkml:trace contextRef="#ctx0" brushRef="#br0" timeOffset="62192.3">19672 10319 0,'26'-13'32,"-13"13"-32,1 13 15,-1 0-15,-13 0 16,13-13-16,-13 13 15,0 1-15,0-1 0,0 0 16,0 0-16,-13 1 0,13-1 16,-13 0-16,13 0 0,-14 1 15</inkml:trace>
  <inkml:trace contextRef="#ctx0" brushRef="#br0" timeOffset="62349.47">19592 10544 0,'0'0'0,"14"-14"31,-1 1-15,0 13-16,14-13 0,-14 13 0,13-13 15,14 0-15,0-1 0,-14 1 0,14 0 16,-14 0-16,1-1 0,12 1 16</inkml:trace>
  <inkml:trace contextRef="#ctx0" brushRef="#br0" timeOffset="62609.46">20611 9776 0,'-13'14'16,"13"-1"-16,-27 26 16,14-12-16,0-14 15,13 14-15,-13-1 0,-1 14 16,1 26-16,13-40 0,-13 1 16,13-1-16,0-12 0,-13 12 15</inkml:trace>
  <inkml:trace contextRef="#ctx0" brushRef="#br0" timeOffset="62960.67">20452 10332 0,'-13'40'31,"13"-27"-31,0 0 15,-13 14-15,13-14 0,0 0 16,-13 0-16,-1 1 0,14-1 0,-13 0 16,0-13-16,0 13 0,-1-13 15,14 13-15,0-39 32,14 0-32,-14 12 0,13 1 0,0 0 15,-13 0-15,13-1 16,1-12-16,-1 13 0,-13-1 0,13 1 15,-13 0-15,13 0 0,-13 0 16,14-1-16,-14 1 16,-14 0-16,1 13 31</inkml:trace>
  <inkml:trace contextRef="#ctx0" brushRef="#br0" timeOffset="63183.17">20889 9803 0,'13'-13'0,"-13"39"31,0-13-31,-13 0 16,13 1-16,0 12 0,0-13 15,-13 14-15,13 13 16,-14-14-16,14 0 0,-13-12 0,13 12 16,0-13-16,0 14 0</inkml:trace>
  <inkml:trace contextRef="#ctx0" brushRef="#br0" timeOffset="63540.34">20849 10332 0,'0'0'0,"-26"-13"16,12 13-16,1 13 0,0-13 0,-13 0 15,12 13 1,28 0 0,-14 1-1,13-1-15,0 0 16,-13 0-16,13 1 16,-13-1-16,0 0 0,0 0 0,0 1 15,0-1-15,-13 0 0,13 0 16,0 0-16,0 1 0,0-1 15</inkml:trace>
  <inkml:trace contextRef="#ctx0" brushRef="#br0" timeOffset="63816.24">21405 9803 0,'0'0'0,"0"-13"15,0 39 1,0-13-1,13 0-15,-26 1 0,13-1 0,0 27 16,0-14-16,0 1 0,-27 39 16,27-27-16,-13-25 15</inkml:trace>
  <inkml:trace contextRef="#ctx0" brushRef="#br0" timeOffset="64087.24">21206 10385 0,'-13'26'47,"13"-12"-47,0-1 0,-13-13 15,13 13-15,0 0 0,-13-13 0,13 14 16,0-1-16</inkml:trace>
  <inkml:trace contextRef="#ctx0" brushRef="#br0" timeOffset="64314.36">21299 10464 0,'13'0'0,"0"14"16,1-14 15,-1 0-15,-13-14-1,0 1-15,-13 13 16,13-13-16,-14 13 15,1 0-15,0 0 0,-14 0 0,14 0 16,0 0-16,0 0 0,0 0 0,-1 0 16,1 13-16</inkml:trace>
  <inkml:trace contextRef="#ctx0" brushRef="#br0" timeOffset="66984.5">24408 10821 0,'13'0'16,"0"-13"-16,1 13 16,12 0-16,-13 0 15,14 0-15,-14 0 16,0 0-16,0 0 16</inkml:trace>
  <inkml:trace contextRef="#ctx0" brushRef="#br0" timeOffset="67184.7">24606 10888 0,'0'0'0,"0"13"16,13-13-16,-13 13 31,14-13-15,-14 13-1,13-13-15</inkml:trace>
  <inkml:trace contextRef="#ctx0" brushRef="#br0" timeOffset="69976.6">12621 7752 0,'-27'27'31,"27"-14"-31,0 0 0,0 0 16,0 14-16,0-14 0,13 0 15,-13 1-15,0-1 0,0 0 16,0 0-16,14 1 0,-14-1 16,0 0-16,0 0 15,13-39 17,-13 13-17,13-1 1,-13 1-16,13 0 15,-13 0-15,14 13 0,-1 0 16,0 13 0,0-13-16,0 13 0,1 0 15,-1 1-15,0-1 16,0 0-16,1-13 31,-1 0-15,0-13-1,-13 0 1,13-1 15,-13 1-31,14 0 16,-14 0 0,13-1-1,13 28 63,-13-14-78,1 0 16,-1 13-16,0 0 16,0-13-1,-13 13 1,0-39 31,14 26-47,-14-13 0,13-1 0,0 1 15,0 0-15,1 13 0,12-13 0,0-1 16,1 14-16,-1-13 0,1 13 16</inkml:trace>
  <inkml:trace contextRef="#ctx0" brushRef="#br0" timeOffset="70766.63">14896 9088 0,'26'0'31,"-12"0"-31,-1 0 16,13 0-1,-12 0-15,-1 0 0,0 0 16,0 0-16,1-13 0,-1 13 0</inkml:trace>
  <inkml:trace contextRef="#ctx0" brushRef="#br0" timeOffset="71130.85">15042 8612 0,'13'0'0,"26"-13"31,-25 13-31,12 0 0,-13 0 0,14-13 16</inkml:trace>
  <inkml:trace contextRef="#ctx0" brushRef="#br0" timeOffset="71711.34">15042 7818 0,'26'0'0,"27"-13"15,-27 0-15,-12 13 16</inkml:trace>
  <inkml:trace contextRef="#ctx0" brushRef="#br0" timeOffset="72224.5">15214 6919 0,'52'-13'0,"-104"26"0,118-26 0,-40-1 15,1 14-15,-1-13 0,27 0 0,-27 13 16,1 0-16,-1 0 16</inkml:trace>
  <inkml:trace contextRef="#ctx0" brushRef="#br0" timeOffset="73128.28">14327 9128 0,'0'13'32,"0"1"-17,-13-1-15,13 0 0,0 0 16,0 1-16,0-1 0,0 13 16,0-13-16,0 1 15,13-1-15,0-13 16,1 0-1,-1-13-15,0 13 0,-13-14 16,13 14-16,1-13 0,-1 0 16,0 13-1,0 0 17,-13 13-32,13-13 15,1 13-15,-1-13 16,0-13-1,0 13-15,1 0 16,-14-13-16,13 0 16,0 0-16,-13-1 15,-13 1-15,13 0 16,-13 0-16,13-1 0,-14 14 16,1-13-16,0 0 0,13 0 15,0-1-15,-13 1 0,-1 0 16</inkml:trace>
  <inkml:trace contextRef="#ctx0" brushRef="#br0" timeOffset="73691.23">14380 8599 0,'13'0'15,"1"0"1,-1 13-16,-13 0 15,0 1-15,0-1 16,-13 0-16,13 0 0,0 1 16,0-1-16,-14 0 0,14 0 0,0 0 15,0 1-15,-13-1 16,13 0 0,13-13-16,14-13 15,-14 0-15,0 13 16,0 0-16,1-14 0,-1 14 15,-13-13-15,13 13 0,0 0 16,1-13-16,-1 13 16,0 0-16,0 0 15,1 0-15,-1 0 16,0 0 0,0-13-16,0 0 15,-13-1 1,0 1-1,0 0-15,-13 13 0,13-13 0,-13-1 16,0 1-16,0 0 16,-1 0-16</inkml:trace>
  <inkml:trace contextRef="#ctx0" brushRef="#br0" timeOffset="74232.57">14512 7739 0,'0'0'0,"14"0"16,-1 13 0,0-13-16,-13 14 0,13-14 15,-13 13-15,0 0 16,14 0-16,-14 0 16,0 1-16,13-14 0,-13 13 15,13 0-15,-13 0 16,13-13-1,-26 14-15,13-1 16,-13 0-16,13 0 0,-13-13 16,13 14-16,-14-14 15,1 13-15,0 0 0,0 0 16</inkml:trace>
  <inkml:trace contextRef="#ctx0" brushRef="#br0" timeOffset="74474.36">14711 7779 0,'0'13'15,"13"-13"-15,-13 13 16,0 0-16,13-13 16,1 0-16,-1 0 15,0 0 1,-13-13-1,0 0 1,0 0-16,0 0 0,-13-1 16,13 1-16,-13 13 0,-1-13 15,14 0-15,-13 13 0,13-14 0,-13 1 16,0 13-16,13-13 0,-14 0 0,14-1 16</inkml:trace>
  <inkml:trace contextRef="#ctx0" brushRef="#br0" timeOffset="74907.22">14724 6972 0,'-26'0'15,"12"13"1,1-13-16,0 13 0,0 0 0,-1 1 15,-12-1-15,13 0 0,0 0 0,-1 1 16,1-1-16,0 0 0,0-13 16,13 13-16,-14-13 0,14 14 15,0-1-15,14-13 16,-1 0 0,0 0-16,0 0 15,1 0-15,-1 0 0,0 0 16,0-13-16,14-1 0,-14 14 15,0-13-15,0 13 0,1-13 16</inkml:trace>
  <inkml:trace contextRef="#ctx0" brushRef="#br0" timeOffset="75328.13">14777 6972 0,'0'-13'0,"0"-1"16,-13 1 0,0 26 15,13 1-31,-14-14 15,14 13-15,0 0 0,0 0 0,-13 0 16,13 1 0,0-1-16,13 0 15,-13 0-15,14-13 0,-1 0 16,0 0 0,-13-13-16,13 13 0,-13-13 0,13 13 15,-13-13-15,14 13 0,-14-14 0,13 1 16,0 26 15,-13 1-15,13-14-16,1 0 15,-1 0 1,0 0-16,0 0 0,0-14 16,1 14-16,-14-13 0,13 13 0,-13-13 15,13 0-15,-13 0 0,0-1 16,0 1-16,0 0 0,-13 0 15,13-1-15,-13 1 0,-1 0 16,1 13-16,13-13 0,-13 13 16,13-14-16,-13 14 0</inkml:trace>
  <inkml:trace contextRef="#ctx0" brushRef="#br0" timeOffset="75439.23">14922 6839 0,'0'0'0</inkml:trace>
  <inkml:trace contextRef="#ctx0" brushRef="#br0" timeOffset="77486.32">15478 9102 0,'-26'39'31,"12"-39"-31,14 14 16,-13-1-16,0 0 0,0 0 16,0 1-16,-1-1 0</inkml:trace>
  <inkml:trace contextRef="#ctx0" brushRef="#br0" timeOffset="77663.53">15319 9181 0,'14'0'16,"12"0"-16,-13 13 15,1-13-15,-1 0 16,0 0-16,13 14 0,-12-14 0,-1 0 15,0 0-15,0 13 0,1-13 0,-1 0 16,0 13-16</inkml:trace>
  <inkml:trace contextRef="#ctx0" brushRef="#br0" timeOffset="80900.56">16259 8943 0,'-27'13'31,"27"0"-31,0 1 0,-13-14 16,13 13-16,-13 0 0,-1-13 0,14 13 15,-13 1-15,13-1 0,-13-13 16,13 13-16,-13-13 0,13 13 15</inkml:trace>
  <inkml:trace contextRef="#ctx0" brushRef="#br0" timeOffset="81076.96">16153 8996 0,'0'-13'31,"13"13"-31,0 13 0,0-13 15,1 0-15,-1 0 16,0 13-16,0-13 0,1 0 16,-1 0-16,0 0 0,0 0 0,14 0 15,-14 0-15,0 0 0</inkml:trace>
  <inkml:trace contextRef="#ctx0" brushRef="#br0" timeOffset="81672.3">16748 8731 0,'-26'13'31,"12"1"-31,14-1 0,-13-13 16,13 13-16,-13 0 0,13 1 0,-13-1 15,0-13-15,13 13 0,-14 0 0,1 1 16,0-1-16</inkml:trace>
  <inkml:trace contextRef="#ctx0" brushRef="#br0" timeOffset="81863.28">16616 8797 0,'26'14'16,"-12"-1"0,-1 0-1,0-13-15,0 0 0,0 13 0,1-13 16,-14 14-16,26-14 0,-13 13 16,1-13-16,-1 0 0,0 0 15</inkml:trace>
  <inkml:trace contextRef="#ctx0" brushRef="#br0" timeOffset="83032.48">17396 8930 0,'0'0'0,"-26"26"32,13-13-17,-1 1-15,1-1 0,0 0 16,0 0-16,-14 1 0,14-1 0,0 0 15,13 0-15,-13-13 0</inkml:trace>
  <inkml:trace contextRef="#ctx0" brushRef="#br0" timeOffset="83219.67">17211 8983 0,'13'-14'0,"1"28"31,-1-14-31,0 13 0,0-13 0,1 13 16,-1 0-16,0-13 0,0 14 15,0-14-15,1 13 0,-1-13 16,0 0-16,0 13 0</inkml:trace>
  <inkml:trace contextRef="#ctx0" brushRef="#br0" timeOffset="87079.48">18508 6046 0,'0'0'0,"-27"13"31,27 0-31,-13 0 15,0 1-15,-1-1 0,14 0 0,-13 14 16,0-14-16,0 13 0,0-13 0,-1 1 16,14-1-16,-13 0 0,0 0 15,13 1-15,0-1 0,-13-13 0</inkml:trace>
  <inkml:trace contextRef="#ctx0" brushRef="#br0" timeOffset="87284.1">18322 6112 0,'53'13'32,"-39"0"-32,-1-13 0,26 27 15,-25-27-15,12 13 0,1 0 16,-14 0-16,13-13 0,1 14 0,-14-1 15,13-13-15,-12 13 0,-1-13 0,13 13 16</inkml:trace>
  <inkml:trace contextRef="#ctx0" brushRef="#br0" timeOffset="89806.3">19209 8890 0,'-13'26'31,"-1"-26"-31,14 14 16,0-1-16,-13-13 0,13 13 15,-13 0-15,13 1 0,-13-1 0,13 0 16,-14 0-16,14 1 0,-13-1 16,13 0-16</inkml:trace>
  <inkml:trace contextRef="#ctx0" brushRef="#br0" timeOffset="89992.35">19090 9009 0,'0'0'0,"13"0"16,0 13-16,0-13 0,1 0 15,-1 14-15,0-14 0,0 13 16,1-13-16,-1 13 0,0-13 16,0 0-16,0 13 0,1-13 0</inkml:trace>
  <inkml:trace contextRef="#ctx0" brushRef="#br0" timeOffset="91176.24">19963 8956 0,'13'-13'15,"-39"39"1,26-12-16,-14-14 0,14 13 15,-13-13-15,0 13 0,0 0 0,13 1 16,-14-14-16,1 13 0</inkml:trace>
  <inkml:trace contextRef="#ctx0" brushRef="#br0" timeOffset="91341.81">19844 8983 0,'0'0'0,"13"0"0,13 0 16,-12 0-16,-1 13 16,0-13-16,0 0 0,1 0 15,-1 0-15,0 13 0,13-13 0,1 13 16,-1-13-16,-12 0 0</inkml:trace>
  <inkml:trace contextRef="#ctx0" brushRef="#br0" timeOffset="92035.53">20690 9274 0,'0'0'15,"-26"13"-15,26 0 16,-13-13-16,13 13 0,-13 1 16,-1-1-16,1 0 15,0 0-15,0 0 16,-1 1-16,1-1 15,0-13-15</inkml:trace>
  <inkml:trace contextRef="#ctx0" brushRef="#br0" timeOffset="92184.44">20532 9327 0,'0'0'0,"0"-14"0,13 1 31,13 26-15,-12-13-16,-1 0 0,0 14 15,0-14-15,-13 13 0,27-13 16,-14 13-16,-13 0 0,26-13 0,-12 13 16,-1-13-16,13 0 0</inkml:trace>
  <inkml:trace contextRef="#ctx0" brushRef="#br0" timeOffset="92524.15">21167 9340 0,'-14'13'32,"14"0"-32,-13-13 0,13 13 0,0 1 15,-13-1-15,13 0 0,0 0 16,-13 1-16,13-1 0,-13 0 15</inkml:trace>
  <inkml:trace contextRef="#ctx0" brushRef="#br0" timeOffset="92835.15">21101 9406 0,'26'26'31,"-26"-12"-31,13-14 0,0 13 16,-13 0-16,14-13 0,-1 13 15,-13 1-15,13-14 0,0 13 0,-13 0 16,14-13-16</inkml:trace>
  <inkml:trace contextRef="#ctx0" brushRef="#br0" timeOffset="93273.29">21511 9499 0,'-27'13'15,"14"0"1,0-13-16,13 13 0,-14-13 16,1 13-16,0-13 0,0 14 15,0-28 16,39 1-15,0 26 15,-12-13-31,-1 14 0,0-14 16,0 13-16,1-13 16,-14 13-16,13-13 0,0 13 0,0-13 15,1 0-15,-1 14 0,0-14 0,0 0 16,0 0-16</inkml:trace>
  <inkml:trace contextRef="#ctx0" brushRef="#br0" timeOffset="97872.25">15386 9194 0,'13'-13'0,"0"0"15,0 0-15,14 13 16,-27-14-16,13 14 16,0 0-16,0-13 15,1 13-15,-1 0 0,0 0 0,0-13 16,1 13-16,12 0 0,-13-13 16,14 13-16,-14 0 0,13-14 15,-12 14-15,12 0 0,0-13 0,1 13 16,-1-13-16,1 13 0,-1 0 0,1-13 15,-14 13-15,13 0 0,1-13 16,-14 13-16,27-14 0,-27 14 16,14 0-16,-14 0 0,13-13 0,-13 13 15,1 0-15,-1 0 0,13-13 16,-12 13-16,12 0 0,-13-13 16,0 13-16,14 0 0,-14 0 0,0-14 15,14 14-15,-14 0 0,0 0 16,1-13-16,12 13 0,-13 0 0,14 0 15,-14-13-15,0 13 0,0 0 0,14 0 16,-14 0-16,0 0 0,1 0 0,-1-13 16,0 13-16,0 0 0,0 0 15,1 0-15,-1 0 0,0 0 0,0 0 16,1 0-16,-1 0 0,-13-14 0,13 14 16,0 0-16,1 0 0,-1 0 15,13 0-15,-13 0 16,1 0-16,-1 0 0,0 0 15,0 0-15,1 0 16,-1-13-16,0 13 0,0 0 16,1 0-16,-1 0 0,0 0 15,0 0-15,0 0 16,1 0-16,-1 0 0,0 0 0,0 0 16,1 0-16,-1 0 0,13 0 15,-13 0 1,1 0-16,-1 0 15,0 0-15,0 0 16,14 0-16,-14 0 16,0-13-1,1 13-15,-1 0 0,13 0 16,-13 0 0,1 0-16,-1 0 15,0-13-15,0 13 16,1 0-1,-1 0-15,0 0 16,-13-13-16,13 13 0,1 0 16,-1-14-1,0 14-15,0-13 0,0 13 16,-13-13 0,14 13-16,-14-13 0,13 13 0,0-14 15,0 1-15,1 0 16,-14 0-1,13 13-15,-13-14 0,13 14 0,-13-13 16,13 0-16,-13 0 0,0 0 16,13 13-16,-13-14 0,0 1 15,14 0-15,-14 0 0,13-1 0,-13 1 16,13 0-16,-13 0 0,0-1 0,13 1 16,-13-13-16,14 13 0,-14-1 15,0 1 1,13-13-16,0-1 0,-13 14 0,13 0 15,-13 0-15,14-1 0,-14 1 16,13 0-16,-13 0 0,13-14 16,-13 14-16,0 0 0,13-1 0,-13 1 15,13 0-15,-13 0 0,0 0 0,14-1 16,-14 1-16,13 0 0,-13 0 16,0-14-16,13 14 0,-13 0 0,13-14 15,-13 14-15,14-13 0,-14-1 16,13 1-16,-13 12 0,0-12 0,13-14 15,0 27-15,-13-13 16,0 12-16,14-12 0,-14 13 0,0-14 16,13 14-16,-13-13 0,13 12 15,-13 1-15,0-13 0,13 12 0,-13 1 16,13-13-16,-13 12 0,0 1 16,14-26-16,-1 25 0,-13 1 15,0 0-15,13 0 0,-13-1 0,0 1 16,0 0-16,13-14 0,-13 14 15,0 0-15,0 0 0,14 0 0,-14-1 16,0-12-16,0 13 0,0-1 16,13-12-16,-13 13 0,0-1 0,13-12 0,-13 13 15,13-27-15,-13 27 16,0 0-16,14-1 0,-14 1 16,0-13-16,13 13 0,-13-1 0,13 1 15,-13 0-15,0 0 0,13-1 0,-13 1 16,13 0-16,-13 0 15,0-1-15,14 1 0,-14 0 0,0-13 16,13 12-16,-13 1 0,0 0 16,13 0-16,-13-14 0,0 14 15,13 0-15,-13-1 0,0 1 0,14 0 16,-14-13-16,0 12 0,13 1 0,-13 0 16,13 0-16,-13-1 15,0 1-15,0 0 0,13 0 0,-13 0 16,0-1-16,14 1 15,-14 0-15,0 0 0,0-1 0,13 1 16,-13 0-16,13 0 0,-13-1 16,0 1-16,13 0 0,-13 0 15,13 0-15,-13-1 0,0 1 16,14 13-16,-14-13 0,0 0 16,13-1-16,-13 1 0,13 0 15,0 0-15,-13-1 0,40-52 31,-40 53-31,13 13 0,-13-13 16,13 0-16,1-1 0,-14 1 16,13 0-16,-13 0 15,13 13-15,-13-14 0,13 14 16,-13-13-16,14 0 16,-1 0-1,-13 0-15,13 13 16,-13-14-16,13 14 15,-13-13-15,14 13 0,-1-13 16,0 13-16,0-13 16,0 13-1,1-14-15,-1 14 16,0-13-16,0 13 16,1 0-16,-1 0 31,0 0-31,0 0 0,1 13 15,-1-13-15,0 14 16,0-14-16,0 13 0,1 0 16,-14 0-16,13 1 15,0-1-15,-13 0 0,13 13 16,-13-12-16,0-1 0,0 0 16,14 0-16,-14 1 0,0-1 15,0 0-15,13 0 0,-13 1 0,0-1 16,13 0-16,-13 0 0,13 14 15,-13-14-15,0 0 0,13 0 0,-13 1 16,14 12-16,-14-13 0,13 1 16,-13-1-16,13 26 0,-13-25 15,0-1-15,13 13 0,-13-12 0,0-1 16,14 0-16,-14 14 0,0-14 16,13 0-16,-13 0 0,0 0 15,13 1-15,-13 12 0,0-13 0,13 14 16,-13-14-16,0 0 0,0 0 0,0 1 15,0-1-15,14 0 0,-14 0 16,0 1-16,0-1 0,0 0 0,13 0 16,-13 1-16,0-1 0,0 0 0,0 0 15,13 14-15,-13-14 0,0 0 16,0 0-16,13 14 0,-13-14 16,0 14-16,0-14 0,0 13 15,0-13-15,0 1 0,0 12 0,13-13 16,-13 1-16,0 12 0,0-13 15,0 14-15,0-14 0,14 0 0,-14 14 16,0-14-16,-14 0 0,14 14 0,0-14 16,0 0-16,0 0 0,0 14 0,0-14 15,0 0-15,0 0 0,0 1 16,0-1-16,0 0 0,0 0 16,0 1-16,0-1 0,0 0 0,0 0 15,0 0-15,0 1 0,0-1 0,0 0 16,0 0-16,0 1 15,0-1-15,0 0 0,0 0 0,-13 1 16,13-1-16,0 0 0,0 0 16,0 0-16,0 1 0,0-1 15,0 0-15,0 14 16,0-14-16,0 0 16,0 14-1,0-14-15,0 0 16,0 0-16,0 0 15,13 1-15,-13-1 0,0 0 16,0 0-16,14-13 0,-14 14 16,0-1-16,13 0 15,-13 0-15,0 0 0,13-13 16,-13 14-16,0-1 0,13 0 16,-13 0-16,0 1 0,14-14 15,-14 13-15,0 0 16,13 0-16,-13 1 0,0-1 0,13 0 15,-13 0-15,0 0 16,13 1-16,-13-1 16,14 0-16,-14 0 0,0 1 15,13-14-15,-13 13 0,0 0 16,13 0-16,-13 1 16,0-1-16,13-13 15,-13 13-15,0 0 0,13 0 16,-13 1-16,0-1 0,14-13 15,-14 13-15,0 0 0,0 1 16,13-1-16,-13 0 16,0 0-16,13 0 15,-13 1-15,0-1 16,13 0 0,-13 0-1,0 1-15,14-14 0,-14 13 16,0 0-16,13 0 15,-13 1-15,0-1 0,13-13 16,-13 13-16,13-13 0,-13 13 16,14 0-16,-14 1 15,13-14-15,-13 13 0,13-13 0,-13 13 16,13 0-16,-13 1 16,13-14-16,1 13 15,-14 0-15,13-13 0,-13 13 16,13-13-1,0 0-15,-13 14 0,14-14 16,-1 0-16,-13 13 16,13-13-16,0 0 0,1 13 15,-1-13 1,0 0-16,-13 13 16,13-13-16,0 0 0,1 13 15,-1-13-15,0 0 0,0 14 16,1-14-16,-1 13 0,0-13 15,0 0-15,0 13 0,1-13 0,-1 0 16,0 13-16,0-13 0,1 0 0,-1 0 16,0 14-16,0-14 0,1 0 15,-1 0-15,0 0 0,13 0 16,-12 0-16,-1 0 0,0 0 16,0 0-16,1 0 0,12 0 0,-13 0 15,1 0-15,-1 0 0,0 13 0,0-13 16,14 0-16,-14 0 15,13 13-15,-12-13 0,-1 0 16,26 13-16,-25-13 0,-1 0 16,0 14-16,0-14 0,1 0 15,-1 0-15,0 13 0,0-13 0,14 0 16,-14 13-16,0-13 0,0 0 0,1 0 16,-1 13-16,0-13 0,14 0 15,-14 13-15,0-13 0,0 0 0,1 0 16,-1 14-16,0-14 0,0 0 15,0 13-15,1-13 0,12 0 16,-13 0-16,1 13 0,-1-13 0,0 0 16,0 0-16,1 0 0,12 13 15,-13-13-15,0 0 0,1 14 16,-1-14-16,0 0 0,0 13 0,14-13 16,-14 0-16,0 13 0,14-13 15,-14 0-15,0 13 0,0-13 16,1 0-16,-1 14 0,0-14 15,0 0-15,1 0 0,-1 13 16,0-13-16,0 0 0,0 13 0,1-13 16,-1 0-16,0 13 0,0-13 0,1 0 15,-14 13-15,13-13 0,0 0 16,0 0-16,1 14 0,-1-14 0,0 0 16,0 13-16,0-13 0,1 0 0,-1 13 15,0-13-15,0 0 0,14 13 16,-14-13-16,0 14 0,1-14 0,-1 13 15,0-13-15,13 13 0,1-13 16,-14 13-16,0-13 0,1 13 0,-1-13 16,0 0-16,0 0 0,0 14 15,1-14-15,-1 0 0,0 13 0,0-13 16,1 0-16,-1 0 0,0 13 16,0-13-16,1 0 0,-1 13 0,0-13 15,0 0-15,0 14 0,1-14 16,-1 13-16,0-13 0,0 13 15,1-13-15,-1 0 0,0 13 0,0-13 16,1 0-16,-14 14 16,13-14-16,0 0 15,-13 13-15,13-13 16,14-13 15</inkml:trace>
  <inkml:trace contextRef="#ctx0" brushRef="#br0" timeOffset="103986.32">18732 5702 0,'-105'-66'0,"210"132"0,-250-159 0,92 67 16,-13 12-16,26 1 0,-13 13 0,0 0 16,0 0-16,-13 13 0,-13 1 15,13 12-15,0 1 0,0 12 16,-14 1-16,14 26 0,13-26 0,13 13 16,1 13-16,-1-13 0,27 13 0,0 0 15,13-13-15,0 13 0,26-13 0,0 13 16,14-13-16,26 0 0,14 13 15,-1-13-15,14-13 0,-1 0 0,14-1 16,0-12-16,-13-14 0,-1 0 0,1-13 16,13 0-16,-14 0 0,14-13 15,0-14-15,-14 14 0,1-26 0,0 12 16,-1-26-16,-12 13 0,-27 1 16,-1-14-16,1 0 0,-13 0 0,-13-13 15,-14 0-15,-13 0 0,-13-14 0,-14 14 16,-52-93-16,26 93 15,-13 0-15,-80-40 0,80 80 16,-13-14-16,-1 27 0,-12-14 16,-1 14-16,0 13 0,1 0 0,-1 0 15,1 13-15,25 1 0,-12-1 0,13 13 16,13 1-16,13 12 0,14-12 0,-1-1 16,27 1-16,0 12 15</inkml:trace>
  <inkml:trace contextRef="#ctx0" brushRef="#br0" timeOffset="104392.12">20730 5331 0,'0'0'15,"-66"0"1,26 27-16,-13-1 0,-79 27 16,66-13-16,0-14 0,0 14 15,13 0-15,-13-14 0,13 14 0,0-14 16,0 14-16,13-14 16,0 1-16,1-1 0,12-12 0,1 12 0,-1-13 15,14 1-15,0-14 0,0 13 16,-1-13-16</inkml:trace>
  <inkml:trace contextRef="#ctx0" brushRef="#br0" timeOffset="104639.24">19950 5384 0,'-53'40'0,"-53"39"16,66-52-16,-52 65 15,52-39-15,0-13 0,14 0 0,-1-1 16,14-12-16,13 13 0,0-14 16,0 0-16,26 14 0,1-13 15,26-1-15,13 0 0,0 1 0,14-14 16,12 0-16,27 14 0,13-14 0,-12-13 16,-15 13-16,-12-13 0,13 0 15,0 0-15,-14 0 0,14 14 0,-13-14 16,-14 0-16,0 0 0,1 0 15</inkml:trace>
  <inkml:trace contextRef="#ctx0" brushRef="#br0" timeOffset="111582.68">16947 8480 0,'-146'-40'15,"106"27"-15,-13 13 16,-52-13-16,38 13 16,1-13-16,-13 26 0,0-13 0,-1 13 15,-12-13-15,12 13 0,-12 14 0,12-14 16,-12 13-16,-1 1 15,0-1-15,27 1 0,-13-1 0,13 1 0,0-1 16,-1 14-16,15-14 0,-1 14 16,0-14-16,13 14 0,-13 26 15,27-26-15,12-14 0,14 41 16,0-41-16,14 0 0,-1 14 0,27 0 16,12-14-16,1 14 0,0-14 15,27 14-15,12-13 0,27-1 0,-13 0 16,26-12-16,-12-1 0,12 0 15,0-13-15,-26 0 0,26 0 0,1-13 16,-14 0-16,13-1 0,0 1 16,-26-13-16,13 13 0,-40-14 0,27 1 15,-26 12-15,-1-12 0,0 0 0,-12-14 16,-1 13-16,-13 1 0,0-14 16,-14 1-16,-12 12 0,-1-13 15,-13 1-15,-13 12 0,0-12 0,-13 12 0,0-13 16,-27 1-16,1-1 0,-14 0 15,-14 14-15,-25-14 0,-14 0 16,-13 14-16,0-14 0,0 27 0,-13-13 16,-1 12-16,1 14 0,26 0 0,14 0 15,-1 0-15,14 14 0,12-14 16,1 13-16</inkml:trace>
  <inkml:trace contextRef="#ctx0" brushRef="#br0" timeOffset="112471.19">21841 9287 0,'-26'-40'0,"52"80"0,-65-106 15,12 39-15,-12-12 0,-1-1 16,-13 0-16,0 1 0,-26-28 0,-14 14 16,0 1-16,1 12 0,-14-13 0,0 0 15,-13 13-15,0-13 0,0 14 0,0 12 16,0-12-16,0 12 0,0 14 15,13 13-15,13 0 0,-13 0 0,-13 13 16,-13 14-16,13-1 0,0 14 0,0-1 16,26 1-16,-13 13 15,27 0-15,0 0 0,26-13 0,13 12 16,14 1-16,-1-13 0,14 0 0,13 13 16,0-14-16,26 14 0,1 13 15,26-13-15,26 13 0,1-13 0,25 0 16,1 0-16,13 0 0,14-13 0,-1 0 15,13-1-15,160 27 0,-147-39 16,1-1-16,0 1 0,-14-14 16,14 0-16,-13 0 0,145 1 15,-159-14-15,-13 0 0,106-14 16,-132 1-16,-1 0 0,-12 0 16,-1-14-16,0 14 0,-13-27 15,-13 14-15,0-14 0,-26 1 0,-1-14 16,1 13-16,-27 0 0,0-13 0,-27 0 15,1 0-15,-14 1 0,-13-15 16,-26 1-16,-14 13 0,1-13 0,-27 13 16,-1 14-16,-25-14 0,-1 13 0,1 14 15,-146-27-15,145 26 16,1 14-16,13 0 0,26 13 0,13 0 16</inkml:trace>
  <inkml:trace contextRef="#ctx0" brushRef="#br0" timeOffset="126256.2">9208 3982 0,'26'0'47,"0"13"-47,1-13 0,13 0 16,12 13-16,-12 1 0,40-14 0,-14 13 16,26-13-16,1 13 0,13 0 15,158 1-15,-131-14 0,12 13 16,-13 0-16,1-13 0,-1 13 0,0 1 15,-26-14-15,0 13 0,-13 0 16,-1-13-16,1 13 0,-1-13 0,-12 13 16,-14-13-16,-13 14 0,0-14 15,0 0-15,26 13 0,-53-13 16,-12 0-16,12 13 0,-13-13 16,1 0-16,-1 0 0,0 0 15,0 0-15</inkml:trace>
  <inkml:trace contextRef="#ctx0" brushRef="#br0" timeOffset="128651.26">13044 3969 0,'13'0'32,"14"0"-17,-1 0-15,14 0 0,13 0 0,0 13 16,13-13-16,0 13 0,0 0 0,13-13 16,1 14-16,-1-1 0,1-13 15,-1 13-15,0-13 0,1 13 0,-1 1 16,0-14-16,-12 13 0,-1-13 0,0 13 15,-26-13-15,12 0 0,-25 13 0,13-13 16,-27 0-16,13 0 0,-12 0 16,-1 0-16,-53 14 31,14-14-31,-1 0 0,-26 0 16,0 0-16,-13 0 0,-13 0 0,-1 0 15,-12-14-15,12 14 0,-12 0 0,12 0 16,-25 0-16,12 0 0,14 0 15,-14-13-15,14 13 0,13 0 0,-1 0 16,28 0-16,-1-13 0,14 13 0,12 0 16,1 0-16,0 0 0,66 0 15,0 0 1,0 0-16,26 0 0,0 0 0,14 0 16,13 13-16,-14-13 0,14 0 15,0 0-15,-13 13 0,13-13 0,-14 0 16,1 0-16,-1 14 0,-12-14 15,-1 0-15,-26 0 0,0 0 0,0 13 16,-13-13-16,-14 0 0,-13 0 16,14 0-16,-14 0 0,-66-13 31,0 13-31,0 0 0,-13-14 16,0 14-16,-14 0 0,1-13 15,0 13-15,-14 0 0,14-13 0,-1 13 16,14 0-16,0 0 0,26-13 0,1 13 15,12 0-15,1 0 0,-1 0 16,93 0 0,-13 0-16,0 0 15,0 0-15,27 0 0,-14 0 16,13 13-16,-13-13 0,14 0 0,-27 0 16,13 0-16,-13 13 0,-14-13 0,14 0 15,-26 0-15,12 13 0,-25-13 16,12 0-16,1 0 0,-1 0 0,-13 14 15,14-14-15,-1 0 0</inkml:trace>
  <inkml:trace contextRef="#ctx0" brushRef="#br0" timeOffset="129728.26">15915 3969 0,'26'-13'31,"-13"13"-31,14 0 0,-1 0 16,1 0-16,12 0 0,1-14 0,13 14 15,0 0-15,0 0 0,-13 0 16,12 0-16,1 0 0,-26 14 0,13-14 16,-27 0-16,13 0 0,-13 0 15,14 0-15,-14 0 0,-53 13 32,14-13-32,0 0 15,-1 0-15,-26-13 0,0 13 16,0 0-16,0 0 0,0 0 0,1 0 15,-15 0-15,15 0 0,-1 0 0,13 0 16,0 0-16,14 0 0,-1 0 0,14 0 16,0 0-16,0 0 15,79 0 1,-40 0-16,27-14 0,0 14 16,0 0-16,0 0 0,0 0 15,0 0-15,0 0 0,0 0 16,-1-13-16,-12 13 0,0 0 0,-14 0 15,1 0-15,-14 0 0,0 0 16,0 0-16,-26-13 16,-13 13-16,-1 0 15,-12 0-15,-14-13 0,0 13 0,0 0 16,0 0-16,0 0 0,13 0 16,1 0-16,12 0 0,1 0 0,13-14 15,-1 28-15,1-14 0,0 0 0,0 0 16,39 13-1,1-13 1,-14 0-16,0 0 0,27 0 16,-27 0-16,0 13 15,14-13-15,-14 0 0,0 0 0,0 0 16,0 0-16,1 0 0,-1 0 16,0 0-1,0 0-15,1-13 16,-28 0 46,1 13-62,0 0 32</inkml:trace>
  <inkml:trace contextRef="#ctx0" brushRef="#br0" timeOffset="131254.85">16364 8559 0,'-26'-39'32,"13"39"-32,0-14 0,-1 1 15,1 13-15,0-13 0,0 13 16,-1-13-16,-12 13 0,-1-14 0,1 1 15,0 13-15,-14 0 0,0-13 16,-13 13-16,14 0 0,-14 0 0,0 0 16,0 0-16,0 0 0,0 13 0,0-13 15,0 13-15,-13-13 0,0 14 16,13-1-16,0 0 0,0 0 16,13 1-16,-65 12 0,65-13 15,-13 14-15,13-1 0,1 1 16,-1-1-16,0 1 0,14-1 0,-1 0 15,14 1-15,-13-1 0,12 14 16,14-13-16,-13-1 0,13 0 0,13 14 16,1-13-16,-1 12 0,0 1 15,14-14-15,-1 14 0,14 0 0,39 39 16,-26-52-16,0 12 0,13-12 16,-13 12-16,13-12 0,-13-1 15,13 1-15,14-1 0,-14 1 0,13-1 16,-13-13-16,14 1 0,-1-1 0,-13 0 15,0 0-15,14 1 0,-14-1 16,0-13-16,0 0 0,-13 13 0,13-13 16,53-13-16,-53 13 0,1 0 15,-1-13-15,-13 13 0,0 0 16,13-14-16,-13 1 0,13 13 0,0-13 16,-13 0-16,-14-1 0,14 1 0,0 13 15,-13-13-15,13 0 0,-13 0 16,12-1-16,-12 1 0,0 0 0,0 0 15,-14-1-15,14 1 0,-14 0 16,1 0-16,-1-1 0,1 1 16,-14 0-16,13 0 0,-13 0 0,14-1 15,-14 1-15,0 0 0,1 0 0,-1-14 16,0 14-16,-13-13 0,13 12 0,-13 1 16,0-13-16,14 12 0,-14-12 15,-14-1-15,14 14 0,0-13 0,-13-1 16,0 1-16,0-1 0,-14 1 0,14-1 15,-14 1-15,1 0 0,-14-1 16,14 1-16,-14 12 0,14-12 16,-14-1-16,0 14 0,-13-13 0,0 13 15,1-1-15,-15-12 0,15 13 0,-15-1 16,1 1-16,13 0 0,0 0 0,14-1 16,-14 14-16,13 0 0,-13-13 15,27 13-15,-40 0 0,52 0 16</inkml:trace>
  <inkml:trace contextRef="#ctx0" brushRef="#br0" timeOffset="132475.14">20717 8837 0,'-66'-66'31,"53"53"-31,-1 13 16,-12-14-16,13 1 0,-14 0 0,-13 0 15,1 13-15,-1-13 0,0-1 16,1 1-16,-14 0 0,13 13 0,-13-13 16,-13-1-16,-13 14 0,12 0 0,1-13 15,0 13-15,-53 0 16,40 13-16,13-13 0,-1 14 0,1-1 16,0-13-16,13 13 0,-13 0 0,13 1 15,0 12-15,0-13 0,14 0 16,-1 1-16,0 12 0,14-13 15,-14 14-15,14-1 0,-1 1 0,1-1 16,-1 1-16,1-1 0,-1 14 16,1-14-16,13 1 0,-1-1 0,1 1 15,0 26-15,13-27 0,0 1 16,0-1-16,0 0 0,13 1 16,0 13-16,1-1 0,-1-12 0,13 12 15,14-12-15,0 13 0,-1-14 16,1 0-16,13 1 0,0-1 0,0 1 15,0-1-15,0 1 0,0-14 0,13 13 16,-13-12-16,79 12 16,-79 1-16,13-14 0,53 13 15,-53-13-15,-13 1 0,0-1 16,13 0-16,0 0 0,1 1 0,-1-1 16,0 0-16,0 0 0,13-13 0,-12 14 15,-1-1-15,0 0 0,0-13 0,0 13 16,0-13-16,14 13 0,65 1 15,-79-14-15,14 0 0,65 13 16,-92-13-16,26 13 16,-12-13-16,-1 0 0,0 0 15,0 0-15,-13 0 0,0 0 0,0 0 16,0 0-16,0 0 0,-14 0 0,14 0 16,-13 0-16,39-13 0,-39 13 15,13-13-15,-27 13 0,1-14 16,-1 14-16,1-13 0,12 13 0,-12-13 15,-14 0-15,14 13 0,-1-13 0,-13-1 16,14 1-16,-14 0 0,0 0 16,14-1-16,-14 1 0,0-13 15,0 12-15,1 1 0,-14-13 16,0 13-16,0-1 0,13-12 0,-26-1 16,13 1-16,-14-14 0,-12-26 15,-1 26-15,-12 1 0,12-1 16,-12 0-16,-1 14 0,-13-14 0,13 14 15,-13-14-15,-13 14 0,13-1 16,-13-12-16,-13 12 0,-14-13 0,1 1 16,25 12-16,-38-12 0,12 12 0,0 1 15,-92-27-15,66 26 0,13 1 16,0-1-16,1 1 0,12 13 16</inkml:trace>
  <inkml:trace contextRef="#ctx0" brushRef="#br0" timeOffset="134546.4">5636 1402 0,'0'0'0,"0"-13"0,13 0 16,0 13 0,14-13-16,12-1 0,1 1 15,13 0-15,13 0 0,0-1 0,-13 14 16,13-13-16,0 0 0,-13 13 0,0-13 16,0 13-16,0-13 0,-13 13 15,13-14-15,-14 14 0,-12 0 0,-1 0 16,1-13-16,-14 13 0,13 0 0,-12 0 15,-1 0-15,0 13 16</inkml:trace>
  <inkml:trace contextRef="#ctx0" brushRef="#br0" timeOffset="134815.31">5715 1429 0,'-13'0'0,"26"0"0,27 0 16,-14 0-16,14-13 16,13 13-16,0-14 0,13 1 15,0 13-15,0-13 0,0 0 0,0-1 16,1 1-16,-1 0 0,-13 13 0,0-13 16,-14-1-16,14 14 15,-13-13-15,-14 13 0,1-13 0,-1 13 16,-13 0-16,1 0 0,12 0 0,-13-13 15,1 13-15,-14 13 16,-14 0 15,1-13-31</inkml:trace>
  <inkml:trace contextRef="#ctx0" brushRef="#br0" timeOffset="144355.31">14301 1574 0,'0'27'16,"0"-14"-16,-13 0 0,13 14 0,-14-14 15,14 13-15,-13 14 0,0-14 0,0 1 16,13-1-16,-14 1 0,1-1 16,13 1-16,-13-14 0,13 13 0,-13-12 15,13 12-15,-14-13 0,14 1 0,0-1 16,-13 0-16,13 0 0,0 1 0,0-1 16,-13-13-16</inkml:trace>
  <inkml:trace contextRef="#ctx0" brushRef="#br0" timeOffset="144598.04">14420 1561 0,'-13'0'0,"-40"27"31,26-14-31,1 0 0,-1 13 0,1-12 16,-1 12-16,1 1 0,-14-1 16,14 0-16,-1-12 0,1 12 15,-1 1-15,14-14 0,-13 0 0,12 0 16,1 1-16,0-14 0</inkml:trace>
  <inkml:trace contextRef="#ctx0" brushRef="#br0" timeOffset="145064.57">14182 1588 0,'0'0'0,"13"13"0,0-13 0,0 13 0,1 0 16,12-13-16,-13 13 0,14 1 16,-1-1-16,-13 0 0,27 0 0,-13 1 15,-1-1-15,0-13 0,1 13 16,-14 0-16,14-13 0,-14 13 0,0-13 15,0 14-15,1-14 0,-1 13 0,0-13 16,0 0-16,-13 13 16,13-13-16,1 0 15,-14 13-15,13-13 16,0 0 0,0 14 30,-26-41 111</inkml:trace>
  <inkml:trace contextRef="#ctx0" brushRef="#br0" timeOffset="150078.94">17529 8665 0,'-27'-13'0,"54"26"0,-67-39 0,13 26 0,14-14 16,0 14-16,-13-13 0,-1 0 0,1 0 16,-14-1-16,0 1 15,1 0-15,12 0 0,-13 0 0,1-1 0,-1 1 16,0 0-16,1 0 0,-1-1 16,-13 1-16,13 0 15,-26 0-15,13 0 0,-13-1 0,13 1 0,-13 0 16,0 0-16,0 13 0,0-14 0,0 14 15,-14-13-15,14 13 0,0 0 16,0 0-16,0 0 0,13 0 0,0 0 16,-13 0-16,13 0 0,0 0 0,-13 13 15,0 1-15,-1-1 0,1 0 16,13 0-16,-13 1 0,13-1 0,0 0 16,0 13-16,0-12 0,-13 12 15,27 1-15,-1-14 0,-13 26 16,27-25-16,-1 12 15,1 1-15,-1-1 0,14 1 16,0-14-16,13 13 0,-13 1 16,13-1-16,0-13 0,-14 14 0,28-1 15,-14 1-15,13 39 0,0-26 16,13-14-16,-12 1 0,12-1 16,1 0-16,25 27 0,-25-26 15,13-1-15,26 14 0,-40-14 16,27 1-16,-26-1 15,12 1-15,14-14 0,13 27 16,-13-14-16,0 1 0,-13-14 0,66 13 16,-53-12-16,0-1 0,-1 0 15,1 0-15,0 0 0,53 1 16,-53-14-16,0 13 0,53 0 16,-53-13-16,13 0 0,-13 0 15,0 0-15,-14 0 0,14 0 16,0-13-16,-13 13 0,0 0 0,13 0 15,13-13-15,-40 13 0,1 0 16,12 0-16,-12-14 0,-1 14 16,40-13-16,-26 0 15,-14 13-15,14-13 0,0 0 0,0-1 16,-14 1-16,14 13 0,-14-13 16,1 0-16,-1-1 0,14 1 15,-14 0-15,1 13 0,12-13 16,-25-1-16,12 14 0,0-13 15,-12 13-15,-1-13 0,40 0 16,-40 0-16,14 13 0,12-14 16,-26 1-16,1 13 0,12-13 15,-13 0-15,14 13 0,-14-14 0,0 14 16,14-13-16,-14 0 0,27 0 16,-27 0-16,0-1 0,14 1 15,-14 0-15,0 0 0,14-1 16,-1-12-16,-13 13 0,0-1 15,14-12-15,-14 13 0,0 0 16,-13-1-16,14 1 0,-14 0 16,0 0-16,0-1 0,0 1 0,0 0 15,-14-14-15,14 1 0,-26 0 0,13-1 16,-14 14-16,1-14 0,13 1 16,-27-1-16,13 1 0,1 0 0,-14 12 15,1-12-15,-41-14 16,40 14-16,1-1 0,-67-12 15,53 25-15,-66-25 16,66 25-16,0 1 0,0 13 0,14-13 16,-14 13-16,0 0 0,0-13 0,0 13 15,0 0-15,0 0 0</inkml:trace>
  <inkml:trace contextRef="#ctx0" brushRef="#br0" timeOffset="152212">21577 9009 0,'-13'-13'0,"-27"-27"15,27 27-15,-14 0 16,1-1-16,-1 1 0,1-13 16,-14 13-16,0-1 0,1 1 15,-1-13-15,0 12 0,-52-12 0,39-1 16,-13 14-16,26 0 0,-13 0 15,0 0-15,-13-1 0,13 1 16,-13 0-16,0 0 0,0-1 0,13 14 16,13-13-16,-26 0 0,13 13 15,0-13-15,0 13 0,0 0 0,0 0 16,-13 0-16,13 0 0,0 0 0,-13 0 16,13 0-16,0 13 0,-52-13 15,52 13-15,0-13 0,-53 27 16,53-27-16,0 13 0,0-13 15,13 13-15,-12 0 0,12 1 16,0-14-16,0 13 0,1 0 0,-1 0 16,0 0-16,14 1 0,-1-1 0,-12 0 15,12 14-15,1-14 0,-1 13 16,-12 14-16,12-14 16,14-12-16,0 12 0,0 1 0,-1-14 15,14 13-15,-13-12 0,13 12 16,0-13-16,0 14 0,0-1 0,13 1 15,-13-14-15,14 27 0,-1-14 16,13 14-16,1-14 0,-1 14 0,14-1 16,-14 1-16,27-13 0,40 39 15,-40-27-15,0-12 0,0-1 16,0 14-16,-1-13 0,1-1 0,14 0 16,-1 1-16,0-1 0,0-12 15,13 12-15,-13 0 0,1 1 0,-1-14 16,13 14-16,-13-14 0,0 13 0,14-12 15,-1-1-15,-13 13 0,14-13 16,-14 1-16,13-14 0,-13 13 0,14 0 16,-14-13-16,13 0 0,-13 13 0,14-13 15,-27 0-15,13 0 0,0 0 16,0 0-16,0 0 0,-13 0 0,0-13 16,0 13-16,0 0 0,13 0 0,-26-13 15,13 13-15,0 0 0,0 0 16,-14-13-16,1 13 0,-14 0 0,1-14 15,13 14-15,12-13 0,-25 13 16,-1-13-16,1 13 16,-14-13-16,13 13 0,1-13 0,-1 13 15,-12-14-15,12 1 0,-13 0 0,14 13 16,-14-13-16,13-1 0,-12 1 0,-1 0 16,0 13-16,0-13 0,1-1 15,-1 1-15,0 0 0,-13 0 0,13-14 16,1 27-16,-14-13 0,0 0 15,0 0-15,0-1 0,0 1 16,-14 0-16,14 0 0,-13 13 16,13-13-16,-13-1 0,0 14 0,13-13 15,-14 0-15,1 0 0,0 13 16,0-14-16</inkml:trace>
</inkml:ink>
</file>

<file path=ppt/ink/ink18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2:05:44.946"/>
    </inkml:context>
    <inkml:brush xml:id="br0">
      <inkml:brushProperty name="width" value="0.05292" units="cm"/>
      <inkml:brushProperty name="height" value="0.05292" units="cm"/>
      <inkml:brushProperty name="color" value="#0070C0"/>
    </inkml:brush>
  </inkml:definitions>
  <inkml:trace contextRef="#ctx0" brushRef="#br0">4630 1323 0,'27'-13'0,"-14"-1"16,13 14-16,14-13 0,13 13 15,13-13-15,13 0 0,1 13 0,12-13 16,1-1-16,0 1 0,-1 13 0,41-13 15,-28 13-15,1 0 0,0-13 16,0 13-16,0 0 0,-14 0 0,1-14 16,0 14-16,-14 0 0,0 0 0,27 0 15,-53 0-15,-13 0 0,-14 0 16,1 0-16,-1 0 0,-13 0 16,1 0-16,12 14 15,-52-1 1,-1-13-16,1 0 0</inkml:trace>
  <inkml:trace contextRef="#ctx0" brushRef="#br0" timeOffset="284.91">4723 1442 0,'-27'13'0,"54"-26"16,-67 26-16,67 0 15,-14-13-15,26-13 0,14 13 16,14 0-16,12 0 0,14-13 16,92 0-16,-93 13 0,27-13 15,-13-1-15,0 14 0,-13-13 0,13 13 16,-14-13-16,1 13 0,-14 0 16,0-13-16,-12 13 0,-14 0 0,-14 0 15,27 0-15,-52 0 0,12 0 16,-13 0-16,1 0 0,-1 0 15,0 0-15,0 0 0</inkml:trace>
  <inkml:trace contextRef="#ctx0" brushRef="#br0" timeOffset="1376.96">10332 1204 0,'40'-13'31,"-27"13"-31,27 0 16,52-14-16,-26 14 0,0-13 15,93 0-15,-66 13 0,-1-13 16,14 13-16,-13 0 0,39-14 16,0 14-16,-26 0 0,27-13 0,-28 13 15,1 0-15,0 0 0,0 0 16,-13 0-16,12-13 0,-12 13 16,-14 0-16,1 13 0,-27-13 0,0 0 15,-1 0-15,-25 0 0,-1 0 0,1 0 16,-14 0-16</inkml:trace>
  <inkml:trace contextRef="#ctx0" brushRef="#br0" timeOffset="1676.24">10464 1416 0,'252'-27'15,"-160"14"1,1 13-16,132-27 0,-93 27 16,0 0-16,-13-13 15,0 13-15,1 0 0,-15 0 0,1 0 16,0 0-16,-13 0 0,12 0 0,-12 0 0,-14 13 15,1-13-15,-1 0 0,-26 14 16,0-14-16,-13 13 0,-14-13 0,1 0 16,-1 13-16,-13-13 0,-13 13 15,14-13-15</inkml:trace>
  <inkml:trace contextRef="#ctx0" brushRef="#br0" timeOffset="4175.22">5477 2328 0,'0'0'15,"-13"0"-15,39-13 31,1 13-15,-14 0-16,26 0 0,14 0 0,0 0 16,0-13-16,27 13 0,-1 0 15,0 0-15,-13 0 0,14 0 0,-14 0 16,-13 0-16,13 13 0,-13-13 0,0 0 16,-13 0-16,13 0 0,-14 0 15,-12 13-15,-1-13 0,1 0 0,-1 0 16,-13 0-16,1 0 0,-1 0 15,0 0-15,0 0 0,0 0 0,-13 14 16,-26-14 15,13 0-31</inkml:trace>
  <inkml:trace contextRef="#ctx0" brushRef="#br0" timeOffset="4572.93">5596 2408 0,'0'-14'0,"13"14"31,0 0-31,1-13 0,12 13 0,14 0 16,13 0-16,0 0 0,0 0 15,26 0-15,0-13 0,-13 13 0,14 0 16,-27 0-16,13 0 0,-13 0 0,0 0 16,0 0-16,-14 0 0,-12 0 15,12 0-15,-12 0 0,-1 0 0,1 0 16,-1 0-16,1 0 0,-14 0 0,27 0 16,-27 0-16,0 0 15,0 0-15,1 0 0,-1 0 16,0 13-1,0-13 1,0 0 0,1 13-1</inkml:trace>
  <inkml:trace contextRef="#ctx0" brushRef="#br0" timeOffset="6275.08">8652 2315 0,'-13'0'16,"52"0"15,-25 0-31,118-13 15,-79 13-15,13 0 0,13 0 16,1-13-16,-1 13 0,14 0 16,-14 0-16,14 0 0,-1 0 15,14 0-15,-13 0 0,-1 0 0,14 13 16,-13-13-16,-1 0 0,14 0 0,0 13 16,-13-13-16,12 0 0,-12 13 15,0-13-15,-1 0 0,14 0 0,-27 14 16,14-14-16,-14 0 0,1 13 15,-1-13-15,-13 0 0,-13 0 0,0 13 16,0-13-16,-13 0 0,-1 0 0,-12 0 16,-1 0-16,-12 13 0,-1-13 15,13 0-15,-12 0 0,-1 0 16,0 0-16,0 0 0,0 0 16,1 0-1,-1 0 1,0 0-1,0 0 1,1 0 187,-28-26-172,1 26-15,13-13-16</inkml:trace>
  <inkml:trace contextRef="#ctx0" brushRef="#br0" timeOffset="8055.68">8361 1693 0,'53'14'0,"-27"-14"0,-13 0 16,14 0-16,-1 0 0,1 0 0,12 0 15,-12 0-15,13 0 0,-1 0 16,14 0-16,0 0 0,53 13 16,-53-13-16,13 0 0,-13 0 0,26 0 15,-12 0-15,-1 0 0,0 0 16,0 13-16,13-13 0,-13 0 0,14 0 16,-1 13-16,-13-13 0,14 0 0,-14 13 15,13-13-15,-13 14 0,14-14 16,-14 13-16,13-13 0,-13 13 0,14-13 15,-14 13-15,0-13 0,0 0 16,0 14-16,1-14 0,-15 13 16,1-13-16,0 0 0,13 13 0,-13-13 15,0 13-15,0-13 0,13 0 0,-13 14 16,-13-14-16,13 0 0,0 13 16,0-13-16,-14 0 0,14 0 0,0 13 15,-13-13-15,13 0 0,-27 0 0,14 0 16,0 13-16,-1-13 0,1 0 15,-14 0-15,14 0 0,0 0 16,-14 0-16,14 0 0,-14 0 0,14 0 16,-13 0-16,-1 0 0,14 0 15,-14 0-15,1 0 0,-1 0 0,1 0 16,-1 0-16,14 0 0,-14 0 0,1 0 16,-1 0-16,1 0 0,12 0 15,-12 0-15,-1-13 0,1 13 0,12 0 16,-25 0-16,12 0 0,0 0 0,1 0 15,-1 0-15,1-13 0,-1 13 16,1 0-16,-1 0 0,1 0 0,-1-13 16,1 13-16,-1 0 0,1 0 0,-1 0 15,0-14-15,-12 14 0,12 0 16,27 0-16,-40-13 0,14 13 16,-1 0-16,-13 0 0,14 0 15,-14-13-15,0 13 0,14 0 0,-14 0 16,13 0-16,-12-13 0,-1 13 15,0 0-15,0 0 0,14 0 16,-14 0-16,0-14 0,1 14 0,-1 0 16,0 0-16,0 0 0,0 0 15,14 0-15,-14-13 0,0 13 0,1 0 0,-1 0 16,0 0-16,13 0 0,1 0 16,-14 0-16,0 0 0,14 0 15,-14 0-15,0 0 0,1 0 0,-1 0 16,13 0-16,-13-13 0,1 13 15,12 0-15,-13 0 0,1 0 16,-1 0-16,13 13 0,-12-13 0,-1 0 16,0 0-16,0 0 0,0 0 0,1 0 15,12 0-15,1 0 16,-14 0-16,0 0 0,0 0 16,1 13-16,-1-13 0,0 0 0,0 0 15,0 0-15,1 0 16,-1 0-16,0 0 0,0 0 15,1 0-15,-1 0 16,0 0-16,-13 14 16,13-14-16,1 0 15,-1 0 1,0 0 15,-13 13-15,0 0-16,13-13 15,-13 13-15,0 1 16,0-1-16,0 0 0,13 0 0,-13 0 16,0 1-16,0-1 0,0 0 0,0 0 15,14 1-15,-14-1 16,0 0-16,0 0 0,0 1 0,0-1 16,13 0-16,-13 0 0,0 0 0,0 1 15,13-1-15,-13 0 0,0 0 16,13 1-16,-13-1 0,0 0 15,14 0-15,-14 0 16,0 1-16,13-1 16,-13 0-1,13 0 1,0 1 0,0-14 30</inkml:trace>
  <inkml:trace contextRef="#ctx0" brushRef="#br0" timeOffset="9199.51">14751 2408 0,'978'-14'31,"-1163"14"-31,53 14 0,53-14 16,-1 0-16,1 0 0,13 0 15,-14 0-15,27 0 0,-13 13 16,27-13-16,-1 0 0,0 0 0,27 0 16,-13 0-16,12 0 0,1 0 0,40 13 31,-1-13-31,14 0 0,65 0 15,-38 0-15,-1 0 0,0 0 16,0 0-16,13 0 0,-26 0 16,14 0-16,-15 0 0,15 0 0,-14 13 15,-14-13-15,1 0 0,0 0 0,-14 0 16,0 0-16,-12 0 0,12 0 16,-13 0-16,1 0 0,-1 0 0,0 0 15,0 0-15,1 0 16,-1 0-16,-13-13 15,0 0 17,0 0-17,0-1 1,-13 14-16</inkml:trace>
  <inkml:trace contextRef="#ctx0" brushRef="#br0" timeOffset="10384.2">14843 5318 0,'-26'106'32,"26"-40"-17,-14 0-15,-12 14 0,-27 264 16,27-212-16,-14 159 15,27-132-15,-14-1 0,14 14 16,13 14-16,-13 38 0,0-52 0,-1 0 16,1 67-16,0-81 0,13 14 15,-27 146-15,27-173 0,-13-12 16,13-1-16,0 0 0,-13-13 0,13-39 16,0 12-16,0-12 0,0-1 15,-13 53-15,13-92 0,0 13 16,-14-27-16,14 1 0,0-14 15,0 0-15,-13-13 0</inkml:trace>
  <inkml:trace contextRef="#ctx0" brushRef="#br0" timeOffset="10916.11">13507 9049 0,'79'13'16,"1"-13"0,-14 0-16,-13 0 0,26 0 0,14 0 15,-14 0-15,27 0 0,0 0 0,26 0 16,14-13-16,-1 13 0,1 0 15,12 0-15,1 0 0,0 0 0,13 0 16,13 0-16,0 0 0,1 0 0,-1 13 16,0-13-16,27 0 0,-14 13 15,0-13-15,1 0 0,13 13 16,-14-13-16,14 14 0,-14-14 0,1 13 0,12 0 16,-12 0-16,-14 1 0,13-1 15,-12-13-15,-14 26 0,-1-12 16,-12-1-16,0 0 0,-14 0 0,-12 0 15,-14 1-15,-27-14 0,1 13 0,-14 0 16,-12-13-16,38 0 0,-65 0 16,-13 0-16</inkml:trace>
  <inkml:trace contextRef="#ctx0" brushRef="#br0" timeOffset="11686.2">14790 5252 0,'0'13'0,"-26"27"15,13-27-15,-1 0 16,-12 27-16,-1-13 15,14-1-15,-40 14 0,40-14 0,-13-13 16,12 14-16,1-14 16,0 0-16,-14 14 0,14-27 15,13 13-15,-13-13 0,13 13 0</inkml:trace>
  <inkml:trace contextRef="#ctx0" brushRef="#br0" timeOffset="11897.19">14671 5318 0,'27'-26'0,"12"26"32,-25 13-17,-1 0-15,13 0 0,-13 1 0,40 39 16,-26-40-16,12 13 16,-12 1-16,13-1 0,-1-13 15,1 14-15,0-1 0,-1 1 0,1-14 16,0 13-16,-1-12 0,-12 12 0,13-13 15,65 27-15,-52-14 0,0 1 16</inkml:trace>
  <inkml:trace contextRef="#ctx0" brushRef="#br0" timeOffset="12906">20677 9168 0,'13'13'47,"1"-13"-47,-1 13 0,0-13 15,-13 14-15,27-14 0,-14 13 0,0 0 0,13-13 16,-12 13-16,12 0 0,-13-13 16,14 14-16,-14-1 0,14-13 0,-14 13 15,0-13-15,0 13 0,0-13 16,1 14-16,-1-14 0,-13 13 0,13-13 16,-13 13-16,-13 13 15,0-12-15,-14-1 0,-12 13 16,-54 27-16,40-26 0,-13-1 15,0 1-15,0-1 0,-1 1 16,1-1-16,13 1 0,0-1 0</inkml:trace>
  <inkml:trace contextRef="#ctx0" brushRef="#br0" timeOffset="16300.29">14459 8612 0,'14'0'0,"-1"0"0,0 0 16,14 0-16,-14 0 0,0-13 15,0 13-15,14 0 0,-14 0 16,0 0-16,14 0 0,-14 0 0,0 0 16,0 0-16,1 0 0</inkml:trace>
  <inkml:trace contextRef="#ctx0" brushRef="#br0" timeOffset="16853.07">13758 8520 0,'0'13'16,"0"0"0,0 0-16,-13 0 0,13 14 15,0-14-15,-13 0 0,13 1 16,0-1-16,0 0 0,-13 0 0,13 1 16,0-1-16,0 0 15,0 0-15</inkml:trace>
  <inkml:trace contextRef="#ctx0" brushRef="#br0" timeOffset="17129.15">13904 8625 0,'-27'14'32,"27"-1"-32,0 0 15,0 0-15,14 1 16,-1-14-16,0 13 0,0-13 15,1 0 1,-1 0-16,0 0 0,0 0 0,0-13 16,1-1-16,-14 1 15,0 0-15,-14 13 16,14-13-16,-13-1 0,0 1 0,-13 13 16,12-13-16,1 13 0,-13-13 15,12-1-15,1 14 0,0-13 0,-14 0 16,14 13-16,13-13 0,-13 13 15</inkml:trace>
  <inkml:trace contextRef="#ctx0" brushRef="#br0" timeOffset="17525.34">14473 7766 0,'26'0'0,"27"-14"16,-40 1-1,14 13-15,-1 0 0,-13-13 16,1 13-16,-1 0 0</inkml:trace>
  <inkml:trace contextRef="#ctx0" brushRef="#br0" timeOffset="18228.16">13679 7713 0,'0'0'0,"13"-14"16,0 14-16,1 14 15,-1-1 1,-13 0-16,-13 0 0,13 1 16,-14-1-16,14 0 0,-13 13 15,13-12-15,-13-1 0,0 0 0,13 0 16,-14 1-16,1-1 16,13 0-16,-13 0 0,13 1 15,26-14 16,-12-14-31,-1 14 0,0-13 0,0 0 16,14 0-16,-14 13 0,0-14 16,1 1-16,-1 13 0,0-13 0,0 13 15,0-13-15,1 13 16,-14 13 0,13-13-16,-13 13 0,13-13 15,0 0-15,1 0 0,-1 0 16,13 0-16,-12 0 0,-1 0 15,0-13-15,0 13 16,0-13-16,-13-1 16,14 14-16,-28-13 0,14 0 15,-13 0-15,0 0 16,0 13-16,0-14 0,-14 14 0,27-13 16,-13 13-16,0 0 0,-1 0 0,14-13 15,-13 13-15</inkml:trace>
  <inkml:trace contextRef="#ctx0" brushRef="#br0" timeOffset="18625.99">14539 7197 0,'0'0'16,"26"-14"-1,-12 14-15,-1 0 0,0 0 16,0-13-16,14 13 0,-14 0 0</inkml:trace>
  <inkml:trace contextRef="#ctx0" brushRef="#br0" timeOffset="19276.36">13732 7025 0,'13'-14'0,"0"14"15,1-13-15,-1 13 16,0 0-16,0 13 0,0-13 16,1 0-16,-14 14 15,0-1-15,0 0 16,-14-13-16,14 13 15,0 1-15,14-1 16,-1 0 0,0 0-1,-13 1 1,0-1 0,-13-13-16,13 13 0,-13-13 0,-1 13 15,1 0-15,0-13 0,0 14 16,0-1-16,-1-13 0,1 13 15,0-13-15,0 0 0</inkml:trace>
  <inkml:trace contextRef="#ctx0" brushRef="#br0" timeOffset="19541.95">13970 7038 0,'13'13'31,"-13"0"-16,0 1-15,13-1 16,1-13-16,-1 13 0,0-13 16,0 0-16,1 0 0,-1 0 15,0 0-15,0-13 0,1 0 16,-14-1-16,0 1 16,-14 0-16,14 0 0,-13 13 15,0-14-15,0 1 0,-14 0 16,14 13-16,0-13 0,-1 13 15,1-13-15,0 13 0,0 0 0,13-14 16,-13 1 0,26 0-16</inkml:trace>
  <inkml:trace contextRef="#ctx0" brushRef="#br0" timeOffset="19896.33">14526 6429 0,'39'-13'15,"-25"13"-15,-1 0 0,13 0 0,14-13 16,-14 13-16,1 0 0,-1 0 15,14-13-15,-27 13 16,0 0-16</inkml:trace>
  <inkml:trace contextRef="#ctx0" brushRef="#br0" timeOffset="20332.47">13877 6390 0,'-26'0'31,"13"0"-15,-1 13-16,1-13 0,13 13 0,-13 0 16,0-13-16,0 14 0,-1-1 15,-12 0-15,26 0 0,-13 1 16,-1-1-16,14 0 0,14 0 31,-1 0-31,0-13 0,0 0 16,1 0-16,-1 0 0,0 14 15,0-14-15,0 0 0,1 0 0,-1 0 16,0-14-16,0 14 0,1 0 16,-1 0-16</inkml:trace>
  <inkml:trace contextRef="#ctx0" brushRef="#br0" timeOffset="20757.95">13983 6363 0,'0'0'0,"-13"-13"0,0 13 15,0 0 1,13 13-16,-14-13 0,14 13 16,-13 1-16,0-1 0,13 0 15,-13 27-15,13-27 16,-14 0-16,14 1 0,14-1 0,-14 0 15,0 0-15,13-13 0,-13 13 16,13-13-16,0 0 0,1 0 16,12 0-16,-13 0 15,0 0 1,1 0-16,-1 0 16,0 0-1,-13 14-15,13-14 0,1 0 16,-1 0-16,13 0 15,-12 0 1,-1-14-16,0 14 0,-13-13 0,13 13 0,0-13 16,1 0-16,-14 0 15,0-1-15,0 1 16,-14-13-16,1 12 0,13 1 16,-13 0-16,0 0 0,0-1 0,-1 1 15,-12-13-15,26 13 0,-13-1 16,13 1-16,13 0 15,-13 0-15</inkml:trace>
  <inkml:trace contextRef="#ctx0" brushRef="#br0" timeOffset="21076.92">14605 5847 0,'26'-13'16,"-12"13"-16,-1 0 0,0-13 0,14 13 16,-1 0-16,27-13 0,-27 13 15,-12 0-15,12-14 16,-13 14-16,1 0 0,-1 0 0</inkml:trace>
  <inkml:trace contextRef="#ctx0" brushRef="#br0" timeOffset="21644.28">13996 5728 0,'14'0'0,"-54"13"32,27 1-17,0-1-15,-1-13 0,1 13 0,0 0 16,-14-13-16,14 14 0,13-1 16,-13-13-16,13 13 0,-13-13 0,13 13 15,0 1-15,13-14 16,0 13-16,0-13 0,1 0 15,12 13-15,-13-13 16,1 0-16,-1 13 0,0-13 16,-13 13-1,-13-13-15,0 14 16,-1-14-16,1 13 0,0 0 0,-14-13 16,1 13-16,13-13 0,-1 14 15,-12-14-15,13 0 0,0 13 0,-1-13 16,1 0-16,0 0 0,13-13 15,13-1 1</inkml:trace>
  <inkml:trace contextRef="#ctx0" brushRef="#br0" timeOffset="21891.97">14063 5768 0,'13'0'0,"-26"0"0,26 13 15,-13 0-15,0 1 16,13-1-16,0 0 15,1-13-15,-1 0 16,-13 13-16,13-13 0,0-13 0,0 13 16,1 0-16,-1 0 0,-13-13 15,13 13-15,0-13 0,-13-1 16,0 1-16,0-13 16,-13 26-16,13-14 0,-13 1 0,0 13 15,-1 0-15,1-13 0,-13 26 16,13-13-16,-14 13 0,1 1 0,-14-1 15,13 0-15,1 14 0,13-14 0,-14 13 16</inkml:trace>
  <inkml:trace contextRef="#ctx0" brushRef="#br0" timeOffset="22554.04">14962 9049 0,'0'-13'31,"0"39"-15,0-13-1,0 0-15,0 1 16,0-1-16,0 0 0,-13 0 0,13 1 16,0-1-16,0 0 0,0 0 0,0 1 15,0-1-15</inkml:trace>
  <inkml:trace contextRef="#ctx0" brushRef="#br0" timeOffset="23683.95">14830 9512 0,'-40'66'16,"40"-53"0,-13 0-16,13 14 0,-13-14 0,13 14 15,0-14-15,0 0 0</inkml:trace>
  <inkml:trace contextRef="#ctx0" brushRef="#br0" timeOffset="24874.03">15756 8903 0,'0'-13'0,"0"26"0,-27 0 15,14 1 1,13-1-16,-13 13 0,13-12 16,-13 12-16,0 1 0,13-14 0,-14 26 15,1-12-15,0-1 0,0 14 16,13-13-16,-14-1 0,14 0 15</inkml:trace>
  <inkml:trace contextRef="#ctx0" brushRef="#br0" timeOffset="25211.93">15478 9499 0,'13'-14'16,"-26"28"-16,40-28 15,-14 14-15,0 0 0,0 0 16,-13 14-16,14-1 0,-14 0 16,0 0-16,-14 0 0,14 1 15,-13-1-15,0 13 0,13-12 0,-13-1 16,-1 0-16,14 14 0,-13-14 15,13 0-15,27-13 32,-14-13-32,53-14 15,-26 14-15,-1-13 0,54-14 16,-40 13-16,-13 1 16,-1 13-16,-12-14 0</inkml:trace>
  <inkml:trace contextRef="#ctx0" brushRef="#br0" timeOffset="25495.86">16484 8916 0,'-27'40'15,"-13"66"1,40-93 0,0 14-16,-13-14 0,13 13 15,0-12-15,0-1 0,0 13 16,13 1-16,-13-14 0,0 13 0</inkml:trace>
  <inkml:trace contextRef="#ctx0" brushRef="#br0" timeOffset="25840.81">16404 9499 0,'-13'-14'16,"13"28"-1,-13-1-15,13 0 16,0 0-16,-14-13 0,14 13 16,0 1-16,0-1 0,14 0 15,-14 0 1,0 1-16,0-1 15,0 0-15,0 0 0,-14 1 16,1-1-16,13 0 0,-13 0 16,0-13-16,0 13 0,13 1 15,-27-1-15</inkml:trace>
  <inkml:trace contextRef="#ctx0" brushRef="#br0" timeOffset="26271.95">17211 9036 0,'0'-14'16,"-13"41"-1,13-14-15,0 0 0,-13 14 0,13-14 16,-14 13-16,14 14 0,-13 0 15,0-14-15,13 14 0,-13 0 0,0-14 16,13 0-16</inkml:trace>
  <inkml:trace contextRef="#ctx0" brushRef="#br0" timeOffset="26672.27">17079 9671 0,'-40'13'0,"80"-26"0,-93 39 0,26-26 15,14 13-15,0 0 0,0-13 16,13 14-16,-13-14 16,13 13-16,0 0 15,0 0 1,13-13-16,0 0 15,0 0-15,0 0 16,1 0-16,12-13 0,-13 13 16,27-26-16,0 12 31,-40 1-31,-13 40 31,13-14-15,-14 0-16,14 0 0,-13 1 0,0-1 15,13 13-15,0-13 0,-13 1 16,13-1-16,0 13 0,13-12 0,-13-1 16,13-13-16,0 13 15</inkml:trace>
  <inkml:trace contextRef="#ctx0" brushRef="#br0" timeOffset="27027.01">17648 8996 0,'-14'53'32,"14"-40"-32,0 0 15,0 0-15,0 14 0,0-14 0,0 14 16,0-14-16,0 13 0,14-12 0,-14 12 15,0 0-15,0-12 0,0 12 16,-14 1-16,14-1 0</inkml:trace>
  <inkml:trace contextRef="#ctx0" brushRef="#br0" timeOffset="27336.84">17621 9538 0,'-53'13'16,"40"-13"-16,0 14 0,0-14 16,13 13-16,13 0 15,-13 0-15,13 1 16,0-1-16,1 0 0,-14 0 15,13 1-15,-13-1 0,0 0 0,0 0 16,0 0-16,-13 1 0,13-1 0,-14 0 16,1 0-16,0-13 0,13 14 15,-13-1-15,-1-13 0,14-13 32</inkml:trace>
  <inkml:trace contextRef="#ctx0" brushRef="#br0" timeOffset="27612.11">18164 9075 0,'-14'53'31,"14"-40"-31,0 14 0,0-14 16,0 14-16,0 12 0,0-12 15,-13 12-15,13 1 0,0-14 0,0 1 16</inkml:trace>
  <inkml:trace contextRef="#ctx0" brushRef="#br0" timeOffset="27901.66">18230 9657 0,'-40'40'15,"27"-27"-15,13 0 0,-27 40 32,41-39-32,-1-1 15,-13 0-15,13-13 0,-13 13 16,13-13-16,-39 0 31,26 13-31,-13-13 16,-1 0-16,1 0 0</inkml:trace>
  <inkml:trace contextRef="#ctx0" brushRef="#br0" timeOffset="28221.07">18772 9128 0,'0'-13'16,"0"53"0,0-27-16,0 0 15,0 0-15,0 14 0,0-1 0,0 1 16,0-1-16,0 1 0,13 12 16,-13-12-16,0-1 0,0 1 15,0-1-15</inkml:trace>
  <inkml:trace contextRef="#ctx0" brushRef="#br0" timeOffset="28520.08">18785 9697 0,'14'-13'0,"-28"26"0,28-39 16,-1 26-16,0 0 16,0 0-16,1 0 15,-14 13-15,13-13 0,-13 13 16,0 0-16,0 0 0,13 1 0,-13-1 0,0 0 16,-13 0-16,13 1 0,0 12 15,0-13-15,0 0 0,-13 14 16,13-14-16,-14 0 0,14 1 0,0 12 15,-13-26-15,13 13 0,-13 1 0</inkml:trace>
  <inkml:trace contextRef="#ctx0" brushRef="#br0" timeOffset="28672.01">18785 9935 0,'0'0'0,"14"-13"0,-14 0 16,13 13-16,-13-14 0,13 14 0,14-13 15,25-13-15,-12 12 16,0 1-16,0 0 0,-1 0 16,-12 0-16,12-1 0,-12-12 0,13 13 15</inkml:trace>
  <inkml:trace contextRef="#ctx0" brushRef="#br0" timeOffset="28936">19645 9088 0,'0'0'0,"-13"27"31,13-14-31,0 0 0,-13 14 0,13-14 15,0 14-15,-13-1 0,13 14 0,-14-1 16,14-12-16,0-1 0,0 1 0,-13-1 16,13 1-16,13-1 15,-13-13-15,0 14 0,0-14 0,0 13 16</inkml:trace>
  <inkml:trace contextRef="#ctx0" brushRef="#br0" timeOffset="29424.96">19632 9697 0,'13'13'0,"1"0"16,-1 1-16,-13-1 0,13 0 15,-13 0-15,0 1 0,0-1 16,0 0-16,0 0 0,0 0 0,0 1 15,-13-14-15,13 13 0,0 0 16,-13-13-16,39-26 31,-13 26-31,-13-14 16,13 1-16,1 0 0,-14 0 0,13 0 16,-13-1-16,13 1 0,-13 0 15,0 0-15,0-1 16,0 1-16,-13 13 0,13-13 0,-13 0 15,13 0-15,-14-1 0,1 14 16,13-13 0,0 0-16,13 0 15</inkml:trace>
  <inkml:trace contextRef="#ctx0" brushRef="#br0" timeOffset="29656.96">20320 9075 0,'0'0'0,"-13"13"16,0 1-16,13-1 16,-14 0-16,14 0 0,0 1 15,0 12-15,0-13 0,-13 14 16,13-14-16,0 40 0,13-27 0,-13 1 15,0-1-15,0-13 0,0 14 16,0-1-16,0 1 0,0-14 0</inkml:trace>
  <inkml:trace contextRef="#ctx0" brushRef="#br0" timeOffset="30010.17">20254 9684 0,'-93'0'0,"67"13"31,26 0-31,13 0 16,0-13-16,14 14 0,-1-14 16,-13 13-16,1 0 15,12 0-15,-13 1 0,1-1 0,-1 13 16,0-13-16,0 1 0,-13-1 0,0 13 16,13-12-16,-13-1 0,0 0 15,0 0-15,0 1 0,0-1 0,0 0 16,0 0-16,0 0 15</inkml:trace>
  <inkml:trace contextRef="#ctx0" brushRef="#br0" timeOffset="30307.86">20717 9194 0,'0'40'46,"0"-27"-46,0 14 0,0 12 16,0-12-16,0-1 16,0 1-16,0 26 0,0-14 0,0-12 15,-13 12-15,13-12 0</inkml:trace>
  <inkml:trace contextRef="#ctx0" brushRef="#br0" timeOffset="30569.13">20677 9790 0,'0'-14'0,"-13"41"15,0-27 1,13 13-16,0 0 0,0 0 16,0 1-16,0-1 15,0 0-15,13 0 16</inkml:trace>
  <inkml:trace contextRef="#ctx0" brushRef="#br0" timeOffset="30740.05">20770 9895 0,'13'-13'0,"0"26"15,0-13 1,1 0 0,-1-13-1,-13 0 1,-13 0 0,-1 13-16,1 0 0,-13-14 0,13 14 15,-14 0-15,1 0 0,-27 0 16,26 0-16</inkml:trace>
  <inkml:trace contextRef="#ctx0" brushRef="#br0" timeOffset="46556.03">14962 8427 0,'-13'13'31,"0"0"-16,-1 1-15,1-1 0,0 0 16,-13 0-16,12 14 0,1-14 16,-13 0-16,12 0 0,1-13 0,-13 14 15,13-1-15</inkml:trace>
  <inkml:trace contextRef="#ctx0" brushRef="#br0" timeOffset="46743.1">14737 8493 0,'40'13'31,"-27"1"-31,14 12 16,-14-26-16,0 13 0,0-13 16,14 13-16,-14-13 0,27 14 15,-27-1-15,13-13 0,-12 0 16,12 0-16</inkml:trace>
  <inkml:trace contextRef="#ctx0" brushRef="#br0" timeOffset="47803.86">15796 7951 0,'-27'13'31,"27"0"-15,-13 0-16,0 1 16,-1-1-16,1 0 0,0-13 15,13 13-15</inkml:trace>
  <inkml:trace contextRef="#ctx0" brushRef="#br0" timeOffset="47989.82">15677 8017 0,'39'0'0,"-12"0"16,-14 0-16,0 0 0,14 13 0,-14-13 16,13 0-16,-12 0 0,12 13 15,-13-13-15,14 0 0,-14 14 0,13-14 16</inkml:trace>
  <inkml:trace contextRef="#ctx0" brushRef="#br0" timeOffset="48674.89">16973 7739 0,'-40'13'31,"27"1"-31,0-14 16,0 13-16,-1 0 16,1-13-16,13 13 0,-13 0 0,0-13 15,0 14-15</inkml:trace>
  <inkml:trace contextRef="#ctx0" brushRef="#br0" timeOffset="48872.1">16814 7752 0,'27'0'0,"-14"0"16,0 14-16,0-14 0,1 0 16,-1 13-16,0-13 15,14 13-15,-14-13 0,0 13 0,13-13 16,-12 13-16,25 1 0</inkml:trace>
  <inkml:trace contextRef="#ctx0" brushRef="#br0" timeOffset="49532.79">17846 7514 0,'13'0'15,"-39"13"1,26 1-16,-13-1 15,-1-13-15,1 13 0,0 0 0,0 1 16,0-14-16,-14 13 0,14 0 16</inkml:trace>
  <inkml:trace contextRef="#ctx0" brushRef="#br0" timeOffset="49733.04">17714 7541 0,'26'13'16,"-12"-13"-1,-1 0-15,0 13 0,0-13 0,0 13 16,1-13-16,12 14 0,-13-14 0,1 13 16,12-13-16,-13 13 0,14 0 15,-14-13-15,0 13 0,14 1 0</inkml:trace>
  <inkml:trace contextRef="#ctx0" brushRef="#br0" timeOffset="50136.92">18799 7792 0,'-27'13'31,"14"0"-15,0-13-16,-1 14 0,1-1 15,0-13-15,0 13 0,0 0 16,-1-13-16,1 14 0,0-14 0,13 13 15,-13-13-15,13 13 0</inkml:trace>
  <inkml:trace contextRef="#ctx0" brushRef="#br0" timeOffset="50360.05">18706 7766 0,'13'0'16,"27"13"-1,-27 0-15,0 0 16,1-13-16,-1 13 0,0-13 0,0 14 16,1-1-16,12-13 0,-13 13 15,0-13-15,1 13 0,12 1 16</inkml:trace>
  <inkml:trace contextRef="#ctx0" brushRef="#br0" timeOffset="50756.78">19566 8004 0,'-27'39'16,"14"-39"0,13 14-16,-13-1 0,0 0 15,0 0-15,13 0 0,-14 1 0,-12-1 16,26 0-16,-13 0 0,-1 1 0,1-1 15</inkml:trace>
  <inkml:trace contextRef="#ctx0" brushRef="#br0" timeOffset="50967.78">19460 8162 0,'40'14'16,"-27"-1"0,0-13-16,0 13 0,1-13 15,-1 13-15,0-13 0,0 14 16,1-1-16,12-13 0,-13 13 0,1-13 16,-1 13-16,13 0 0,-13-13 0</inkml:trace>
  <inkml:trace contextRef="#ctx0" brushRef="#br0" timeOffset="51266.14">20320 8401 0,'0'0'16,"-40"13"-16,40 0 16,-13 0-16,0-13 0,13 13 15,-13 1-15,13-1 0,-27 13 16,27-12-16,-13-1 0,0 0 15</inkml:trace>
  <inkml:trace contextRef="#ctx0" brushRef="#br0" timeOffset="51449.82">20227 8467 0,'14'13'31,"-1"0"-31,0-13 0,-13 13 16,13-13-16,1 14 0,-14-1 15,13-13-15,0 13 0,0 0 16,0-13-16,1 13 0,-14 1 0</inkml:trace>
  <inkml:trace contextRef="#ctx0" brushRef="#br0" timeOffset="51732.83">20849 8744 0,'-40'0'16,"40"14"0,-13-14-16,13 13 0,-13-13 15,13 13-15,-13 0 0,0-13 0,-1 14 16,1-1-16,0-13 0,13 13 0,-13-13 16,-1 13-16,1-13 0,13 14 15</inkml:trace>
  <inkml:trace contextRef="#ctx0" brushRef="#br0" timeOffset="51891.76">20770 8797 0,'26'14'15,"-52"-28"-15,65 28 0,-25-14 16,-1 13-16,0 0 0,14-13 16,-14 13-16,0-13 0,14 0 0,-1 14 15,0-14-15,1 13 0,-1-13 16,1 0-16,-1 0 0,1 0 15,-1 13-15,1-13 0,-1-13 0,-13 13 16</inkml:trace>
  <inkml:trace contextRef="#ctx0" brushRef="#br0" timeOffset="55197.11">14737 8612 0,'27'-13'0,"12"0"31,-39-1-31,14 14 0,-1-13 16,0 13-16,0-13 0,1 13 0,-1-13 16,0 13-16,0-13 0,0 13 15,1-14-15,-1 1 0,0 13 0,14-13 16,-14 13-16,0-13 0,0 13 0,1-14 15,12 1-15,-13 13 0,0-13 16,1 13-16,12-13 0,-13 0 0,1 13 16,-1-14-16,13 14 0,-12-13 0,-1 13 15,0-13-15,13 13 0,-12-13 16,-1 13-16,13-27 0,-12 27 16,-1-13-16,27 0 15,-27-1-15,0 14 0,0-13 16,14 0-16,-14 13 0,0-13 0,14 0 15,-1-1-15,-13 14 0,1-13 0,12 0 16,-13 13-16,0-13 0,14 13 16,-14-14-16,0 14 0,1 0 0,-1-13 15,0 13-15,0 0 0,0-13 0,1 13 16,-1-13-16,13 13 0,-12 0 16,-1-14-16,0 14 0,14-13 0,-14 13 15,0-13-15,0 13 0,14-13 16,-14 13-16,0 0 0,0 0 0,1-13 0,-1 13 15,0 0-15,-13-14 0,13 14 16,14-13-16,-14 13 16,0 0-16,0-13 0,1 13 0,-1-13 15,0 13-15,0 0 16,1-14-16,12 14 0,-13-13 0,0 13 16,14 0-16,-14-13 0,0 13 0,1-13 15,-1 13-15,0 0 0,0 0 16,1-13-16,-1 13 0,0 0 0,0-14 15,0 14-15,1 0 0,-1-13 0,0 13 16,0 0-16,14-13 0,-14 13 0,0 0 16,1-13-16,-1 13 0,26-14 15,-25 14-15,-1 0 0,0-13 16,0 13-16,1 0 0,-1-13 0,0 13 16,0 0-16,1-13 15,12 13-15,-13-14 0,0 14 0,1 0 16,-1-13-16,0 13 0,0 0 0,1-13 15,12 13-15,-13-13 16,1 13-16,-1 0 0,0-13 16,0 13-16,0 0 0,1-14 0,-1 14 15,0 0-15,0 0 0,1-13 16,-1 13-16,0 0 0,0 0 0,0-13 16,1 13-16,-1 0 0,0-13 15,0 13-15,1 0 0,-1 0 0,0 0 16,0-14-16,1 14 0,-1 0 15,0 0-15,0 0 0,0-13 16,1 13-16,-1 0 0,0 0 0,0 0 16,1 0-16,-1-13 0,0 13 15,0 0-15,1 0 0,-1 0 16,0-13-16,0 13 16,0 0-16,14 0 15,-14-14-15,0 14 16,1 0-16,-1 0 15,0 0-15,0 0 16,0 0-16,1 0 16,12 0-1,-26-13-15,13 13 0,1 0 0,-1 0 16,0 0-16,0 0 16,1 0-16,-1 0 0,0 0 15,0 0-15,0 0 0,14 0 16,-14 0-16,0 0 15,1 0-15,-1 0 0,0 0 16,0 0-16,1 0 16,-1 0-16,0 0 0,0 0 15,0 0-15,1 13 16,-1-13-16,0 0 0,0 0 16,1 0-16,-1 0 0,0 0 15,0 0-15,1 0 0,-1 0 16,0 0-16,0 14 0,0-14 15,14 0-15,-14 0 0,0 0 16,14 0-16,-14 0 0,0 0 16,1 13-16,-1-13 15,0 0-15,13 0 0,-12 13 16,-1-13-16,0 0 0,0 0 16,1 0-16,-14 13 0,13-13 15,0 0-15,0 0 0,0 0 16,1 0-16,-1 0 0,0 14 0,0-14 15,1 0-15,-1 0 0,0 0 0,0 0 16,-13 13-16,14-13 0,12 0 16,-13 13-16,0-13 15,1 0-15,-1 0 0,0 0 16,0 13-16,1-13 16,-1 0-16,0 0 0,0 14 15,1-14-15,-1 0 0,0 0 16,0 13-16,0-13 0,1 0 15,-1 13-15,0-13 16,0 0-16,-13 13 0,14-13 16,-1 0-16,0 13 15,0-13-15,0 0 16,-13 14-16,14-14 0,-1 0 16,0 13-16,0-13 0,40 26 31,-39-26-31,-14 14 15,13-14-15,0 0 0,13 13 16,-12-13-16,12 13 16,-13-13-16,1 13 0,-1-13 15,0 14-15,0-14 0,1 0 16,-1 13-16,0-13 0,0 0 16,0 13-16,1-13 15,-1 0-15,0 13 0,0-13 16,1 0-16,-1 13 0,0-13 15,0 14-15,1-14 0,-1 0 16,-13 13-16,13-13 0,0 0 16,-13 13-16,13-13 0,1 0 0,-14 13 15,13-13-15,0 0 0,0 14 16,1-14-16,-1 13 16,0-13-16,0 13 0,1-13 15,-1 13-15,0-13 16,0 0-16,-13 13 0,13-13 0,1 0 15,-1 0-15,-13 14 0,13-14 16,0 13-16,1-13 0,-1 0 16,0 13-16,0-13 0,0 13 15,1-13-15,-1 14 16,0-14-16,-13 13 0,13-13 0,1 13 16,-1-13-16,0 13 0,0-13 15,-13 14-15,14-14 0,-1 13 16,0-13-16,-13 13 15,13-13-15,0 13 16,1-13-16,-14 13 0,13-13 0,0 0 16,-13 14-1,13-14-15,-13 13 0,14-13 16,-1 0-16,-13 13 16,13-13-16,0 0 0,-13 13 15,14-13-15,-1 0 16,0 14-16,0-14 0,0 13 15,1-13-15,-1 0 0,0 13 16,0-13-16,1 0 0,-14 13 16,13-13-16,0 0 0,-13 14 15,13-14-15,0 0 0,-13 13 0,27-13 16,-14 0-16,-13 13 0,13-13 16,1 0-16,-14 13 0,13-13 15,0 0-15,-13 13 0,13-13 0,1 0 16,-1 14-16,0-1 15,0-13-15,0 0 16,-13 13-16,14-13 0,-1 13 16,0-13-16,-13 14 0,13-14 15,1 0-15,-1 13 16,0-13-16,0 13 16,1-13-16,-1 0 0,-13 13 15,13-13-15,0 0 0,-13 13 0,13-13 16,1 0-16,-1 14 15,0-14-15,0 0 0,-13 13 16,14-13-16,-1 0 0,0 13 0,0-13 16,1 13-16,-1-13 0,0 0 15,0 14-15,0-14 0,1 13 0,-1-13 16,13 13-16,-12-13 0,-1 13 0,0-13 16,0 14-16,1-14 0,12 13 0,-13-13 15,0 13-15,14-13 0,-1 13 16,-12 0-16,12-13 0,-13 0 15,0 14-15,14-14 0,-14 0 16,0 13-16,1-13 0,-1 0 0,0 0 16,0 13-16,1-13 15,-1 0-15</inkml:trace>
  <inkml:trace contextRef="#ctx0" brushRef="#br0" timeOffset="58728.67">13758 1045 0,'80'-13'31,"-54"13"-31,14 0 16,0 0-16,12 0 0,1 0 15,-13 0-15,13 0 0,0 0 0,0 0 16,0 0-16,-14 0 0,14 0 16,0-13-16,-13 13 0,-14 0 15,1 0-15,-1 0 0,1 0 0,-1 0 16,-13 0-16,14 0 0,-14 13 16,0-13-16</inkml:trace>
  <inkml:trace contextRef="#ctx0" brushRef="#br0" timeOffset="59166.82">13692 1151 0,'40'-13'31,"0"13"-31,-1 0 0,14 0 0,0-14 16,0 14-16,0 0 0,13-13 0,0 13 16,-13 0-16,0-13 0,0 13 15,13 0-15,-26 0 0,13 0 0,-14-13 16,-12 13-16,-1 0 0,1 0 0,-1 0 16,-13 0-16,14 0 0,-14 0 15,0 0-15,1 0 0,-1 0 16,0 0-16,0 0 15,1 0-15,-1 0 16,0 0 0,0 0 31,0 0-32</inkml:trace>
  <inkml:trace contextRef="#ctx0" brushRef="#br0" timeOffset="61577.97">14936 8665 0,'26'-13'0,"-13"13"16,1 0-16,-1 0 0,13 0 15,14 0-15,0-13 0,-1 13 16,14 0-16,0-14 0,0 14 0,27-13 16,-14 13-16,13-13 0,-13 13 15,14-13-15,-1-1 0,-13 1 0,13 13 16,-12-13-16,-1 0 0,0 0 0,0 13 16,13-14-16,40-12 15,-52 13-15,-14 13 0,39-27 16,-52 14-16,0 0 0,52-14 15,-52 14-15,-14 0 0,14 0 16,0-1-16,-14 1 0,14-13 0,-14 12 16,1 1-16,-1-13 0,1 13 15,-1-14-15,1 14 0,-14 0 16,0-1-16,0 1 0,14 0 0,-14 0 16,13-14-16,-12 27 0,-1-13 15,13-13-15,-12 26 0,-1-14 16,0 1-16,0 0 0,0 0 15,1-1-15,-1 14 0,0-13 16,-13 0-16,13 0 0,-13 0 0,14-1 16,-14 1-16,0 0 0,0 0 15,13-1-15,-26 1 0,13 0 16,0-14-16,0 14 0,-27-26 16,14 25-16,-14-12 0,14-1 15,-26 14-15,12-13 0,1 12 0,-14-12 16,0 13-16,1 0 0,-1-1 0,0-12 15,0 13-15,1-1 0,-14 1 16,0 0-16,0 0 0,0-1 0,-53-12 16,53 13-16,0 13 0,1-13 15,-15 13-15,14-14 0,1 14 0,-15 0 16,-12 0-16,13 14 0,-13-14 16,-1 13-16,14-13 0,0 13 15,-14 0-15,14 0 0,0 1 0,0 12 16,0-13-16,0 14 0,0-1 15,-1-12-15,1 12 0,13 0 0,-13 1 16,0 13-16,-53 13 0,53-14 16,13-12-16,0-1 0,0 1 15,0 12-15,-26 1 0,52-14 16,1-12-16,13-1 0,13 0 16</inkml:trace>
  <inkml:trace contextRef="#ctx0" brushRef="#br0" timeOffset="62516.06">20135 7885 0,'-27'-14'0,"54"28"0,-54-41 0,14 14 16,0 0-16,0-1 0,-1 1 16,1 0-16,-13 0 0,-1-14 0,-12 1 15,12-1-15,-26 1 0,0-1 16,14 1-16,-14 0 0,0 12 0,0-12 0,-13-1 15,13 1-15,0 13 0,-13-1 16,0 1-16,-1 0 0,15 13 16,-1-13-16,-14 13 0,15 0 0,-1 13 15,0-13-15,13 13 0,0 14 0,-13-14 16,14 13-16,12 1 0,-12 13 16,12-1-16,1 1 0,12 13 0,1-13 15,0-1-15,13 1 0,0 13 0,0 0 16,13 0-16,0 13 0,1 0 15,39 53-15,-27-66 0,14 13 16,13 0-16,13-13 0,0 13 16,13-13-16,1 13 0,-1-13 0,0-13 15,14 13-15,0 0 0,-1-14 16,14 14-16,-13-13 0,-1-13 0,1 12 16,-1 1-16,-12-14 0,12-12 15,-12 12-15,12-13 0,-12 1 0,12-1 16,1 0-16,-14 0 0,14-13 0,0 0 15,-14 0-15,14-13 0,-14 13 16,0-26-16,-13 12 0,1-12 0,65-27 16,-79 13-16,0 1 0,-14-14 15,1 13-15,-13-13 0,-1 0 0,-13 0 16,1 0-16,-14-13 0,0 0 16,-14 0-16,1 0 0,0 0 15,-27-1-15,0 1 0,1 0 0,-27 0 0,-27 13 16,14 0-16,-14 13 15,-13 1-15,0-1 0,-26 14 0,13 12 16</inkml:trace>
  <inkml:trace contextRef="#ctx0" brushRef="#br0" timeOffset="63020.95">17926 7845 0,'-53'93'31,"39"-67"-31,-12 0 0,13 14 16,-1-13-16,1-1 0,0 0 0,0 1 15,13-1-15,-13 1 0,-1-14 0,14 14 16</inkml:trace>
  <inkml:trace contextRef="#ctx0" brushRef="#br0" timeOffset="63380.81">17939 7818 0,'0'0'0,"-27"14"0,14-14 15,-27 13-15,-105 66 31,132-65-31,-1-14 0,1 13 0,0-13 16,0 13-16,39-26 31,-13 0-31,14 13 0,-1-14 16,1 14-16,12-13 0,1 13 0,13 0 16,0 0-16,0 13 0,0 1 0,13 12 15,-13 0-15,0-12 0,0 25 16,0-12-16,0-1 0,26 40 15,-53-39-15</inkml:trace>
  <inkml:trace contextRef="#ctx0" brushRef="#br0" timeOffset="72481.57">1773 2421 0,'0'-27'32,"-14"27"-17,14-13-15,-13 13 32,13-13-17,-13 13-15,0 0 16,0-13-1,-1 13-15,1 0 16,0 0 0,0 0-16,-1 0 15,1 0-15,0 0 0,0 0 16,0 0-16,13 13 16,-14-13-16,1 0 0,0 0 15,0 0-15,-1 0 16,1 0-1,13 13-15,-13-13 0,0 0 16,-1 0-16,1 13 16,0-13-16,0 0 15,0 14 1,-1-14-16,1 0 16,0 13-16,0 0 15,-1-13 1,14 13-16,-13 1 31,0-1-15,0 0-16,13 0 15,-14-13 1,14 14-16,-13-1 16,13 0-16,-13 0 31,13 0-31,-13 1 15,13-1 1,-13-13 0,13 13-16,0 0 15,0 1 1,-14-1 0,14 0-16,0 0 15,0 1-15,0-1 16,0 0-1,0 0-15,0 0 16,14 1-16,-14-1 16,13-13-1,-13 13-15,13 0 0,0-13 16,-13 14-16,13-14 16,1 13-1,-1-13-15,-13 13 0,13-13 16,0 0-16,-13 13 0,14-13 0,-1 0 15,0 14-15,0-14 16,1 0-16,-1 13 0,0-13 0,0 0 16,0 0-16,1 13 0,12-13 15,-13 0-15,1 0 0,-1 13 16,0-13-16,0 0 16,1 0-16,-1 0 0,0 0 0,0 0 15,0 0-15,1 0 0,-1 0 0,0 0 0,0 0 16,1 0-16,-1 0 0,0 0 15,0 0-15,0 0 0,1 0 16,-1 0-16,0 0 0,0-13 0,1 13 16,12 0-16,-13 0 0,1 0 15,-1 0-15,0 0 0,13 0 0,-12 0 16,-1 0-16,13 0 0,-12 0 0,12 0 16,-13 0-16,1-13 0,12 26 15,-13-26-15,0 13 0,14 13 0,-14-13 16,0 0-16,1 0 0,-1 0 0,13 0 15,-13 0-15,1 0 16,-1 0-16,0 0 0,0 0 0,1 0 16,-1 0-16,13 0 0,-12 0 0,-1 13 15,0-13-15,0 0 0,0 0 16,1 0-16,12 0 0,-13 0 0,1 0 16,-1 0-16,13 0 0,-12 13 15,-1-13-15,13 0 0,54 0 16,-67 14-16,13-14 15,14 0-15,-14 0 0,14 0 16,-13 0-16,-1 13 16,1-13-16,-1 0 0,-13 0 0,14 0 15,-1 0-15,1 0 0,-1 0 0,0 0 16,1 0-16,-1 0 0,1 0 16,-1 0-16,1 0 0,-1 0 15,1 0-15,-1 0 0,1 0 0,-1-13 16,1 13-16,-1 0 0,0 0 0,1 0 15,26 0-15,-27 0 16,1 0-16,-14 0 0,13 0 0,1 0 16,-1 0-16,1 0 0,-14 0 0,13 0 15,1 0-15,-1 0 16,-12-14-16,12 14 0,1 0 0,-14 0 16,13 0-16,1 0 0,-14 0 0,0 0 15,14 0-15,-14 0 0,13 0 0,-12 0 16,-1 0-16,13 0 0,-13 0 15,14 0-15,-14 14 0,0-14 0,14 0 16,-14 0-16,14 0 0,-14 0 16,0 0-16,13 0 0,-12 0 0,-1 0 15,13 0-15,-12 0 0,-1 0 0,13 13 16,-13-13-16,14 0 0,-14 0 16,0 0-16,14 0 0,-14 13 0,0-13 15,27 0-15,-14 0 0,-12 0 16,12 0-16,-13 13 0,14-13 15,-14 0-15,14 0 0,-14 0 16,0 0-16,13 0 0,-12 14 0,-1-14 0,13 0 16,-12 0-16,-1 0 0,13 13 15,-13-13-15,1 0 0,12 0 16,-13 0-16,14 0 0,-14 13 0,14-13 16,-1 0-16,-13 0 0,14 0 0,-1 0 15,-13 0-15,14 0 0,-1 0 16,1 0-16,-14 0 0,13 0 0,1 0 15,-1 0-15,-12 0 0,12 13 0,1-13 16,-14 0-16,13 0 0,1 0 16,-1 0-16,-13 0 0,14 0 0,-14 0 15,14 0-15,-1 0 0,-13 13 0,14-13 16,-14 0-16,13 0 0,-12 0 16,12 0-16,-13 0 0,14 0 15,-14 0-15,0 0 0,14 0 0,-14 0 16,0 14-16,14-14 0,-14 0 15,13 0-15,-13 0 0,1 0 0,12 0 16,-13 0-16,1 0 0,-1 0 0,13 0 16,-12 0-16,-1 0 0,13 0 15,-13 0-15,1 0 0,-1 0 16,0 0-16,14 0 0,-14 0 0,0 0 16,0 0-16,0 0 0,14 0 0,-14 0 15,0 0-15,1 0 0,-1 0 16,0 0-16,0 0 0,1 0 0,-1 0 0,0 0 15,0 0-15,0 0 0,1 0 16,-1 0-16,0-14 0,14 14 16,-14 0-16,0 0 0,0 0 0,14 0 15,-14 0-15,0 0 0,0 0 0,1-13 16,12 13-16,-13 0 0,1 0 16,-1 0-16,0 0 0,0-13 0,1 13 15,-1 0-15,0 0 0,0 0 16,0-13-16,1 13 0,-1 0 0,0 0 15,0 0-15,1 0 16,-1-13-16,0 13 16,0 0-16,1 0 0,-1-14 31,0 14-31,0 0 0,0-13 16,1 13-1,-1 0-15,0 0 16,0-13-16,1 13 15,-1-13 1,0 13-16,0-14 16,0 1-1,1 0 1,-14 0 0,13 13-16,-13-13 15,13-1 1,-13 1-1,13 0-15,-13 0 16,14 13-16,-14-14 0,0 1 16,13 13-1,-13-13-15,0 0 16,0-1-16,0 1 16,0 0-16,0 0 15,0 0 1,0-1-16,-13 14 15,13-13-15,0 0 0,-14 0 16,1-1 0,13 1-16,-13 13 15,13-13-15,-13 13 0,-1-13 16,1-1 0,0 14-16,0-13 15,0 0 1,-1 13-16,1 0 0,0 0 15,0-13-15,-1 13 16,1 0-16,-13 0 16,13-13-16,-1 13 15,1 0-15,0 0 16,0 0-16,-1 0 0,1 0 16,0-14-16,0 14 0,-1 0 15,1 0-15,0 0 0,0 0 16,0 0-16,-1-13 0,1 13 0,-13 0 15,-1 0-15,1 0 0,-1 0 0,1 0 16,-1 0-16,1 0 0,-1 0 16,1 0-16,-1 0 0,1 0 0,0 0 15,-1 0-15,1 0 0,-1 0 0,1 0 16,-1 0-16,1 0 0,13 0 0,-14 0 16,1 0-16,-1 0 15,1 0-15,-1 0 0,1 0 0,-1 0 16,1 0-16,-14 0 0,14 0 0,-1 0 15,-12 0-15,12 0 0,1 0 16,-14 0-16,14 0 0,-1 0 0,-13 0 16,14 0-16,-27 0 0,27 0 15,-1 0-15,1 0 0,-14 0 16,14 0-16,-14 0 0,13 0 0,-12 0 16,12 0-16,-12 0 0,12 0 15,-13 0-15,14 0 0,-14-13 0,14 13 16,-14 0-16,14 0 0,-1 0 15,-13 0-15,14 0 0,0 0 0,-27 0 16,13-13-16,14 13 0,-1 0 16,1 0-16,-1-14 0,1 14 15,-14 0-15,14 0 0,-14 0 0,0 0 16,0-13-16,1 13 0,12 0 0,-12 0 16,12 0-16,1 0 0,13 0 15,-14-13-15,1 13 0,-1 0 0,14 0 16,-40 0-16,40-13 0,-14 13 15,14 0-15,-13 0 0,12 0 16,-12 0-16,13-14 0,-14 14 0,14 0 16,-13 0-16,12 0 0,1 0 15,-13 0-15,12 0 0,-12 0 0,-1 0 16,14 0-16,-13 0 0,-1 0 16,1 0-16,-1 0 0,1 0 0,-1 0 15,1 0-15,0-13 0,-14 13 0,13 0 16,1 0-16,-14 0 0,14 0 15,-1-13-15,1 13 0,-14-13 0,14 13 16,-1-13-16,14 13 0,-13-14 0,-1 14 16,14-13-16,-14 13 0,14-13 15,0 13-15,-13-13 0,12 13 0,1-14 16,-13 14-16,12 0 0,-12-13 0,-14 0 16,27 13-16,-13 0 15,-14 0-15,13-13 0,1 13 16,-14 0-16,14 0 0,-1 0 0,-12-14 15,12 14-15,1 0 0,-1 0 0,1 0 16,-14 0-16,14 0 0,-1 0 16,-12 0-16,-28 0 0,28 14 15,-1-14-15,-26 13 0,26-13 16,1 0-16,12 13 0,1-13 16,-1 13-16,-13-13 0,1 14 15,12-1-15,1-13 0,-1 0 0</inkml:trace>
  <inkml:trace contextRef="#ctx0" brushRef="#br0" timeOffset="77495.96">12462 3109 0,'-13'0'15,"92"0"1,-26 0-16,0-13 0,26 13 16,80 0-16,-53 0 0,-14 0 15,14 0-15,-13-14 0,13 14 16,-14 0-16,14 0 0,-13 0 0,-1 0 16,-12 0-16,-1 0 0,-26 0 15,0 0-15,0 14 0,-13-14 0,-27 0 16,13 13-16</inkml:trace>
  <inkml:trace contextRef="#ctx0" brushRef="#br0" timeOffset="77712.64">12806 3334 0,'0'0'0,"40"0"15,-27-13-15,13 13 16,14 0-16,0 0 0,13 0 16,13 0-16,-13 0 0,-1 0 0,1 0 15,14 0-15,-15 0 0,1 0 16,0 0-16,0 0 0,-13 0 0,13 13 16,0-13-16</inkml:trace>
  <inkml:trace contextRef="#ctx0" brushRef="#br0" timeOffset="78503.84">20029 3056 0,'0'0'0,"93"0"0,-41 0 0,1 0 0,27 0 16,-1 0-16,14 0 0,-14 0 0,14 0 15,-1 0-15,1 13 16,0-13-16,-1 0 0,-12 13 0,-1-13 15,-13 14-15</inkml:trace>
  <inkml:trace contextRef="#ctx0" brushRef="#br0" timeOffset="78693.03">20333 3215 0,'106'-27'15,"-53"27"1,106 0-16,-67-13 0,1 13 0,13 13 16,0-13-16,-14 0 15,14 0-15,0 13 0,-14-13 0,14 14 16</inkml:trace>
  <inkml:trace contextRef="#ctx0" brushRef="#br0" timeOffset="79857.77">1812 3651 0,'40'-13'0,"145"13"15,-132 0-15,0-13 16,13 13-16,0 0 16,14 0-16,-14 0 0,13-13 0,-13 13 15,1 0-15,-14 0 0,13 0 0,-13 0 16,0-14-16,-14 28 0,-12-14 16,12 0-16,-25 0 0,12 0 0,-13 13 0,0-13 15</inkml:trace>
  <inkml:trace contextRef="#ctx0" brushRef="#br0" timeOffset="80557.87">1349 3903 0,'80'-14'15,"-41"1"-15,14 0 0,14 0 0,12-1 16,-13 1-16,27 0 0,-14 0 16,0 0-16,1-1 0,12 1 0,-12 0 15,-1 13-15,0-13 0,67-14 16,66 1 0,-173 26-16,1-14 0,-13 14 15,-1 0-15,0 0 0,-12 0 0,-1 0 16,0 0-16,0 0 0,1 0 15,-1-13-15,0 13 0,0 0 16,0 0-16,1 0 16,-1 0 31,0 0-1,-13-13-30,0 0 31,0 0 78,-13-1-109,0 14 15,13-13-16,-14 13 17</inkml:trace>
  <inkml:trace contextRef="#ctx0" brushRef="#br0" timeOffset="83068.89">21312 3268 0,'40'0'0,"39"13"31</inkml:trace>
  <inkml:trace contextRef="#ctx0" brushRef="#br0" timeOffset="92731.88">212 5067 0,'-14'13'0,"1"93"31,13-80-31,0 1 0,0-1 0,-13 1 16,13-1-16,0 1 0,0-1 0,0 1 15,0-14-15,0 13 16,0-13-16,-13 14 0,13-14 0,0 0 16,0 1-16,13-1 0,-13 0 0,0 0 15</inkml:trace>
  <inkml:trace contextRef="#ctx0" brushRef="#br0" timeOffset="93079.75">119 5080 0,'53'-53'0,"-40"53"16,14 0-16,-14-13 0,27 13 16,-27 0-16,0 0 0,53 13 31,-53 0-31,1 1 0,-14 12 15,0-13 1,0 0-16,-14 1 0,14-1 0,-13 13 16,0-12-16,0-1 0,0 0 15,-1 0-15,1-13 0,13 14 0,-13-1 16,0 0-16,-1 0 16</inkml:trace>
  <inkml:trace contextRef="#ctx0" brushRef="#br0" timeOffset="93713.29">463 5252 0,'-40'26'15,"14"14"1,26-13-16,0-14 0,0 0 0,0 0 16,0 1-16,0-1 0,0 0 15,13 0-15,-13 0 0,13-13 0,-13 14 16,14-14-16,-1 0 0,0 0 16,0 0-16,0 0 0,1 0 15,-1-14-15,-13 1 0,13 13 16,-13-13-16,0 0 0,0 0 15,0-1-15,-13-12 0,0 13 0,-1-1 16,1 1-16,0 0 0,0 0 0,0-1 16,-1 1-16,1 13 0,0-13 15,0 13-15,13-13 0,-14 13 0,1 0 16,40 13 15,-14-13-31,13 0 16,-12 13-16,-1-13 0,13 13 0,1-13 15,-14 14-15,13-14 0,1 13 0,-14 0 16,14-13-16,-14 13 0,0-13 16,13 14-16,-12-1 0,-1-13 15,-13 13-15,0 0 0,0 1 16,0-1-16,0 0 16,-13-13-16,13 13 0,-14-13 15,1 0-15,0 0 16,13-13-1,0 0-15,0 0 0,0-1 16,0 1-16,13 0 16,-13-14-16,13 14 0,1 0 0,-1 0 15,0-1-15,0 1 0,1 0 16,-1 0-16,0 0 0,14-1 0,-14 14 16,-13-13-16,13 0 0</inkml:trace>
  <inkml:trace contextRef="#ctx0" brushRef="#br0" timeOffset="93980.37">1032 4855 0,'0'-13'0,"0"66"16,0-27-16,0 1 15,0-1-15,0 1 0,0 12 0,0-12 16,0-1-16,0 1 0,0-1 16,0 1-16,0-1 0,0 1 0,0-1 15,0-13-15,0 27 0,0-27 16,0 0-16,13 1 0,-13-1 16,0 0-16</inkml:trace>
  <inkml:trace contextRef="#ctx0" brushRef="#br0" timeOffset="94187.66">807 5305 0,'26'-13'31,"-12"-1"-31,-1 14 0,0 0 15,0-13-15,14 13 0,-14-13 16,13 13-16,1-13 0,-14 13 16,14-13-16,-1 13 0,1-14 0,-14 14 15,13-13-15,1 13 0,-14-13 16</inkml:trace>
  <inkml:trace contextRef="#ctx0" brushRef="#br0" timeOffset="95263.73">1349 4723 0,'-13'0'0,"26"0"0,-39 13 16,26 0-16,0 0 0,0 14 16,0-1-16,0 14 15,0 13-15,0 0 0,13-13 0,-13 26 0,13-13 16,1 0-16,-14 0 0,13-14 16,-13 1-16,13 0 0,0-1 0,-13 1 15,14-14-15,-14 14 16,0-27-16,0 1 0,0-1 0,0 0 15,-14 0-15,1 0 0,0 1 16,-14-14-16,14 0 0,-27 0 16,27 0-16,0 0 0,-27-14 15,27 14-15,0 0 16,0-13-16,-1 13 0,1-13 0,0 13 16,13-13-16,0 0 15,13-1-15,0 1 0,1-13 0,12 12 16,1-12-16,-1 13 0,0-14 15,1 14-15,13-13 0,-14 12 0,1 1 16,12-13-16,-26 12 0,1 1 16,-1 13-16,-13-13 0,13 13 15,0 0-15,1-13 16,-1 26-16,-13 0 16,0 0-16,13 1 15,-13-1-15,13-13 16,-13 13-16,14-13 0,-1 13 15,0-13-15,0 0 0,0 0 16,1 0-16,-1-13 0,0 13 16,0-13-16,1 0 0,-1-1 15,-13 1-15,0 0 0,0-13 16,-13 12-16,13-12 0,-14 13 0,1-14 16,0 14-16,0 0 0,-1-1 15,-12 1-15,13 13 0,0-13 0,-1 13 16,-12 0-16,13 0 0,-1 13 0,1 0 15,-13 1-15,12-1 0,1 0 16,13 0-16,0 1 0,-13-14 0,26 13 16,-13 0-16,13-13 0,-13 13 0,14-13 15,12 0-15,-13 0 0,1 0 16,12 0-16,14-13 0,-27 0 16,13 0-16,-12-1 0,12 1 0,-13-13 15,1-1-15,12 1 16,-13-1-16,0-12 0,1-1 15,-14 13-15,13 1 0,-13-14 16,13 27-16,-13 0 0,0 0 16,0-1-16,13 14 15,-13 27 1,0-14-16,0 0 0,0 1 16,14 12-16,-14 0 0,0 1 0,0-1 15,13 1-15,-13-1 0,13-12 16,-13 12-16,0-13 0,13 0 0,1 1 15,-14-1-15,13 0 0,0-13 16,-13 13-16,13-13 0,0 0 16,1 0-16,-1 0 15,0 0 1,0 0-16,-13 14 0,14-14 16,-14 13-16,13-13 15,-13 13-15,13-13 16,-13 13-16,13-13 0,-13 14 15,14-14-15</inkml:trace>
  <inkml:trace contextRef="#ctx0" brushRef="#br0" timeOffset="95627.61">2156 5054 0,'27'13'0,"-27"0"0,13 0 31,0 0-31,0-13 0,14 0 31,-27-13-31,13 0 16,-13 0-16,0 0 15,0-1 1,0 1-16,0 0 16,-13 26-1,0 0-15,-1 1 16,1-14-16,-13 13 0,13 13 0</inkml:trace>
  <inkml:trace contextRef="#ctx0" brushRef="#br0" timeOffset="95869.72">609 5808 0,'264'-106'32,"-198"93"-17,14-1-15,-1-12 0,0 13 16,1-14-16,-1 14 0,1-14 0,52 1 16,-92 13-16,12 13 0,-12-13 0,-13-1 15,-1 14-15,-13 0 0,0 0 16</inkml:trace>
  <inkml:trace contextRef="#ctx0" brushRef="#br0" timeOffset="96079.89">542 5821 0,'40'0'16,"-27"-13"-16,27 13 0,13-14 15,0 1-15,13 0 0,66-27 16,-52 27-16,-1-13 0,0 12 16,-12 1-16,12-13 0,-26 12 0,13 1 15,-26 0-15,13-14 0,-14 14 0,27-26 16,-39 25-16,-1 1 16</inkml:trace>
  <inkml:trace contextRef="#ctx0" brushRef="#br0" timeOffset="96479.85">1958 4961 0</inkml:trace>
  <inkml:trace contextRef="#ctx0" brushRef="#br0" timeOffset="96916.94">2302 5040 0,'-53'27'31,"53"-14"-15,-13 0-16,13 0 15,0 1-15,13-1 16,-13 0-16,13-13 0,0 13 0,14-13 15,-14 14-15,0-14 16,14 0-16,-14 0 0,0-14 16,14 14-16,-14 0 0,13-13 0,-12 13 15,-1-13-15,0 0 0,-13-1 0,0 1 16,-13 0-16,13 0 0,-13 0 16,-1 13-16,1-14 0,0 1 15,0 0-15,-1 13 0,1 0 0,0 0 16,0-13-16,-14 26 0,14-13 15,-13 0-15,12 13 0,1-13 0,0 13 16,0-13-16,-1 14 0,1-14 0,13 13 16,-13-13-16</inkml:trace>
  <inkml:trace contextRef="#ctx0" brushRef="#br0" timeOffset="100592.96">675 6509 0,'-14'39'16,"14"-12"-16,0 26 0,0-13 0,-13 26 15,0 92-15,0-52 0,0 13 16,-14 0-16,14 14 0,0-14 15,-1 13-15,1 0 0,0 1 16,0-14-16,-1 13 0,14-26 0,-13-14 16,13-12-16,0-1 0,0-13 15,0 14-15,0-27 0,13-1 0,-13 1 16,0-13-16,-13 0 0,13-1 0,0-25 16,0 12-16,0-13 0,-13 1 0</inkml:trace>
  <inkml:trace contextRef="#ctx0" brushRef="#br0" timeOffset="101294.79">26 8440 0,'27'13'16,"-14"-13"-16,0 0 0,14 0 0,-1 0 15,1 0-15,-1 0 0,27 0 16,0-13-16,0 13 0,0 0 16,13 0-16,13-13 0,1 13 0,-1-13 15,1 13-15,-1 0 0,13-13 0,1 13 16,0-14-16,13 1 0,-14 13 16,14-13-16,13 13 0,119-13 15,-119-1-15,-13 14 0,13-13 0,-13 13 16,0-13-16,0 13 0,-1 0 15,1 0-15,0 0 0,0 0 0,0-13 16,-14 13-16,14 0 0,-13 0 16,13 0-16,-14 0 0,14 0 0,-13-14 15,-1 14-15,1 0 0,-14 0 16,14 0-16,-14-13 0,1 13 0,-14 0 16,-13 0-16,0 0 0,0 0 0,-14 0 15,27 0-15,-52 0 16,12 0-16,-13 0 0,1 0 0,-1 0 15,0 0-15,0-13 16,-26 13-16,0-13 16,0 0-16</inkml:trace>
  <inkml:trace contextRef="#ctx0" brushRef="#br0" timeOffset="102212.76">688 6496 0,'0'0'0,"-13"0"15,-1 13-15,1 0 16,0 0-16,0 14 0,0-14 16,-14 13-16,14 1 0,-14-1 15,14-12-15,0 12 0,0-13 0,-1 0 16,14 1-16,-13-1 0,0 0 16</inkml:trace>
  <inkml:trace contextRef="#ctx0" brushRef="#br0" timeOffset="102367.73">529 6562 0,'0'0'0,"0"-14"0,13 28 15,1-14-15,-1 13 16,0-13-16,0 13 0,27 0 0,-14 1 16,-12-1-16,12 0 0,14 0 15,-14 1-15,1-1 0,-1-13 16,1 13-16,-1 0 0</inkml:trace>
  <inkml:trace contextRef="#ctx0" brushRef="#br0" timeOffset="103447.92">4577 8162 0,'40'0'16,"-27"14"-16,0-14 16,1 0-16,-1 13 0,0-13 15,14 13-15,-14-13 0,0 13 0,0-13 16,0 14-16,1-14 0,-1 13 15,0-13-15,-13 13 0,13 0 0,-13 0 16,0 1-16,-13-1 0,13 0 16,-13 14-16,-14-1 0,-25 27 15,12-27-15,0 14 0,-39 26 16,39-26-16</inkml:trace>
  <inkml:trace contextRef="#ctx0" brushRef="#br0" timeOffset="107723.94">847 8374 0,'-27'40'15,"27"-27"-15</inkml:trace>
  <inkml:trace contextRef="#ctx0" brushRef="#br0" timeOffset="108335.63">847 8374 0,'-14'-13'0,"14"39"31,0-12-15,0-1-16,0 0 0,0 0 15,0 0-15,0 1 0,0-1 16,-13 13-16,13-12 0,0-1 16,0 0-16</inkml:trace>
  <inkml:trace contextRef="#ctx0" brushRef="#br0" timeOffset="108892.05">767 8744 0,'0'0'15,"0"27"17,0-14-32,-13 0 15,13 1-15,0-1 0,0 13 16,13-12-16,-13-1 16,0 0-16,0 0 0,0 0 15,14-39 32,-14 13-47,0 0 0,0-1 0,0 1 16,0 0-16,0-14 0,0 14 15,13 0-15,-13 0 0,13 13 0,-13-14 16,13 1-16,0 13 16,14 0-16,-14 13 0,0 1 15,1-14 1,-14 13-16,13 0 0,-13 0 0,13 1 15,-13-1-15,13 0 0</inkml:trace>
  <inkml:trace contextRef="#ctx0" brushRef="#br0" timeOffset="109072.13">754 8837 0,'27'0'32,"-14"0"-32,13-13 0,-13 13 15,14 0-15,-1-13 0,-12 13 16,-1-14-16,13 14 0</inkml:trace>
  <inkml:trace contextRef="#ctx0" brushRef="#br0" timeOffset="109379.82">1416 8255 0,'-14'53'15,"14"-40"1,0 14-16,0-1 0,0-13 16,0 14-16,0 26 0,0-27 0,0 1 15,0-1-15,0 0 0,0 1 16,0-1-16,0 1 0,0-14 15,14 14-15</inkml:trace>
  <inkml:trace contextRef="#ctx0" brushRef="#br0" timeOffset="110201">1336 8916 0,'-13'14'78,"26"-1"-63,-13 0-15,0 0 16,0 1 0,0-1-16,-13-13 15,13-13 1,0-1 0,0 1-16,0 0 0,0-14 15,0 14-15,0-13 0,13 13 16,-13-1-16,13-12 0,-13 13 0,14-1 15,-1 1-15,-13 0 0,13 13 16,0 0 0,1 0-16,-14 13 15,13-13-15,0 13 16,-13 1-16,13-14 16,0 0-16,-13 13 0,14-13 0,-14 13 15,26 0-15,-13 1 16,1-14-16,-14 13 15,0 0-15,0 13 16,-14-12 0,1-1-16,0 0 0,0 0 15,-1 1-15,1-1 0,0-13 0,0 13 16,0-13-16</inkml:trace>
  <inkml:trace contextRef="#ctx0" brushRef="#br0" timeOffset="110643.89">1931 8308 0,'0'0'16,"0"26"0,0-12-1,0-1-15,0 0 0,0 0 0,0 14 16,0-1-16,0 1 0,0-1 0,0 1 15,0-1-15,0 0 0,0 1 16</inkml:trace>
  <inkml:trace contextRef="#ctx0" brushRef="#br0" timeOffset="110871.78">1931 8811 0,'-26'13'0,"0"13"31,12-12-31,14-1 0,0 0 16,0 0 0,14-13-1,-1 0-15,13 0 0,1 0 16,-14 0-16,13-13 0,1 13 0</inkml:trace>
  <inkml:trace contextRef="#ctx0" brushRef="#br0" timeOffset="111259.82">2593 8348 0,'0'26'47,"0"-13"-47,0 1 0,0-1 0,0 0 16,0 0-16,0 14 0,0-14 15,0 0-15,0 14 0,13-1 16,-13-13-16,0 14 0,0-14 0,0 0 15,0 0-15</inkml:trace>
  <inkml:trace contextRef="#ctx0" brushRef="#br0" timeOffset="111720.54">2580 8771 0,'-14'13'32,"14"0"-17,0 1-15,0-1 16,0 0 0,0 0-16,0 1 0,0-1 31,0-53 16,0 27-47,0 0 0,0-1 15,14 14-15,-14-13 16,0 0-16,13 13 0,0-13 16,0 13-16,1 13 15,-1-13-15,0 0 16,0 13-16,1 0 0,-1 1 15,-13-1-15,0 0 16,-13 0-16,-1 1 16,-12 12-16,13-26 15,-14 13-15,1 0 16,12-13-16,1 0 0,0-13 16,13 0-1</inkml:trace>
  <inkml:trace contextRef="#ctx0" brushRef="#br0" timeOffset="112153.68">3056 8295 0,'0'0'0,"0"26"16,0-13-16,0 1 16,0-1-16,0 0 0,0 0 15,0 1-15,0 12 0,0-13 0,0 0 16,13 27-16,-13-27 15,0 14-15,0-14 0,0 13 0,0-12 0,-13 12 16,13-13-16</inkml:trace>
  <inkml:trace contextRef="#ctx0" brushRef="#br0" timeOffset="112484.57">3029 8811 0,'0'26'63,"-13"-26"-63,13 13 15,0 1-15,0-1 16,0 0-1,0 0 1,13 0 0,1-13-1,-1 0-15,0 0 16,0 0 0,1 0-16,-1-13 15</inkml:trace>
  <inkml:trace contextRef="#ctx0" brushRef="#br0" timeOffset="112716.05">3096 8877 0,'-14'0'0,"28"0"0,-41 0 31,27-13 1,13-1-17,-13 1 1,-13 13-1,13-13 1,0 0 0,0-1-1,13 14-15,-13-13 0,14 13 0,-1-13 16,0 13-16,0-13 0,1 13 16,-1-14-16,0 14 0,0-13 0</inkml:trace>
  <inkml:trace contextRef="#ctx0" brushRef="#br0" timeOffset="113055.54">3612 8308 0,'-14'13'15,"14"27"1,0-27-16,0 14 0,0 12 15,0-12-15,-13-14 0,13 13 16,0 1-16,0-1 0,0 1 16,0-1-16,0-13 0,0 14 0,0-14 15,0 14-15,0-1 0</inkml:trace>
  <inkml:trace contextRef="#ctx0" brushRef="#br0" timeOffset="113275.61">3638 8797 0,'0'0'0,"-13"14"31,0-1-31,13 0 16,0 0-16,-14 14 15,14-14-15,0 0 0,0 14 16,0-14-16,0 0 0,0 0 0,0 1 15,0-1-15,0 0 0,0 0 16</inkml:trace>
  <inkml:trace contextRef="#ctx0" brushRef="#br0" timeOffset="113456.57">3612 8864 0,'0'-14'0,"13"-12"32,0 26-32,-13-13 0,13 13 15,0 0-15,1 0 16</inkml:trace>
  <inkml:trace contextRef="#ctx0" brushRef="#br0" timeOffset="113581.61">3625 8903 0,'-13'13'0,"-1"1"31,41-14 0,-14-14-31,0 14 0,0-13 16,1 13-16,12-13 0,-13 13 0,14-13 16</inkml:trace>
  <inkml:trace contextRef="#ctx0" brushRef="#br0" timeOffset="113919.73">4260 8268 0,'-13'40'16,"13"-27"-16,0 27 15,-14-27-15,14 14 16,0-14-16,0 13 0,0-13 0,0 14 15,0-1-15,0-12 0,0 12 16,0-13-16,0 14 0,0-14 0,0 0 16,0 14-16,0-14 0,0 0 0</inkml:trace>
  <inkml:trace contextRef="#ctx0" brushRef="#br0" timeOffset="114312.59">4233 8837 0,'0'0'0,"-13"0"0,0 13 16,0-13-16,-1 14 16,1-1-16,13 0 15,-13-13-15,13 13 16,13 0 0,0-13-16,1 0 15,-1 0-15,40 0 16,-40 0-16,0 14 15,0-14-15,-13 13 0,14 0 16,-14 0-16,13 1 0,-13-1 0,0 13 16,0-12-16,13-1 0,-13 13 15,0-13-15,0 1 0</inkml:trace>
  <inkml:trace contextRef="#ctx0" brushRef="#br0" timeOffset="116103.67">397 8123 0,'26'0'16,"-12"0"-16,12 0 15,-13 0-15</inkml:trace>
  <inkml:trace contextRef="#ctx0" brushRef="#br0" timeOffset="116891.53">66 8109 0,'-26'14'62,"12"-14"-46,14 13-16,-13-13 15,0 13-15</inkml:trace>
  <inkml:trace contextRef="#ctx0" brushRef="#br0" timeOffset="117304.77">238 8096 0,'-13'13'31,"0"1"-31,13-1 16,0 0-16,-14 0 0,14 1 16,0-1-16,-13 0 0,13 0 0,0 1 15,-13-14-15</inkml:trace>
  <inkml:trace contextRef="#ctx0" brushRef="#br0" timeOffset="117659.6">132 8176 0</inkml:trace>
  <inkml:trace contextRef="#ctx0" brushRef="#br0" timeOffset="117780.75">278 8255 0</inkml:trace>
  <inkml:trace contextRef="#ctx0" brushRef="#br0" timeOffset="118345.61">489 7594 0,'14'0'0,"-28"0"0,41-14 16,-14 14-16,0 0 0,1 0 16,-1-13-16,0 13 0,0 0 0,1-13 15</inkml:trace>
  <inkml:trace contextRef="#ctx0" brushRef="#br0" timeOffset="118692.74">66 7580 0,'-13'14'15,"26"-1"1,-13 13 0,0-13-16,0 1 0,0-1 15,0 0-15,0 0 0</inkml:trace>
  <inkml:trace contextRef="#ctx0" brushRef="#br0" timeOffset="119009.57">185 7646 0,'0'27'31,"0"-14"-31,0 0 0,13-13 16,1 14-16,-1-14 0,13 0 15,-12 0 1,-14-14-16,13 14 0,0 0 0,0-13 16,-13 0-1,0 0 1,0-1-16,-13 14 0,0-13 16,0 0-16,-1 13 15,1 0-15,0 0 16,0 0-1</inkml:trace>
  <inkml:trace contextRef="#ctx0" brushRef="#br0" timeOffset="119174.88">423 7514 0,'0'13'31,"0"1"-31,0-1 0,-13 0 16,13 0-16,0 1 0,-13-1 0,13 0 16,-13 0-16</inkml:trace>
  <inkml:trace contextRef="#ctx0" brushRef="#br0" timeOffset="119308.63">357 7607 0,'27'0'47</inkml:trace>
  <inkml:trace contextRef="#ctx0" brushRef="#br0" timeOffset="120019.9">503 7091 0,'26'-13'16,"-13"13"-16,1 0 15,-1-14-15,0 14 0,0 0 0,1 0 16,-14-13-16,13 13 0,0 0 15,0 0-15,0 0 0</inkml:trace>
  <inkml:trace contextRef="#ctx0" brushRef="#br0" timeOffset="121324.09">106 7183 0,'13'-13'0,"14"13"16,-27 13 0,13-13-16,-13 14 15,0-1-15,0 0 16,-13-13-1,13 13-15,0 1 16,0-1 0,26-26 31,-13 13-47,0-14 15,1 1-15,-1 13 16,-13-13-16,13 13 0,-13-13 15,13 13-15,1 0 16,-1 0 15,0 0-15,0 0-16,1 0 0,-1 0 16,0 0-16,0 0 31,-13-14-31,0 1 15,-13 13 1,13-13-16,-13 13 0,13-13 16,-13 13-1,-1 0-15</inkml:trace>
  <inkml:trace contextRef="#ctx0" brushRef="#br0" timeOffset="121480.77">476 7078 0,'0'-14'0,"0"41"31,-13-14-31,13 0 0,-13 1 16,0-1-16,13 0 0,-14 0 0,1 0 15</inkml:trace>
  <inkml:trace contextRef="#ctx0" brushRef="#br0" timeOffset="121606.56">410 7170 0,'0'0'15,"0"-13"-15,13 13 32,1-13-17,-1 13-15</inkml:trace>
  <inkml:trace contextRef="#ctx0" brushRef="#br0" timeOffset="122391.01">503 6509 0,'0'0'0,"53"-13"31,-40 13-31,27-14 16,-27 14-16,13 0 0,-13-13 0,14 13 15,-14 0-15,14-13 0,-14 13 0,0 0 16,0 0-16,1-13 0,-1 13 15,0 0-15</inkml:trace>
  <inkml:trace contextRef="#ctx0" brushRef="#br0" timeOffset="122898.65">93 6562 0,'26'-14'32,"-13"28"-17,-13-1 1,0 0-16,0 0 15,14 1 1,-14-1-16,13-13 16,0 13-16,0-13 15,-13 13-15,13-13 0,1 14 16,-14-1 0,0 0-1,-14 0-15,1 0 16,0-13-1</inkml:trace>
  <inkml:trace contextRef="#ctx0" brushRef="#br0" timeOffset="123160.69">251 6562 0,'-26'39'0,"52"-78"0,-12 25 16,-1 28 15,-13-1-31,13-13 15,0 13 1,1-13 0,-1 0-16,0 0 15,-13-13 1,13 13-16,-26-13 16,13-1-16,0 1 15,-13 13 1,0 0-16,-1-13 15,14 26-15,-13-13 16</inkml:trace>
  <inkml:trace contextRef="#ctx0" brushRef="#br0" timeOffset="123321.62">437 6403 0,'0'0'0,"13"0"15,-13 13 1,0 0-16,0 1 0,0-1 16,0 0-16,0 0 0,-13 1 0,13-1 15,0 0-15,-14 0 16</inkml:trace>
  <inkml:trace contextRef="#ctx0" brushRef="#br0" timeOffset="123465.85">370 6456 0,'-13'-13'0,"13"-1"31,27 28 1,-27-28-32</inkml:trace>
  <inkml:trace contextRef="#ctx0" brushRef="#br0" timeOffset="124076.62">635 6046 0,'26'-14'31,"-12"14"-31,-1 0 16,13-13-16,-12 13 0,-1 0 16,0-13-16,0 13 0,1 0 0,-1-13 15,0 13-15,0 0 16</inkml:trace>
  <inkml:trace contextRef="#ctx0" brushRef="#br0" timeOffset="124875.8">212 6059 0,'-14'13'16,"1"-13"-16,13 13 15,-13-13-15,13 14 0,-13-1 16,0 0-1,13 0-15,0 1 16,13-1 0,0-13-1,13 0 1,-12 0-16,-1-13 0,0 13 16,0 0-16,1 0 0,-14-14 15,13 14-15,0-13 16,0 13-16,-13-13 0,0 0 15,0-1 1,0 1-16,-13 0 16,13 0-1,-13 26 17,0 0-17,13 0-15,0 1 16,13-1-16,0-13 15,0 0 1,1 0-16,-1-13 16,0 13-16,-13-14 15,13 1 1,0 26 15,1-13-15,-1 14-16,0-14 15,0 0-15,1 0 16,-1 0-16,0-14 16,0 14-16,-13-13 15,-13 0 1,13 0 0,-13 13-16,0 0 0,-1 0 15,1 0-15,0 13 16</inkml:trace>
  <inkml:trace contextRef="#ctx0" brushRef="#br0" timeOffset="125037.86">542 5953 0,'-13'27'31,"13"-14"-15,-13-13-16,13 13 0,-13 0 16,-1-13-16</inkml:trace>
  <inkml:trace contextRef="#ctx0" brushRef="#br0" timeOffset="125178.55">489 5993 0,'0'0'0,"27"0"16,-14 13-16</inkml:trace>
  <inkml:trace contextRef="#ctx0" brushRef="#br0" timeOffset="126308.7">635 6760 0,'0'13'16,"0"-39"47,-13 13-63,13-1 15,0 1-15,0-13 16,0 13-16,0-14 0,0 14 0,0-14 0,0 1 15,0-14-15,0 14 0,0-14 16,0 0-16,0 1 0,-13-1 16,13 14-16,0-1 0,0 1 0,0-1 15,0 1-15,0 12 0,0-12 0,0 13 16,0-14-16,0 14 0,0 0 16,0 0-16,0-1 0,0 1 0,0 0 15,13 0-15,-13-1 16,0 1-1,-13 0 1</inkml:trace>
  <inkml:trace contextRef="#ctx0" brushRef="#br0" timeOffset="126544.81">609 6019 0,'-14'27'0,"14"-1"0,-13-13 15,13 1-15,-13-1 0,13 0 16,0 0-16,-13 14 0,13-14 0,-14 0 15,14 14-15,0-14 0,-13 0 16,13 0-16,0 1 0,0-1 0,-13 0 16,13 0-16</inkml:trace>
  <inkml:trace contextRef="#ctx0" brushRef="#br0" timeOffset="126802.11">529 6072 0,'0'0'0,"13"0"16,1 0-16,-1 13 15,0-13-15,0 14 16,1-14-16,-1 13 0,0-13 16,0 13-16,0-13 0,1 13 0,-1-13 15,0 0-15,0 0 0,1 14 16,-1-14-16,0 0 15,0 13-15,1-13 16,-1 0 0</inkml:trace>
  <inkml:trace contextRef="#ctx0" brushRef="#br0" timeOffset="128423.7">3268 5239 0,'0'39'31,"0"-25"-31,0-1 16,0 0-16,0 14 0,0-14 0,13 0 15,-13 14-15,0-14 0,0 26 16,0-25-16,0-1 16,0 0-16,0 0 0,13 1 15,-13-1 16,0-40-15,13 27-16,-13-13 16,0 0-16,14 13 15,-14-13-15,13-1 0,0 14 16,0 0-16,-13-13 16,13 26-1,1-13-15,-1 14 0,0-1 16,0-13-16,-13 13 0,14 0 15,-1-13-15,-13 14 0,13-1 16,0 0-16,0-13 16,-13 13-16,14-13 15</inkml:trace>
  <inkml:trace contextRef="#ctx0" brushRef="#br0" timeOffset="128868.39">3532 5318 0,'13'53'32,"-13"-40"-32,0 1 0,14-1 0,-14 0 15,0 0-15,0 0 0,0 1 16,13-1-16</inkml:trace>
  <inkml:trace contextRef="#ctx0" brushRef="#br0" timeOffset="129595.7">3638 5265 0,'-26'13'32,"26"1"-32,0-1 15,13-13-15,-13 13 0,13 0 16,0 1-16,-13-1 15,13 0-15,-13 0 0,0 1 16,0-1-16,0 0 16,0 0-1,0 0-15,0-39 47,0 13-31,14 13-16,-14-13 0,0-1 15,0 1-15,0 0 0,0 0 0,13-14 16,-13 14-16,-13-14 0,13 14 0,0-13 16,0 13-16,0-1 15,-14-12-15,14 13 0,0-1 0,0 1 16,0 0-16,0 39 47,0-12-47,14-1 0,-14 0 15,13 0-15,-13 1 16,0-1-16,13 0 16,-13 0-16,13 0 0,-13 1 15,0-1-15,14-13 0,-14 13 16,13-13-16,-13 13 16,13-13-16,0 0 0</inkml:trace>
  <inkml:trace contextRef="#ctx0" brushRef="#br0" timeOffset="130264.6">4114 5001 0,'0'-14'16,"27"41"15,-14-14-31,-13 0 0,0 1 0,0-1 16,13 0-16,-13 0 0,0 0 15,0 1-15,0-1 0,0 0 16,0 0-16,0 1 16,0-41 15,0 14-31,0 0 16,0-1-16,0 1 0,13 0 0,-13 0 15,14-14-15,-1 14 0,0 0 16,0 13-16,-13-13 15,14-1-15,-1 14 16,-13-13-16,13 13 16,0 13-1,0-13 1,-13 14-16,0-1 16,0 0-16,14 0 15,-14 14 16,0-14-31</inkml:trace>
  <inkml:trace contextRef="#ctx0" brushRef="#br0" timeOffset="130365.55">4299 4961 0,'0'-13'0,"-13"-1"31</inkml:trace>
  <inkml:trace contextRef="#ctx0" brushRef="#br0" timeOffset="130549.53">4392 4882 0,'0'0'0,"13"0"0,-13 13 16,14 0-1,-14 0-15,0 0 0,0 1 16,0-1-16,0 0 15,0 0-15,0 1 0,-14 12 16,14-13-16,-13 1 0,13-1 16,0 0-16</inkml:trace>
  <inkml:trace contextRef="#ctx0" brushRef="#br0" timeOffset="130760.68">4458 4762 0,'0'0'0,"0"-13"16,0 0 0,13 26 15,-13 0-31,0 1 0,14-1 16,-14 13-16,0 1 0,-14-14 15,14 0-15,0 1 0,0-1 0,0 0 16,0 0-16,14 0 0,-14 1 15</inkml:trace>
  <inkml:trace contextRef="#ctx0" brushRef="#br0" timeOffset="131065.19">4591 4855 0,'0'-13'16,"0"26"-16,-27-13 15,14 13 1,13 1-16,-13-14 15,13 13-15,13 0 16,0-26 0,0 13-16,14-13 15,-14 13-15,13-14 0,1 14 0,-1-13 16,1 0-16,-1 13 0,14-13 16,-14 13-16,1-14 0,-14 14 0,0 0 15,1 0-15,-1-13 0,0 13 16,0 0-16,0 0 15,1 0-15,-1-13 16,-26 39 15</inkml:trace>
  <inkml:trace contextRef="#ctx0" brushRef="#br0" timeOffset="132756.65">794 8162 0,'-40'14'16,"40"-1"-1,-13-13-15,13 13 0,-13-13 0,-1 27 16,1-27-16,13 13 15,-13-13-15</inkml:trace>
  <inkml:trace contextRef="#ctx0" brushRef="#br0" timeOffset="132964.59">595 8229 0,'27'0'16,"-14"0"0,0 0-16,0 13 0,1-13 15,-1 0-15,0 13 0,0-13 16,1 0-16,-1 0 0,0 13 16,0-13-16,1 0 0,-1 0 0</inkml:trace>
  <inkml:trace contextRef="#ctx0" brushRef="#br0" timeOffset="133486.66">1244 8123 0,'13'0'0,"-26"13"47,-1 0-47,1 0 16,0 1-16,0-1 15,-1 0-15,1 0 16</inkml:trace>
  <inkml:trace contextRef="#ctx0" brushRef="#br0" timeOffset="133651.82">1111 8176 0,'0'0'0,"13"0"0,1 0 15,-1 0 1,13 0-16,-12 0 15,-1 0-15,0 0 0,0 13 0,1-13 16,-1 0-16</inkml:trace>
  <inkml:trace contextRef="#ctx0" brushRef="#br0" timeOffset="134464.51">1812 8057 0,'-26'13'0,"13"0"16,13 0-16,-14-13 16,1 13-16</inkml:trace>
  <inkml:trace contextRef="#ctx0" brushRef="#br0" timeOffset="134663.56">1680 8109 0,'0'-13'0,"13"13"15,14 0 1,-14 0-16,0 0 0,0 13 15,1-13-15,-1 0 0,0 0 16,0 14-16,1-14 0,-1 13 16</inkml:trace>
  <inkml:trace contextRef="#ctx0" brushRef="#br0" timeOffset="140475.63">2937 5662 0,'-27'40'16,"14"-27"-16,13 0 15,-13 0-15,0 1 0,0 12 0,-1-13 16,1 1-16,13-1 0,-13 0 16,-14 14-16,14-14 15,13 0-15</inkml:trace>
  <inkml:trace contextRef="#ctx0" brushRef="#br0" timeOffset="140682.98">2712 5755 0,'0'0'0,"13"13"15,0-13 1,1 13-16,-1 0 0,0-13 15,-13 14-15,13-14 0,14 13 16,-14 0-16,0-13 16,1 0-16,-1 0 0,0 0 15</inkml:trace>
  <inkml:trace contextRef="#ctx0" brushRef="#br0" timeOffset="141240.51">2858 5675 0,'0'27'15,"0"-14"-15,0 0 0,-14 0 16,14 1-16,0-1 0,0 13 16,0-12-16,0 12 0,0-13 0,0 14 15,0-14-15,0 0 0,-13 0 16</inkml:trace>
  <inkml:trace contextRef="#ctx0" brushRef="#br0" timeOffset="141412.71">2672 5847 0,'40'0'15,"-27"0"-15,14 0 0,12 0 16,-12 0-16,-1 0 16,1 0-16</inkml:trace>
  <inkml:trace contextRef="#ctx0" brushRef="#br0" timeOffset="143467.9">3122 8242 0,'-13'26'47,"0"-13"-47,13 1 15,-14-1-15,1 0 0,13 0 16,0 1-16,-13-14 0,13 13 16,0 0-16,-13-13 0,13 13 15</inkml:trace>
  <inkml:trace contextRef="#ctx0" brushRef="#br0" timeOffset="143689.5">3003 8308 0,'13'0'15,"0"0"-15,1 13 16,-1-13-16,0 13 15,0-13-15,-13 14 0,14-14 16,-1 0-16,-13 13 0,13-13 0,0 0 16,-13 13-16,14-13 0,-1 13 15,0 1-15</inkml:trace>
  <inkml:trace contextRef="#ctx0" brushRef="#br0" timeOffset="144276.71">3215 9168 0,'0'-13'31,"-14"26"-15,1 0-16,0 0 15,13 1-15,-13-1 16,0 0-16,13 0 0,-14 0 15,1 1 1</inkml:trace>
  <inkml:trace contextRef="#ctx0" brushRef="#br0" timeOffset="144428.67">3096 9181 0,'39'13'31,"-25"-13"-31,-1 0 16,0 0-16,0 0 0,14 0 15</inkml:trace>
  <inkml:trace contextRef="#ctx0" brushRef="#br0" timeOffset="145105.26">3638 8176 0,'-13'13'31,"13"0"-31,0 0 0,-13 1 0,-1-1 16,14 13-16,-13-13 0,13 1 15,-13-1-15,13 0 0</inkml:trace>
  <inkml:trace contextRef="#ctx0" brushRef="#br0" timeOffset="145364.79">3492 8229 0,'0'-14'0,"27"28"16,-14-14-16,0 13 16,1 0-16,-1-13 0,13 13 15,-12-13-15,-1 13 0,0-13 16,0 14-16,0-14 0,1 13 16,-1-13-16,0 0 0,0 0 0,1 13 0,-1-13 15,0 0-15,-13 13 0,13-13 16</inkml:trace>
  <inkml:trace contextRef="#ctx0" brushRef="#br0" timeOffset="146021.41">4286 8202 0,'-26'13'31,"13"1"-15,13-1-16,-14 0 0,1 0 15,13 0-15,-13 1 0,0-1 16,-1 0-16,1 0 0,13 1 0,-13-1 15,0 0-15,13 0 0,-13 1 16</inkml:trace>
  <inkml:trace contextRef="#ctx0" brushRef="#br0" timeOffset="146251.65">4101 8229 0,'13'0'0,"-26"0"0,40 0 0,-1 0 16,-13 13-16,0-13 15,1 0-15,-1 13 0,0-13 16,14 13-16,-14-13 0,0 13 0,0-13 16,14 14-16,-14-14 0,0 13 15,0-13-15,1 13 0,12-13 0,-13 13 16,1-13-16,-1 0 0,0 14 15</inkml:trace>
  <inkml:trace contextRef="#ctx0" brushRef="#br0" timeOffset="150137.54">648 8255 0,'13'0'16,"1"0"0,-1 0-16,0 0 15,0 0-15,1-13 0,-1 13 0,0 0 16,0 0-16,1 0 0,-1 0 16,0 0-16,0 0 0,0 0 0,14-13 15,-14 13-15,0 0 0,1 0 0,-1 0 16,13-14-16,-13 14 0,1 0 15,12-13-15,-13 13 0,1 0 16,-1-13-16,13 13 0,-12 0 0,-1-13 16,13 13-16,-13 0 0,1 0 0,-1-14 15,0 14-15,0 0 0,1 0 16,-1-13-16,0 13 0,0 0 0,1 0 16,-1-13-16,0 13 0,0 0 0,0 0 15,1-13-15,-1 13 16,0 0-16,0 0 0,1 0 0,-1-14 15,0 14-15,0 0 0,1 0 16,-1-13-16,0 13 16,0 0-16,0 0 15,1 0-15,-1 0 16,-13-13-16,13 13 16,0 0-16,1 0 15,-1 0-15,0 0 16,0-13-16,1 13 15,-1 0 1,0 0 0,0-13-16,0 13 15,1 0 1,-14-14-16,13 14 16,0-13-16,0 0 15,1 13 1,-14-13-16,13 13 15,-13-14-15,13 14 16,0-13-16,-13 0 0,13 13 16,-13-13-16,14 0 15,-14-1-15,13 14 0,-13-13 16,0 0-16,13 0 0,-13-1 16,13 1-16,-13 0 15,14 0-15,-14-1 0,0 1 16,13 0-16,-13 0 0,0 0 15,13 13-15,-13-14 16,13 1-16,-13 0 0,14-14 0,-14 14 16,0 0-16,13 0 0,-13-1 0,13 1 15,0-13-15,0 13 0,-13-1 16,0 1-16,14 0 16,-14 0-16,13 13 0,-13-14 0,0 1 15,13 0-15,-13 0 0,13-1 0,-13-12 0,14 13 16,-1 0-16,-13-1 0,13-12 15,0 13-15,14-27 16,-14 27-16,0-14 0,14 1 16,-14-1-16,0 14 0,0 0 15,-13-14-15,14 14 0,-1-13 0,0-1 16,0 14-16,0-13 0,-13 12 16,14 1-16,-1 0 0,-13-14 0,13 14 15,0 0-15,-13 0 0,14-14 16,-1 1-16,-13 13 0,0-1 15,13 1-15,-13 0 0,13 0 16,-13-1-16,0 1 0,14 0 16,-14 0-16,0 0 0,13-1 0,-13 1 15,0 0-15,13 13 0,-13-13 0,0-1 16,13-12-16,-13 13 16,13 0-16,-13-1 0,0 1 15,14 0-15,-14 0 0,0-1 16,13 14-16,-13-13 0,0 0 0,13 0 15,-13-1-15,0 1 16,13 13-16,-13-13 0,0 0 0,0 0 16,14-1-16,-14 1 15,0 0-15,13 13 0,-13-13 16,0-1-16,0 1 0,13 0 16,-13 0-16,0-1 15,13 1-15,-13 0 16,0 0-16,14 0 15,-14-1-15,0 1 0,13 0 16,-13 0-16,0-1 16,0 1-16,13 13 0,-13-13 15,0 0-15,13-1 0,-13 1 16,13 0-16,-13 0 0,0 0 16,14 13-16,-14-27 0,13 14 15,-13 0-15,13-1 16,-13 1-16,13 13 0,-13-13 15,14 0-15,-14-1 16,13 1-16,-13 0 16,13 13-16,-13-13 15,0 0-15,13-1 0,-13 1 16,14 13-16,-14-13 0,0 0 16,13 13-16,-13-14 15,13 1 1,-13 0-16,13 0 15,-13 0 1,13-1-16,1 14 16,-14-13-16,13 13 15,-13-13-15,13 13 0,-13-13 0,13 13 16,-13-14-16,14 14 16,-1-13-16,0 13 15,-13-13-15,13 13 16,1 0-1,-14-13-15,13 13 16,0 0-16,0 0 16,0 0-1,1 0 1,-1 13-16,0-13 16,-13 13-1,13-13 1,-13 13-16,14-13 0,-14 14 15,13-14-15,-13 13 16,13 0-16,-13 0 16,13 1-16,-13-1 15,0 0-15,13-13 16,-13 13-16,0 0 0,0 1 16,14-1-16,-14 0 15,0 0-15,0 1 16,0-1-16,0 0 0,0 0 15,13-13-15,-13 27 0,0-14 16,0 0 0,0 0-16,13 1 0,-13-1 15,0 0-15,0 0 0,13 1 16,-13-1-16,14 0 16,-14 0-16,0 0 0,13 1 15,-13-1-15,0 0 0,13 0 16,-13 1-16,0-1 0,0 0 15,13-13-15,-13 13 0,0 1 16,0-1-16,0 0 0,0 0 16,14 0-16,-14 1 0,0-1 0,0 0 15,0 0-15,0 1 16,0 12-16,0-13 0,0 1 16,13-1-16,-13 0 0,0 0 15,0 0-15,0 14 0,0-14 16,0 0-16,0 1 0,13-1 15,-13 0-15,0 0 0,0 1 0,0-1 16,0 0-16,0 0 0,0 0 16,13 1-16,-13-1 0,0 13 15,0-12-15,13-1 0,-13 0 0,0 0 16,0 0-16,14 1 0,-14 12 16,0-13-16,0 1 0,13-1 15,-13 0-15,0 0 0,0 1 0,0-1 16,13 0-16,-13 0 0,0 0 15,0 1-15,13-1 0,-13 0 0,0 0 0,0 1 16,0-1-16,14-13 16,-14 13-16,0 0 0,0 1 0,13-1 15,-13 0-15,0 0 0,13 0 16,-13 14-16,0-14 16,13 0-16,-13 1 0,0-1 15,14 0-15,-14 0 0,13 0 16,-13 1-16,0-1 0,0 0 0,13-13 15,-13 13-15,0 1 16,13-1-16,-13 0 0,13 0 16,-13 1-16,0-1 0,14 0 15,-14 0-15,13 0 0,-13 1 16,0-1-16,13 0 16,-13 0-16,13 1 0,-13 12 15,14-26-15,-14 13 0,13 1 16,-13-1-16,13 0 15,-13 0-15,13 0 0,-13 1 16,13-14-16,-13 13 0,14 0 16,-14 0-16,13 1 15,-13-1-15,13 0 0,-13 0 16,13 1-16,-13-1 16,14-13-16,-14 26 0,13-13 15,-13 1-15,0-1 0,13-13 16,-13 13-16,0 0 0,13 1 0,-13-1 15,0 0-15,14-13 0,-14 13 16,0 1-16,13-14 0,-13 13 0,0 0 16,13-13-16,-13 13 0,13 0 15,-13 1-15,13-14 0,1 13 16,-14 0-16,26 0 16,-13 1-16,1-14 15,-1 0-15,0 13 0,14 0 16,-1-13-16,-13 0 0,27 13 15,-14-13-15,-12 13 16,12-13-16,1 14 0,-1-14 0,0 13 16,27-13-16,-26 0 0,-1 13 15,40-13-15,-39 0 0,13 0 16,-14 0-16,53-13 16,-39 13-16,13-13 0,-13 13 15,-14-14-15,14 14 0,-14 0 0,14 0 16,0-13-16,26 13 0,-40-13 15,14 13-15,-14 0 0</inkml:trace>
  <inkml:trace contextRef="#ctx0" brushRef="#br0" timeOffset="151331.92">939 9922 0,'0'40'0,"0"-14"16,-13 146 0,13-93-16,-13 120 0,13-80 15,-13 13-15,13 0 0,0 1 16,-14-1-16,14 14 0,-13 12 0,0-12 16,0-1-16,-1 14 0,-12-13 15,13-1-15,0 14 0,-1-27 0,1 0 16,13-12-16,-13-1 0,13-14 0,-13-25 15,13-1-15,0 1 0,0-14 16,13 0-16,-13-26 0,0 12 0,0-12 16,0-13-16,0-14 0,13 0 0,-13 0 15,0 1-15,-13-41 16,0 14-16</inkml:trace>
  <inkml:trace contextRef="#ctx0" brushRef="#br0" timeOffset="151752.53">146 12859 0,'13'0'0,"13"0"16,-13-13-16,14 13 0,26-14 0,-13 14 15,12 0-15,28-13 0,-14 0 16,13 13-16,14 0 0,0 0 0,-1 0 16,14-13-16,26 13 0,1 0 0,12 0 15,1 0-15,-1-14 0,14 14 16,0 0-16,13-13 0,0 13 0,13-13 15,-13 0-15,26-1 0,-13 1 0,14 13 16,-1-13-16,1 0 0,-1 0 16,1-1-16,-1 14 0,-13-13 0,14 13 15,-27 0-15,158 0 16,-184 0-16,-1 0 0,-12 0 0,-27 13 16,-14-13-16,1 14 0,-14-14 15,0 0-15,-26 13 0,0-13 0,-26 0 16,-1 0-16,-13 13 0,1-13 0</inkml:trace>
  <inkml:trace contextRef="#ctx0" brushRef="#br0" timeOffset="154202.41">1085 12700 0,'0'0'16,"0"-13"-16,-13 39 15,-1-13 1,14 1-16,0-1 0,-13 13 0,13-12 16,0 12-16,-13 1 0,13-1 15,-13 0-15,13-12 0,-14 12 0,14 1 16,-13-1-16,13-13 0,0 14 16</inkml:trace>
  <inkml:trace contextRef="#ctx0" brushRef="#br0" timeOffset="154632.51">992 13229 0,'-13'27'31,"13"-14"-31,0 0 0,0 0 16,0 1-16,0-1 0,0 0 15,0 0-15,-13 14 0,13-14 16,0 0-16,0 0 16,0 1-16,0-41 31,0 14-31,0 0 15,0-14-15,0 1 0,13 13 16,-13-14-16,13 1 0,-13 12 0,13 1 16,-13 0-16,14 0 0,-1-1 0,0 1 15,0 13-15,1 0 16,-1 0-16,0 13 0,0-13 16,-13 14-16,13-1 0,1 13 0,-14-12 15,0-1-15,13 13 0,-13-12 16,0-1-16,0 0 0,0 0 0,0 0 15</inkml:trace>
  <inkml:trace contextRef="#ctx0" brushRef="#br0" timeOffset="154808.97">1005 13335 0,'0'0'0,"-13"0"0,53 0 31,-27-13-31,0 13 16,1 0-16,12-13 0,0 13 0,1-14 16,13 1-16,-1 0 0,14 0 15,-13-1-15,0 1 0</inkml:trace>
  <inkml:trace contextRef="#ctx0" brushRef="#br0" timeOffset="155061.59">1852 12726 0,'0'0'0,"-13"0"0,0 14 31,13-1-31,0 13 0,-14-12 16,14 12-16,-13 1 0,13 12 15,-13-12-15,0-1 0,13 14 0,-14-14 16,14 1-16,0-1 0,0 1 0,0-14 16,-13 13-16,26-12 0,-13-1 15,0 0-15,0 0 0,0 0 0</inkml:trace>
  <inkml:trace contextRef="#ctx0" brushRef="#br0" timeOffset="155661.87">1693 13335 0,'0'0'0,"-13"-13"0,13 39 31,0-13-15,0 1-16,0 12 0,0-13 0,0 1 16,0-1-16,0 0 15,0 0-15,0 14 0,0-14 0,0 0 16,0 0-16,0 1 15,0-1 1,-13-40 15,13 14-31,0 0 0,0 0 0,0 0 16,0-1-16,13 14 16,-13-13-16,0 0 0,0 0 15,0-1-15,13 14 16,1 14-1,-1-14 1,0 13 0,0-13-16,0 13 15,-13 0-15,14 1 0,-1-1 16,-13 0-16,0 0 0,0 0 16,0 1-16,-13-1 15,13 0-15,-14 0 0,14 14 0,-13-14 16,0 0-16,0 0 0,0 1 0,-1-14 15,1 13-15,0-13 0,0 0 16</inkml:trace>
  <inkml:trace contextRef="#ctx0" brushRef="#br0" timeOffset="156224.6">2738 12740 0,'-13'66'15,"13"-40"-15,0 1 16,-13-1-16,13 14 0,0-14 16,0 1-16,0 65 15,0-65-15</inkml:trace>
  <inkml:trace contextRef="#ctx0" brushRef="#br0" timeOffset="156480.72">2831 13309 0,'-26'0'0,"12"0"0,-25 26 15,25-13-15,14 0 16,-26 14-16,26-14 0,-13 0 16,13 1-16,0-1 0,13 0 15,0 0 1,14-26-16,-14 13 0,13-13 16,14 0-16,-13-1 0,52-25 15,-53 25-15</inkml:trace>
  <inkml:trace contextRef="#ctx0" brushRef="#br0" timeOffset="156704.03">3466 12726 0,'-13'-13'0,"13"40"31,-13-14-31,13 0 0,0 0 0,0 14 16,-14-14-16,14 14 0,0-1 0,0 0 16,0 1-16,-13 13 0,13-1 15,0-12-15,0 12 0,-13 1 16,13-27-16,0 40 0,0-40 16</inkml:trace>
  <inkml:trace contextRef="#ctx0" brushRef="#br0" timeOffset="157148.48">3400 13229 0,'-13'13'31,"13"1"-31,0-1 0,-14 0 15,14 0-15,0 1 0,0-1 0,-13 0 16,13 13-16,0-12 0,0-1 0,0 0 16,-13 0-16,13 1 0,0-1 15,0 0-15,0-39 47,0-1-47,13 14 0,-13 0 16,13-1-16,1 1 0,-1-13 15,0 26-15,0-13 0,-13-1 0,14 14 16,-1-13-16,0 13 0,0 0 16,0 13-16,1-13 0,-14 14 15,13-14-15,-13 13 0,0 13 0,0-13 16,-13 1-16,-1 12 0,1 1 16,0-1-16,-13 1 0,-1-1 0,14-13 15,0 0-15,-14 1 0,14-1 0,0-13 16,0 0-16,-1-13 15,14-1-15,0 1 0,0-13 16,14-1-16</inkml:trace>
  <inkml:trace contextRef="#ctx0" brushRef="#br0" timeOffset="157536.79">4247 12568 0,'0'0'0,"0"13"16,0 0 0,0 0-16,0 14 0,0-1 0,0 1 15,0-1-15,0 1 0,-14-1 16,14 1-16,0 12 0,0-12 16,0-1-16,0 1 0,0-14 0,0 13 0,0 1 15,0-14-15,0 14 0,0-14 16,0 0-16,0 13 0,0-12 15,0-1-15,0 0 0,0 0 16,0 1-16,0-1 0,-13 0 16</inkml:trace>
  <inkml:trace contextRef="#ctx0" brushRef="#br0" timeOffset="157879.76">4194 13256 0,'-14'26'47,"14"-13"-47,0 1 15,-13-14-15,13 13 0,0 0 16,0 0-16,0 0 15,0 1-15,-13-1 16,26-13-16,-13 13 16,13 0-1,1-13 1,-1 14-16,0-14 31,0 0-31,1-14 16,-1 14-16,0 0 0,-13-13 15</inkml:trace>
  <inkml:trace contextRef="#ctx0" brushRef="#br0" timeOffset="158140.43">4247 13361 0,'0'0'0,"-14"0"15,28-13 16,-14 0-15,13 13-16,-13-13 16,0 0-1,0-1 1,0 1 15,0 0-15,13 13-16,0-13 0,0-1 15,1 1-15,12 0 0</inkml:trace>
  <inkml:trace contextRef="#ctx0" brushRef="#br0" timeOffset="158496.68">5186 12581 0,'0'26'15,"0"-12"1,0 12-16,0-13 0,0 14 16,0-1-16,0 1 0,0 12 0,0 1 15,-13 0-15,13-1 0,0-12 16,0-1-16,-14 14 0</inkml:trace>
  <inkml:trace contextRef="#ctx0" brushRef="#br0" timeOffset="158712.64">5146 13176 0,'0'-13'0,"-13"39"15,13-12 1,-13-1-16,13 0 0,0 0 16,0 1-16,-14 12 0,14-13 15,0 1-15,0-1 0,0 0 0,-13 0 16,13 0-16,0 1 0,0-1 0</inkml:trace>
  <inkml:trace contextRef="#ctx0" brushRef="#br0" timeOffset="158882.76">5159 13123 0,'0'-13'0,"0"0"16,40 0-1,-40 26 16</inkml:trace>
  <inkml:trace contextRef="#ctx0" brushRef="#br0" timeOffset="159004.2">5146 13216 0,'-13'13'15,"39"-39"-15,-39 39 0,-13 13 0,52-26 47,-13-13-47,1 13 0,12-13 0,1 0 16,12-1-16,-12 1 0,12 0 15,1-13-15</inkml:trace>
  <inkml:trace contextRef="#ctx0" brushRef="#br0" timeOffset="159252.37">6138 12568 0,'-13'0'15,"0"26"1,13-13-16,0 1 0,-13-1 16,13 13-16,0 1 0,-14 12 0,14 1 15,-13-13-15,0 52 0,13-39 16,-13 26-16,-1-26 15</inkml:trace>
  <inkml:trace contextRef="#ctx0" brushRef="#br0" timeOffset="159558.92">5966 13295 0,'-26'0'0,"13"14"0,-1-1 31,28 0-31,-1-13 16,-13 13-16,13-13 16,0 0-16,1 0 0,-1 13 15,0-13-15,0 14 0,0-1 0,14-13 16,-27 13-16,13 0 0,0 1 0,1-1 15,-14 0-15,13 0 0,-13 1 16,0-1-16,13 0 0,-13 0 16,0 0-1</inkml:trace>
  <inkml:trace contextRef="#ctx0" brushRef="#br0" timeOffset="160259.65">688 12382 0,'26'0'0,"-12"-13"0,-1 13 0,13-13 15,-12 0-15,-1 13 0</inkml:trace>
  <inkml:trace contextRef="#ctx0" brushRef="#br0" timeOffset="160900.51">159 12356 0,'-27'13'32,"14"-13"-17,13 13 1,0 1-1,13-14-15,1 13 16,-1-13-16,0 13 16,0-13-1,0 13 1,-26 1 0,13-1-1,-13 0-15,0-13 0,0 13 0,-14 14 16,14-27-16,0 13 0,-1 0 15,1-13-15,0 13 0,0-13 16</inkml:trace>
  <inkml:trace contextRef="#ctx0" brushRef="#br0" timeOffset="161092.89">357 12290 0,'-13'26'32,"13"-12"-32,-13-14 0,13 13 15,-13 13-15,13-13 0,-14 1 16,1 12-16,0-13 0,0 27 16,-1-27-16,14 1 0</inkml:trace>
  <inkml:trace contextRef="#ctx0" brushRef="#br0" timeOffset="161200.82">251 12449 0,'14'-14'16,"-1"14"-16</inkml:trace>
  <inkml:trace contextRef="#ctx0" brushRef="#br0" timeOffset="162723.85">53 12396 0,'13'-14'0,"-13"1"0,13 13 0,1 0 16,12 0-1,-13 0-15,1 13 16,-1 1-16,0-1 16,-13 0-16,0 0 0,0 1 0,-13-1 15,13 0-15,-13 14 0,-1-14 16,14 0-16,-13 0 0,0 0 0,13 1 16,-13-1-16,13 0 0,-14 0 15,1 1-15,13-1 16,13 0-1,1-13 1,-1-13-16,0 13 0,14 0 16,-14 0-16,13-13 0,1 13 0,-1-14 15,1 14-15,-14 0 0,13-13 16,1 0-16,-14 13 0,13-13 16,1-1-16,-14 1 0,14 13 0,-14-13 15,13-13-15</inkml:trace>
  <inkml:trace contextRef="#ctx0" brushRef="#br0" timeOffset="163103.54">754 11827 0,'40'0'0,"39"-27"31</inkml:trace>
  <inkml:trace contextRef="#ctx0" brushRef="#br0" timeOffset="163564.63">119 11919 0,'0'-13'0,"13"13"15,14 0 1,-14 13-16,0-13 16,-13 14-16,13-14 0,1 13 15,-1-13-15,-13 13 16,13-13-16,0 13 16,1 1-16,-14-1 15,0 0 1,-14-13-16,14 13 0,-13 1 15,0-1-15,0 0 0,-1 0 16,1-13-16,0 13 0,13 1 0,-13-14 16,0 13-16,-1-13 15</inkml:trace>
  <inkml:trace contextRef="#ctx0" brushRef="#br0" timeOffset="163721.42">423 11827 0,'0'0'0,"14"0"16,-14 13 0,0 0-1,-14 1-15,14-1 16,0 0-16,-13 0 0,13 0 16,-13 1-16,13-1 0,-13 0 0,13 0 15</inkml:trace>
  <inkml:trace contextRef="#ctx0" brushRef="#br0" timeOffset="163908.42">516 11906 0</inkml:trace>
  <inkml:trace contextRef="#ctx0" brushRef="#br0" timeOffset="164388.39">913 11139 0,'39'-13'47,"-25"13"-32,-1-14-15</inkml:trace>
  <inkml:trace contextRef="#ctx0" brushRef="#br0" timeOffset="164905.41">463 11258 0,'0'0'16,"-13"0"0,0 13-16,-1-13 15,1 13-15,13 1 16,-13-14-1,26 13 1,-13 0-16,13-13 0,-13 13 16,14-13-16,-1 0 0,-13 14 15,13-1-15,-13 0 16,0 0-16,0 1 16,-13-1-16,0 0 15,-1 0-15,14 0 0,-13-13 16,0 14-16,0-14 0,13 13 0,-14-13 15,1 13-15,0-13 0</inkml:trace>
  <inkml:trace contextRef="#ctx0" brushRef="#br0" timeOffset="165059.49">582 11218 0,'13'-13'0,"1"26"31,-14 1-31,0 12 16,0-13 0,0 0-16,-14 1 0,14 12 15,0-13-15,-13 1 0,13-1 0</inkml:trace>
  <inkml:trace contextRef="#ctx0" brushRef="#br0" timeOffset="165727.48">926 10649 0,'26'-13'47,"-12"13"-47,-1-13 0,0 13 15,0 0-15,1 0 0</inkml:trace>
  <inkml:trace contextRef="#ctx0" brushRef="#br0" timeOffset="166303.51">476 10649 0,'0'-13'16,"-39"40"-1,39-14-15,-14 0 16,1 0-16,0 1 0,13 12 15,-13-13-15,-1 14 0,14-14 16,-13 0-16,13 0 0,0 1 0,-13-1 16,13 0-16,13-13 0,-13 13 0,0 1 15,13-1-15,1-13 32,-14-13-1,-14-1-31,14 1 15,-13 13-15,13-13 16,0 0 0,0-1-16,0 1 15</inkml:trace>
  <inkml:trace contextRef="#ctx0" brushRef="#br0" timeOffset="166452.72">529 10663 0,'0'0'0,"13"0"15,-13 13 1,0 13-16,0-12 16,-13-1-16,13 0 15,0 0-15,-13 1 0,13-1 0,0 0 16,-13 0-16</inkml:trace>
  <inkml:trace contextRef="#ctx0" brushRef="#br0" timeOffset="166542.34">476 10769 0,'0'0'0</inkml:trace>
  <inkml:trace contextRef="#ctx0" brushRef="#br0" timeOffset="166636.34">622 10782 0</inkml:trace>
  <inkml:trace contextRef="#ctx0" brushRef="#br0" timeOffset="167019.07">820 10147 0,'27'-13'0,"-54"26"0,54-40 0,-14 14 16,0 13-16,0-13 0,14 0 15,-14 13-15,13-14 16,-12 14-16,-1 0 0,0-13 0,0 13 15,1 0-15</inkml:trace>
  <inkml:trace contextRef="#ctx0" brushRef="#br0" timeOffset="167671.64">212 10173 0,'26'13'31,"-13"-13"-31,1 14 16,-14-1-16,0 0 0,13-13 15,-13 13-15,0 1 16,0-1-1,0 0-15,-13 0 16,-1-13 15,1 0-15,0-13-16,0 13 16,13-13-1,0 0 1,13-1-16,-13 1 0,13 13 15,-13-13-15,13 0 16,1-1-16,-14 1 0,13 0 16,0 0-16,-13 0 0,0-1 15,0 1-15,0 0 16,0 0-16,0-1 0,-13 1 16,13 0-16,-13 0 0,13-1 15,-14 14-15,14-13 16,-13 13-16,0 0 15,0 0 1</inkml:trace>
  <inkml:trace contextRef="#ctx0" brushRef="#br0" timeOffset="168040.4">463 9962 0,'-13'0'0,"0"13"16,-1 0 0,14 0-16,-13-13 15,13 13-15,0 1 0,0-1 16,-13-13-16,13 13 0,0 0 16,0 1-16,0-1 15,-13 0 1,13 0-16,0 1 15,13-1 1,-13 0-16</inkml:trace>
  <inkml:trace contextRef="#ctx0" brushRef="#br0" timeOffset="168484.95">503 10094 0</inkml:trace>
  <inkml:trace contextRef="#ctx0" brushRef="#br0" timeOffset="172291.53">79 12422 0,'0'0'0,"0"-13"0,0 0 16,14 13-16,-1-14 16,0 1-16,27 0 15,-27 13-15,13-13 0,-12 13 0,-1 0 16,0-13-16,0 13 0,1-14 15,-1 14 1,-40 14 15,14-1-31,0 0 0,0 0 0,-14-13 16,14 13-16,-13 1 0,12-1 0,-12 0 16,-1 0-16,14 1 15,0-14-15,0 13 0,-1 0 16,14 0-16,14 1 15,-1-14 1,0 0-16,14 13 16,-14-13-16,13 13 0,-12-13 0,-1 0 15,13 13-15,1 0 0,-14 1 16,0-14-16,0 13 16,1 0-16,-14 0 0,13 1 15,-13-1-15,-13 13 0,13-12 16,-67 52-1,41-53-15,0 0 0,-1 0 16,1 14-16,-1-27 0,1 13 16,-14 0-16</inkml:trace>
  <inkml:trace contextRef="#ctx0" brushRef="#br0" timeOffset="174363.71">159 11800 0,'-13'0'0,"-14"0"31,14 0-31,13 14 15,-13-14-15,-1 13 16,14 0-16,14 0 16,-14 1-1,13-1-15,0 0 0,0 0 16,1 0-16,-1-13 0,0 14 16,0-1-16,0 0 0,1 0 0,-1 1 15,0-1-15,-13 0 0,13 0 0,-13 1 16,0-1-16,0 0 15,0 0-15,0 0 0,-13 1 0,0-1 16,0 0-16,-1-13 16,1-13-1,13 0 1,13-1-16,-13 1 16,14 0-16,-14 0 0,13 0 15,0 13-15,40-80 31,-53 67-31,0 0 0,0-1 16,0 1-16,0 0 0,0 0 0,-13 13 16,13-13-16,-13-1 0,-1 1 0,1 13 15,0-13-15,0 0 0,-1 13 16,1 0-16,0-14 0,0 14 16,0 0-16,-1-13 0,1 13 15,13-13 1</inkml:trace>
  <inkml:trace contextRef="#ctx0" brushRef="#br0" timeOffset="175140.36">198 11351 0,'0'-14'0,"-13"41"32,13-14-32,0 0 15,0 1-15,0-1 0,0 0 16,0 0-16,0 14 0,0-14 15,0 0-15,0 0 0</inkml:trace>
  <inkml:trace contextRef="#ctx0" brushRef="#br0" timeOffset="175516.7">437 11258 0,'-14'0'0,"1"0"32,0 13-32,0 0 15,-1 1-15,14-1 0,0 0 16,0 0-16,0 1 0,0-1 16,0 0-16,14 0 0,-14 1 15,0-1-15,13 0 0,0-13 0,0 13 16,1 0-16,-1-13 0,0 0 15,0 0-15,0 0 0,1 0 16,-1-13-16,0 0 0,0 13 16,-13-13-16,14 13 0,-14-13 0,0-1 15,0 1-15,-14-13 16,14 12-16,-13 1 0,0 0 16,13 0-16,-13-1 0,-1 1 0,14 0 15,-13 0-15,0 0 0,0-1 16,0 14-16,-1 0 15,1-13 1</inkml:trace>
  <inkml:trace contextRef="#ctx0" brushRef="#br0" timeOffset="175979.57">26 10716 0,'-13'0'0,"26"26"31,-13-13-15,0 1-16,14-1 0,-14 0 15,0 13-15,13-12 0,-13 12 0,0 1 16,13-14-16,-13 13 0,0-12 0,0-1 16,13 0-16,-13 0 0,0 0 15,0 1-15</inkml:trace>
  <inkml:trace contextRef="#ctx0" brushRef="#br0" timeOffset="176480.27">265 10716 0,'0'-14'0,"0"28"0,13-28 0,0 1 0,14 13 16,-14 13 0,0-13-16,0 14 0,0-1 15,-13 0-15,0 0 0,0 1 16,-13 12-16,13 0 0,-13-12 0,0 25 16,0-25-16,-1 12 0,1-13 0,0 1 15,13-1-15,-13-13 16,13 13-16,-14 0 0,1 0 15,26 1 17,14-28-32,-14 14 0,0-13 15,14 13-15,-14-13 0,13 13 0,-12-13 16,12 0-16,-13-1 0,1 14 16,-1-13-16,0 0 0,0 13 0,0-13 15,1 13-15,-14-14 0</inkml:trace>
  <inkml:trace contextRef="#ctx0" brushRef="#br0" timeOffset="176978.03">40 10160 0,'0'-13'0,"0"26"0,-14-26 16,28 39 0,-14-13-1,0 1-15,0-1 0,0 0 16,0 0-16,0 14 0,0-14 0,0 14 16,0-14-16,0 13 0,0-13 0,0 1 15,13-1-15</inkml:trace>
  <inkml:trace contextRef="#ctx0" brushRef="#br0" timeOffset="177542.75">251 10067 0,'14'-13'0,"-14"0"0,13 13 15,0 0 1,-26 26 15,0-26-31,-1 14 0,1 12 16,0-13-16,0 1 0,-1-1 16,1 0-16,13 0 0,-13-13 15,13 13-15,0 1 16,0-1-16,13-13 15,0 0-15,1 13 0,-1-13 16,0 0-16,0 0 0,1 0 0,-1 0 16,13 0-16,-12 0 0,-1 0 15,0 0-15,0 13 0,0-13 16,1 0-16,-14 14 16,-14-1-16,14 0 15,-13 0-15,0-13 0,0 14 16,0-1-16,-1 0 0,1-13 0,0 13 0,0 0 15,-14-13-15,14 14 16,0-1-16,-1-13 0,1 13 0,0-13 16,0 13-16</inkml:trace>
  <inkml:trace contextRef="#ctx0" brushRef="#br0" timeOffset="179379.35">1230 12118 0,'0'-13'0,"-13"13"31,0 13-31,0 0 0,13 0 16,-14 1-16,1-1 0,0 0 15,0 14-15,-14-14 0,14 0 0,0 13 16,0-12-16,-1-1 0,1-13 15</inkml:trace>
  <inkml:trace contextRef="#ctx0" brushRef="#br0" timeOffset="179542.54">979 12171 0,'13'-13'0,"0"13"15,1 0 1,-1 0-16,0 0 0,0 13 0,1-13 15,-1 13-15,13-13 0,-13 13 0,1-13 16,12 14-16,-13-14 16,14 0-16,-14 0 0,0 0 0</inkml:trace>
  <inkml:trace contextRef="#ctx0" brushRef="#br0" timeOffset="180500.53">2302 11576 0,'-13'13'0,"26"-26"0,-40 26 0,14-13 0,0 13 15,0-13-15,-1 13 0,1 0 16,0-13-16,0 14 0,0-1 0,-14 0 16,14 0-16,0 1 0,13-1 0,-14-13 15,1 13-15,0-13 16,13 13-16,-13-13 0</inkml:trace>
  <inkml:trace contextRef="#ctx0" brushRef="#br0" timeOffset="180642.78">2064 11681 0,'0'-13'0,"0"26"0,13-26 16,13 13-1,-12 0-15,-1 13 0,0-13 16,0 0-16,1 0 0,-1 14 0,13-14 15,-13 13-15,1-13 0,-1 0 0</inkml:trace>
  <inkml:trace contextRef="#ctx0" brushRef="#br0" timeOffset="181408.3">3492 11152 0,'0'0'0,"-26"27"0,-40 78 31,53-78-31,-1-1 16,1-12-16,0 12 0,0-13 0</inkml:trace>
  <inkml:trace contextRef="#ctx0" brushRef="#br0" timeOffset="181608.48">3321 11245 0,'0'0'0,"39"13"0,-26-13 15,1 13-15,65 14 16,-53-14-16,14 0 16,-13 0-16,-14 1 15,0-1-15,14 0 0,-14 0 0,13-13 0</inkml:trace>
  <inkml:trace contextRef="#ctx0" brushRef="#br0" timeOffset="182444.12">4591 11417 0,'-27'13'31,"27"0"-31,-13 0 16,0 1-16,-1-1 0,1 0 0,0 0 16,0 1-16,-1-1 0,1 13 15,0-12-15,0-1 0,0 0 0,-1 0 16,14 0-16</inkml:trace>
  <inkml:trace contextRef="#ctx0" brushRef="#br0" timeOffset="182621.8">4432 11509 0,'0'0'0,"13"14"0,0-14 16,0 0-16,1 13 0,-1 0 16,13-13-16,-12 13 0,12 1 0,1-1 15,92 40 1,-106-53-16</inkml:trace>
  <inkml:trace contextRef="#ctx0" brushRef="#br0" timeOffset="183098.35">5398 11642 0,'0'0'0,"-27"13"31,27 0-31,-13 0 0,0 1 16,-1-1-16,1 13 0,0-12 16,0-1-16,-1 13 0,1-13 15,0 1-15,0-1 0</inkml:trace>
  <inkml:trace contextRef="#ctx0" brushRef="#br0" timeOffset="183338.6">5199 11721 0,'53'27'31,"-40"-14"-31,0 0 0,1 0 0,12 0 16,-13 1-16,14 12 0,-1-13 16,-12 1-16,-1-1 0</inkml:trace>
  <inkml:trace contextRef="#ctx0" brushRef="#br0" timeOffset="183696.58">5913 11880 0,'0'0'0,"-13"26"31,0-26-31,13 13 0,-13 1 0,0-1 15,13 0-15,-14 0 0,1 1 0,0-1 16,0 0-16,-1 0 16,1 1-16,0-14 15,0-14 1,-1 14-16,41-13 31,-14 13-15,0 0-16,14 0 0,-1 0 15,-12 0-15,25 0 0,-12 0 16,-1 0-16,1 0 0,12 0 16,-12 0-16,-1 0 0,-13-13 0,14 13 0,-1 0 15,-12 0-15,-1 0 16</inkml:trace>
  <inkml:trace contextRef="#ctx0" brushRef="#br0" timeOffset="185699.72">926 12316 0,'-13'0'31,"13"-13"-31,0 0 16,13 13 0,0-13-16,-13-1 0,13 14 15,14-13-15,-14 0 0,14 0 0,-1-14 16,1 14-16,-1-13 0,0 12 0,1 1 16,13 0-16,-14 0 15,1-14-15,-1 14 0,0 0 0,14 0 16,-13-1-16,-1 1 0,1 0 0,-1 13 0,-13-13 15,14-1-15,-1 1 0,-13 13 16,14-13-16,-1 0 0,-12-1 0,12 1 16,-13 0-16,14 13 0,-14-13 0,0 0 15,14-1-15,-14 1 0,0 13 16,0-13-16,0 0 0,14 13 16,-14-14-16,0 1 0,1 13 0,-1-13 15,0 13-15,0-13 0,1 0 16,25-1-16,-26 14 0,1-13 15,12 0-15,-13 13 0,1 0 16,-1-13-16,13 13 0,-12-14 16,-1 14-16,0 0 0,0-13 0,14 13 15,-14-13-15,0 13 0,14-13 16,-14 13-16,13-14 0,1 1 0,-14 0 16,13 13-16,1-13 0,-14 0 15,14 13-15,-1-14 0,-13 1 0,0 13 16,14-13-16,-14 13 0,14-13 0,-14 13 15,0-14-15,14 14 0,-14 0 16,0-13-16,13 13 0,-12-13 0,-1 13 16,13 0-16,-12-13 0,12 13 0,-13-14 15,1 14-15,12-13 0,0 13 16,-12-13-16,12 13 0,-13-13 0,27 13 16,-27-13-16,1 13 0,12 0 15,-13-14-15,0 14 0,1 0 16,12 0-16,-13-13 0,1 13 15,12 0-15,-13 0 0,0-13 0,1 13 0,12 0 16,-13 0-16,1 0 0,-1 0 16,27-13-16,-27 13 15,13 0-15,-13 0 0,1 0 0,12 0 16,-13 0-16,1 0 0,12 0 0,-13 0 16,1 0-16,12 0 0,-13 0 15,14 13-15,12-13 0,-12 0 16,-14 0-16,13 13 0,-12-13 0,12 0 15,1 0-15,12 0 16,-12 0-16,-1 0 0,1 13 0,-1-13 16,1 0-16,-1 0 0,1 0 0,-1 0 15,0 14-15,14-14 16,-13 0-16,-1 13 0,1-13 0,-1 13 16,14-13-16,-1 13 0,-12-13 0,-1 0 15,1 13-15,-1-13 0,14 14 0,-14-14 16,14 13-16,0-13 0,-1 13 15,14 0-15,-13-13 0,0 14 16,-14-14-16,1 13 0,12 0 0,-12 0 16,-1-13-16,1 14 0,-1-1 15,1 0-15,-1 0 0,0 0 0,1-13 16,-1 14-16,1-1 0,-14 0 16,14 0-16,-1-13 0,0 14 0,-12-1 15,12 0-15,1 0 0,-1 1 16,1-14-16,-14 13 0,26 13 15,-12-26-15,-1 13 0,-12 1 0,-1-14 16,13 13-16,-12 0 0,-1-13 16,13 13-16,-13 1 0,1-14 0,12 13 15,-13-13-15,14 13 0,-14-13 0,14 13 16,-14-13-16,13 13 0,-13-13 16,1 14-16,12-14 0,-13 13 0,1-13 15,12 0-15,-13 13 0,0-13 0,1 13 16,-1-13-16,0 14 0,0-14 0,14 0 15,-14 13-15,0-13 0,14 13 16,-14-13-16,13 13 0,-12 1 16,12-14-16,1 13 0,-14 0 0,13 0 15,1-13-15,-1 13 0,1 1 16,-14-1-16,13-13 0,1 13 0,-14 0 16,13 1-16,-12-14 0,-1 13 0,0-13 15,14 13-15,-14-13 0,0 13 16,0-13-16,1 0 0,-1 14 15,0-14-15,0 0 0,0 13 16,1-13-16,-1 0 16,-26-27 15</inkml:trace>
  <inkml:trace contextRef="#ctx0" brushRef="#br0" timeOffset="190599.71">3612 10160 0,'0'-26'31,"0"12"-15,-14 41 15,14-14-31,-13 0 15,13 0-15,0 1 0,0-1 0,-13 13 16,13-12-16,0-1 0,0 13 16,-13-12-16,13-1 0,0 0 15,0 0-15,0 0 0,0 1 0,0-1 16,0 0-16,0 0 16,0 1-1,13-28 1,0 14-1,0 0-15,-13-13 0,14 13 16,-1-13-16,0 13 0,-13-13 16,13-1-16,0 14 0,1-13 0,-1 0 15,0 0-15,0 0 16,1-1-16,-14 1 0,13 13 16,-13-13-16,13 0 0,-13-1 31,0 1-31,0 40 31,0-14-15,0 0-1,0 0-15,13-13 0,-13 14 0,14-1 16,-1 0-16,0-13 0,0 0 16,0 0-16,14 0 15,-27-13-15,13 13 0,0-13 0,1-1 16,-14 1-16,0 0 15,-14 0-15,14-1 16,-13 1-16,0 0 16,13 0-16,-13 13 0,-1 0 0,1 0 15,0 0 1,0 13-16,0 0 16,13 0-16,0 1 15</inkml:trace>
  <inkml:trace contextRef="#ctx0" brushRef="#br0" timeOffset="191201.76">4061 10147 0,'-13'-13'31,"0"26"16,26 0-32,0 0 1,1-13-16,-1 0 31,0-13-15,0 13-16,1-13 15,-1 13 1,0 0 15,0 0-31,-13-13 16,13 13-16,-13-14 16,14 1-1,-14 0 1,13 0-16,-13-1 31,13 28 0,-13-1-31,13-13 16,1 13-16,-1-13 16,0 13-16,0-26 15,0 13 1,1-13-16,-1 13 15,-13-13-15,0-1 0,0 1 16,13 13-16,-13-13 0,0 0 16,0-1-16,0 1 15,-13 0 1</inkml:trace>
  <inkml:trace contextRef="#ctx0" brushRef="#br0" timeOffset="191899.57">4379 9578 0,'0'-13'16,"0"26"-16,13 0 16,-13 0-1,0 1-15,0 12 0,13 1 0,-13 12 16,14 1-16,-14 0 0,0-1 16,0 14-16,0-13 0,0 0 0,0-1 15,0 14-15,0-26 0,0-1 16,0 1-16,0-1 0,0 0 0,0 1 15,0-14-15,0 0 0,0 1 16,0-1-16</inkml:trace>
  <inkml:trace contextRef="#ctx0" brushRef="#br0" timeOffset="192271.63">4604 9909 0,'0'0'15,"-13"26"1,13-13 0,0 1-16,0-1 0,0 0 0,0 0 15,0 0-15,0 1 0,0-1 0,0 0 16,0 0-16,0 1 16,0-1-16,-14-40 31,14 14-31,0-13 15,0-1-15,-13 1 0,13-1 0,0 1 16,0-1-16,0 1 0,0-1 16,0 14-16,13-13 0,-13 13 0,0-1 15,14 1-15,-14 0 0,13 13 16,0 0-16,13 0 16,-26 13-16,14 0 0,-1 1 0,0-1 15,0 0-15,1 0 0,-1 14 16,-13-14-16,13 0 0,13 14 15,-26-1-15,14-13 0,-1-13 0,-13 27 16</inkml:trace>
  <inkml:trace contextRef="#ctx0" brushRef="#br0" timeOffset="192684.48">4643 9975 0,'-13'0'0,"26"-13"32,1 13-17,-14-14-15,13 14 0,0-13 16,0 0-16,1 13 0,-1-13 16,0 13-16,-13-14 0,13 14 0,0-13 15,-13 0-15,14 13 0,-14-13 16,13 13-16,-13-14 0,13 14 15,-13-13-15,13 0 32,1 26-17,-1-13-15,0 13 16,0-13 0,1 0-16,-1 0 15,0-13-15,0 0 31,-13 0-31,0 0 0,13-1 16,-13 1 0,14 0-1</inkml:trace>
  <inkml:trace contextRef="#ctx0" brushRef="#br0" timeOffset="192971.82">4974 9710 0,'13'13'31,"1"14"-15,-14-14-16,0 0 15,13 1-15,-13-1 0,0 13 16,0-13-16,-13 1 0,13-1 0,0 0 16,0 0-16,-14-13 0,14 14 0,-13-1 31,13-40-16,0 1-15,0 13 16,13-1-16,-13 1 0,14 0 16,-14 0-16,13 0 0,-13-1 0,13 1 15,0 0-15,-13 0 0,14-1 0,-1 1 16,0 0-16,0 13 16,-13-13-16,13 13 0,1-13 0,-1 13 15</inkml:trace>
  <inkml:trace contextRef="#ctx0" brushRef="#br0" timeOffset="193882.33">4948 10279 0,'0'0'15,"13"40"17,-13-27-32,0 0 0,13 14 15,-13-14-15,0 0 0,0 0 16,0 1-16,0-1 0,0 0 15,0 0-15,0-39 32,0-1-17,0 14-15,0 0 0,0 0 16,0-1-16,13 1 16,-13 0-16,0 0 0,0 0 0,14-1 15,-1 1-15,-13 0 16,13 13-16,-13-13 0,13 13 15,1-14-15</inkml:trace>
  <inkml:trace contextRef="#ctx0" brushRef="#br0" timeOffset="194004.37">5146 10200 0,'13'0'0,"-26"0"16,26 13-16,1 0 0,-14 0 16,0 1-16,0-1 15,0 0-15,0 0 16,0 1-16,0-1 0</inkml:trace>
  <inkml:trace contextRef="#ctx0" brushRef="#br0" timeOffset="194315.5">5345 10186 0,'13'14'16,"0"39"-1,-13-40 1,0 0-16,0 0 0,0 1 0,-13-1 16,13 0-16,-13 0 15,13 0-15,-14 1 0,1-1 16</inkml:trace>
  <inkml:trace contextRef="#ctx0" brushRef="#br0" timeOffset="194515.57">5424 9922 0,'0'-13'0,"13"39"32,-13-13-32,0 1 0,0-1 15,13 13-15,-13-13 0,0 14 0,0-1 16,0 1-16,0-1 0,0 1 15,0-1-15,14-13 0,-14 1 0,0-1 16</inkml:trace>
  <inkml:trace contextRef="#ctx0" brushRef="#br0" timeOffset="194712.66">5596 10001 0,'0'0'0,"-27"27"15,14-27-15,13 13 16,0 0-16,0 0 16,13-13-16,-13 14 0,14-1 15,-1-13 1,0 0-16,14 0 16</inkml:trace>
  <inkml:trace contextRef="#ctx0" brushRef="#br0" timeOffset="196783.49">3175 8255 0,'-26'13'15,"12"0"-15,1 1 16,0-1-16,13 0 0,-27 0 15,14 1-15,0-1 0,0 0 0,13 14 16,-14-14-16,1 0 0,0 0 0,0-13 16</inkml:trace>
  <inkml:trace contextRef="#ctx0" brushRef="#br0" timeOffset="196915.64">2950 8374 0,'40'13'32</inkml:trace>
  <inkml:trace contextRef="#ctx0" brushRef="#br0" timeOffset="197294.83">3598 8229 0,'0'13'16,"-13"0"-1,0 0-15,0 0 0,13 1 16,-14-14-16,1 13 0,0 0 16,0-13-16</inkml:trace>
  <inkml:trace contextRef="#ctx0" brushRef="#br0" timeOffset="197401.14">3532 8308 0,'27'0'0</inkml:trace>
  <inkml:trace contextRef="#ctx0" brushRef="#br0" timeOffset="197555.75">3823 8295 0,'13'0'16,"-26"0"-16,40 0 0,-14 0 15,0 0 17,0 13-32,1-13 15</inkml:trace>
  <inkml:trace contextRef="#ctx0" brushRef="#br0" timeOffset="199364.31">2963 5583 0,'-13'0'0,"-13"53"31,12-40-31,14 13 16,-13 1-16,0 12 0,0-12 0,-14 39 16,14-39-16,13 12 0,-13-12 15,0-14-15,13 0 0,-14 14 16,14-14-16</inkml:trace>
  <inkml:trace contextRef="#ctx0" brushRef="#br0" timeOffset="199531.49">2659 5794 0,'0'-13'0,"0"26"0,13-39 16,1 13-16,-1 13 15,0 0-15,0 0 0,0 13 0,14-13 16,-1 13-16,1-13 0,13 13 15,-1 1-15,1-1 0,0-13 0,-14 13 16,0 0-16,1-13 0,-14 14 16</inkml:trace>
  <inkml:trace contextRef="#ctx0" brushRef="#br0" timeOffset="199851.69">2844 5503 0,'-13'14'16,"13"-1"-16,0 0 16,0 13-16,0-12 0,0 12 15,0 1-15,0-1 0,13 106 16,-13-105-16,14-1 16,-14 1-16,0-1 0,0 14 15,13-14-15</inkml:trace>
  <inkml:trace contextRef="#ctx0" brushRef="#br0" timeOffset="200027.3">2699 5913 0,'13'-13'15,"-13"0"-15,13 13 0,0-13 16,14 13-16,13-27 0,237-92 31,-250 106-31</inkml:trace>
  <inkml:trace contextRef="#ctx0" brushRef="#br0" timeOffset="203493.6">1270 12065 0,'-40'26'15,"27"-26"-15,0 14 16,0-1-16,-1 0 0,1 14 0,0-14 16,0 0-16,-1 14 0,1-14 15,0 0-15,0 13 0,0-12 0,-1-1 16,1 0-16</inkml:trace>
  <inkml:trace contextRef="#ctx0" brushRef="#br0" timeOffset="203673.45">979 12171 0,'26'0'16,"-12"13"-16,-1-13 15,0 13-15,0-13 16,1 14-16,-1-14 0,13 0 0,-13 13 16,1-13-16,-1 0 0,13 0 0</inkml:trace>
  <inkml:trace contextRef="#ctx0" brushRef="#br0" timeOffset="206356.28">1257 12025 0,'-13'27'0,"-40"39"31,39-53-15,1-13-16,13 13 0,-13 1 0,0-1 15,13 0-15,-14 0 0</inkml:trace>
  <inkml:trace contextRef="#ctx0" brushRef="#br0" timeOffset="206573.33">1085 12052 0,'0'0'0,"13"0"15,0 0-15,0 0 16,1 0-16,-1 0 16,-13 13-16,13-13 0,0 0 0,1 0 15,-1 0-15,0 13 0,14-13 16,-14 0-16,0 0 0</inkml:trace>
  <inkml:trace contextRef="#ctx0" brushRef="#br0" timeOffset="207884.24">3453 11086 0,'0'13'31,"-13"0"-31,-1-13 16,14 14-16,-13-1 15,0 13-15,0-12 0</inkml:trace>
  <inkml:trace contextRef="#ctx0" brushRef="#br0" timeOffset="208079.06">3400 11258 0,'0'0'0,"26"13"0,-12 0 0,-1-13 16</inkml:trace>
  <inkml:trace contextRef="#ctx0" brushRef="#br0" timeOffset="212216.2">3215 8480 0,'13'0'0,"-26"0"0,39 0 0,-13 0 16</inkml:trace>
  <inkml:trace contextRef="#ctx0" brushRef="#br0" timeOffset="-210954.55">3625 5649 0,'0'-13'0,"106"-54"31,-1 15-31,-38 25 0,-14 1 16,13-1-16,-13-12 0,0 12 0,-1 1 15,1-1-15,0 1 0,0-1 0,0 1 16,-26-1-16,12 14 15,-12 0-15,-1 0 0,-13-1 0,1 14 0,-1 0 16,-26 14 0</inkml:trace>
  <inkml:trace contextRef="#ctx0" brushRef="#br0" timeOffset="-210745.31">3506 5861 0,'79'-53'32,"-39"26"-32,-1 1 0,14-1 0,0 1 15,0-1-15,13-12 0,-13 12 0,0 1 16,0-14-16,0 14 0,0-1 16,-13 1-16,-14-1 0,14 14 0,-14-13 15,1 12-15,-14 1 0,0 0 16,0 13-16,1 0 0,-14-13 0,13 13 15</inkml:trace>
  <inkml:trace contextRef="#ctx0" brushRef="#br0" timeOffset="-209887.39">3850 10530 0,'-14'0'15,"54"-13"1,0 0-16,-14 0 15,27-14-15,0 1 0,13 13 16,-13-14-16,66-26 16,-53 27-16,-13-1 0,0 1 0,0-1 15,0 1-15,-13 13 0,-1-1 0,-12 1 16,13 0-16,-14 0 0,0 0 16,-12-1-16,-1 14 0,0 0 15</inkml:trace>
  <inkml:trace contextRef="#ctx0" brushRef="#br0" timeOffset="-209645.31">3744 10636 0,'0'13'0,"13"-13"16,14-13-16,-1 13 15,14-13-15,13-13 0,0 12 16,13-12-16,-13-1 0,13 1 0,0 0 16,-13 12-16,13-12 0,-13-1 15,0 14-15,-14 0 0,14 0 0,-13-14 16,0 27-16,-14-13 0,1 13 16,-14-13-16,13 13 0,1 0 0,-14 0 0,13 0 15,1 13-15</inkml:trace>
  <inkml:trace contextRef="#ctx0" brushRef="#br0" timeOffset="-209249.48">5331 10861 0,'0'0'0,"-13"0"0,40-13 16,-14 0-16,0-1 16,14 1-16,-1 0 0,14-13 0,-14-1 15,14 1-15,13-1 0,-14-13 0,1 14 16,13 0-16,-13-1 0,13 1 16,-14-1-16,1 1 0,-14 13 15,27-14-15,-39 27 0,-1 0 16,-13-13-16,13 26 0</inkml:trace>
  <inkml:trace contextRef="#ctx0" brushRef="#br0" timeOffset="-209039.34">5398 10848 0,'0'0'15,"39"-13"1,-26-1-16,14 1 0,-1-13 15,14 13-15,-14-14 0,14 14 0,0-14 16,0 14-16,-1-13 0,1 12 16,-14 1-16,14 0 0,-13 0 0,-1 0 15,0-1-15,-12 14 0,-1 0 0,0-13 16,0 13-16</inkml:trace>
  <inkml:trace contextRef="#ctx0" brushRef="#br0" timeOffset="-199952.39">7342 12091 0,'13'-13'15,"-39"26"32,-1-13-47,14 0 0,-13 0 0,-14 0 16,14 0-16,-14 14 0,-13-14 0,13 0 15,1 13-15,-1-13 0,-13 13 0,13-13 16,1 13-16,12-13 0,-26 14 16,27-14-16,-1 0 0,1 13 0,-14-13 15,14 0-15,-1 13 0,14-13 0,-13 0 16,-1 0-16,14 0 0,0 0 15,0 0-15,-1 0 0,1 13 0,0-13 16,0 0 0,-1 0-16</inkml:trace>
  <inkml:trace contextRef="#ctx0" brushRef="#br0" timeOffset="-198916.77">6787 11999 0,'0'0'15,"-27"13"17,1 0-17,12-13-15,-78 53 31,79-40-31,-14 1 0,14-14 0,-14 13 16,1 0-16,13 0 0,-14-13 0,14 14 16,0-1-16,0-13 0,-1 13 15,1-13-15,13 13 0,-13-13 0,0 14 16,-1-1-16,1 0 16,13 0 15,0 0-31,13 1 0,1-1 15,-1 0 1,-13 0-16,13-13 0,0 14 0,1-1 16,-1 0-16,0 0 0,0-13 15,1 13-15,12 1 0,-13-1 0,0 0 16,1-13-16,-1 13 0,13 1 0,-12-14 16,-1 13-16,0 0 0,0-13 0,1 13 15,-1 1-15,0-14 0,0 0 16,-13 13-16,13-13 0,-13 13 15,14-13-15,-1 13 16,0 0 0</inkml:trace>
  <inkml:trace contextRef="#ctx0" brushRef="#br0" timeOffset="-196993.64">4207 6046 0,'-13'13'0,"26"-26"16,-40 26-16,14-13 0,26-13 47,1-1-47,12 14 0,1-13 15,-1 0-15,27 0 16,-13 0-16,-1 13 0,1-14 0,13 1 15,-13 0-15,-1 13 0,1-13 0,0-1 16,-14 14-16,27-13 0,-27 13 16,-12 0-16,12 0 0,-13 0 15,1-13-15,-1 13 0,0 0 0,0 0 16,1 0-16,-1-13 16,-53 13 15,27 0-31,0 0 15,-14 0-15</inkml:trace>
  <inkml:trace contextRef="#ctx0" brushRef="#br0" timeOffset="-196432.09">4220 5874 0,'13'0'16,"-52"13"15,25-13-15,1 13-16,0 0 0,-27 14 0,-13 13 15,27-27-15,-14 13 0,14-13 16,-1 14-16,1-1 16,-1-12-16,14-1 0,0 0 0,0 0 0,-1 1 15,1-1-15,13 0 16,13 0-16,1-13 15,-1 13-15,0-13 0,14 0 16,-14 0-16,13 0 0,1 0 0,-1 0 16,14 0-16,-14 0 0,1 14 15,-1-14-15,1 0 0,-1 0 0,1 0 16,-1 0-16,1 0 0,-14 0 16,13 0-16,-13 0 0,1 0 0,25 13 15,-25-13-15,-1 0 16,0 0-16,0 0 15,1 0-15,-1 13 0,0-13 32,-13-13-17</inkml:trace>
  <inkml:trace contextRef="#ctx0" brushRef="#br0" timeOffset="-168970.05">4247 5861 0,'-14'13'78,"1"0"-62,0-13-16,0 13 16,-1-13-16,14 13 0,-13-13 15,0 14-15,13-1 0,-13-13 0,0 13 16,-1 0-16,1 1 0,0-14 0,13 13 15,-27 0-15,14 0 16,13 0-16,-13-13 0,0 14 0,-1-14 16,14 13-16,-13 0 0,0-13 15,0 13-15,0 1 0,-1-1 16,1-13-16,0 13 0,0 0 16,-1-13-16,14 14 0,-13-14 0,0 13 15,0-13 1,13 13-16,-14-13 15,1 13-15,0-13 16,0 13 15,13 1 16,-13-14-31,13 13-1,-14 0 17,28-13 15,-1 0-47,0 0 15,0 0-15,0 0 0,1 13 16,-1-13-16,13 0 0,-12 0 15,12 14-15,14-14 0,-14 0 16,14 13-16,-14 0 0,1-13 0,-1 0 16,14 13-16,-14-13 0,1 0 0,-1 14 15,1-14-15,-14 0 0,13 13 16,14-13-16,-27 0 0,1 0 16,-1 13-16,0-13 0,0 0 0,1 0 15,-1 0 1,0 0-16,-13 13 15</inkml:trace>
  <inkml:trace contextRef="#ctx0" brushRef="#br0" timeOffset="-146605.62">2672 5424 0,'-66'40'0,"0"79"32,66-80-32,-13 1 15,0 0-15,13-1 0,0 1 0,0 13 16,13-13-16,-13-1 0,13 1 0,0 0 15,14-1-15,-14-12 0,13 13 0,41 13 16,-41-40-16,14 0 16,-1 0-16,-12 0 0,13-13 15,-14 0-15,14 0 0,-1-13 0,1 0 16,26-13-16,-26-1 0,-14 14 16,14-14-16,-14 1 0,1-1 15,-14 1-15,14-14 0,-14 14 0,0-1 16,0-12-16,1-1 0,-14 14 0,0-1 15,0 1-15,0-14 0,0 0 0,-14 1 16,14-1-16,-13 0 0,0 14 16,0-14-16,-1 14 0,1-1 15,-13 1-15,-1-1 0,-12 1 0,12 13 16,-13-14-16,14 14 0,-14 0 0,1-1 16,-1 14-16,0 0 0,14-13 15,-1 13-15,1 0 0,-1 0 0,1 13 0,-14-13 16,14 14-16,13-14 0,-14 13 15,14 0-15,0 0 0,-14 1 16</inkml:trace>
  <inkml:trace contextRef="#ctx0" brushRef="#br0" timeOffset="-144884.65">4921 5239 0,'-13'26'32,"13"-13"-32,0 1 0,0-1 15,0 13-15,0-12 0,0-1 0,0 0 16,0 0-16,0 1 0,0 12 0,0-13 16,0 0-16,0 1 0,0-1 15,0 0-15,0 0 0,0 1 16</inkml:trace>
  <inkml:trace contextRef="#ctx0" brushRef="#br0" timeOffset="-144523.65">5027 5278 0,'0'0'16,"-13"14"-1,0-1 1,13 0-16,13 0 0,-13 1 16,13-1-16,-13 0 15,13-13-15,1 13 0,-1-13 16,0 0-16,0 0 0,0 0 0,1 0 16,-1-13-16,0 13 15,-13-13-15,0 0 16,13 13-16,-26-27 0,13 14 15,-13 0-15,13-1 16,-13 1-16,-1 13 0,1-13 16,13 0-16,-13 13 15,0-13-15,26 13 16,0-14 0,0 1-16,1 13 15</inkml:trace>
  <inkml:trace contextRef="#ctx0" brushRef="#br0" timeOffset="-144275.35">5318 5199 0,'13'13'0,"1"14"31,-1-27-31,-13 13 0,13-13 16,0-13-1,1 13-15,-14-13 16,13-1-16,-13 1 15,0 0-15,0 0 0,0-1 16,-13 1-16,13 0 0,-14 0 16,1-1-1,0 14-15,0 0 0,-1 14 16,-12-14-16,13 13 0,-1 0 16,-12 0-16,13 1 0,-14 12 15</inkml:trace>
  <inkml:trace contextRef="#ctx0" brushRef="#br0" timeOffset="-143684.5">4802 5398 0,'0'0'0,"-13"-14"16,13 1-16,-13 13 15,-1 13 1,14 1 0,-13-14-16,13 13 0,0 0 15,0 0-15,0 0 0,0 1 16,-13-1-16,13 0 0,0 0 0,-13 1 15,13-1-15,0 0 16,-13 0-16,13 0 0,-14-13 0,14 14 16,-13-1-16</inkml:trace>
  <inkml:trace contextRef="#ctx0" brushRef="#br0" timeOffset="-143541.48">4710 5265 0,'0'0'0,"13"40"16,-13 0 0,0-14-16,0 1 0,0 65 15,0-52-15,0-1 0,0 14 16,0-13-16,-13 0 0,13-1 16</inkml:trace>
  <inkml:trace contextRef="#ctx0" brushRef="#br0" timeOffset="-142597.7">3201 9115 0,'-13'26'0,"26"-52"15,-26 66-15,0-27 0,13 0 16,-13 0-16,13 1 0,0-1 15,-13 0-15,13 0 0,0 0 0,-14 1 16,14-1-16</inkml:trace>
  <inkml:trace contextRef="#ctx0" brushRef="#br0" timeOffset="-142443.52">3096 9208 0,'0'-14'0,"13"14"0,0 0 16,40 0-1,-40 0 1,0 0-16,1 0 0,-1 14 0,0-14 16,0 0-16,14 0 0,-14 0 15</inkml:trace>
  <inkml:trace contextRef="#ctx0" brushRef="#br0" timeOffset="-142259.8">3360 9128 0,'-13'27'15,"26"-54"-15,-39 67 0,26-27 0,-13 0 0,-1 1 16,14-1-16,-13 0 0,13 0 0,-13 0 16,0 1-1</inkml:trace>
  <inkml:trace contextRef="#ctx0" brushRef="#br0" timeOffset="-142176.77">3268 9181 0,'13'0'0,"13"13"16</inkml:trace>
  <inkml:trace contextRef="#ctx0" brushRef="#br0" timeOffset="-141984.68">3784 9036 0,'0'13'0,"13"-13"16,-13 13-16,-13 13 15,13-12-15,0-1 16,-14 0-16,14 0 15</inkml:trace>
  <inkml:trace contextRef="#ctx0" brushRef="#br0" timeOffset="-141742.33">3744 9128 0,'0'0'16,"13"-13"-16,0 13 15,1 0-15,-1 0 16,0 0-16,0 0 15,0-13-15,1 13 0,-1-14 0,13 14 16,-12 0-16,-1-13 0,13 13 0,-12-13 16,-1 13-16,13-13 0,1 13 15,-14 0-15,0 0 0,14 0 16,-14 13-16,0-13 0,0 0 16,1 0-16,-1 13 0,0-13 15,0 0-15,0-13 16,1 13-16,-14-13 0,13 13 15</inkml:trace>
  <inkml:trace contextRef="#ctx0" brushRef="#br0" timeOffset="-140826.43">5001 6853 0,'26'-14'16,"-13"14"-1,14-13-15,-14 13 0,0-13 0,0 13 16,14 0-16,-14 0 0,0-13 16,14 13-16,-14 0 0</inkml:trace>
  <inkml:trace contextRef="#ctx0" brushRef="#br0" timeOffset="-140238.71">4974 7488 0,'0'39'15,"13"1"1,-13-27-16,14 14 0,-14-1 16,13-13-16,0 14 0,-13-14 15,0 0-15,13 1 0,-13-1 0,14 13 16,-14-12-16,13-14 0,-13 13 15</inkml:trace>
  <inkml:trace contextRef="#ctx0" brushRef="#br0" timeOffset="-139740.67">5226 7448 0,'-40'40'15,"40"-27"-15,-13-13 16,13 13-16,0 0 0,0 1 0,0-1 16,0 0-16,13-13 15,-13 13-15,13-13 0,0 0 16,1 0-16,-1 0 16,0-13-16,-13 0 15,13 13-15,-13-13 0,0-1 16,0 1-16,0 0 0,-13 0 15,13-1-15,-13 1 0,0 13 16,13-13-16,-14 13 0,14-13 16,-13 13-16,0-13 15,13 26 1,13 0 0,0 0-16,1 0 15,-1-13-15,0 0 0,0 0 0,0 14 16,1-14-16,-1 0 0,0 0 0,0 0 15,1-14-15,-1 14 16,0-13-16,0 13 0,1-13 16,-1 0-16,-13 0 0,13 13 15,-13-14-15,0 1 0,0 0 0,0 0 16,0-1-16,0 1 16,-13 13-16,0 0 15,-1 13-15,1-13 0,0 14 16,-14 12-16,1 1 0,-1-1 15,14 0-15</inkml:trace>
  <inkml:trace contextRef="#ctx0" brushRef="#br0" timeOffset="-139489.34">5080 7858 0,'26'0'0,"-52"0"0,79 0 0,-40 0 15,0 0-15,14-13 16,13 0-16,-14-1 0,14-12 0,-1 0 15,1 12-15,0-25 0,-1 12 0,1-13 16,0 1-16,-27 12 0,13-12 16,1 12-16,-14-13 0,0 1 0,-13 12 15,14 1-15,-14-1 0,0 1 0,0 13 16,-14-14-16,1 1 0,0 13 0,0-1 16,-14 1-16,-12 0 0,-1 0 15,0 13-15,-26-14 0,13 14 0,0 0 16,0 0-16,0 0 0,-13 0 0,13 0 15</inkml:trace>
  <inkml:trace contextRef="#ctx0" brushRef="#br0" timeOffset="-139056.62">4789 6985 0,'40'0'0,"-80"0"0,93 0 0,-27 0 15,-12 0-15,12-13 0,0 13 16,14-13-16,0-1 0,13-12 0,39-27 16,-39 13-16,0 14 0,0-14 15,-13-13-15,0 14 0,12-14 16,-25-14-16,13 1 0,-14-13 15,0 0-15,1 12 0,-14-38 0,0 25 0,-13-12 16,0 12-16,0-12 0,-13-14 16,-13 0-16,-14 13 0,0 1 0,-13 12 15,-79-52-15,79 92 0,-13 1 16,0 12-16,0 14 0,0 0 16,-67 26-16,67 0 0,-13 27 15,-1 0-15,14 26 0,0 0 16,0 0-16,13 13 0,0 14 15,13-14-15,1-12 0,12-1 0,14-13 16,0 13-16,0-27 0,26 54 16,-13-53-16,13-1 0,14 1 15,-14-13-15,13-1 0,1 0 0,-14-12 16</inkml:trace>
  <inkml:trace contextRef="#ctx0" brushRef="#br0" timeOffset="-138012.48">6125 11430 0,'27'-13'16,"-1"13"-16,-13 0 15,14 0-15,-1-13 0,1 13 0,12 0 16,-12 0-16,-1 0 0,-13-14 0,14 14 16,-1 0-16,-12 0 0,12 0 15,-13 0-15,1 0 0,-1-13 0</inkml:trace>
  <inkml:trace contextRef="#ctx0" brushRef="#br0" timeOffset="-137725.48">6376 11232 0,'53'13'16,"-26"-13"-16,-14 13 0,14 0 16,-1-13-16,0 13 15,1 1-15,-1-1 0,1 0 0,-14 0 16,14 1-16,-14-1 0,0 0 0,0 14 16,-13-14-16,13 0 0,-26 27 15,13-14-15,-13 1 0,-27 26 16,14-27-16,-1 0 0,-26 27 15,27-39-15,-14-1 16,14 13-16</inkml:trace>
  <inkml:trace contextRef="#ctx0" brushRef="#br0" timeOffset="-136420.73">8043 11364 0,'-26'13'15,"13"0"1,13 1-16,-14-1 15,14 0-15,0 0 0,-13 0 16,13 1-16,0-1 0,-13 0 16,13 0-16,0 1 0,0-1 15,-13 0-15,13 0 0,0 1 16</inkml:trace>
  <inkml:trace contextRef="#ctx0" brushRef="#br0" timeOffset="-136060.84">8123 11443 0,'-27'13'0,"14"1"0,13-1 16,0 0-16,0 0 0,0 1 15,0-1-15,13-13 16,-13 13-16,13-13 0,1 13 0,-1-13 16,0 0-16,0 0 0,1 0 15,-1-13-15,0 13 16,0 0-16,-13-13 0,14 0 16,-14-1-16,-14 1 15,1 0 1,0 13-16,0-13 0,-1 13 15,1 0 1,0 0-16,39 13 31</inkml:trace>
  <inkml:trace contextRef="#ctx0" brushRef="#br0" timeOffset="-135840.42">8374 11523 0,'13'0'0,"-26"0"15,26 13-15,1-13 0,-1 0 16,0 0-16,0 0 16,0-13-16,1 13 15,-1-14-15,-13 1 16,13 0-16,-13 0 16,0-1-16,-13 1 0,13 0 15,-13 13-15,13-13 0,-14 0 0,1 13 16,0-14-16,0 14 15,0 0-15,-1 0 0,-12 14 16,13-14-16,-14 13 0,1 0 16</inkml:trace>
  <inkml:trace contextRef="#ctx0" brushRef="#br0" timeOffset="-135104.24">7660 11470 0,'0'-14'0,"13"41"125,-26-14-31,-1 0-47,14 1-32,-13-1 1,13 0 62</inkml:trace>
  <inkml:trace contextRef="#ctx0" brushRef="#br0" timeOffset="-134200.8">8758 11390 0,'0'53'31,"0"-40"-31,0 1 0,0 12 16,0-13-16,0 14 0,0-14 0,-14 27 16,14-27-16</inkml:trace>
  <inkml:trace contextRef="#ctx0" brushRef="#br0" timeOffset="-133132.55">8718 11390 0,'0'0'0,"0"-13"0,0 0 15,0 0 32,-13-1 16,26 14 93,0 0-141,0 0 48,-39 14-1,26-1-62,-13-13 16,0 0 15,13 13-31,13-13 47,13 0-31,-13 0-16,1 0 15,-1 13-15,0-13 16,-13 14-16,13-14 0,-13 13 0,0 0 16,0 0-16,0 0 0,-13 1 0,0-1 15,0 0-15,-1 14 0,1-14 16,0 0-16,-13 14 0,12-14 0,1 0 16,0-13-16,0 13 0,13 0 15,-14 1-15,14-1 16,0 0-16,0 0 15,14-13-15,-1 14 0,13-14 16,-12 13-16,-1-13 0,13 0 16,-13 13-16,1-13 0,-1 0 0,13 0 15,1 13-15,-14-13 16,0 0-16,1 0 16,-1 0-16</inkml:trace>
  <inkml:trace contextRef="#ctx0" brushRef="#br0" timeOffset="-132924.8">8639 11523 0,'0'0'0,"26"-14"15,-13 14-15,1 0 0,-1 0 16,13-13-16,1 13 0,12-13 16,-12 13-16,-14 0 0,40-13 15,-27 13-15,-12 0 0,12 0 16,1 0-16</inkml:trace>
  <inkml:trace contextRef="#ctx0" brushRef="#br0" timeOffset="-131236.28">8070 11840 0,'13'-13'0,"-26"26"0,39-26 0,-13 0 0,1 13 16,-1 0-16,0-14 0,0 14 15,1 0-15,-1-13 0,13 13 16,-12 0-16,-1-13 0,0 13 15,0 0-15,0 0 0</inkml:trace>
  <inkml:trace contextRef="#ctx0" brushRef="#br0" timeOffset="-131024.49">7911 12025 0,'27'-13'15,"-14"13"-15,0 0 16,13-13-16,-12 13 0,12-13 0,1 13 16,-1-14-16,0 14 0,1-13 15,-1 13-15,1-13 0,-1 0 0,1 13 16,-14 0-16,13-14 0,-12 14 0,-1 0 16,0-13-16,0 13 15</inkml:trace>
</inkml:ink>
</file>

<file path=ppt/ink/ink18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2:10:50.858"/>
    </inkml:context>
    <inkml:brush xml:id="br0">
      <inkml:brushProperty name="width" value="0.05292" units="cm"/>
      <inkml:brushProperty name="height" value="0.05292" units="cm"/>
      <inkml:brushProperty name="color" value="#0070C0"/>
    </inkml:brush>
  </inkml:definitions>
  <inkml:trace contextRef="#ctx0" brushRef="#br0">13891 1270 0,'92'-13'0,"-184"26"0,211-26 16,-93 13-16,27 0 0,0 0 0,-13 0 16,13-13-16,0 13 0,-1 0 0,1 0 15,-13 0-15,13 0 0,-13-14 16,-1 14-16,1 0 0,-14 0 15,1 0-15,-1 0 0,1 0 0,-14 0 16,0 0-16,1 0 0,-1 0 0</inkml:trace>
  <inkml:trace contextRef="#ctx0" brushRef="#br0" timeOffset="378.2">13666 1455 0,'26'0'15,"1"0"-15,12-13 16,1 13-16,13 0 0,13 0 16,-13-13-16,13 13 0,14 0 0,-28 0 15,28-13-15,-27 13 0,13 0 0,-13 0 16,0 0-16,0 0 15,-14 0-15,1 0 0,-14 0 0,14 0 0,-27 0 16,14 0-16,-1 0 0,1 0 0,-14 0 16,0 0-16,0 0 0,1 0 15,-1 0-15,0 0 16,0 0-16,1 0 0,-1 0 16,0 0 15,0 0-16</inkml:trace>
  <inkml:trace contextRef="#ctx0" brushRef="#br0" timeOffset="1193.11">11523 6985 0,'-40'13'31,"13"0"-31,14 1 0,-13 12 16,-1-13-16,14 14 0,-13-14 16,-14 27-16,27-14 15,-1-13-15,-12 14 0,13-14 0,0 14 16,-1-14-16,1 13 0,0-13 0,13 1 16,-13-1-16,-1 0 0,14 0 15,-13-13-15,13 14 0</inkml:trace>
  <inkml:trace contextRef="#ctx0" brushRef="#br0" timeOffset="1414.9">11046 7236 0,'-13'0'15,"13"14"-15,-13-1 0,26 40 31,0-40-31,1 0 0,-1 0 16,26 1-16,-25-1 0,12-13 16,1 13-16,-14-13 0,13 0 15,1 0-15,-1 0 0,1-13 16,12 13-16,-12 0 0,-14-13 0,14 13 0</inkml:trace>
  <inkml:trace contextRef="#ctx0" brushRef="#br0" timeOffset="1792.08">12316 6363 0,'-13'66'15,"13"-39"-15,0-1 16,0 1-16,0-1 0,0 1 15,0-1-15,0 1 0,0-1 0,0-13 16,0 14-16,0-1 0,0-13 0,13 14 16,-13-14-16,0 0 0,14 1 0,-14-1 15,0 0-15,13-13 16,-13 13-16</inkml:trace>
  <inkml:trace contextRef="#ctx0" brushRef="#br0" timeOffset="2767.94">12290 6443 0,'53'-40'31,"-40"40"-31,0 0 0,0 0 16,1 0-16,-1 0 0,0 13 16,-13 0-16,0 1 0,0-1 15,0 0-15,0 0 0,0 1 16,0-1-16,-13 0 0,13 0 0,0 0 15,0 1-15,0-1 0,13 0 16,0 0-16,1-13 16,-1 14-16,0-1 0,0-13 15,14 13-15,-14-13 0,0 13 0,0-13 16,1 14-16,-1-14 0,-13 13 16,0 0-16,-13 0 15,-1 0-15,-12 14 0,0-14 0,-1 14 16,-13-14-16,14 13 0,-14-13 0,14 1 15,-1-1-15,1 0 0,-1-13 16,14 13-16,0-13 0,0 0 16,0 0-1</inkml:trace>
  <inkml:trace contextRef="#ctx0" brushRef="#br0" timeOffset="3424.3">12607 6800 0,'14'-13'16,"12"-14"0,-13 1-16,-13 12 15,14 1-15,-1 0 0,-13 0 16,13 0-16,-13-1 15,13 1-15,-13 0 16,-13 39 0,0-12-1,13-1-15,0 0 0,0 0 16,0 0-16,0 1 16,13-1-16,0 0 0,0-13 15,1 13-15,-1-13 0,0 0 16,0-13-16,1 13 0,-1 0 15,0-13-15,0 0 0,1-1 16,-1 1-16,0-13 0,-13-1 0,13 14 16,0-13-16,-13-1 0,14 1 15,-14-14-15,0 14 0,13-1 16,-13 1-16,0-1 0,0 14 0,0-14 16,0 14-16,0 0 0,0 0 0,0 0 15,0-1-15,13 14 0,-26 27 31,13-14-15,0 13-16,0-12 0,0-1 16,0 13-16,0-12 0,0 12 0,0-13 15,13 1-15,-13-1 0,13 0 0,1 0 16,-1-13 0,0-13-16,0 13 0,1 0 15,-14-13 1,13 13-16,0 13 15,0 0-15,-13 0 16,13 1-16,-13-1 16,14 0-16,-1 0 15,0-13-15,0 14 0,1-14 16,-1 0-16,0 0 0,0 0 0</inkml:trace>
  <inkml:trace contextRef="#ctx0" brushRef="#br0" timeOffset="4119.42">13838 6112 0,'-14'0'15,"28"0"-15,-41 0 0,14 13 16,13 0-16,-13-13 0,0 14 0,-1 12 16,14-13-16,-13 14 0,13-1 15,-13-13-15,13 14 0,0-14 0,0 14 16,0-14-16,0 13 0,0-13 16,13 1-16,-13-1 0,13-13 0,1 13 15,-1-13-15,0 13 0,0-13 0,14 0 16,-14-13-16,0 13 0,0 0 15,1-13-15,12 0 0,-13 13 16,1-14-16,-1 1 0,-13 0 0,13 13 16,0-13-16,0 13 0,-13-13 15,14 13-15,-14 13 32,0 0-32,0 0 0,0 0 15,13 1 1,-13-1-16,13-13 0,0 0 15,1 0-15,-1 0 16,-13-13-16,13 13 0,0-14 16,1 1-16,-1 0 15,0 0-15,-13 0 16,13 13-16,0 0 16,1 0-1,-1 13 1,-13 0-16,13-13 15,-13 13-15,13-13 16,-13 13-16,0 1 31,14-28-15,-1 1 0,0 0-16,0 0 15,1 0 1,-1-1-16,0 14 15,0-13 1</inkml:trace>
  <inkml:trace contextRef="#ctx0" brushRef="#br0" timeOffset="4489.21">14446 6231 0,'13'13'31,"1"0"-15,-14 1-16,0-1 15,13-13-15,-13 13 0,0 0 16,13-13-16,-13 14 0,13-14 0,1 13 16,-1 0-16,0-13 15,0 0-15,1 0 0,-1 0 16,0 0-16,0-13 0,0 0 15,1 13-15,-1-14 0,0 1 16,0 0-16,-13 0 16,0-1-16,0 41 62,14-14-62,-1-13 0,0 13 16,0-13-16,1 14 15,-1-14-15,0 0 0,0 13 0,0-13 16,1 13-16,-14 0 0</inkml:trace>
  <inkml:trace contextRef="#ctx0" brushRef="#br0" timeOffset="4743.1">13123 6919 0,'212'-66'31,"-146"39"-31,14 14 0,-1-13 16,27-1-16,-14 14 0,-12-14 0,12 14 16,-12 0-16,-1 0 0,0 0 0,1-1 15,-1 1-15,-13 0 0,0 13 16,-13-13-16,0 13 0,-26-14 0,-1 14 15,1 0-15,-14 0 0,0 0 16</inkml:trace>
  <inkml:trace contextRef="#ctx0" brushRef="#br0" timeOffset="4987.55">13242 6892 0,'53'0'0,"238"-13"31,-225 0-31,14 13 0,-14 0 0,0-13 16,40 13-16,-53-14 0,0 14 16,-13-13-16,-1 13 0,-12 0 0,-14 0 15,13 0-15,1-13 0,-14 13 16,0 0-16,1 0 0,-1 0 15,0 0-15</inkml:trace>
  <inkml:trace contextRef="#ctx0" brushRef="#br0" timeOffset="9220.34">8877 2963 0,'370'-53'16,"-330"40"-16,13 13 0,0 0 15,-14-13-15,1 13 0,0 0 16,-14 0-16,14 0 0,-14 0 0,1 0 15,-1 0-15</inkml:trace>
  <inkml:trace contextRef="#ctx0" brushRef="#br0" timeOffset="9652.08">8969 3056 0,'0'0'0,"14"13"15,-1-13-15,0 13 0,14-13 16,-1 0-16,27 0 0,-13 14 0,-1-14 16,14 0-16,-13 13 0,0-13 0,-1 0 15,-12 0-15,12 0 0,-12 0 16,13 0-16,-14 0 0,0 0 15,1 0-15,-1 0 0,1 0 0,-14 0 16,14 0-16,-14 0 0,0 0 0,0 0 16,0 0-16,1 0 0,-1 0 15,0 0 1,0 0-16,1 0 16,-1 0-1,0 0 1,0-13-1,-13-1 17,13 14-32,-13-13 0,14 0 15</inkml:trace>
  <inkml:trace contextRef="#ctx0" brushRef="#br0" timeOffset="10259.34">8334 2355 0,'186'-13'31,"-134"-1"-31,1 14 0,0 0 0,0-13 16,0 13-16,0 0 0,13 0 0,-13 0 15,0 0-15,0-13 0,0 13 16,0 0-16,-13 0 0,-14 0 0,0 0 15,1 0-15,-14 0 0,0 0 0,14 0 16,-14 0-16,-13 13 0,13-13 16</inkml:trace>
  <inkml:trace contextRef="#ctx0" brushRef="#br0" timeOffset="10628.11">8784 2408 0,'27'0'15,"-14"0"-15,0 0 0,14 0 16,-1 0-16,0-14 0,1 14 0,26 0 16,-13 0-16,-1-13 15,14 13-15,-13 0 0,-14 0 0,1-13 16,-1 13-16,1 0 0,-1 0 0,-13 0 15,1 0-15,12 0 0,-13 0 16,0 0-16,1-13 0,12 13 16,-13 0-1,1 0 1,-1 0-16,0 0 16,0 0 30,-13-13-30</inkml:trace>
  <inkml:trace contextRef="#ctx0" brushRef="#br0" timeOffset="14310.26">9763 2262 0,'-13'-26'63,"13"12"-48,26 28 32,-12-1-31,-1-13-1,-13 13-15,13-13 0,0 0 16,14 0-16,-14 0 16,0-13-16,0 0 15,-13-1-15,14 14 16,-14-13-16,0 0 0,0 0 0,0 0 15,0-1-15,0 1 0,0 0 0,0 0 16,0-1-16,0 1 16,0 0-16,-14 13 0,14-13 15,0 0-15,14 13 32,-1 0-32,-13-14 0</inkml:trace>
  <inkml:trace contextRef="#ctx0" brushRef="#br0" timeOffset="14582.31">10028 2037 0,'0'0'16,"13"0"-16,-13 14 0,13-14 15,-13 13-15,13-13 16,1 13-16,-1-13 0,0 13 16,0-13-16,1 0 15,-1 0-15,0 0 16,0 0-16,0-13 15,-13 0 1,-13 0-16,13-1 16,-13 14-16,13-13 0,-13 13 0,13-13 15,-13 13-15,-1-13 16,1 13-16,0 0 16,0 13-16,26 0 31</inkml:trace>
  <inkml:trace contextRef="#ctx0" brushRef="#br0" timeOffset="14872.26">10425 1865 0,'-14'-13'0,"14"40"31,0-14-31,14 0 0,-14 0 0,13 0 0,0 1 16,-13-1-16,13 0 0,-13 0 15,14 1-15,-1-1 0,-13 0 16,0 0-16,0 1 0,0-1 16,-13-13-16,13 26 0,-14-26 0,14 13 15,-13 1-15,0-1 0,0 0 16,13 0-16,-14-13 0,1 14 0,0-14 15,0 0-15,-1 0 16</inkml:trace>
  <inkml:trace contextRef="#ctx0" brushRef="#br0" timeOffset="15519.38">10583 1627 0,'14'-26'16,"-28"52"-16,28-65 0,-14 25 15,-14 54 1,14-27-16,0 14 16,-13-1-16,13 1 0,0-1 15,-13 0-15,13-12 0,0 12 0,0 1 16,0-14-16,0 13 0,-13-12 0,13-1 16,0 13-16,0-13 0,0 1 15,0-1-15,0 0 0,0 0 16,0 1-1,0-1-15,-14-13 16,14 13 47,14-13-63,-1 0 15,0 0-15,0 0 0,1 0 0,-1 0 16,0 0-16,0-13 0,0 13 15,1-13-15,12 13 0,-26-14 0,13 1 16,1 0-16,-1 13 0,-13-13 0,13-1 16,-13 1-16,13 0 15,-26 26 48,13 0-63,13 1 15,-13-1 1,14-13-16,-14 13 0,13-13 16,0 13-1,0-13 1,0 0 0,1 0-16,-1 0 15,0 0-15,0 0 16,1 0-16,-1 14 15,0-14 1,-13 13 0,-13-13-16,13 13 15,-13 0-15,-14-13 0</inkml:trace>
  <inkml:trace contextRef="#ctx0" brushRef="#br0" timeOffset="15724.18">10160 2275 0,'0'0'15,"-26"0"17,78 0-32,-25-13 15,13 0-15,-1 0 0,14-1 16,0 1-16,13 0 0,-13 0 0,13 0 16,-13-14-16,0 27 0,-13-13 0,0 0 15,-1 13-15,-26 0 0,14 0 16,-14 0-16</inkml:trace>
  <inkml:trace contextRef="#ctx0" brushRef="#br0" timeOffset="15954.5">10054 2381 0,'0'0'0,"27"0"16,-1-13-16,1 13 15,-1 0-15,14-13 0,-1 0 0,14 13 16,0-14-16,-13 1 0,13 13 0,0-13 16,0 13-16,0-13 0,-14 13 15,14-14-15,-26 14 0,-1 0 16,1-13-16,-14 13 0,13 0 0,1-13 16,-14 13-16,0 0 0,0 0 15</inkml:trace>
  <inkml:trace contextRef="#ctx0" brushRef="#br0" timeOffset="18662.91">19778 3096 0,'92'0'0,"-184"0"0,224 0 16,-79-14-16,13 14 0,13 0 0,1 0 15,-1 0-15,0 0 0,1 0 16,-14 0-16,13-13 0,-12 26 15,-1-26-15,-13 13 0,13 0 0,-13 0 16,0 0-16,-1 0 0,1 0 0,-13 13 16,-13-13-16,-1-13 0,0 13 15,-12 0-15,-1 0 0,0 0 0,0 0 16</inkml:trace>
  <inkml:trace contextRef="#ctx0" brushRef="#br0" timeOffset="18936.13">19936 3201 0,'27'14'0,"-1"-14"0,146 13 16,-106-13-1,14 13-15,-14-13 0,13 0 0,-13 13 16,1-13-16,-1 0 0,-13 14 0,0-14 15,-1 0-15,1 0 0,0 0 16,-13 0-16,0 13 0,-14-13 0,1 0 16,-1 0-16,14 0 0,-27 0 15,0 0-15,0 0 0,-39 13 32,0-13-17</inkml:trace>
  <inkml:trace contextRef="#ctx0" brushRef="#br0" timeOffset="20109.08">1627 3797 0,'27'13'16,"52"-13"-1,-39 0-15,13 0 0,13 0 16,0 0-16,0 0 0,13 0 0,1 0 15,-14 0-15,13 0 0,-13 0 0,-13 0 16,14 0-16,-15 13 0,1-13 16,0 0-16,-13 0 0,0 0 0,13 0 15,-27 0-15,-13 0 0,14 0 16,-14 0-16,0 0 0,0 0 16,1 0-16,-1 0 15,0 0-15,0 0 31</inkml:trace>
  <inkml:trace contextRef="#ctx0" brushRef="#br0" timeOffset="20891.39">5265 3678 0,'0'0'0,"40"13"15,-14-13 1,14 13-16,13-13 0,0 13 16,13-13-16,27 0 0,-1 14 0,1-14 15,13 0-15,-1 0 0,1 0 0,0 0 16,0 0-16,13 0 0,-13 0 16,0 0-16,-14 0 0,14 0 15,-13 0-15,-1 0 0,-12 0 0,-1 0 16,-26 0-16,0 0 0,0 0 0,-13 0 15,-14 0-15,0 0 0,1 0 16,-14 0-16,14 0 0,-14 0 0,0 0 16,0 0-16</inkml:trace>
  <inkml:trace contextRef="#ctx0" brushRef="#br0" timeOffset="21264">6032 3916 0,'702'-53'46,"-530"53"-30,502 0 62,-647 0-78,39 0 0,-53 0 16,0 0 15,1 0-15,-1 0-16,0 0 15</inkml:trace>
  <inkml:trace contextRef="#ctx0" brushRef="#br0" timeOffset="22192.52">9631 3664 0,'40'14'32,"-14"-1"-32,27-13 0,0 13 0,13-13 15,0 0-15,13 0 0,107 0 16,-80 0-16,26 0 0,132-13 16,-118 0-16,-1 13 0,1-14 15,-1 1-15,14 13 0,0-13 16,-13 13-16,12-13 0,-12 13 0,-1 0 15,1 0-15,-14 0 0,-26 0 16,0 0-16,0 13 0,-14-13 0,1 0 0,-1 0 16,-12 0-16,-1 13 15,-26-13-15,13 0 0,-26 0 0,0 0 16,-1 0-16,1 13 0,-14-13 16,-12 0-16,-1 0 0,-13-13 15</inkml:trace>
  <inkml:trace contextRef="#ctx0" brushRef="#br0" timeOffset="23111.53">15028 3731 0,'159'-14'15,"185"-12"1,-278 26 0,0 0-16,-13 0 0,13 0 0,40-13 15,-53 13-15,0 0 0,-13 0 16,-1 0-16,-12 0 0,-1 0 15,1 0-15,-1 0 0,-13 0 16,1 0-16,-1-14 0</inkml:trace>
  <inkml:trace contextRef="#ctx0" brushRef="#br0" timeOffset="23374.3">14870 3850 0,'26'0'16,"0"0"-16,27 0 0,66-14 15,-52 14-15,12-13 0,0 13 0,1-13 16,-1 13-16,14 0 0,-14 0 16,0 0-16,1 0 0,-14-13 15,0 13-15,-13 0 0,0 0 0,26 0 16,-39 0-16,-14 0 0,1 0 15,-1 0-15,-12 0 0,-1 0 16,13 0-16,-12-13 0,-1 13 16</inkml:trace>
  <inkml:trace contextRef="#ctx0" brushRef="#br0" timeOffset="30358.86">16669 5450 0,'-40'0'16,"14"0"-16,-1 14 0,-237 78 31,211-79-31,13 14 0,0-1 15,1 1-15,12-14 0,1 0 0,-1 1 16,14-1-16,0 0 0,13 0 16,-13 0-16,13 1 0,0-1 15,0 0-15,13 0 0,0-13 16,-13 14-16,13-14 0,0 13 0,14-13 16,-14 0-16,0 0 15,14 0-15,-14 0 0,27 0 16,-14-13-16,-13 13 0,14 0 0,-1 0 15,-12-14-15,12 14 0,-13 0 16,14-13-16</inkml:trace>
  <inkml:trace contextRef="#ctx0" brushRef="#br0" timeOffset="30766.87">16153 5305 0,'-13'13'0,"13"0"0,-53 173 32,53-147-32,-14 14 0,-12 0 15,13 0-15,0-13 0,-1-1 0,-12 41 16,13-54-16,-1 14 0,1 0 15,0-27-15,13 13 0,0-13 16,-13 1-16,13-1 0,0 0 16,0 0-16</inkml:trace>
  <inkml:trace contextRef="#ctx0" brushRef="#br0" timeOffset="31316.88">16536 5768 0,'0'0'0,"-13"-13"0,0 13 15,0 13 1,13 0-16,-13-13 0,13 13 15,-14 1-15,14-1 16,0 0-16,0 0 16,14 1-16,-1-14 15,0 13-15,0-26 16,0 13-16,1 0 16,-14-14-16,13 14 0,0-13 15,-13 0-15,13 13 16,1 0-16,-14-13 0,13 26 31,-13 0-15,0 0-1,13-13-15,0 14 16,1-14 0,-1-14-1,0 14-15,0-13 16,0 13-1,1 0-15,-1 0 16,-13 13-16,13-13 16,-13 14-16,13-14 15,1-14 17,-1 14-32,-13-13 15,13 0-15</inkml:trace>
  <inkml:trace contextRef="#ctx0" brushRef="#br0" timeOffset="31499.87">16999 5543 0,'0'0'0,"0"-13"15,0 39 17,0-13-32,0 1 15,-13 25-15,13-12 0,0-1 0,0-12 16,0 12-16,0 0 0,-13-12 0,13 12 15,0-13-15,0 14 0,0-14 16,0 0-16,0 1 0,-13-1 16,13 0-16</inkml:trace>
  <inkml:trace contextRef="#ctx0" brushRef="#br0" timeOffset="31900.88">16880 5874 0,'0'-13'0,"0"-1"15,14 14-15,-1-13 0,0 0 16,0 13-16,1-13 0,-1 13 0,0 0 16,0-14-16,0 14 0,1 0 15,-1 0-15,0 14 16,0-14-1,-13 13-15,14-13 0,-14 13 16,13-13-16,0 0 16,-13 13-16,13-13 0,1 0 15,-1 0-15,0 0 0,0 0 16,-13-13-16,13 13 16,1-13-16,-14 0 0,0-1 15,0 1 1,0 0-16,-14 0 0,14-1 15,-13 1-15,0 13 16,0 0 0,0 0-16,13 13 15</inkml:trace>
  <inkml:trace contextRef="#ctx0" brushRef="#br0" timeOffset="32200.61">17277 5675 0,'-13'0'0,"13"14"32,13-1-32,1 0 0,-1 0 15,0 0-15,0 1 16,0-1-16,1 0 0,-1 0 0,-13 1 15,13-14-15,-13 13 0,0 0 16,13-13-16,-26 13 16,13 1-16,0-1 0,-13-13 15,0 13-15,-1-13 0,1 13 16,0-13-16,0 13 0,0-13 16,-1 0-16,1 0 0,0 0 15</inkml:trace>
  <inkml:trace contextRef="#ctx0" brushRef="#br0" timeOffset="32367.96">17449 5755 0,'0'0'0,"13"0"0,14 26 32,-27-13-17,0 1 1,0-1-16,0 0 15,-13 0-15,13 1 0,0-1 16</inkml:trace>
  <inkml:trace contextRef="#ctx0" brushRef="#br0" timeOffset="32487.2">17489 5702 0,'-13'-13'31</inkml:trace>
  <inkml:trace contextRef="#ctx0" brushRef="#br0" timeOffset="32748.15">17648 5741 0,'0'14'16,"13"-1"0,-13 0-16,0 0 0,13 14 15,-13-14-15,0 0 0,0 14 16,0-14-16,0 0 0,0 0 16,0 1-16,-13-1 0,13 0 15,-13 0-15,13 1 0,-14-1 0,1 0 16,0 0-16,0-13 15,0 0-15,-1 0 16,14-13-16</inkml:trace>
  <inkml:trace contextRef="#ctx0" brushRef="#br0" timeOffset="33068.24">18124 5649 0,'0'0'16,"13"0"-16,0-13 0,1 13 15,12 0-15,-13-14 0,1 14 16,-1 0-16,0 0 0,0 0 16,0 0-16,1 0 0,-1 0 0,-13 14 15,13-14-15</inkml:trace>
  <inkml:trace contextRef="#ctx0" brushRef="#br0" timeOffset="33248.25">18071 5821 0,'0'0'16,"27"0"-1,-14 0 1,0 0-16,0 0 0,0-13 0,1 13 15,12 0-15,-13 0 0,1 0 16,-1 0-16</inkml:trace>
  <inkml:trace contextRef="#ctx0" brushRef="#br0" timeOffset="34134.26">19447 5186 0,'-13'26'31,"13"-12"-31,-14-1 15,14 0-15,-13 0 0,13 14 16,-13-1-16,13-13 0,-13 1 16,13 12-16,-13-13 0,13 1 0,-14 12 15,14-13-15,0 0 16,0 1-16,-13-14 0,13 13 16,0-40-1,0 14 1,13 0-16,-13-13 0,14-14 15,-1 27-15,0-1 16,-13 1-16,13 0 0,0 0 0,1-1 16,-14 1-16,13 13 0,0 0 15,0 0-15,1 0 16,-14 13-16,13-13 0,-13 14 0,0-1 16,13 0-16,-13 0 0,0 1 15,0 12-15,0-13 16,0 1-16,-13-1 0,13 0 15,0 0-15,0 0 16,0 1-16</inkml:trace>
  <inkml:trace contextRef="#ctx0" brushRef="#br0" timeOffset="34379.94">20082 5186 0,'0'-13'16,"-13"39"-1,-1-13 1,1-13-16,0 14 0,0 12 0,-1-13 16,1 0-16,-13 1 0,13 12 15,-14-13-15,14 14 0,0-14 16,-14 0-16,1 14 0,13-27 15,13 13-15,-14-13 0,1 13 0</inkml:trace>
  <inkml:trace contextRef="#ctx0" brushRef="#br0" timeOffset="34581.19">19857 5199 0,'13'-26'0,"-26"52"0,26-66 16,0 27-16,1 26 31,-14 1-31,13-14 16,-13 13-16,13 0 0,-13 0 0,0 1 15,13-1-15,-13 13 0,14-13 16,-1 14-16,-13-14 0,13 0 16,-13 1-16,0-1 0,13-13 0,-13 13 15,13 0-15,1 1 16</inkml:trace>
  <inkml:trace contextRef="#ctx0" brushRef="#br0" timeOffset="34772.22">20069 5067 0,'-14'-13'0,"14"-1"15,-39 94 16,25-54-31,14 1 0,-13-1 16,0 1-16,13-1 0,-13 0 0,13 1 16,0-1-16,0-12 0,-13 12 0,13-13 15,13 1-15</inkml:trace>
  <inkml:trace contextRef="#ctx0" brushRef="#br0" timeOffset="34998.93">19698 5305 0,'27'13'32,"-1"-13"-17,-13 0-15,14 0 0,-1-13 0,1 13 16,12 0-16,-12 0 0,-1 0 15,1-13-15,-1 13 0,14 0 16,-14-14-16,1 14 0,-14 0 0,14-13 16,-14 13-16</inkml:trace>
  <inkml:trace contextRef="#ctx0" brushRef="#br0" timeOffset="36845.98">20717 5146 0,'0'0'0,"-13"27"31,-1-14-15,14 0-16,-13-13 0,0 13 0,0 1 15,0-1-15,-1 0 16,14 0-16,-13-13 0,13 13 0,-13 1 16,13-1-16,13 0 15,-13 0-15,13-13 0,-13 14 16,14-14-16,-14 13 16,0 0-1,-14 0-15,1 1 0,-13-1 16,12-13-16,1 13 0,-27 0 15,27 0-15,0 1 0,0-14 16,0 13-16,-1 0 0,1 0 16,26 1-1,1-14-15,-1 0 16,0 0-16,0 0 0,0 0 0,1 0 16,-1 0-16,0 13 0,0-13 15,14 0-15,-14 0 16,0 0-16,1 0 0,-1 13 15</inkml:trace>
  <inkml:trace contextRef="#ctx0" brushRef="#br0" timeOffset="37038.06">20876 5503 0,'26'14'31,"-26"-1"-15,0 0-16,0 0 0,0 0 16,-13 1-1,13-1-15,0 0 16</inkml:trace>
  <inkml:trace contextRef="#ctx0" brushRef="#br0" timeOffset="37195.83">20915 5384 0,'0'-13'16,"-13"0"-1</inkml:trace>
  <inkml:trace contextRef="#ctx0" brushRef="#br0" timeOffset="37800.92">20849 4842 0,'-13'13'16,"0"0"-1,13 1-15,0-1 16,0 0 0,13-26 31,0 13-47,0 0 0,-13-13 0,14 13 15,-1-14-15,0 14 16,0 0-1,1 0-15,-1 14 16,0-1 0,-13 0-1,13-13-15,0 0 16,-13 13-16,14-13 16,-1 0-16</inkml:trace>
  <inkml:trace contextRef="#ctx0" brushRef="#br0" timeOffset="38272.28">21722 4789 0,'-26'40'0,"13"-27"15,13 13-15,-27 40 16,14-26-16,-14 0 0,1 52 16,13-52-16,0 0 0,13 0 0,-14-1 15,14-12-15,0-1 0,0 1 16,14-1-16,-14-13 0,13 1 0,-13 12 15,13-13-15,-13 0 0,13-13 0,0 14 16,1-14-16,-14 13 0,39-13 16,-25 0-16,-1 0 0,0 0 15,0 0-15,14 0 0</inkml:trace>
  <inkml:trace contextRef="#ctx0" brushRef="#br0" timeOffset="38547.31">21934 5054 0,'0'26'31,"13"-13"-31,-13 0 16,0 1-16,0-1 0,0 0 15,0 0-15,13 1 0,-13-1 0,14 0 16,-1-13-16,0 0 16</inkml:trace>
  <inkml:trace contextRef="#ctx0" brushRef="#br0" timeOffset="38749.9">22119 5173 0,'27'-40'0,"-54"80"0,67-93 15,-27 39 1,-13 1-16,-13 40 31,0-14-31,-1 0 16,1 14-16,0-1 0,-14 1 0,14-1 16,-13 0-16,13 1 0,-27 26 15,13-40-15,14 14 0,0-14 16,0 0-16,13 0 0,-13 14 15,-1-27-15,14 13 0,0 0 16,0 0-16</inkml:trace>
  <inkml:trace contextRef="#ctx0" brushRef="#br0" timeOffset="38951.08">22199 5490 0,'0'0'0,"0"27"31,0-14-31,-14 0 16,14 0-16,0 0 0,0 1 16,-13-14-16,13 13 0,0 0 0,0 0 15</inkml:trace>
  <inkml:trace contextRef="#ctx0" brushRef="#br0" timeOffset="39108.12">22251 5371 0,'-13'-13'0</inkml:trace>
  <inkml:trace contextRef="#ctx0" brushRef="#br0" timeOffset="39639.08">22516 5252 0,'0'0'16,"40"0"-1,-27 0 1,0 0-16,0 13 0,1-13 15,-1 0-15,0 0 0,14 0 16,-1 0-16,-13 0 0,0 0 16,1 0-16,-1-13 0,0 13 15,0 0-15</inkml:trace>
  <inkml:trace contextRef="#ctx0" brushRef="#br0" timeOffset="40111.86">22953 5054 0,'0'-14'0,"0"41"31,13-14-15,0 0-16,-13 0 0,13 1 16,1-1-16,-1 0 0,0-13 15,0 13-15,0-13 0,1 0 16,-1 0-16,0 14 0,0-14 0,1-14 16,-1 14-16,0 0 0,0 0 15,-13-13-15,14 13 0,-1-13 0,0 13 16,-13-13-16,13 13 15,-13-14-15,-13 41 32,0-14-32,0 0 0,-27 27 15,27-13-15,-14-1 0,-13 40 16,27-53-16,0 14 0,13-14 16,-13 14-16,13-14 0,-13 0 15,13 0-15,-14 0 0,14 1 16,14-14-1,-1-14 1</inkml:trace>
  <inkml:trace contextRef="#ctx0" brushRef="#br0" timeOffset="40373.01">22820 4948 0,'40'-14'0,"53"1"31,-80 13-31,13 0 0,-12 0 0,12 0 16,-13 0-16,0 0 0,14 0 16</inkml:trace>
  <inkml:trace contextRef="#ctx0" brushRef="#br0" timeOffset="40719.87">23402 4710 0,'53'105'32,"-39"-78"-32,-1 26 0,0-14 15,-13 14-15,0-13 0,0 13 16,-13 13-16,13-13 0,-13 0 0,-14 0 16,14 0-16,-14-27 0,14 14 0,-13-14 15,12 1-15,-12-1 0,13 1 0,0-14 16,-1-13-16,1 13 15,0-13-15</inkml:trace>
  <inkml:trace contextRef="#ctx0" brushRef="#br0" timeOffset="41774.16">23799 4524 0,'13'0'31,"-39"14"-15,13-1-16,0 0 15,-1-13-15,-12 13 0,13 1 16,-1-1-16,1-13 0,0 13 0,0 0 16,0 0-16,-1-13 0,1 14 15,0-1-15,13 0 16,13-13 0,0 13-16,1-13 0,-1 0 0,0 14 15,13-14-15,-12 0 0,12 0 0,1 13 16,-1-13-16,-13 0 15,14 0-15,-1 0 0,-13 0 0,14 0 16,-14 0-16,0 0 0,1 0 0,-1 0 16,0 0-16,0-13 0,0 13 15,-13-14-15,14 14 0</inkml:trace>
  <inkml:trace contextRef="#ctx0" brushRef="#br0" timeOffset="42038.58">23905 4498 0,'-13'13'0,"0"0"0,13 1 15,0-1-15,-14 0 0,14 0 16,-13 1-16,13 12 0,-13-13 16,13 0-16,0 1 0,-13 12 0,13-13 15,-14 1-15,14 12 0,-13-13 16,13 0-16,0 1 15,0-1-15,-13 0 16,13 0-16,0 1 16,0-1-1,0 0 1</inkml:trace>
  <inkml:trace contextRef="#ctx0" brushRef="#br0" timeOffset="46511.85">21630 966 0,'13'0'0,"-13"-14"0,-13 1 31,-1 13-15,1 0-16,0 0 0,0 0 16,0 0-16,-1 13 0,1-13 0,0 0 15,0 0-15,13 53 31,13-39-31,0 12 0,0-13 16,1 1-16,12 12 0,0-13 16,-12 0-16,-1 1 0,0-1 0,-13 0 15,13-13-15,1 13 0,-1 1 16,-13-1-16,0 0 16,-13-13-16,13 13 0,-14-13 15,1 14-15,-13-14 0,12 13 0,-12-13 16,13 0-16,0 13 0,-14-13 15,14 0-15,0 0 0,-1 0 16,1 0-16,0-13 0,0 13 16,13-13-16,-14 13 0,14-14 15</inkml:trace>
  <inkml:trace contextRef="#ctx0" brushRef="#br0" timeOffset="46754.8">21921 900 0,'-13'13'31,"13"0"-15,-14 53-1,1-39-15,13-14 16,0 0-16,-13 14 0,13-14 0,0 0 15,-13 0-15,13 0 0,0 1 16,0-1-16,0 0 0,0 0 16</inkml:trace>
  <inkml:trace contextRef="#ctx0" brushRef="#br0" timeOffset="46995.83">22119 952 0,'-106'14'32,"80"-1"-32,13-13 0,-14 13 15,14 0-15,0-13 0,-14 14 0,14-1 16,0-13-16,13 13 16,-13 0-16,13 1 0,0-1 15,13 0-15,0-13 16,-13 13-16,13-13 0,1 0 15,-1 0-15,13 13 0,-13-13 16,1 0-16,12 0 0,-13 0 0,1 0 16</inkml:trace>
  <inkml:trace contextRef="#ctx0" brushRef="#br0" timeOffset="47386.64">22212 1124 0,'13'-13'32,"-13"0"-32,0 0 0,0 0 31,-13 26 16,13 0-32,13 0 1,0-13 0,0 0-16,1 13 15,-1-26-15,0 13 16,0 0 0,1 0-1,-1-13 1,0 13-1,0-13-15,1 13 16,-1 0-16,-13-13 0,13 13 16,0 0-16</inkml:trace>
  <inkml:trace contextRef="#ctx0" brushRef="#br0" timeOffset="47988.03">23006 595 0,'0'0'0,"26"0"31,-26 14-31,0-1 16,0 0-16,0 0 0,13 0 15,-13 1-15,0-1 0,13 0 16,-13 0-16,0 1 0,0-1 16,14 0-16,-14 0 0,0 1 0,13-1 15,-13 0-15,0 0 16,0 0-16,0 1 16,0-1-1,-13-13-15,13 13 16,-14-13-1,14 13-15,-13-13 16</inkml:trace>
  <inkml:trace contextRef="#ctx0" brushRef="#br0" timeOffset="48438.91">23442 794 0,'40'-27'31,"-27"27"-31,0 0 0,14 0 16</inkml:trace>
  <inkml:trace contextRef="#ctx0" brushRef="#br0" timeOffset="48590.71">23416 873 0,'-14'0'16,"54"0"0,-27 0-1,1 0-15,-1 0 0,13-13 0,-13 13 16,14 0-16,-14 0 0,14-13 15</inkml:trace>
  <inkml:trace contextRef="#ctx0" brushRef="#br0" timeOffset="49075.41">23852 635 0,'0'0'0,"27"13"32,-14-13-32,-13 13 0,0 1 15,13-1-15,-13 0 16,0 0-16,0 1 15,0-1-15,0 0 0,0 0 16,0 1-16,0-1 0,0 0 16,0 0-1,0 0-15,0 1 16,-13-14-16,13 13 16,-13-13-16,-1 0 15,1 0 1</inkml:trace>
  <inkml:trace contextRef="#ctx0" brushRef="#br0" timeOffset="49438.22">23932 463 0,'0'0'15,"13"0"-15,0 13 0,0 0 16,0 1-16,-13-1 16,0 0-16,14 0 0,-14 1 15,0-1-15,0 0 0,0 0 16,0 1-16,0-1 16,0 0-1,13-26 16,-13 0-31,13-1 16,-13 1-16,0 0 0,13 0 0,1-1 16,-14 1-16,13 0 0,-13 0 0,13-1 15,0 1-15,1 0 16,-1 0-16,0 13 16,0 0-16,0 0 15</inkml:trace>
  <inkml:trace contextRef="#ctx0" brushRef="#br0" timeOffset="49886.87">24408 344 0,'0'26'32,"0"-12"-32,0-1 0,0 0 15,0 0-15,0 1 16,0-1-16,0 0 16,0 0-16,0 0 0,0 1 31,-13-1-31,-1-13 15,1 0-15,-13 13 0,12-13 0,-12 0 16,13 13-16,0-13 0,-14 0 16,14 14-16,0-14 0,-1 0 0,14 13 15,-13-13-15,0 13 16,26-13 0,0 0-16,1 13 15,12-13-15,-13 0 0,1 0 0,12 0 16,0 0-16,-12 0 0,12 0 0,1 0 15,-14 0-15,0 0 0,14 0 16,-14 0-16,0 0 0,0 0 0,0 0 16,1 0-16</inkml:trace>
  <inkml:trace contextRef="#ctx0" brushRef="#br0" timeOffset="51074.01">24223 886 0,'-14'14'47,"14"-1"-31,-13 0-1,40-26 32,-14 0-31,0 13-16,-13-14 16,13 14-16,-13-13 15,14 13-15,-1 0 16,-13 13-1,13-13-15,-13 14 16,0-1 15,13-13 1,0-13-17,1 13 1,-1 0 15,-13 13-31,13-13 16,0 0-1,14 0 1,-14 0-16,0 0 16,1-13-16,-1 13 0,0 0 15,0 0-15,-13-14 0,13 14 0,1 0 16,-1-13-16,0 26 47,-13 1-16,13-14-15,-13-14 30,0 1-14,14 13-1,-1 13 0,0-13-15,0 0-1,-13 14 1,13-14-16,1-14 16,-1 14-1,0 0 1,0 0 0,1 0-16,-1 0 15,-13-13-15,13 13 0</inkml:trace>
  <inkml:trace contextRef="#ctx0" brushRef="#br0" timeOffset="51243.8">24765 900 0,'13'-14'62,"0"14"-46</inkml:trace>
  <inkml:trace contextRef="#ctx0" brushRef="#br0" timeOffset="54224.38">20082 5953 0,'0'0'0,"-13"0"15,39 0 1,1 13-16,-1-13 15,67 0-15,-27 0 0,0 0 16,13 14-16,14-14 0,0 0 0,-1-14 16,14 14-16,39 0 0,-12 0 15,12 0-15,1 0 0,-1 0 0,1 0 16,-1 0-16,1 0 0,-1 0 0,1 0 16,-14 0-16,0 0 0,14 0 15,-40-13-15,0 13 0,13 0 0,-13-13 16,-1 13-16,94 0 15,-107 0-15,-12 0 0,12 0 0,-12 0 16,-14 0-16,0 0 0,-13 0 16,-13 0-16,-1 0 0,1 0 0,-13 0 15,-14 0-15,13 0 0,-13 0 0,1 0 16,-1 0-16,0 0 0,0 0 16,1 0-16,-1 0 0,-26 26 31,-1-26-31,1 14 0,0-14 15,-14 13-15</inkml:trace>
  <inkml:trace contextRef="#ctx0" brushRef="#br0" timeOffset="55680.84">20796 6853 0,'0'0'16,"0"-14"-16,-13 41 15,0-27 1,0 13-16,-14 0 0,1 14 0,-1-1 16,1-12-16,-1-1 0,1 13 15,13-26-15,-1 13 0,1 1 16,13-1-16,-13 0 0,13 0 16,13 1-16,0-14 15,1 0-15,-1 13 0,0-13 16,0 0-16,14 13 0,-14-13 15,0 0-15,0 0 16,-26 13 0,13 1-16,-13-14 0,-13 26 15,-1-26-15,14 13 0,0-13 0,-1 13 16,1-13-16,0 14 16,0-14-16,13 13 15,13 0-15,0-13 16,-13 13-16,13-13 15,1 0-15,-1 14 0,0-14 16,0 0-16,1 0 0,-1 0 0,0 0 16,27 0-16,-27 0 0,13-14 15,-12 14-15,-1 0 0,0-13 16,13 13-16,-12-13 0,-1 13 16,0 0-16,-13-13 0,13 13 15,1 13 1,-14 0-1,13-13 1,-13 27-16,0-14 0,0 0 16,0 0-16,0 0 15,0 1-15,-13-14 0,26 13 16,-13 0-16</inkml:trace>
  <inkml:trace contextRef="#ctx0" brushRef="#br0" timeOffset="55836.13">21008 7091 0,'-13'-13'0,"-1"-1"31,1 14-31,0 0 16</inkml:trace>
  <inkml:trace contextRef="#ctx0" brushRef="#br0" timeOffset="56427.14">20942 6496 0,'13'13'15,"-13"0"-15,0 0 0,0 0 16,0 14 0,0-14-1,0 0-15,26-26 32,-26 0-17,14 13-15,-1-13 0,0-1 0,0 1 16,14 13-16,-14-13 15,0 13-15,1 0 16,-1 0-16,0 0 16,0 0-16,-13 13 0,13-13 15,-13 13-15,14-13 0,-14 14 16,13-14-16,-13 13 0,13-13 16,-13 13-16,13 0 0</inkml:trace>
  <inkml:trace contextRef="#ctx0" brushRef="#br0" timeOffset="57102.83">21934 6548 0,'0'-13'0,"-53"66"31,27-26-31,-1 26 0,1-14 0,-1 1 15,1 13-15,13 0 16,-14 0-16,14-14 0,0 1 0,-1 0 16,14-1-16,-13-12 0,13-1 0,13-12 15,-13 12-15,0 0 0,14-12 0,-14-1 16,13 13-16,0-12 0,0-1 16,1-13-16,-1 13 0,0-13 0,13 0 15,-12 13-15,-1-13 0,0 0 0,0-13 16,14 13-16,-14 0 0,0 0 15,1 0-15,-1-13 0,0 13 16</inkml:trace>
  <inkml:trace contextRef="#ctx0" brushRef="#br0" timeOffset="57541.88">22106 6839 0,'0'27'16,"0"-14"0,0 0-16,0 1 15,0-1-15,13 0 0,0 0 16,1-13-1,-1 0-15,13 0 0,-12 0 16,-1-13-16,0 13 0,0-13 0,0 13 16,14-13-16,-27-1 0,13 14 15,0-13-15,1 13 0,-14-13 16,13 13-16,-26 26 31,-1-12-31,1-1 0,0 0 0,-14 27 16,14-14-16,-13 1 0,13 12 0,-14-12 15,14-1-15,0 1 0,-1-1 16,1-13-16,0 14 0,13-14 16,-13 0-16,13 1 0,-14-1 0,14 0 15,-13 0-15,13 0 0</inkml:trace>
  <inkml:trace contextRef="#ctx0" brushRef="#br0" timeOffset="57735.61">22318 7236 0,'0'14'16,"-14"-1"-16,14 0 16,0 0-16,-13 0 15,13 1-15,0-1 0,-13 0 0,13 0 16,0 1-16,0-1 15</inkml:trace>
  <inkml:trace contextRef="#ctx0" brushRef="#br0" timeOffset="58263">22595 7157 0,'27'-13'15,"-14"13"1,0 0-16,1 0 0,-1 0 15,0 0-15,0 0 0,0 0 16,1 0-16,-1-13 0,0 13 0,0 0 0,1 0 16,-1 0-16,0 0 15</inkml:trace>
  <inkml:trace contextRef="#ctx0" brushRef="#br0" timeOffset="58650.01">22304 7104 0</inkml:trace>
  <inkml:trace contextRef="#ctx0" brushRef="#br0" timeOffset="59202.98">23045 6853 0,'0'13'31,"13"0"-15,1 0 0,-1-13-16,0 0 0,0 0 0,1 0 15,12 0-15,-13 0 0,1 0 0,-1-13 16,13 13-16,-13 0 0,1-13 16,-1 13-16,0 0 0,-13-13 0,13 13 15,1 0-15,-41 26 31,27-13-31,-13 1 16,0-1-16,-1 0 0,-12 14 0,0-1 16,12 0-16,-12 14 0,-1-27 15,14 14-15,0-1 0,0-12 16,13-1-16,-14 0 0,1 0 0,13 0 16,-13 1-16</inkml:trace>
  <inkml:trace contextRef="#ctx0" brushRef="#br0" timeOffset="59463.79">22992 6707 0,'40'0'16,"-27"-13"-16,0 13 16,1 13-16,12-26 0,-13 13 15,14 0-15,-1 0 0,-12 13 0,12-13 16,0 0-16,1 0 0,-1 0 15</inkml:trace>
  <inkml:trace contextRef="#ctx0" brushRef="#br0" timeOffset="60551.87">23402 6522 0,'0'0'0,"14"-13"16,-1 13-16,0 0 16,0 0-16,1 0 15,-1 13-15,0 0 0,0 0 16,0 14-16,14 13 0,-14-14 16,0 1-16,-13 12 0,14-12 15,-1 12-15,-13-12 0,13 12 16,-13-12-16,0-1 0,0 14 0,0-13 15,0 12-15,-13 1 0,13-14 0,-13 14 16,-1-13-16,1-1 0,0 0 16,0 1-16,-1-1 0,1-12 0,0-1 15,0 0-15,0 0 0,13 0 0,-14-13 16,1-13 0</inkml:trace>
  <inkml:trace contextRef="#ctx0" brushRef="#br0" timeOffset="61093">23693 6403 0,'27'0'0,"-54"0"0,80 0 16,-39 13 0,-14 0-16,13 1 0,-13-1 15,0 0 1,-13 0-16,-1 1 0,1-1 0,13 0 15,-13 0-15,0 0 0,-1 1 0,1-1 16,13 0 0,13-13-1,1 0-15,-1 0 0,0 0 0,40 0 16,-27 0-16,-12 0 16,12 0-16,1 0 0,-1-13 0,-13 13 15,1 0-15,12 0 0,-13 0 0,0 13 16,1-13-1</inkml:trace>
  <inkml:trace contextRef="#ctx0" brushRef="#br0" timeOffset="63039.92">20651 6152 0,'-40'13'0,"80"-26"0,-106 39 0,39-13 16,-13 14-16,1 12 0,-14-12 0,13 26 15,0-14-15,1 14 0,-1 14 16,-13-1-16,0 13 0,14 0 16,-1 1-16,0 12 0,0-12 0,14-14 15,-14 13-15,27 1 0,-13-14 0,12 0 16,1 13-16,0 54 0,13-67 15,13-13-15,0 0 0,14 13 16,-14-27-16,27 14 0,-14-13 0,14 0 16,0-14-16,-1 1 0,14-1 15,-13-13-15,13-13 0,0 14 0,0-28 16,13 14-16,13-26 0</inkml:trace>
  <inkml:trace contextRef="#ctx0" brushRef="#br0" timeOffset="63972.78">23786 6112 0,'26'0'31,"-12"0"-15,12 13-16,-13-13 0,1 13 0,12 1 15,1-1-15,-1 13 0,0-13 0,1 14 16,-1-1-16,1 1 0,-1-1 16,1 1-16,-1 12 0,1 1 0,-14 0 15,13-14-15,-12 14 0,-1 0 0,0-1 16,-13 1-16,13 13 0,-13-13 15,0-1-15,14 1 0,-14 0 0,0-1 16,-14 1-16,14 0 0,-13-1 0,0 14 16,13-13-16,-27 0 0,1 13 15,-27 26-15,27-39 0,-1-1 16,-13 1-16,14 0 0,-14-14 0,1 14 16,12-14-16,-13 1 0,14-1 15,-1-12-15,1 12 0,13-13 16,0 0-16,-1-13 0,1 14 0</inkml:trace>
  <inkml:trace contextRef="#ctx0" brushRef="#br0" timeOffset="64862.14">24315 6152 0,'0'0'0,"13"-14"16,1 1-1,-1 13-15,13 0 16,-12 0-16,-1 13 16,0-13-16,0 0 0,-13 14 15,14-1-15,-28 0 16,14 0-16,-13 0 0,13 1 15,-13-1-15,0 0 0,13 0 16,-14-13-16,14 14 0,0-1 16,14 0-1,-1-13 1,13 0-16,-12 0 0,12 0 16,-13 0-16,14 0 0,-1 0 15,1 0-15,-1 0 0,0 0 0,1 0 16,-1 13-16,1-13 0,-14 0 15,14 0-15,-14 0 0,0 0 0,0 14 16,0-14-16</inkml:trace>
  <inkml:trace contextRef="#ctx0" brushRef="#br0" timeOffset="66656.08">18799 4710 0,'0'0'0,"0"66"16,0-27-16,-14 41 0,1 12 0,0 27 15,-14 14-15,1 12 0,-14 14 0,1 53 16,-1-14-16,14-39 0,-41 211 15,41-198-15,-1-13 0,1 0 16,0 119-16,12-146 0,-25 119 16,25-145-16,1-27 15,-13 67-15,26-80 0,-14 0 16</inkml:trace>
  <inkml:trace contextRef="#ctx0" brushRef="#br0" timeOffset="68453.14">18732 4696 0,'265'-13'31,"-225"0"-31,13 13 0,0 0 0,-14-13 16,27 13-16,1-14 0,-1 14 0,13-13 15,0 0-15,14 13 0,-14-13 0,14 13 16,-14-13-16,27-1 0,-13 14 15,13-13-15,0 13 0,-14-13 16,14 13-16,0-13 0,13 13 0,-13 0 0,0-14 16,-1 14-16,1 0 15,-13 0-15,26 0 0,-13 0 0,0 0 16,-1 0-16,-12 0 0,13 0 0,13 14 16,0-14-16,-13 0 0,0 0 15,-1 0-15,-12 0 0,13 0 0,0 0 16,-14 0-16,14 0 0,-13 0 0,-1 0 15,1 0-15,-14 0 0,1 0 16,-1 0-16,-26 0 0,13 0 0,-13 0 16,0 0-16,0 0 0,-13 0 15,-14 0-15,14 0 0,-14 0 0,1 0 16,-1 0-16,1-14 0,-1 14 16,0 0-16,-12 0 0,12 0 0,-13 0 15,27 0-15,-27-13 0,1 13 16,-1 0-16,0 0 0,0 0 15,0-13-15,1 13 0,-1 0 0,0 0 16,0-13-16,1 13 0,-1 0 0,0-14 16,0 14-16,1 0 0,12-13 15,-13 13-15,0 0 0,14 0 0,-14-13 16,14 13-16,-1 0 0,-13 0 0,14 0 16,-1 0-16,1 0 0,-1 0 0,1 0 15,-14 0-15,13 0 0,1 0 16,-1 0-16,-13 13 0,14-13 0,-1 0 15,-12 0-15,12 13 0,-13-13 0,14 0 16,-14 0-16,0 14 16,0-14-16,1 13 0,-1-13 0,0 0 15,0 13-15,1 0 0,-1-13 16,0 14-16,0-1 0,0-13 0,1 13 0,-1 0 16,-13 1-16,13-1 0,0 0 15,-13 13-15,14-12 0,-14 12 0,0 1 16,0-1-16,0 0 0,0 14 0,0 13 15,0-13-15,-14 13 0,1 0 16,0 13-16,0-13 0,-1 0 0,1 0 16,13-1-16,-13 15 0,0-14 15,0-1-15,13 15 0,-14-15 16,14 1-16,-13 14 0,13-15 0,0 15 16,-13 52-16,0-66 0,13-1 15,0 1-15,0 0 0,0 0 0,0-13 16,0 13-16,0-13 0,13 12 15,-13-12-15,0 0 0,0 0 0,0-1 16,0 1-16,0 13 0,0-13 16,0-14-16,0 0 0,0 1 15,-13 13-15,13-1 0,0-12 0,0-1 16,0 1-16,0-1 0,0 1 16,0-1-16,0-13 0,0 14 0,0-1 15,0 1-15,0-14 0,0 13 16,0 1-16,0-1 0,0-13 0,0 14 15,0-1-15,0 1 0,0-1 0,0-13 16,0 14-16,0-1 0,0-12 16,0 12-16,0 1 0,0-1 0,0 0 15,0-12-15,0 12 0,0 1 0,0-14 16,0 13-16,-14 1 0,28-14 0,-14 13 16,0 1-16,0-14 0,0 0 15,0 27-15,0-13 16,0-14-16,0 0 0,0 0 0,13 14 0,-13-14 15,0 0-15,0 0 0,0 1 16,0-1-16,0 0 0,0 0 16,13 1-16,-13-1 0,0 0 15,0 0-15,0 14 16,0-14 0,0 0-1,0 0 1,-13-13-16,0 14 15,-1-14 1,1 0-16,0 13 0,-14-13 0,1 0 0,0 0 16,-1 13-16,-13-13 0,1 0 15,-14 13-15,0-13 0,0 13 0,0-13 16,0 14-16,-13-14 0,-13 13 16,-93 0-16,79-13 0,0 13 15,-158 14-15,132-14 0,-13 0 16,-1 1-16,1-1 0,-13-13 15,-146 13-15,158 0 0,-12-13 16,-1 0-16,-158-13 0,158 13 16,1-13-16,-14 0 0,14 13 15,-1-14-15,-171 1 16,171 13-16,-13-13 0,1 13 0,12-13 16,-13 13-16,14-14 0,-14 14 15,14 0-15,-14 0 0,13 0 0,1 0 16,12 0-16,1 0 0,26 0 0,0 0 15,1 0-15,-1 0 0,13 0 0,-92 14 16,92-14-16,14 0 0,0 0 16,-1 0-16,27 0 0,-52-14 15,52 14-15,13 0 0,13 0 16,1 0-16,13 0 0,-14 0 16,14 0-16,0 0 0,0 0 0,-1 0 15</inkml:trace>
  <inkml:trace contextRef="#ctx0" brushRef="#br0" timeOffset="69153">20439 8943 0,'0'-13'0,"0"39"15,0 1 1,-13-1-16,13 1 0,-13 12 16,13 14-16,-14 0 0,-12 66 15,13-53-15,-1 0 0,-25 53 16,26-52-16,-1-14 0,1-1 0,0 1 15,0-13-15,-1 0 0,1-1 16,0-12-16,13-14 0,-13 14 0,13-14 16,0 0-16,-14-13 0,14 13 0</inkml:trace>
  <inkml:trace contextRef="#ctx0" brushRef="#br0" timeOffset="69379.28">20518 9128 0,'-39'13'31,"26"1"-31,-14-1 0,1 13 0,-1-12 16,1 12-16,-1 0 0,1 1 0,-1-1 15,1 1-15,-1-1 0,1 1 16,13-1-16,-14-13 0,14 14 0,0-14 16,0-13-16,13 13 0</inkml:trace>
  <inkml:trace contextRef="#ctx0" brushRef="#br0" timeOffset="69587.67">20532 9062 0,'26'26'16,"-52"-52"-16,65 66 0,-25-14 0,-1-13 15,0 1-15,27 39 0,-14-27 16,1-13-16,-1 14 0,1-14 16,-1 13-16,-13-12 0,14-1 0,-1 0 15,-13-13-15,1 0 0,12 13 16,-13-13-16,1 0 0,-1 0 0,0 0 15</inkml:trace>
  <inkml:trace contextRef="#ctx0" brushRef="#br0" timeOffset="72959.85">19963 11112 0,'26'14'47,"-13"-14"-47,1 0 0,-1 0 16,0 13-16,0-13 15,-13 13-15,0 0 16</inkml:trace>
  <inkml:trace contextRef="#ctx0" brushRef="#br0" timeOffset="73116.73">19844 11298 0,'-13'13'32,"26"0"-32,0-13 0,0 0 15,0 0-15,1 0 16,-1 0-16,13 0 0,-12 0 15,-1 0-15,0 0 0,0 0 0,0-13 16,1 13-16,-1 0 0</inkml:trace>
  <inkml:trace contextRef="#ctx0" brushRef="#br0" timeOffset="73538.84">20373 11086 0,'13'0'0,"-13"13"47,-13 0-47,13 1 16,-13-1-16,-1 0 0,1-13 0,0 13 15,13 1-15,-13-1 0,13 0 16,0 0-16,0 1 16,0-1-16,13-13 0,0 13 15,0 0-15,-13 0 16,14-13-16,-1 14 15,-13-1 1,-13 0-16,-1 0 16,1-13-16,0 14 0,0-1 15,0-13-15,-14 13 0,14 0 0,0-13 16,-1 14-16,14-1 0,-13-13 0</inkml:trace>
  <inkml:trace contextRef="#ctx0" brushRef="#br0" timeOffset="74097.89">19936 12078 0,'14'13'15,"25"1"1,-26-1-16,1-13 0,-1 0 0,-13 13 15,13-13-15,-13 13 16,13 1-16,-13-1 16,-13 0-16,13 0 0,0 1 15,-13-1-15,0 0 0,13 0 16,-14 0-16,1 1 0,0-1 0,13 0 16,-13 0-16,0-13 0,-1 14 0,1-1 15,-13 0-15,12 0 16,14 0-1</inkml:trace>
  <inkml:trace contextRef="#ctx0" brushRef="#br0" timeOffset="74530.02">20254 12091 0,'13'14'16,"-13"-1"-1,0 13-15,0-12 16,0-1-16,0 0 16,0 0-16,0 1 15,0-1-15,13-13 0,-13 13 16,14-13-16,-14 13 0,13-13 16,-13 13-16,13 1 0,-13-1 15,13-13-15,-13 13 0,0 0 16,0 1-16,0-1 15,0 0-15,-13 0 16,0 0 0,13 1-1</inkml:trace>
  <inkml:trace contextRef="#ctx0" brushRef="#br0" timeOffset="75146.75">20029 13137 0,'-27'13'0,"27"0"0,-13 0 0,0 0 15,0 1-15,-14-1 0,14 0 16,0 0-16,0 1 0,-1-1 0,1-13 16,13 13-16,-13 0 0,0 1 15,13-1-15,0 0 16,0 0-16,0 0 16,13-13-16,0 0 0,-13 14 15,13-14-15,1 0 0,-1 0 0,0 0 16,0 0-16,1 0 0,12 0 0,-13 0 15,0 0-15,1 0 0,-1-14 16,0 14-16,0 0 0,1 0 16,-1-13-16,0 13 0,0-13 15,1 13-15</inkml:trace>
  <inkml:trace contextRef="#ctx0" brushRef="#br0" timeOffset="75546.63">20254 13137 0,'26'0'31,"-26"13"-31,14 0 0,-14 0 16,-14 0-1,14 1-15,0-1 16,14 0 0,-14 0-16,13-13 0,-13 14 15,13-14-15,0 0 0,-13 13 0,13-13 16,1 13-16,-14 0 0,13 1 15,-13-1 1,-13 0-16,13 0 0,0 0 16,-14 1-16,1-1 0,0 0 15,0 0-15,0-13 0,13 14 0,-14-1 16,-12 0-16,13 0 16</inkml:trace>
  <inkml:trace contextRef="#ctx0" brushRef="#br0" timeOffset="76945.07">20227 11086 0,'0'-13'31,"14"13"-31,-1-13 16,0 13-1,0 0-15,1 0 16,-1 0-16,0 0 0,0 0 0,0 13 16,1-13-1,-1 13-15,-13 0 16,-13 0 0,13 1-16,-14-14 15,1 13-15,0-13 0,0 13 16,0-13-16,-1 0 0,14 13 0,-13-13 15,0 0-15,0 14 16,-1-14-16,28 13 47,-1-13-31,0 0-16,-13 13 0,13-13 15,1 13-15,-1-13 0,0 14 16,0-14-16,-13 13 0,13-13 0,1 13 15,-14 0-15,13-13 0,-13 13 16,-13 1 0,-1-1-16,1-13 15,13 13-15,-13-13 0,0 13 0,0-13 16,-1 14-16,1-14 0,0 0 0,0 13 16,-1-13-16,1 13 0,0-13 15,0 13-15,-1-13 0</inkml:trace>
  <inkml:trace contextRef="#ctx0" brushRef="#br0" timeOffset="78304.03">19976 9088 0,'-132'53'15,"264"-106"-15,-344 146 0,120-40 0,-1 0 16,-13 26-16,14 1 0,-14 12 0,-119 133 16,132-119-16,-26 39 0,13 1 15,27-27-15,-27 27 16,40-27-16,0 13 0,0 0 0,13 1 0,0-1 16,0 13-16,13-12 0,14 12 15,0-13-15,12 1 0,14-1 0,0 0 16,14-13-16,-1 0 0,0 0 15,13 1-15,54 91 0,-41-105 16,14-13-16,0-1 0,13 1 0,-13-14 16,14 1-16,-15-14 0,15 13 15,-1-13-15,0-13 0,13 0 16,-26-13-16,0-1 0,13-12 0,-13-1 16,0-12-16,0-1 0,0 0 0,0-13 15,-13 0-15,12-13 0,15 0 0,-1-1 16,-13 1-16,13-13 0,-13-1 15,0 14-15,-14-27 0,14 14 0,40-40 16,-54 39-16,1-12 0,0-1 16,0 0-16,-1 1 0,1-1 15,13-13-15,-13 13 0,-1-13 0,14 0 16,0-26-16,0 26 0,-13 0 0,13 14 16,26-67-16,-26 53 0,-13 13 15,-1-13-15,-12 13 0,12 1 16,-12-14-16,13 13 0,-14 0 15,0 1-15,1-14 0,-1 13 0,-12-13 16,12 0-16,14 0 0,-14-26 16,14 0-16,-14-14 0,14 1 0,-14-14 15,1 13-15,-1-13 0,-12 0 0,-1 14 16,0-1-16,-13 1 0,-13-133 16,13 119-16,-13 0 0,-1 0 15,1 0-15,-13 1 0,12-1 0,1 13 16,-13-13-16,-1 0 0,14-13 0,-13 14 15,-1-1-15,-12 0 0,-28-93 16,41 94-16,-14 25 0,-66-79 16,40 93-16,0 0 0,-106-26 15,66 52-15,0 13 0,14 14 16,-27 0-16,13 13 0,0 0 16,-26 0-16,0 0 0</inkml:trace>
</inkml:ink>
</file>

<file path=ppt/ink/ink18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2:13:28.229"/>
    </inkml:context>
    <inkml:brush xml:id="br0">
      <inkml:brushProperty name="width" value="0.05292" units="cm"/>
      <inkml:brushProperty name="height" value="0.05292" units="cm"/>
      <inkml:brushProperty name="color" value="#0070C0"/>
    </inkml:brush>
  </inkml:definitions>
  <inkml:trace contextRef="#ctx0" brushRef="#br0">8096 2791 0,'13'-13'47,"1"26"-47,-1-13 0,13 0 0,1 0 16,-1 0-16,14 0 0,0 0 15,13 14-15,-14-14 0,14 0 0,0 0 16,-13 0-16,13 13 0,-27-13 0,14 0 16,-14 0-16,1 0 0,-1 13 15,1-13-15,-1 0 0,-13 0 0,1 0 16,-1 13-16,0-13 0,0 0 0,1 0 16,-1 0-16,0 0 15,0 0 1,-13 14-1</inkml:trace>
  <inkml:trace contextRef="#ctx0" brushRef="#br0" timeOffset="952.07">10993 2778 0,'14'-13'15,"-1"13"-15,13 0 0,1 0 16,12 0-16,1 0 0,13 13 16,0-13-16,-13 0 0,26 0 0,-13 0 15,0 0-15,0 13 0,-14-13 16,14 0-16,-13 0 0,-14 0 0,41 0 15,-54 0-15,13 0 0,1 14 16,-14-14-16,0 0 0,0 0 0,1 0 16,-1 0-16,0 0 0,0 0 15,0 0 1</inkml:trace>
  <inkml:trace contextRef="#ctx0" brushRef="#br0" timeOffset="1870.12">14116 2765 0,'0'0'0,"-14"0"15,41 0 1,-14 0-1,13 0-15,1 0 0,13 0 0,-1 0 16,14 0-16,0 0 0,13 0 16,-13 0-16,0 13 0,13-13 0,-13 0 15,0 13-15,0-13 0,0 0 16,0 14-16,-14-14 0,14 0 0,-13 0 16,-13 13-16,-1-13 0,14 0 0,-27 0 15,13 0-15,-12 0 0,12 0 16,-13 13-16,1-13 0,-1 0 0,0 0 15,0 0-15,0 0 16,1 0-16,-1 0 0,0 0 31,0 0-15,1 0 31,-41-13-16</inkml:trace>
  <inkml:trace contextRef="#ctx0" brushRef="#br0" timeOffset="5220.06">2897 3426 0,'27'0'15,"-1"0"-15,1 0 16,-1 0-16,14-13 0,13 13 16,0 0-16,-1 0 0,15 0 0,-14-13 15,13 13-15,-13 0 0,13 0 0,-13 0 16,13 0-16,-13 0 0,0 0 15,0 0-15,-1 13 0,1-13 16,-13 0-16,-13 0 0,-1 0 0,0 0 16,1 0-16,-14 0 0,0 0 0,1 0 15,-1 0-15,0 0 0,0 0 16,1 0-16,-1 0 0,0 0 31,0-13-15</inkml:trace>
  <inkml:trace contextRef="#ctx0" brushRef="#br0" timeOffset="6094.49">6588 3440 0,'27'-14'15,"-14"14"1,0 0-16,0 0 0,14 0 15,-1 0-15,27 0 0,-13 0 0,13 0 16,0 0-16,0-13 0,-1 13 0,1 0 16,0 0-16,0 0 0,0 0 0,-13 0 15,-14 0-15,14 0 0,-14 0 0,1 0 16,-1-13-16,-12 13 0,12 0 16,-13 0-16,14 0 0,-14 0 0,0 0 15,0 0-15,14 0 16,-14 0-1,0 0-15,1 0 16,-1 0 0,0 0 15,0 0 31</inkml:trace>
  <inkml:trace contextRef="#ctx0" brushRef="#br0" timeOffset="7254.04">10345 3466 0,'40'0'16,"-27"0"-16,14 0 0,-1 0 0,1 0 15,25 0-15,1 0 0,0 0 16,-13 0-16,13 0 0,0 0 0,0 0 15,0 0-15,0 0 0,-1 0 0,-12 13 16,13-13-16,-13 0 0,-14 0 16,14 0-16,-14 0 0,1 0 15,-1 0-15,-13 0 0,14 0 0,-14 0 16,0 0-16,1 0 0,-1 0 0,0 0 16,0 0-16,1 0 15,-1 0-15,0 0 16,0 0-1,0 0 1,1 0 15,-1 0 1,-13-13 264,0 0-280,-13 13-16,13-13 16,-14 13-16</inkml:trace>
  <inkml:trace contextRef="#ctx0" brushRef="#br0" timeOffset="10514.94">3704 1508 0,'0'0'0,"27"-13"16,-14 13-16,0 0 16,27 0-16,-1 0 0,14 13 15,14 0-15,-1 1 0,0-1 0,13 0 16,14 14-16,13-14 0,-1 26 0,-12-12 15,0-14-15,12 14 0,1 12 0,-13-12 16,0-14-16,-14 13 0,0 1 16,1-1-16,-1-12 0,0 12 0,-12-13 15,12 14-15,-13-14 0,0 0 16,0 0-16,-13 1 0,-13-1 16,0-13-16,-1 13 0,-12-13 0,12 13 15,-25-13-15,-1 0 0,0 14 0,0-14 16,1-14-1,-14 1 1,-14 0-16,1 0 0,0-1 16,-14 1-16,-12-13 0,-1-1 0</inkml:trace>
  <inkml:trace contextRef="#ctx0" brushRef="#br0" timeOffset="11748.83">3982 1786 0,'-13'-27'47,"0"14"-32,13 0-15,-14 0 0,1 0 16,0-14-16,-14 1 0,14-1 0,-13 14 16,12-13-16,-12-1 0,13 14 15,-14-27-15,14 27 0,0 0 16,0-1-16,-1 1 0,1 0 0,0 0 15,0 0-15,13-1 0,-14 14 16,1-13-16,0 0 16,13 0-16,-13 13 0,13-14 15,-13 1-15,-1 0 32,41 13 14,-14 0-30,0 0-16,0 0 0,1 0 0,12 0 16,-13 0-16,14 0 0,-1 0 0,-12 0 15,12 0-15,0 0 0,-12 0 16,12-13-16,-13 13 0,14 0 16,-14 0-16,0 0 0,1 0 0,-1 0 15,0 0-15,0 0 16,0 0-16,1 0 15,-1 0 1,0 0-16,0 0 31,1 0-15,-14-14 31,0 28 203,0-1-235,-14 0 1</inkml:trace>
  <inkml:trace contextRef="#ctx0" brushRef="#br0" timeOffset="13810.92">3969 3373 0,'13'-13'110</inkml:trace>
  <inkml:trace contextRef="#ctx0" brushRef="#br0" timeOffset="14718.93">7078 3453 0,'13'-13'47,"-26"13"218,-1 0-234</inkml:trace>
  <inkml:trace contextRef="#ctx0" brushRef="#br0" timeOffset="17083.84">18547 2778 0,'40'0'31,"-27"0"-31,14 0 16,-1 0-16,1 0 0,12 0 0,1 0 15,13 0-15,-13 0 16,12 0-16,-12 0 0,13 13 0,-13-13 16,-14 0-16,1 0 0,-1 0 0,14 14 15,-27-14-15,0 0 0,1 0 16,-1 0-16,-40 13 31,14-13-15,-13 0-16,12 0 0,-12 0 0,-14 0 15,14 0-15,-14 0 0,14 0 0,-14-13 16,13 13-16,-12 0 0,12 0 0,1 0 16,-1 0-16,1 0 0,-1 0 15,14 0-15,0 0 0,0 0 0,0 0 16,-1-14-16,41 14 31,-14 0-15,0 0-16,27 0 15,-27 0-15,14 14 0,-14-14 16,13 0-16,-12 0 0,-1 0 0,13 0 16,-13 0-16,1 0 0,-1 0 0,0 0 15,0 0-15,14 0 16,-14 0-16,0 0 16,1 0-1,-1 0 16,0 0 438</inkml:trace>
  <inkml:trace contextRef="#ctx0" brushRef="#br0" timeOffset="19183">16933 3400 0,'-13'0'16,"0"0"-16,53-13 31,-27 13-31,13 0 0,1 0 15,12 0-15,14 0 0,0 0 16,0 0-16,0 13 0,13-13 0,14 0 16,-1 0-16,0 0 0,1 0 0,-1 13 15,0-13-15,1 0 0,-1 13 0,1-13 16,-1 14-16,0-14 16,-13 0-16,67 13 0,-80-13 0,0 0 15,-14 13-15,1-13 0,-14 0 16,14 0-16,-13 0 0,-14 0 15,13 0-15,-13 0 0,1 13 0,-1-13 16,0 0-16,0 0 0,1 0 16,-1 0-16,0 0 15,0 0-15,1 0 16,-1 0 31,0 0 15,-39 0 454,12 0-500</inkml:trace>
  <inkml:trace contextRef="#ctx0" brushRef="#br0" timeOffset="21267.84">5067 4154 0,'13'0'0,"0"0"16,14 0-16,-14 0 0,13 0 15,1 0-15,13 0 0,12-13 16,-12 13-16,13 0 0,13 0 16,-13-13-16,13 13 0,14 0 0,-14 0 15,13-14-15,-13 14 0,14-13 16,-14 13-16,0 0 0,-13 0 0,13-13 16,-13 13-16,0 0 0,0 0 0,-14-13 15,1 13-15,-13 0 0,12 0 16,-12 0-16,-1 0 0,-13 0 0,14 0 15,-14 0-15,0 0 0,1-14 0,-1 14 16,0 0-16,0 0 16,1 0-16,-1 0 0,0 0 15,0 0 17,0 0-17,1 0 16,-14-13 376,13 0-407</inkml:trace>
  <inkml:trace contextRef="#ctx0" brushRef="#br0" timeOffset="22455.76">21418 3466 0,'93'0'0,"304"26"15,-305-12-15,1-1 16,-1-13-16,1 13 0,0 0 16,-1 1-16,1-1 0,-14 0 15,0-13-15,-12 13 0,12 1 0,-13-1 16,-26-13-16,13 13 0,-27-13 16,1 13-16,-1-13 0,1 0 0,-14 0 15,0 0-15,0 0 0,1 13 0,-1-13 16,0 0-16,0 0 15,0 0-15,-39-13 79,13 13-79,0 0 0,-14 0 15,14-13-15,-14 13 0,-26-13 16,14 13-16</inkml:trace>
  <inkml:trace contextRef="#ctx0" brushRef="#br0" timeOffset="25786.85">14684 3956 0,'40'0'0,"674"-40"15,-700 40-15,-1 0 0,0 0 0,0 0 16,1 0-16,-1 0 0,0 0 16,0 0-16,1 0 15,-1 0-15,0 0 31,0 0 1,-13 13-17,13-13 1</inkml:trace>
  <inkml:trace contextRef="#ctx0" brushRef="#br0" timeOffset="29658.12">3175 4934 0,'-13'0'0,"66"-13"32,-27 13-32,1 0 0,-1 0 0,27 0 15,0 0-15,-13 0 0,12 0 16,1 0-16,14 0 0,-15 0 0,1 0 15,0 0-15,-13 0 0,13 0 16,-13 0-16,-1 13 0,-12-13 0,-1 0 16,1 0-16,-14 0 15,13 0-15,-12 0 0,-1 0 0,0 0 0</inkml:trace>
  <inkml:trace contextRef="#ctx0" brushRef="#br0" timeOffset="29923.85">3426 4974 0,'93'0'31,"-53"0"-31,-14 0 16,14 0-16,-1 0 0,1 0 0,0 0 15,0 0-15,-1 0 0,1 0 0,0 0 16,-14 0-16,-13 0 0,14 0 16,-1 0-16,-13 0 0,1 0 15,-1 0-15,0 13 0,0-13 0,1 0 16,-1 0-16</inkml:trace>
  <inkml:trace contextRef="#ctx0" brushRef="#br0" timeOffset="33915.78">12753 4974 0,'26'0'31,"-12"0"-15,-1 13-16,13-13 0,1 0 16,-1 0-16,1 14 0,-1-14 15,1 0-15,12 0 0,1 13 0,-14-13 16,14 13-16,-13-13 0,12 0 16,1 13-16,-14-13 0,14 0 0,-13 0 15,-1 14-15,0-14 0,1 0 0,-1 0 16,1 0-16,-1 0 0,1 0 0,-1 0 15,1 0-15,-1 0 0,-13 0 16,14 0-16,-1 0 0,-13 0 0,14-14 16,-14 14-16,0 0 0,14 0 0,-14 0 15,0 0-15,14 0 0,-14 0 16,0 0-16,0 0 0,1 0 16,-1-13-16,0 13 0,0 0 0,1 0 15,-1 0-15,0 0 0,0 0 0,1 0 16,-1 0-16,0 0 0,0 0 15,14 0-15,-14-13 0,0 13 16,0 0-16,1 0 0,-1 0 16,0-13-16,0 13 15,1 0-15,-1-14 16,0 14-16,0 0 16,0-13-16,1 13 15,-14-13-15,13 13 0,0-13 16,0 13-16,-13-14 15,14 14-15,-14-13 0,13 0 16,-13 0 0,13 0-16,-13-1 15,13 1-15,-13 0 16,0 0-16,0-1 16,0 1-16,0 0 15,0 0-15,0-1 0,0 1 0,-13 13 16,13-13-16,0 0 0,-13 0 15,13-1-15,-13 1 16,13-13-16,-14 26 16,14-14-16,-13 1 0,0 0 15,13 0-15,-13 13 0,-1-13 16,14-1-16,-13 14 0,13-13 16,-13 0-16,0 0 0,0-1 0,-1 14 15,14-13-15,-13 0 0,0 13 0,13-13 16,-13 13-16,-1-14 15,1 14-15,0-13 0,0 0 0,-1 13 0,1-13 16,0 0-16,0 13 0,-14-14 16,14 14-16,0-13 0,0 0 0,-1 13 15,1-13-15,-13 13 0,12-14 0,1 14 16,0 0-16,0-13 0,0 13 16,-1 0-16,1-13 0,0 13 0,0 0 15,-1-13-15,1 13 0,0 0 16,0 0-16,13-14 0,-14 14 0,1 0 15,0 0-15,0 0 0,13-13 0,-13 13 16,-1 0-16,1 0 0,0 0 16,0 0-16,-1 0 0,1 0 0,13-13 15,-13 13-15,0 0 0,0 0 0,-1 0 16,1 0-16,0 0 0,0 0 16,-1 0-16,1 0 0,0 0 15,0 0-15,-1 0 0,1 0 16,-13 13-16,13-13 15,-1 0-15,1 0 0,0 0 16,0 0-16,-1 0 0,1 0 16,0 0-16,13 13 0,-13-13 0,-1 0 15,1 0-15,0 0 0,0 0 16,0 0-16,13 14 0,-14-14 16,1 0-16,0 0 0,0 0 15,-1 13-15,1-13 0,0 0 16,0 0-16,13 13 15,-13-13-15,-1 0 0,1 13 0,0-13 16,0 14-16,-1-14 0,14 13 16,-13-13-16,0 0 0,0 13 15,-1 0-15,1-13 16,0 14-16,0-1 0,0-13 16,13 13-16,-14-13 0,1 13 15,0-13-15,13 13 0,-13-13 16,13 14-16,-14-14 0,14 13 15,-13 0-15,13 0 16,-13 1-16,13-1 0,-13-13 0,13 13 16,0 0-16,-14-13 0,14 14 15,-13-1-15,13 0 0,-13 0 16,13 0-16,-13-13 16,13 14-16,-13-1 15,13 0-15,-14-13 0,14 13 16,-13 1-16,13-1 15,-13 0-15,13 0 16,-13 0 0,13 1-16,0-1 15,0 0-15,0 0 16,-14 1-16,14-1 16,0 0-1,0 0-15,0 1 16,0-1-16,0 0 15,14-13-15,-14 13 0,0 0 16,13-13-16,-13 14 16,13-1-16,0-13 15,-13 13-15,14-13 0,-1 13 16,0-13-16,0 0 16,0 0-16,1 14 0,-1-14 0,0 0 15,14 0-15,-14 0 16,0 0-16,0 13 0,1-13 15,-1 0-15,0 0 0,0 0 16,0 0-16,1 0 16,-1 0-16,0 0 15,0 0 1,1 0 0,-1 0 15,-13-13 125,0-1-125,0 1-31,-13 13 16</inkml:trace>
  <inkml:trace contextRef="#ctx0" brushRef="#br0" timeOffset="41630.94">7713 5530 0,'26'0'0,"93"0"31,-79 0-31,0 0 0,12 0 0,15 0 16,-15 0-16,28 0 0,-14 0 15,13 13-15,1-13 0,-1 0 0,0 0 16,451 26 0,-464-12-1,-13-14-15,0 0 0,0 13 16,-14-13-16,14 0 0,-13 0 16,-14 13-16,1-13 0,-1 0 0,1 0 15,-14 0-15,0 13 0,0-13 0,1 0 16,-1 0-16,0 0 0,-39 0 31,-1 0-15,14 14-16,-27-14 0</inkml:trace>
  <inkml:trace contextRef="#ctx0" brushRef="#br0" timeOffset="41911.8">8625 5662 0,'0'0'0,"-39"-13"15,65 13 1,1 0-16,-1 0 16,1 0-16,12 0 0,1 0 15,13 0-15,0 0 0,0 0 0,0 0 16,0 0-16,13 0 0,-13 13 16,0-13-16,-14 0 0,14 0 15,-13 0-15,-14 0 0,14 0 0,-14 0 16,1 13-16,-14-13 0,14 0 0,-14 0 15,0 0-15,0 0 0,0 0 0,1-13 16,-28 0 15,1 0-31,-13 13 0,13-14 0,-14 1 16</inkml:trace>
  <inkml:trace contextRef="#ctx0" brushRef="#br0" timeOffset="42421.96">8281 5001 0,'120'0'31,"-68"13"-15,1-13-16,13 13 0,1-13 15,-1 13-15,0-13 0,13 14 0,-13-14 0,14 13 16,-14-13-16,13 0 0,-12 13 15,-15-13-15,1 13 0,0-13 0,-13 0 16,0 13-16,-1-13 0,-12 0 0,-1 0 16,1 14-16,-14-14 0,0 0 15,0 0-15,1 0 0</inkml:trace>
  <inkml:trace contextRef="#ctx0" brushRef="#br0" timeOffset="42740.11">8771 5106 0,'0'0'0,"40"0"16,-27 0 0,13 0-16,1 0 0,52 0 15,-26 14-15,0-14 0,13 0 16,-13 0-16,13 13 0,66 0 15,-79-13-15,0 0 0,0 13 16,-13-13-16,13 0 0,-13 14 0,-1-14 16,-12 0-16,12 0 0,-25 0 15,12 0-15,-13 13 0,14-13 0,-14 0 16,0 0-16,0 0 0,1 0 16,-1 0-1</inkml:trace>
  <inkml:trace contextRef="#ctx0" brushRef="#br0" timeOffset="53539.92">15558 10358 0,'-40'14'0,"80"-28"0,-107 28 16,54-14-16,0 13 0,-14-13 0,14 0 15,0 13-15,-13-13 0,12 0 16,1 13-16,0-13 0,0 14 15,13-1 1,0 0 0,13-13-16,-13 13 0,13-13 15,0 14-15,1-1 0,-1 0 0,0 0 16,0-13-16,-13 13 16,13-13-16,1 14 0,-14-1 0,13-13 15,-13 13-15,0 0 0,0 1 16,-13-1-16,-1 0 15,1-13-15,0 13 0,-27 0 16,27 1-16,0-14 0,-14 13 16,14-13-16,0 0 0,0 0 15,-1 0-15,1 0 16</inkml:trace>
  <inkml:trace contextRef="#ctx0" brushRef="#br0" timeOffset="53746.86">15597 10385 0,'13'-13'0,"-13"26"32,0 0-32,0 0 0,0 14 15,-13-14-15,13 14 0,-13-1 16,13-13-16,-13 14 0,0 26 15,13-27-15,-14-13 0,14 14 0,-13-14 16,13 0-16,0 0 0,0 1 16</inkml:trace>
  <inkml:trace contextRef="#ctx0" brushRef="#br0" timeOffset="54021.99">15690 10504 0,'-40'13'15,"27"-13"-15,13 13 0,-13-13 16,-1 0-16,14 14 0,-13-14 16,13 13-16,-13 0 0,26 0 15,-13 1 1,13-1-16,1-13 15,-1 13-15,0-13 0,0 0 16,1 0-16,-1 0 0,0 0 16,0 0-16,0 0 0,1 0 15,-1 0-15,0 0 0</inkml:trace>
  <inkml:trace contextRef="#ctx0" brushRef="#br0" timeOffset="54569.82">15981 10610 0,'13'-13'47,"-13"-1"-32,-26 28 32,26-1-31,-14 0 0,28 0-1,-14 0 1,13-13-16,0 0 15,0 0-15,1 0 16,-1 0 0,0 0-1,0 14-15,0-14 16,1 0 0,-1 0-16,0 0 15,0 0 1,1 0-1,-1 0-15,0-14 32,0 14-32,0-13 15,1 0 1,-14 0 0,13 13-16,0-13 15</inkml:trace>
  <inkml:trace contextRef="#ctx0" brushRef="#br0" timeOffset="54994.68">16682 10663 0,'26'0'0,"-12"0"0,-1 0 16,13 0-16,-12-14 0,25 14 0,94-13 31,-120 13-15,13 0-16,-13 0 0,1-13 15,-1 13-15,0 0 16,0 0-16</inkml:trace>
  <inkml:trace contextRef="#ctx0" brushRef="#br0" timeOffset="55315.76">16973 10504 0,'26'13'16,"-12"0"-1,-1-13-15,0 14 0,0-14 16,14 13-16,-14 0 0,14-13 0,-14 13 16,0 1-16,0-14 0,0 13 0,1 0 15,-1 0-15,0-13 0,-13 13 16,0 1-16,0-1 0,0 0 16,0 0-16,0 1 0,0-1 15,-13-13-15</inkml:trace>
  <inkml:trace contextRef="#ctx0" brushRef="#br0" timeOffset="56676.89">18203 10398 0,'14'13'31,"-14"1"-16,0-1-15,0 0 16,0 0-16,0 1 0,0-1 0,0 0 16,0 13-16,0-12 0,0-1 0,0 0 15,0 0-15,-14 1 0,14-1 0,0 0 16,0 0-16,0 0 0,0 1 16</inkml:trace>
  <inkml:trace contextRef="#ctx0" brushRef="#br0" timeOffset="57083.98">18468 10478 0,'0'0'0,"-13"-14"0,-1 14 16,1 14-16,0-1 15,13 0 1,-13 0-16,13 0 0,0 1 16,0 12-16,0-13 0,13 1 15,-13-1-15,13 0 0,0-13 16,-13 13-16,14-13 0,-1 0 16,0 0-16,0 0 0,1 0 0,-1 0 15,0-13-15,0 13 16,-13-13-16,14 13 0,-1-13 15,-13-1-15,0 1 0,0 0 16,0 0-16,0-1 16,0 1-16,-13 13 0,13-13 15,-14 13-15,14-13 0,-13 13 0,0-13 16,0 13-16,-1 13 16,1-13-16,0 13 15</inkml:trace>
  <inkml:trace contextRef="#ctx0" brushRef="#br0" timeOffset="57402.67">18746 10504 0,'-14'40'31,"14"-27"-15,14 0-16,-14 0 0,13-13 16,-13 14-16,13-14 0,0 13 15,1-13-15,-1 0 0,0 0 16,0-13-16,1 13 0,-1 0 16,0-14-16,0 1 15,-13 0-15,13 13 0,-13-13 16,0-1-16,-13 1 0,13 0 15,-13 0-15,13 0 0,-13 13 0,0-14 16,13 1-16,-14 13 0,1-13 16,-13 13-16,12 0 0,1-13 0,-13 13 15,-1 0-15,14 0 0,-13 0 0</inkml:trace>
  <inkml:trace contextRef="#ctx0" brushRef="#br0" timeOffset="57875.84">17912 10385 0,'0'13'0,"0"-26"0,-13 26 0,13 0 15,0 1-15,0-1 16,0 0-16,13 0 0,-13 1 16,14-1-16,-1 0 0,-13 0 0,26 14 15,-26-14-15,13 0 0,-13 0 16,14-13-16,-14 14 0,0-1 16,0 0-16,-14 0 0,14 0 0,-13 1 15,0-1-15,0 0 0,0-13 16,-1 13-16,-12 1 0,13-14 0,-1 13 15,-12-13-15,13 13 0,-1-13 0,1 0 16,0 0-16,0-13 16</inkml:trace>
  <inkml:trace contextRef="#ctx0" brushRef="#br0" timeOffset="58098.86">17939 10200 0,'0'0'0,"-13"26"16,-1-13-16,14 14 16,-13 13-16,0-1 0,13 1 15,-13 0-15,-1-1 0,14 1 0,-13 0 16,13 13-16,-13-14 0,13 1 0,-13 13 16,13-13-16,-14-1 0,14-12 0,0 12 15,0-12-15,-13-14 0,13 14 16,13-14-16,-13 0 0,0 0 15,0 14-15</inkml:trace>
  <inkml:trace contextRef="#ctx0" brushRef="#br0" timeOffset="58646.76">17714 11060 0,'0'0'0,"53"13"15,-27-13-15,1 0 0,-1 13 16,27-13-16,-13 13 0,13-13 15,13 13-15,0-13 0,0 0 0,0 0 16,0 0-16,-13 0 0,27 0 0,-14 0 16,0-13-16,0 13 0,0-13 15,53 0-15,-53 0 0,-13-14 16,40 1-16,-40-1 16,-13 1-16,13-1 0,-27 1 0,14-1 15,-1-12-15,1-1 0,-13 0 16,25-26-16,1-13 15,-26 39-15,-14 0 0,0 1 0,0-1 16,-13-13-16,0 13 0,-26-26 16,0 13-16,-27 0 0,-93-79 15,54 79-15,-1 14 0,-119-41 16,106 67-16,-13-14 0,27 14 16,-1 13-16,1 0 0,-1 0 0,14 0 15,-14 13-15,27 14 0,-14-14 0,14 14 16,0-1-16,13 1 0,0-1 0,0 14 15,14-14-15,12 14 16,-26 26-16,40-26 0,0-1 0,13 14 16,0-13-16,13 0 0,-13-1 15,27 14-15</inkml:trace>
  <inkml:trace contextRef="#ctx0" brushRef="#br0" timeOffset="58950.83">18322 11245 0,'-13'26'0,"26"-52"0,-39 65 16,13-25-16,13-1 0,-14 13 0,1-12 15,0 25-15,13-12 0,-13-1 0,0 1 16,-1 12-16,14-12 0,-13-1 16,13 1-16,-13-1 0,0-13 0,13 14 15,-14-1-15,14-12 0,-13 12 0</inkml:trace>
  <inkml:trace contextRef="#ctx0" brushRef="#br0" timeOffset="59319.76">18296 11218 0,'-27'0'15,"54"0"-15,-67 0 0,14 0 0,13 14 0,-14-1 16,1-13-16,12 13 0,-25 0 16,26 0-16,-14 1 0,1-1 0,12 0 15,-25 0-15,25 1 0,1-14 16,13 13-16,-13-13 16,39-27 15,-12 27-31,-1 0 15,0-13-15,0 13 0,1 0 16,12 0-16,-13 0 0,1 0 16,12 0-16,-13 0 0,14 0 0,-1 0 15,1 13-15,-1-13 0,-13 0 16,27 0-16,-14 14 0,1-14 0,-1 0 16,-12 13-16,12 0 0,-13-13 0,0 13 15,1 1-15</inkml:trace>
  <inkml:trace contextRef="#ctx0" brushRef="#br0" timeOffset="59595.86">18283 12118 0,'-93'53'15,"67"-27"1,-1 1-16,-12 12 0,12 1 0,-13 0 16,1-1-16,12 1 0,-12-13 0,12-1 15,1 14-15,12-14 0,-12-13 16,13 14-16,-1-14 0,1-13 15,13 13-15</inkml:trace>
  <inkml:trace contextRef="#ctx0" brushRef="#br0" timeOffset="59799.71">17846 12263 0,'27'27'0,"-54"-54"0,80 67 16,-40-27-16,1 1 0,12 12 0,0 0 15,14-12-15,-13 12 0,12-13 16,1 1-16,0 12 0,-1-13 16,1 1-16,-14-1 0,14 0 0,-13 0 15,-14 0-15,13-13 0,-26 14 16,14-14-16,-1 0 0,0 13 0,0-13 16</inkml:trace>
  <inkml:trace contextRef="#ctx0" brushRef="#br0" timeOffset="60614.69">18666 12250 0,'0'-39'0,"0"78"0,0-105 0,0 53 16,-13-14-16,13-12 0,-13 12 0,0-12 0,-14-14 16,1 0-16,-1 13 0,-12 0 15,-1 1-15,0-1 0,-13 0 16,-66 1-16,53 12 0,0 14 16,0 13-16,-14-13 0,28 13 0,-28 0 15,14 13-15,0 0 0,0 0 16,0 14-16,-1-1 0,1 14 0,13-14 15,-13 14-15,13 13 0,0-13 16,0 13-16,14 0 0,-1-1 0,14 1 16,-1 14-16,1-15 0,12 15 15,14-1-15,-13-13 0,40 79 16,-1-79-16,1 0 0,-1 0 0,14 0 16,-1-14-16,14 1 0,0 0 15,0-14-15,0 14 0,13-27 0,-13 14 16,13-14-16,-13 0 0,0-13 0,0 13 15,-13-13-15,13 0 0,0-13 0,-14 13 16,14-13-16,-13 0 0,0-1 16,13-12-16,-14 13 0,14-14 0,-13-13 15,-1 14-15,1 0 0,0-14 0,0 0 16,-1 0-16,1 14 0,-14-14 16,1-13-16,-1 14 0,1-14 15,-1 13-15,-13-13 0,14 0 0,-14 14 16,0-1-16,1-26 0,-14 26 15,0 14-15,0-14 0,-14 13 16,1-12-16,-13 12 0,-1 1 0,-12-14 16,-1 14-16,-13-1 0,0 1 0,-13 13 15,0-14-15,0 14 0,-1 0 0,-12-1 16,13 1-16,-13 13 0,-1 0 16,1 0-16,26 0 0,-27 0 0,28 13 15,-1-13-15,0 14 0,13-14 0,0 13 16,1 0-16,12 0 0,1 1 15,26-1-15,0 0 0,0 0 16,13 0-16</inkml:trace>
  <inkml:trace contextRef="#ctx0" brushRef="#br0" timeOffset="60807.92">18944 12343 0,'-13'0'0</inkml:trace>
  <inkml:trace contextRef="#ctx0" brushRef="#br0" timeOffset="65287.7">14565 5583 0,'40'-14'0,"-80"28"0,93-28 0,-26 14 15,-1 0-15,1 0 0,26-13 16,-1 13-16,1 0 0,27 0 0,-1 0 0,80 0 16,-80 0-16,1 0 15,-1 0-15,0 0 0,1 13 16,65-13-16,-92 14 0,0-14 15,0 0-15,0 13 0,-13-13 0,-14 0 16,1 13-16,-1-13 0,-13 0 0,0 0 16,1 13-16,-1-13 0,-40 14 15,1-14 1,-14 0-16,-13 13 0,0-13 0,1 0 16,-1 0-16,-27 13 0,1-13 15,0 0-15,-1 0 0,14 0 0,-13 0 16,12 0-16,15 0 0,-1 0 15,0 13-15,13-13 0,0 0 16,27 0-16,-13 0 0,12 0 0,1 0 0,13-13 16,27 13-1,-14 0 1,27 0-16,12-13 0,1 13 0,0 0 16,27 0-16,-1 0 0,0 0 0,1-13 15,12 13-15,1 0 0,-14 0 16,1 0-16,-1 0 0,1 0 0,-1 0 15,0 0-15,-13 0 0,-13 0 0,0 0 16,0 0-16,0 0 0,-13 0 16,-14 13-16,1-13 0,-14 0 0,0 0 15,0 0-15,-13 13 0</inkml:trace>
  <inkml:trace contextRef="#ctx0" brushRef="#br0" timeOffset="66203.59">15346 5014 0,'0'0'0,"66"0"0,-40 0 0,14 0 15,13 0-15,0 13 0,26-13 16,1 0-16,-14 0 0,13 0 0,1 0 16,-1 13-16,0-13 0,1 0 0,-1 0 15,-13 0-15,0 14 0,-13-14 0,0 0 16,-13 0-16,0 0 16,-1 13-16,-25-13 0,12 0 0,-13 0 15,0 0-15,1 0 0,-41 13 31,1-13-31,-1 0 0,1 13 0,-27-13 16,0 0-16,13 0 0,-26 13 0,0-13 16,0 0-16,-14 14 0,14-14 15,-13 0-15,0 0 0,12 13 0,1-13 16,13 0-16,-13 0 0,13 0 0,-13 0 16,13 0-16,14 0 15,-1 0-15,13 13 0,1-13 0,0 0 16,-1 0-16,67-13 31,-14 13-15,14 0-16,13 0 0,0 0 0,13 0 15,13 0-15,-13 0 0,14 0 16,-1 0-16,1 0 0,-1 0 0,0 0 16,1 0-16,-1 0 0,-26 0 15,0 0-15,0 0 0,0 0 0,-14 0 16,-12 0-16,-1 13 0,1-13 15,-1 0-15,-13 0 0,1 0 0,-1 0 16,0 0-16,0 0 0,1 0 0,-1 0 16,0 0-1,0 0-15,1 0 16,-1 13 0,0-13-16,0 0 15,0 0-15,1 0 0,-1 0 16</inkml:trace>
  <inkml:trace contextRef="#ctx0" brushRef="#br0" timeOffset="93326.8">20876 5569 0,'-14'0'0,"28"0"0,-41-13 15,27 0 1,13 13-1,1 0-15,-1 0 16,0 0-16,14 0 0,12 0 16,1 0-16,0 0 0,13 0 15,-1 0-15,1 0 0,0 0 0,0 0 0,0 0 16,0 0-16,0 0 0,-27 0 16,14 0-16,-13 13 0,-1-13 15,0 0-15,-12 0 0,-1 0 0,-13 13 16</inkml:trace>
  <inkml:trace contextRef="#ctx0" brushRef="#br0" timeOffset="93515.74">21021 5609 0,'106'0'31,"-66"0"-31,-14 0 15,27 13-15,-13-13 0,-14 0 0,14 0 16,-14 0-16,14 0 0,13 0 16,-27 14-16,-12-14 0,12 0 15</inkml:trace>
  <inkml:trace contextRef="#ctx0" brushRef="#br0" timeOffset="97378.87">6059 6138 0,'0'0'0,"66"0"0,-26 0 0,-1-13 15,14 13-15,14 0 0,-1 0 0,0-13 16,13 13-16,-13 0 0,14 0 0,-27 0 15,13 0-15,-13 0 0,13 0 16,-13 0-16,0 0 0,0 0 0,0 0 16,-27 0-16</inkml:trace>
  <inkml:trace contextRef="#ctx0" brushRef="#br0" timeOffset="97612.07">6773 6231 0,'27'0'0,"-1"0"16,107 0 0,-81 0-16,1 0 0,-13 0 15,13-13-15,0 13 0,0 0 0,-14 0 16,-12 0-16,13 0 0,-14 13 15,1-13-15,-1 0 0,14 0 0,-14 0 16</inkml:trace>
  <inkml:trace contextRef="#ctx0" brushRef="#br0" timeOffset="98147.56">8903 6191 0,'0'0'0,"13"0"0,14-13 16,-14 13-16,27 0 0,0-13 0,12 13 16,15 0-16,12-13 0,-13 13 15,13 0-15,-12-14 0,12 14 0,80 0 16,-80 0-16,-26 0 0,13 0 15,-13 0-15,0 0 0,0 0 16,0 0-16,-27 14 0,14-14 0,-27 0 16,14 0-16,-14 0 0,0 13 15,0-13-15</inkml:trace>
  <inkml:trace contextRef="#ctx0" brushRef="#br0" timeOffset="98426.58">9247 6204 0,'159'0'32,"-106"0"-32,-13 0 0,12-13 15,1 13-15,14 0 0,-15 0 0,1 0 16,0 0-16,0 0 0,-13 0 0,13 0 15,-14-13-15,-12 13 0,13 0 16,-14 0-16,1 0 0,-1 0 0,-13 0 16,27 0-16,-27-13 0,0 13 15,14 0-15,-14 0 0,0 0 16,1 0-16,-1 0 0,0 0 0</inkml:trace>
  <inkml:trace contextRef="#ctx0" brushRef="#br0" timeOffset="100841.74">20214 6337 0,'0'0'16,"66"0"-16,-26 0 0,-14 0 0,14 0 15,13 0-15,-13 13 0,13-13 0,0 0 16,0 0-16,-1 0 0,1 0 0,0 13 16,0-13-16,13 0 0,-13 0 15,0 0-15,-13 13 0,13-13 16,-27 0-16,14 0 0,-14 0 0,1 0 16,-1 0-16,1 0 0,-1 0 15,1 0-15,-14 0 0,0 0 16</inkml:trace>
  <inkml:trace contextRef="#ctx0" brushRef="#br0" timeOffset="101223.74">20307 6390 0,'0'0'15,"211"13"1,-171-13-16,13 0 0,0 0 0,13 13 15,-26-13-15,13 0 0,0 13 16,0-13-16,-1 0 0,-12 14 0,13-14 16,-13 0-16,-14 0 0,1 13 15,-1-13-15,-13 0 0,14 0 0,-14 0 16,0 0-16,0 0 0,1 13 16,-1-13-16,0 0 0,0 0 15,-13-13-15</inkml:trace>
  <inkml:trace contextRef="#ctx0" brushRef="#br0" timeOffset="101687.55">20677 6218 0,'27'13'15,"-14"-13"-15,27 13 0,-14-13 16,0 0-16,27 13 0,-26 1 15,65-1 1,-65-13-16,26 13 0,-27-13 16,-12 0-16,12 13 0,-13-13 15,0 0-15,1 0 0,-1 14 0,0-14 16,0 0-16,1 0 0,-1 0 16,0 0-1,0 13 1,0-13-16</inkml:trace>
  <inkml:trace contextRef="#ctx0" brushRef="#br0" timeOffset="103479.67">1164 4313 0,'-13'-14'0,"26"28"0,-39-28 16,12 14-16,1 0 0,0 0 15,0 0-15,-14 0 0,1 0 16,-1 0-16,1 14 0,-1-14 0,-25 13 15,38 0-15,-12 0 0,-1 14 16,1-14-16,13 14 0,0-1 16,-1 0-16,1 14 0,13-13 0,0 12 15,13 1-15,-13 13 0,14-13 0,-1 12 16,0 1-16,0 14 0,0-15 16,-13 15-16,14-14 0,-14-1 0,0 1 15,0 40-15,0-53 0,-14-1 16,14-12-16,-13 13 0,13-27 15,-13 13-15,0 1 0,0-14 0,-1 0 16,14 0-16,-26 1 16,13-14-16,-1 0 0,1-14 15,13 1-15,13 13 32,1 13-32,12 14 0,1-1 15,-14 27-15,13 0 0,-13 13 16,1 14-16,-1-1 0,0 40 0,-13-13 15,0-14-15,13-12 0,-13 12 0,0 1 16,0-14-16,0 14 0,-13 53 16,26-80-16,-13 0 0,0-13 15,0-14-15,0 1 0,14 13 0,-14-26 16,13-1-16,-13 0 16,13 1-16,0-14 0,-13 0 0,13-13 15,1 14-15,-1-14 0,0 0 0,0 0 16,1-14-16,-1 14 15,0-13-15,14-13 0</inkml:trace>
  <inkml:trace contextRef="#ctx0" brushRef="#br0" timeOffset="108567.87">1998 7805 0,'-14'0'16,"54"0"0,-13 0-16,52 0 15,-26-13-15,0 13 0,13 0 16,13-13-16,-13 13 15,14-13-15,-14 13 0,13 0 0,-26-14 16,66 14-16,-66 0 0,0 0 16,-13-13-16,-1 13 0,1 0 15,-13 0-15,12 0 0,-12 0 0,-1 0 16,14 0-16,-27 0 0,0 0 16,1 0-16</inkml:trace>
  <inkml:trace contextRef="#ctx0" brushRef="#br0" timeOffset="108900.73">2381 7911 0,'40'0'31,"-14"0"-31,14 0 0,0-13 0,26 13 15,0-13-15,0 13 0,14-14 0,-14 14 16,13 0-16,-13-13 0,-13 13 16,27 0-16,-28-13 0,1 13 0,0 0 15,0 0-15,0 0 0,-13 0 0,-1 0 16,-12-13-16,13 26 16,-14-13-16,1 0 0,-1 0 0,-13 0 15,14 0-15,-14 0 0,0 0 0,0 0 16,1 0-16,-1 0 0,0 0 15,0 0-15,1 0 16,-1 0 0</inkml:trace>
  <inkml:trace contextRef="#ctx0" brushRef="#br0" timeOffset="109679.7">6469 7832 0,'27'0'0,"-14"0"0,93-14 31,-67 14-31,1 0 0,13 0 0,-13-13 15,12 13-15,1 0 0,40 0 16,-40 0-16,-13 0 0,-14 0 0,14 0 16,-14-13-16,1 13 0,-14 0 15,13 0-15,-12 0 0,-1 0 0,0 0 16,0 13-16</inkml:trace>
  <inkml:trace contextRef="#ctx0" brushRef="#br0" timeOffset="110043.46">6548 7885 0,'106'-14'31,"-79"14"-31,26 0 0,-14-13 15,-12 13-15,12 0 0,14 0 16,-13 0-16,13 13 0,-13-13 0,-1 0 16,1 0-16,0 0 0,-14 0 15,14 0-15,-14 0 0,27 0 16,-40 0-16,14 0 0,-14 0 0,0 0 16,1 0-16,-1 14 0,0-14 0,0 0 15,1 0-15,-1 0 16,0 0-1,0 0 1,0 0 0,1 0-1,-14-14 1</inkml:trace>
  <inkml:trace contextRef="#ctx0" brushRef="#br0" timeOffset="110942.71">14301 7832 0,'39'-14'0,"-78"28"0,92-28 0,-27 14 16,-13 0-16,1 0 0,12 0 16,-13 0-16,14 0 0,-14 0 0,13-13 15,-12 13-15</inkml:trace>
  <inkml:trace contextRef="#ctx0" brushRef="#br0" timeOffset="111227.45">14221 7871 0,'40'27'31,"-27"-27"-31,1 0 16,12 0-16,-13 0 0,14 13 0,-1-13 15,-13 0-15,14 0 0,-1 0 16,-13 13-16,14-13 0,-1 0 0,-12 0 16,-1 0-16,0 0 0,0 0 15,1 0-15,-1 0 0,0 0 0,0 0 16,0 0-16,1 0 0,-1 0 15,0 0-15</inkml:trace>
  <inkml:trace contextRef="#ctx0" brushRef="#br0" timeOffset="112114.49">21696 7818 0,'119'0'31,"-93"14"-31,14-14 0,0 0 0,13 0 16,-14 0-16,14 13 0,0-13 15,-13 0-15,13 0 0,-14 0 0,14 13 16,-13-13-16,-13 0 0,-1 0 0,-13 0 15,14 0-15,-14 0 0,0 13 16,0-13-16</inkml:trace>
  <inkml:trace contextRef="#ctx0" brushRef="#br0" timeOffset="112374.82">22079 7898 0,'53'13'0,"-106"-26"0,120 26 0,-41 0 0,-13-13 15,14 14-15,-1-14 0,1 13 16,-1-13-16,-13 0 0,14 13 16,-14-13-16,0 13 0,1-13 0,-1 0 15,0 0-15,0 0 0,0 13 0,1-13 16,-1 0-1,-13 14-15,13-14 16</inkml:trace>
  <inkml:trace contextRef="#ctx0" brushRef="#br0" timeOffset="113231.5">8572 7197 0,'-13'-14'15,"53"14"1,-14 0-16,1 0 16,-1 0-16,14 0 0,0-13 0,-1 13 15,14 0-15,0 0 0,0 0 0,0 0 16,0 0-16,0-13 16,0 13-16,-13 0 0,105 13 31,-119-13-31,-12 0 0,-1 0 15</inkml:trace>
  <inkml:trace contextRef="#ctx0" brushRef="#br0" timeOffset="113596.46">8758 7250 0,'39'0'16,"-25"-14"-16,12 14 0,-13 0 0,14 0 15,-1 0-15,1-13 0,-1 13 16,14 0-16,-14 0 0,14 0 16,-14 0-16,1 0 0,13 0 0,-14 0 15,1 0-15,-1-13 0,-13 26 0,14-13 16,-1 0-16,-13 0 0,1 0 15,-1 0-15,0 0 0,0 0 0,0 0 16,1 0-16,-1 0 16,0 0-16,0 0 15,1 0 1,-1 0 15,0 0-15,0-13-16</inkml:trace>
  <inkml:trace contextRef="#ctx0" brushRef="#br0" timeOffset="115079.92">9485 6932 0,'14'13'47,"-1"-13"-47,0 0 16,0 14-16,0-14 0,1 0 0,-1 13 15,0-13-15,0 0 0,1 13 16,-1-13-16,0 13 0,0-13 16,1 13-16,-1-13 0,-13 14 15,0-1 1,-13 0-16,-1 0 15,1-13-15,13 14 16,-13-14-16,0 13 0,-1-13 0,1 13 16,13 0-16,-13-13 0,0 14 0,-1-14 15,1 13-15,0-13 0,0 13 16,0 0 0</inkml:trace>
  <inkml:trace contextRef="#ctx0" brushRef="#br0" timeOffset="115534.4">9869 6945 0,'13'0'0,"27"0"31,-27 0-31,-13 14 0,0-1 16,0 0-16,0 0 16,-13-13-16,13 13 0,0 1 15,-13-14-15,13 13 0,13 0 16,-13 0-16,13-13 0,0 14 16,1-1-16,-1-13 15,0 13-15,0 0 16,0 1-16,-13-1 15,-13 0-15,13 0 0,-13-13 16,0 13-16,0 1 0,-1-1 16,1-13-16,-13 13 0,12-13 0,1 13 15,0-13-15,0 0 0,-1 14 0,1-14 16</inkml:trace>
  <inkml:trace contextRef="#ctx0" brushRef="#br0" timeOffset="116563.42">16656 7131 0,'-67'0'16,"54"13"-16,0-13 16,0 0-16,-1 13 0,1-13 0,0 13 15,0 0-15,0-13 16,-1 14-16,1-1 15,0-13-15,13 13 0,-13 0 16,13 1-16,0-1 16,13-13-16,-13 13 0,13 0 15,0-13-15,1 0 0,12 13 16,-13-13-16,27 0 16,-27 0-16,14 0 0,-14 0 15</inkml:trace>
  <inkml:trace contextRef="#ctx0" brushRef="#br0" timeOffset="116971.83">16880 7117 0,'14'27'47,"-1"-14"-47,0 0 15,0 0-15,1-13 0,-1 14 16,-13-1-16,13 0 0,0 0 0,0 1 16,1-1-16,-14 0 0,13 0 15,-13 0-15,-13 1 16,13-1-16,-14-13 0,1 13 0,0 0 16,0 1-16,-14-14 0,1 13 15,13 0-15,-1 0 0,-12-13 0,13 14 16,0-14-16,-1 13 15</inkml:trace>
  <inkml:trace contextRef="#ctx0" brushRef="#br0" timeOffset="122943.57">16629 8414 0,'119'0'0,"40"0"31,-106 13-31,0-13 0,13 0 0,-13 0 16,0 0-16,0 0 0,0 0 0,-1 13 15,-12-13-15,13 0 0,0 0 0,-13 0 16,-1 13-16,1-13 0,-14 0 16,1 0-16,-14 0 0,14 0 0,-1 0 15,-13 0-15,1 0 0,-1 0 16</inkml:trace>
  <inkml:trace contextRef="#ctx0" brushRef="#br0" timeOffset="124841.83">16682 8453 0,'0'0'0,"53"0"0,-27 0 16,1 0-16,13 0 0,-1-13 16,14 13-16,0 0 0,0 0 0,0 0 15,0 0-15,0 0 0,0 0 0,-14 0 16,14 0-16,-26 0 0,12 0 16,-12 0-16,-1 0 0,1 0 0,-1 0 15,-13 0-15,14 0 0,-14 0 0,0 0 16,1 0-16,-1 0 0,0 0 15,0 0-15,0 0 0,1 0 16,-1 0 0,0-13-1,0 13 110,-26-13 188,13 0-282,-13 39 141,13-13-141</inkml:trace>
  <inkml:trace contextRef="#ctx0" brushRef="#br0" timeOffset="125739.57">6562 10186 0,'-14'80'16,"1"-27"-16,-13 13 15,13 13-15,-14 27 0,1 0 0,-41 145 16,28-118-16,12-1 0,-39 159 16,40-159-16,-1 14 0,1-14 15,-1-13-15,14 13 0,0-13 16,-14-13-16,14 13 0,0-26 0,0-14 16,-1 1-16,14-14 0,-13 0 0,0 0 15,0-13-15,13 0 0,-13-13 0,13-1 16,-14-12-16,1-1 0,13-13 15,0 1-15,-13-14 0,13 13 16</inkml:trace>
  <inkml:trace contextRef="#ctx0" brushRef="#br0" timeOffset="126108.56">4604 12475 0,'39'0'16,"-78"0"-16,92-13 0,-27 13 0,27 0 15,0 0-15,26-13 0,14 13 0,0 0 0,12-14 16,28 14-16,12-13 0,27 13 15,0-13-15,13 13 0,1-13 16,12 13-16,27 0 0,39-14 0,-39 14 16,53 0-16,-66 0 0,79 14 15,-13-14-15,-53 0 0,52 13 0,-65-13 16,66 13-16,-66-13 0,52 13 0,-65 1 16,-1-1-16,0-13 0,-12 13 15,-1 0-15,-13 1 0,-13-1 16,-1 0-16,-12 0 0,-27-13 0,-13 13 15,-27-26-15,1 13 0,-28 0 0,-12 0 16</inkml:trace>
  <inkml:trace contextRef="#ctx0" brushRef="#br0" timeOffset="128442.38">6032 12290 0,'14'0'16,"-1"0"-1,0 0-15,0 0 16,1 0-16,-1 0 0,13 0 16,-12 0-16,-1-13 0,26 13 15,-25-14-15,12 14 0,1-13 16,-1 13-16,-13-13 0,14 13 0,-1-13 16,1 13-16,-14-13 0,13-1 15,-12 14-15,12-13 0,-13 13 0,1-13 16,-1 0-16,13 13 0,-13-14 0,1 14 15,-1-13-15,0 13 0,0-13 16,1 0-16,12 13 0,-13-14 16,1 1-16,-1 13 0,0-13 0,0 0 0,0 13 15,1-13-15,-1-1 0,0 1 16,0 13-16,1-13 0,-1 0 16,0 13-16,0-14 0,0 1 0,1 0 15,-1 0-15,0 13 0,0-14 16,1 1-16,-1 0 0,0 0 0,0 0 15,1-1-15,12 1 0,-13 0 0,0 0 16,1-1-16,-1 1 0,13 0 16,-12 0-16,-1 0 0,0-1 0,0 1 15,1 0-15,-1 13 0,0-13 0,0-1 16,-13 1-16,13 0 0,1 0 16,-1-1-16,0 14 0,0-13 0,1 0 15,-14 0-15,13 0 0,0-1 0,0 1 16,0 0-16,1 0 15,12-1-15,-13 1 0,1 0 16,12-14-16,-13 14 0,1 13 16,-1-13-16,0 0 0,0 0 15,0-1-15,1 1 0,-1 13 0,0-13 16,0 0-16,-13-1 0,14 1 0,-1 0 16,0 13-16,0-13 0,1-1 15,-14 1-15,13 0 0,0 0 16,0 13-16,0-13 0,-13-1 0,14 1 15,-1 13-15,0-13 0,0 0 16,1-1-16,-1 1 0,0 0 16,0 0-16,1 13 0,-1-14 0,0 1 15,0 13-15,0-13 0,14-13 16,-14 26-16,0-14 0,1 14 16,-14-13-16,13 13 0,0-13 0,0 13 15,1-13-15,-1 13 0,0-14 16,0 14-16,0 0 0,-13-13 0,14 13 15,-1 0-15,0-13 0,0 13 0,1 0 16,-1-13-16,0 13 0,0 0 16,0 0-16,1-13 15,-1 13-15,0 0 0,0 0 0,1 0 16,-1 0-16,0-14 0,0 14 16,1 0-16,-1 0 0,0 0 15,0 0-15,0 0 0,1 0 0,-1 0 16,0 0-16,0 0 0,1 0 0,-1 0 15,13 0 1,-12 0-16,12 0 0,-13 0 16,0 0-16,1 0 0,12 0 0,-13 0 15,14 0-15,-27 14 16,13-14-16,0 0 0,0 0 0,1 0 16,-1 13-16,0-13 0,0 0 0,14 13 15,-14-13 1,0 13-16,1-13 0,-1 0 15,0 13-15,0-13 0,0 14 0,1-14 16,-1 13-16,0 0 16,0 0-16,1-13 0,-1 14 0,0-14 15,0 13-15,1 0 0,-14 0 0,13-13 16,0 13-16,0 1 0,0-1 0,1 0 16,-1 0-16,0 1 15,0-1-15,1 13 0,-1-12 16,0 12-16,14 0 15,-27-12-15,13-1 0,0 0 16,-13 0-16,13 1 0,0-1 0,1 0 16,-14 0-16,13 1 0,0 12 0,0 0 15,1-12-15,-1-1 16,0 0-16,-13 0 0,13 1 0,14 12 16,-27-13-16,13 1 0,0-1 15,0 0-15,1 0 0,-14 0 0,13-13 16,0 14-16,0-1 0,1 0 15,-1 0-15,0 1 0,0-1 0,27 13 16,-27 1-16,0-14 16,1 0-16,-1 0 0,0 1 0,0-1 15,14 0-15,-14 0 0,0 14 16,0-14-16,14 0 0,-14 0 0,14 14 0,-1-14 16,1 14-16,-1-1 0,0-13 15,1 14-15,-1-14 0,1 13 16,12 1-16,-12-14 0,39 40 15,-26-26-15,-1 12 0,28 1 16,-28-14-16,-12 1 0,12-14 16,-12 13-16,-1-12 0,14-1 0,-13 0 15,-1 0-15,-13-13 0,0 14 0,14-14 16,-14 13-16,0-13 0</inkml:trace>
  <inkml:trace contextRef="#ctx0" brushRef="#br0" timeOffset="131622.46">6138 12303 0,'-13'0'15,"0"0"1,0 0-1,52 0 32,-25 0-31,-1 0-16,0 0 0,0 0 16,14 13-16,-14-13 0,0 0 0,0 0 15,14 0-15,-14 0 0,0 0 16,14 0-16,-14 0 0,0 0 15,14 14-15,-14-14 0,13 0 0,-12-14 16,12 14-16,-13 0 0,14 0 0,-14 0 16,13 0-16,-12 0 0,12 0 15,-13 0-15,1 0 0,-1-13 0,0 13 16,14 0-16,-14 0 0,0 0 0,0 0 16,0 0-16,1 0 15,-1 0-15,0 0 0,0-13 0,1 13 0,-1 0 16,0 0-16,0 0 0,0-13 0,1 13 15,-1 0 1,0-14-16,0 14 0,1 0 0,-1 0 16,0-13-16,0 13 0,1 0 0,-1-13 15,0 13-15,0 0 0,0-13 16,1 13-16,-1 0 0,0-13 16,0 13-16,1 0 0,-1-14 0,0 14 15,0-13-15,1 13 16,-1 0-16,0-13 0,0 13 0,0-13 15,1 13-15,-1 0 0,0-14 16,0 1-16,1 13 16,-1 0-16,-13-13 0,13 13 0,0-13 15,0 13-15,-13-14 0,14 14 0,-1-13 16,0 13-16,-13-13 0,13 0 16,1 13-16,-14-13 0,13-1 15,0 14-15,0-13 0,1 0 0,-1 0 16,-13-1-16,13 14 0,0-13 0,0 0 15,-13 0-15,14-1 16,-1 1-16,-13 0 0,13 13 0,0-13 0,-13 0 16,14-1-16,-14 1 0,13 0 0,0 0 15,-13-1-15,13 1 16,-13 0-16,14 0 0,-14-14 16,13 27-16,-13-13 0,0 0 0,13 0 15,-13-1-15,0 1 0,0 0 16,13 0-16,0-40 15,-13 40 1,14-1-16,-14 1 0,0 0 0,0 0 16,0-1-16,0 1 0,13 13 15,-13-13-15,0 0 0,0-1 0,0 1 16,0 0-16,0 0 0,13 0 16,-13-1-16,0 1 0,0 0 15,0 0-15,13 13 0,-13-14 0,0 1 16,0 0-16,14 0 0,-14-1 0,0 1 15,13 0-15,-13 0 16,0 0-16,0-1 0,13-25 16,-13 25-16,13 1 0,-13 0 0,0 0 15,14-14-15,-14 14 0,0 0 0,0 0 16,13-1-16,-13-12 0,0 13 16,13-1-16,-13 1 0,0 0 0,13-27 15,14-39 16,-27 66-31,0-1 0,13 1 0,-13-13 0,13 13 16,-13-1-16,13 1 0,-13 0 16,14-27-16,-14 27 0,13 0 15,0-1-15,-13 1 0,13 0 16,-13 0-16,27-14 0,-27 14 0,13 0 16,0-14-16,0 14 15,-13 0-15,14 0 0,-1 0 16,0-14-16,0 1 0,1 12 15,-14 1-15,13 0 0,0 0 0,-13-1 16,13 1-16,0 0 0,-13 0 16,14 0-16,-1-1 15,0 1-15,-13 0 0,13 0 0,1-1 16,-1 1-16,0 0 0,-13 0 16,13 13-16,-13-14 0,14 14 15,-1-13-15,0 13 0,-13-13 16,13 13-16,0 0 0,1-13 15,-1 13 1,0 0 0,0 0-16,1 13 0,-1-13 15,0 0-15,0 13 16,1-13-16,-1 13 16,0-13-16,0 0 15,-13 14-15,13-1 0,1-13 0,-1 13 16,0 0-1,0 1-15,-13-1 16,14 0-16,-14 0 16,0 1-16,0-1 0,13-13 15,-13 13-15,0 0 0,0 0 0,0 1 16,0-1-16,0 0 0,13 14 16,-13-14-16,0 0 15,0 0-15,0 1 0,13 12 16,-13-13-16,0 0 15,0 1-15,0-1 0,13 0 0,-13 14 16,0-14-16,0 0 16,0 0-16,14 0 0,-14 1 15,0-1-15,0 0 0,0 0 16,13-13-16,-13 14 0,0-1 0,0 0 16,13 0-16,-13 1 0,0-1 15,13 13-15,-13-13 16,14-13-16,-14 27 0,0-14 15,13 0-15,-13 1 0,0-1 16,0 0-16,0 0 0,13-13 0,-13 27 16,0-14-16,0 0 0,13 0 15,-13 1-15,0-1 0,0 0 0,0 0 0,0 1 16,14-1-16,-14 13 16,0-13-16,0 1 0,0-1 0,13 0 15,-13 0-15,0 1 0,0 12 16,0-13-16,0 1 0,0-1 0,13 0 15,-13 0-15,0 0 16,0 1-16,13-1 0,-13 0 16,0 0-16,13-13 0,-13 14 0,0-1 15,0 0-15,14-13 0,-14 13 16,13 1-16,-13-1 0,0 0 16,13 0-16,0 0 15,-13 1-15,14-1 16,-14 0-16,13-13 0,0 13 15,-13 1-15,13-1 0,-13 0 16,14 0-16,-1 1 16,-13-1-16,13-13 15,-13 13-15,13-13 0,-13 13 16,13 0-16,-13 1 0,14-14 16,-14 13-16,13 0 0,-13 0 15,13 1-15,-13-1 16,13-13-16,-13 13 0,0 0 15,14 1-15,-14-1 16,0 0-16,13-13 0,-13 13 16,0 0-16,13-13 0,-13 14 15,0-1-15,0 0 0,13-13 16,-13 13-16,0 1 0,14-14 16,-14 13-16,13 0 0,-13 0 15,13 0-15,-13 1 0,13-14 16,0 13-16,1 13 0,-1-12 15,0-1-15,0 0 16,1-13-16,-1 13 0,-13 1 16,13-14-16,0 13 0,14 13 15,-14-26-15,0 13 0,14 14 16,-14-27-16,0 13 0,14 14 16,-14-27-16,0 13 0,13 13 15,-12-26-15,12 14 0,-13-1 16,1 0-16,-1 0 0,13 0 15,-12 1-15,12-1 0,27 27 16,-13-14 0,26 0-16,-40-12 0,40 12 15,-26-13-15,53 14 16,-67-14 0,1-13-16,-1 13 0,0-13 0,27 14 15,-39-14-15,12 0 16,-13 13-16,14-13 0,-14 0 0,0 0 15,-13-27 1,0 14-16,-13 0 0</inkml:trace>
  <inkml:trace contextRef="#ctx0" brushRef="#br0" timeOffset="132226.43">8850 10213 0,'-13'0'0,"0"0"0,39-13 31,-12 13-15,12-14-16,0 14 15,1-13-15,13 0 0,13 0 0,-14 13 16,14-13-16,-13-1 0,0 14 0,-14-13 16,0 13-16,-12-13 0,12 13 15,-13 0-15,-39-13 31,13 13-31</inkml:trace>
  <inkml:trace contextRef="#ctx0" brushRef="#br0" timeOffset="132542.44">8956 10014 0,'-26'14'16,"-14"25"-1,27-25-15,0-1 0,-1 0 16,-12 0-16,13 1 0,-1-1 0,1 13 16,0-13-16,0 1 0,-1-1 0,1 0 15,13 0-15,-13-13 0,13 27 16,0-14-16,0 0 15,13 1-15,0-14 16,1 0-16,-1 0 16,13 0-16,-12 0 0,-1 0 15,13 0-15,1-14 0,-14 14 0,13 0 16,1-13-16,-1 13 0</inkml:trace>
  <inkml:trace contextRef="#ctx0" brushRef="#br0" timeOffset="133119.35">9684 9816 0,'0'-13'0,"0"52"31,0-25-31,-13-1 16,13 0-16,0 0 0,0 1 0,0 12 15,0-13-15,0 1 16,0-1-16,0 0 0,0 0 16,13 14-16,0-14 0,0 0 15,0-13-15,1 13 16,-1-13-16,0 0 0,0-13 15,1 13-15,-1 0 0,0-13 0,0 13 16,0-13-16,1-1 0,-1 14 16,0-13-16,0 0 15,1 26 32,-14 0-31,13-13-16,0 0 15,-13 14-15,13-14 0,1 0 16,-1 13 0,0-13-16,0 0 15,0 0 1,1-13-16,-1 13 0,0-14 16,0 1-1,1 13-15,-1-13 0,0 13 16,0-13-16,1 13 0,-14-13 15,13 26 1</inkml:trace>
  <inkml:trace contextRef="#ctx0" brushRef="#br0" timeOffset="133627.69">9022 11245 0,'27'-13'16,"65"-14"-1,-65 14-15,-1 13 16,1-13-16,-1 13 0,1-14 0,-1 14 16,1-13-16,-1 13 0,-13 0 15,14 0-15,-14-13 0,0 13 0,0 0 16,1 0-16,-1 0 0,-13-13 15,13 13-15</inkml:trace>
  <inkml:trace contextRef="#ctx0" brushRef="#br0" timeOffset="133935.79">9393 10993 0,'0'0'0,"26"14"31,-13-1-15,1-13-16,-1 0 0,13 13 15,-12-13-15,-1 13 0,0-13 16,0 14-16,0-14 15,1 0-15,-1 13 0,-13 0 16,13-13-16,-13 13 0,-13 14 16,13-14-16,-13-13 15,13 13-15,-14 0 0,14 1 0,-13-1 16,13 0 0</inkml:trace>
  <inkml:trace contextRef="#ctx0" brushRef="#br0" timeOffset="134497.79">10054 10967 0,'0'13'0,"-13"14"31,13-14-15,13-40 31,0 27-47,-13-13 0,0 0 0,14 13 15,-14-13-15,0 0 0,13 13 16,-13-14-16,13 14 16,0 14-1,-13-1-15,14-13 16,-1 13-16,0 0 15,0-13-15,0 13 16,1-13-16,-1 0 16,0 0-16,0-13 15,1 13-15,-1-13 0,-13 0 16,13 0-16,-13-1 16,13 1-16,-13 0 0,0 0 15,0-1 1,0 1-1</inkml:trace>
  <inkml:trace contextRef="#ctx0" brushRef="#br0" timeOffset="134780.19">10372 10888 0,'0'0'0,"0"13"16,13 0-16,-13 0 15,0 1-15,0-1 16,13-13-16,0 13 0,1-13 16,-1 13-16,0-13 15,0 0-15,1 0 0,-14-13 16,13 13-16,0 0 0,0-13 16,-13 0-16,13-1 15,-26 14-15,13-13 16,-13 0-16,0 13 0,13-13 15,-13 13-15,-1 0 0,1 0 16,0 0-16,0 0 16,-1 0-16,1 13 0</inkml:trace>
  <inkml:trace contextRef="#ctx0" brushRef="#br0" timeOffset="135047.62">10636 10848 0,'13'0'0,"1"13"15,-14 0 1,0 1-16,0-1 16,0 0-16,13 0 15,-13 1-15,0 12 16,13-13-1,0-26 1,1 13-16,12-26 16,-13 12-16,1-12 0,12 13 15,-13-14-15,0 1 0,1-1 0,-1 1 16,-13 13-16</inkml:trace>
  <inkml:trace contextRef="#ctx0" brushRef="#br0" timeOffset="137527.74">5966 12382 0,'27'-13'47,"-14"13"-32,0 0-15,0 0 0,1-13 16,-1 13-16,0 0 0,0 0 16,1-13-16,-1 13 0,0 0 15,0 0-15,1-13 0,-1 13 0,13 0 16,-13-14-16,1 14 0,25-13 15,-12 13 1,-1-13-16,-12 13 0,-1 0 0,0-13 16,0 13-16,0-14 0,1 14 15,-1 0-15,0-13 0,0 13 0,1-13 16,-1 13-16,0 0 0,0-13 0,1 13 16,-1 0-16,0-13 0,0 13 15,0-14-15,1 14 0,-1 0 16,0-13-16,0 13 0,1-13 15,-1 13-15,0-13 0,0 13 16,1 0-16,-1-14 0,0 1 16,0 13-16,0-13 15,1 13-15,-1 0 0,-13-13 16,13 13-16,0 0 0,-13-14 0,14 14 16,-1 0-16,-13-13 0,13 13 15,0 0-15,0-13 0,1 13 16,-1-13-16,0 13 0,0-13 15,1 13-15,-1 0 0,0-14 0,0 14 16,1-13-16,-1 13 0,0 0 16,0-13-16,0 13 0,1 0 0,-1-13 15,0 13-15,0 0 0,1-14 16,-1 14-16,0-13 0,0 13 0,1 0 16,-1 0-16,0-13 0,0 13 15,0 0-15,1-13 0,-1 13 0,0 0 16,14-14-16,-14 14 0,0 0 15,0-13-15,0 13 16,1 0-16,-1-13 0,0 13 16,0 0-16,-13-13 0,14 13 0,-1 0 15,0-13-15,0 13 16,1 0-16,-14-14 0,13 14 16,0 0-16,0 0 15,0-13-15,1 13 16,-1-13-16,0 13 15,0 0-15,-13-13 16,14 13-16,-1 0 0,0-14 16,0 14-16,1 0 15,-1-13-15,0 13 16,0 0-16,0-13 16,1 13-16,-1 0 0,0-13 15,0 13-15,1 0 0,-1 0 16,0-13-16,0 13 0,1 0 15,-1 0-15,0 0 0,13-14 0,-12 14 16,-1 0-16,0 0 0,0 0 16,1 0-16,12 0 0,-13 0 15,1-13-15,-1 13 0,0 0 16,0 0-16,0 0 0,1 0 0,-1 0 16,0 0-16,0 0 0,1 0 0,-1 0 15,0 0-15,0 0 0,0 0 16,1-13-16,-1 13 15,0 0-15,0 0 0,1 0 0,12 0 16,-13 0-16,1 0 16,-1 0-16,0 0 0,0 0 0,0 0 15,1 0-15,-1 0 0,0 13 16,0-13-16,1 0 0,-1 0 0,13 0 16,-12 0-16,-1 0 0,0 0 15,0 0-15,0 0 0,14 13 0,-14-13 16,0 0-16,14 0 0,-14 0 0,0 0 15,0 0-15,14 0 0,-14 0 16,0 14-16,1-14 0,12 0 0,-13 0 16,1 0-16,-1 0 0,13 13 0,-13-13 15,1 0-15,-1 0 0,0 0 16,0 0-16,14 13 0,-14-13 16,0 0-16,1 0 0,-1 0 0,0 13 0,0-13 15,0 0-15,1 13 16,-1-13-16,0 0 0,-13 14 0,13-14 15,1 0-15,-1 13 0,0-13 0,-13 13 16,13-13-16,1 0 0,-1 13 0,0-13 16,-13 14-16,13-14 0,0 0 15,1 13-15,-1-13 0,0 0 0,0 13 16,1 0-16,-1-13 0,0 0 16,0 13-16,1-13 15,12 14-15,-13-14 0,0 0 0,1 13 16,-1-13-16,0 13 0,0-13 0,1 13 15,-1-13-15,0 0 0,0 14 16,0-14-16,14 13 0,-14-13 16,0 0-16,1 13 0,-1-13 0,0 13 15,0-13-15,1 0 0,-1 14 16,0-14-16,0 13 0,0-13 0,1 13 16,-1-13-16,0 0 0,0 13 0,1-13 15,-1 13-15,0-13 0,0 14 0,1-14 16,-1 0-16,0 13 15,0-13-15,0 13 0,1-13 0,-1 0 0,0 13 16,0-13-16,1 14 0,12-14 16,-13 13-16,0 0 0,1-13 15,-1 13-15,0-13 0,0 14 0,14-14 16,-27 13-16,26-13 0,-12 13 0,-1-13 16,0 13-16,0-13 0,0 13 15,-13 1-15,14-1 0,12-13 16,-13 13-16,-13 0 0,14-13 0,12 14 15,-26-1-15,13-13 0,1 13 0,-1-13 16,0 13-16,0-13 0,0 13 16,1-13-16,-1 14 0,0-14 0,0 13 15,1-13-15,-1 0 0,0 13 0,0-13 16,1 0-16,-1 13 0,0-13 16,0 0-16,14 0 0,-14 14 15,0-14-15,14 0 0,-14 0 0,0 0 16,0 0-16,1 0 15,-1 0-15,0 0 16,0 0-16,0-14 0,1 14 16,-1-13-16,-13 0 15</inkml:trace>
  <inkml:trace contextRef="#ctx0" brushRef="#br0" timeOffset="138044.28">9618 12065 0,'66'-26'32,"-40"26"-32,14-14 15,0 14-15,12-13 0,-12 0 16,13 13-16,0-13 0,-13 13 0,-1-14 0,1 14 15,0-13-15,-14 13 0,1 0 16,-1 0-16,1-13 0,-14 13 0,0 0 16,0 0-16,1 0 0,-1-13 0,0 13 15,0 0-15,0-14 16</inkml:trace>
  <inkml:trace contextRef="#ctx0" brushRef="#br0" timeOffset="138315.56">10226 11681 0,'40'-13'32,"-27"26"-32,0-13 15,1 14-15,12-14 0,0 13 0,1 13 16,-1-12-16,-12-1 0,12 0 15,-13 13-15,1-12 0,-1-1 16,0 0-16,-13 0 0,0 1 0,13-1 16,-26 13-16,13-13 0,0 1 0,-13-1 15,13 0-15,-13 0 0,13 1 0,-14-1 16,14 0-16,-13 0 0,13 1 16,-13-14-16</inkml:trace>
  <inkml:trace contextRef="#ctx0" brushRef="#br0" timeOffset="138835.6">10782 11628 0,'-27'27'15,"27"13"1,0-27-16,0 13 0,0-12 0,0-1 16,0 0-16,0 0 0,0 0 15,0 1-15,0-1 0,0 0 16,14 0-16,-14 1 15,0-41 17,0 14-17,0-14-15,0-12 0,13-1 16,-13 0-16,0 1 0,13 12 16,0 1-16,-13-1 0,13 1 0,1 13 15,-14-1-15,13 1 0,0 0 0,0 0 16,1-1-16,-1 14 15,0 0-15,0 14 0,1-14 16,-14 13-16,13-13 0,-13 26 16,0-12-16,0-1 15,0 0-15,0 0 0,-13 1 0,-1 12 16,1-13-16,0 0 0,13 1 0,-13-1 16,-1 0-16,1-13 15,13 13-15,-13 1 0,0-1 16</inkml:trace>
  <inkml:trace contextRef="#ctx0" brushRef="#br0" timeOffset="140410.53">11060 11642 0,'-53'13'31,"39"-13"-31,1 13 16,0 0-16,0 1 15,0-1-15,13 0 0,0 0 16,0 1-16,13-1 16,0 0-1,0-13 1,0 0-16,1 0 15,-1 0-15,0-13 16,0 13-16,1-13 16,-1-1-16,0 14 15,-13-13-15,13 0 16,0 0-16,-13-1 0,14 1 0,-14 0 16,13-14-16,-13 14 0,13-13 0,-13 13 15,0-1-15,13-12 0,-13 13 16,0-1-16,0 1 0,0 0 15,14 13-15,-14-13 0,-14 39 47,14-13-47,0 1 0,0-1 16,0 0-16,0 0 0,14 1 0,-14-1 16,0 0-16,13-13 15,-13 13-15,13 0 0,0-13 0,-13 14 16,14-14-16,-14 13 0,13-13 0,0 0 15,0 0 1,0 0-16,1 0 16,-14-13-16,13 13 0,0-14 15,0 14 17,-13-13-17,14 13 1,-1 0 31,0 0 31,-26-13 94,13 0-141,0 0-15,13 13-1,-13-14-15,0 1 0,0 0 16,0 0-16,13-1 0,-13-12 15,0 13-15,0-1 0,14 1 0,-14 0 16,0 0-16,0 0 0,0-1 0,0 1 16,13 0-1,-13 39 1,0-12 0,13-1-16,-13 0 0,0 13 0,0-12 15,13-1-15,-13 13 0,0-12 16,0-1-16,0 0 0,13 0 15,-13 1-15,0-1 0,0 0 16,0 0-16,-13 0 16,0-26-1,0 13 1,13-13-16,-13 13 0,13-13 16,0 0-1,0-1 1,13 1-16,0 13 15,0-13-15,0 13 16,1 0-16,-14-13 0,13 13 0,0 0 16,0 0-16,1-14 15,-1 14-15,0 14 16,0-14 0,1 13-16,-1 0 31,0-13-16,0 0 1,0 0-16,1 0 16,-1 0-16,0 13 0,0-13 15,1 14-15,-1-1 0,-13 0 16,13-13-16,-13 13 0,13 14 16,-13-1-16,0-13 0,-13 1 15,13-1-15,-13 0 0,13 0 16,-13 1-16,-1-1 0,14 0 0,-13 0 15,0-13-15,0 13 0,-1-13 16,1 0-16,0 0 16,0-13-16,13 0 15,0 0-15,0 0 16,13-1-16</inkml:trace>
  <inkml:trace contextRef="#ctx0" brushRef="#br0" timeOffset="140635.16">11933 11245 0,'13'26'16,"-13"-13"-1,-13 1-15,13-1 0,0 13 0,0-12 16,0 12-16,-14 1 0,14-1 0,-13 27 15,0-13-15,13-14 16,-13-13-16,13 14 0,-13-14 0,13 0 16,0 0-16,0 1 0</inkml:trace>
  <inkml:trace contextRef="#ctx0" brushRef="#br0" timeOffset="141267.7">12091 11483 0,'-39'-13'31,"12"13"-31,14 0 0,0 13 0,0-13 16,-1 13-16,1 0 15,0-13-15,13 14 0,-13-14 0,13 13 16,-14 0-1,28 0-15,-1 1 16,0-14-16,0 0 16,-13 13-16,14-13 0,-1 0 0,0 0 15,0 0-15,1 0 0,-1 0 16,0 0-16,0-13 0,0 13 0,1 0 16,-1 0-16,0 0 15,0 0-15,1 0 16,-1 0-1,0 13 1,0-13 15,-13 13-31,14-13 16,-1 0-16,0 0 16,0 0-16,0 0 15,1 13-15,-1-13 0,0 0 16,0 13-16,1-13 15,-14 14 1,13-14-16,-13 13 16,13-40 46,0 1-46,-13 13-16,13-14 0,1 14 15,-14-13-15,13 26 0,-13-14 0,0 1 16,13 0-16,-13 0 0,13-1 16,-13 1-16,14 13 15</inkml:trace>
  <inkml:trace contextRef="#ctx0" brushRef="#br0" timeOffset="141643.59">12502 11364 0,'0'0'0,"13"13"31,-13 0-31,0 1 16,0-1-16,13 0 0,-13 0 0,0 0 16,-13 1-16,13-1 0,0 0 0,0 14 15,-13-14-15,13 0 0,0 0 16,0 1-16,-14-14 0,14 13 0,0 0 16,-13-13-16,13 13 0,-13-13 31,39-13 0,-12 13-15,-14-13-16,26 13 15,-13 0-15,0 0 16,1 0-16,-1 0 16,0 13-16,0 0 15,-13 0 1,14 1-16,-28-14 15,14 13 1,0 0 0</inkml:trace>
  <inkml:trace contextRef="#ctx0" brushRef="#br0" timeOffset="141751.91">12740 11430 0,'-14'-13'15,"1"13"1</inkml:trace>
  <inkml:trace contextRef="#ctx0" brushRef="#br0" timeOffset="141859.57">12832 11549 0,'40'0'15,"-27"0"-15,0 0 16,1 0-1</inkml:trace>
  <inkml:trace contextRef="#ctx0" brushRef="#br0" timeOffset="214231.69">20518 9909 0,'0'-14'15,"0"1"-15,-13 66 47,13-26-47,-13 25 0,0 1 16,0 14-16,-1 12 0,1 14 0,-13 12 15,12 1-15,-12 0 0,-1 13 16,14-13-16,-53 132 0,40-132 16,-1 13-16,1-13 0,12 0 15,-12-14-15,13-12 0,-14-1 16,14-13-16,0 0 0,0 0 0,13 1 0,-14-15 16,1-12-16,13 13 0,-13-13 15,0-14-15,13 1 0,0-1 0,-14-13 16,14 14-16,-13-27 0,13 13 0,-13 0 15</inkml:trace>
  <inkml:trace contextRef="#ctx0" brushRef="#br0" timeOffset="214687.05">19711 12012 0,'40'0'16,"-13"0"-1,-1 0-15,27 0 0,0 0 16,0 0-16,39 0 0,-12 0 0,26 0 16,-1 0-16,1 0 0,27 13 0,12-13 15,14 0-15,-14 0 0,14 14 16,0-14-16,0 13 0,-1 0 0,1-13 15,0 13-15,0-13 0,-14 13 0,-13 1 16,1-14-16,-41 13 0,14-13 16,-26 13-16,12-13 0,-26 13 0,-13-13 15,0 0-15,-13 0 0,-14 0 16,-12 0-16,12 0 0,-13-13 16</inkml:trace>
  <inkml:trace contextRef="#ctx0" brushRef="#br0" timeOffset="-205270.11">1429 10557 0,'-13'-13'0,"26"26"0,-40-13 31,27 13-31,0 14 0,0-1 0,0 14 15,0-1-15,14 28 0,-14-1 0,13 0 16,0 0-16,0 0 16,0 13-16,1-12 0,-1 12 0,-13-13 0,13 0 15,0 14-15,1-14 0,-1 0 16,13 40-16,-26-66 16,14 12-16,-1-25 0,-13 13 0,13-14 15,-13 0-15,13-12 0,-13-1 0,0 0 16,13 0-16</inkml:trace>
  <inkml:trace contextRef="#ctx0" brushRef="#br0" timeOffset="-204955.52">913 11893 0,'-106'40'16,"132"-40"15,1-14-31,26 1 0,0-13 16,26-1-16,27-12 0,0 12 0,0-12 15,26-1-15,-13 0 0,26 0 0,1 1 16,0-1-16,12 0 0,1 1 16,13-1-16,-13 0 0,13 1 15,-14-1-15,1 13 0,0-12 0,0 12 16,-14 1-16,133-27 0,-159 26 15,93 1-15,-133 13 16,-13 0-16,0 13 0,-13-14 0,-13 14 16,0-13-16,-1 13 0,-25 0 15,-54 13 1,0-13-16</inkml:trace>
  <inkml:trace contextRef="#ctx0" brushRef="#br0" timeOffset="-202641.66">2593 10504 0,'0'0'0,"0"-13"15,13 0 1,0-1-16,1 14 15,-1 0-15,0 0 16,0 0-16,1 0 0,-14 14 16,13-14-16,-13 13 0,0 0 15,0 13 1,0-12-16,0-1 16,0 0-1,0 0-15,13-13 0,0 14 16,0-14-1,1 0-15,-1 13 0,0-13 16,0 0-16,-13 13 0,14-13 0,-14 13 16,0 0-16,0 1 15,0-1-15,-14 0 16,1 0-16,0 1 0,13-1 16,-27-13-16,14 13 0,13 0 0,-13-13 15,0 0-15,0 0 16,13-13-16,0 0 15,13-14-15</inkml:trace>
  <inkml:trace contextRef="#ctx0" brushRef="#br0" timeOffset="-202360.51">2858 10464 0,'0'0'0,"0"27"47,13-14-47,-13 0 15,13-13-15,0 13 0,0-13 16,1 0-16,-1 0 16,0 0-16,0 0 0,1 0 15,-1 0-15,0-13 0,-13 0 16,13 13-16,-13-13 0,0 0 16,-13-1-16,0 1 15,0 13-15,13-13 0,-14 13 16,1-13-16,0 13 0,0 0 0,-1-14 15,1 14-15,0 0 0,0 14 16,0-14-16,-1 13 0</inkml:trace>
  <inkml:trace contextRef="#ctx0" brushRef="#br0" timeOffset="-202041.57">3241 10358 0,'-13'0'0,"39"0"47,-12-13-47,-1 13 16,0 0-16,0 0 15,1-13-15,-1 13 0,0 0 0,0 0 16</inkml:trace>
  <inkml:trace contextRef="#ctx0" brushRef="#br0" timeOffset="-201626.42">3559 10094 0,'26'13'32,"-26"0"-32,13 1 0,-13-1 15,0 0 1,14 0-16,-1 0 15,-13 1-15,13-14 0,0 13 16,0-13 0,-13 13-16,14-13 0,-14 13 15,13 1 1,-26-1-16,13 0 16,-14 0-16,1 1 15,0-1 1,13 0-16,-13-13 0,13 13 15,-13-13-15</inkml:trace>
  <inkml:trace contextRef="#ctx0" brushRef="#br0" timeOffset="-201326.65">3863 10041 0,'-13'0'0,"26"0"0,-53 13 15,40 0 1,0 14 0,13-14-16,-13 0 15,14 1-15,-14-1 16,13 0-16,-13 0 0,13-13 15,-13 13-15,0 1 0,13-14 0,-13 13 16,-13 0-16,13 0 0,-13 1 16,0-1-16,-1 0 0,1 0 0,0-13 15,0 14-15,0-1 0,-14 0 0,14-13 16,-14 13-16,1-13 16</inkml:trace>
  <inkml:trace contextRef="#ctx0" brushRef="#br0" timeOffset="-196766.38">2791 10742 0,'27'-13'16,"-14"13"-16,14 0 15,-14-13-15,13 13 0,1 0 0,12-14 16,1 14-16,13-13 0,-13 0 0,13 13 16,-1-13-16,-12 13 15,13-14-15,0 1 0,0 13 0,-13-13 16,12 0-16,41-14 0,-53 14 15,13 0-15,-14 0 0,1-1 16,0 1-16,39-13 0,-39-1 16,0 14-16,-14 0 0,14 0 0,-14-14 15,14 14-15,-14 0 0,1-1 16,-1-12-16,-13 13 0,14 0 16,-14-1-16,0 1 0,1-13 0,-1 12 0,0 1 15,0 0-15,0-14 0,-13 14 0,14 0 16,-14 0-16,0 0 15,0-1-15,0 1 0,0 0 0,0 0 16,-14-1-16,1 1 0,13 0 0,-26 0 0,13-1 16,-14 1-16,1 0 15,-1 0-15,-12 0 0,-1-1 0,13 1 16,-12 0-16,-1 0 0,0-1 0,14 14 16,-14-13-16,0 13 0,14-13 15,-14 13-15,-13 0 0,14-13 0,-1 13 16,-13 0-16,0 0 0,13 13 0,-12-13 15,-15 13-15,1 0 0,13 1 16,-13-1-16,13 13 0,0-12 0,0-1 16,1 13-16,-1 1 0,13-1 15,-13 1-15,27-1 0,-14-13 0,0 27 16,14-27-16,-1 14 0,1-1 16,-1 1-16,1-1 0,13 1 15,-1-14-15,1 0 0,13 13 0,0-12 0,0-1 16,13 0-16,14 0 15,-14-13-15,27 0 0</inkml:trace>
  <inkml:trace contextRef="#ctx0" brushRef="#br0" timeOffset="-196329.69">4286 10041 0,'-13'0'0,"39"0"31,-12-13-31,12 13 15,-13 0-15,1 0 0,12 0 16,-13-14-16,14 14 0,-14 0 16,13-13-16,-12 13 0,12 0 0,-13 0 15,1-13-15,-1 13 0,0 0 16,0 0-16</inkml:trace>
  <inkml:trace contextRef="#ctx0" brushRef="#br0" timeOffset="-196037.6">4405 9882 0,'53'0'31,"-26"0"-31,-14 0 0,13 13 15,-12-13-15,-1 14 0,13-14 0,-12 13 16,-1-13-16,0 13 0,0 0 0,0-13 16,1 14-16,-1-1 15,-13 0-15,0 0 0,0 0 16,0 1-16,0-1 0,-13 0 0,13 0 16,-14 1-16,1-1 0,13 0 0,-13 0 15,0 1-15,13-1 16</inkml:trace>
  <inkml:trace contextRef="#ctx0" brushRef="#br0" timeOffset="-195632.11">5040 9710 0,'-13'13'0,"0"-13"15,0 14-15,-1-1 0,1 0 16,0 14-16,0-14 0,-1 0 0,1-13 15,13 13-15,-13 0 0,13 1 16,-13-14-16,13 13 0,-13 0 16,13 0-16,13-13 15,0 14-15,0-14 16,0 0-16,1 0 0,-1-14 16,13 14-16,-12 0 0,-1 0 15,13-13-15,-12 13 0,-1 0 0,13-13 16,-13 13-16,1 0 0,-1-13 15,0 13-15,-13-14 0,13 14 0,1 0 16,-14-13-16</inkml:trace>
  <inkml:trace contextRef="#ctx0" brushRef="#br0" timeOffset="-195398.43">5067 9671 0,'-13'0'0,"13"13"16,-14 0-16,14 0 16,0 0-16,0 1 15,0-1-15,0 0 0,0 0 16,0 27-16,0-27 0,0 0 16,0 1-16,0-1 0,0 0 0,0 0 15,0 1-15,0-1 0,0 0 16,14 0-16</inkml:trace>
  <inkml:trace contextRef="#ctx0" brushRef="#br0" timeOffset="-194778.6">5292 9631 0,'-14'0'16,"28"26"0,-1-26-1,-13 14-15,13-1 16,0 0-16,-13 0 15,0 0-15,0 1 0,0-1 16,0 0-16,-13 0 0,0 1 16,0-1-16,-1 0 0,1 0 15,0-13 1,26-26 0,0 13-1,14-1-15,-14 1 0,14 0 16,-14 0-16,0-1 0,0 1 15,14-13-15,-14 13 0,0-1 16,-13 1-16,13 0 0,-13 0 16,0-1-16,0 1 0,0 0 0,-13 0 15,13-1-15,-26 1 0,13 13 16,-14-13-16,14 13 0,0 0 16,-1 0-16,1 0 0,-27 13 15,27-13-15,0 13 16,0 1-16,13-1 0,-13-13 0,13 13 15</inkml:trace>
  <inkml:trace contextRef="#ctx0" brushRef="#br0" timeOffset="-192367.52">2950 11046 0,'0'-13'0,"27"0"31,-14 0-31,0 26 16,0-13-16,-13 13 16,0 0-16,0 1 15,0-1-15,-13 13 16,0 1-16,0-1 0,-14 1 15,14-14-15,0 0 0,-1 0 0,-12 27 32,13-40-32,39 0 31,-13 0-31,1 0 16,-1-13-16,13 13 0,-12-13 0,-1 13 15,13-14-15,-13 14 0,1 0 0,-1-13 16,0 13-16,0-13 0,1 13 15,-1 0-15,0 0 0,0-13 0,1 13 16</inkml:trace>
  <inkml:trace contextRef="#ctx0" brushRef="#br0" timeOffset="-191566.7">3307 11007 0,'-13'0'16,"40"0"15,-14-14-31,0 14 0,0 0 16,14 0-1,-14 0-15,0-13 0,0 13 16,1 0-16,-1 0 0,0-13 16,0 13-16</inkml:trace>
  <inkml:trace contextRef="#ctx0" brushRef="#br0" timeOffset="-191241.74">3784 10821 0,'-14'14'47,"1"-14"-47,13 13 0,-13 0 0,0 0 15,-1 1-15,1-1 16,0 0-16,13 0 16,-13-13-16,-1 14 15,14-1-15,0 0 32,14-13-17,-1 0-15,0 0 0,0 0 16,1 0-16,-1 0 15,0-13-15,14 13 16,-14-13-16,0 13 16,-13-14-16</inkml:trace>
  <inkml:trace contextRef="#ctx0" brushRef="#br0" timeOffset="-191050.69">3810 10821 0,'0'-13'0,"-13"0"31,0 26-15,13 0-16,0 1 16,0-1-16,0 0 0,0 0 15,0 1-15,0-1 0,-14 0 0,14 0 16,0 1-16,0 12 0,0-13 16,0 0-16,14-13 0,-14 14 0,0-1 15,13-13-15</inkml:trace>
  <inkml:trace contextRef="#ctx0" brushRef="#br0" timeOffset="-190762.21">3956 10874 0,'0'0'0,"-14"14"32,1-14-17,13 13-15,0 0 0,0 0 16,13 1-16,-13-1 0,14-13 15,-1 13 1,0-13-16,0 0 0,-13-13 16,13 13-16,1-13 0,-14-1 15,0 1 1,0 0-16,-14 0 16,14-1-16,-13 1 0,13 0 0,-13 13 15,0-13-15,0 13 0,-1-14 0,1 14 16,0 14-16,-14-14 0,-12 13 15,-1-13-15,0 13 0,-13 0 16,0 14-16</inkml:trace>
  <inkml:trace contextRef="#ctx0" brushRef="#br0" timeOffset="-190357.76">2672 11060 0,'-13'39'0,"26"-78"0,-26 105 0,13-40 0,13 14 16,1 0-16,-1-1 15,0-12-15,13 12 0,1-12 0,-1-1 16,1 1-16,13-1 0,12-13 0,-12 1 15,0-1-15,13-13 0,0 0 16,13 0-16,0-13 0,0-1 0,0-12 16,0 13-16,0-14 0,1 1 15</inkml:trace>
  <inkml:trace contextRef="#ctx0" brushRef="#br0" timeOffset="-189969.44">4022 10583 0,'66'0'15,"-53"14"-15,14-1 16,-14 0-16,13 0 0,1 14 16,-1-1-16,-13 1 0,14-1 0,-14 1 15,0-14-15,-13 13 0,13 1 0,-13-1 16,0 1-16,0-1 0,0 1 15,-13-1-15,0-13 0,13 27 16,-13-27-16,0 14 0,-1-14 0,14 0 16,0 0-16,-13 0 0</inkml:trace>
  <inkml:trace contextRef="#ctx0" brushRef="#br0" timeOffset="-189253.02">3903 10888 0,'13'13'31,"-13"0"-31,0 0 16,0 1-16,0-1 15,13-13-15,-13 13 0,0 0 16,13-13-16,1 0 16,-1 0-1,0-13-15,-13 0 16,13 13-16,-13-13 0,0-1 0,13 14 16,-13-13-16,0 0 15,0 39 16,0-12-31,0-1 0,0 0 16,0 0-16,0 0 16,14 1-1,-28-41 17,14 14-17,-13 13-15,13-13 16,13 0-1,1 13-15,-1-14 16,0 14-16,0 0 0,1-13 0</inkml:trace>
  <inkml:trace contextRef="#ctx0" brushRef="#br0" timeOffset="-189006.06">4485 10689 0,'26'-13'31,"-13"13"-31,1 0 16,-1 0-16,13-13 0,-12 13 15,-1 0-15,0 0 0,13-14 16,-12 14-16,-1 0 0,0-13 0,0 13 0,1 0 15,-1-13-15,0 13 16,0-13-16</inkml:trace>
  <inkml:trace contextRef="#ctx0" brushRef="#br0" timeOffset="-188771.59">4683 10478 0,'27'0'31,"-14"0"-31,0 13 0,0-13 16,0 13-16,1 0 0,-1 0 0,-13 1 15,13-1-15,0 0 0,-13 14 16,0-14-16,0 13 0,0-13 0,0 14 16,-13-14-16,13 14 0,-13-14 15,13 0-15,0 14 0,-13-14 0,13 0 16,0 0-16,-14-13 15</inkml:trace>
  <inkml:trace contextRef="#ctx0" brushRef="#br0" timeOffset="-187513.7">5067 10491 0,'0'0'0,"-13"0"16,-1 13-1,14 0-15,0 0 16,0 1-16,0-1 15,0 0-15,14-13 0,-14 13 0,13 1 16,0-14-16,0 0 16,0 0-16,1 0 0,-1 0 15,0 0-15,0-14 0,1 14 16,-14-13-16,13 13 0,-13-13 16,0 0-16,0-1 0,0 1 15,0 0-15,-13 13 0,13-13 16,-14 13-16,14-13 0,-13 13 0,0 0 15,0-14-15,-1 14 0,1 0 16,0 14-16,0-14 16,0 13-16,-1 0 15,28 0-15,-1 0 16,0-13 0,0 0-16,0 0 15,1 0-15,-1-13 0,0 13 0,0 0 16,1 0-16,-1-13 0,0 13 0,0 0 15,1 0-15,-14-13 0,13 13 16,0 0-16,0 13 16,0-13-16,-13 13 15,14-13-15,-1 13 16,0-13-16,0 0 16,1 14-16,-1-28 0,0 14 15,0 0-15,1-13 16,-1 13-16,0-13 0,0 0 0,0 0 15,-13-1-15,14 1 0,-1 0 16,-13 0-16,13-14 0,-13-13 16,13 14-16,-13 0 0,0 12 15,0-12-15,0 13 0,0-1 0,0 1 16,0 0-16,0 0 0,0-1 16,0 1-16,0 40 31,0-14-31,0 13 15,0-12-15,0 12 0,14 1 16,-14-14-16,13 0 0,-13 0 16,13 14-16,-13-14 0,0 0 15,0 0-15,13 1 0,-13-1 16,0 0-16,0 0 0,0 1 16,-13-14-16,13 13 0,0 0 0,-13-13 15,13 13-15,-13-13 16,-1 0-16,1 0 15,13-26 17,13 13-32,1-1 15,-14 1-15,13 0 16,0 13-16,-13-13 0,13-1 0,14-12 16,-27 13-16,26-1 15,-26 1-15,13 13 16,-13-13-16,14 13 0,-14-13 15,13 26 1,-13 0 0,0 0-16,13-13 0,-13 14 15,0-1-15,0 0 0,0 0 16,0 1-16,0-1 16,13 0-16,-13 0 15,14-13 1,-1 0-1,-13-13-15</inkml:trace>
  <inkml:trace contextRef="#ctx0" brushRef="#br0" timeOffset="-187349.43">5689 10239 0,'-14'-13'15,"1"0"1,0 26-1,13 0 1,0 1 0,0-1-1</inkml:trace>
  <inkml:trace contextRef="#ctx0" brushRef="#br0" timeOffset="-186839.25">5675 10200 0,'0'-14'0,"-13"28"31,13-1-31,0 0 0,0 0 16,0 1-16,-13 12 0,13-13 16,0 14-16,0-14 0,0 0 0,0 14 15,0-14-15,0 0 0,0 0 0,13 1 16,-13-1-16,0 0 0,0 0 16,13 14-16,-13-14 15,14 0-15,-1 0 16,0-13-1,0 0-15,0-13 16,1 0-16,-14 0 16,13 13-16,-13-13 0,13-1 15,0 1-15,-13 0 0,14 0 16,-14 26 31,0 0-47,0 0 15,0 1-15,0-1 16,0 0-16,13-13 16,-13 13-16,0 0 15</inkml:trace>
  <inkml:trace contextRef="#ctx0" brushRef="#br0" timeOffset="-186729.69">5808 10292 0,'0'-13'0,"-14"13"31</inkml:trace>
  <inkml:trace contextRef="#ctx0" brushRef="#br0" timeOffset="-186321.98">5887 10411 0,'0'0'16,"0"14"-16,13-28 62,0 1-62,-13 0 31,14 13-31,-1 0 16,0 0-16,-13 13 16,13 0-16,1 1 15,-14-1 1,0 0-16,13 0 16,0-26 15,0 0-31,-13 0 0,13-1 15,-13 1-15,14 0 0,-1 13 0,-13-13 16,13-1-16,-13 1 16,13 13-16,-13-13 0,-26 26 31,-1-13-31,1 27 16</inkml:trace>
  <inkml:trace contextRef="#ctx0" brushRef="#br0" timeOffset="-185489.65">3492 11443 0,'80'0'15,"-160"0"-15,200-13 0,-81 0 0,14 0 0,13-1 16,0 1-16,-13 0 0,14 0 16,-15-1-16,15 1 0,-14-13 15,-1 12-15,-12 1 0,13-13 0,-13 13 16,-1-1-16,-12-12 0,13 13 16,-14-1-16,-13 1 0,0 0 0,1 0 15,-1-1-15,-13 1 0,0 0 16,-13 0-16,13 0 0,-27 13 15,14-14-15,-13 1 0,-1 0 0,-13 0 16,1-1-16,-1 1 0,0 0 0,-13 0 16,1 0-16,-54-14 0,66 14 15,-53-14-15,40 14 16,14 13-16,-14-13 0,0 0 16,13-1-16,-13 14 0,0 0 0,0 0 15,1 0-15,-1 0 0,-66 14 16,52-1-16,15 0 0,-68 27 15,54-14 1,-39 14-16,52-14 0,-14 1 0,-38 39 16,65-26-16,-13-1 15,-26 28-15,39-28 0,0 1 16,-39 39-16,52-52 0,1 12 16,-1-12-16,1-1 0,13 14 0,-14-13 15,14 12-15,0-12 16,13-14-16,0 13 0,0-12 0,13-14 15,-13 13-15,27 0 0,-14-13 16,13 0-16,-13 0 0,14 0 16,13 0-16,-14 0 0</inkml:trace>
  <inkml:trace contextRef="#ctx0" brushRef="#br0" timeOffset="-180762.31">3519 11523 0,'0'13'0,"0"0"16,0 0-16,0 14 0,0-14 16,0 13-16,13 14 0,-13 0 15,0 0-15,0-1 0,0 14 0,0-13 16,0-1-16,13 1 0,-13 0 0,0 0 16,0-1-16,0-12 0,0-1 15,0 1-15,14-14 0,-14 13 0,0-12 16,0-1-16,0 0 0,0 0 0</inkml:trace>
  <inkml:trace contextRef="#ctx0" brushRef="#br0" timeOffset="-180533.61">3545 11708 0,'0'0'0,"-26"13"16,26 0-16,-27 1 16,14 12-16,-13 0 0,-1 1 0,1-1 15,-1 14-15,1 0 0,-14-1 0,1 1 16,12 0-16,1-14 0,-1 1 16,1-1-16,-1-13 0,1 14 0,13-14 15,-1-13-15,14 13 0,-13-13 0,0-13 16</inkml:trace>
  <inkml:trace contextRef="#ctx0" brushRef="#br0" timeOffset="-180342.78">3281 11708 0,'26'-13'0,"-52"26"16,79-26-16,-40 13 0,13 13 0,-12-13 15,12 13-15,1 0 0,12 1 0,-12-1 16,12 13-16,-12-13 0,13 14 15,-14-14-15,0 14 0,14-14 16,-13 0-16,-1 0 0,1 0 0,-14 1 16,13-14-16,1 13 0,-14-13 0,0 13 15,14-13-15,-14 0 0,0 0 16</inkml:trace>
  <inkml:trace contextRef="#ctx0" brushRef="#br0" timeOffset="-179175.61">3506 11800 0,'0'-13'16,"0"40"-1,0-1-15,13 14 16,0-14-16,0 14 0,1 13 0,-1 13 15,0-13-15,0 13 0,1-13 0,-1 13 16,-13-13-16,13 0 0,-13 0 16,13-13-16,-13 12 0,0-12 0,0 0 15,0 0-15,0-1 0,0-12 0,0-1 16,0-13-16,0 14 0,0-14 16,0 0-16,0 1 0</inkml:trace>
  <inkml:trace contextRef="#ctx0" brushRef="#br0" timeOffset="-178886.5">3466 11840 0,'0'0'0,"-26"0"16,26 13-16,-14 1 0,-12-1 15,13 13-15,-14 1 0,1-1 16,-1 14-16,1 0 0,13-14 0,-14 14 16,1-1-16,12 1 0,-12 0 0,0-14 15,12 1-15,1 12 0,0-25 16,0 12-16,-1-13 0,14 0 0,-13 1 15,13-1-15,-13-13 16</inkml:trace>
  <inkml:trace contextRef="#ctx0" brushRef="#br0" timeOffset="-178601.95">3135 11933 0,'40'0'0,"-80"0"0,93-14 0,-26 14 0,12 0 16,1-13-16,13 0 0,0 0 0,13 13 16,0-13-16,0-1 0,0 1 15,1 0-15,-1 13 0,-13-13 16,0 13-16,39-14 0,-52 14 16,-14 0-16,1 14 0,-1-14 15,-12 0-15,12 0 0,-13 13 0,0-13 16,1 0-16,-1 13 0,0-13 0,0 13 15,1 1-15,-1-1 16,0-13 0</inkml:trace>
  <inkml:trace contextRef="#ctx0" brushRef="#br0" timeOffset="-174978.35">5199 10716 0,'40'0'31,"-27"0"-31,0 13 0,14-13 16,12 0-16,-12 0 0,13 0 15,-1 0-15,14 13 0,-13-13 0,13-13 16,0 13-16,0 0 0,-1 0 16,-12-13-16,13 13 0,0-14 0,0 1 15,-13 0-15,12 13 0,-12-13 0,0-1 16,0-12-16,-1 13 0,1 0 15,-14-1-15,14-12 0,-13 13 0,-14-1 16,0-12-16,13 13 0,-12-14 0,-1 14 16,0-13-16,-13 12 0,13-12 15,-13 13-15,0-14 0,0 1 0,0-1 16,0 1-16,-13-1 0,13 1 0,-13-14 16,0 14-16,-14-1 0,14 1 15,-13-1-15,-1 1 0,-13-1 16,1 14-16,-14-13 0,0 13 0,0-1 15,-106-12-15,106 26 16,-13 0-16,0 0 0,0 13 16,-14-13-16,14 13 0,0 1 0,0-1 15,0 13-15,13-13 0,0 14 16,0 13-16,13-14 0,1 14 0,-1-1 0,14 1 16,-14 0-16,0 39 15,27-52-15,0 12 0,-14 41 16,14-41-16,13 1 0,0 13 15,0-27-15,0-12 0,0 12 16,13 1-16,-13-14 0,14 0 16,-1 0-16,0 1 0,0-1 0,14-13 15,-14 0-15</inkml:trace>
  <inkml:trace contextRef="#ctx0" brushRef="#br0" timeOffset="-174174.83">6085 10001 0</inkml:trace>
  <inkml:trace contextRef="#ctx0" brushRef="#br0" timeOffset="-172085.02">13692 675 0,'-13'-14'0,"0"14"15,-1 14 1,1-14-16,0 13 0,0 0 15,0 14-15,-1-14 0,14 13 0,-13 1 16,13-14-16,-13 13 0,13 1 0,0-1 16,0 1-16,0-1 0,0-13 15,0 14-15,0-1 0,13-12 0,0-1 16,-13 13-16,14-12 0,-1-14 0,-13 13 16,13 0-16,0-13 0,0 0 15,1 0-15,-1 0 0,0-13 16,0 13-16,1-13 0,-14-1 0,13 1 15,0 0-15,0-14 0,-13 14 0,0-13 16,14 12-16,-14-12 0,0 13 16,0-14-16,-14 1 0,14-1 0,-13 1 15,13 0-15,-13 12 0,0-12 0,-1 13 16,1-1-16,0 1 0,0 0 16,-1 0-16,1-1 0,0 14 0,13-13 15,-13 13-15,0 0 0,-1 0 0,1 0 16,0 0-16,0 13 0,-1 1 15,14-1-15,-13 0 16,13 0-16,0 1 0,0-1 0,0 0 16,0 0-16,0 1 0,13 12 0,-13-13 15,0 0-15,14 1 16,-1-1-16,-13 0 0,13 0 0,14 1 16,-27-1-16,13-13 0,0 13 15,0-13-15,0 0 0,1 0 16,-1 0-16,0 0 0,0 0 15,1-13-15,-1 13 0,0-13 0,-13-1 16,13 14-16,1-13 0,-1 0 0,0 0 16,0-1-16,-13 1 15,13 13-15,-13-13 0,14 13 0,-14-13 16,13 0-16,0 26 47,-13 0-47,0 0 15,0 0-15,0 1 0,0-1 16,13 0-16,-13 0 0,0 1 16,14-1-16,-14 0 0,13-13 0,-13 13 15,13-13-15,0 13 0,14-13 16,-14-13 0,0 13-16,-13-13 0,13 13 15,-13-13-15,14 0 0,-1-1 16,-13 1-16,13 0 15,0 26 17,-13 0-32,14 1 15,-14-1-15,0 0 16,13-13-16,-13 13 0,13-13 16,0 13-16,1-26 15,-1 13-15,0 0 16,-13-13-16,13 0 0,0 0 15,1-1-15,-1 1 0,0-13 0,0-1 16,1 1-16,-1-14 0,0 14 0,-13-1 16,13-13-16,1 14 0,-14 0 0,13-1 15,-13 1-15,0-1 16,0 14-16,13-14 0,-13 14 0,0 0 16,0 0-16,0 0 0,0-1 0,13 1 15,-13 0-15,0 0 16,0-1-16,0 54 31,0-27-31,0 1 0,0 12 16,0-13-16,0 14 0,13-1 15,-13-13-15,0 14 0,0-14 0,0 14 16,14-14-16,-14 13 0,0-13 16,13 1-16,-13-1 0,0 0 0,13 0 15,-13 1-15,0-1 0,13 0 16,1 0-16,-14 1 0,13-1 15,-13 0-15,13-13 16,0 0-16,0 0 16,1 0-1,-1-13-15</inkml:trace>
  <inkml:trace contextRef="#ctx0" brushRef="#br0" timeOffset="-171859.49">14102 569 0,'-13'0'0,"66"0"31,-40 0-31,0 0 0,14 0 16,-1 0-16,-12-13 0,12 13 15,-13 0-15,14 0 0,-14-14 0,13 14 16,-12 0-16,12-13 0,-13 13 0,1-13 16,12 0-16,-13 13 0</inkml:trace>
  <inkml:trace contextRef="#ctx0" brushRef="#br0" timeOffset="-171517.63">14526 423 0,'13'-39'16,"-26"78"-16,26-92 15,0 80 32,-13-14-47,0 0 0,0 14 16,13-14-16,-13 13 0,0 1 0,14-1 15,-14 1-15,0-1 0,13-12 0,-13 12 16,13-13-16,-13 0 0,0 1 16,13-1-16,-13 0 0,0 0 15,13 1-15,1-14 16,-1 0-1,0-14-15,0 1 16,1 13-16,-14-13 16,13 13-16,-13 13 15,13-13 1,-13 13-16,0 1 0,0-1 16,0 0-16,0 0 0,13 1 15,-13-1-15,0 0 0,14 0 16,-14 0-1</inkml:trace>
  <inkml:trace contextRef="#ctx0" brushRef="#br0" timeOffset="-171368.6">14737 542 0,'0'-26'31</inkml:trace>
  <inkml:trace contextRef="#ctx0" brushRef="#br0" timeOffset="-170809.93">14909 767 0,'13'-26'0,"-13"13"16,0-1-1,0 1-15,0 0 16,-13 0 0,0 26 15,13 0-31,0 0 0,13 1 16,-13-1-1,13-13-15,-13 13 0,14-13 16,-14 13-16,13-13 0,0 0 15,0 0-15,1 0 0,-1 0 16,0 0-16,0 0 16,1 0-16,-1 14 0,0-1 15,-13 0-15,13 13 16,-13-12 0,0-1-16,0 0 15,13 0 1,1-26-1,-14 0 1,13 13-16,-13-13 0,13-1 0,0 1 16,1 0-16,-1 0 0,0-14 15,0 27-15,1-13 0,-14 0 0,13 0 16,0 13-16,0-14 0,0 14 16,-13-13-16,14 13 0,-1 0 15</inkml:trace>
  <inkml:trace contextRef="#ctx0" brushRef="#br0" timeOffset="-170602.06">15663 754 0,'27'0'31,"-14"-13"-31,0 13 0,0 0 16,14 0-16,-14-13 0,0 13 15,14 0-15,-1 0 0,-26-14 16,14 14-16,-1 0 0,0 0 0,0-13 16,0 13-1</inkml:trace>
  <inkml:trace contextRef="#ctx0" brushRef="#br0" timeOffset="-170398.28">15796 569 0,'39'0'0,"-25"0"16,-1 13-16,13-13 0,-13 13 0,14-13 15,-1 14-15,-12-1 0,25 13 16,-25-13-16,-1 14 0,0-14 16,-13 0-16,0 1 0,-13 12 0,0 14 15,-1-14-15,-12-13 16,13 14-16,-1-14 0,1 0 15,0-13-15</inkml:trace>
  <inkml:trace contextRef="#ctx0" brushRef="#br0" timeOffset="-169552.25">16603 410 0,'-14'-13'0,"1"26"31,13 0-31,0 1 0,0-1 0,-13 0 16,13 13-16,0 1 0,0-1 15,0 1-15,0-1 0,0 1 16,0-1-16,0 1 0,0-1 0,0-13 15,13 14-15,-13-14 0,13 0 0,-13 14 16,14-14-16,-1 0 0,0 0 0,0 1 16,1-14-16,-1 13 15,0-13-15,0 0 0,0 0 16,-13-13-16,14 13 0,-1-14 16,-13 1-1</inkml:trace>
  <inkml:trace contextRef="#ctx0" brushRef="#br0" timeOffset="-169177.58">16510 728 0,'-53'0'16,"106"0"-16,-119-14 0,92 1 47,-12 13-47,-1 0 0,26-13 15,-25 13-15,-1 0 16,13-13-16,-12 13 0,12 0 0,-13 0 15,1-14-15,-1 14 0,13 14 0,-13-14 16,1 0-16,-1 0 16,0 13-16,0-13 0,-13 13 0,14 0 15,-1 1-15,-13-1 0,13-13 0,-13 13 16,0 0-16,13 1 0,-13-1 16,14-13-16,-14 13 0,0 0 15,13-39 16,-13 13-15,0-1-16,13 1 16,-13 0-16,0 0 0,13 13 0,-13-14 0,13 1 15,1 13-15,-14-13 0,13 13 16,0 0-16,0 0 16,1 13-16,-14 0 15</inkml:trace>
  <inkml:trace contextRef="#ctx0" brushRef="#br0" timeOffset="-168361.69">17092 847 0,'0'-27'32,"0"14"-32,0 0 15,13 0-15,-13-1 16,0 1-16,0 0 15,-26 39 17,26-12-32,-13-1 15,13 0-15,13 0 16,-13 0-16,13-13 16,0 0-16,1 0 15,-1 0-15,0 0 0,0 0 0,0 0 16,1-13-16,-1 13 0,0-13 15,0 13-15,1 0 0,-14-13 0,13 13 16,0-13-16,-26 26 63,13 0-48,0 0 1,13 0-1,0-13-15,1 0 0,-14 14 16,13-14-16,0 0 16,0 0-16,0-14 15,1 14-15,-1-13 0,0 13 16,-13-13-16,13 0 0,1 13 0,-14-13 16,13-1-16,-13 1 0,13-13 0,0 12 15,-13 1-15,0 0 0,13-14 16,-13 1-16,0 13 0,0-14 0,14-26 31,-14 40-31,0 0 0,13 0 16,-13 39-1,0-13 1,0 1-16,0 12 0,0-13 0,0 14 16,0-14-16,0 13 0,0-12 0,0-1 15,0 0-15,0 0 0,0 1 16,0-1-16,0 0 0,0 0 15,-13-13-15,13 14 16,-14-14 0,1-14-16,0 14 15,0-13-15,0 0 16,13 0 0,0-1-1,13 1-15,0 0 16,0 13-16,0-13 0,27-1 15,-27 14-15,1 0 0,-1-13 16,0 13-16,0 0 0,1 0 16,-1 0-16,0 0 0</inkml:trace>
  <inkml:trace contextRef="#ctx0" brushRef="#br0" timeOffset="-167899.71">17780 661 0,'-13'27'47,"13"-14"-47,0 0 16,0 1-1,0-1 1,0 0-16,13-26 47,0 0-47,0 13 15,1 0 1,-1 0 0,0 13-1,0-13 16,1 0-15,-1-13 0,0 13-1,0 0 1,1-14-16,-1 14 16,0 0-16,0 0 0,0-13 15,1 13 1,-1 0-16,0 0 15</inkml:trace>
  <inkml:trace contextRef="#ctx0" brushRef="#br0" timeOffset="-167374.97">18084 741 0,'14'0'46,"-1"0"-30,0 0-16,0-13 16,0 13-1,1-14-15,-1 1 16,0 13-16,0-13 16,-13 0-1,14 13 1,-14 13-1,0 0 1,13 0-16,-13 1 16,13-14-1,0 0 1,0 0-16,1-14 16,-1 14-16,0-13 0,-13 0 15,13 13-15,-13-13 0,14-1 16,-1 1-16,-13 0 0,0 0 0,13 13 0,-13-13 15,13-14-15,1 14 16,-14 0 0,13 13-1,-13 13 1,13 0-16,-13 0 16,13 1-16,0-1 15,-13 0-15,14 0 0,-14 0 16,13-13-16,0 14 15,0-14-15</inkml:trace>
  <inkml:trace contextRef="#ctx0" brushRef="#br0" timeOffset="-167169.77">18203 635 0,'-13'0'0,"66"-26"31,-27 26-31,1-14 0,-1 14 16,14-13-16,0 13 0,-1-13 0,1 0 16,-13 13-16,-1 0 0,1-14 15,-1 14-15,-13 0 0,0 0 0,14-13 0</inkml:trace>
  <inkml:trace contextRef="#ctx0" brushRef="#br0" timeOffset="-166981.77">18746 569 0,'-14'0'94,"1"13"-94</inkml:trace>
  <inkml:trace contextRef="#ctx0" brushRef="#br0" timeOffset="-166638.81">17515 913 0,'-13'0'0,"93"-27"32,-28 27-32,1 0 0,0-13 0,0 13 15,27 0-15,-14 0 0,13 0 16,1 0-16,-14 0 0,53 0 16,-53 0-16,-13 0 0,0 0 0,-14 0 15,-12 0-15,-1 0 0,-12 0 0,12 13 16,-13-13-16,0 0 15</inkml:trace>
  <inkml:trace contextRef="#ctx0" brushRef="#br0" timeOffset="-166429.89">17476 992 0,'0'0'16,"26"13"-16,-13-13 0,1 0 15,12 0-15,1 0 0,25-13 0,1 13 16,0 0-16,0 0 0,13-13 0,-13 13 16,13-13-16,-13 13 0,0-14 15,0 14-15,0 0 0,13-13 16,-39 13-16,-1 0 0,1-13 16,-14 13-16,0 0 0,0-13 0,1 13 15,-14-13-15</inkml:trace>
  <inkml:trace contextRef="#ctx0" brushRef="#br0" timeOffset="-164090.73">2752 11470 0,'0'13'0,"0"-26"0,-14 39 16,14-13-16,-13 1 0,0-1 0,13 13 16,-13 1-16,0 12 0,-1 1 15,-12 0-15,13 0 0,-14 12 0,14-12 16,-14 13-16,14 0 0,-13-13 16,-1 13-16,1-1 0,13-12 15,-14 13-15,14-13 0,-14-1 0,14 1 16,0-13-16,0-1 0,0 0 0,13-12 15,-14-1-15,14 0 0,-13 0 0,13 1 16,0-54 15,13 27-31,-13-1 0,0-12 0</inkml:trace>
  <inkml:trace contextRef="#ctx0" brushRef="#br0" timeOffset="-163638.91">2500 11562 0,'27'-13'46,"-1"0"-46,-13 13 0,14-27 0,13 14 16,-14 0-16,14-14 0,-1 14 16,1-13-16,0 13 0,-14-14 15,14 14-15,-14 0 0,1-1 0,-1 14 16,-12-13-16,-1 13 0,0-13 0,0 13 16,0 0-16,1 0 0,-14-13 15,13 13-15,0 13 16,-13 0-1,0 0-15,13 1 0,-13-1 16,0 0-16,0 0 0,0 1 16,-13 12-16,13-13 0,0 0 0,0 14 15,0-14-15,0 14 0,0-14 16,0 13 0,0-12-16,13-1 0,-13 0 15,0 0-15</inkml:trace>
  <inkml:trace contextRef="#ctx0" brushRef="#br0" timeOffset="-143154.54">21630 9379 0,'13'14'0,"-26"39"47,26 52 78,13-78-62,-158 92-48</inkml:trace>
  <inkml:trace contextRef="#ctx0" brushRef="#br0" timeOffset="-142875.67">21815 9432 0,'-13'27'32,"13"-14"-32,-14 0 0,14 1 15,0-1-15,-13 0 0,13 0 16,0 0-16,0 1 0,0-1 15,0 0-15,13-13 0,-13 13 0,14-13 16,-1 0-16,0 0 0,0 0 16,1 0-1,-1 0-15,0-13 0,-13 0 0,13 13 16,-13-13-16,0-1 0,0 1 16,0 0-16,0 0 0,-13 13 15,13-13-15,-13-1 0,0 1 16,-1 13-16,1 0 15,0 0 1</inkml:trace>
  <inkml:trace contextRef="#ctx0" brushRef="#br0" timeOffset="-142592.47">22251 9499 0,'27'-14'0,"-1"14"16,-12 0-16,12 0 16,-13 0-16,1 0 15,-1 0-15,0 0 0,0 0 0</inkml:trace>
  <inkml:trace contextRef="#ctx0" brushRef="#br0" timeOffset="-142273.68">22648 9393 0,'14'0'0,"-1"0"32,-13 13-32,-13 0 15,13 0-15,0 1 16,0-1-16,0 0 15,0 0-15,13-13 0,-13 14 16,13-1-16,-13 0 16,0 0-16,13 0 15,-13 1-15,0-1 0,0 0 16,0 0-16,-13 1 16,13-1-1,-13-13-15,0 13 0</inkml:trace>
  <inkml:trace contextRef="#ctx0" brushRef="#br0" timeOffset="-142007.59">22886 9472 0,'0'-13'15,"0"26"-15,-13-13 31,13 13-15,0 14-16,13-14 16,-13 0-16,14 14 15,-1-14-15,-13 0 16,0 0-16,0 1 16,-13-1-16,-1 0 15,1-13-15,13 13 0,-13-13 16,0 0-16,0 14 0,-1-1 0,1-13 15,0 0-15,0 13 0,-1-13 16,1 0-16</inkml:trace>
  <inkml:trace contextRef="#ctx0" brushRef="#br0" timeOffset="-139619.56">19487 11073 0,'0'13'47,"0"0"-31,0 0-16,0 1 0,0-1 16,0 0-16,-14-13 0,14 13 15,0 1-15,0-1 16,0 0-1,-13-13 1</inkml:trace>
  <inkml:trace contextRef="#ctx0" brushRef="#br0" timeOffset="-139189.74">19738 11112 0,'13'-13'63</inkml:trace>
  <inkml:trace contextRef="#ctx0" brushRef="#br0" timeOffset="-139046.77">19936 11060 0,'0'-14'32</inkml:trace>
  <inkml:trace contextRef="#ctx0" brushRef="#br0" timeOffset="-138889.93">20135 10993 0,'13'0'31</inkml:trace>
  <inkml:trace contextRef="#ctx0" brushRef="#br0" timeOffset="-138734.92">20307 11139 0</inkml:trace>
  <inkml:trace contextRef="#ctx0" brushRef="#br0" timeOffset="-138574.81">20227 11258 0,'0'13'0,"-13"-13"16</inkml:trace>
  <inkml:trace contextRef="#ctx0" brushRef="#br0" timeOffset="-138062.24">19526 11470 0,'40'-14'15,"-27"14"1,0 0-16,1 0 0,-1 0 0,0 0 0,14 0 16,-14 0-16,-13 14 0,13-14 15,0 0-15,0 0 0,1 13 16,-1-13-16,-13 13 0,13 0 15,0 1-15,-13-1 0,0 0 16,0 0-16,0 1 0,14-1 16,-14 0-16,0 0 0,0 0 15,0 1-15,0-1 0,0 0 16,0 0-16,0 1 0,0-1 16</inkml:trace>
  <inkml:trace contextRef="#ctx0" brushRef="#br0" timeOffset="-137885.89">19619 11668 0,'0'0'16,"26"-13"0,-12 0-16,-1 13 15,13 0-15,-13-14 0,14 14 16,-14 0-16,14-13 0,-14 0 0,13 13 15,-12-13-15,12 0 0,-13-1 0</inkml:trace>
  <inkml:trace contextRef="#ctx0" brushRef="#br0" timeOffset="-137542.1">19645 11351 0,'-53'13'0,"106"-26"0,-132 39 16,52-26-16,14 13 0,-13 1 15,13-1-15,-14 13 0,1-13 0,12 27 16,-12-13-16,13 12 0,0 1 0,-1 0 16,1-1-16,13-12 0,13 13 15,-13-1-15,14-12 0,12 12 16,0-12-16,1-1 0,13-13 0,12 14 16,1-14-16,-13-13 0,13 0 15,0 0-15,-13 0 0,13-13 0,-1 0 16,-12-14-16,13 1 0,-13-1 0,-1-12 15,1-1-15,-13 0 0,-1 1 16,-13-1-16,0 13 0,-13-12 16,0 12-16,0 1 0,0-1 0,-26-12 15,13 12-15,0 1 0,-14 13 0,1-14 0,-14 14 16,13 13-16,1-13 0,0 13 16,-1-14-16,1 14 0,12 0 0,-12 0 15,13 0-15</inkml:trace>
  <inkml:trace contextRef="#ctx0" brushRef="#br0" timeOffset="-136125.58">24342 11060 0,'-27'0'32,"14"13"-32,0-13 15,0 13-15,-1-13 0,1 13 0,0 0 16,0 1-16,-1-1 0,1-13 0,0 13 15,0 0-15,-1 1 16,14-1-16,-13-13 0,13 13 0,-13 0 16,26 1-1,0-14 1,1 0-16,-1 0 16,13 13-16,-12-13 0,-1 0 15,0 0-15,0 0 0,1 0 16,-1 0-16,0 0 0,0-13 0,0 13 15,1 0-15,-1 0 0,-13-14 16,13 14-16</inkml:trace>
  <inkml:trace contextRef="#ctx0" brushRef="#br0" timeOffset="-135921.89">24342 11060 0,'0'0'0,"-14"0"16,14 13-1,-13 0-15,13 0 16,-13 0-16,13 1 0,-13-1 16,13 0-16,-13 0 0,13 1 15,0-1-15,-14 0 0,14 0 0,0 1 16,-13 12-16,13-13 0,13 0 16,-13 1-1,14-1-15</inkml:trace>
  <inkml:trace contextRef="#ctx0" brushRef="#br0" timeOffset="-135345.95">24580 11086 0,'0'26'31,"0"-12"-31,0-1 0,0 0 16,0 0-16,-13 1 0,13-1 0,-14 0 15,14 0-15,0 1 0,-13-14 0,0 13 16,13 0-16,-13 0 0,-1-13 15,41-13 17,-14 0-17,0 13-15,-13-13 0,14-1 16,12-12-16,-26 13 0,13-1 16,0 1-16,-13 0 0,0 0 15,0-1-15,0 1 16,0 0-16,-13 0 15,0 13 1,0 0-16,13 13 16,-13-13-16,13 13 15</inkml:trace>
  <inkml:trace contextRef="#ctx0" brushRef="#br0" timeOffset="-134993.92">24950 11126 0,'-13'-14'0,"0"14"15,0 0 1,13 14-1,13-1 1,-13 0-16,0 0 16,0 1-16,0-1 15,0 0-15,-13-13 16,13 13-16,0 1 0,-14-1 0,14 0 16,-13-13-16,13 13 0,-13-13 15,13 13-15,-13-13 0,-1 14 0,1-1 16,0-13-16,0 13 15</inkml:trace>
  <inkml:trace contextRef="#ctx0" brushRef="#br0" timeOffset="-134747.9">25030 11165 0,'-27'14'0,"27"-1"0,-13-13 0,13 26 15,0-12 1,0-1 0,13-13-16,0 0 15,1 0-15,-1 0 16,0-13 0,-13-1-16,13 14 0,-13-13 0,13 0 15,-13 0 1,-26 26 15,13 0-31,0 0 0</inkml:trace>
  <inkml:trace contextRef="#ctx0" brushRef="#br0" timeOffset="-134570.83">24395 11496 0,'0'-13'0,"26"0"15,-13 13 1,-13-14-16,14 14 0,-1 0 0,0 0 16</inkml:trace>
  <inkml:trace contextRef="#ctx0" brushRef="#br0" timeOffset="-134415.89">24699 11496 0,'0'-13'0,"0"26"0,13-26 16,0 0 0,1 13-1</inkml:trace>
  <inkml:trace contextRef="#ctx0" brushRef="#br0" timeOffset="-134302.77">24778 11628 0,'0'14'16,"-13"-1"0,0-13-1,13 13-15</inkml:trace>
  <inkml:trace contextRef="#ctx0" brushRef="#br0" timeOffset="-133483.52">19936 11628 0,'66'0'15,"186"-66"1,-186 40-16,0-1 16,-13 14-16,13-13 0,-13-1 0,0 1 15,0-1-15,-13-12 0,-1 12 0,-12 1 16,-1-14-16,-13 14 0,1-14 16,-1 13-16,-13 1 0,-13-14 15,-1 14-15,-12-14 0,0 0 0,-14 14 0,-13-14 16,0 14-16,0-1 15,-13 14-15,0-13 0,0 12 0,0 14 16,-1 0-16,-12 0 0,13 14 0,-14-1 16,1 0-16,0 14 0,13-1 15,-27 14-15,27-1 0,-14 14 0,1 0 16,26-13-16,0 0 0,0 13 0,14-14 16,-1 14-16,0-13 0,14 13 15,13-27-15,-1 54 16,1-54-16,26 1 0,1-1 0,-1 0 15,13 1-15,1-14 0,26 0 0,-14 1 16,41-14-16,12 0 0,1-14 16,26 1-16,0-13 0,27-1 0</inkml:trace>
  <inkml:trace contextRef="#ctx0" brushRef="#br0" timeOffset="-132681.6">23839 11509 0,'0'14'0,"0"-28"0,13 41 0,0-14 15,1 0-15,12 1 0,1-14 16,-14 13-16,26 0 0,1 0 16,0 0-16,13-13 0,-14 14 15,14-1-15,0-13 0,0 13 0,-13-13 16,13 13-16,0-13 0,0 0 0,0 0 15,-1 14-15,-12-28 0,13 14 0,0 0 16,-13 0-16,13-13 0,26 0 16,-39 0-16,-1-1 0,1 1 15,0 0-15,-14-13 0,1 12 16,-1-12-16,1 13 0,-1-14 0,-13 14 16,0 0-16,1-14 0,-14 14 0,13 0 15,-13-14-15,13 14 0,-13 0 16,0-14-16,13 14 0,-13-13 0,0-1 15,0 14-15,0-13 0,-13-1 0,13-13 16,-13 14-16,0-1 0,-14-12 16,1 12-16,-1 1 0,1-1 0,-14 1 15,0 0-15,1-1 0,-14 14 16,0-14-16,-13 14 0,13-13 16,-13 26-16,0-14 0,-1 14 0,1 0 15,0 14-15,-13-1 0,13 0 0,0 0 16,-1 14-16,-12-1 0,13 1 15,0 12-15,0-12 0,13 13 0,0-14 16,13 14-16,0-1 0,14-12 16,-1-1-16,1 1 0,13-1 0,13 1 15,-13-14-15,13 0 0,0 14 0,13 12 16,0-25-16,-13-1 0,13 0 16,-13 0-16,0 0 0,0 1 15</inkml:trace>
  <inkml:trace contextRef="#ctx0" brushRef="#br0" timeOffset="-131817.68">20280 11562 0,'14'14'0,"-1"12"15,0-13-15,0 0 0,14 1 16,39 12-16,-40 1 0,14-14 15,13 13-15,0-12 0,13 12 16,-13-13-16,13 14 0,0-14 0,14 0 16,-14 0-16,0 1 0,13-1 0,-13 0 15,14 0-15,-14 0 0,13 1 16,1-1-16,-1-13 0,0 13 0,-12-13 16,12 13-16,-13-13 0,0 14 15,0-14-15,-13 0 0,13 0 0,-13 0 0,13 0 16,-13 0-16,0-14 15,0 14-15,0-13 0,0 0 0,-13 0 16,13-1-16,0 1 0,-14 0 0,1 0 16,0-14-16,-1 14 0,-12 0 15,12-14-15,-12 14 0,13 0 0,-14-13 16,1 12-16,-1 1 0,-13 0 0,14 0 16,-14-1-16,13 1 0,-12 0 15,12 0-15,-13-1 0,14 1 0,-14 0 16,0 13-16,0-13 0,1 0 0,-1 13 15,0 0-15,-13-14 0,13 14 0,1 0 16,-1-13 0,0 13-16,0 0 15,-13-13 17</inkml:trace>
  <inkml:trace contextRef="#ctx0" brushRef="#br0" timeOffset="-131566.46">23217 11430 0,'0'0'0,"27"0"32,-1 0-32,-13 0 0,1 13 15,12-13-15,-13 0 0,14 13 16,-14 1-16,0-14 0,0 13 0,1 0 15,-1 0-15,0 1 0,0-1 16,-13 0-16,0 0 0,0 14 0,0-14 16,0 0-16,-13 0 0,0 1 0,-14 12 15,1 1-15,-1-14 0,-12 0 0,-1 0 16,0 1-16,-12-1 0,-1-13 16,0 13-16,0-13 0</inkml:trace>
  <inkml:trace contextRef="#ctx0" brushRef="#br0" timeOffset="-130852.66">20386 11880 0,'-13'-13'0,"13"-14"31,-13 14-31,13 0 0,0-1 0,0 1 16,0 0-16,0 0 0,0 0 16,0-1-16,0 1 0,13 0 0,-13 0 15,0-1-15,13 1 0,-13 0 16,13 0-16,1-1 0,-1 14 16,0 0-16,0-13 0,1 13 15,-1 0-15,0 0 0,13 0 0,-12 0 16,-1 0-16,0 0 0,0 0 0,14 0 15,-14 0-15,0 0 0,1 0 16,-1 13-16,0-13 0,0 0 0,0 0 16,1 0-16</inkml:trace>
  <inkml:trace contextRef="#ctx0" brushRef="#br0" timeOffset="-127366.98">20227 12052 0,'27'0'15,"-1"-13"-15,-12 13 16,12-14-16,0 14 0,14-13 0,-13 0 16,12 0-16,-12-1 0,12 1 15,-12-13-15,-1 12 0,1 1 0,-1-13 16,1-1-16,-14 1 0,13-1 0,1 1 15,-1 0-15,-12-1 0,12-13 16,-13 1-16,14-14 0,-14 13 0,0 0 16,0 1-16,1-1 0,12-13 15,-13 13-15,1 1 0,-1-1 0,0 0 16,0 14-16,0-14 0,1 0 16,-1 1-16,13-1 0,-12 14 0,12-14 15,1 0-15,-1 1 0,-13-1 16,27 0-16,-14 14 0,1-14 0,-1 0 15,14 1-15,-14 12 0,14-12 0,0-1 16,-14 13-16,1 1 0,12-14 0,1 14 16,-13-1-16,12 1 0,-12-1 15,12 1-15,1 13 0,0 0 16,-1-14-16,1 14 0,0 0 0,-14 13 16,14-14-16,-14 14 0,1-13 0,-1 13 15,1 0-15,-1 0 0,14 0 0,-14 13 16,27-13-16,-13 0 0,0 14 15,13-14-15,-14 13 0,14 0 0,-13-13 16,0 13-16,-1 1 0,-12-1 16,12 0-16,-12 0 0,-1 14 0,14-14 15,-14 13-15,-12-12 0,12-1 0,-13 13 16,-13-12-16,14 12 0,-1 14 16,-13-14-16,0 1 0,0 12 0,0 1 15,0 13-15,0-13 0,-13 12 0,13-12 16,0 13-16,-14-13 15,14 13-15,0 0 0,-13-14 0,13 1 16,0 13-16,0-13 0,0 12 0,0-12 16,0 0-16,13 0 0,-13-1 0,14 14 15,-14-26-15,13 12 0,0 1 16,0 0-16,1-14 0,-1 14 0,13-14 16,-13 1-16,14-1 0,-14 1 0,0-14 15,1 0-15,12 0 16,-13 1-16,1-1 0,12 0 0,-13 0 0,27 14 15,-14-27-15,-12 0 0,12 13 16,-13-13-16,14 0 0,-1 0 16,-13 0-16</inkml:trace>
  <inkml:trace contextRef="#ctx0" brushRef="#br0" timeOffset="-122934.58">6257 9671 0,'0'0'0,"0"26"46,0-13-46,-13-13 16,13 27-16,-13-14 16,13 0-16,-13 0 0,-1 14 0,1-14 15,0 0-15,13 14 0,-26-14 0,12 0 16,1 0-16,0 14 0,0-14 0,-1 0 16,1-13-16,0 14 0,0-14 15</inkml:trace>
  <inkml:trace contextRef="#ctx0" brushRef="#br0" timeOffset="-122756.89">5966 9803 0,'0'13'16,"14"0"0,-14 0-16,0 1 0,0-1 0,13 0 15,0 0-15,0 1 0,0-1 16,1-13-16,-1 13 0,13-13 0,1 0 15,39-13-15,-13 0 0,0-14 16,13 1-16</inkml:trace>
</inkml:ink>
</file>

<file path=ppt/ink/ink1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41:32.839"/>
    </inkml:context>
    <inkml:brush xml:id="br0">
      <inkml:brushProperty name="width" value="0.05292" units="cm"/>
      <inkml:brushProperty name="height" value="0.05292" units="cm"/>
      <inkml:brushProperty name="color" value="#FF0000"/>
    </inkml:brush>
  </inkml:definitions>
  <inkml:trace contextRef="#ctx0" brushRef="#br0">1349 1998 0,'93'0'0,"-53"0"0,13-14 0,13 14 16,13-13-16,0 0 0,14 13 15,0-13-15,-1-1 0,1 1 0,13 13 16,-14-13-16,1 0 0,0 0 16,-14 13-16,14-14 0,-27 1 0,13 0 15,-26 13-15,0 0 0,-13-13 0,12 13 16,-25 0-16,-1-14 0</inkml:trace>
  <inkml:trace contextRef="#ctx0" brushRef="#br0" timeOffset="243.99">1402 2209 0,'66'0'15,"-39"0"-15,26 0 0,26-13 0,1 13 16,-1-13-16,14 13 0,-1-13 0,1-1 15,-1 14-15,1-13 0,13 13 0,-27-13 16,14 13-16,-14-13 0,-13 13 16,14-14-16,-27 14 0,0 0 0,-14-13 15,1 13-15,-14 0 0,1-13 0,-1 13 16</inkml:trace>
  <inkml:trace contextRef="#ctx0" brushRef="#br0" timeOffset="8357.17">6072 4617 0,'-132'132'31,"105"-92"-31,-12 13 15,-1 0-15,0 0 0,1 0 0,-14 26 16,13 0-16,-13-12 0,13-15 16,1 15-16,-1-14 0,0-1 0,1 1 15,-1 0-15,14-13 0</inkml:trace>
  <inkml:trace contextRef="#ctx0" brushRef="#br0" timeOffset="8960.2">9075 4723 0,'-225'291'31,"159"-225"-31,0 13 0,0-12 16,0 12-16,0-13 0,-1 0 0,1 0 16</inkml:trace>
  <inkml:trace contextRef="#ctx0" brushRef="#br0" timeOffset="9482.32">6324 4829 0,'-27'39'0,"1"-12"15,-1 12-15,1 14 0,-1 0 16,-12 0-16,-1 0 0,0 13 0,-13 0 16,14-13-16,-14 14 0,26-15 0,1-12 15,-1 13-15</inkml:trace>
  <inkml:trace contextRef="#ctx0" brushRef="#br0" timeOffset="10125.02">8427 4762 0,'-26'14'0,"-199"171"32,145-132-32,1 13 0,13 0 15,-14 0-15,1 0 0,-14 1 16,14-1-16,-14 0 0,14 0 0</inkml:trace>
  <inkml:trace contextRef="#ctx0" brushRef="#br0" timeOffset="14034.56">5067 1019 0,'0'-53'15,"0"39"-15,-13-25 32,-1 39-17,1 13-15,0 0 0,-14 14 16,1 26-16,-1 13 0,1 26 15,0 14-15,-14 0 0,13 13 16,1-13-16,-1 0 0,14 0 0,-13-27 16,13 0-16,13 1 0,-14-14 0,14 0 15,0 0-15,0-13 0,0-13 16,0 13-16,0-14 0,0-12 0,0-1 16,14-12-16,-14-1 0,0 0 0</inkml:trace>
  <inkml:trace contextRef="#ctx0" brushRef="#br0" timeOffset="15157.63">4736 939 0,'13'0'0,"-26"0"0,39-13 0,-12 13 15,12 0-15,1 0 16,26 0-16,-1 0 0,28 0 0,-1 0 16,14 0-16,-1 0 0,14 0 0,27 13 15,12-13-15,14 0 0,-14 0 16,14 0-16,-13 0 0,26 0 0,-14 0 15,14 0-15,-13 0 0,13-13 0,0 13 16,0-13-16,0 13 0,13 0 16,0-13-16,-13 13 0,14-14 0,-1 14 15,0 0-15,0-13 0,-13 13 0,0-13 16,0 13-16,0 0 0,-13-13 16,13 13-16,-13 0 0,-1 0 15,1-14-15,0 14 0,0 0 0,-1 0 0,1 0 16,-13 14-16,12-14 15,-12 0-15,-1 13 0,1-13 0,-14 13 16,14-13-16,-14 13 0,0-13 0,1 14 16,-41-14-16,14 13 0,0-13 15,-13 13-15,12-13 0,-12 13 0,13-13 16,-27 13-16,14-13 0,-14 0 0,-13 0 16,14 14-16,-1-1 0,-13-13 15,-13 13-15,0-13 0,0 0 16,-13 13-16,13-13 0,-14 14 0,1-14 0,0 13 15,-1-13-15,1 0 0,0 13 16,-14-13-16,27 0 0,-13 0 16,-14 0-16,27 13 0,-26-13 0,12 0 15,1 0-15,-14 0 0,1 0 16,13 14-16,-14-14 0,0 0 0,1 0 16,-14 0-16,14 0 0,-14 0 0,0 0 15,0 0-15,1 0 0,-1 0 0,0 0 16,0 0-16,0 0 15,1 0-15,-1 13 16,-13 0 0,0 0-16,0 0 15,0 1-15,0-1 0,0 13 0,0 1 16,0 13-16,-13-1 0,13 1 0,0 0 16,0 13-16,0-1 0,0-12 15,0 13-15,0 13 0,13 0 0,-13-13 16,0 0-16,13-13 0,-13 13 0,0-14 15,13 1-15,-13-13 0,0-1 16,0 1-16,0-14 0,0 13 0,0 1 16,0-14-16,0 0 0,-13 14 0,0-14 15,0 13-15,-1-13 0,-25 14 16,12-14-16,-12 0 0,-1 1 0,0-1 16,-13-13-16,-13 13 0,0 0 0,-13-13 15,-1 0-15,-12 14 0,-1-14 16,0 0-16,-26 0 0,-13-14 15,-13 14-15,-160-13 0,133 13 16,0-13-16,14 0 0,-28 13 0,1-14 16,0 14-16,-13-13 0,-1 13 15,1-13-15,-1 13 0,1 0 0,-14-13 16,14 13-16,-14 0 0,0 0 0,14 0 16,-14 0-16,1 0 0,-1 0 15,0 0-15,14 0 0,-1 0 0,1 13 16,-1-13-16,1 0 0,13 13 15,0 0-15,-14-13 0,14 14 0,0-1 16,13 0-16,0 0 0,0 1 16,13-1-16,0 0 0,14 0 0,13 0 15,-1 1-15,41-14 0,-1 13 16,14 0-16,-1-13 0,1 13 0,13 1 16,0-14-16,-1 13 0,15 0 0,12-13 15,0 13-15,1-13 0</inkml:trace>
  <inkml:trace contextRef="#ctx0" brushRef="#br0" timeOffset="16409.91">6535 4749 0,'-13'27'15,"0"-14"-15,0 27 0,-1-14 16,14 27-16,-13 0 0,0 0 16,0 0-16,13 0 0,-14 0 0,14-14 15,0 14-15,-13-13 0,13 0 0,0-1 16,0-12-16,13-1 0,-13 1 16,0-14-16,0 13 0,0-12 15,14-1-15,-14 0 0,0 0 0</inkml:trace>
  <inkml:trace contextRef="#ctx0" brushRef="#br0" timeOffset="16929.98">6496 4696 0,'26'-13'0,"0"0"0,1 13 16,13-13-16,-1-1 0,14 14 0,0-13 15,0 0-15,13 0 0,14 13 0,303-53 32,-343 53-32,0-13 15,-1 13-15,-12 0 0,-14 0 16,13 0-16,-12 0 0,-1 13 0,0 0 15,0 0-15,-13 1 0,0-1 16,0 0-16,0 0 0,0 0 16,0 14-16,0-1 0,0 1 15,0-1-15,-13 14 0,13-14 0,0 14 16,0 0-16,0-1 0,13 1 0,-13 0 16,0 0-16,14-14 0,-14 14 15,0-14-15,13 1 0,0-1 0,-13 1 16,13-1-16,-13-13 0,13 14 15,-13-14-15,0 0 0,14 0 0,-14 14 16,0-14-16,0 0 0,-14-13 16,14 14-16,-13-1 0,0 0 0,-13 0 15,-14 0-15,-13 14 0,0-14 16,-13 14-16,0-1 0,-14-13 0,1 14 16,-27-1-16,0 14 0,0 0 15,1-14-15,-1 14 0,-13-1 0,26 1 16,1 0-16,25-14 0,1 1 15,0-1-15</inkml:trace>
  <inkml:trace contextRef="#ctx0" brushRef="#br0" timeOffset="17465.03">8268 6945 0,'13'40'32,"-13"-27"-32,0 0 0,0 1 15,0 12-15,0 1 0,-13 12 0,13 1 16,-13 0-16,13-14 0,-13 14 15,13-14-15,-13 1 0,13-1 16,-14-13-16,14 14 0,0-14 0,0 0 16,0 1-16</inkml:trace>
  <inkml:trace contextRef="#ctx0" brushRef="#br0" timeOffset="17796.04">8467 7051 0,'0'27'32,"0"-14"-32,-14 0 15,14 14-15,0-14 0,0 13 0,14-13 16,-14 14-16,13-14 0,-13 14 16,13-14-16,0 0 0,14 0 0,-14-13 15,13 13-15,-12-13 0,12 0 0,1-13 16,-14 13-16,0 0 0,14-13 15,-14 0-15,0 0 0,0-1 0,-13 1 16,13 0-16,-13 0 0,0-14 0,-13 14 16,13 0-16,-13 0 0,0-14 0,0 14 15,-1 0-15,1 13 16,-13-14-16,12 14 0,-25-13 16,25 13-16,-12 13 0,13-13 0,0 0 15,-1 14-15,1-1 0,0 0 16</inkml:trace>
  <inkml:trace contextRef="#ctx0" brushRef="#br0" timeOffset="17989.84">9009 6945 0,'13'0'0,"-26"0"0,40-13 0,-14 26 15,-13 1-15,0-1 16,0 0-16,-13 0 0,13 14 15,0-14-15,0 13 0,0-12 16,0 12-16,-14-13 0,14 14 0,0-14 16,0 0-16,0 0 0,0 14 15,0-14-15,0 0 0,0 1 0</inkml:trace>
  <inkml:trace contextRef="#ctx0" brushRef="#br0" timeOffset="18180.06">8916 7144 0,'27'13'16,"-14"-13"-1,0 0-15,1-13 0,-1 13 0,13 0 16,-12 0-16,12 0 0,-13-13 15,14 13-15</inkml:trace>
  <inkml:trace contextRef="#ctx0" brushRef="#br0" timeOffset="18362.75">9432 6932 0,'14'40'31,"-14"-27"-31,0 13 0,0-12 15,0-1-15,0 0 0,0 14 16,0-14-16,-14 13 0,14-12 0,0 12 16,0-13-16,0 0 0,0 1 0,0-1 15,0 0-15</inkml:trace>
  <inkml:trace contextRef="#ctx0" brushRef="#br0" timeOffset="18577.12">9684 6945 0,'13'-13'16,"-26"26"-16,26 1 15,-13-1 1,0 0-16,0 13 0,-13-12 16,13 12-16,0-13 0,0 14 0,0-14 15,0 0-15,0 14 0,0-14 0,-13 0 16,13 0-16,0 1 0,0-1 15,0 0-15,0 0 0,0 1 16,0-1-16</inkml:trace>
  <inkml:trace contextRef="#ctx0" brushRef="#br0" timeOffset="18929.57">7924 7805 0,'40'0'0,"264"-53"31,-198 27-31,13 13 0,-13-1 0,13-12 16,13 13-16,1-14 0,-14 14 16,0 0-16,0 0 0,-27-1 0,1 1 15,-14 0-15,14 0 0,-27-1 16,13 14-16,-12-13 0,-28 0 0,14 13 16,-26-13-16,-1 13 0,1-14 0,-14 14 15,0 0-15,0 0 0,-52 14 16</inkml:trace>
  <inkml:trace contextRef="#ctx0" brushRef="#br0" timeOffset="19347.12">9049 8149 0,'39'-13'15,"-78"26"-15,92-26 0,-27 13 0,-13 0 0,1 0 16,-1 0-16,0 13 0,0 0 15,-13 1-15,0-1 0,-13 13 16,0 1-16,-14 12 0,1 1 0,-14 0 16,14 0-16,-1-14 0,1 0 15,13 1-15,-1-14 0,1 0 16,0 1-16,13-1 0,0 0 0,0 0 16,13-13-1,0 0-15,14 0 16,-14-13-16,0 13 0,14-13 0,-1 13 15,-13-13-15,14-1 0,-1 1 0,1 0 16,-14 0-16,0-1 0,1 1 16,-14 0-16,-14 0 0</inkml:trace>
  <inkml:trace contextRef="#ctx0" brushRef="#br0" timeOffset="19684.75">7104 7832 0,'40'0'16,"-80"0"-16,106 0 0,-53 0 0,1 0 16,12-14-16,-13 14 0,14 0 0,-14 0 15,0 0-15,0 0 0,1 0 0,-1 0 16,0 0-16,-13 14 15</inkml:trace>
  <inkml:trace contextRef="#ctx0" brushRef="#br0" timeOffset="19833.78">6972 8043 0,'0'14'15,"0"-28"-15,26 28 0,-13-14 16,14 0-16,-14-14 0,14 14 0,-1 0 15,14-13-15,-14 13 0,1-13 16,12 13-16,-12-13 0,-1 13 0,1 0 16</inkml:trace>
  <inkml:trace contextRef="#ctx0" brushRef="#br0" timeOffset="20314.82">11232 7289 0,'26'-13'0,"-52"26"0,65-26 0,-26 13 15,1-13-15,-1 13 16,0 0-16,0 0 0,1 0 0,-1 0 15,0 13-15,0-13 0</inkml:trace>
  <inkml:trace contextRef="#ctx0" brushRef="#br0" timeOffset="20481.27">11192 7554 0,'40'0'31,"-27"-13"-31,0 13 16,13 0-16,-12 0 0,12-14 0,1 14 16,-1-13-16,1 13 0,-1 0 15,0-13-15,1 13 0</inkml:trace>
  <inkml:trace contextRef="#ctx0" brushRef="#br0" timeOffset="20896.8">12779 6998 0,'40'-13'0,"-80"26"0,107-26 0,-54 13 0,0 0 15,0 13-15,0-13 0,1 13 0,-1-13 16,0 14-16,-13-1 0,0 0 16,0 0-16,0 1 0,0 12 15,-13-13-15,0 14 0,-1-14 0,14 0 16,-13 0-16,0 14 0,0-14 0,0 0 15,13 1-15,0-1 16,-14-13-16,28 13 16,-14 0-16,13-13 0,0 0 0,13 0 15,-12 0-15,-1 0 0,13-13 16,1 13-16,-1-13 0,1 0 16,12-1-16,1 1 0,-13-13 15,12 12-15</inkml:trace>
  <inkml:trace contextRef="#ctx0" brushRef="#br0" timeOffset="21044.9">13335 7025 0,'26'-27'0,"-26"14"0,14 0 16,-41 52 15,14-12-15,13-14-16,-13 0 0,13 1 0,0 12 16,-13-13-16,13 14 0,0-14 15,-14 0-15,14 14 0,0-14 0,0 13 16,-13-12-16,13-1 0</inkml:trace>
  <inkml:trace contextRef="#ctx0" brushRef="#br0" timeOffset="21292.9">12660 7594 0,'53'-14'16,"-13"14"-16,-14 0 0,27 0 0,0-13 0,0 13 16,13-13-16,0 13 0,14-13 15,-14-1-15,-13 14 0,0 0 0,0-13 16,0 13-16,-14 0 0,-12 0 16,-1 0-16,1 0 0,-14 0 15,0 0-15,0 0 0,-13 13 0,14-13 16</inkml:trace>
  <inkml:trace contextRef="#ctx0" brushRef="#br0" timeOffset="21604.19">13216 7805 0,'40'0'16,"-80"0"-16,93 0 0,-27 0 0,-12 0 0,-1 0 15,0 13 1,-13 1-16,-13-1 0,0 0 16,-1 0-16,-12 14 0,-1-1 15,1-12-15,-1 12 0,1 0 0,13-12 16,0-1-16,-1 0 0,1 0 0,0 1 16,13-1-16,0 0 15,13-13 1,0 0-16,1 0 0,12 0 0,-13-13 15,27 13-15,-14-13 0,14-1 16,0 1-16,-1 0 0,1-14 0,0 14 16,0-13-16,-14-1 0,14 14 15,-14-13-15,14-1 0</inkml:trace>
  <inkml:trace contextRef="#ctx0" brushRef="#br0" timeOffset="21826.98">14036 7289 0,'40'-13'31,"-27"13"-31,0-13 0,1 13 15,-1 13-15,0-13 0,0 0 0,0 0 16,1 0-16,-14 13 0</inkml:trace>
  <inkml:trace contextRef="#ctx0" brushRef="#br0" timeOffset="21961.9">14063 7488 0,'79'-14'0</inkml:trace>
  <inkml:trace contextRef="#ctx0" brushRef="#br0" timeOffset="22265.05">15716 7038 0,'-13'26'16,"13"-12"-16,0-1 0,-13 0 0,13 0 0,0 14 16,0-1-16,0 1 0,0-1 15,0 14-15,0-1 0,0-12 16,0-1-16,0 1 0,0-1 0,0 1 16,0-14-16,0 0 0,0 0 0</inkml:trace>
  <inkml:trace contextRef="#ctx0" brushRef="#br0" timeOffset="22469.83">16047 7091 0,'0'40'15,"0"-27"-15,-13 0 16,13 13-16,-13-12 0,13 12 0,-14 14 15,1-14-15,0 1 0,13-1 16,-13-13-16,13 14 0,-14-14 0,14 14 16,0-14-16,0 0 0</inkml:trace>
  <inkml:trace contextRef="#ctx0" brushRef="#br0" timeOffset="22620.91">16298 7289 0,'-13'0'31,"0"0"-31</inkml:trace>
  <inkml:trace contextRef="#ctx0" brushRef="#br0" timeOffset="22896.84">16563 7197 0,'-53'13'0,"106"-26"16,-119 39-16,53-26 0,13 13 0,13 14 15,0-14 1,0 0-16,14 14 0,-14-14 16,0 0-16,0 0 0,1 1 0,-1-1 15,-13 0-15,13 0 0,-13 1 16,0-1-16,-13 0 0,0 0 16,-14 0-16,1 14 0,-14-14 15,0 0-15</inkml:trace>
  <inkml:trace contextRef="#ctx0" brushRef="#br0" timeOffset="23085.86">15505 7779 0,'53'0'0,"-106"0"0,145 0 0,-39 0 0,0 0 16,13-13-16,14 13 0,-1 0 15,14-14-15,-1 14 0,1-13 16,-1 13-16,-12 0 0,12-13 0,-26 13 0,1 0 15,-14-13-15,-27 13 0,0 0 16,1 13-16,-14-13 0</inkml:trace>
  <inkml:trace contextRef="#ctx0" brushRef="#br0" timeOffset="23280.66">15663 8043 0,'53'0'15,"-106"0"-15,146 0 0,-53 0 0,13 0 0,-1 0 16,15-13-16,-1 13 0,-13 0 0,13-13 16,13 13-16,-26-13 15,0 13-15,0-14 0,-13 14 0,-1-13 0,-12 13 16,-1-13-16,1 13 0,-1-13 0,-13 13 16,1-13-16,-1 13 15,0-14-15,0 1 0,1 0 0</inkml:trace>
  <inkml:trace contextRef="#ctx0" brushRef="#br0" timeOffset="24798.65">3836 2103 0,'0'14'15,"14"-14"-15,12 0 16,-13-14-16,14 14 0,-14-13 0,27 0 15,-14-13-15,1 12 16,12-12-16,-12-1 0,13-12 0,-1-1 16,-12 0-16,-1 1 0,1-1 0,-1-13 15,0 13-15,-12-13 0,-1 1 16,0-1-16,-13 0 0,0-13 0,0-1 16,-13 1-16,0-13 0,-1 13 0,-25-27 15,-1 14-15,-13 13 0,0-1 16,0 1-16,-13 0 0,0 13 0,0 0 15,-13 0-15,-14 0 0,0 14 0,1-1 16,-1 14-16,-26-1 0,13 1 16,-13-1-16,-13 14 0,13 0 15,-13 0-15,-1 13 0,27 0 0,-26 0 16,0 0-16,13 13 0,-14 13 0,1-12 16,13 12-16,13 0 0,-13 14 15,27 0-15,-14-1 0,13 14 0,14 14 16,-14-1-16,14 0 0,-1 26 0,14 1 15,0-14-15,0 27 0,0 0 16,26 0-16,-13 13 0,27-13 0,-1 13 16,14-27-16,13 1 0,13-14 0,14 14 15,12 0-15,28-14 0,-1 0 16,26-26-16,1 13 0,26-13 16,27-26-16,-1 13 0,14-14 0,13-13 15,26-13-15,1 0 0,-1 0 0,14-13 16,52 0-16,-12-14 0</inkml:trace>
  <inkml:trace contextRef="#ctx0" brushRef="#br0" timeOffset="28504.14">16523 7157 0,'0'-13'15,"13"13"16,1 0-15,-1 0-16,0 0 0,0 0 16,1 0-16,-1 0 0,0 0 0,0 0 15,1 0-15,-1 0 0,0 0 16,0 0-16,0 0 0,1 0 0</inkml:trace>
  <inkml:trace contextRef="#ctx0" brushRef="#br0" timeOffset="29891.99">12184 5027 0,'13'0'16</inkml:trace>
  <inkml:trace contextRef="#ctx0" brushRef="#br0" timeOffset="36181.87">20809 1984 0,'0'14'31,"0"-1"-15,0 0-16,0 0 15,0 1 1,14-1-1,-14 0 1,13-39 15,-13 12-31,0 1 16,0 0-16,0 0 16,13-1-1,-13 1-15,0 0 16,13 26 15,1 0-15,-14 1 15,13-28-15,0 1-16,-13 0 15,13 13-15,-13-13 16,0-1-16,14 14 0,-14-13 15,13 13 1,0 13 0,0-13-16,-13 14 15,13-1-15,-13 0 0,14 0 16,-14 1 0,13-14-16,-13 13 15,0 0-15,13-13 0,-13 13 16,13 1-1</inkml:trace>
  <inkml:trace contextRef="#ctx0" brushRef="#br0" timeOffset="36614.37">21233 2011 0,'13'-13'0,"0"-27"31,-13 27-31,0-1 16,-13 14-16,13-13 15,-13 40 1,0-27 0,13 13-16,-14 0 0,14 0 15,0 1-15,0 12 16,0-13-16,14-13 15,-14 14-15,13-14 16,-13 13-16,13-13 0,0 0 0,0 0 16,1 0-16,-1 13 15,0-26-15</inkml:trace>
  <inkml:trace contextRef="#ctx0" brushRef="#br0" timeOffset="37257.94">21550 1905 0,'-13'-13'15,"0"0"1,0 13-16,-1 13 15,1 0-15,0-13 16,13 13-16,-13-13 0,-1 13 16,14 1-16,-13-14 0,13 13 0,-13-13 15,13 13-15,-13 0 16,13 1-16,13-1 16,0-13-1,0 0 1,1 0-1,-1-13 1,0-1-16,0 14 16,-13-13-16,14 0 0,-14 0 15,13 13 1,-13-14-16,13 1 16,-13 26 30,13 1-30,-13-1-16,0 0 16,14-13-1,-14 13-15,13-13 32,13 0-17,-13 0 16,1 0-31,-1-13 16,0 13 0,0 0-16,1 0 15,-1 0 1,0 0 0</inkml:trace>
  <inkml:trace contextRef="#ctx0" brushRef="#br0" timeOffset="37481.51">22066 1799 0,'40'-13'16,"-27"0"0,0 13-16,1 0 15,-1 0-15,0 0 0</inkml:trace>
  <inkml:trace contextRef="#ctx0" brushRef="#br0" timeOffset="37652.01">21960 1971 0,'27'0'15,"-14"0"1,0-13-16,1 13 0,-1 0 0,13-13 16,-13 13-16,14-14 0,-14 14 0,14-13 15,-14 13-15</inkml:trace>
  <inkml:trace contextRef="#ctx0" brushRef="#br0" timeOffset="37970.07">22384 1627 0,'0'0'0,"13"-13"0,0 13 15,0 0-15,1 0 16,-1 0-16,0 13 16,0-13-16,-13 13 0,14 1 15,-1-1-15,-13 0 0,13 0 0,0 1 16,-13 12-16,13-13 0,-13 0 0,0 1 15,0-1-15,14 0 16,-14 0-16,-14 1 0,14-1 0,14-13 16,-14 13-16,0 0 0</inkml:trace>
  <inkml:trace contextRef="#ctx0" brushRef="#br0" timeOffset="38142.71">22423 1852 0,'0'-13'0,"40"0"15,-27 13 1,1-14-16,-1 14 0,0-13 16,0 13-16,0 0 0,1 0 0</inkml:trace>
  <inkml:trace contextRef="#ctx0" brushRef="#br0" timeOffset="38349.71">23072 1640 0,'0'-13'32</inkml:trace>
  <inkml:trace contextRef="#ctx0" brushRef="#br0" timeOffset="38712.54">23336 1535 0,'0'0'0,"-13"0"16,-13 0-1,12 13 1,14 0-16,-13-13 0,13 13 16,0 14-1,0-14-15,0 0 0,0 0 16,0 1-16,0 12 16,0-13-1,-13 1-15,0-1 16,-1-13-16,14 13 15,-13-13-15,0 0 0,0 13 0,0-13 16,13 13-16,-14-13 0,1 0 0</inkml:trace>
  <inkml:trace contextRef="#ctx0" brushRef="#br0" timeOffset="39577.75">23164 2051 0,'-13'26'16,"13"-13"-16,0 0 15,0 1-15,-13-14 0,13 13 16,13 0-16,-13 0 16,13 1-16,1-1 15,-1-13-15,0 13 16,0-13-16,0 0 0,1 0 0,-1 0 15,0 0-15,14 0 0,-14 0 16,0 0-16,0-13 0,0 13 0</inkml:trace>
  <inkml:trace contextRef="#ctx0" brushRef="#br0" timeOffset="39848.08">23429 2064 0,'13'-13'0,"27"26"31,-27 0-31,0-13 0,0 0 16,1 13-16,-14 0 0,13-13 16,0 14-16,0-14 0,1 13 0,-14 0 15,13 0-15,-13 1 16,0-1-16,0 0 15,-13-13-15,13 13 0,-14-13 0,14 13 16,-13-13-16,13 14 0,-13-1 16</inkml:trace>
  <inkml:trace contextRef="#ctx0" brushRef="#br0" timeOffset="40262.44">23852 2051 0,'13'0'15,"-26"0"-15,40 0 0,-14-14 0,13 14 0,-12 0 16,-1-13-16,0 13 15,0 0-15,0 0 0,1 0 0,-1 0 16,0 0-16,0 0 16,1 0-16,-1 0 0,0 13 15,-13 1 1,0-1-16,0 0 16,0 0-16,0 0 0,0 1 15,0-1-15,0 0 16,0 0-16,0 1 0,0-1 15,-13 0-15,13 0 16,-13-13-16,13 13 0,-14-13 16,1 0-16,13 14 0,-13-14 0,0 0 15,-1 13-15,1-13 16</inkml:trace>
  <inkml:trace contextRef="#ctx0" brushRef="#br0" timeOffset="40505.8">24315 2051 0,'-26'26'0,"52"-52"16,-65 52-16,25-13 0,1 0 15,0 1-15,13-1 16,0 0-16,0 0 15,13-13 1,-13 14-16,13-14 0,1 0 0,-1 0 16,0 0-16,13 13 0,-12-13 0,-1 0 15,0 0-15,14 0 0,-14 0 16,0 0-16,0 0 0,1 0 16</inkml:trace>
  <inkml:trace contextRef="#ctx0" brushRef="#br0" timeOffset="41305.89">24342 2434 0,'0'0'0,"13"0"31,-26 27-31,-1-14 16,14 0-16,-13 14 0,-13-1 0,13 0 15,-14 1-15,1-1 0,12 1 16,-12-1-16,-1-12 0,14 12 0,-13 0 16,13-12-16,-1-1 0,1 0 15,0 0-15,0-13 0,13 14 16,-14-1-16,1-13 0,0 13 15</inkml:trace>
  <inkml:trace contextRef="#ctx0" brushRef="#br0" timeOffset="41650.08">24064 2487 0,'0'0'0,"40"27"0,-27-14 0,0 0 16,13 0-16,1 14 0,-1-14 0,1 13 15,-1-12-15,14 12 0,-14-13 16,1 14-16,-1-14 0,1 0 0,-14 0 16,0-13-16,1 14 0,-1-1 15,0-13-15,0 13 0,0-13 0,1 13 16,-1 1 0</inkml:trace>
  <inkml:trace contextRef="#ctx0" brushRef="#br0" timeOffset="43533.28">21630 1971 0,'0'27'31,"0"-14"1,26-26-1,-13-1-16,1 28 17,-1-14-17,0 0-15,0 0 0,1 13 16,-1-13-16,0-13 0,0 13 16,14 0-16,-14 0 0,13-14 15,-12 14-15,-1 0 0,0-13 0</inkml:trace>
  <inkml:trace contextRef="#ctx0" brushRef="#br0" timeOffset="44625.75">20585 4114 0,'-14'27'31,"1"-14"-16,13 0-15,0 0 16,0 1-16,0-1 16,0 0-16,-13 0 15,13 1 1,0-54 31,0 27-47,0-1 0,13 1 15,-13-13-15,0 13 0,0-14 16,13 14-16,-13 0 0,0-1 0,0 1 16,14 0-16,-14 0 0,0-1 15,13 14 1,0 27-16,0-14 16,-13 0-16,14 1 0,-14-1 15,0 0-15,0 0 0,13 1 16,-13-1-16,0 0 0,13-13 15,-13 13-15,0 0 16,13-13 0,0-13-16,-13 0 15,14 0-15,-14 0 0,13-1 16,0 1-16,-13 0 16,13 13-16,-13-13 0,14 13 0,-1 0 15,0 13-15,0 0 16,-13 0-16,13 1 0,1-1 15,-14 0-15,13 0 16,-13 0-16,0 1 0,13-1 16,-13 0-16,13 0 15,1-13 1,-14 14-16,13-14 0</inkml:trace>
  <inkml:trace contextRef="#ctx0" brushRef="#br0" timeOffset="44928.78">21048 4220 0,'0'-26'16,"0"52"-16,13-52 0,-13 12 0,0 1 15,0 0-15,0 0 16,-13 26 15,-1-13-15,14 13-16,-13 0 0,13 1 16,0-1-16,0 0 15,0 0-15,13-13 0,1 0 16,-1 0-16,0 0 0,14 0 15</inkml:trace>
  <inkml:trace contextRef="#ctx0" brushRef="#br0" timeOffset="45395.97">21352 4141 0,'0'-13'16,"-27"13"-1,1 0-15,13 13 0,-1-13 16,1 13-16,0-13 0,0 13 15,0-13-15,13 13 0,-14-13 16,14 14-16,14-1 31,-1-13-31,13-13 16,-13 13-16,1-14 0,-1 1 16,-13 0-16,13 0 0,0 0 0,14-14 15,-14 1-15,-13-14 0,13 13 0,1 14 16,-1-13-16,-13 13 0,13-1 15,-13-12-15,13 26 0,-13-13 0,0-1 16,0 54 15,0-27-31,0 1 0,0-1 16,-13 0-16,13 0 0,0 0 16,0 1-16,0-1 0,0 0 0,13 0 0,-13 1 15,0-1 1,13-13-16,-13 13 0,14-13 0,-1 0 15,0 13-15,0-13 16,1 14-16,-14-1 16,13-13-16,-13 13 15,0 0-15,-13 0 16,13 1-16,0-1 16</inkml:trace>
  <inkml:trace contextRef="#ctx0" brushRef="#br0" timeOffset="45532.99">21577 3942 0,'-13'0'0,"-1"0"31,1 14-31</inkml:trace>
  <inkml:trace contextRef="#ctx0" brushRef="#br0" timeOffset="45890.01">21709 4048 0,'-26'13'16,"12"-13"-16,14 14 0,-13-14 15,13 13-15,0 0 0,-13 0 16,13 1-16,0-1 16,13-13-1,0 0-15,14-13 16,-14 13-16,0 0 0,1-14 16,-1 14-16,0-13 15,0 13-15,0-13 16,1 13-16,-1 0 15,0 13 1,0-13-16,1 0 16,-1 0-16,0 0 31,0 0-31,1 0 16,-1 0-16</inkml:trace>
  <inkml:trace contextRef="#ctx0" brushRef="#br0" timeOffset="46097.56">22344 4008 0,'27'0'0,"39"0"31,-40 0-31,-13 0 16,1 0-16</inkml:trace>
  <inkml:trace contextRef="#ctx0" brushRef="#br0" timeOffset="46245.89">22318 4154 0,'26'0'31,"-13"0"-15,1-13-16,12 13 0,-13 0 0,0-13 15,14 13-15,-14 0 0,14-14 16,-14 14-16</inkml:trace>
  <inkml:trace contextRef="#ctx0" brushRef="#br0" timeOffset="46463.99">22807 3836 0,'-13'27'31,"13"-14"-31,0 0 16,0 1-16,0-1 0,0 13 0,-13 1 15,13-1-15,0-13 0,0 1 0,0-1 16,0 0-16,0 0 15,0 1-15,0-1 0,0 0 16,13 0-16,-13 1 16</inkml:trace>
  <inkml:trace contextRef="#ctx0" brushRef="#br0" timeOffset="47354.57">23019 3850 0,'0'0'0,"13"0"0,0 0 0,0 0 15,1 0-15,-14 13 16,13-13-16,-13 13 0,0 0 15,0 1 1,0-1-16,0 0 0,0 0 16,0 1-16,0-1 15,0 0-15,0 0 16,13 0-16,-13 1 0,0-1 16,0 0-16,0 14 15,-13-14 1,13 0-16,-13-13 0,13 13 15,-14-13-15,1 14 0,0-14 0,13 13 16,-13-13-16,0 13 0,-1-13 16,1 0-16,13 13 0,-13-13 0,0 0 15</inkml:trace>
  <inkml:trace contextRef="#ctx0" brushRef="#br0" timeOffset="47691.11">23495 4035 0,'40'0'16,"-14"-13"0,-13 13-16,1 0 0,-1 0 15,0 0-15,0 0 0,1 0 16,-1 0-16,0 0 0,0 0 15</inkml:trace>
  <inkml:trace contextRef="#ctx0" brushRef="#br0" timeOffset="47933.31">23707 3916 0,'13'0'0,"27"13"16,-27 0 0,0-13-16,0 14 0,0-1 15,1 0-15,-1 0 0,-13 0 0,13 1 16,-13-1-16,0 13 0,0-12 0,0-1 16,0 0-16,-13 0 0,13 1 0,-13-1 15,-1 0-15,1 0 0,0 0 16,-13 1-16,12-1 0,1-13 15,0 13-15,0 0 0</inkml:trace>
  <inkml:trace contextRef="#ctx0" brushRef="#br0" timeOffset="48903.98">24276 3929 0,'0'27'31,"0"-14"-31,0 0 16,0 0-16,0 0 0,0 1 15,-14-1-15,14 0 0,0 0 0,0 1 16,-13-1-16,13 0 0,0 0 0,-13-13 16,13 14-16,0-1 0,0 0 15</inkml:trace>
  <inkml:trace contextRef="#ctx0" brushRef="#br0" timeOffset="49369.75">24328 3916 0,'0'0'16,"27"-13"-16,13 13 16,-27 13-16,0 0 15,-13 0-15,13 1 16,-13-1-16,0 0 0,0 0 0,-13 14 15,13-14-15,-13 13 0,0-12 0,-1-1 16,1 13-16,-13-12 0,12-1 16,1 0-16,0 0 0,0 0 0,0 1 15,-1-14-15,1 13 0,0-13 0,13 13 16</inkml:trace>
  <inkml:trace contextRef="#ctx0" brushRef="#br0" timeOffset="49587.92">24593 3995 0,'13'27'0,"-26"-54"0,26 67 15,-13-27-15,-13 0 0,13 1 16,0-1-16,0 0 0,-13-13 15,13 13-15,-13 1 0,13-1 0,-14 0 16,14 0-16,-13-13 0,13 13 16</inkml:trace>
  <inkml:trace contextRef="#ctx0" brushRef="#br0" timeOffset="49838.67">24672 3810 0,'-13'0'0,"0"13"32</inkml:trace>
  <inkml:trace contextRef="#ctx0" brushRef="#br0" timeOffset="50108.99">24778 3929 0,'0'27'16,"0"-14"-16,-13 0 15,13 0-15,0 0 0,-13 1 16,13-1-16,-13 0 0,-1 0 15,14 1-15,-13-1 0,0 0 0,0 0 16,-1-13-16,1 14 0,0-1 16,0 0-16,-1-13 15</inkml:trace>
  <inkml:trace contextRef="#ctx0" brushRef="#br0" timeOffset="50538.05">24884 3956 0,'0'0'0,"-13"26"32,0-13-32,13 0 15,-14 1-15,1-1 0,13 0 16,-13 0-16,13 1 0,0-1 15,0 0 1,13-13-16,0 0 16,1 0-1,-1 0-15,0 0 16,0 0 0,1 13-1,-1-13-15,0 0 16,0-13-16,0 13 31,1-13-31,-14 0 16,0-1-1,0 1-15,-14 0 16,1 26 0,0-13-16,-13 0 0,12 13 15,1 1-15,-13-1 0,-1 0 16</inkml:trace>
  <inkml:trace contextRef="#ctx0" brushRef="#br0" timeOffset="50927.89">24567 4524 0,'0'-92'32,"13"65"-32,-13 14 0,13 0 0,0-14 15,0 27-15,1-13 0,-1 0 16,0 0-16,-39 39 31,12-13-31,-12 1 16,0-1-16,-1 0 0,1 0 0,12 1 15,1-1-15,-13-13 0,26 13 0,-13-13 16,-1 13-16,1 0 16,26-13-1,1 0-15,-1 0 0,13 0 16,-13 0-16,14 0 0,-1 0 16,-12 0-16,25 0 0,-26 0 15,1 14-15,-1-14 0,0 0 0,0 13 16,1-13-16,-14 13 15</inkml:trace>
  <inkml:trace contextRef="#ctx0" brushRef="#br0" timeOffset="51570.74">24315 4802 0,'-26'13'31,"26"1"-15,0-1-16,-13-13 15,13 13 1,-14 0 15,14 1 1,0-1 30,0-40-15,14 27-47,-14-13 0,0 0 16,0 0-16,13 13 0,-13-14 0,13 1 15,-13 0-15,13 0 0,0-1 16,1 1-1,-1 13-15,0 0 16,-13 13-16,13-13 0,-13 14 16,14-14-16,-14 13 15,0 0-15,0 0 0,0 1 16,-14-14-16,14 13 0,-13-13 0,0 13 16,0 0-16,-1-13 0,1 14 15,0-1-15,0-13 0,0 0 16,-1 13-16,1-13 0,0 0 15</inkml:trace>
  <inkml:trace contextRef="#ctx0" brushRef="#br0" timeOffset="51874.11">24606 4776 0,'13'0'16,"14"0"-1,-14 13 1,0 0 0,-13 0-16,14 1 15,-14-1-15,0 0 16,-14 0-16,14 1 15,0-1-15,0 0 0,-13 0 16,13 0-16,-13-13 0,0 14 0,-1-1 16,1-13-16,0 0 0,0 13 15,0-13-15,-1 13 0,1-13 16,0 0-16</inkml:trace>
  <inkml:trace contextRef="#ctx0" brushRef="#br0" timeOffset="52007.91">24580 5001 0,'-13'0'16,"-1"0"0</inkml:trace>
</inkml:ink>
</file>

<file path=ppt/ink/ink19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2:18:43.344"/>
    </inkml:context>
    <inkml:brush xml:id="br0">
      <inkml:brushProperty name="width" value="0.05292" units="cm"/>
      <inkml:brushProperty name="height" value="0.05292" units="cm"/>
      <inkml:brushProperty name="color" value="#0070C0"/>
    </inkml:brush>
  </inkml:definitions>
  <inkml:trace contextRef="#ctx0" brushRef="#br0">3929 1349 0,'66'0'125,"80"0"-125,118 0 15,173 27-15,39-40 16,133-14-16,39 27 16,-40 0-16,-39 0 15,-92 13-15,-120-13 16,-93 0-1,-105 0-15,-66 0 16,-80 0-16,0 0 16</inkml:trace>
  <inkml:trace contextRef="#ctx0" brushRef="#br0" timeOffset="4831.31">860 3850 0,'-13'13'16,"105"-13"0,-39 0-1,0 0-15,40-13 0,-14 13 0,14 0 16,105-14-16,-105 14 15,13 0-15,-1 0 0,-25 0 0,12-13 16,-12 13-16,-1 0 0,-26 0 0,0 0 16,40 0-16,-54 0 0,-26 0 15,40 0-15,-39 0 16,-1 0-16,0 0 0,0 0 16,-26 13-16,-53 1 15</inkml:trace>
  <inkml:trace contextRef="#ctx0" brushRef="#br0" timeOffset="5096.47">1098 4114 0,'-53'14'0,"106"-28"0,-119 28 16,53-14-16,52 0 16,1-14-1,13 14-15,26-13 0,1 0 0,-1 13 16,14-13-16,-1 13 0,1-14 0,-1 14 15,1-13-15,-14 13 0,1-13 16,-1 13-16,-26 0 0,0-13 0,-13 13 16,-14 0-16,1 0 0,-1 0 15,-13 0-15,14 0 0,-14 0 0,0 0 16,0 0 0,-26-14-1,13 1-15,-13 0 16,0 0-16</inkml:trace>
  <inkml:trace contextRef="#ctx0" brushRef="#br0" timeOffset="5595.53">2381 2990 0,'-13'0'31,"39"-13"-31,-12-1 15,-1 14-15,13-13 0,-12 0 16,12 0-16,14-1 0,-14 1 16,1 0-16,-1 13 0,1-13 0,-1 0 15,1 13-15,-14-14 0,26 1 16,-25 0-16,-1 13 0,0-13 16,0 13-16,-13-14 0,14 14 0,-14-13 15,13 13-15,-13-13 0,0 0 16</inkml:trace>
  <inkml:trace contextRef="#ctx0" brushRef="#br0" timeOffset="5845.33">2619 2659 0,'-13'0'32,"40"-13"-17,-14 13 1,0 0-16,0 0 0,1 0 0,12 13 15,-13-13-15,14 0 0,-14 13 16,13-13-16,-12 14 0,-1-14 0,13 13 16,-12 0-16,-1-13 0,-13 13 0,13 0 15,0 14-15,-13-14 16,0 0-16,0 1 0,0-1 16,0 0-16,0 0 0,13-13 15,-13 14-15</inkml:trace>
  <inkml:trace contextRef="#ctx0" brushRef="#br0" timeOffset="6296.86">3426 2699 0,'-26'13'15,"-27"-26"1,40 13-16,0-13 16,-14 13-16,14-14 0,0 1 0,-1 0 15,1 0-15,0-27 0,-14 13 16,14 1-16,13-14 0,-13 14 16,13-1-16,0 14 0,13-13 0,-13-1 15,13 14-15,-13 0 0,14 0 0,-14-1 16,13 1-16,0 13 0,0 0 15,1 0-15,-14 13 16,0 1-16,-14-1 0,14 26 16,-26-12-16,13 13 0,-14-14 0,14 14 15,-13-14-15,-1 14 0,14-14 16,-14 1-16,14-14 0,0 0 0,0 14 16,13-14-16,-14 0 0,28 0 31,12-26-31,-13 13 15,1 0-15,12-13 0,-13 0 0,14 13 16,12-27-16,-12 14 0,-14 0 0,27 0 16,-14 13-16,1-14 0,-14 1 15,13 13-15,-12-13 0,-1 13 16,0 0-16</inkml:trace>
  <inkml:trace contextRef="#ctx0" brushRef="#br0" timeOffset="6704.57">3982 2209 0,'-40'0'15,"14"0"-15,-1 0 16,14 13-16,13 14 16,13-14-1,1 0-15,-1 1 0,0-1 16,0 0-16,14 14 0,-1-14 0,-13 13 0,14-13 16,-14 1-16,0-1 15,1 0-15,-1 0 0,0 1 0,0-1 16,-13 0-16,0 0 0,0 1 0,-13 12 15,0-13-15,0 14 0,-14-1 0,1 1 16,-1-14-16,1 13 16,-1-12-16,1-1 0,13 0 0,-14-13 15,14 13-15,0-13 0,-1 0 0,1 0 0,0 0 16,0 0-16,13-13 16,13-13-1</inkml:trace>
  <inkml:trace contextRef="#ctx0" brushRef="#br0" timeOffset="7410.67">4392 2236 0,'-66'26'31,"53"-13"-16,-1 1-15,1-14 0,0 13 0,0 0 16,13 0-16,-27 14 16,27-14-16,0 0 0,0 0 15,0 1-15,0-1 0,0 0 16,14-13-16,-1 13 16,0-13-16,0 0 15,0-13-15,1 0 16,-1 0-16,-13-1 15,13 1-15,-13 0 0,13 0 16,-13 0-16,14-1 16,-14 1-16,-14 40 62,14-14-62,14 0 16,-14 0-1,13-13 1,0 0 0,0-13-1,1 13-15,-1 0 16,0 0-16,0 0 16,0 13-1,1-13-15,-1 0 16,0 13-1,0-26 17,1 0-32,-1 0 15,0 0 1,0 13-16,1-14 16,-1 14-16,0 0 0,0 0 15,0 0 1,14-13-16,-14 13 15,0 0 1,1 0-16,-1 0 16,0-13-16,0 13 15</inkml:trace>
  <inkml:trace contextRef="#ctx0" brushRef="#br0" timeOffset="7844.54">4815 2037 0,'-13'0'0,"26"0"0,-26-13 0,26 40 32,-13-14-17,14 13-15,-14-13 0,13 14 0,0 13 16,0-14-16,1 14 16,-14-1-16,13-12 0,0 13 0,-13-14 15,13 0-15,-13 14 0,0-13 16,13-14-16,-13 13 0,0-12 15,0-1-15,0 0 0,0 0 16,-13 0-16,0-39 31,13 0-31,0 12 16,0-12-16,0-1 0,0-26 0,13-13 16,-13 27-16,13 12 0,-13 14 0,14-14 15,-14 14-15,13 0 16,0 0-16,0 13 15,1 0-15,-14 13 16,13-13-16,-13 13 0,0 0 0,0 1 16,0-1-16,0 0 0,0 0 15,0 1-15,0-1 0,-13 0 0,13 0 16,-14 1-16,14-1 0,0 0 16</inkml:trace>
  <inkml:trace contextRef="#ctx0" brushRef="#br0" timeOffset="8184.4">5226 1892 0,'-14'39'15,"14"-25"-15,0-1 0,-13 13 16,13-12-16,0 12 0,-13 27 15,13-40-15,0 14 0,0-14 16,13 0-16,-13 14 0,13-14 0,1 0 16,-1 0-16,0-13 15,0 0-15,0 0 0,1 0 16,-1-13-16,0 13 0,0-13 16,1 13-16,-14-13 0,13 13 0,0-14 15,0 14 1,1 14-1,-1-14-15,0 13 16,0-13-16,0 13 16,1 0-1,-1-13 1,-26 13-16</inkml:trace>
  <inkml:trace contextRef="#ctx0" brushRef="#br0" timeOffset="8677.54">4247 2844 0,'105'-53'32,"-38"27"-32,-15-1 0,15 14 0,12-13 15,-13-1-15,0 14 0,0-13 16,14 12-16,-14-12 0,-13 13 0,13-14 15,-13 14-15,0 0 0,-13 0 0,-1-1 16,-12 14-16,-1-13 0,1 13 16,-14-13-16,0 13 0,-39 26 31,12-26-31,-25 14 0</inkml:trace>
  <inkml:trace contextRef="#ctx0" brushRef="#br0" timeOffset="8942.58">4485 2805 0,'-27'0'0,"54"0"0,-54 13 0,67-26 31,-14 13-31,14-14 0,13 1 16,0 0-16,-13 13 0,26-13 0,0-1 16,40-12-16,-53 26 0,0-13 15,-14 0-15,1 13 0,0 0 16,-14-14-16,-13 14 0,14 0 0,-14 0 15,0 0-15,14 0 0,-14 0 16,0-13-16,0 13 16,1 13-16,-28 1 47</inkml:trace>
  <inkml:trace contextRef="#ctx0" brushRef="#br0" timeOffset="14104.86">7752 3717 0,'93'14'31,"-27"-28"-31,0 14 0,0-13 0,27 13 16,0-13-16,39 13 0,-40-13 15,41 13-15,-1-14 0,14 14 0,-14-13 0,13 13 16,-39 0-16,26 0 0,14 0 16,-40 0-16,0 0 0,92 0 15,-105 0-15,-1 0 0,-12 13 0,-1-13 16,-26 0-16,13 0 0,-13 0 16,-13 0-16,-1 0 0,-12 0 15,-1 0-15,-12 0 0,-1 0 0</inkml:trace>
  <inkml:trace contextRef="#ctx0" brushRef="#br0" timeOffset="14374.51">8149 4008 0,'93'-13'0,"-186"26"0,265-26 0,-92 0 15,12 13-15,1-13 0,-1 13 0,14 0 0,26-13 16,-26 13-16,0 0 0,-13 0 0,105 0 16,-105 0-16,-1 0 15,1 13-15,-14-13 0,-13-13 0,-13 13 16,0 0-16,-13 0 0,13-14 0,-27 14 15,1 0-15,-1-13 0,-12 13 0,-1-13 16</inkml:trace>
  <inkml:trace contextRef="#ctx0" brushRef="#br0" timeOffset="14811.2">8308 2844 0,'13'14'0,"133"-1"15,-80-13 1,13 0-16,14 0 0,-1 0 0,14 13 16,0-13-16,26 0 0,-26 0 15,26 0-15,14 0 0,-40 0 16,26 0-16,-26 0 0,0 0 0,0 13 15,-1-13-15,-12 0 0,0 0 16,-1 0-16,-12 0 0,-1 0 0,-13 0 16,-13 0-16,0 0 0,-13 0 0,-14 0 15,1 0-15,-14 0 0,0 0 0,-39 0 32</inkml:trace>
  <inkml:trace contextRef="#ctx0" brushRef="#br0" timeOffset="15107.73">8559 3188 0,'437'-26'15,"-305"13"1,-13-1-16,27 14 0,-14-13 15,14 13-15,-1 0 0,-13 0 0,1 0 16,-1 0-16,-13 0 0,-26 0 0,12 0 16,-12 13-16,0-13 0,-14 0 0,-13 14 15,-13-14-15,0 0 0,-13 13 0,-14-13 16,1 0-16,-14 0 0,13 0 16,-13 13-16,1-13 0,-1 0 15,0 0-15,0 0 16</inkml:trace>
  <inkml:trace contextRef="#ctx0" brushRef="#br0" timeOffset="15955.24">18680 1773 0,'13'-27'15,"-13"67"16,-13-27-31,13 27 16,0 0-16,0-1 0,0 1 16,0 13-16,0-13 0,0-1 15,0 14-15,0-13 0,0-1 0,0-12 16,13 13-16,-13-14 0,0 1 0,0-1 16,13 0-16,-13-12 0,0-1 15,0 0-15,0 0 0</inkml:trace>
  <inkml:trace contextRef="#ctx0" brushRef="#br0" timeOffset="16257.37">18481 2368 0,'0'13'46,"-13"-13"-46,26 13 0,-13 1 0,0-1 16,0 0-16,0 0 0,0 14 0,13-14 16,-13 0-16,14 1 0,-1-1 15,0 0-15,0-13 0,1 13 16,-1-13-16,0 0 0,0 0 0,0 0 16,1 0-16,12-13 0,1 13 15,-14-13-15,13 0 0,1-1 16,-1 1-16,1 0 0,-14 0 0,13 13 15,-12-14-15,-1 1 0,0 13 16,0-13-16,0 0 0</inkml:trace>
  <inkml:trace contextRef="#ctx0" brushRef="#br0" timeOffset="16952.27">18852 847 0,'145'-27'31,"-118"27"-31,-1 0 16,-13 13-16,0-13 15,1 14-15,-1-14 0,0 13 0,-13 13 16,-66 67 0,53-67-16,-14-12 15,14-1-15,0 0 0,0-13 0,-1 13 16,1 1-16,0-1 15,26-13 1,0 0 0,1 0-16,12 0 0,1-13 15,-1 13-15,0 0 0,1-14 0,-1 14 16,1-13-16,-1 0 0,1 13 16,-1-13-16,-13 13 0,1-14 0,-1 14 15,0-13-15</inkml:trace>
  <inkml:trace contextRef="#ctx0" brushRef="#br0" timeOffset="17327.39">19288 609 0,'0'-14'0,"-13"54"15,13-27 1,0 0-16,0 1 0,0-1 16,-13 13-16,13-12 0,0-1 15,0 0-15,0 0 0,13-13 16,-13 14-16,0-1 16,13-40-1,0 14 1,1 0-16,-14 0 15,13-1-15,0 14 0,-13-13 0,13 13 16,1 0-16,-1 0 0,0 13 16,0-13-1,-13 14-15,13-1 0,-13 0 0,14 0 0,-14 1 16,13-14-16,-13 13 0,13 0 0,14 0 16,-27 0-16,13-13 15,13 0-15</inkml:trace>
  <inkml:trace contextRef="#ctx0" brushRef="#br0" timeOffset="17688.08">19791 529 0,'-13'-26'15,"13"12"-15,-14 14 0,-65 14 32,66-1-32,-14 0 0,14 0 15,0 1-15,0 12 0,-1-13 0,1 1 16,0 12-16,13-13 15,0 0-15,0 1 0,13-14 16,14-14-16,-14 14 0,0-13 16,0 0-16,14-13 0,-1-14 15,-13 13-15,1-12 0,12 12 16,-13-12-16,1-1 0,-1 0 0,0 14 16,0-1-16,-13 14 0,14-13 0,-14 12 15,13 41 1,-13-1-1,-13 1-15,13 12 0,0 1 0,0 0 16,-14-1-16,14 1 0,0 0 0,0 0 16,0-14-16,0 0 0,0 1 15,0-1-15,0 1 0,14-14 0,-14 14 16,13-14-16,0 0 0,0 0 16,14 0-16</inkml:trace>
  <inkml:trace contextRef="#ctx0" brushRef="#br0" timeOffset="18527.29">20558 648 0,'0'0'0,"-13"13"15,13 1-15,0-1 0,-13 0 16,13 27-16,0-14 0,-14 1 16,14-1-16,0 1 0,0-1 0,0 1 15,0-1-15,0-13 0,0 0 16,0 1-16,0-1 0,0 0 0,0 0 15,0 1-15,14-14 16,-1-14 0,0 1-16,-13 0 0,13 13 15,1-13-15,-1-1 0,0 14 16,0 0-16,1 0 16,-1 0-16,0 0 0,0 0 15,0 0-15,-13 14 0,14-14 0,-1 13 16,0-13-16,0 0 0,1 13 15,-1-13-15,0 0 0,0 0 0,14 0 16,-14 0-16,13 0 0,1 0 0,-14-13 16,14 13-16,-1-13 0,-13-1 0,0 14 15,1 0-15,-1-13 0,0 0 16,0 13-16,-13-13 0,0 0 16,0-1-1,-13 14-15,-13 0 16,12 14-16,1-14 15,13 13-15,-13-13 0,0 13 0,0-13 16,13 13-16,-14-13 0,14 13 0,-13-13 16,26 14 15,1-28-31,-1 14 16,0 0-16,13 0 15,-12 0 1,-1 0-16,0 0 15,0 0-15,-13 14 16,14-14 0,-1 0 15,0 0-15,0 0 15,1 0-31,-1 0 0,0-14 0,0 14 15,0 0-15,1 0 0,12 0 0,-13 0 16,1-13-16,12 13 0,-13 0 0,14 0 16,-14-13-16,13 13 15,-12-13-15</inkml:trace>
  <inkml:trace contextRef="#ctx0" brushRef="#br0" timeOffset="18851.31">21616 728 0,'0'-27'16,"0"54"-16,0-67 0,-13 40 15,0 0 1,0 0-16,-14 13 0,14 0 16,0 1-16,0-1 0,-1 0 0,1 14 15,0-14-15,0 0 0,-1 0 16,14 0-16,0 1 0,0-1 16,14-13-1,12 0-15,-13-13 0,1 13 16,-1-27-16,13 14 15,1-13-15,-14-14 0,13 13 0,-12 1 16,-1 13-16,0-14 0,0 14 0,-13 0 16,14 13-16,-14-13 0,0 39 31,-14 0-31,1 1 0,0 13 0,0-14 16,-1 14-16,14-14 0,-13 1 15,0-1-15,13 1 0,0-1 0,13-13 16,-13 0-16,13 1 0,-13 12 15</inkml:trace>
  <inkml:trace contextRef="#ctx0" brushRef="#br0" timeOffset="19838.75">22688 516 0,'0'-13'0,"0"-1"31,-13 14-31,0 0 0,-14 14 16,1 12-16,-1-13 0,1 14 15,-14 13-15,0-1 0,14-12 0,-1-1 16,14 14-16,-13-14 0,-1 1 16,14-1-16,0 1 0,0-14 0,13 13 15,0-12-15,0-1 0,0 0 16,0 0-16,13 0 0,0 1 16,0-14-16,14 13 0,-1-13 0,1 0 15,-1 0-15,1 0 0,25-13 16,-25-1-16,13 14 0,-14 0 0,1-13 15,-1 0-15,0 0 0,-12 0 16,-1 13-16,0-14 0,-13 1 0,13 0 16,-13 0-16,0-14 15,-13 27-15,0-13 16,0 0-16,-1 13 31,41 13 0,-14 0-15,0 0-16,1 1 0,-1-1 16,0 0-16,-13 0 15,0 1-15,0-1 16,0 0-16,-13 0 16,13-39 30,13 13-46,0-1 0,1 1 16,-1 0-16,40-40 0,-27 40 16,1 0-16,-14-1 0,13 1 15,1 0-15,-14 13 0,13-13 16,-12 13-16,-1 0 0,0-14 0,0 28 16,1-14-16,-1 0 0,-13 13 0,0 0 15,-13 0-15,-14 14 16</inkml:trace>
  <inkml:trace contextRef="#ctx0" brushRef="#br0" timeOffset="20073.32">21537 1217 0,'13'-13'0,"14"0"16,12-1-16,14 1 0,14 0 0,-1-14 15,13 14-15,0-13 0,14 13 16,13-1-16,-14 1 0,1 0 0,0 0 16,-14-1-16,14 14 0,-14-13 0,0 13 15,1 0-15,-27-13 16,0 13-16,0 13 0,-27-13 0,0 0 0,-12 0 16,-1 13-16</inkml:trace>
  <inkml:trace contextRef="#ctx0" brushRef="#br0" timeOffset="20360.66">21392 1349 0,'52'-13'0,"345"-40"31,-304 40-31,0 0 15,-1 0-15,1 13 0,-14-14 16,1 14-16,-1-13 0,-26 13 0,0-13 16,0 13-16,-14 0 0,-12 0 0,-1 0 15,-13 0-15,14-13 0,-14 13 16,0 0-16,1 0 0,-1 0 16,0 0-16,0 0 0</inkml:trace>
  <inkml:trace contextRef="#ctx0" brushRef="#br0" timeOffset="21726.3">23402 688 0,'0'0'16,"-13"13"-1,13 14-15,-13-14 0,13 13 0,-13 1 16,-1-1-16,14 14 0,-13 0 16,0-14-16,13 0 0,-13 14 15,0-13-15,13-1 0,-14 1 0,14-1 16,0-13-16,-13 14 0,13-14 0,0 0 15,0 0-15,0 1 0,-13-14 16,13 13-16,0-40 31,0 14-31,0-13 0,0-1 16,13-12-16,-13-1 0,13 0 0,1 0 16,-1 1-16,0-14 0,0 13 0,0 1 15,14-1-15,-14 13 0,14 1 16,-1-1-16,-13 14 0,14 0 15,-14 13-15,0-13 0,0 26 0,1-13 16,12 13-16,-13-13 0,-13 27 0,14-14 16,-14 0-16,0 14 0,0-14 15,0 13-15,-14 1 0,1-1 0,0 1 16,0-1-16,-14 1 0,14-1 16,0-13-16,0 0 0,-1-13 0,1 14 15,0-1-15,0-13 0,-1 13 16,1-13-16,0-13 15,26 0-15,0-1 16,1 1-16,-1-13 16,13 13-16,-12-1 0,-1 1 15,0 13-15,13-13 0,-12 13 0,-1-13 16,0 13-16,0 0 0,1 0 16,-1 13-16,0-13 0,0 13 0,1 0 15,-1-13-15,0 14 0,-13 12 0,13-13 16,-13 0-16,0 14 0,0-14 15,-13 0-15,13 14 0,-13-14 16,13 0-16,0 1 0,-13-1 0,13 0 16,0 0-16,-14 0 0,28-39 47,-1 0-47,26-14 15,-12 13-15,-1 14 0,1-13 0,-1 12 16,1 14-16,-14-13 0,0 13 15,0-13-15,1 13 0,-1 0 0,0 0 16,0 0-16,1 13 0,-1 0 16,-13 1-1,0-1-15,0 0 0,0 0 16,0 1-16,0-1 0,0 0 0,-13 0 16,13 1-16,-14-1 0,14 0 15,-13-13-15,13 13 16</inkml:trace>
  <inkml:trace contextRef="#ctx0" brushRef="#br0" timeOffset="21855.21">24024 754 0,'0'0'0,"-13"0"16,13 13-1</inkml:trace>
  <inkml:trace contextRef="#ctx0" brushRef="#br0" timeOffset="22349.29">24236 833 0,'-13'27'15,"-1"-27"-15,1 13 0,13 0 16,-13 1-16,0-1 0,13 0 0,-14 0 16,14 0-16,-13-13 15,13 14-15,0-1 0,0 0 0,13 0 16,1 1 0,-1-14-16,0 0 15,0 0-15,1-14 0,-1 14 0,0-13 16,14 0-16,-14 0 0,0-1 0,0 14 15,0-13-15,-13 0 16,14 13-16,-14-13 0,-14 0 16,1 13-16,0 13 15,0-13-15,0 0 16,-1 13-16,14 0 16,14-13-1,-1 0-15,0 0 0,0 0 16,14 13-16,-14-13 0,0 0 15,14 0-15,-14 0 0,0 0 0,14 0 16,-14 14-16,0-14 0,0 13 0,0 0 16,1 0-16,-14 1 15,0-1-15,0 0 16,0 0-16,-14 1 0,14-1 16,-26 0-16,13 0 0,0 0 15,-14 1-15,1-1 0,-1 0 16,-13 0-16,1 1 0,-1-1 0</inkml:trace>
  <inkml:trace contextRef="#ctx0" brushRef="#br0" timeOffset="22576.3">23072 1389 0,'0'0'0,"79"-13"0,-26 13 15,0-13-15,13 13 0,13-14 0,14 1 16,-14 13-16,1 0 0,-1-13 0,0 13 16,1-13-16,-1 13 0,1-14 15,-27 14-15,-1 0 0,1 0 0,-13-13 16,0 13-16,-14 0 0,-13 0 0,1 0 16,-1 0-16</inkml:trace>
  <inkml:trace contextRef="#ctx0" brushRef="#br0" timeOffset="22803.49">23019 1442 0,'0'0'0,"79"0"15,-26-13-15,0 13 0,13 0 0,13-13 16,14 13-16,-14-14 0,14 14 15,-14-13-15,14 13 0,-14-13 0,-12 13 16,12-13-16,-26 13 0,0 0 16,0-14-16,13 1 0,-26 13 15,-27 0-15,13-13 0,-13 13 0,1 0 16,-14-13-16</inkml:trace>
  <inkml:trace contextRef="#ctx0" brushRef="#br0" timeOffset="24596.88">7541 5278 0,'-27'0'62,"1"0"-62,26 14 16,-27-14-16,14 0 0,0 0 0,-14 0 16,1 0-16,13 13 0,-27-13 0,13 0 15,1 13-15,-14-13 0,14 0 16,-1 13-16,1-13 0,0 0 0,-1 0 15,1 14-15,12-14 0,-12 0 0,13 13 16,-1-13-16,1 0 0,0 0 16,-13 13-16,12-13 15,1 0-15,-13 0 0,12 0 32,1 13-32,0-26 31</inkml:trace>
  <inkml:trace contextRef="#ctx0" brushRef="#br0" timeOffset="25018.77">6879 5226 0,'-26'13'0,"12"-13"0,14 13 0,-13 0 15,0-13-15,-13 27 0,12-14 16,1 0-16,0 0 15,0 1-15,-1-1 0,14 0 0,-13 0 16,0-13-16,0 14 0,13-1 0,-13 0 16,13 0-16,0 0 0,-14-13 15,14 14-15,0-1 0,0 0 16,14 0-16,-14 1 16,13-1-16,0-13 0,-13 13 15,13-13-15,0 0 0,1 13 0,-1-13 16,0 0-16,0 13 0,1-13 0,-1 0 15,13 0-15,1 0 0,-1 0 0,-13-13 16,27 13-16,-13 0 0,-1 0 16,0-13-16,14 13 0</inkml:trace>
  <inkml:trace contextRef="#ctx0" brushRef="#br0" timeOffset="25756.25">8295 5054 0,'0'39'32,"0"-26"-32,0 1 0,0-1 15,0 0-15,0 0 0,13 14 0,-13-14 16,0 0-16,0 1 15,0-1-15,0 0 16,0 0-16,13-39 31,-13 13-15,0-1-16,13 1 0,-13 0 16,14 13-16,-14-13 0,13-1 15,0 14 1,0 0-16,1 0 0,-1 14 15,0-14-15,0 13 0,-13 0 16,13-13-16,-13 13 0,14-13 16,-1 14-16,-13-1 15,13-13-15,0-13 32,-13-1-17,0 1-15,14 0 16,-1 0-16,-13-1 0,13 1 15,0 0-15,0 13 0,1-13 16,-1-1-16,0 14 0,14 0 16,-27 14-16,13-14 15,0 13-15,0 0 0,-13 0 16,14 1-16,-1-1 16,-13 0-16,0 0 0,13-13 15,-13 14-15,13-14 16,0 0-16,-13 13 15,14-13-15,-1 0 16,0 0-16</inkml:trace>
  <inkml:trace contextRef="#ctx0" brushRef="#br0" timeOffset="26580.41">8930 5146 0,'0'0'0,"0"-40"0,0 27 0,13 0 15,-13 0-15,0 0 16,-13-1-16,13 1 16,-14 26 15,1 1-31,13-1 16,0 0-16,-13 0 0,13 0 15,0 1-15,0-1 16,13-13-16,-13 13 0,13 0 0,1 1 15,-1-14-15,0 0 0,0 0 16,1 0-16,12 0 0,1-14 16,-1 14-16,0 0 0,1-13 0,-1 0 15,1 13-15,-1-13 0,-12-1 0,12 14 16,-13-13-16,0 0 0,1 0 16,-1 13-16,0-13 0,-13-1 15,13 14-15,-13-13 0,0 0 0,-13 0 16,13-1-1,-13 14-15,0 0 16,-1 14 0,1-14-16,0 13 0,13 0 0,-13-13 15,13 13-15,-13 1 0,-1-1 16,14 0-16,0 0 16,0 0-16,0 1 0,14-14 15,-14 13-15,13-13 16,-13 13-16,13-13 15,0-13 1,0 13-16,1-13 0,-1-1 16,0 14-16,-13-13 15,13 0-15,1 13 16,-14-13-16,13 13 0,-13-13 16,13 13-16,0 0 15,0 0 1,1 0-1,-14 13-15,13-13 0,-13 13 16,13-13-16,-13 13 16,0 0-1,13-13-15,-13 14 16,27-28 0,-14 14-1,0-13 1,1 13-16,-1 0 15,0 0-15,0 0 16,0 0-16,1 0 16,-1 0-16,0-13 15,0 26 1,-13 0 15,-13-13-31,0 14 0</inkml:trace>
  <inkml:trace contextRef="#ctx0" brushRef="#br0" timeOffset="26858.49">8268 5477 0,'27'0'15,"-1"-13"1,1 13-16,12-14 15,14 1-15,0 13 0,13-13 0,-13 0 16,79-14-16,-79 27 0,14-13 16,-1 0-16,0 13 0,-13-13 15,-14-1-15,14 14 0,-13 0 0,0-13 16,-14 13-16,-13 0 0,14-13 16,-14 13-16,0 0 0,1 0 0,-1 0 31,-79 26-16</inkml:trace>
  <inkml:trace contextRef="#ctx0" brushRef="#br0" timeOffset="27097.21">8321 5596 0,'0'0'0,"40"-13"15,26-1 1,-13 1-16,0 0 15,0 13-15,13-13 0,0 0 16,66-14-16,-66 14 0,1 13 0,-14-13 16,-1 13-16,1-14 0,0 14 0,-13-13 15,-14 13-15,1 0 0,-1-13 16,-12 13-16,-1 0 0,0 0 16,0 0-16,0-13 0,1 13 15,-14-13-15,0-1 16,13 1-16</inkml:trace>
  <inkml:trace contextRef="#ctx0" brushRef="#br0" timeOffset="30478.4">11483 4868 0,'0'0'0,"40"-13"31,-27 13-31,13 0 0,14 0 16,-14 0-16,14 0 0,-13 0 16,12 0-16,1 0 0,-14 0 15,14 0-15,-13 0 0,12-13 0,-12 13 16,-1 0-16,-13 0 0,14 0 0,-14 0 16,14 0-16,-14 0 0,0 0 15,0-13-15,0 13 0,1-14 16</inkml:trace>
  <inkml:trace contextRef="#ctx0" brushRef="#br0" timeOffset="30707.69">11800 4604 0,'40'13'0,"66"0"31,-66 0-31,39 14 0,-39-14 0,-1 14 16,-12-14-16,26 26 0,-40-25 16,0 12-16,-13-13 0,0 14 15,13-14-15,-26 14 0,13-14 0,-13 26 16,-13-12-16,12-1 0,-12 1 0,-1-1 16,14-12-16,-13 12 15,12-13-15,1 0 0,0-13 0</inkml:trace>
  <inkml:trace contextRef="#ctx0" brushRef="#br0" timeOffset="32039.44">12898 4405 0,'14'-13'16,"-28"40"-1,14-14-15,0 13 16,0-13-16,0 14 0,0-14 0,0 14 15,0-14-15,0 13 0,0-12 16,0 12-16,0-13 0,-13 0 0,13 14 16,0-14-16,0 0 0,0 1 15</inkml:trace>
  <inkml:trace contextRef="#ctx0" brushRef="#br0" timeOffset="32710.41">13031 4551 0,'-13'26'31,"13"-12"-15,0-1-16,-14 0 16,14 0-16,0 0 15,0 1 1,14-28 15,-1 1-15,-13 0-16,13 13 15,0-13-15,0 0 16,1 13 0,-14 13-1,13-13 1,-13 13-16,13-13 16,0 13-1,1-13 16,-1 0-15,0 0-16,0 0 16,0-13-16,1 13 15,-1 0 1,0-13-16,0 13 16,1-13-16,-1 13 0,0-14 15,0 14-15,1 0 16,-1 0 15,0 14-31,-13-1 16,13-13-16,-13 13 15,0 0-15,13 0 16,-13 1 0</inkml:trace>
  <inkml:trace contextRef="#ctx0" brushRef="#br0" timeOffset="32855.51">13388 4419 0,'-13'-14'0,"-1"14"16</inkml:trace>
  <inkml:trace contextRef="#ctx0" brushRef="#br0" timeOffset="33088.33">13520 4299 0,'0'27'31,"0"-14"-31,0 0 0,0 14 16,13-14-16,-13 14 0,0-14 0,0 13 15,0-13-15,0 14 0,0-14 0,0 0 16,0 14-16,0-14 0,0 0 16,0 1-16,0-1 0,0 0 15,0 0-15,0 0 0,0 1 16</inkml:trace>
  <inkml:trace contextRef="#ctx0" brushRef="#br0" timeOffset="33532.26">13467 4591 0,'0'26'31,"0"-13"-16,0 0-15,0 1 16,0-1-16,0 0 0,0 0 16,0 1-1</inkml:trace>
  <inkml:trace contextRef="#ctx0" brushRef="#br0" timeOffset="33791.32">13666 4339 0,'0'-13'0,"0"39"31,0-12-31,0-1 0,0 0 15,0 14-15,-14-14 0,14 13 16,0 1-16,0-1 0,-13-13 0,13 14 16,0-1-16,0-12 0,0 12 0,0-13 15,-13 0-15,13 1 0,13-1 0</inkml:trace>
  <inkml:trace contextRef="#ctx0" brushRef="#br0" timeOffset="33987.22">13798 4538 0,'0'0'0,"0"-14"31,0 41-15,0-14-16,0 0 0,-13-13 16,13 14-16,0-1 0,0 0 15,0 0-15,0 0 0,0 1 16,0-1-1</inkml:trace>
  <inkml:trace contextRef="#ctx0" brushRef="#br0" timeOffset="34104.33">13864 4524 0,'-13'-13'16,"13"0"-1,-13 13 1</inkml:trace>
  <inkml:trace contextRef="#ctx0" brushRef="#br0" timeOffset="34387.51">13917 4485 0,'13'13'32,"-13"0"-17,0 0-15,14 1 16,12-14 31,-13-14-16,0 14-15,1 0-16,-1 0 0,0 0 15,0 0-15,1 0 16,-1-13-16,0 13 0,0 0 15,1 0 1</inkml:trace>
  <inkml:trace contextRef="#ctx0" brushRef="#br0" timeOffset="34623.58">12779 4961 0,'0'0'0,"212"-53"31,-133 40-31,80-14 16,-79 14-16,-1 0 0,80-14 16,-80 27-16,-13-13 0,66-13 15,-92 26-15,13 0 0,-26-14 16,-1 14-16,0 0 0,-12 0 15,-54 27 1</inkml:trace>
  <inkml:trace contextRef="#ctx0" brushRef="#br0" timeOffset="34870.24">12779 5067 0,'14'13'0,"144"-26"31,-91 13-31,12-13 0,-13 13 0,13-14 16,-12 1-16,12 0 0,-13 13 0,53-27 15,-66 14-15,0 13 0,-13-13 16,-1 13-16,-12-13 0,-1 13 16,-13-14-16,27 14 0,-13-13 15,-14 0-15,0 13 0,0-13 16,-13 0-16,14 13 15,-14-14-15,0 1 0,0 0 0</inkml:trace>
  <inkml:trace contextRef="#ctx0" brushRef="#br0" timeOffset="35211.87">12965 4061 0,'39'-13'0,"-12"13"0,211-26 16,-172 26-1,0-14-15,14 14 0,-14-13 0,13 0 16,-13 13-16,0-13 0,-13 13 0,0-13 16,-26 13-16,12 0 0,-25 0 15,-1 0-15,0 0 0</inkml:trace>
  <inkml:trace contextRef="#ctx0" brushRef="#br0" timeOffset="35472.51">13044 4141 0,'-26'0'0,"52"0"0,-13 0 15,14 0 1,-1 0-16,27 0 0,13 0 15,-13 0-15,13 0 0,0-13 0,14 13 16,-14 0-16,0 0 0,0 0 0,-13 0 16,0-14-16,-13 14 15,13 0-15,13-13 0,-40 13 16,-13 0-16,14-13 0,-14 13 0,14 0 16,-14 0-16,0-13 0,0 13 0,1 0 15,-1-14-15,0 14 16,-13-13-16</inkml:trace>
  <inkml:trace contextRef="#ctx0" brushRef="#br0" timeOffset="37320.33">15028 4247 0,'0'26'31,"0"-13"-16,0 0-15,0 14 0,0-14 16,0 14-16,0-14 0,0 13 0,0 1 16,0-14-16,0 13 0,0 1 15,0-14-15,-13 0 0,13 14 0,0-14 16,0 0-16,0 1 0,0-1 0,0 0 16,0 0-16</inkml:trace>
  <inkml:trace contextRef="#ctx0" brushRef="#br0" timeOffset="37720.25">14989 4339 0,'13'-13'16,"0"13"-16,-13-13 0,13 13 16,1 0-16,12 0 15,-26 13-15,13-13 16,-13 13-16,0 0 0,0 1 16,0-1-16,0 0 15,0 0-15,0 1 16,0-1-16,13-13 0,-13 13 0,14 0 15,-1 0-15,0 1 16,-13-1-16,0 0 16,13 0-16,-26 1 0,13-1 0,-13 13 15,0-12-15,-1-1 0,1 0 16,0-13-16,0 13 0,0 0 16,-1 1-16,1-14 0,0 13 15</inkml:trace>
  <inkml:trace contextRef="#ctx0" brushRef="#br0" timeOffset="38388.25">15240 4432 0,'-66'53'31,"53"-40"-31,-1-13 0,14 13 0,-13 0 15,13 1-15,-13-1 0,13 0 0,0 0 16,-13-13-16,13 14 16,13-1-16,13-26 31,-12-1-31,-1 1 16,0 0-16,0 0 15,1-1-15,-1 14 0,0-13 16,13 13-1,-12 13-15,-1-13 16,-13 27-16,0-14 16,13 0-16,-13 1 15,0-1-15,0 0 16,0 0-16,0 0 31,27-39 0,-14 26-31,-13-13 0,13 0 16,0-1-16,1 1 16,-14 0-16,13 13 15,0 0-15,0-13 16,0 13 0,1 0 15,-1 0 0,-13 13-15,13-13 15,0 0 0,1 0 16</inkml:trace>
  <inkml:trace contextRef="#ctx0" brushRef="#br0" timeOffset="39226.33">15637 4485 0,'0'-14'16,"0"41"15,0-14-31,13 0 0,-13 1 16,0-1-16,0 0 0,-13 0 15,13 1-15,0-1 0,0 0 16,-13 0-16,13 0 0,0 1 16,0-1-1,26-26 1,-13-1-1,-13 1-15,14 0 0,-1 0 0,0 0 16,0-1-16,0 1 16,-13 0-16,14 13 0,-14-13 0,13 13 15,-13 13 32,13 0-16,0-13-15,1-13 0,-1 13-16,0 0 15,0 0 17,1 13-32,-1-26 15,0 13-15,0-13 16,0-1-1,1 1-15,-14 0 0,13 0 16,-13-1-16,13 1 0,-13 0 0,13 0 16,-13 0-16,14-14 15,-14 14-15,13 13 0,-13-13 0,0-1 16,13 1-16,-13 0 16,0 39 15,0-12-31,0-1 0,0 0 15,0 0-15,0 1 0,0-1 16,0 0-16,0 0 0,13 0 16,-13 1-16,0-1 0,14-13 15,-1 0-15,0 0 32,0 0-32,-13-13 0,13 13 15,1-14 1,-1 14-1,0 0 1,0 0 0,1 0-1,-1 0 17,-13 14 14</inkml:trace>
  <inkml:trace contextRef="#ctx0" brushRef="#br0" timeOffset="39459.91">15134 5040 0,'212'-53'15,"-146"27"-15,0 13 0,0-1 16,0 1-16,14 0 0,-14 0 0,-13 13 16,0-13-16,0 13 0,-14-14 15,1 14-15,-13 0 0,-14 0 0</inkml:trace>
  <inkml:trace contextRef="#ctx0" brushRef="#br0" timeOffset="39704.22">14962 5067 0,'0'0'0,"27"-13"16,-1-1-16,14 1 0,13 0 15,0 13-15,0-13 0,13-1 0,13 1 16,0 0-16,-12 0 0,12-1 0,66 1 16,-92 13-16,0-13 0,-13 13 15,0 0-15,-14-13 0,1 13 16,-14 0-16,13 0 0,-12 0 16,-1 0-16,0 0 0</inkml:trace>
  <inkml:trace contextRef="#ctx0" brushRef="#br0" timeOffset="40272.23">15253 4008 0,'0'0'16,"13"-13"-16,1 13 0,12 0 15,-13-13-15,40 0 0,-13 13 0,26-13 16,0-1-16,14 1 0,-1 0 15,-13 0-15,93-1 0,-93 1 16,-13 13-16,-13-13 0,13 13 16,-27 0-16,0 0 0,-12 0 0</inkml:trace>
  <inkml:trace contextRef="#ctx0" brushRef="#br0" timeOffset="40475.29">15227 4207 0,'79'0'31,"-39"-13"-31,26-1 0,0 14 16,14-13-16,-14 0 0,13 0 0,-13 13 16,14-13-16,-14-1 0,-13 1 15,-14 13-15,14-13 0,-26 13 0,12-13 16,-12 13-16,-14-14 0,0 14 0</inkml:trace>
  <inkml:trace contextRef="#ctx0" brushRef="#br0" timeOffset="45559.28">13547 3969 0,'0'-27'31,"0"14"-31,0 0 16,0 0-16,0-1 0,0 1 0,0 0 16,13 0-16,-13-14 0,0 14 15,0 0-15,0-14 0,0 14 0,0 0 16,0-14-16,0 14 0,0 0 0,0 0 15,0-1-15,0 1 16,0 0-16,0 0 0,0 0 16,0-1-16,0 1 15,0 0 1</inkml:trace>
  <inkml:trace contextRef="#ctx0" brushRef="#br0" timeOffset="45778.35">13586 3532 0,'-39'0'16,"39"13"-1,-14-13-15,1 14 0,0-14 0,0 13 0,0 0 16,-1 0-16,1-13 15,0 14-15,0-1 0,-1 0 0,1 0 16,0 0-16,0 1 0,-1-1 16,1-13-16,13 13 0</inkml:trace>
  <inkml:trace contextRef="#ctx0" brushRef="#br0" timeOffset="45931.3">13467 3519 0,'14'13'0,"-1"0"16,-13 1-16,13-14 15,0 13-15,0 0 16,1 0-16,-1-13 0,0 14 0,0-14 16</inkml:trace>
  <inkml:trace contextRef="#ctx0" brushRef="#br0" timeOffset="46396.49">13626 2725 0,'-13'-13'16,"13"39"-16,0-12 15,0-1-15,0 0 0,-13 14 16,13-1-16,0 1 0,0-1 0,-14 0 15,14 1-15,0-1 0,-13 1 16,13-14-16,0 13 0,0-12 0,0 12 16,0-13-16,0 1 0</inkml:trace>
  <inkml:trace contextRef="#ctx0" brushRef="#br0" timeOffset="46720.25">13639 2619 0,'13'-26'0,"14"13"31,-14 13-31,0 13 0,1-13 15,-14 13-15,13 0 0,-13 1 0,0-1 16,13 0-16,-13 0 0,0 1 16,0 12-16,-13-13 0,13 14 15,-13-14-15,13 0 0,-14 0 0,14 14 0,-13-14 16,0 0-16,0 1 0,13-1 16,-14-13-16,14 13 0</inkml:trace>
  <inkml:trace contextRef="#ctx0" brushRef="#br0" timeOffset="46994.54">13772 2791 0,'-14'14'16,"14"-1"-16,0 0 0,-13 0 16,13 1-16,0-1 0,0 0 0,0 0 15,13 0-15,-13 1 16,0-1-16,14-13 0,-1 13 0,0 0 15,0-13-15,0 0 0,1 0 16,-1 0-16,0-13 0,0 13 16,1-13-16,-1 13 0,0-13 0,-13-1 15,0 1-15,0-13 0,0 13 0,0-1 16,0 1-16,-13 0 0,0 0 16,-1-1-16,1 1 0,-13 13 15,12-13-15,1 13 0,0 0 0,0 0 16,0 13-16,-1-13 0,1 0 15,0 0-15</inkml:trace>
  <inkml:trace contextRef="#ctx0" brushRef="#br0" timeOffset="47404.46">13930 2672 0,'27'-13'15,"-14"13"1,-13 13-16,13 1 0,-13-1 15,0 0-15,0 0 0,13 14 0,-13-1 16,0 14-16,0 0 0,0-14 16,0 14-16,0-1 0,0-12 15,0-1-15,0 1 0,0-14 0,0 13 16,0-12-16,0-1 0,0 0 0,0 0 16,0 1-16,0-1 15,0 0-15,-13-39 31,13 12-15,0 1-16,13-13 0,-13 12 0,0-12 16,14-1-16,-1 14 0,-13-13 0,13 13 15,0-1-15,1 1 0,-14 0 16,13 0-16,0 13 0,-13-14 0,13 14 16,1 14-1,-28 12 1,14-13-1,-13 14-15,0-14 16,13 0-16</inkml:trace>
  <inkml:trace contextRef="#ctx0" brushRef="#br0" timeOffset="48609.34">14221 2884 0,'0'-13'16,"-13"26"15,13 0-15,0 0-16,-13-13 16,13 14-16,0-1 15,13 0 1,0-13 15,1 0 0,-1 0-15,13 0 15,-26-13-31,14 13 0,-14-13 16,13-1-16,0 1 15,0 0-15,-13 0 0,13 0 0,1-14 16,-14 14-16,13-14 0,0 1 0,-13 13 16,13-14-16,-13 14 0,0 0 0,0 0 15,14 13-15,-14-14 0,-14 28 32,14-1-17,-13 13-15,13 1 0,0-14 16,13 0-1,-13 0-15,0 1 0,27-1 0,-14 0 16,0-13-16,14 0 16,-14 0-16,0 0 0,0 0 15,1-13-15,-1 13 0,0-13 0,0 13 16,1 0-16,-14-14 0,13 14 0,-13-13 16,-13 26 30,13 1-46,0-1 16,0 0 0,13-13-16,0 13 15,0-13 1,14-13-16,-14 13 16,0-13-1,0 13-15,1-13 0,-1-1 0,0-12 16,0 13-16,14-27 0,-14 27 15,13-14-15,-12-12 0,-1 25 16,0 1-16,-13 0 0,13 0 16,-13-1-16,14 1 0,-1 26 31,-13 1-31,-13-1 0,13 13 16,-14-12-16,14 12 0,-13 1 15,0-14-15,13 0 0,-13 13 16,13-12-16,-14-1 0,14 0 15,-13-13-15,13 13 0,0 1 16,13-41 15,-13 14-31,14 0 0,-1 13 16,0-14-16,0 1 0,1 0 16,-1 13-16,-13-13 0,13 13 15,0 0-15,0 0 16,1 13-1,-14 0 1,0 0-16,13 1 16,0-1-1,14-26 17,-14-1-32,0 14 15,-13-13-15,13 13 0,-13-13 0,14 13 16,-14-13-16,13 13 15,0 13 1,0 0 0,-13 0-1,13-13-15,1 0 16,-1-13 0,0 13-16,0 0 0,1-13 0,-1 13 15,0-13-15,0 13 0,1-13 16,-1-1-16,0 1 0,13 0 0,-12-14 15,-14 14-15</inkml:trace>
  <inkml:trace contextRef="#ctx0" brushRef="#br0" timeOffset="50351.32">1191 5702 0,'26'0'47,"-13"0"-47,14 13 0,-14-13 0,13 0 16,14 13-16,0-13 0,0 13 15,-1-13-15,14 14 0,-13-14 0,13 0 16,0 13-16,0-13 0,-1 13 16,1-13-16,0 0 0,13 0 0,-13 0 15,14 0-15,-15 0 0,1 0 16,0 0-16,66-13 0,-66 13 0,0-13 15,-13 13-15,13 0 0,-14-14 16,14 14-16,-13-13 0,0 13 16,-1-13-16,1 0 0,-13 13 0,12-13 15,-12 13-15,-1-14 0,1 1 16,-14 13-16,13-13 0,1 13 16,-14-13-16,13-1 0,1 14 0,-14-13 0,0 13 15,14-13-15,-14 0 0,0 13 16,1-14-16,12 14 0,-13-13 0,0 13 15,1-13-15,-1 13 0,0-13 0,0 0 16,1 13-16,12-14 16,-13 1-16,1 13 15,-1-13-15,0 13 16,-13-13-16,13 13 0,0-14 16,1 14-16,-1-13 15,0 13-15,-13-13 16,13 13-16,1-13 0,-1 0 15,0-1-15,-13 1 16,13 13-16,0-13 0,-13 0 0,14-1 16,-14 1-16,13 0 0,-13 0 15,0-1-15,0 1 16,0 0-16,0 0 0,0-14 0,0 14 16,0-13-16,0 12 0,-13 1 15,13 0-15,-14-14 0,1 14 0,0-13 16,0 13-16,-14-14 0,14 1 15,-13 12-15,-1 1 0,14-13 0,-13 12 16,-1 1-16,1 0 0,-14 0 0,13 0 16,1-1-16,0 1 0,-14 13 15,0-13-15,0 0 0,14 13 16,0-14-16,-14 14 0,13 0 0,-25-13 0,12 13 16,13 0-16,-26 13 0,1-13 15,-1 0-15,-14 14 0,1-1 0,0 0 16,-13 0-16,-1 1 0,14-1 15</inkml:trace>
  <inkml:trace contextRef="#ctx0" brushRef="#br0" timeOffset="51176.19">1495 4710 0,'26'-14'0,"-12"1"15,39 0 1,-40 0-16,0 13 15,0 13-15,0-13 0,1 13 16,-14 0-16,13-13 0,-13 14 16,0-1-16,-13 0 0,13 0 0,0 0 15,0 1-15,-14-1 0,14 0 0,0 0 16,-13 1-16,13-1 16,-13 0-16,13 0 15,0 1 1,13-14-1,14-14 1,-14 14-16,0-13 16,0 0-16,1 13 0,-1-13 15,0-1-15,13-12 0,-12 13 0,-1-1 16,0 1-16,0 0 0,1 0 16,-14 0-16,13-1 0,-13 1 0,0 0 15,13 13-15,-13-13 0,0-1 16,13 41 15,1-14-15,-1-13-16,0 13 15,0-13-15,0 0 16,1 0-16,-1 0 16,0-13-16,-13 0 15,0 0 1,-13-1-16,0 1 15,13 0-15,-14 13 0,1-13 16,0 13-16,0 0 16,-14 0-1,27 13 1</inkml:trace>
  <inkml:trace contextRef="#ctx0" brushRef="#br0" timeOffset="51774.49">2275 4366 0,'-13'-14'16,"26"28"-16,-39-14 15,13 0-15,13 13 0,-14 0 0,1 0 0,13 1 16,-13-1-16,13 0 0,-13 0 0,13 14 16,0-14-16,0 0 15,0 0-15,0 14 0,0-14 0,13 0 16,-13 1-16,13-1 0,-13 0 16,13-13-16,1 13 0,-14 0 0,13-13 15,0 0-15,0 0 0,1 0 16,-1 0-16,0 0 0,-13-13 15,13 13-15,-13-13 0,0 0 0,14 0 16,-14-1-16,0 1 16,0 0-1,-14 0-15,28-1 16,12 28 15,-13-14-15,-13 13-16,13-13 0,-13 13 15,14 0-15,-1-13 16,-13 14-16,13-1 16,0 0-1,-13-39 32,0 12-47,0 1 16,0 0-1,14 0-15,-14-1 16,13 1-16,-13 0 16,13 13-16</inkml:trace>
  <inkml:trace contextRef="#ctx0" brushRef="#br0" timeOffset="52257.32">2712 4366 0,'-13'0'0,"26"0"0,-39 13 31,26 0 0,0 0-31,13-13 0,-13 14 0,13-1 16,-13 0-16,13-13 15,-13 13-15,13 0 0,1-13 16,-14 14-16,0-1 16,0 0-16,0 0 15,-14-13-15,14 14 0,-13-1 0,0-13 16,0 13-16,0 0 0,-1 1 0,1-14 15,0 13-15,0 0 0,-1-13 16,1 13-16,0 0 0,0-13 0</inkml:trace>
  <inkml:trace contextRef="#ctx0" brushRef="#br0" timeOffset="52674.31">1693 5146 0,'27'-13'31,"-1"0"-31,1-1 16,12 1-16,14-13 0,0-1 0,13 1 15,1-1-15,-1 1 0,0-14 0,0 14 16,13-1-16,-13 1 0,1-1 15,-14 1-15,13-1 0,-13 14 0,-14 0 16,-12 0-16,-1 0 0,1 13 0,-14-14 16,0 14-16,-13 14 15,-13-1-15,0 0 16,-27 0-16</inkml:trace>
  <inkml:trace contextRef="#ctx0" brushRef="#br0" timeOffset="52963.38">1548 5305 0,'0'13'0,"0"-26"0,26 13 15,1-13 1,12-1-16,14-12 0,0 0 0,13-1 16,1 1-16,12-1 0,0-13 0,67-12 15,-80 25-15,13 1 0,-13 12 16,-13-12-16,0 13 0,0-1 15,-26 1-15,12 0 0,-12 0 0,-14 13 16,0 0-16,1-13 0,-1 13 16,0 0-16,0 0 0,-13-14 15,13 14-15,-39 14 47,26-1-47,-13-13 16,0 0-16</inkml:trace>
  <inkml:trace contextRef="#ctx0" brushRef="#br0" timeOffset="57472.24">4471 5702 0,'53'-13'15,"-106"26"-15,133-40 0,-54 27 0,1-13 0,12 0 16,1 13-16,0-13 0,13 13 0,-14-14 15,14 1-15,-13 13 0,13-13 16,0 13-16,-13-13 0,12 13 0,-12 0 16,0 0-16,-14-14 0,1 14 15,-1 0-15,-13 0 0,14 0 16,-14 0-16,0 0 0,1 0 0,-1 0 16,0-13-16,0 13 15</inkml:trace>
  <inkml:trace contextRef="#ctx0" brushRef="#br0" timeOffset="57754.36">4458 5794 0,'159'-39'31,"-106"39"-31,-13-14 0,26 1 15,0 0-15,-13 0 0,13 0 16,0-1-16,-13 1 0,0 0 0,0 13 16,-13-13-16,12-1 0,-12 14 0,-13-13 15,-1 13-15,1 0 0,-14-13 16,13 13-16,-13 0 0,1 0 0,-1 0 16,0 0-16,0-13 15,1 13-15,-1-14 31</inkml:trace>
  <inkml:trace contextRef="#ctx0" brushRef="#br0" timeOffset="69439.23">6535 4604 0,'-66'39'0,"53"-25"15,0-1-15,-14 0 0,1 14 16,-1-1-16,1-13 0,-1 14 0,14-1 0,-13 1 16,-1-14-16,-13 40 15,14-40-15,13 0 0,0 0 16,-14 14-16,14-14 0,0 0 0,-1-13 16,1 14-16,13-1 0</inkml:trace>
  <inkml:trace contextRef="#ctx0" brushRef="#br0" timeOffset="69699.17">6085 4868 0,'-53'14'16,"40"-1"-16,0 0 15,0 13-15,0-12 0,-1-1 0,1 13 16,13-12-16,-13-1 0,13 0 15,-13 0-15,13 14 0,13-14 16,-13 0-16,13-13 0,-13 13 0,13 1 16,1-14-16,12 0 0,-13 0 15,0 0-15,14 0 0,-14 0 16,14 0-16,-1-14 0,1 14 0,-1-13 16,-13 13-16,14-13 0,-14 13 0,13-13 15</inkml:trace>
  <inkml:trace contextRef="#ctx0" brushRef="#br0" timeOffset="70392.33">6668 4471 0,'-27'0'62</inkml:trace>
  <inkml:trace contextRef="#ctx0" brushRef="#br0" timeOffset="74595.31">1865 6178 0,'14'0'15,"-28"-13"17,1 0-32,0 13 15,13-14-15,-13 14 16,-1 0-16,1-13 15,0 13-15,0 0 0,-1-13 0,1 13 16,0 0-16,0-13 0,0 13 0,-14 0 16,14 0-16,-14-14 0,14 14 15,-13 0-15,-1 0 0,14 0 0,-13 0 16,-1 0-16,1 0 0,-1-13 0,14 26 16,-13-13-16,-1 0 0,1 0 15,-14 0-15,13 0 0,1 14 16,0-14-16,-1 0 0,1 13 0,-1-13 15,14 13-15,-14 0 0,1-13 0,0 14 16,12-1-16,-12 0 0,13-13 16,-14 13-16,14 14 0,0-14 0,-14 0 15,14 0-15,0 1 0,0-1 0,-1 0 16,1 0-16,13 1 0,-13 12 16,0-13-16,13 0 0,-14 1 15,1 12-15,13-13 0,0 14 0,0-14 16,-13 0-16,13 1 0,0 12 0,0-13 15,0 0-15,0 1 0,13-1 16,-13 13-16,0-12 0,0-1 16,13 0-16,-13 14 0,14-14 0,-14 0 15,13 0-15,0 0 0,0 1 16,-13-1-16,14 0 0,-1 0 0,0 1 16,0-1-16,0 0 0,1-13 0,12 13 15,-13 0-15,1-13 0,12 14 16,-13-14-16,14 13 0,-1-13 15,-13 13-15,14-13 0,-1 0 0,1 13 0,-1-13 16,1 14-16,-1-14 0,1 13 0,12-13 16,-12 13-16,-1-13 0,1 0 15,-1 13-15,1-13 0,-1 14 16,1-14-16,12 0 0,-12 13 0,-1-13 16,1 0-16,-1 13 0,1-13 15,-1 0-15,14 0 0,-14 0 0,1 13 16,12-13-16,1 0 0,0 0 0,-14 13 15,14-13-15,-14 0 0,1 0 16,12 14-16,-12-14 0,-1 0 0,1 0 16,-1 0-16,14 13 0,-14-13 0,1 0 15,-1 0-15,1 0 0,-1 0 16,1 0-16,12 0 0,-12 13 0,-1-13 16,14 0-16,-14 0 0,14 0 15,0 0-15,0 0 0,12-13 0,-12 13 16,13 0-16,-13 0 0,13 0 15,-14 0-15,14 0 0,-13 0 0,13 0 16,-13 0-16,12 0 0,1-13 0,-13 13 16,13 0-16,-13 0 0,-1 0 15,1-14-15,13 14 0,-13 0 0,13-13 16,-14 13-16,1 0 0,13-13 0,-13 13 16,-1 0-16,-12 0 0,12 0 0,-12-13 15,26 13-15,-27 0 16,40 0-16,-26-13 0,-13 13 15,12 0-15,27 0 0,-39 0 0,12 0 16,1-14-16,0 14 0,0 0 16,-14 0-16,14 0 0,-1 0 15,1 0-15,0-13 0,-1 13 0,1 0 16,-13 0-16,12 0 0,-12 0 16,12 0-16,-12 0 0,13-13 15,-14 13-15,14 0 0,-14 0 0,14 0 16,-14 0-16,1 0 0,-1 0 0,1 0 15,-1 0-15,14 0 0,-14 0 0,1 0 16,-1 0-16,1 0 0,-1 0 0,1 0 16,-1 0-16,1-13 0,-1 13 15,0 0-15,-12 0 0,12 0 0,1 0 16,-14-14-16,13 14 0,-13 0 16,14 0-16,-1 0 0,-12-13 0,12 13 15,14-13-15,-27 13 16,13 0-16,-12-13 0,12 13 0,-13 0 15,1-14-15,12 14 0,-13-13 0,14 0 16,-14 13-16,0-13 0,14 13 16,-14-13-16,0 13 0,14-14 0,-14 1 15,0 13-15,0-13 0,0 0 0,1 13 16,-1-14-16,0 1 0,-13 0 0,13 0 16,-13 0-16,14-1 0,-1 1 15,-13 0-15,0 0 0,13-1 16,-13 1-16,0 0 0,0 0 15,13-1-15,-13 1 16,0 0-16,0 0 16,0 0-16,0-1 0,0 1 15,0 0-15,0 0 16,0-1-16,0 1 16,0 0-16,-13 0 0,13-1 15,0 1-15,-13 0 0,0 0 16,13 0-16,-14-1 0,14 1 15,-13 0-15,0 13 0,0-13 16,-1-1-16,1 1 0,0 13 0,0-13 0,0 0 16,-14 13-16,14-14 15,0 14-15,-1-13 0,-12 13 0,13-13 16,0 13-16,-27-13 0,27 13 16,-1-13-16,1 13 0,0-14 0,-14 14 15,14 0-15,0-13 16,0 13-16,-14 0 0,14-13 0,0 13 15,-14 0-15,14-13 0,-13 13 0,-1 0 0,1-14 16,-1 14-16,1 0 0,-1-13 16,1 13-16,0 0 0,-1-13 0,-13 13 15,14 0-15,-1-13 0,1 13 0,0 0 16,-1 0-16,1 0 16,-1 0-16,1 0 0,-1 0 0,1 0 15,-1-14-15,1 14 0,-14 0 0,14 0 16,-1 0-16,1 0 0,-14 0 0,14 0 15,-14 0-15,13 0 0,-12 0 16,12 0-16,-12 0 0,-1 0 0,14 0 16,-14 0-16,0 0 0,14 0 0,-14 0 15,0 0-15,14 0 0,-14 0 16,0 0-16,1 0 0,12 0 16,-26 0-16,27 14 0,-14-14 0,14 0 15,-14 0-15,0 0 0,14 0 16,0 0-16,-14 13 0,13-13 0,-12 0 15,12 0-15,1 0 0,-1 0 0,-12 13 16,12-13-16,-13 0 0,14 0 0,0 0 16,-14 13-16,13-13 0,-39 14 15,40-14-15,-1 0 0,1 0 16,-1 13-16,1-13 0,0 0 0,-14 0 16,13 13-16,1-13 0,-40 0 15,39 0-15,-12 13 16,-28-13-16,41 0 0,-14 0 0,14 0 15,-27 14-15,13-14 0,14 0 16,-14 0-16,0 13 0,14-13 16,-14 0-16,14 0 0,-1 0 0,14 0 15,-13 13-15,-1-13 0,1 0 0,13 0 16,-14 0-16,14 13 0,-14-13 16,1 0-16,13 0 0,-1 0 0,1 0 15,-13 13-15,13-13 0,-1 0 16,1 0-16,0 0 0,0 0 0,-1 0 15,14 14-15,-13-14 0,0 0 16,0 0-16,-1 0 0,1 0 0,0 0 16,0 13-16,0-13 0,-1 0 15,1 0-15,0 13 16,0-13-16,-1 0 0,1 0 16,0 13-16,0-13 15,0 0 1,-1 14-16,1-14 0,0 0 31,0 0-31,-1 0 31,1 0 16,0 0-16,0 0-15,-1 0 0,1 0-1,0 0 1,0-14-16,0 14 16,-1 0-16,1 0 15,0 0 1,0 0-1,13-13-15,-14 13 16,1 0-16,0 0 16,13-13-16,-13 13 15,-1 0-15,1 0 16,-13-13-16,13 13 16,-1 0-16,1 0 0,0-14 15,0 14-15,-1 0 0,1 0 16,0 0-16,0 0 15,0 0-15,-1 0 0,1 0 0,0 0 16,0 0-16,-1-13 0,1 13 0,0 0 16,0 0-16,-1 0 0,1 0 0,0 0 15,0 0-15,0 0 0,-1 0 0,1 0 16,-13 0 0,12 0-16,1 0 15,0-13-15</inkml:trace>
  <inkml:trace contextRef="#ctx0" brushRef="#br0" timeOffset="77918.24">6165 6575 0,'13'0'62,"0"0"-62,0 0 0,1 0 16,-1 0-16,13 0 0,-12 0 15,12 13-15,14-13 0,-14 0 16,1 0-16,12 0 0,1 0 0,0 0 16,13 0-16,-14 0 0,1 0 15,0 0-15,-1 13 0,28-13 16,-28 0-16,-12 0 0,12 0 0,-12 0 16,13 0-16,-14 0 0,0 0 15,-12 0-15,12 0 0,-13 0 16,1 0-16,-1 0 0,0 0 0,0 0 0,1 0 15,-28 14 32,1-14-47,0 0 0,0 0 16</inkml:trace>
  <inkml:trace contextRef="#ctx0" brushRef="#br0" timeOffset="79133.25">6390 6429 0,'-27'14'31,"14"-14"-15,0 13-16,0-13 15,-1 0-15,1 13 0,0 0 0,-14-13 16,14 14-16,0-14 0,0 13 16,-1 0-16,1-13 0,0 13 15,0-13-15,0 13 0,-1-13 16,14 14-16,-13-14 0,0 13 15,0-13 1,13 13-16,0 0 31,0 1-31,13-14 16,0 13-16,0 0 16,-13 0-16,14-13 0,-1 14 0,0-1 15,0 0-15,0 0 0,1-13 16,-1 13-16,13 1 0,-12-1 0,-1 0 15,0 0-15,14-13 0,-14 14 0,0-1 16,0-13-16,0 13 0,1-13 16,-1 13-16,0 0 15,0-13-15,-13 14 0,14-14 0,-1 0 16,-13 13 0,13-13-16</inkml:trace>
  <inkml:trace contextRef="#ctx0" brushRef="#br0" timeOffset="84469.28">1958 7435 0,'0'-13'0,"0"-1"16,-13 14 0,13-13-16,-14 13 15,14-13-15,-13 13 16,0-13-16,0-1 16,0 14-16,-1-13 0,1 13 15,0-13-15,0 13 0,-1 0 16,14-13-16,-13 13 0,0-14 0,0 14 15,-1 0-15,1-13 0,0 13 16,0 0-16,-14-13 0,14 13 0,0 0 16,0 0-16,-1-13 0,-12 13 0,13 0 15,-14 0-15,14 0 16,-13 0-16,12-13 0,-12 13 0,13 0 16,-14 0-16,14 0 0,-13 0 0,12 0 15,1 0-15,-13 0 0,12 0 16,1 0-16,-13 13 0,12-13 0,1 0 15,0 0-15,0 0 0,-14 13 0,14-13 16,-13 0-16,12 13 0,1 0 0,0-13 16,-14 14-16,14-14 0,0 13 15,0 0-15,0 0 0,-1-13 0,1 14 16,0-1-16,0 0 0,-1 0 0,1 1 16,0-1-16,0 0 15,-1 0-15,14 0 0,-13-13 0,13 14 16,-13-1-16,0 0 0,13 0 0,-13 1 15,13-1-15,0 0 0,-14 0 16,14 1-16,-13-1 16,13 0-16,0 13 0,0-12 15,0-1-15,0 0 0,0 0 0,0 14 16,13-14-16,-13 0 0,0 14 16,14-14-16,-1 0 0,-13 14 0,13-14 15,0 0-15,0 27 0,1-27 16,-1 0-16,40 53 15,-27-52-15,-12-1 16,-1 0-16,13 0 0,14 1 16,-27-1-16,14 0 0,-1 0 15,1 0-15,-14-13 0,53 27 16,-40-14-16,1 0 0,-14-13 16,14 14-16,-1-1 0,0-13 0,1 13 15,-1-13-15,1 13 0,-1-13 16,1 14-16,-1-14 0,14 13 0,0-13 15,-14 13-15,14-13 0,-1 13 0,14-13 16,40 13-16,-53-13 16,-1 14-16,14-14 0,-13 0 15,0 0-15,12 13 0,-12-13 0,13 0 16,0 0-16,-13 13 0,13-13 0,0 0 16,-1 0-16,1 0 0,0 0 15,0 0-15,13 0 0,40 0 16,-40 0-16,-13-13 0,53 13 15,-40 0-15,-13 0 0,0-13 16,0 13-16,0 0 0,0 0 0,0 0 16,-14-14-16,14 14 0,0 0 0,-13 0 15,13 0-15,-13 0 0,12 0 16,-12-13-16,13 13 0,-13 0 0,-1 0 16,-12 0-16,26 0 0,-13-13 0,-1 13 15,-12 0-15,12 0 0,1-13 0,0 13 16,13 0-16,-27 0 0,14 0 15,-14-13-15,14 13 0,-14 0 16,14 0-16,-13 0 0,12 0 0,-12-14 16,-1 14-16,14 0 0,-14 0 15,1 0-15,-1 0 0,1 0 0,-1 0 16,1-13-16,25 13 0,-25 0 16,-14 0-16,40-13 0,-26 13 15,-1 0-15,0 0 16,-12 0-16,12 0 0,1 0 0,-1 0 15,1 0-15,-1 0 0,0 0 0,1 0 16,-1 0-16,1 0 0,-14 0 0,14 0 16,-1 0-16,-13 0 0,40 0 15,-40 0-15,14 0 0,12 0 16,-12-13-16,-14 13 0,14 0 16,-14 0-16,13-14 0,1 14 15,-1 0-15,1-13 0,-1 13 0,-13-13 16,14 13-16,-1-13 0,1 13 0,-1-14 15,14 14-15,-14-13 16,1 13-16,-14-13 0,13 13 16,-12-13-16,25 0 0,-25 13 0,-1-14 15,0 14-15,0-13 0,1 13 0,-1-13 16,0 13-16,0-13 0,0 13 16,1-14-16,-1 1 15,0 0-15,-13 0 0,13 0 0,-13-1 16,14 1-16,-14 0 0,13 0 0,-13-1 15,0 1-15,13 0 0,-13 0 16,0-1-16,13 1 0,-13 0 0,0 0 16,0 0-16,0-1 0,0 1 15,0 0-15,0 0 0,0-1 16,0 1-16,-13 0 0,13 0 16,0-1-16,-13 1 0,13 0 0,-13 0 15,-1 0-15,14-1 0,-13 1 16,0 0-16,0 0 0,-1-1 15,1 1-15,-13 0 0,13 0 16,-1-1-16,1 14 0,0-13 0,-14 13 16,14-13-16,0 13 0,-14-13 15,14 13-15,-13 0 0,-1-13 0,14 13 16,-13-14-16,12 14 0,-12 0 0,0-13 16,12 13-16,-12-13 0,13 13 0,-14 0 15,14-13-15,-14 13 0,1 0 16,13-14-16,-14 14 0,1 0 15,13 0-15,-14-13 0,1 13 0,-1 0 16,1 0-16,-14 0 0,14 0 0,-1-13 16,-12 13-16,12 0 0,-13 0 15,14 0-15,-14 0 0,14 0 0,-1 0 16,-12 0-16,12 0 0,-13 0 0,14 0 16,-14 0-16,14 0 0,-14 0 15,14 0-15,-14 0 0,14 0 0,-14 0 16,-26 0-16,26-13 0,14 13 15,-14 0-15,13 0 0,1 0 16,-27 0-16,27 0 0,-1 0 16,1 13-16,-1-13 0,1 0 15,-1 0-15,1 0 0,13 0 0,-27 0 16,13 0-16,1 0 0,0 13 16,-1-13-16,1 0 0,-1 0 0,1 0 15,-1 0-15,1 0 0,-1 0 0,1 0 16,-1 0-16,1 0 0,0 13 15,12-13-15,-12 0 0,-1 0 0,1 0 16,13 0-16,-14 0 0,-26 14 16,27-14-16,-1 0 0,-12 0 0,12 0 15,1 13-15,-14-13 0,14 0 16,-1 0-16,-13 0 0,14 13 0,0-13 16,-1 0-16,1 0 0,-1 0 0,-39 0 15,40 0-15,-14 0 16,13 0-16,-12 0 0,12 0 15,-12 0-15,-1 0 0,0 0 0,-13 0 16,14 0-16,-1 0 0,0 0 0,1 0 16,-41 0-16,41 0 15,12 0-15,-13 0 0,14 0 0,-14 0 16,14 0-16,-40 0 0,26 0 16,13 0-16,-12 0 0,12 13 15,-12-13-15,-28 0 0,41 0 16,-14 0-16,14 0 0,-14 0 15,14 14-15,-1-14 0,1 0 0,-14 0 16,14 13-16,-1-13 0,1 0 16,-1 13-16,1-13 0,-1 0 0,-12 13 15,25-13-15,-12 0 0,-14 13 16,14-13-16,13 0 16,-1 0-16,1 14 0,0-14 15</inkml:trace>
  <inkml:trace contextRef="#ctx0" brushRef="#br0" timeOffset="85468.07">6363 7739 0,'53'0'16,"-26"0"0,-14 0-16,13 0 0,1 0 0,12 0 15,1 0-15,-13 0 0,26 0 0,-14 0 16,14-13-16,-13 13 15,-1 0-15,1 0 0,-13 0 0,-1 0 16,1 0-16,-1-13 0,0 13 0,1 0 16,-14 0-16,0 0 0,1 0 15,-1 0-15,0 0 0,0 0 16,-52 0 15,25 0-31,1 0 16,0 0-16</inkml:trace>
  <inkml:trace contextRef="#ctx0" brushRef="#br0" timeOffset="86563.07">6522 7567 0,'-26'13'63,"12"-13"-48,1 14-15,0-14 0,0 0 0,-1 13 16,1-13-16,0 13 0,0-13 15,-1 13-15,1-13 0,0 13 16,0-13-16,0 14 0,-1-14 0,1 0 0,13 13 16,-13-13-16,0 13 15,-1-13-15,1 13 16,0-13-16,0 14 31,26-14 16,-13 13-16,13-13-15,-13 13-16,13 0 16,1-13-1,-14 14-15,13-1 0,0-13 16,0 13-16,1 0 0,-1 0 15,0 1-15,0-1 0,27 13 16,-27-12-16,0-1 0,1 0 0,12 0 16,-13 1-16,1-1 0,-1-13 15,0 13-15,0 0 0,0 0 16,1-13-16,-14 14 0,13-14 0,0 13 16,0 0-1,1-13 1,-14 13-16,13-13 31,-13 14-15</inkml:trace>
  <inkml:trace contextRef="#ctx0" brushRef="#br0" timeOffset="90295.01">4868 8242 0,'0'26'31,"0"1"-31,0-1 0,0 1 16,0-1-16,0 14 0,0 26 15,0-40-15,0 1 0,0-1 16,0 1-16,0 12 0,-13-12 0,13-14 16,0 14-16,0-14 0,0 0 15,0 0-15,0 14 0,0-14 16,0 0-16</inkml:trace>
  <inkml:trace contextRef="#ctx0" brushRef="#br0" timeOffset="90593.25">4868 8268 0,'-13'0'0,"26"0"0,-39 13 16,13 1-16,-1-1 15,1 13-15,0-12 16,0 12-16,-1 1 0,1-14 0,0 26 16,0-25-16,0 12 0,13-13 15,-14 14-15,14-14 0,-13 0 0,13 0 16</inkml:trace>
  <inkml:trace contextRef="#ctx0" brushRef="#br0" timeOffset="90842.11">4749 8348 0,'13'0'0,"14"0"16,-14 13-16,80 13 16,-67-26-1,-13 14-15,14-14 0,-1 13 16,-12 0-16,12-13 0,-13 13 0,1-13 16,12 0-16,-13 13 0,0 1 15,1-14-15,-1 13 16</inkml:trace>
  <inkml:trace contextRef="#ctx0" brushRef="#br0" timeOffset="113813.9">10107 516 0,'13'-13'0,"1"13"0,-14-14 0,13 14 15,0 0 1,0 14-16,-13-1 15,13 0-15,-13 14 16,0-14-16,0 13 0,0-12 0,0 38 16,0-25-16,0-1 0,0-12 15,0 12-15,0 1 0,0-1 16,-13 0-16,13 1 0,0-1 0,0-12 16,-13 12-16,13-13 0</inkml:trace>
  <inkml:trace contextRef="#ctx0" brushRef="#br0" timeOffset="113959.27">10120 1138 0,'0'0'0</inkml:trace>
  <inkml:trace contextRef="#ctx0" brushRef="#br0" timeOffset="114667.2">10782 952 0,'-13'0'31,"13"14"-31,0-1 16,0 13-16,-14-12 0,14 12 0,0 1 16,0-1-16,0 0 0,0 1 0,0-1 15,0-12-15,0 12 0,0-13 16,0 1-16,0 12 0,0-13 15,0 0-15,0 1 0,-13-41 47,13 1-47,0-1 0,0 1 0,-13-14 16,13 0-16,-13 1 0,13-14 16,0 13-16,0 0 0,-14 1 0,14-1 15,0 0-15,0 1 0,0 12 0,0 14 16,0-13-16,0 12 0,0 1 0,0 0 15,0 0-15,0-1 16,27 28 0,-14-1-16,-13 13 15,13 1-15,1-1 0,-1 14 0,0-14 16,0 14-16,14-13 0,-14 12 16,0-26-16,0 27 0,1-13 0,-1 12 15,0-12-15,0-1 0,-13-13 16,14 14-16,-1-14 0,0 14 0,-13-14 15,13 13-15,0-12 0,-13-1 16,14 0-16,-14 0 0,13-13 16,-13 13-16</inkml:trace>
  <inkml:trace contextRef="#ctx0" brushRef="#br0" timeOffset="115126.34">10583 1217 0,'0'0'0,"-13"0"0,13-13 16,13 0 0,1 13-16,-1-14 0,13 1 0,-13 0 15,14 13-15,132-79 31,-133 65-31,-13 14 0,14-13 16,-14 13-16,0-13 0,1 13 0,-1 0 16,0 0-16,-13-13 0,13 13 0,0 0 15,1 0 1,-14 13-16,13-13 16,-13 13-16,13 0 15,-13 1-15,13-1 16,1 0-16,-1 0 15,0-13-15,0 0 16,0 13-16,14-26 16,-14 13-16,0-13 15,1 0-15,-14 0 16,13-1-16,-13 1 0,0 0 16,13 0-1,-13-1-15,13 14 31,1-13-15</inkml:trace>
  <inkml:trace contextRef="#ctx0" brushRef="#br0" timeOffset="115472.25">11258 979 0,'0'13'0,"0"-26"0,0 0 16,-13 13-1,0 0 1,13 13-1,0 0 1,0 0-16,0 1 0,0-1 0,0 13 16,13-12-16,-13-1 0,13 13 0,-13-13 15,13 14-15,-13-1 0,13-12 0,-13-1 16,14 0-16,-14 0 0,0 14 16,0-14-16,0 0 0,0 0 15,-14 1-15,1-1 16,0-26-1,13-1 1,0 1-16,0 0 16,0 0-1,13 13-15,-13-13 0,13-1 0,1 14 16,-14-13-16,13 0 0,0 0 0,0-1 16,1 14-16,-1-13 0,0 0 0,0 0 15,1-1-15,-1 1 0,0 0 16,0 0-16,0-14 0</inkml:trace>
  <inkml:trace contextRef="#ctx0" brushRef="#br0" timeOffset="116311.97">11840 648 0,'0'27'0,"0"-1"15,0 1-15,0-1 0,0 14 16,0-1-16,13 14 0,-13-13 0,0-14 16,14 67-16,-14-40 0,0-13 15,13-1-15,-13 1 16,0-13-16,0-1 0,0-13 0,13 14 0,-13-14 16,0 0-16,0 0 0,0 1 15,0-1-15,-13 0 16,0-26-1,13 0-15,-14-14 0,1-13 16,0 14-16,13-14 0,-13-52 16,13 39-16,0 13 0,0-13 15,13 13-15,-13 14 0,13-14 0,14-13 16,-14 40-16,0 0 0,0 0 16,14 0-16,-14 13 0,0 0 15,14 0-15,-14 0 0,13 13 0,-12-13 16,-1 13-16,0 0 0,0 0 0,0 1 15,1-1-15,-1 13 0,-13-12 16,0-1-16,13 0 0,-13 0 0,-13 0 16,13 1-16,0-1 0,-13 0 15,13 14-15,-14-1 0,1-26 16,0 13-16,13 1 0,-13-14 0,13 13 16,-13-13-16,-1 0 0,1 0 15,13-13-15,-13 13 16,13-14-16,0 1 0,0 0 0,0-14 15,0 14-15,13 0 0,0-14 16,1 27-16,-14-13 0,26-13 16,-13 13-16,0-1 0,1 14 0,12-13 15,-13 13-15,1-13 0,-1 13 16,0 0-16,0 13 0,1-13 16,-1 0-16,0 13 0,0 1 0,0-1 15,1 0-15,-14 0 0,13 0 16,-13 1-16,13-1 15,-13 0-15,0 0 0,13 1 16,-13-1 0,0 0-16,14-13 0,-1-13 31,0 13-31,-13-13 0,13-1 16,0 1-16,1 0 0,-1 0 15,0-1-15,0 14 31,1 0-31,-1 14 0,-13-1 16,13-13-16,-13 13 0,0 0 16,13 1-16,-13-1 15,0 0-15,0 0 16,0 1-16</inkml:trace>
  <inkml:trace contextRef="#ctx0" brushRef="#br0" timeOffset="116460.18">12475 794 0,'-13'0'31,"0"13"-31</inkml:trace>
  <inkml:trace contextRef="#ctx0" brushRef="#br0" timeOffset="116807.02">12766 794 0,'-40'39'31,"27"-25"-31,0-1 0,0 13 0,0-12 15,-1-1-15,14 0 0,-13 13 0,0-26 16,13 14-16,0-1 16,0 0-16,13 0 0,0-13 15,14 0-15,-14-13 16,0 13-16,0-13 0,1 13 16,-1-13-16,0 13 0,0-14 15,1 14-15,-1 0 0,0 0 16,0 0-1,1 0 1,-14 14 0,13-14-16,-13 13 0,13-13 15,0 13-15,0-13 16,1 0-16,-1 0 0,13 0 0,-12 0 16</inkml:trace>
  <inkml:trace contextRef="#ctx0" brushRef="#br0" timeOffset="117286.22">13388 754 0,'-27'0'16,"54"0"-16,-67 0 0,27 0 0,0 0 16,-14 27-16,14-27 15,0 13-15,0 0 0,-1 0 0,1 0 16,0 1-16,13-1 0,0 0 15,13 0 1,0-13-16,1 0 0,-1 0 16,0 0-16,0 0 0,1-13 15,-1 0-15,0 13 0,13-13 16,-12-1-16,-14 1 0,13 13 0,0-13 16,0 13-1,1 13 1,-14 0-16,0 1 15,0-1-15,0 13 0,0-12 0,0-1 16,0 13-16,0-13 0,-14 1 0,14 12 16,-13 1-16,13-14 0,-13 13 15,0 1-15,13-14 0,-14 0 16,14 0-16,-13-13 0,13 14 16,13-41-1,1 14 1,-1 0-16,0 0 0,0-1 15,14 1-15,-14 0 0,0 0 16,1-1-16,-1 1 0,0 0 0,0 0 16,-13-1-16,13 14 0,1 0 15</inkml:trace>
  <inkml:trace contextRef="#ctx0" brushRef="#br0" timeOffset="117763.12">14023 675 0,'26'-14'0,"27"28"31,-39-1-31,-14 0 0,0 0 15,0 1-15,0 12 0,-14-13 0,1 14 16,0-14-16,0 13 0,-1-12 0,14-1 16,-13-13-16,13 13 0,-13 0 15,13 1-15,-13-14 0,13 13 16,13 0 0,0-13-16,0 0 15,1 0-15,-1-13 0,0 13 0,14 0 16,-14-13-16,13 13 0,1-14 0,-1 14 15,-13-13-15,1 13 0,12-13 16,-13 0-16,1 13 0,-14-14 0,13 14 16,-13-13-16</inkml:trace>
  <inkml:trace contextRef="#ctx0" brushRef="#br0" timeOffset="118075.51">14301 489 0,'0'27'32,"0"-14"-17,0 0-15,0 1 16,0-1-16,0 0 0,13 0 16,-13 1-1,13-14 1,0-14-1,1 14-15,-1 0 16,0 0 0,0 0-16,-13 14 15,14-14-15,-1 0 16,0 0-16,0 0 16,0 13-16,1-26 0,-1 13 0,13 0 15,-12-14-15</inkml:trace>
  <inkml:trace contextRef="#ctx0" brushRef="#br0" timeOffset="118387.26">14724 423 0,'0'-13'0,"0"26"0,-13-39 16,0 26-16,-1 0 15,1 13-15,0-13 0,0 0 0,-1 13 16,1-13-16,0 14 0,0-1 0,0-13 16,13 13-16,-14-13 0,14 13 15,0 0 1,27-13-16,-14-13 15,0 0-15,14 13 0,-14-13 16,0-14-16,14 1 16,-14 13-16,-13-1 0,13-12 15,0 13-15,1 0 0,-14 39 32,0-13-32,-14 0 15,14 14-15,0-14 0,0 14 0,0-1 16,0-13-16,14 14 0,-14-14 15,13 13-15,-13-12 0,13 12 0,0-13 16,0 1-16,1 12 0,-14-13 16,13-13-16</inkml:trace>
  <inkml:trace contextRef="#ctx0" brushRef="#br0" timeOffset="119321.92">15293 450 0,'-13'26'31,"13"-13"-31,0 1 0,0-1 16,0 13-16,0 1 0,-14-14 15,14 14-15,0-1 0,0-13 0,0 14 16,0-14-16,0 0 0,0 0 16,0 1-16,0-1 0,14 0 15,-1-26 1,0 0 0,-13-1-16,13 1 0,1 13 15,-14-13-15,13 0 0,-13-1 0,13 14 16,0-13-16,1 13 0,12 0 31,-26 13-31,13-13 0,0 14 16,1-1-16,-1-13 0,0 0 15,0 13 1,1-13-16,-1 0 0,0-13 0,0 13 16,1 0-16,-1-13 0,0 13 15,-13-14-15,13 14 0,-13-13 0,13 13 16,-13-13-1,0 0 1,-26 13-16,13 13 16,0-13-1,13 13-15,-14-13 16,14 13-16,14 1 47,-1-28-47,0 14 15,0 0-15,0 0 16,1 0-16,-1 14 16,0-14-16,0 0 15,-13 13-15,14-13 16,-14 13 0,13-13-16,0 0 15,0 0 16,0 0-15,1 0-16,-1 0 16,-13-13-16,13 13 0,0 0 15,1 0-15,-1-13 0,0 13 16,0 0-16,1-14 0,12 14 0,-13-13 16,14 13-16,-14-13 0,0 13 0,14-13 15</inkml:trace>
  <inkml:trace contextRef="#ctx0" brushRef="#br0" timeOffset="119670.98">16113 556 0,'0'-14'32,"-13"1"-32,0 13 15,-1 13 1,1-13-16,13 14 0,-13-14 0,0 13 16,0 0-16,-1 0 15,14 1-15,0-1 16,0 0-16,14-13 15,-1 0-15,0 0 16,0-13-16,0 13 0,1-13 0,-1-1 16,0 1-16,0 0 0,1-14 15,-1 1-15,0-1 0,0 1 0,0 0 16,1 12-16,-14-12 0,13 13 16,-13-1-16,0 1 0,13 13 0,-13-13 15,-13 26 1,13 0-1,0 1-15,-13-1 0,13 0 0,0 0 16,0 1-16,0 12 0,0-13 0,0 0 16,0 14-16,13-14 0,-13 0 0,13 14 15,-13-14-15,0 0 0,0 1 16,-13 12-16</inkml:trace>
  <inkml:trace contextRef="#ctx0" brushRef="#br0" timeOffset="120534.01">14274 1177 0,'-66'53'15,"53"-26"1,-14-1-16,14 1 0,0 12 16,0-12-16,0 13 0,-1-1 0,1-12 15,13-1-15,0-13 0,0 14 0,0-14 16,0 14-16,0-14 0,13 0 15,1 0-15,-14 0 0,13-13 0,0 14 16,13-14-16,-12 0 0,12 0 0,1-14 16,-14 14-16,27-13 0,-14-13 15,0 13-15,1-1 0,-1-12 0,-12 13 16,-1-1-16,0 14 0,0-13 0,-13 0 16,13 0-16,1-1 15,-14 1-15,-14 0 16,-12 26-1,13-13 1,13 13-16,-13-13 0,-1 14 16,14-1-1,14-13 1,-1 0 0,0 0-16,0 0 0,0 0 15,1 0-15,-1 0 0,0 0 16,0 0-16,-13 13 0,14-13 15,-1 0-15,0 13 0,0-13 16,-13 14-16,14-1 16,-14 0-1,0-39 32,13 12-47,-13 1 16,13 0-16,0 0 15,-13-1-15,13 14 16,1-13-16,-1 0 0,0 13 0,0-13 16,1 13-16,-1 0 15</inkml:trace>
  <inkml:trace contextRef="#ctx0" brushRef="#br0" timeOffset="120834.3">15187 1310 0,'0'0'0,"0"26"32,0-13-32,-13 1 15,13-1-15,0 0 16,0 0-16,0 1 0,0-1 0,0 0 0,0 0 16,0 0-1,0 1-15,0-1 0</inkml:trace>
  <inkml:trace contextRef="#ctx0" brushRef="#br0" timeOffset="121316">15306 1217 0,'0'27'0,"0"-54"0,0 80 15,0-40-15,0 0 16,0 1-16,0-1 0,0 0 16,0 0-16,13-13 0,-13 14 0,0-1 15,14 0 1,-1-13 0,0 0-16,0-13 15,1 13-15,-1-13 0,0 13 16,0 0-16,0 0 15,-13-14 1,14 14-16,-1 14 16,0-14-16,0 0 15,1 0-15,-1 0 0,0 0 16,0 0-16,1 0 16,12-14-16,-13 14 0</inkml:trace>
  <inkml:trace contextRef="#ctx0" brushRef="#br0" timeOffset="121566.93">16245 900 0,'-13'13'15,"-13"40"1,26-27-16,0-13 15,-14 14-15,14-1 0,-13 1 0,13-14 16,0 13-16,0 1 0,0-14 0,0 14 16,0-14-16,0 0 0,0 0 15,0 1-15,0-1 0,13 0 0,-13 0 16,0 0-16</inkml:trace>
  <inkml:trace contextRef="#ctx0" brushRef="#br0" timeOffset="121947.05">16192 1005 0,'14'-26'0,"25"-1"31,-25 27-31,-1 0 15,0 0 1,0 0-16,-13 14 16,0-1-16,0 0 15,14-13-15,-14 13 0,13 1 16,0-1 0,0 0-16,0 0 0,1 1 15,-1-1-15,0 0 16,-13 0-16,13 0 0,-13 1 15,0-1-15,0 0 0,-13 0 16,0 1-16,0-1 0,-14 0 16,14 0-16,0 1 0,-14-1 0,14 0 15,0-13-15,0 13 0,-1-13 16,1 0-16,0 0 16</inkml:trace>
  <inkml:trace contextRef="#ctx0" brushRef="#br0" timeOffset="122616.94">16616 1045 0,'0'-13'0,"-27"26"31,14-13-31,0 0 0,0 13 16,-1 1-16,1-1 0,0 0 15,0 0-15,13 0 0,-13 1 16,13-1-16,-14-13 0,14 13 16,0 0-16,0 1 0,0-1 15,0 0-15,0 0 16,14-13-16,-1 0 16,0 0-1,0-13-15,0 13 0,1 0 16,-14-13-16,13 13 0,-13-13 15,13-1-15,0 14 16,-13-13-16,14 0 16,-1 0-1,-13-1-15,13 14 16,-13-13 0,13 13-1,-13 13 1,14-13-1,-14 14-15,0-1 32,13-13-32,-13 13 15,13-13 48,0-13-48,0 13 17,1 13-17,-1-13 17,0 0-17,0 0-15,1-13 0,-1 13 16,0 0-16,0 0 15,-13-13-15,14 13 0,-1 0 0</inkml:trace>
  <inkml:trace contextRef="#ctx0" brushRef="#br0" timeOffset="123288.91">16933 1058 0,'0'-13'31,"0"40"-15,0-14-16,0 0 15,0 0-15,0 0 16,0 1-16,0-1 0,0 0 0,-13 0 16,13 1-16,-13 12 0,13-13 15,-13 1-15,13-1 0,-14-13 0,14 13 16,0 0-16,-13-13 0,13 13 16,27-26 15,-14 0-31,0 13 15,0-13-15,1 0 0,-1-1 16,13 1-16,-13 0 0,14-14 0,-14 1 16,14-1-16,-1 1 0,-13 0 15,14-1-15,-14 1 0,13-1 0,-12 1 16,-1 12-16,0 1 0,0 0 0,-13-13 16,14 26-16,-14-14 0,0 1 15,13 0-15,-13 0 0,-13 26 47,-1 0-47,1 0 16,13 1-16,-13 12 0,13-13 0,-13 0 15,13 1-15,0-1 16,0 0-16,0 0 0,0 1 16,13-14-1,-13 13-15,13-13 0,0 0 16,-13 13-16,14-13 0,12-13 15,-13 13-15,1 0 0,-1-13 16,0 13 0,0 0-16,-13 13 31,0 0-15,0 0-1,13 1 16,1-14-15,-1 0 0,-13 13-1,13-13-15</inkml:trace>
  <inkml:trace contextRef="#ctx0" brushRef="#br0" timeOffset="124034.25">17449 900 0,'0'0'15,"-26"0"-15,13 13 0,-1-13 16,1 13-16,0-13 0,0 13 16,-1-13-16,14 13 0,-13-13 15,0 0-15,13 14 0,-13-1 16,26 0 15,0-13-31,0-13 16,1 13-16,-1 0 0,0-13 15,0 13-15,1 0 16,-1 0-16,0 0 16,0 0-1,-13 13 1,13-13-16,-13 13 15,14 0 1,-1-13 15,0 0 1,-13-13-17,13 13-15,-13-13 16,14 13-16,-1-13 15,-13-1-15,13 14 0,0 0 47,1 14-31,-1-14 15,0-14-15,0 14-16,0 0 31,-39 0-15,13 0-16,-14 14 15,1-14-15,-14 13 0</inkml:trace>
  <inkml:trace contextRef="#ctx0" brushRef="#br0" timeOffset="124288.23">15505 1614 0,'0'0'0,"79"-40"32,-26 27-32,13 0 0,0 0 15,0-14-15,14 14 0,-1 0 0,-13-1 16,14 1-16,-1 0 0,0 0 15,-13 0-15,1 13 0,-28 0 0,14-14 16,-26 14-16,-1 0 0,1 0 0,-14 0 16,0 14-16,0-14 15,-26 13-15,0 0 0</inkml:trace>
  <inkml:trace contextRef="#ctx0" brushRef="#br0" timeOffset="124469.13">15862 1667 0,'-80'13'0,"54"-13"0,-1 13 15,14-13-15,0 0 0,0 0 0,66 0 32,-14-13-32,14 0 0,13 0 15,1-1-15,-1 1 0,0 0 16,13-13-16,1 12 0,-1-12 16,0 13-16,1-14 0,-14 1 0,0-1 15,13 14-15,-12-13 0,-1-1 0,0 1 16,-13 12-16</inkml:trace>
  <inkml:trace contextRef="#ctx0" brushRef="#br0" timeOffset="124816.07">17754 595 0,'26'0'0,"-13"0"16,-13 14-16,13-1 15,-13 0-15,14 0 0,-14 0 16,13 1-16,-13 12 0,0-13 16,0 14-16,13-14 0,-13 14 0,0-1 15,-13 0-15,13 1 0,-13-1 0,-1 14 16,1-14-16,0 1 0,0-1 16,0 1-16,13-14 0</inkml:trace>
  <inkml:trace contextRef="#ctx0" brushRef="#br0" timeOffset="124964.19">17780 1270 0,'13'-13'78</inkml:trace>
  <inkml:trace contextRef="#ctx0" brushRef="#br0" timeOffset="127320.05">4498 5689 0,'40'13'31,"-27"-26"-31,0 13 0,14 0 16,-14 0-16,13 0 0,1 0 15,-1-14-15,27 14 0,-27-13 16,1 13-16,13 0 0,-14-13 0,1 13 16,-1-13-16,0 13 0,1 0 15,-1-14-15,-12 14 0,12 0 0,-13 0 16,1 0-16,-1-13 0,0 26 16</inkml:trace>
  <inkml:trace contextRef="#ctx0" brushRef="#br0" timeOffset="127566.11">4617 5808 0,'53'-27'15,"-27"14"-15,14 0 16,-14 13-16,1-14 0,26 1 15,-27 13-15,1-13 0,-1 13 16,1-13-16,-14 13 0,13 0 16,-12 0-16,-1-13 0,0 13 0,0 0 15,1 0-15,-1 0 0,0 0 16,0 0-16,-13 13 16</inkml:trace>
  <inkml:trace contextRef="#ctx0" brushRef="#br0" timeOffset="130147.2">5027 6932 0,'-13'0'16,"53"0"15,-27 0-31,13-13 0,1 13 0,-1 0 16,14-13-16,0-1 0,-1 14 16,1-13-16,0 0 0,-1 13 15,-12-13-15,-1 13 0,1 0 0,-1-14 16,1 14-16,-14 0 0,0-13 0,0 13 15,14 0-15,-14 0 16,0 0-16,0 0 0</inkml:trace>
  <inkml:trace contextRef="#ctx0" brushRef="#br0" timeOffset="130644.16">5040 7025 0,'40'0'16,"-14"0"-16,1-14 0,13 14 0,-1-13 16,1 0-16,0 0 0,13 13 15,-14-13-15,14-1 0,-13 14 0,0-13 16,-1 13-16,-12-13 0,12 13 0,-12 0 15,-1-13-15,-12 13 16,12 0-16,-13 0 0,27-14 0,-27 14 16,0 0-16,1 0 15,-1 0-15,0 0 16,0 0-16,1-13 16,-1 13 15</inkml:trace>
  <inkml:trace contextRef="#ctx0" brushRef="#br0" timeOffset="131783.82">5226 8242 0,'26'-13'16,"-13"-1"-16,0 14 0,1 0 16,12-13-16,-13 13 0,14-13 15,-1 13-15,-12-13 0,12-1 0,0 14 16,1-13-16,-14 13 0,14-13 0,-14 13 15,13 0-15,-13-13 0,1 13 16,-1 0-16,0 0 0,0 0 0,1 0 16</inkml:trace>
  <inkml:trace contextRef="#ctx0" brushRef="#br0" timeOffset="132074.01">5173 8361 0,'66'-40'16,"-40"27"-1,14 0-15,-14-1 0,14 1 16,0 0-16,-1 0 0,-12 0 0,13-1 15,-1 1-15,1 0 0,0 0 0,-14-1 16,14 14-16,-14-13 0,1 13 16,-1-13-16,-13 13 0,1 0 0,-1-13 15,0 13-15,0 0 0,1 0 0,-1 0 16</inkml:trace>
  <inkml:trace contextRef="#ctx0" brushRef="#br0" timeOffset="132324.48">5305 8295 0,'26'-14'0,"1"1"0,-14 13 16,133-53-1,-120 53 1,0-13-16,14 0 0,-13 13 0,-1-13 16,1 13-16,-14 0 0,13-14 15,-13 14-15,1 0 0,-1-13 0,0 13 16,0 0-16,1 0 0,-1 0 16,0-13-1</inkml:trace>
  <inkml:trace contextRef="#ctx0" brushRef="#br0" timeOffset="133134.85">5398 8229 0,'26'-14'0,"-52"28"0,78-41 0,-38 27 15,-1-13-15,13 13 16,1-13-16,-1-1 0,-13 14 0,27-13 16,-27 0-16,14 13 0,-1-13 0,1 13 15,-1 0-15,-13-14 0,14 14 16,-14 0-16,0 0 0,1 0 0,-1-13 15,0 13-15,0 13 0</inkml:trace>
  <inkml:trace contextRef="#ctx0" brushRef="#br0" timeOffset="133373.45">5186 8387 0,'172'-92'31,"-132"65"-31,-1 14 0,14 0 16,-13-14-16,13 1 0,-14 13 15,1-1-15,0-12 0,13 13 0,-14-1 16,-12 1-16,13 0 0,-14 13 0,0-13 15,1 13-15,-14-13 16,0 13-16</inkml:trace>
  <inkml:trace contextRef="#ctx0" brushRef="#br0" timeOffset="133582.03">5358 8176 0,'40'-14'15,"-27"14"-15,0 0 0,0-13 0,14 13 16,-1-13-16,1 13 0,-1-13 0,53-14 16,-52 14-16,13 0 0,-14 13 15,0-13-15,1 13 0</inkml:trace>
  <inkml:trace contextRef="#ctx0" brushRef="#br0" timeOffset="136683.06">7329 4948 0,'26'-14'0,"-52"28"0,79-41 0,-40 27 0,0 0 16,1 0-16,-1 0 0,0 0 16,0 13-16,0 1 0,1 12 0,-14 1 15,13 12-15,-13 14 0,-13 0 0,-1 13 16,-12 14-16,0 12 0,-14 1 15,13-1-15,-12-12 0,12-14 0,1 13 16,-1-26-16,1 13 0,13-13 0,-1 0 16,-12-13-16,26 0 15,-13-1-15,13-12 0,-13-1 0,13-13 16,0 14-16,0-14 0,13 0 0,-13 1 16,13-1-16,0 0 15,0-26-15,1 13 0,-1 0 16,13-13-16,1 13 0,-1-14 15,1 1-15,-1 13 0,-13-13 0,14 13 16,-14 0-16,14 13 0,-1 0 16,0 27-16,1 0 0,-14 13 0,14 0 0,-14 13 15,-13 13-15,13 1 0,-13-1 16,0 0-16,-13 1 0,13-1 0,-13 0 16,13 1-16,-14-14 0,1 0 15,0 0-15,0-13 0,-1 0 0,1-13 16,0-1-16,0-12 0,-14-1 15,14-12-15,0-1 0,0 0 0,-1-13 16,1 0-16,0 0 0,0-13 0,-1 0 16,1-1-16,0-25 0,13 12 0,-13-13 15,13 1-15,0 12 0,0-12 16,13-1-16,-13 0 0,13 1 0,0-1 16</inkml:trace>
  <inkml:trace contextRef="#ctx0" brushRef="#br0" timeOffset="136950.12">7633 6548 0,'13'-13'15,"1"13"-15,-1-13 0,0 13 16,0-13-16,14 13 0,13-13 0,-1 13 15,14-14-15,-13 14 0,13 0 16,-14-13-16,1 13 0,0 0 16,-1-13-16,-12 13 0,-1 0 0,14 0 15,-27 0-15,14 0 0,-14 0 0,13 0 16,-12 0-16,-1-13 0,0 13 16,0 0-16,1 0 0</inkml:trace>
  <inkml:trace contextRef="#ctx0" brushRef="#br0" timeOffset="137194.82">8162 6231 0,'14'0'16,"39"0"0,-40 13-16,26 14 15,-12-14-15,-1 0 0,1 14 16,-1-14-16,1 13 0,-14 1 0,13-1 15,-12 1-15,-14-1 0,13 1 16,-13-14-16,0 13 0,-13 1 0,-1 12 16,1-12-16,0 13 0,-13-14 0,-1 14 15,1-14-15,12 1 0,-12-14 0,-1 13 16,14-13-16,0 1 0,0-14 16,0 0-16,13 13 0,-14-13 0</inkml:trace>
  <inkml:trace contextRef="#ctx0" brushRef="#br0" timeOffset="138152.07">9393 6152 0,'-14'-27'0,"28"54"0,-41-80 15,14 39-15,0 1 0,0 0 16,13 0-16,-14 13 0,14-14 16,-13 28-1,0-1-15,13 13 0,-13 14 16,13 0-16,0 13 0,0 13 15,-14 0-15,14 0 0,-13 14 0,13-14 16,0 13-16,-13-13 0,0 0 0,13 0 16,-27 54-16,27-81 0,-13 1 15,0 0-15,0-14 0,-1 1 16,1-1-16,0 0 0,13-12 0,-13-14 16,-1 13-16,1-13 15,0 0-15,0-13 16,13-1-16,0 1 0,0 0 15,0-13-15,13 12 16,-13-12-16,13 13 0,0-27 0,1 13 0,12 1 16,-13 0-16,14-14 0,-1 13 15,1 1-15,-14-14 0,13 14 0,1-1 16,-14 1-16,14-14 0,-14 14 0,0 13 16,0-14-16,0 14 0,1-14 0,-14 14 15,13 0-15,-13 0 0,0-1 16,13 1-16,-13 0 0,0 0 0,13 0 15,-13-1-15,0 1 16,14 26 15,-14 1-31,0-1 16,13-13-16,-13 13 0,0 0 0,13 0 16,-13 1-16,13-14 0,-13 13 15,14 0-15,-1 0 0,0-13 16,0 14-16,14-14 15,-27-14-15,13 14 16,0 0-16,0-13 0,1 13 16,-1-13-16,0 0 0,0 13 15,1 0 1,-1 13 0,-13 0-16,0 0 15,0 1-15,13-14 0,-13 13 0,0 0 16,0 0-16,0 1 15,0-1-15,0 0 0,13-13 16,-13 13-16</inkml:trace>
  <inkml:trace contextRef="#ctx0" brushRef="#br0" timeOffset="138275.17">9723 6456 0,'0'-13'16,"0"26"-16,-13-26 0</inkml:trace>
  <inkml:trace contextRef="#ctx0" brushRef="#br0" timeOffset="138643.09">9909 6522 0,'13'26'16,"-13"-12"0,0-1-16,0 0 0,0 0 15,0 1-15,0-1 16,0 0-16,-13-13 15,39-13 17,-13 13-32,1 0 15,-1-13-15,0 13 0,13 0 16,-12 0 0,-1 0-1,0 0-15,-13 13 0,13-13 0,1 0 16,-1 13-16,0-13 15,0 0-15,1 0 16,-1 0 0,0 0-16,0 0 0</inkml:trace>
  <inkml:trace contextRef="#ctx0" brushRef="#br0" timeOffset="139062.47">10729 6257 0,'-13'0'16,"-1"14"-16,14-1 0,-13 0 16,0 0-16,13 1 0,-13 12 0,-1-13 15,14 14-15,-13-14 16,13 27-16,0-27 0,0 0 0,0 14 15,0-14-15,0 13 16,0-13 0,-26-13-1,13 0 1,-1 0-16,-12 0 0,13 0 16,-14 14-16,14-14 0,-13 0 15,12 13-15,-12-13 0,-1 13 16,14 0-16,0-13 0,0 14 0,-1-14 0,14 13 15,-13-13-15,13 13 0,0 0 16,13-13-16,1 0 16,-1 0-16,0 0 0,14 0 0,12 0 15,-12-13-15,12 13 0,1 0 0,0-13 16,-1 0-16,1 13 0,13-14 16,-26 1-16</inkml:trace>
  <inkml:trace contextRef="#ctx0" brushRef="#br0" timeOffset="139206.14">10980 6588 0,'-13'-13'16,"26"26"-16,-13-39 63,-13 26-48</inkml:trace>
  <inkml:trace contextRef="#ctx0" brushRef="#br0" timeOffset="139674.5">11324 6191 0,'0'-13'0,"0"26"0,13-39 15,1 39 1,-1 0-1,-13 0-15,0 1 0,13 12 16,-13-13-16,0 1 0,13 12 0,-13-13 16,0 14-16,0-1 0,-13 14 0,0-14 15,0 14-15,-1-13 0,-12-1 16,-1 0-16,14 14 0</inkml:trace>
  <inkml:trace contextRef="#ctx0" brushRef="#br0" timeOffset="139815.31">11218 6853 0,'-26'-14'31,"26"1"-15</inkml:trace>
  <inkml:trace contextRef="#ctx0" brushRef="#br0" timeOffset="159399.16">3043 4405 0,'39'-13'31,"-25"13"-31,12 0 0,1 0 0,-1 0 0,0-13 16,1 13-16,26 0 0,-27-13 0,14 13 15,-14 0-15,1-14 0,-1 14 16,1 0-16,-1-13 0,1 13 0,-14 0 15,0 0-15,0 0 0,1-13 0,-1 13 16,0 0-16</inkml:trace>
  <inkml:trace contextRef="#ctx0" brushRef="#br0" timeOffset="160534.73">3162 4233 0,'-40'14'0,"27"-14"16,0 13-16,-1-13 15,1 0-15,13 13 0,-13-13 0,0 0 16,-1 13-16,1-13 15,13 13-15,-13-13 16,0 14-16,0-14 16,13 13-1,-14 0 1,14 0 0,0 1-1,14-1-15,-14 0 16,13-13-16,-13 13 0,13 1 15,0-1-15,0-13 16,-13 13-16,14-13 0,-1 13 0,0 0 16,0-13-16,-13 14 15,14-14-15,-14 13 16,13-13-16,0 0 16,-13 13-16,13-13 31,-13 13 0</inkml:trace>
  <inkml:trace contextRef="#ctx0" brushRef="#br0" timeOffset="161998.16">3029 5861 0,'-13'26'32,"0"-13"-17,13 0-15,-13 1 0,0-1 16,13 13-16,-14-12 0,1 12 16,0-13-16,0 0 0,-1 14 0,14-14 15,-13 0-15,0 14 0,13-14 0,-13 0 16,13 1-16,-13-1 0,-1 0 15,14 0-15,-13 0 16</inkml:trace>
  <inkml:trace contextRef="#ctx0" brushRef="#br0" timeOffset="162366.72">2778 6072 0,'0'-13'16,"-13"39"-16,13-12 16,0-1-16,0 0 0,0 0 15,0 1-15,0-1 16,13 0-16,-13 0 15,0 0-15,13 1 16,1-14-16,-14 13 16,13-13-16,0 0 15,0 0-15,1 0 0,-1 0 16,0 0-16,0 0 0,0-13 16,1 13-16,-1 0 15,13 0-15,-12 0 16,-1 0-1</inkml:trace>
  <inkml:trace contextRef="#ctx0" brushRef="#br0" timeOffset="163482.98">3016 7131 0,'-26'26'32,"13"-13"-32,-1 14 15,14-14-15,-13 0 0,0 0 16,0 14-16,13-14 0,-14 0 0,1 14 16,13-14-16,-13 0 0,0 0 15,13 1-15,-13-1 0,-1 0 16,14 0-16,-13-13 0,13 14 15</inkml:trace>
  <inkml:trace contextRef="#ctx0" brushRef="#br0" timeOffset="163967.01">2752 7289 0,'0'27'31,"0"-14"-31,0 0 16,0 0-16,0 1 0,0-1 0,0 0 16,0 0-16,0 1 0,0-1 15,13 0-15,-13 0 0,13 14 31,-13-14-31,13-13 16,1 0-16,12 0 0,-13-13 0,1 13 16,-1 0-16,13-14 0,-13 14 0,1-13 15,-1 13-15,13 0 16,-12-13-16,-1 13 0,-13-13 0,13 13 16,0 0-16,0 0 0,1-13 0,-1 13 15,0 0 1</inkml:trace>
  <inkml:trace contextRef="#ctx0" brushRef="#br0" timeOffset="168096.09">595 7197 0,'27'-27'16,"-14"27"-16,0-13 0,14 0 16,-14 0-16,0-1 0,14 1 0,-1 0 15,-13 0-15,14-1 0,-14 14 16,13-13-16,-12 0 0,-1 0 0,0 13 16,0-14-16,1 14 0,-1-13 15,0 13-15,-13-13 0,13 13 0,-13-13 16,13 13-16</inkml:trace>
  <inkml:trace contextRef="#ctx0" brushRef="#br0" timeOffset="168379.88">807 6892 0,'26'14'32,"-12"-14"-17,-1 0-15,0 0 0,0 0 0,1 13 16,-1-13-16,0 13 0,0 0 0,0 1 16,1-1-16,-1 0 15,-13 0-15,0 0 0,0 1 0,0-1 16,0 0-16,0 14 0,0-14 0,-13 0 15,13 0-15,0 1 0,-14-1 16,14 0-16,-13 0 0</inkml:trace>
  <inkml:trace contextRef="#ctx0" brushRef="#br0" timeOffset="169432.03">106 7355 0,'0'0'0,"13"93"16,-13-80-1,0 14-15,0-14 0,0 0 16,-13 14-16,13-14 0,0 0 16,0 0-16,0 1 0,0-1 15,13 0 1,0 0 15,1-26-31,-1 13 0,0-13 16,0 13-16,0 0 0,1-13 0,-1-1 15,0 14-15,0-13 16,1 0-16,-1 13 0,-13-13 16</inkml:trace>
  <inkml:trace contextRef="#ctx0" brushRef="#br0" timeOffset="169726.69">318 7435 0,'0'0'0,"13"26"47,-13-13-32,13-13 1,0 14-16,0-28 15,1 14 1,-14-13 0,0 0-1,13 13 1,-26-13 15,13 0-31,13-1 16,-13 1-1</inkml:trace>
  <inkml:trace contextRef="#ctx0" brushRef="#br0" timeOffset="169977.12">450 7316 0,'0'39'16,"13"-39"0,-13 14-16,0-1 0,0 0 15,0 0-15,0 1 16,0 12-1,-13-39 32,13 0-15,13 13-32,0-14 15,0 14 1,1 0-16</inkml:trace>
  <inkml:trace contextRef="#ctx0" brushRef="#br0" timeOffset="170731.82">556 7329 0,'0'-13'16,"0"26"-16,0-40 15,26 41 32,-13-14-16,-13-14-15,14 14-16,-14-13 16,13 13-1,-13-13 1,13 13-1,0 0 1,0 0 0,-13 13-1,14-13 1,-14-13 15,0 0-15,13-14-1,-13 14 1,13 13-16,-13-13 16,13 13-1,-13-13-15,14 13 16,-1 0 31,0 0-32,0 0 32,1-14-31,-1 28 0,-13-1-1,13 0 1,-13 0-16,0 1 15,-13-1-15,13 0 16,0-39 31,0 12-31,13 1-16,-13 0 0,0-14 15,13 14-15,-13 0 0,13 13 0,-13-13 16,14 0-16,-14-1 15</inkml:trace>
  <inkml:trace contextRef="#ctx0" brushRef="#br0" timeOffset="170843.75">966 7051 0</inkml:trace>
  <inkml:trace contextRef="#ctx0" brushRef="#br0" timeOffset="183773.83">4882 5768 0,'13'-13'16,"-13"39"15,0-13-31,0 1 16,13-1-16,-13 0 15,0 0-15,0 1 0,13-1 16,-13 13-16,0-13 16,13 1-16,-13-1 0</inkml:trace>
  <inkml:trace contextRef="#ctx0" brushRef="#br0" timeOffset="184116.53">4855 5953 0,'0'-26'31,"13"26"-31,1 0 0,-14-14 15,13 14-15,0 0 0</inkml:trace>
  <inkml:trace contextRef="#ctx0" brushRef="#br0" timeOffset="184458.71">5027 5794 0,'0'40'47,"0"-27"-47,0 1 15,0-1-15,0 0 0,13 0 16,-13 0-16,0 1 0,14-1 0,-1-13 16,-13 13-16,13-13 15,0 0-15,0 0 16,1 0-16,-14-13 15,0 0 1,0-1 0,-14 1-16,1 13 15,13-13 1,-13 13 0,0 13-16,0-13 15</inkml:trace>
  <inkml:trace contextRef="#ctx0" brushRef="#br0" timeOffset="184764.69">5173 5808 0,'0'13'0,"13"27"16,0-40-1,-13 13-15,13-13 0,1 0 16,-1 0-16,0 0 16,13 0-16,-26-13 15,14 13-15,-14-14 16,0 1-16,0 0 16,-14 0-16,1-1 15,0 14 1,13-13-16,-13 13 0,0-13 15</inkml:trace>
  <inkml:trace contextRef="#ctx0" brushRef="#br0" timeOffset="184978.84">5464 5834 0,'0'0'0,"13"0"0,0 0 15,0-13 17,-13 0-17,-13-1 1,0 14-16,13-13 16,-13 13-16,-1 0 15,14-13-15,-26 26 16,13-13-16,0 0 0</inkml:trace>
  <inkml:trace contextRef="#ctx0" brushRef="#br0" timeOffset="189778.64">1072 8520 0,'26'-40'31,"0"27"-31,-12-1 0,-1 1 16,0 13-16,0-13 0,1 0 0,-1 0 15,0-1-15,-13 1 0,13 13 16,1-13-16,-14 0 0,13-1 16,-13 1-1</inkml:trace>
  <inkml:trace contextRef="#ctx0" brushRef="#br0" timeOffset="190026.64">1124 8242 0,'27'-13'31,"-14"13"-31,0 0 0,1 0 16,-1 0-16,13 0 0,-12 13 0,-1-13 16,13 13-16,-13 0 0,1-13 0,-1 13 15,0 1-15,0-1 0,-13 0 16,14 14-16,-14-14 0,0 13 0,0 1 15,-14-1-15,14 1 0,-13-1 0,0 14 16,0-14-16,-1 1 0,1-14 16,13 0-16,-13 0 0,13 1 0</inkml:trace>
  <inkml:trace contextRef="#ctx0" brushRef="#br0" timeOffset="193226.74">648 7607 0,'40'-27'15,"26"-39"1,-53 53-16,1 0 0,12-14 16,-13 14-16,0-13 0,1 12 15,-1-39-15,0 40 0,-13-13 16,13 12-16,-13-12 0,0 0 15,0 12-15,0-12 0,-13-1 0,13 1 16,-13 13-16,0-14 0,-14 1 0,14-1 16,-13 14-16,-1-13 0,1 26 15,-1-14-15,-26 1 0,14 13 16,12 0-16,-66 13 0,41-13 16,12 14-16,-13-1 0,0 13 15,0-12-15,13-1 0,1 13 16,-1-12-16,0 12 0,1-13 0,-1 0 15</inkml:trace>
  <inkml:trace contextRef="#ctx0" brushRef="#br0" timeOffset="194738.63">2236 8877 0,'66'0'16,"-132"0"-16,172 0 0,-80 0 0,27-13 15,-13 13-15,13 0 0,-1 0 0,1-14 16,-13 14-16,13 0 0,-13 0 0,-1 0 16,-12-13-16,-1 13 0,1 0 15,-1 0-15,-13 0 0,1 0 16,12-13-16,-13 13 0,1 0 15,-1 0-15</inkml:trace>
  <inkml:trace contextRef="#ctx0" brushRef="#br0" timeOffset="195072.65">2818 8705 0,'40'26'32,"-14"1"-32,-13-27 15,0 13-15,1 0 0,-1-13 16,0 13-16,0 1 0,1-1 0,-1 0 15,0 0-15,0 1 0,-13-1 0,0 0 16,13 0-16,-13 0 0,0 1 16,0 12-16,0-13 0,-13 1 0,13-1 0,-13 13 15,13-12-15,-13-1 0,0-13 0,13 13 16,-14 0-16,14 0 16,-13-13-16</inkml:trace>
  <inkml:trace contextRef="#ctx0" brushRef="#br0" timeOffset="196594.81">4167 8877 0,'40'-13'0,"-14"13"16,-12 13 0,-1 0-16,-13 0 15,0 14-15,0-14 16,0 0-16,0 0 0,0 1 0,0-1 16,-13 0-16,13 0 0,0 1 0,0-1 15,-14 0-15,14 0 0,-13 0 16,13 1-16,-13-14 15,13 13-15,0 0 32,13-13-32,0 0 15,14 0-15,-14-13 16,0 13-16,0-13 0,1 13 16,-1 0-16,0-14 0,0 1 15,1 13-15,-14-13 16,13 13-16,-13-13 0</inkml:trace>
  <inkml:trace contextRef="#ctx0" brushRef="#br0" timeOffset="196897.79">4458 8996 0,'0'26'62,"-13"-12"-46,13-1-16,0 0 15,0 0-15,0 0 16,0 1-16,0-1 16,0 0-16,0 0 15,13-13 1,0 0 0,14 0-1,-14 0-15,0-13 0,1 13 16,-1 0-16,0 0 0,0-13 0,1 13 15,-1 0-15,-13-13 0,13 13 16,0 0-16,-13-14 0,13 14 16,1-13-16</inkml:trace>
  <inkml:trace contextRef="#ctx0" brushRef="#br0" timeOffset="197127.88">4538 8943 0,'-14'0'0,"14"13"16,0 0-1,0 1-15,0-1 0,0 0 16,14 0-16,-14 14 0,0-14 16,13 0-16,-13 0 0,13 14 15,-13-14-15,13 0 0,-13 1 0,14 12 16,-14-13-16,13 1 0,-13-1 0,13-13 15,-13 13-15,0 0 0,13-13 16,-13 13-16</inkml:trace>
  <inkml:trace contextRef="#ctx0" brushRef="#br0" timeOffset="197707.7">4696 9088 0,'0'40'31,"14"-27"-31,-1 1 16,0-1-16,0-13 15,-13 13-15,13-13 0,1 0 16,-1 0-16,0 0 16,0 0-16,-13-13 0,14 13 0,-14-13 15,13 13-15,-13-14 0,0 1 0,13 13 16,-13-13-16,0-14 15,-13 14 1,0 0 0,-1 0-1,41 26 63,-14-13-62,0 0-16,-13 13 16,14-13-16,-1 0 0,0 13 15,0-13-15,0 0 0,1 14 16,12-28 0,-13 14-16,1-13 0,-1 0 15,0 13-15,0-13 16,-13 0-16,14-1 0,-14 1 15,13 0-15,-13 0 0,0-1 16,0 1 0,-13 13-16,-1-13 15,1 13-15,0 13 16,0-13-16,-1 0 0,1 0 16,13 13-16,-13-13 0,13 14 0,-13-14 15,-1 13-15</inkml:trace>
  <inkml:trace contextRef="#ctx0" brushRef="#br0" timeOffset="199698.73">4220 11284 0,'27'0'15,"-14"0"1,0 14-16,0-1 15,-13 0-15,0 0 16,0 1-16,0-1 0,0 0 16,0 0-16,0 1 15,0-1-15,0 0 16,0 0-16,13 0 0,-13 1 16,14-14-16,-14 13 15,13-13-15,-13 13 0,13 0 16,-13 1-16,0-1 15,0 0-15,-13 0 0,0 1 16,-1-1-16,1 0 16,0 0-16,0 0 0,0 1 0,-1-1 15,1 0-15,0-13 0,0 13 0,-1-13 16,1 14-16</inkml:trace>
  <inkml:trace contextRef="#ctx0" brushRef="#br0" timeOffset="200511.66">4630 11311 0,'0'-13'0,"-13"39"31,0-26-15,0 13-16,-1 1 0,1-1 0,-13 13 15,-1 1-15,14-14 0,0 0 16,-1 0-16,1 1 0,13-1 16,-13 0-16,0-13 0,13 13 0,0 1 15,0-1 1,0 0-16,13-13 0,0 0 16,0 13-16,1-13 0,12 0 15,1-13-15,-14 13 0,13 0 16,-12 0-16,-1-13 0,0 13 15,0 0-15,0-13 0,1 13 0,-1-14 16,0 14-16,0-26 0</inkml:trace>
  <inkml:trace contextRef="#ctx0" brushRef="#br0" timeOffset="201251.9">4657 11324 0,'-14'-13'15,"28"26"-15,-41-13 16,27 13-1,-13 1-15,13-1 0,0 0 16,0 0-16,-13 1 0,13 12 16,0-13-16,0 0 0,0 1 0,0-1 15,0 13-15,0-12 0,13-1 16,-13 0-16,0 0 0,13-13 16,0 14-16,1-14 15,-1-14-15,0 14 0,-13-13 0,13 0 16,1 13-16,-1-13 0,0-1 15,0-12-15,-13 13 0,13-1 16,1 1-16,-14 0 0,13 0 16,-13 39 15,0-13-15,0 1-16,0-1 0,13 0 15,-13 0-15,27 1 16,-14-14-1,0 0-15,0 0 16,1-14-16,-1 14 16,-13-13-16,0 0 0,0 0 15,0-1 1,-13 28 15,13-1-31,0 0 16,13 0-1,0-13-15,0 0 16,0 0-16,1 0 0,-1-13 0,0 0 16,0 13-16,14-13 0,-14-1 15,0 1-15,1 0 0,-1 0 16,0 13-16,-13-13 0,13-1 0,0 14 16,-13-13-16,14 26 31,-14 1-16,13-1 1,0-13 0,0-13-16,1-1 15,-1 14-15,-13-13 0,13 0 16,-13 0-16,0-1 16,0 1-16,-13 13 0,13-13 0,0 0 15,-13-1-15,-1 14 0,1-13 16,-13 13-16,12 0 0,1 0 0,0 0 15,0 0-15,-14 13 16,14 1-16,-13-14 0</inkml:trace>
  <inkml:trace contextRef="#ctx0" brushRef="#br0" timeOffset="202776.64">4141 12211 0,'0'0'16,"13"-14"-16,0 14 0,0 0 16,1 0-16,-1 0 15,0 0-15,-13 14 0,13-14 16,-13 13-16,14 0 0,-14 0 15,-14 14-15,14-14 0,0 0 0,-13 14 16,0-14-16,0 0 0,-1 13 16,1-12-16,0-1 0,13 0 0,-13-13 15,0 13-15,-1 1 0,1-1 16,13 0 0,13-13-1,1 0-15,-1 0 0,13 0 16,-13 0-16,1 0 0,12 0 15,1-13-15,-14 13 0,13 0 0,-13-13 16,14 13-16,-14-14 0,0 14 16,14 0-16,-14-13 0</inkml:trace>
  <inkml:trace contextRef="#ctx0" brushRef="#br0" timeOffset="203303.63">4405 12158 0,'14'-14'0,"-28"28"0,41-28 15,-14 14-15,0 0 0,0 14 32,-13 12-32,0-13 15,0 1-15,-13-1 0,13 0 16,0 0-16,-13 0 15,13 1-15,0-1 0,-13-13 16,13 13-16,0 0 16,13-13-16,0 0 15,0 0-15,1 0 16,-1-13-16,0 0 0,0 13 16,1-13-16,-1-1 0,0 14 0,0-13 15,1 0-15,-1 13 0,-13-13 16,13 13-16,0 0 0,-13-13 15,13 13 1,1 13-16,-1-13 16,0 0-16,0 0 15,1-13-15,-1 13 0,0-14 16,0 14 0,-13-13-16,13 0 0,-13 0 15,-13-1-15,0 1 16,0 0-1,0 0-15,-1 13 16,1-14-16,0 14 16,0 14-16,-1-14 15,1 13-15,13 0 16</inkml:trace>
  <inkml:trace contextRef="#ctx0" brushRef="#br0" timeOffset="203601.07">4815 12078 0,'0'0'16,"0"13"-1,0 1 1,0-1-16,14-13 0,-14 13 16,0 0-16,13-13 0,-13 14 0,13-14 15,-13 13-15,13-13 0,1 0 16,-1 0-16,0 0 0,0 0 15,0 0-15,1-13 0,-1 13 0,0-14 16,0 1-16,1 0 0,-14 0 16,0-1-16,0 1 15,0 0-15,0 0 0,0 0 16,-14-1-16,14 1 0,-13 13 16,0 0-16,0 0 15,-14 13-15,14-13 0,-13 27 16,-1-14-16,-13 13 0,14 1 15</inkml:trace>
  <inkml:trace contextRef="#ctx0" brushRef="#br0" timeOffset="203818.92">4075 12713 0,'39'-26'0,"-78"52"0,105-65 0,-53 25 0,27 1 15,-1 0-15,1-14 0,13 14 16,0-13-16,0 12 0,0-12 0,13 13 16,-13-14-16,53 1 0,-67 13 15,1-1-15,0 14 0,-14-13 16,1 13-16,12 0 16,-26 0-16</inkml:trace>
  <inkml:trace contextRef="#ctx0" brushRef="#br0" timeOffset="204006.97">4141 12766 0,'-27'13'0,"54"-26"0,-27 13 32,26-13-32,-13 0 0,27-1 15,13-12-15,0 13 0,0-14 0,13 1 16,-13-1-16,13 1 0,-13-14 15,53-26-15,-53 40 0,0-14 16,26-26-16,-53 39 0</inkml:trace>
  <inkml:trace contextRef="#ctx0" brushRef="#br0" timeOffset="204297.83">4643 11628 0,'0'0'0,"27"-13"15,-1 13-15,-12-13 16,25 13-16,1-13 0,0 0 0,-1-1 15,1 14-15,0-13 0,-1 0 16,-12 13-16,-1-13 0,-12 13 0,-1 0 16,0 0-16,0 0 0,-13 13 15,-13 13 1</inkml:trace>
  <inkml:trace contextRef="#ctx0" brushRef="#br0" timeOffset="204464.64">4670 11787 0,'-53'27'15,"106"-54"-15,-119 54 0,53-14 0,52-13 32,-26-13-32,14 13 0,13-14 0,-1 1 15,1 0-15,13 0 16,-13 0-16,12-1 0,-12 1 0,13 0 16,-13 0-16,-1-1 0,14 14 0,-13-13 15,0 0-15,-14 13 0,1-13 16</inkml:trace>
  <inkml:trace contextRef="#ctx0" brushRef="#br0" timeOffset="213890.6">6720 4908 0,'27'0'141,"39"0"-141,0 26 16,0 27-16,-26-13 15,-14-13-15,1 12 16,13 27-16,-14-13 16,1 40-16,-27-14 15,0 14-15,0-27 16,0-13-16,0 53 15,0-27-15,-27 67 16,-13-41-16,27-12 16,-13 0-16,12-1 15,-12 1-15,26-40 16,0 0 0,0-14-16,0 1 15,0 0-15,0-14 0,13 14 16,0-27-16,1 0 15,-1-13-15,0-13 79,0-13-64,-13-1-15,0 14 16,-13 26 46,13 27-46,0-14-16,-13 27 16,13-13-16,-13 39 15,13-26 1,0 13-16,0-13 0,0-26 15,0 13-15,0-1 16,0 27-16,0-26 16,0-14-16,0 1 15,0 13-15,0 13 16,0-14 0,13 14-16,0-13 0,-13 0 15,13 12-15,-13-12 16,0 13-1,27 0-15,-27-13 0,13 26 16,-13-26-16,13-1 16,-13 1-1,0-27-15,0 27 16,0-1-16,0 1 16,14 26-16,-14-39 15,0-1-15,0 1 16,-14 12-16,1-25 15,0 12-15,0-13 16,-1-13-16,1 27 16,0-27-16,0 13 15,-1 0 1,1-13-16,0 0 78,0 0-78,0 0 16</inkml:trace>
  <inkml:trace contextRef="#ctx0" brushRef="#br0" timeOffset="-214381.76">7038 6654 0,'13'0'141,"53"-26"-125,-13-14-16,40 14 15,39-14-15,-13 40 16,27-26-16,26 12 0,-27 14 15,14 0-15,-106 0 16,0 0-16,-14 0 16,-25 0-1,12 0-15,-13 0 78</inkml:trace>
  <inkml:trace contextRef="#ctx0" brushRef="#br0" timeOffset="-210154.96">8123 6191 0,'13'13'47,"13"14"-47,14-14 16,-13 14-16,-1-14 15,0 13-15,1-26 16,-14 14-16,0-1 15,14-13-15,-14 13 16,0 0 0,1-13-16,-1 13 15,0-13 1,0 0 0,0 0-16,1 0 15,-14 14-15,26-14 0,-26 13 16,27 13-1,-1-12 1,-13-1-16,0-13 16,1 26-16,-1-26 0,-13 14 93,0-1-77,-27 0 0,14 13-16,-13-12 15,13-1-15,-14 0 16,1 14-16,12-27 16,1 13-1,0-13-15,13 26 16,-13-26-16,0 0 15,13 14 1,-14-1-16,14 0 16,0 0 15,-26 14-15,26-14-1,-13-13-15,13 13 16,0 27 203,-14-14-219,1 1 31,13-14-16,13-40 204,27 1-219,-27 0 16,27 12-16,-14-12 15,-12 13 1,12-14-16,-13 27 16,1-13-16,12-13 15,-13 12 1,-13 1 0,13 13-1,-13-13-15,14 13 16,-14-13-16,13-14 15,-13 14 1,13 13-16,-13-13 16,13-1-1,-13 1 17,14 13-32,-14-26 31,0 13 16,-14 13 140,1 0-171,-27-27-16,1 14 15,12 0-15,1-1 16,-27-12 0,40 13-16,0-1 0,-14 1 15,27 0-15,-13 13 32,0-13-32,-1 13 15,1-27 1,0 14-16,0 13 15,-14-13-15,27 0 16,-13-1-16,0 1 16,0 13-16,13-13 15,-14 13 1,1-13-16,0 13 16,0 0-1,-1 0 1,14-14-1,-13 14 17,0 0 15,26 0-1,0 0-30,14 0-16,-1 0 16,27 40-16,0-13 15,-26-27 1,-14 26-16,13-26 16,14 40-16,-27-40 0,14 26 15,-14-13-15,0-13 16,-13 14-1,13-14-15,1 26 32,-1-26-32,0 13 31,0-13 0,-13 14-15,13 12 15,1-26-31,-1 13 16,-13 1 15,13-1-31,0-13 31,-13 13-15,-13-13 109,-13 13-110,26 0-15,-14-13 16,-12 0-16,13 14 16,0-1-16,-1-13 15,-12 13-15,13-13 16,-1 13 0,1-13-1,0 0-15,0 14 16,-14 12-1,1 1 17,13-27-17,-1 13 1,14 0 0,-13-13-16,0 0 15,0 26-15,-1 1 31,1-27-15,-13 40 0,-1-27-16,14 0 0,0-13 15,-14 13 1,14-13 0,0 13-1,0 1-15,-14-14 31,27 13-31,-13-13 16,-13 13 0,26 0-1,-14-13 1,14 14 0,27-14 202,12-14-202,1 1-16,40 13 16,-54 0-16,0 0 15,1 0-15,-14-13 16,0 0-16,1 13 15,-1 0-15,0 0 32,-13-14-32,13 14 15,1 0 17,-1 0-32,0-13 15,13 0-15,-12 13 16,-1 0-1,-13-13-15,13 13 16,14 0-16,-27-13 16,13 13-16,0-14 15,0 14-15,0-13 16</inkml:trace>
  <inkml:trace contextRef="#ctx0" brushRef="#br0" timeOffset="-206455.07">5054 5622 0,'0'-13'47,"13"13"-31,13 0 0,1 0-16,-14 0 15,0 0-15,14 0 16,-14 0-16,13 0 15,-12 0-15,12 0 16,0 0 0,1 0-16,-1 0 15,-12 0-15,-1 0 16,0 0-16,14 0 16,-14 0-16,13 0 15,-13 0 1,1 0-16,-1 0 15,0 0-15,0 0 16</inkml:trace>
  <inkml:trace contextRef="#ctx0" brushRef="#br0" timeOffset="-176165.82">10213 8083 0,'0'-13'16,"-13"0"0,-1 13-16,1 0 0,0 0 15,-13 0-15,12 13 0,-12-13 16,-14 13-16,14-13 0,-14 13 0,14 0 16,-1 1-16,1-14 0,-1 13 0,14 0 15,0 0-15,-1-13 0,1 14 16,13-1-16,-13 0 0,13 0 15,0 1-15,13-1 0,0 0 16,1 0-16,25 14 0,-12-14 16,-1 0-16,40 27 0,-39-27 15,-1 0-15,-12-13 0,12 14 16,1-1-16,-1 0 0,-13 0 16,0 0-16,1 1 0,-14-1 15,0 0-15,-14 0 16,1 1-16,-26 12 15,12-13-15,1-13 0,-1 13 16,14 1-16,-14-14 0,14 13 0,-13-13 16,13 0-16,-1 0 0,1 0 15,0 13-15,0-26 16,26 0 0,-13-1-1,13 14-15,0-13 0</inkml:trace>
  <inkml:trace contextRef="#ctx0" brushRef="#br0" timeOffset="-175785.15">10253 8348 0,'0'0'0,"13"-14"16,-26 28 15,-1-1-15,14 0-16,0 0 0,0 1 15,0-1-15,0 0 0,14 0 0,-14 0 16,13 1-16,0-1 0,-13 0 16,13-13-16,1 0 0,12 13 15,-13-13-15,0 0 0,1-13 16,-1 0-16,0 0 0,0 13 16,1-14-16,-1 1 0,0-13 15,-13 13-15,13-1 0,-13 1 16,14-13-16,-14 12 0,0 1 15,13 0-15,-13 0 0,0-1 16,13 1 0,-13 40 15,0-14-15,13 0-1</inkml:trace>
  <inkml:trace contextRef="#ctx0" brushRef="#br0" timeOffset="-175356.3">10676 8030 0,'-27'27'16,"14"-14"-16,13 0 0,-13 0 0,-27 159 31,27-145-15,13-1-16,0 1 0,0-14 15,0 0-15,0 0 0,0 1 0,0-1 0,0 0 16,0 0-16,13-26 31,1 0-15,-1 13-16,0-13 0,0-1 0,0 14 15,1-13-15,12 13 0,-13 0 16,1 0-16,-1 0 0,0 0 0,14 0 16,-14 0-16,0 13 0,0 1 0,0-14 15,-13 13-15,14 0 0,-14 0 0,0 0 16,0 1-16,0-1 16,-14 0-16,1 0 0,13 1 0,-26-1 15,13-13-15,-1 13 0,1-13 16,0 13-16,0-13 0,-1 0 0,1 0 15,0 0-15,13-13 16,0-13 0</inkml:trace>
  <inkml:trace contextRef="#ctx0" brushRef="#br0" timeOffset="-174900.91">11086 8229 0,'0'-14'16,"-26"41"15,12-14-31,14 13 0,0-12 0,-13-1 16,13 0-16,0 14 0,-13-14 15,13 0-15,0 0 0,13 1 0,-13-1 16,0 0-16,13-13 0,1 13 16,-1-13-16,0 13 0,0-13 0,0-13 15,1 13-15,-1 0 0,13-13 0,-12 0 16,-1 13-16,0-13 0,0-14 15,1 14-15,-14 0 0,13-1 0,-13 1 16,0 0-16,0 0 0,-13-1 0,13 1 16,-14 0-16,1 0 0,0 13 15,0-13-15,-1 13 0,1 0 16,0 0-16,0 0 0,-1 0 0,-12 13 16,13-13-16,0 13 0,-1-13 15,14 13-15</inkml:trace>
  <inkml:trace contextRef="#ctx0" brushRef="#br0" timeOffset="-174422.11">11284 8043 0,'14'-13'16,"-28"26"-16,28-39 0,-1 52 31,-13-12-15,0 12-16,0 0 0,0 14 15,0 0-15,0 13 0,0-14 0,-13 14 16,13-13-16,0 0 0,0 13 16,0-14-16,0-12 0,13 12 0,-26-12 15,13-1-15,0-12 0,0 12 0,0-13 16,0 1-16,-14-1 0,14 0 16,0 0-16,0 0 0,-13 1 15,0-28 1,0 1-16,13 0 15,0 0-15,13-14 0,-13-26 0,13 0 16,0 1-16,1-15 0,-1 15 0,13-1 16,-12 13-16,12 0 0,-13 1 15,14 12-15,-14 14 0,0 0 16,0-1-16,1 1 0,-1 0 0,0 13 16,0 0-16,1 0 0,-1 0 15,0 13-15,0-13 0,-13 13 0,14 1 16,-14-1-16,0 0 0,0 0 15,0 1-15,0 12 0,-14-13 16,14 14-16,-13-1 0,0-13 0,0 14 0,-1-1 16,-12-12-16,13-1 0,-1 13 15,1-13-15,0-13 0,0 14 16,0-1-16,-1-13 0,14-27 16,14 14-16</inkml:trace>
  <inkml:trace contextRef="#ctx0" brushRef="#br0" timeOffset="-173940.89">11774 7818 0,'13'-26'0,"-26"52"0,39-52 15,-39 52 17,13-12-32,0 12 0,0 1 0,0-1 15,0 1-15,0 12 0,-13 1 16,13 0-16,0-1 0,0 1 0,0-14 15,0 1-15,0-1 0,0 1 16,0-1-16,0 1 0,0-14 0,13 27 16,-13-27-16,0 0 0,0 0 15,0 1-15,0-1 0,-13 0 16,13 0 0,-13-26-16,-14 13 15,14-13-15,0 13 0,0-13 16,-1-1-16,14 1 15,-13 13-15,13-13 0,-13 0 0,13-1 16,-13 1-16,13 0 16,13 0-16,0-14 0,-13 14 15,13 0-15,1 0 0,-1 13 16,13-14-16,-12 1 0,-1 13 0,0 0 16,0 0-16,0 0 0,1 0 0,-1 0 15,0 0-15,0 0 0,1 13 0,-1 1 16,0-1-16,-13 0 15,13 0-15,-13 0 0,0 1 0,0-1 16,0 0-16,0 0 0,0 1 16,0-1-16,-13 0 0</inkml:trace>
  <inkml:trace contextRef="#ctx0" brushRef="#br0" timeOffset="-173854.08">11972 8070 0,'-13'-13'0</inkml:trace>
  <inkml:trace contextRef="#ctx0" brushRef="#br0" timeOffset="-173165.08">12303 8176 0,'-13'13'15,"13"40"17,0-40-32,0 0 15,0 0-15,-13 1 0,13-1 16,0 0 0,0 0-1,13-39 32,-13 13-31,13-1-1,0 1 1,1 13 0,-1 0-1,0 0 1,0 0-1,0-13 17,1 0-1,-14 0-15,13 13-16,0-14 15,0 14 1,1 14-1,-1-1 1,0 0 0,0 0-1,1-13 1,-1 0-16,0-13 16,0 13-16,0 0 0,1 0 15,-1 0-15,0 0 0</inkml:trace>
  <inkml:trace contextRef="#ctx0" brushRef="#br0" timeOffset="-172692.25">12766 8189 0,'-13'-13'0,"0"13"31,-1 0-31,1 0 16,0 0-16,0 0 15,0 13-15,-1-13 16,14 13-16,-13 0 15,13 1 17,13-14-32,-13 13 15,14-13-15,-1 0 16,0 0-16,0 0 16,0 13-1,1-13-15,-1-13 16,0 13-16,0 0 0,1 0 15,-1-13-15,0-1 0,0 14 0,1-13 16,-1 0-16,0-14 0,0 14 16,14-13-16,-14-1 0,13 1 0,-12-14 15,-1 14-15,0-1 0,-13 14 0,13-13 16,-13 12-16,14-12 0,-14 13 16,-14 26 15,14 13-31,-13-12 0,13 12 15,0 0-15,0 1 0,0-1 0,0 1 16,0-1-16,0 1 0,0-14 0,13 13 16,-13 1-16,0-1 0,14-12 15,-14 12-15,0-13 0,13 0 0,-13 1 16,-13-1-16,13 0 0,0 0 0</inkml:trace>
  <inkml:trace contextRef="#ctx0" brushRef="#br0" timeOffset="-172401.27">10702 8811 0,'0'0'0,"-39"0"0,39-14 0,26 1 15,-13 13-15,27-13 16,13 0-16,13 13 0,14-14 15,12 1-15,1 0 0,-1 0 0,27 0 16,14-1-16,-14 14 0,0-13 0,-13 0 16,-14 13-16,1-13 0,-1 13 0,1-14 15,0 14-15,-14 0 0,0-13 0,-26 13 16,-13 0-16,0 0 0,-14 0 0,1 0 16,-14 0-16,-53 0 15,14 0 1,-27 13-16</inkml:trace>
  <inkml:trace contextRef="#ctx0" brushRef="#br0" timeOffset="-172188.06">10491 8850 0,'0'0'0,"-13"14"0,39-14 15,0 0-15,54 0 0,-27 0 16,13-14-16,13 1 15,1 13-15,12-13 0,1 0 0,-14-1 0,14 1 16,-1-13-16,-12 12 0,-1 1 16,-13 0-16,0-13 0,1 12 15,-14-12-15,-14 13 0,1-14 0,-14 1 16,1-1-16,-1 1 0,-13-1 0,-13 1 16</inkml:trace>
  <inkml:trace contextRef="#ctx0" brushRef="#br0" timeOffset="-171886.11">10358 7567 0,'0'0'0,"80"-13"0,-40 13 15,39-13-15,0 13 16,1-14-16,12 14 0,14 0 0,-13 0 16,12 0-16,28-13 0,-1 13 0,-26 0 0,26 0 15,-26 0-15,0 0 0,0 0 0,-14 0 16,1 0-16,0 0 0,-1 0 16,-13 0-16,-26 0 0,0 0 0,0 0 15,-26 0-15,-1 13 0,-13-13 0,-66 0 31</inkml:trace>
  <inkml:trace contextRef="#ctx0" brushRef="#br0" timeOffset="-171654.16">10544 7779 0,'66'13'31,"0"-26"-31,0 13 0,27-13 0,-1-1 16,14 14-16,13-13 0,13 0 0,1 0 16,-14 13-16,-13-14 0,92 1 15,-105 13-15,-14-13 0,14 13 16,-14-13-16,0 13 0,-26 0 0,13 0 16,-13 0-16,0 0 0,0 0 15,-13 0-15,-14 0 0,1 0 0,13 0 16,-14 0-16</inkml:trace>
  <inkml:trace contextRef="#ctx0" brushRef="#br0" timeOffset="-171401.36">13309 7355 0,'-14'67'31,"1"-28"-31,0-12 0,0 12 16,13 14-16,-14-13 0,1 13 0,0-13 16,0 13-16,13-1 0,-14-12 0,14 13 15,0-13-15,-13-1 0,13 14 0,0-26 16,0-1-16,0 14 0,13-14 0,-13 1 16,0-14-16,0 0 0,0 1 15,0-1-15,14 0 0</inkml:trace>
  <inkml:trace contextRef="#ctx0" brushRef="#br0" timeOffset="-171190.84">13467 7726 0,'40'-132'15,"-80"264"-15,93-291 0,-53 146 16,13 0-16,-26 26 16,-13 27-1,13-1-15,-14 14 0,1 0 0,-1 13 16,1 0-16,-1-13 0,14 13 15,-13 14-15,12 52 16,1-79-16,13 0 0,0 0 0,0-13 16,0-1-16,0 1 0,0-14 0,0-12 15,0 12-15,0-13 0,-13 0 16,13 1-16,-13-14 0,-1 0 16</inkml:trace>
  <inkml:trace contextRef="#ctx0" brushRef="#br0" timeOffset="-170681.37">9618 7898 0,'-14'53'15,"1"-27"1,13 1-16,0 26 0,0-14 0,-13 27 16,26 1-16,-26-1 0,26-13 15,-13-14-15,0 14 0,0 0 0,0-13 16,13 13-16,-13-14 0,0-12 0,0-1 16,14 1-16,-14-14 0</inkml:trace>
  <inkml:trace contextRef="#ctx0" brushRef="#br0" timeOffset="-170469.66">9684 7885 0,'13'79'15,"-13"-39"-15,0 13 16,0-1-16,0 15 0,13-1 0,-13 0 15,0 0-15,13 0 0,-13 0 16,14 0-16,-14-13 0,13-13 0,-13 0 16,13-1-16,-13 1 0,13-13 15,-13-1-15</inkml:trace>
</inkml:ink>
</file>

<file path=ppt/ink/ink19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2:24:32.354"/>
    </inkml:context>
    <inkml:brush xml:id="br0">
      <inkml:brushProperty name="width" value="0.05292" units="cm"/>
      <inkml:brushProperty name="height" value="0.05292" units="cm"/>
      <inkml:brushProperty name="color" value="#0070C0"/>
    </inkml:brush>
  </inkml:definitions>
  <inkml:trace contextRef="#ctx0" brushRef="#br0">1918 2275 0,'225'-26'15,"-159"26"-15,371 0 16,-371 0 0,13 0-16,1 0 0,-27 0 15,0 13-15,-1-13 0,1 0 0,0 0 16,-13 13-16,-14-13 0,1 0 0,-1 0 15,1 0-15,-14 0 0,0 0 16,1 0-16,-1 0 0</inkml:trace>
  <inkml:trace contextRef="#ctx0" brushRef="#br0" timeOffset="284.88">2156 2434 0,'106'-13'15,"-53"13"1,0 0-16,26 0 0,-12 0 16,12 0-16,14 0 0,-14 0 15,0 0-15,1 0 0,-1 0 0,0 0 16,1 0-16,-27 0 0,26 0 0,-26 0 15,0 13-15,-13-13 0,-1 0 16,1 0-16,-14 13 0,-12-13 0,12 0 16,-13 14-16,1-14 0,-1 0 15,0 0-15,0 0 0,0 0 16</inkml:trace>
  <inkml:trace contextRef="#ctx0" brushRef="#br0" timeOffset="934.18">5622 2209 0,'27'0'16,"185"-13"-1,-133 13-15,0 0 16,1 0-16,-1 0 0,14 0 0,-14 0 15,0 0-15,67 0 0,-80 0 16,-13 13-16,0-13 0,0 0 16,0 0-16,0 0 0,-27 0 15,14 0-15,-27 13 0,13-13 0,1 0 16,-14 0-16,0 0 0,1 0 0</inkml:trace>
  <inkml:trace contextRef="#ctx0" brushRef="#br0" timeOffset="1329.04">5781 2342 0,'0'0'0,"53"0"15,-26-14-15,12 14 0,14 0 16,13 0-16,14-13 0,-1 13 15,0 0-15,1-13 0,-1 13 0,1 0 16,-1-13-16,0 13 0,1 0 16,-27 0-16,13 0 0,40 0 15,-54 0-15,1 0 0,14 0 16,-41 0-16,-13 0 0,14 0 16,-14 0-16,13 0 0,-12 0 0,-1 0 15,0 0-15,0 0 16,0 0-16,1 0 0,-1 0 15,0 0-15,0 0 32,1 0-17</inkml:trace>
  <inkml:trace contextRef="#ctx0" brushRef="#br0" timeOffset="3779.25">318 2778 0,'0'27'0,"0"-14"0,0 0 15,-14 0-15,14 1 0,0-1 0,0 0 0,-13 0 16,13 0-16,0 14 0,0-14 15,-13 0-15,13 1 0,0-1 16,-13 0-16,13 0 0,0 0 0,0 1 16,-14-1-1</inkml:trace>
  <inkml:trace contextRef="#ctx0" brushRef="#br0" timeOffset="4332.25">172 3572 0,'13'0'0,"40"26"31,-53-12-31,0-1 16,0 0-16,0 0 16,-13 0-16,0 14 0,-1-14 15,1 0-15,0 1 0,0-1 0,0 13 16,-1-26-16,1 14 0,0-1 15,0 0-15,-1-13 16,14 13 0,27-26-1,-14 13 1,0 0-16,14-13 0,-14 13 0,13 0 16,-12-13-16,12 13 0,-13 0 0,1 0 15,12 0-15,-13 0 0,1 0 16</inkml:trace>
  <inkml:trace contextRef="#ctx0" brushRef="#br0" timeOffset="4949.03">159 4299 0,'39'0'32,"-39"14"-32,14-1 15,-28 0-15,14 0 0,0 1 16,-13-14-16,13 13 0,-13 0 16,0 0-16,13 1 0,0-1 15,13 0-15,0 0 16,0-13-1,1 13-15,-1-13 0,0 14 0,0-14 16,1 13-16,-1-13 0,-13 13 16,13-13-16,-13 13 15,-13 1-15,0-1 0,-1 0 16,1-13-16,0 13 0,0 1 0,-1-14 16,1 13-16,0-13 0,0 13 15,0-13-15,-1 0 0</inkml:trace>
  <inkml:trace contextRef="#ctx0" brushRef="#br0" timeOffset="5415.98">278 5106 0,'-13'14'16,"-1"-1"-16,1 0 0,0 0 15,0 1-15,-1-1 0,1 0 0,-13 0 16,13 1-16,-1-1 0,1-13 0,13 13 16,-13 0-16,0-13 0,13 13 15,-14 1-15,14-1 0,0 0 16,0 0-16,0 1 15,14-1 1,-1-13-16,0 13 0,0-13 16,1 0-16,-1 0 0,13 0 0,-13 0 15,1 0-15,-1-13 0,0 13 16,0-13-16,1 13 0</inkml:trace>
  <inkml:trace contextRef="#ctx0" brushRef="#br0" timeOffset="5604.33">318 5080 0,'-14'0'0,"28"0"0,-41 13 16,27 0-16,-13 14 0,13-14 15,0 14-15,-13-1 0,13 1 0,-14 52 16,14-53-16,0 14 16,0-13-16,0-1 0,0 0 0,0 14 15,0-13-15,0-1 0,0-13 0,0 14 16,0-14-16,0 13 0,0-12 15,14-1-15,-14 0 0</inkml:trace>
  <inkml:trace contextRef="#ctx0" brushRef="#br0" timeOffset="6147.87">212 6019 0,'13'-13'0,"-26"26"47,-1 0-47,1-13 0,0 14 0,0-14 15,13 13-15,-13-13 0,13 13 0,0 0 16,0 1 0,0-1-16,13-13 0,0 13 0,13 0 15,-26 1-15,27-14 0,-14 13 16,0 0-16,1-13 0,-1 13 16,0 0-16,0-13 0,1 14 0,-14-1 15,0 13 1,-14-26-16,1 14 0,0-1 15,0-13-15,-1 13 0,1-13 16,-13 13-16,12-13 0,1 0 0,0 0 16,0 0-16,0 14 15,-1-14-15</inkml:trace>
  <inkml:trace contextRef="#ctx0" brushRef="#br0" timeOffset="6597.39">251 6760 0,'-66'40'0,"53"-14"16,0 1-16,0 12 0,-1 1 15,14-13-15,-13 12 0,13-12 0,0-1 16,0 1-16,13-1 0,-13-13 0,14 14 15,-1-14-15,13 13 16,-13-12-16,1-1 0,-1-13 16,-13 13-16,13-39 15,-26 26 1,0-14-16,-1 1 16,1 13-16,13-13 0,-13 13 15,-13 0 1,26 13-1</inkml:trace>
  <inkml:trace contextRef="#ctx0" brushRef="#br0" timeOffset="7012.08">40 7752 0,'13'-13'0,"13"13"16,-12 0-16,-1 0 15,0 0-15,0 0 0,1 0 16,-1 0-16,0 13 0,0 1 0,0-1 16,-13 0-16,14 0 15,-14 14-15,0-14 0,0 0 0,0 0 16,0 14-16,0-14 0,-14 14 0,14-14 15,0 0-15,-13 13 0,13-12 0,0-1 16,-13 0-16,13 0 0,-13 1 16,13-1-16,0 0 0</inkml:trace>
  <inkml:trace contextRef="#ctx0" brushRef="#br0" timeOffset="7183.24">13 8043 0,'40'-26'32,"-27"26"-32,14-13 15,-1-1-15,14 14 0,-1-13 16,14 13-16,-26-13 0,13 13 0,-14 0 16,0 0-16,-12 0 0</inkml:trace>
  <inkml:trace contextRef="#ctx0" brushRef="#br0" timeOffset="7716.35">119 8467 0,'27'13'16,"-14"-13"-16,-13 13 0,13 0 15,0 14-15,0-14 0,1 0 0,-14 14 16,13-1-16,-13-13 0,13 27 16,-13-27-16,-13 27 15,13-27-15,-13 0 0,13 1 16,-14-1-16,28-40 31,-1 14-15,0 0-16,-13 0 0,13 0 0,1-1 15,-1-12-15,0 13 0,0-1 16,-13 1-16,14-13 0,-14 12 16,0 1-16,0 0 0,0 0 0,0 0 15,0-1-15,0 1 0,-14 0 0,14 0 16,-13 13-16,13-14 0,-13 14 16,0 0-16,-1 0 0,1 0 15,0 14-15,13-1 0,-13-13 16,13 13-16,0 0 15</inkml:trace>
  <inkml:trace contextRef="#ctx0" brushRef="#br0" timeOffset="8152.93">198 9327 0,'-39'13'15,"-14"0"1,40 0-16,-1 0 16,14 1-16,0-1 15,14-13-15,-1 13 0,0-13 0,0 0 16,1 0-16,12 0 0,-13 13 16,14-13-16,-14 0 0,13 14 0,-12-1 15,-1 0-15,0 0 0,0 1 0,1 12 16,-1-13-16,-13 14 15,13 12-15,-13-25 0,0 12 16,0 14-16,-13-27 0,13 13 16,0-12-16,0-1 0,0 0 15,-13 0-15,13 1 0,0-1 0</inkml:trace>
  <inkml:trace contextRef="#ctx0" brushRef="#br0" timeOffset="8481.04">106 10279 0,'0'0'0,"0"27"16,-13-14 0,13 0-16,0 0 0,0 14 15,0-14-15,0 0 0,-14 0 16,14 1-16,0-1 0,14 0 0,-14 0 15,0 1-15,13-14 0,0 13 16</inkml:trace>
  <inkml:trace contextRef="#ctx0" brushRef="#br0" timeOffset="8727.98">278 10464 0,'13'27'15,"-13"-14"-15,13 27 31,1-40-31,-14 13 0,13-13 0,0 0 16,0 0-16,0 0 0,1-13 16,-1 13-16,-13-14 0,13 1 0,0 0 15,-13 0-15,0 0 16,0-1-16,-13 1 0,13 0 0,0 0 16,-13 13-16,0-14 0,-1 14 15,1 0-15,0 0 0,0 14 16,0-14-16,-1 13 0,1 0 15,0 0-15,0 1 0</inkml:trace>
  <inkml:trace contextRef="#ctx0" brushRef="#br0" timeOffset="9005.07">278 11099 0,'-13'13'16,"-1"1"-16,14-1 0,-13 0 15,13 0-15,0 1 16,-13-1-16,13 0 16</inkml:trace>
  <inkml:trace contextRef="#ctx0" brushRef="#br0" timeOffset="9157.96">423 11060 0,'14'13'15,"-14"0"1,-14 0-16,14 0 0,0 1 0,0-1 16,0 0-16,0 0 0,0 1 0,0-1 15,0 0-15,-13 0 0,13 1 16</inkml:trace>
  <inkml:trace contextRef="#ctx0" brushRef="#br0" timeOffset="9593.23">212 11880 0,'-14'26'32,"1"1"-32,26-14 31,1-26-31,-1 13 15,0-14-15,0 14 0,14 0 16,-14-13-16,0 13 0,1 0 0,-1 0 16,0 13-16,0-13 0,0 14 0,1-14 15,-1 13-15,0 0 0,-13 0 16,13 1-16,-13-1 0,14 0 0,-14 0 16,0 1-16,13-1 0,-13 0 15,0 0-15,13-13 0,-13 13 16</inkml:trace>
  <inkml:trace contextRef="#ctx0" brushRef="#br0" timeOffset="10498.14">11179 2738 0,'-14'67'15,"14"-54"1,0 0-16,0 0 0,0 1 15,0-1-15,0 0 0,0 0 0,14 0 16,-14 1-16,0-1 16</inkml:trace>
  <inkml:trace contextRef="#ctx0" brushRef="#br0" timeOffset="10771.94">11364 2844 0,'66'-13'32,"-53"13"-32,0 13 15,-13 1-15,0-1 16,0 0-16,0 0 16,-13 0-16,13 1 0,0-1 15,0 0-15,0 0 16,0 1-16,13-14 15,1 0-15,-1 0 16,0 0-16,0 0 0,1 0 16,-1 0-16,0 0 0,0 0 15,1 0-15,-1 13 0</inkml:trace>
  <inkml:trace contextRef="#ctx0" brushRef="#br0" timeOffset="11176.18">11179 3717 0,'0'-13'0,"0"40"0,0-14 16,0 0-16,-14 0 0,14 1 15,0 12-15,0-13 0,-13 0 0,13 14 16,0-14-16,0 0 0,0 1 0,0-1 16</inkml:trace>
  <inkml:trace contextRef="#ctx0" brushRef="#br0" timeOffset="11548.84">11364 3731 0,'13'0'0,"-26"0"0,13 26 31,0-13-31,-13 1 16,13-1-16,13 0 16,-13 0-16,0 0 0,13 1 15,0-1-15,1 13 0,-14-12 16,13-1-16,-13 0 15,0 0-15,-13 1 16,13-1-16,-14-13 0,14 13 16,-13-13-16,0 13 0,0 0 15,-1-13-15,14 14 0,-13-1 16,0-13-16,13 13 0</inkml:trace>
  <inkml:trace contextRef="#ctx0" brushRef="#br0" timeOffset="11909.21">11179 4524 0,'0'-13'0,"-14"53"47,1-14-47,0-12 0,13-1 0,-13 0 15,-1 0-15,14 14 0,0-14 16,-13-13-16</inkml:trace>
  <inkml:trace contextRef="#ctx0" brushRef="#br0" timeOffset="12247.9">11417 4630 0,'-40'13'31,"27"-13"-31,0 14 0,-1-1 16,1-13-16,0 13 0,0 0 0,13 1 0,-14-14 15,1 13-15,13 0 16,13 0-1,1-13-15,-1 0 16,-13-13-16,13 13 0,0 0 16,1-13-16,-1 13 0,0-13 0,0-1 15,1 14-15,-14-13 16,-14 40 15,1-14-31,13 0 0,-13 0 16,0 0-16,13 1 0,-14 12 15,14-13-15,-13 1 0,13-1 16,0 0-16,0 0 0,0 1 0,0-1 0</inkml:trace>
  <inkml:trace contextRef="#ctx0" brushRef="#br0" timeOffset="12625.34">11033 5305 0,'-13'13'15,"0"53"1,13-39-16,-14-14 15,14 0-15,0 14 0,-13-14 0,13 13 16,-13-12-16,13 12 0,0-13 0,0 0 16</inkml:trace>
  <inkml:trace contextRef="#ctx0" brushRef="#br0" timeOffset="12920.95">11179 5424 0,'-27'13'0,"-13"0"32,40 1-32,14-1 15,-14 0-15,13 0 0,13 1 16,-12-1-16,-14 0 0,13 0 0,-13 0 15,13-13-15,-13 14 0,13-1 16,-13 0-16,-13 0 16,13 1-16,-13-1 0,0-13 0,-1 13 15,1 0-15,0-13 0,0 14 16,-1-1-16,1 0 0,-13-13 16</inkml:trace>
  <inkml:trace contextRef="#ctx0" brushRef="#br0" timeOffset="13292.89">11060 6152 0,'0'-14'0,"-14"41"31,14-14-31,0 0 16,-13 0-16,13 14 0,-13-14 16,13 14-16,-13-14 0,-1 13 15,14-12-15,-13 12 0,13 0 16,13-12-16,-13-1 0</inkml:trace>
  <inkml:trace contextRef="#ctx0" brushRef="#br0" timeOffset="13543.32">11232 6244 0,'-27'13'31,"14"1"-31,13-1 0,-13 0 16,13 0-16,-14 1 0,14-1 16,0 0-16,0 0 0,0 0 0,0 1 15,14-1-15,-1 0 16,0-13-1,-13-13 1,-13 0 0,0 26-1,-1-13-15,1 0 0,13 13 16,-13-13-16,0 13 0,-1 1 0</inkml:trace>
  <inkml:trace contextRef="#ctx0" brushRef="#br0" timeOffset="13785.15">11073 6839 0,'0'14'15,"13"-1"-15,-13 0 16,13 0-16,-13 1 16,0-1-1,0 0-15,13 0 0</inkml:trace>
  <inkml:trace contextRef="#ctx0" brushRef="#br0" timeOffset="14001.05">11245 6800 0,'26'0'0,"-52"0"0,65 0 0,-25 0 16,-1 13-16,0-13 0,-13 13 16,13-13-16,-13 13 0,14 1 15,-1-1-15,-13 0 0,0 0 16,0 1-16,0-1 15,0 0-15,-13-13 0,13 13 16,0 1-16</inkml:trace>
  <inkml:trace contextRef="#ctx0" brushRef="#br0" timeOffset="14140.31">11324 6906 0,'0'0'15,"0"-14"1,-13 14-16,39 0 15,-12 0-15,-1 0 0,0 0 16,0 0-16,14 0 0,-1 0 16,1 0-16,-14 0 0,13 0 0</inkml:trace>
  <inkml:trace contextRef="#ctx0" brushRef="#br0" timeOffset="14492.21">10782 7620 0,'0'26'31,"0"-12"-31,-13-1 0,13 0 0,0 14 16,0-14-16,0 13 0,13 1 0,-13-1 15,0-13-15,0 14 0,13-1 0,-13-12 16,13 12-16</inkml:trace>
  <inkml:trace contextRef="#ctx0" brushRef="#br0" timeOffset="14973.2">11192 7858 0,'-13'27'31,"13"-14"-31,-14 0 16,14 0-16,-13-13 15,0 14-15,13-1 0,-13-13 16,-1 13-16,41-26 31,-14 0-15,0-1-16,1 1 0,-1 0 15,0 0-15,0-1 0,1 1 16,-14 0-16,13 0 0,0-1 0,-13 1 16,0 0-16,0 0 15,0 0-15,0-1 0,-13 14 0,13-13 16,-13 13-16,13-13 16,-14 13-16,1 0 0,0 0 15,0 0-15,-1 0 16,14 13-16</inkml:trace>
  <inkml:trace contextRef="#ctx0" brushRef="#br0" timeOffset="15379.93">10980 8586 0,'-13'39'31,"13"-25"-31,-13-1 0,0 27 15,13-27-15,0 13 0,-14-13 0,14 1 16,0-1-16,0 0 0,0 0 16,14 1-16</inkml:trace>
  <inkml:trace contextRef="#ctx0" brushRef="#br0" timeOffset="15638.3">11218 8678 0,'0'0'0,"-26"-13"0,13 13 16,-14 13-16,14-13 0,0 0 16,-1 0-16,1 0 0,13 14 0,-13-14 15,26 13 1,0-13 0,1 13-16,-1-13 0,0 13 15,0-13-15,1 13 0,-1-13 0,0 14 16,0-1-16,-13 0 0,0 0 15,14 1-15,-14-1 0,0 13 16,0-12-16,-14-1 0,14 0 16,0 0-16,0 0 0</inkml:trace>
  <inkml:trace contextRef="#ctx0" brushRef="#br0" timeOffset="16345.14">11007 9313 0,'13'0'15,"0"14"1,-13-1-16,0 0 0,0 0 16,-13 0-16,0 1 0,13 12 15,-14-13-15,-12 14 0,13-1 0,0-12 16,-1-1-16,1 0 0,13 0 15,-13 0-15,13 1 0,-13-14 0,13 13 16,0 0-16,13-13 16,0 0-16,0 0 15,1 0-15,12 0 0,-13 0 0,14 0 16,-1 0-16,-13 0 0,14 0 0,-1 0 16,-13 0-16,1 0 0,-1 0 15,0 0-15,0 0 0,1 0 0,-1 0 16,0 0-16,0 0 0,1 0 15,-1 0-15,0 0 16,0-13-16,0 13 0,1-13 0,-1-1 16,0 14-16,-13-13 15,0 0-15,0 0 0,0 0 0,-13-1 16,13 1-16,-13 13 16,13-13-16,-14 13 0,-12 0 15,13 0-15,0 0 0,-1 13 16,1 0-16,0-13 0,13 14 15</inkml:trace>
  <inkml:trace contextRef="#ctx0" brushRef="#br0" timeOffset="16836.83">10954 10200 0,'13'0'0,"-26"0"0,39 0 16,-26 13 0,0 13-16,-13-26 0,13 14 15,-13-1-15,13 0 0,-13 14 0,-1-14 16,14 0-16,-13 0 16,13 0-16,13 1 15,14-14 1,-14-14-16,0 14 0,0-13 15,1 0-15,12 13 0,-13-13 16,1 13-16,-1-13 0,0 13 16,-13-14-16,13 14 0,0 14 15,-13-1 1,0 0 0,0 0-16,0 0 0,0 1 15,-13-1-15,13 0 16,13 0-16</inkml:trace>
  <inkml:trace contextRef="#ctx0" brushRef="#br0" timeOffset="17505.11">10954 11020 0,'26'26'0,"-26"-12"16,0-1-16,-13 0 16,13 0-16,0 0 0,0 1 0,-13-14 15,13 13-15,0 0 0,-13 0 16,13 1-16,0-1 15,13 0 1,0-13 0,0 0-16,0 0 15,1 0-15,-1-13 0,0 13 0,0 0 16,-13-13-16,14 13 0,-1-14 0,0 1 16,0 13-1,-13-13-15,13 0 0,1-1 0,-14 1 16,13 13-16,-13-13 15,13 13-15,0 0 16,1 13 0,-14 0-1,0 1-15,-14-1 16,14 0-16,0 0 16,0 1-16,0-1 15,0 0-15,14-13 16,-1 0-1,0-13-15,0 13 0,1-13 16,-1 13-16,0 0 0,13-14 0</inkml:trace>
  <inkml:trace contextRef="#ctx0" brushRef="#br0" timeOffset="22438.92">2209 2659 0,'13'13'0,"1"-13"15,-1 0 1,0 0-16,0 0 16,1 14-16,-1-14 15,0 0-15,0 0 0,1 0 16,-1 13-1,0-13-15,-13 13 16,13-13-16,-13 13 0,0 0 16,13 1-16,-13-1 0,0 0 15,14 14-15,-14-1 0,0-13 0,13 14 16,-13 12-16,0 1 0,13 0 0,-13-14 16,0 14-16,13 0 0,-13-14 15,14 14-15,-14-1 0,13-12 0,-13 13 16,13-1-16,-13 1 0,13 0 0,1-1 15,-14 1-15,13 0 0,0-1 16,-13 14-16,13-13 0,0 0 0,1 13 16,-14 0-16,13-1 0,0 1 0,-13-13 15,13 0-15,-13 13 0,14-14 0,-14 1 16,13 13-16,-13-13 0,13-1 16,0 54-16,-13-53 0,0-1 15,0 1-15,14 0 0,-14 13 0,0-14 16,0 1-16,0 0 15,13-1-15,-13-12 0,0 12 0,0-12 16,0-1-16,0 14 0,13 0 0,-13-1 16,0-12-16,0 13 0,13-1 15,-13-12-15,0 12 0,13 41 16,-13-54-16,0 14 0,0-14 0,14 1 16,-14 13-16,0-1 0,0-12 0,13-1 15,-13 1-15,0 12 0,0-12 16,0-1-16,0 1 0,13 12 0,-13-12 15,0-1-15,0 1 0,13-1 16,-13 1-16,0-1 0,0 1 16,0-1-16,0 1 0,14-1 0,-14 0 15,0 1-15,0-1 0,0 1 0,0 12 16,0-25-16,13 25 0,-13-12 0,0-1 16,0 1-16,0-1 0,0 1 15,0-1-15,0 1 0,0-1 0,0 1 16,0-1-16,0 14 0,13-14 0,-13 1 15,0-1-15,0 1 0,0-1 16,0 0-16,0 1 0,0 13 0,0-14 16,0 1-16,0 25 15,13 15-15,-13-41 0,0 0 16,0 14-16,0 0 0,0 26 16,0-26-16,0-14 0,0 14 15,0 0-15,0-1 0,0 1 0,0 39 16,0-39-16,0 0 15,0-1-15,0 1 0,0 0 0,0 13 16,-13-14-16,13 1 0,0 0 0,-13 13 16,13-14-16,0 14 0,-13-13 0,13 13 15,0-13-15,-14 12 0,1 1 16,0 53-16,13-53 0,-13 0 16,-1 53-16,1-53 0,0 13 15,0-13-15,13 0 0,-13-14 16,-1 14-16,14 0 0,-13 0 0,13 0 15,-13 40-15,0-54 16,13 14-16,0 0 0,-14 0 0,14 0 16,-13 0-16,13 13 0,0-13 15,-13 13-15,13-13 0,0 66 16,0-53-16,0-13 0,-13 13 0,13 0 16,0-13-16,0 14 0,0-15 15,0-12-15,0 13 0,-14 0 0,14 0 16,0 0-16,0-13 0,0 12 0,14 28 15,-14-27-15,0-14 0,0 1 16,0 0-16,0-1 0,0 1 0,0 0 16,0-14-16,0 14 0,0 0 15,0-14-15,0 1 0,0-1 16,0 1-16,0-1 0,0 0 0,0 1 16,0-1-16,0 1 0,-14-1 0,14 1 15,0-1-15,-13-13 0,13 14 16,0-14-16,-13 14 0,13-1 0,-13-13 15,13 14-15,-13 12 0,-1-12 16,1-14-16,0 14 0,0-1 16,13-13-16,-14 14 0,1-14 15,-13 0-15,12 14 0,-12-1 0,0-13 16,-1 1-16,1 12 0,-14-13 0,13 0 16,-12 1-16,-1-1 0,14-13 15,-1 13-15</inkml:trace>
  <inkml:trace contextRef="#ctx0" brushRef="#br0" timeOffset="24393.56">9168 2355 0,'13'0'0,"-39"-13"47,12 13-47,1 0 16,0 13-16,0-13 0,-1 0 15,1 0-15,0 13 0,-13-13 0,12 13 16,1-13-16,-13 13 0,12-13 16,1 14-16,-13-1 0,12-13 0,1 13 15,0-13-15,0 13 0,0 1 16,-1-1-16,1 0 0,0-13 16,0 27-16,13-14 0,-14 0 15,14 0-15,-13 0 0,13 1 16,-13-1-16,0 13 0,13 1 0,-14-14 15,1 27-15,13-14 0,-13 1 0,0 12 16,13 1-16,-13-13 0,13 12 16,0 1-16,-14 39 15,1-39-15,13 0 0,0 13 0,-13-14 16,13 14-16,-13-13 0,13 13 0,-14 0 16,14 0-16,-13-1 0,0 1 15,13-13-15,-13 26 0,-1-13 0,1 0 16,0 13-16,13-13 0,-13 0 0,0 0 15,-1 13-15,1-13 0,0 0 16,0 0-16,-1-13 0,1 12 0,0 1 16,0 0-16,0 0 0,-1-13 0,1 13 15,13-13-15,-13-1 0,0 14 16,13-13-16,-14-1 0,14 1 16,-13 13-16,0-13 0,13-1 0,-13 14 15,13-13-15,-14 0 0,14 13 0,-13-14 16,0 1-16,13 0 0,-13-1 15,13 14-15,-27 27 0,14-41 16,13 1-16,-13 0 0,13-1 0,-13-12 16,-1 13-16,1-1 0,13 1 15,-13-14-15,13 14 0,-13-13 16,-1 12-16,14-12 0,-13-1 0,0 27 16,13-26-16,0-1 0,-13 14 0,0-14 15,13 1-15,-14 12 0,14-12 16,-13-1-16,0 14 0,0 26 15,-1-26-15,14-14 0,-13 14 16,0-14-16,13 14 0,-13-13 0,13 12 16,-13-12-16,13 12 0,-14 1 15,14 39-15,-13-52 0,13 13 16,-13-1-16,13 1 0,0-14 0,-13 14 16,13 0-16,-14-1 0,14 1 15,-13 40-15,13-41 0,0 1 16,0 0-16,-13 12 0,13-12 0,0 13 15,0-13-15,-13 52 0,13-39 16,0-13-16,-14 13 0,14-13 16,0 13-16,0-1 0,-13-12 15,13 13-15,0 0 0,-13 0 0,0 13 16,13-13-16,-13 0 0,13 0 0,-14 13 16,14-13-16,-13 39 15,13-39-15,-13 0 0,0 80 16,13-81-16,-14 1 0,14 53 15,-13-66-15,13 13 16,0 0-16,-13 0 0,0 0 0,13 52 16,-14-38-16,1-15 0,0 54 15,13-53-15,-13 0 0,0 53 16,13-66-16,-14 13 16,14-1-16,-13 1 0,13-13 15,0 13-15,-13 13 0,13-26 0,0 13 16,-13 0-16,13-14 0,0 14 0,-14 0 15,14-13-15,0 13 0,0 13 16,-13-13-16,13 53 0,0-53 16,-13 13-16,13-27 0,0 14 0,0 14 15,-13-28-15,13 14 0,0 0 16,-14 0-16,14 0 0,0-13 0,0 12 16,-13 1-16,13-13 0,0 0 0,-13-1 15,13 14-15,0-13 0,0 0 0,-13-1 16,13-12-16,0-1 0,0 1 15,0-1-15,0 1 0,0-1 0,0-13 16,0 14-16,0-1 0,0-12 16,13 12-16,-13-13 0,13 0 0,0 27 15,1-27-15,-1 1 16,27 25-16,-14-25 0,14-1 16,39 0-16,-39 0 0,13-13 15,53 0-15,-53 0 0,-1 0 16,15 0-16,-1 0 0,0-13 15,13 13-15,1-13 0,-14 0 0,13-1 16,53-25-16,-52 12 0,-14 1 16,0-1-16,93-79 0</inkml:trace>
  <inkml:trace contextRef="#ctx0" brushRef="#br0" timeOffset="25520.97">15412 4207 0,'-13'0'0,"52"-13"16,-12 13-16,-1 0 15,27 0-15,27 0 0,-1 0 0,14-14 16,-1 14-16,1 0 0,52 0 0,-12-13 16,-1 13-16,146 0 0,-133 0 15,-12 0-15,-28 0 0,28 0 16,-27 0-16,105 13 16,-118-13-16,-1 0 0,67 14 15,-93-14-15,-13 0 0,27 0 16,-54 0-16,-13 13 0,1-13 0,-1 0 15,-40 13 1,14-13-16,-27 0 16,-13 13-16,-13 1 0,-13-14 0,0 13 15</inkml:trace>
  <inkml:trace contextRef="#ctx0" brushRef="#br0" timeOffset="25898.35">15386 4432 0,'-120'13'31,"160"0"-15,0-13-16,26 0 0,13 0 16,27-13-16,26 13 0,14 0 15,13-13-15,-1 13 0,1 0 0,0 0 16,13 13-16,-13-13 0,-1 0 0,134 13 15,-160 0-15,0-13 0,-26 0 16,-13 14-16,-1-1 0,-12-13 16,-14 13-16,13-13 0,-26 13 0,26-13 15,-52 14-15,-1-14 0,-13 0 16,1 0-16,-1 0 0,0 13 16,0-13-16,1 0 0,-54 0 31,27 0-16,-1 0-15,1 0 0,0 0 16,0 0-16,0 0 0,-1 0 0,1 0 16,0 0-16,0 0 15</inkml:trace>
  <inkml:trace contextRef="#ctx0" brushRef="#br0" timeOffset="27387.93">17396 3413 0,'14'-13'0,"-14"0"15,0-14 1,0 14-16,0 0 0,0 0 16,0-1-16,0 1 0,0-13 15,0 12-15,0-12 0,0-1 0,-14 1 16,14-14-16,-13 1 0,0-1 15,0 13-15,-1-12 0,1-1 0,0 14 16,-13-14-16,-1 14 0,1-14 0,-1 13 16,-13-12-16,14-1 0,-14 14 0,-39-41 15,39 41-15,-52-27 16,39 27-16,13-1 0,-79-26 16,66 27-16,0-1 0,-13 14 15,13-13-15,0 12 0,-13-12 16,0 13-16,0-14 0,0 14 15,-67-14-15,67 1 0,0 13 16,-13 13-16,12-13 0,1-1 0,-13 1 16,0 13-16,-1-13 0,1 13 15,-14 0-15,14-13 0,-1 13 0,1 0 16,0 0-16,13 0 0,-14 0 0,14 0 16,13 0-16,0 0 0,-13 0 0,13 0 15,0 0-15,0 0 0,14 0 16,-14 0-16,0 0 0,13 0 15,0 0-15,1 0 0,-1 0 0,0 13 0,14-13 16,-1 0-16,1 0 0,0 0 0,-1 0 16,14 0-16,-14 0 15,14 0-15,0 0 0,0 0 0,-14 0 16,14 0-16,0 0 0,13 13 16,-13-13-16,-1 0 0,1 0 15,0 0-15,0 13 0,-1-13 16,1 0-16,0 0 15,0 0 1,13-13 0</inkml:trace>
  <inkml:trace contextRef="#ctx0" brushRef="#br0" timeOffset="28473.19">13930 1945 0,'-26'0'31,"-1"13"-15,14-13-16,-13 13 0,-1-13 15,1 13-15,-1 1 0,1-14 0,-1 13 16,-12 0-16,12-13 0,1 13 0,-1-13 16,1 14-16,13-14 0,-14 13 15,14-13-15,0 0 0,0 13 0,-1-13 16,1 0-16,0 0 0,0 13 16,-1-13-16,1 0 15,13 13 1,13 1-1,-13-1-15,14 0 16,-1 0-16,0 1 16,0-1-16,1 0 0,12 0 0,-13 0 15,0 14-15,14-14 0,-14 0 16,14 1-16,-14-1 0,0 0 16,13 0-16,-12 1 0,12-1 15,-13-13-15,1 13 0,-1 0 0,0-13 16,-13 13-16,13-13 0,1 14 15,-1-14-15,-13 13 0,13-13 0,0 13 16,0-13 0,-13 13-1,14-13-15,-1 0 47,-13 14-31,13-14 62,-13-14 188,-13 1-251,13 0 1,13 0-16</inkml:trace>
  <inkml:trace contextRef="#ctx0" brushRef="#br0" timeOffset="37991.07">15981 6085 0,'0'-13'0,"0"0"16,-13 13 15,13-13-31,0-1 16,-14 14-16,1 0 15,13-13-15,-13 13 0,0 0 0,-1-13 16,1 13-16,-13-13 0,13 13 16,-14 0-16,1-13 0,-1 13 0,1-14 15,-1 14-15,-12-13 0,-1 13 16,13 0-16,-12-13 0,12 13 0,-12 0 16,12 0-16,-26 0 0,-13 0 15,26 0-15,14 0 0,-14 0 0,14 0 16,-14 13-16,0-13 0,-26 13 15,40 1-15,-14-1 0,14-13 16,-14 13-16,13 0 0,-12 0 0,12 1 16,1-1-16,-1 0 0,14 0 15,-26 1-15,25-1 0,-12 0 0,-1 14 16,14-14-16,-13 13 0,-1-13 16,1 27-16,-1-13 0,14-1 15,0 14-15,0-14 0,-1 1 16,14-1-16,-13 1 0,13-1 0,0 1 15,0-1-15,0-13 0,0 14 0,13-1 16,-13 14-16,14-14 0,-1 1 16,0-1-16,0 14 0,1-27 0,12 14 15,-13-1-15,40 14 16,-40-27-16,1 0 0,12 0 16,1 1-16,-14-1 0,13-13 0,14 26 15,-14-12-15,1-14 0,26 13 16,-27 0-16,14-13 0,-14 0 15,14 13-15,0-13 0,26 13 16,-26-13-16,-14 0 0,0 14 16,1-14-16,13 0 0,-14 0 0,1 13 15,-1-13-15,14 0 0,-14 13 16,1-13-16,-1 0 0,1 13 0,-1-13 16,0 0-16,1 14 0,-1-14 0,1 0 15,-1 13-15,1-13 0,-1 0 16,1 13-16,-1-13 0,1 13 0,-1-13 15,0 0-15,1 0 0,-14 14 0,14-14 16,-1 0-16,1 0 0,-1 0 16,0 0-16,1 0 0,-1 0 15,1 0-15,-1 0 0,1 13 0,-1-13 16,1 0-16,-1 0 0,1 0 0,-1 0 16,0 0-16,1 0 0,-1 0 15,1 0-15,-1 0 0,14 0 16,-14 0-16,1 0 0,26 0 15,-40 0-15,14-13 0,-1 13 16,67 0 0,-67 0-16,1 0 0,-14 0 15,40 0-15,-27 0 0,-13 0 16,14 0-16,-1 0 0,1 0 16,-14 0-16,13 0 0,1 0 0,-1 0 15,-12 0-15,12 0 0,0 0 0,1 0 16,-14 0-16,27 0 0,-14 0 15,-12 0-15,12 0 0,-13-14 16,0 14-16,14 0 0,-1 0 0,-12 0 16,-1 0-16,13 0 0,-13 0 15,14 0-15,-14 0 0,0 0 16,14 0-16,-14 0 0,27 0 16,-27 0-16,13 0 0,-12 0 0,39-13 15,-40 13-15,13 0 0,1 0 16,-14 0-16,13 0 0,1 0 15,-14 0-15,14 0 0,-1 0 0,1 0 16,-14 0-16,13 0 0,1 0 0,26 0 16,-27 0-16,1 0 15,-1 0-15,0 0 0,1 0 0,-1 0 16,1 0-16,-1 0 0,1 0 0,-1 0 16,1 0-16,-1 0 0,1 0 0,-14 0 15,13 0-15,1 0 0,-14 0 16,13 0-16,-12 0 0,-1 0 0,13 0 15,-12 0-15,12 0 0,-13 0 16,0 0-16,14 0 0,-14 0 16,0 0-16,1 0 0,-1 0 0,0 0 0,0 0 15,0 0-15,1 0 0,-1 0 16,0 0-16,14 0 16,-14 0-1,0 0-15,0 0 16,1-13-16,-1 13 0,0 0 15,0 0-15,0 0 16,1 0-16,-1 0 0,0 0 0,0 0 16,1 0-16,-1 0 0,13 0 15,-12 0-15,-1 0 0,0 0 16,13 0-16,-12 0 0,-1 0 16,0 0-16,0 0 0,14 13 15,-14-13-15,0 0 0,1 0 0,12 0 16,-13 0-16,0 0 0,1 0 0,12 0 15,-13 0-15,1 0 0,12 0 16,-13 13-16,14-13 0,-14 0 0,13 0 16,1 0-16,-14 0 0,14-13 0,-1 13 15,0 13-15,-12-13 0,12-13 16,1 13-16,-1 0 0,1 0 16,-1 0-16,0 0 0,1 0 0,-1 0 15,1 0-15,-1 0 0,-12 0 0,12 0 16,0 0-16,1 0 0,-1 0 15,1 0-15,-1 0 0,1 0 0,-1 0 16,1 0-16,-1-13 0,14 13 0,-14 0 16,1 0-16,12 0 0,-12-13 15,-1 13-15,14 0 0,-14 0 0,14-14 16,-13 14-16,-1 0 0,14 0 0,-14 0 16,1 0-16,-1-13 0,1 13 0,-1 0 15,-13 0-15,14 0 0,-1 0 16,27-13-16,-40 13 0,14 0 15,-1 0-15,-13 0 0,14 0 0,-14 0 16,14 0-16,-14 0 0,0 0 16,14 0-16,-14 0 0,13 0 15,-13 0-15,14 0 0,-14 0 0,14 0 16,-1 0-16,-13 0 0,14 0 0,-14 13 16,13-13-16,-12 0 0,12 0 15,1 0-15,-14 0 0,26 0 16,-12 0-16,-1 13 0,-12-13 0,12 0 15,-13 0-15,14 0 0,12 0 16,-12 14-16,-14-14 0,0 0 16,14 0-16,-14 0 0,14 0 0,-1 0 15,0 0-15,-12 0 0,12 0 16,1 0-16,-14 0 0,13 0 16,1 0-16,-14 0 0,13 0 15,1 0-15,-14 0 0,0 0 0,14-14 16,-14 14-16,14 0 0,-14 0 0,0 0 15,13 0-15,-12 0 0,-1-13 16,0 13-16,0 0 0,14 0 0,-14 0 16,0 0-16,14-13 0,-1 13 15,-13 0-15,1 0 0,-1 0 0,0-13 16,0 13-16,14 0 0,-14 0 16,0 0-16,27-14 0,-27 14 15,14 0-15,-1 0 0,-13 0 16,14 0-16,-14 0 0,13 0 0,1-13 15,-14 13-15,14 0 0,-14 0 16,13 0-16,-13 0 0,14 0 0,13-13 16,-14 13-16,-13 0 0,14-13 15,-14 13-15,0 0 0,14-13 16,-14 13-16,0 0 0,14 0 0,-14-14 16,0 14-16,0 0 0,1-13 0,-1 13 15,13 0-15,-13-13 0,1 13 0,-1 0 16,0-13-16,0 13 0,-13-14 15,40 1-15,-27 0 0,1 0 16,-1 13-16,0-14 0,0 1 16,0 13-16,1-13 0,-14 0 15,13 13-15,0-13 0,-13-1 16,13 14-16,1-13 0,-14 0 0,13 13 16,0-13-16,-13-1 0,13 1 15,1 0-15,-14 0 0,0 0 16,13-1-16,-13 1 0,0 0 0,0 0 15,0-1-15,0 1 0,0 0 0,0 0 16,0-1-16,0 1 0,-13 0 0,13 0 16,-14 0-16,14-1 0,-13 1 15,13 0-15,-13 0 0,0-1 0,-1 1 16,14 0-16,-13 0 0,0-1 0,0 1 16,-1 0-16,1 0 15,0 0-15,0-1 0,0 1 0,-1 0 16,-12-14-16,13 14 0,-1 0 15,1 0-15,-13 13 0,26-14 0,-14 1 16,1 0-16,-13 13 0,13-13 16,-1 0-16,1 13 0,0-14 0,0 14 15,-1-13-15,-12 0 0,13 13 0,-1-13 16,-12 13-16,0-14 0,-1 1 0,1 13 16,-1-13-16,14 13 15,-27-13-15,14-1 0,-1 14 0,1-13 16,13 13-16,-14-13 0,1 13 0,-1-13 15,1 13-15,13 0 0,-14-13 16,1 13-16,12 0 0,-12 0 0,-14-14 16,14 1-16,13 13 0,-14 0 15,1-13-15,-1 13 0,-12 0 0,12-13 16,1 13-16,-1 0 0,1-14 16,-1 14-16,14 0 0,-13 0 0,-1-13 15,1 13-15,12 0 0,-12 0 0,0-13 16,12 13-16,-12 0 0,-1 0 15,1-13-15,-1 13 0,14 0 0,-13-13 16,-1 13-16,-12 0 0,12-14 0,1 14 16,-1-13-16,1 13 0,-14 0 15,14-13-15,-1 13 0,-13-13 16,14 13-16,0 0 0,-1-14 0,-13 14 16,14 0-16,0-13 0,-1 13 15,1 0-15,-14-13 0,0 13 0,14-13 0,-14 13 16,0-14-16,1 14 0,-1-13 15,0 13-15,1-13 0,-1 13 0,-13-13 16,13 13-16,1-13 0,-1 13 0,0-14 16,1 14-16,-1-13 0,0 13 15,14-13-15,-14 13 0,14 0 0,-1 0 16,-13-13-16,14 13 0,-14 0 0,1-14 16,-1 14-16,0 0 0,1 0 15,-1-13-15,0 13 0,1 0 16,-28-13-16,28 13 0,12 0 15,-12 0-15,-1-13 0,0 13 0,-13 0 16,14 0-16,-14 0 0,13-14 16,0 14-16,-13 0 0,14 0 0,-1-13 15,0 13-15,14 0 0,-27 0 0,26-13 16,1 13-16,-14 0 0,14 0 0,-1 0 16,-12 0-16,12 0 15,-12 0-15,12-13 0,-13 13 0,14 0 16,-14 0-16,1 0 0,12 0 0,-13 0 15,1 0-15,12 0 0,-12 0 0,12 0 16,1 0-16,-1 0 0,1 0 16,-14 0-16,14 0 0,-1 0 0,1 0 15,-1 0-15,1 13 0,-1-13 0,-39 0 16,40 0-16,-14 0 16,14 0-16,-1 0 0,1 0 0,-1 0 15,1 0-15,-1 0 0,1 0 0,-1 0 16,1 13-16,-1-13 0,1 0 0,0 0 15,12 0-15,-12 0 0,13 0 16,-14 0-16,1 13 0,12-13 0,-12 0 16,-14 0-16,14 0 15,13 0-15,-14 14 0,14-14 16,-14 0-16,14 0 0,-13 0 0,13 0 16,-14 13-16,14-13 0,-14 0 0,14 0 15,-13 0-15,13 0 0,-1 0 16,-12 0-16,13 13 0,-27-13 15,27 0-15,-1 0 0,-25 13 16,26-13-16,-1 0 0,-12 0 0,13 0 16,-1 0-16,1 14 0,0-14 15,0 0-15,-1 0 0,1 0 16,0 13-16,0-13 0,0 0 16,-1 0-16,1 0 0,0 0 15,0 13-15,-1-13 0,1 0 16,-13 0-16,13 0 0,-1 13 15,-12-13-15,-1 0 0,14 0 16,0 14-16,0-14 0,-1 0 16,1 0-16,0 13 0,0-13 0,0 0 15,-1 0-15,1 13 0,0-13 16,0 0-16,-1 0 0,1 13 0,0-13 0,0 0 16,-1 13-16,1-13 15,0 14-15,0-14 0,0 0 16,13 13-16,-14-13 0,1 13 15,0-13 1,0 0-16,13 13 0,-14-13 0,1 0 16,0 0-16,13 14 0,-13-14 0,-1 0 15,1 0-15,13 13 0,-13-13 0,0 0 16,0 0-16,-1 13 0,1-13 16,0 0-16,0 13 0,-1-13 15,1 0-15,0 14 16,0-14-16,-1 0 0,14 13 15,-26-13-15,26 13 0,-13-13 16,0 13-16,-1-13 16,1 13-16,0-13 0,0 0 15,13 14-15,-14-14 16,1 13-16,0-13 0,0 13 16,0-13-16,13 13 15,-14-13-15,1 14 16,0-14-16,13 13 0,-27-13 15,27 13-15,-13-13 0,-13 13 16,12 0-16,1-13 0,0 0 16,0 14-16,0-14 15,-1 13-15,1-13 16,13 13-16,-13-13 0,0 0 16,-1 0-1,14 13-15,-13-13 16,0 0-1</inkml:trace>
  <inkml:trace contextRef="#ctx0" brushRef="#br0" timeOffset="38886.14">21749 6787 0,'0'0'15,"-13"26"17,13-13-32,0 0 15,0 14-15,0-1 0,0 14 16,0 0-16,0 13 0,0-14 0,-14 14 15,14-13-15,-13 26 0,13-13 0,-13 13 16,0-13-16,-1 0 0,1 0 0,0-13 16,13-1-16,-13 14 15,-1-13-15,1-14 0,0 14 0,0 0 16,0-14-16,-1 27 0,1-40 16,0 14-16,13-14 0,-13 0 15,13 1-15,-14-1 0,14 0 0,-13-13 16,26-13-1,-13 0 1,14-14-16,12-39 16,-13 39-16</inkml:trace>
  <inkml:trace contextRef="#ctx0" brushRef="#br0" timeOffset="39985.01">21841 6773 0,'-26'0'31,"13"0"-31,-1 14 0,1-14 0,0 0 16,0 13-16,0 0 15,-93 53 1,79-66 0,14 13-16,0 1 0,-14-1 15,14-13-15,0 13 0,0 0 0,-1 1 16,1-14-16,-13 13 0,12 0 16,1-13-16,13 13 0,-13-13 0,0 13 15,0-13-15,-1 14 16,1-14-16,13 13 15,-13-13-15,0 13 32,39-39 15,-13 26-47,-13-14 0,14 14 15,-1-13-15,0 13 0,0-13 16,0 13-16,1-13 0,-14 0 15,13 13-15,0-14 0,0 14 16,1-13-16,-1 13 0,0-13 0,-13 0 16,13 13-16,1-14 0,-1 1 0,0 0 15,0 0-15,0 13 16,-13-14-16,14 1 0,-1 0 16,0 0-16,-13 0 15,13 13-15,-13-14 16,14 14-16,-1-13 31,0 26-15,0-13-1,-13 14-15,14-14 0,-14 13 0,13-13 16,0 13-16,0 13 0,0-12 16,1-14-16,-1 13 0,0 0 15,0 0-15,1 1 0,-1-1 0,0 0 16,-13 0-16,13-13 0,1 14 15,-1-1-15,0 0 0,0 0 16,0-13-16,-13 13 16,14-13-16,-1 14 0,0-14 15,0 0 32,-13-27-16,-13 27-31</inkml:trace>
  <inkml:trace contextRef="#ctx0" brushRef="#br0" timeOffset="40635.17">21220 6165 0,'-14'13'31,"14"0"-31,-13 0 0,13 1 16,-13 25-16,0-12 0,13 13 15,-14-14-15,1 14 0,0-14 16,13 14-16,-13-14 0,13 1 0,-13-1 16,13-13-16,-14 14 0,14-1 15,0-12-15,-13-1 0,13 13 0,0-12 16,-13-1-16,13 0 0,0 0 15,0 0-15,-13-13 16</inkml:trace>
  <inkml:trace contextRef="#ctx0" brushRef="#br0" timeOffset="41852.54">21180 6125 0,'40'-13'16,"-27"13"-16,0-13 15,13 13-15,1 0 0,-1 0 16,14-14-16,0 14 0,13-13 0,-14 13 15,14-13-15,0 13 0,0-13 16,0 13-16,0-14 0,0 14 16,-13 0-16,13-13 0,-14 13 0,1 0 15,-14 0-15,14-13 0,-14 13 0,1 0 16,13 0-16,-14 0 0,-13 0 0,14 0 16,-1 0-16,1 0 0,-1-13 15,1 13-15,-1 0 0,1 0 0,-14 0 16,13 0-16,-13 0 0,14 0 0,-14 0 15,0 0-15,1 0 0,12 0 16,-13 0-16,0 13 0,1-13 16,-1 0-16,0 0 0,0 0 15,1 0 1,-1 13 0,0-13-1,0 13 1,-13 1 15,0-1 16,0 0-31,0 0-1,0 1 1,14-1-16,-14 0 0,0 0 15,0 1-15,0 12 0,0-13 16,0 0-16,0 14 0,0-1 0,0-12 16,0 12-16,0 1 0,0-14 15,0 13-15,0 1 0,0-1 0,0 1 16,0-14-16,0 13 0,0-12 16,13 12-16,-13-13 0,0 0 0,0 1 15,0-1-15,0 0 0,0 14 16,0-14-16,0 0 0,0 0 15,0 1-15,0-1 16,13 0 0,-13 0-16,0 0 31,0 1-15,-13-14 15,0 0-31,-1 0 0,1 0 15,0 0-15,0 0 0,-14 0 0,14 0 16,-27 0-16,14-14 0,-14 14 0,0 0 16,-12 0-16,-1-13 0,0 13 15,-13 0-15,-1 0 0,1-13 0,-13 13 16,26 0-16,0 0 0,0-13 0,0 13 16,0 0-16,0 0 15,0-13-15,14 13 0,-1 0 0,0 0 16,14 0-16,-1 0 0,1 0 0,0-14 15,12 14-15,-12 0 0,13 0 0,-1 0 16,1 0-16,0 0 0,0 0 16,-1 0-16,1 0 0,0 0 15,0 0-15,0 0 16,-1 0 0,1 0 30,0-13-14,0 13-17,-1 0 17,1 0-1</inkml:trace>
  <inkml:trace contextRef="#ctx0" brushRef="#br0" timeOffset="51352.85">2765 2884 0,'53'-13'32,"-40"13"-32,0 13 15,-13 0 1,0 0-16,0 1 0,-13-1 15,13 0-15,-13-13 0,0 13 0,13 1 16,-14-1-16,14 0 0,-13 0 16,0 0-16,13 1 0,-13-14 15,13 13 1,13-13 0,13 0-1,-12 0-15,-1-13 0,0 13 16,0-14-16,14 1 0,-1 0 0,1-13 15,-1 12-15,1 1 0</inkml:trace>
  <inkml:trace contextRef="#ctx0" brushRef="#br0" timeOffset="51593.73">3122 2844 0,'0'14'0,"0"-1"16,13 0-16,1-13 15,-14 13-15,13-13 0,0 0 16,0 13-16,0-13 16,-13-13-1,-13 0 1,0 0-16,-13 13 16,12 0-16,1 0 0,0 0 15,0 13-15,-1 0 0,1 0 16,-13 27-16,-1-13 0</inkml:trace>
  <inkml:trace contextRef="#ctx0" brushRef="#br0" timeOffset="52172.13">2910 3638 0,'-13'0'16,"0"0"-1,0 13-15,13 0 0,-13-13 16,13 14-16,0-1 16,0 0-1,13-13-15,-13 13 0,13-13 16,0 0-16,0 0 0,1 0 15,-1 0-15,0 0 0,14 0 16,-14-13-16,0 13 0,0-13 16,0 13-16,1 0 15,-1 0-15,0-13 16,0 13 0,1 0-1,-14-14 1,-14 14 15,14-13-31,-13 13 16,0 0-16,0 13 15,-1 1 1,14-1-16,0 0 16</inkml:trace>
  <inkml:trace contextRef="#ctx0" brushRef="#br0" timeOffset="52758.06">2924 4207 0,'-14'-13'0,"28"39"47,-14-13-47,0 1 15,0-1-15,-14 0 16,14 0-16,0 14 0,0-1 16,0-13-16,0 1 0,0-1 15,0 0-15,14 0 16,-1-26-16,0 13 0,0 0 16,1-13-16,-1 13 0,0-27 15,0 27-15,0-13 0,1 0 16,-1 13-16,-13-13 15,13 13-15,-13-14 0,13 14 16,1 0 0,-1 0-1,0 0 17,-13-13-17,0 0-15,-13 0 16,0 0-1,13 26 1,-14 0-16,1-13 16,13 13-16,-13 14 0</inkml:trace>
  <inkml:trace contextRef="#ctx0" brushRef="#br0" timeOffset="53360.75">2884 5067 0,'0'-13'47,"0"26"-47,13 106 62,67-132 1,-67-14-63,26-39 16,-25 79-1,-1-13 1,-13 13-16,0 1 0,13-1 15,0 0 1,1-13-16,-14-13 31,0 0-31,0-1 16,0 1 0,-14 13-16,14-13 0,-13 0 15,0 13 1,0 0-1,-1 13-15</inkml:trace>
  <inkml:trace contextRef="#ctx0" brushRef="#br0" timeOffset="53767.82">3109 5900 0,'0'0'0,"-13"0"15</inkml:trace>
  <inkml:trace contextRef="#ctx0" brushRef="#br0" timeOffset="54356.76">3016 6085 0,'13'0'0,"14"27"16,-27-14 0,0 0-16,0 1 0,0-1 0,0 0 15,-13 0-15,13 0 0,0 1 0,0-1 16,0 0-16,0 0 15,0 1-15,13-14 0,-13 13 0,13 0 16,-13-26 0,27 13-16,-14-13 15,13-1-15,-12 1 0,-1 0 16,0 0-16,0-1 0,-13 1 16,13 13-16,1-13 15,-1 26 1,0-13-1,-13 13-15,13-13 16,1 0-16,-14-13 16,13 13-1,-13-13-15,0 0 16,0 0 0,-13 13-16,13-14 0,-14 14 15,14-13-15,-13 13 0,0 13 16,13 1-16,-13-1 15</inkml:trace>
  <inkml:trace contextRef="#ctx0" brushRef="#br0" timeOffset="54894.81">3149 6826 0,'0'0'0,"0"-13"31,13 39-15,-13-12-16,0-1 0,0 0 16,0 0-16,0 1 0,0-1 15,0 0-15,0 0 0,0 1 0,0-1 16,0 0-16,13 0 0,-13 0 16,13-13-1,0-13-15,1 13 16,-1-13-16,0 13 0,-13-13 15,13 13-15,1-13 16,-1 13-16,0 0 16,0 0-16,1 0 15,-1 0 1,0-14 0,-13 1 15,-13 0-16,0 13-15,13-13 0,-14 13 0,1-14 16,0 14 0,0 14-16,-1-1 15</inkml:trace>
  <inkml:trace contextRef="#ctx0" brushRef="#br0" timeOffset="55513.01">3135 7686 0,'0'0'16,"14"27"-1,-14-14 1,13 0-16,-13 27 0,0-27 16,-13 0-16,13 0 0,0 14 0,13-14 15,-13 0-15,0 1 0,0-1 16,0 0-16,13-13 16,0 13-16,0-26 15,1 13-15,-1-13 0,0 13 0,0-13 16,1-1-16,-1 14 0,0-13 15,0 0-15,1 13 0,-1-13 16,0 13-16,0 0 16,0 0-1,1 0-15,-1 0 32,-26-14-1,-1 14-16,1-13-15,0 13 16,0 13-16,0-13 16,13 14-16,-14-14 0,14 13 0</inkml:trace>
  <inkml:trace contextRef="#ctx0" brushRef="#br0" timeOffset="56144.02">2990 8572 0,'0'27'31,"0"-14"-31,0 0 0,0 14 15,-13-14-15,13 0 0,0 1 16,0 12-16,-14-13 0,14 0 0,0 1 16,-13-1-16,13 0 15,0 0-15,0 1 0,13-1 32,1-26-32,-1-1 0,0 14 15,0-13-15,0 0 0,1 13 16,-14-13-16,13-1 0,0 14 15,-13-13-15,13 13 0,-13-13 0,14 13 16,-1 0 0,0 0-1,0 0-15,1 0 16,-14-13 0,13 13-16,-26-13 31,-1-1-16,1 14-15,0 0 0,0 0 16,-1 14 0,14-1-16,-13 0 0,13 0 15,-13 0-15</inkml:trace>
  <inkml:trace contextRef="#ctx0" brushRef="#br0" timeOffset="56519.98">2950 9247 0,'13'27'31,"-13"-14"-31,0 0 16,0 0-16,14 1 16,-14-1 15,13-13-16,0-13-15,0 13 0,-13-14 16,13 14-16,1 0 0,-1-13 16,0 0-16,0 13 0,1-13 15</inkml:trace>
  <inkml:trace contextRef="#ctx0" brushRef="#br0" timeOffset="56749.87">3162 9194 0,'13'27'31,"0"-14"1,-13-26-1,0-14-15,-13 27 15,0 14-16,13-1 1,-13-13-16,13 13 0</inkml:trace>
  <inkml:trace contextRef="#ctx0" brushRef="#br0" timeOffset="58186.73">2527 3069 0,'-13'0'16,"-1"0"-16,1 0 0,0 0 15,0 0-15,-1-13 0,1 13 16,0 0-16,0 0 0,-1 0 16,1 13-16,-13-13 0,13 0 0,-1 0 15,1 0-15,0 0 0,0 0 0,-1 0 16,1 13-16,0-13 16,0 0-16</inkml:trace>
  <inkml:trace contextRef="#ctx0" brushRef="#br0" timeOffset="58402.77">2090 3016 0,'-53'27'16,"40"-27"-16,13 13 0,-13-13 15,13 13-15,-13-13 0,13 13 16,-14-13-16,14 14 0,-13-1 0,26 0 16,-13 0-1,14 1-15,12-1 0</inkml:trace>
  <inkml:trace contextRef="#ctx0" brushRef="#br0" timeOffset="58770.75">2553 3784 0,'-53'0'0,"106"0"0,-119 0 0,53 0 0,0 13 16,-1-13-16,1 0 0,0 0 16,0 0-16,-1 0 0,1 0 0,0 13 15</inkml:trace>
  <inkml:trace contextRef="#ctx0" brushRef="#br0" timeOffset="58995.99">2236 3717 0,'-27'14'15,"-26"52"1,40-53-16,0 0 0,13 0 16,-13 1-16,13-1 0,0 0 15,0 0-15,13 1 16,-13-1-16,13 0 0,0 0 0,1 1 15,-1-14-15,0 13 0,0 0 0,0 0 16,1-13-16,12 13 0</inkml:trace>
  <inkml:trace contextRef="#ctx0" brushRef="#br0" timeOffset="59283.73">2752 4511 0,'-53'0'15,"106"0"-15,-119 0 0,39 0 16,14 0-16,-14 0 0,14 13 0,-13-13 0,12 0 16,1 0-16,-13 14 0,13-14 15,-14 0-15,14 13 0,0-13 16,-14 0-16</inkml:trace>
  <inkml:trace contextRef="#ctx0" brushRef="#br0" timeOffset="59559.1">2236 4432 0,'-27'26'16,"54"-52"-16,-67 65 0,27-25 0,0-1 15,13 0-15,-14 14 0,1-14 0,13 0 16,0 14-16,0-14 0,0 0 15,0 0-15,0 0 0,0 1 0,13-1 16,1-13-16,-14 13 0,13 0 0,0-13 16,0 14-16,0-14 0,1 0 15,12 13-15,-13-13 0,1 13 16,12-13-16,-13 13 0,1-13 0,12 13 16,-13-13-16,0 14 15</inkml:trace>
  <inkml:trace contextRef="#ctx0" brushRef="#br0" timeOffset="59860.15">2910 5199 0,'-26'13'0,"52"-26"0,-65 26 0,26 1 16,-1-14-16,-25 26 0,25-26 15,-12 13-15,-14 14 0,14-27 16,13 13-16,-14 0 0,1 0 15,12-13-15,1 14 0,-13-1 16,12-13-16</inkml:trace>
  <inkml:trace contextRef="#ctx0" brushRef="#br0" timeOffset="60129.11">2328 5265 0,'-13'27'0,"26"-54"0,-39 67 0,13-27 0,13 0 15,-14 1-15,14-1 16,0 0-16,0 0 0,0 1 16,0-1-16,0 0 0,14-13 0,-14 13 15,13 0-15,0-13 0,0 14 16,14-14-16,-14 13 0,13-13 0,-12 0 0,12 0 15,1 0-15,-14 0 0,13 0 16,1 0-16,-1 0 0,-13 0 16,14 0-16</inkml:trace>
  <inkml:trace contextRef="#ctx0" brushRef="#br0" timeOffset="60569.27">2858 6284 0,'-146'0'32,"133"13"-32,-14-13 0,1 0 15,-14 13-15,14-13 0,-1 0 16,14 14-16,-13-14 0,-1 13 0,1-13 16,12 13-16,-12-13 0,13 13 15,-14-13-15,14 0 0</inkml:trace>
  <inkml:trace contextRef="#ctx0" brushRef="#br0" timeOffset="60812.33">2222 6244 0,'-13'27'15,"26"-54"-15,-52 67 0,39-27 0,-13 0 0,-1 1 16,1 12-16,13-13 0,-13 14 15,0-14-15,13 0 0,0 0 0,0 14 16,0-14-16,0 0 0,0 1 16,13-1-16,0 0 0,0 0 15,1-13-15,-1 13 0,13-13 0,-13 14 16,14-14-16,26 13 0,-27-13 16,1 0-16,-1 0 0,1 13 15</inkml:trace>
  <inkml:trace contextRef="#ctx0" brushRef="#br0" timeOffset="61217.28">2844 7078 0,'-79'0'16,"66"0"-16,-1 0 15,-12 0-15,0 0 0,-1 13 0,1-13 16,-1 0-16,1 13 0,-1-13 16,1 0-16,-1 0 0,1 13 0,13-13 15,-14 0-15,14 0 0,0 0 0,-1 14 16,1-14-16,0 0 0</inkml:trace>
  <inkml:trace contextRef="#ctx0" brushRef="#br0" timeOffset="61423.78">2381 7064 0,'-13'27'0,"0"-1"0,0 27 16,-1-40-1,14 14-15,0-14 0,0 0 16,0 1-16,14-1 0,-14 0 16,13 0-16,0 0 0,0-13 0,0 14 15,14-14-15,-14 0 0,14 0 0,-1-14 16,1 14-16,-1 0 0,0 0 16,1 0-16</inkml:trace>
  <inkml:trace contextRef="#ctx0" brushRef="#br0" timeOffset="61767.77">2818 7938 0,'-13'0'0,"-14"0"16,14 0-16,0 0 0,-14 0 0,1 13 15,13-13-15,-14 0 0,1 0 16,-1 0-16,1 13 0,-1-13 16,1 13-16,-1-13 0,14 0 0,-13 0 0,-1 13 15</inkml:trace>
  <inkml:trace contextRef="#ctx0" brushRef="#br0" timeOffset="62006.76">2368 7951 0,'-13'39'0,"26"-78"0,-39 92 16,26-40-16,0 13 0,-14-12 0,14-1 16,0 0-16,0 0 0,14 14 15,-14-14-15,13 0 0,-13 0 0,13 1 16,0-1-16,14-13 0,-14 13 0,13-13 15,1 0-15,-14 0 0,14 0 16,-1 0-16,0-13 0,1 13 0,13 0 16,-27-13-16,13 13 0</inkml:trace>
  <inkml:trace contextRef="#ctx0" brushRef="#br0" timeOffset="66952.64">21431 7051 0,'66'-53'16,"-132"106"-16,146-119 0,-67 66 0,27-26 15,-27-1-15,13 14 0,-13 0 16,1-1-16,12 1 0,-13 0 0,14 0 16,-14-1-16,0 1 0,1 13 15,-1-13-15,0 13 0,-13-13 0,13 13 16,0 0-16,-13-13 0,14 13 15,-1 0 1,0 13 0,0 0-16,-13 0 15,14-13-15,-14 13 0,13 1 16,0-1-16,0 0 0,1 0 0,-1 1 16,0-1-16,0 0 0,0 0 15,14 1-15,-14-1 0,0-13 0,1 13 16,-1 0-16,0 0 0,0-13 15,0 0-15,-13 14 0,14-14 0,-1 13 16,0-13 0,-13 13-1,13-13-15,1 0 32,-14 13-1,-14-26 63,1 13-94,13-13 15</inkml:trace>
  <inkml:trace contextRef="#ctx0" brushRef="#br0" timeOffset="71043.75">4591 5609 0,'52'-13'0,"-38"13"16,12 0-16,1 13 0,25-13 15,1 0-15,14 0 0,-1 13 0,13-13 16,0 14-16,1-14 0,-14 0 0,13 0 15,1 13-15,-1-13 16,0 0-16,1-13 0,12 13 0,1 0 16,-14-14-16,14 14 0,0-13 0,-1 13 15,-12-13-15,-1 0 0,0-1 16,1 1-16,-14 13 0,13-13 0,-13 0 16,1 0-16,-15-1 0,15 1 0,-28 0 15,14 0-15,-13-1 0,0-12 16,-1 13-16,-12 0 0,12-1 15,-12 1-15,-14 0 0,14 0 0,-14-1 16,0-12-16,0 13 0,0-1 16,-13-12-16,14 0 0,-14 12 0,13-12 15,-13-1-15,0 1 0,0 13 0,-13-27 16,13 14-16,-14-1 0,14-13 0,-13 14 16,-13-14-16,13 14 0,-1-14 15,-12 14-15,-1-1 0,14-13 0,-66-26 16,52 27-16,-12 12 0,-1-12 15,0 12-15,1 1 0,-1-1 16,-13 1-16,13-1 0,1 1 0,-14-1 16,0 1-16,0 13 0,0-14 0,0 14 15,0 0-15,0-14 0,-13 14 16,-53-13-16,66 12 16,-13 1-16,-40 0 0,66 0 15,-12 13-15,-1-14 0,0 14 0,0-13 16,0 13-16,0 0 0,-13 0 15,13 0-15,-13 0 0,13 0 0,-13 0 16,0 13-16,-1-13 0,1 0 0,0 14 16,0-1-16,0-13 0,0 13 15,-1 0-15,15 1 0,-41-1 16,27 0-16,26 0 0,-52 14 16,39-14-16,13 0 0,0 0 15,1 1-15,-1-1 0,-13 13 16,27-26-16,-1 14 0,1-1 15,12 0-15,-12 0 0,-1 0 16,14 1-16,-13-14 0,-1 13 0,14 0 0,0 0 16,-14 14-16,14-14 0,-13 0 15,-1 1-15,14 12 0,0-13 0,-14 0 16,1 14-16,13-1 0,-14-12 16,14 12-16,-14 0 0,14 1 0,-13-1 15,13 14-15,-14-13 0,14-1 0,-14 14 16,14-14-16,0 14 0,-14-14 15,14 1-15,0 12 0,0-12 16,0-1-16,13 1 0,-14-14 0,14 14 16,0-14-16,-13 13 0,13-13 15,0 14-15,13-14 0,-13 14 0,14-1 16,-14 1-16,13-1 0,13 0 0,14 27 16,-27-26-16,14-1 0,-1 1 15,1-1-15,12 1 0,-12-1 16,12-13-16,1 14 0,0-1 0,66 1 15,-53-14-15,-14 0 16,14 0-16,0 1 0,0-1 16,0-13-16,53 13 0,-40-13 0,-13 0 15,13 0-15,-13 0 0,13 0 16,-13 0-16,13 0 0,13-13 0,-26 13 16,0-13-16,0 13 0,0 0 15,0-14-15,0 14 0,-13 0 0,-1-13 16,-12 13-16,-1 0 0,1 0 15,-14 0-15,13 0 0,-12 0 16,-1 0-16,0 0 0,0 0 0,1 0 16,-14 13-16,13-13 0,-13 14 15,13-14-15,-13 13 0,-13 0 16,13 0-16</inkml:trace>
  <inkml:trace contextRef="#ctx0" brushRef="#br0" timeOffset="72980.67">2090 11668 0,'-13'0'0,"26"0"0,-39-13 16,39 0 15,0 13-15,0-14-16,1 14 0,-1 0 0,0 0 16,0 14-16,1-14 0,12 0 0,-13 13 15,0-13-15,1 13 16,-1 0-16,0 1 0,0-14 0,-13 13 15,14 0-15,-14 14 0,13-14 0,-13 0 16,0 0-16,0 0 0,0 1 16,0-1-16,0 0 0,-13 0 0,13 1 15,0-1-15,-14 0 0,14 0 0,0 0 16,-13 1-16,13 12 0,-13-13 16,13 14-16,0-14 0,0 0 15,-13 1-15,26-1 0,-13 0 0,0 0 16,0 0-16,0 1 0,13-14 15,-13 13-15,0 0 0,13-13 16,-13 13-16,14-13 0,-1 0 0,0 14 16,0-14-1,1 0-15,-1-14 0,0 14 16,0 0-16,-13-13 16,13 13-1,1 0 1,-14 13-16,13 1 0,0 12 15,0-13-15,-13 1 0,14-1 16,-14 13-16,0-13 0,13 14 0,-13-14 16,0 14-16,0-14 0,0 13 0,-13-13 15,13 14-15,-14-1 0,1 14 0,0-13 16,0-1-16,-14 0 16,1 1-16,-1-1 0,1-12 0,-14 12 15,14-13-15,-14 1 0,0-1 0,14 0 16,-1-13-16,1 0 0,0-13 0,12 13 15,-25-40-15</inkml:trace>
  <inkml:trace contextRef="#ctx0" brushRef="#br0" timeOffset="76016.75">11562 2434 0,'27'-13'0,"12"-14"31,-25 14-31,-1 13 0,0 0 0,14 0 16,-14 0-16,0 0 0,14 0 0,-14 0 15,13 13-15,-13-13 0,14 14 16,-1-14-16,-12 13 0,12 0 0,-13 0 15,0 1-15,14-1 0,-14 0 0,14 14 16,-14-1-16,0-13 16,-13 14-16,13-14 0,-13 13 0,14 14 15,-14-13-15,0-1 0,0 14 16,0-14-16,0 1 16,-14-1-16,14 1 0,-13 12 15,13-12-15,-13 12 0,13-12 0,-13 12 16,-1-12-16,1 13 0,13-1 0,-13-12 15,0 12-15,-1 1 0,1-13 16,0 12-16,-13 27 0,26-26 16,-14-13-16,1-1 0,13 0 0,-13 1 15,13-1-15,-13 1 0,13 13 16,-14-14-16,14 14 0,-13-14 16,13 14-16,-13-14 0,13 14 0,-13 0 15,13-1-15,-13 1 0,13 0 0,-14-14 16,14 14-16,-13 0 0,0 39 15,13-39-15,-13-1 0,13-12 16,0-1-16,0 1 0,0-1 0,0 1 16,0-1-16,0 1 0,13 12 15,-13-12-15,0-1 0,13 1 0,-13-14 16,13 13-16,-13 1 0,14-1 0,-1-13 16,0 14-16,0-1 0,0 1 0,1-14 15,12 13-15,-13-12 0,1-1 16,12 0-16,-13 0 0,14 1 0,-14-1 15,13 0-15,-12-13 0,12 13 0,-13-13 16,14 14-16,-1-14 16,-13 0-16,14 13 0,-14-13 0,14 0 15,-14 0-15,13 0 0,-12 0 0,-1 0 16,13 0-16,-13-13 0,1 13 16,-1 0-16,0 0 0,14-14 15,-14 14-15,0-13 0,13 0 16,-12 13-16,-14-13 0,13 13 0,-13-14 15,13 14-15,-13-13 16,13 13-16,-39 13 47,13-13-47,13 14 0,-14-1 16,1-13-16,0 13 0,0 0 15,0 14-15,13-14 0,-14 0 0,1 14 16,0-14-16,0 13 0,-1 1 15,1 13-15,-13-1 0,26-12 16,-13-1-16,13-13 0,-14 14 0,14-1 16,-13 1-16,0 26 0,13-27 15,0 1-15,0-1 16,-13 1-16,13-1 0,0 0 0,0 1 16,0-1-16,0 14 0,0-14 0,0 27 15,0-26-15,13-1 16,-13 1-16,0-1 0,0 1 0,0 26 15,0-27-15,13 1 0,-13-1 16,0 0-16,0 1 0,0-1 0,0 1 16,0-1-16,0 1 0,0-1 15,13 1-15,-13-1 0,0 1 0,0-1 16,0 0-16,0 1 0,0-14 0,0 14 16,0 12-16,0-12 0,0-1 15,0-13-15,0 14 0,0-14 16,0 27-16,0-14 0,0-12 15,-13 12-15,13-13 0,0 14 16,0-1-16,0-13 0,0 14 16,0-14-16,0 14 0,0-14 0,0 13 15,-13 1-15,13-14 0,0 0 0,0 14 16,0-14-16,0 13 0,0-13 16,0 14-16,0-14 0,-13 27 15,13-27-15,0 0 0,0 14 0,0-14 16,0 13-16,0-12 0,0-1 0,13 13 15,-13-12-15,0-1 0,0 0 16,0 14-16,0-14 0,0 0 0,0 13 16,0-12-16,0-1 0,0 13 0,0-12 15,0-1-15,13 13 0,-13-13 0,0 1 16,0 12-16,0-13 0,0 1 16,0-1-16,0 13 0,0-12 15,0-1-15,0 0 0,0 0 0,0 0 16,0 1-16,0-1 0,0 0 0,0 0 15,0 1-15,0-1 16,0 0-16,-13 0 0,13 1 16,0-1-16,0 0 0,0 0 15,0 0-15,-13 1 16,13-1-16,0 0 0,0 0 16,-14 1-16,14-1 0,0 0 15,-13 0-15,13 1 0,0-1 16,-13 0-16,13 0 0,0 0 15,-13 1-15,13-1 16,-14-13-16,14 13 16,0 0-16,-13 1 15,0-1 1,0 0 0,0 0-16,-1 1 15,1-14-15,0 0 0,0 13 0,-1-13 16,14 13-16,-13-13 0,-13 0 15,12 13-15,1-13 0,0 0 16,0 13-16,-27-13 0,14 14 16,12-14-16,-12 0 0,13 0 0,-14 13 15,1-13-15,13 0 0,-14 0 16,1 13-16,-1-13 0,14 0 16,-13 0-16,-1 0 0,14 13 0,-40-13 15,40 0-15,-1 0 0,-12 0 16,13 14-16,0-14 0,-14 0 15,14 0-15,0 0 0,-1 0 16,1 0-16,0 0 16,0 13-1,-1-13 1,1 0 15,0 0 16,13-13-47,-13-1 16,13 1-16,-13 0 0,-1-14 15</inkml:trace>
  <inkml:trace contextRef="#ctx0" brushRef="#br0" timeOffset="82816.7">4683 8546 0,'27'0'16,"-1"-13"-16,0 0 0,14-1 0,66-39 15,-53 27-15,13 0 0,66-41 16,-65 28-16,-1 12 0,0 1 16,-13-1-16,13 1 0,40-14 15,-67 14-15,1 12 16,0 1-16,-14 13 0,1-13 0,-14 13 16,0 0-16</inkml:trace>
  <inkml:trace contextRef="#ctx0" brushRef="#br0" timeOffset="83300.86">4498 8771 0,'-27'13'0,"54"-26"0,-54 39 0,54-39 15,-1 13 1,-12-13-16,25 13 0,14-27 15,0 14-15,0-13 0,13-1 0,0 14 16,14-13-16,-14-1 0,0 1 0,80-27 16,-94 26-16,1 1 15,0 13-15,-13-1 0,0 1 0,-14 0 16,1 0-16,-1 0 0,-13 13 0,0-14 16,1 14-16,-1 0 0,-13-13 15,13 13-15,0-13 16,1 13-1,-14-13 1,0-1 15,13 1 32,-26 13-1,13-13-46,-14 13 0</inkml:trace>
</inkml:ink>
</file>

<file path=ppt/ink/ink1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19:14.924"/>
    </inkml:context>
    <inkml:brush xml:id="br0">
      <inkml:brushProperty name="width" value="0.05" units="cm"/>
      <inkml:brushProperty name="height" value="0.05" units="cm"/>
      <inkml:brushProperty name="ignorePressure" value="1"/>
    </inkml:brush>
  </inkml:definitions>
  <inkml:trace contextRef="#ctx0" brushRef="#br0">176 1,'-27'664,"-25"561,43-895,0-9,-29 207,18-341,11-115,-2 37,10-94</inkml:trace>
</inkml:ink>
</file>

<file path=ppt/ink/ink1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19:15.923"/>
    </inkml:context>
    <inkml:brush xml:id="br0">
      <inkml:brushProperty name="width" value="0.05" units="cm"/>
      <inkml:brushProperty name="height" value="0.05" units="cm"/>
      <inkml:brushProperty name="ignorePressure" value="1"/>
    </inkml:brush>
  </inkml:definitions>
  <inkml:trace contextRef="#ctx0" brushRef="#br0">0 82,'91'-17,"507"-6,565-12,-793 28,903 13,-758 30,55 3,-490-37,-42-3,-1 3,58 8,-57-4,-22-4</inkml:trace>
</inkml:ink>
</file>

<file path=ppt/ink/ink1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0:10.475"/>
    </inkml:context>
    <inkml:brush xml:id="br0">
      <inkml:brushProperty name="width" value="0.05" units="cm"/>
      <inkml:brushProperty name="height" value="0.05" units="cm"/>
      <inkml:brushProperty name="ignorePressure" value="1"/>
    </inkml:brush>
  </inkml:definitions>
  <inkml:trace contextRef="#ctx0" brushRef="#br0">0 2332,'5'-1,"0"0,0 0,0 0,-1 0,1-1,-1 0,1 0,-1 0,1-1,-1 1,0-1,0 0,-1 0,1 0,0-1,-1 1,0-1,0 0,0 0,3-6,3-4,-1 0,-1-1,0 0,8-27,1-11,125-377,-95 300,-25 66,43-91,6-12,-19 39,-1-8,-18 44,18-64,-38 109,3 0,1 1,34-64,4 1,19-33,-65 128,1 0,1 1,1 0,0 1,0 0,1 1,19-14,-21 18,0 1,0 1,0 0,1 0,0 1,0 1,0 0,0 0,1 1,-1 0,1 1,-1 0,1 1,-1 1,1 0,-1 0,1 1,-1 0,13 5,7 4,0 1,-1 2,0 1,-1 2,36 26,-56-37,135 101,-123-89,0 2,-1 1,0 0,19 30,59 104,-27-38,-15-25,61 131,-96-177,3-1,2-1,35 46,104 113,-106-142,116 96,8 5,-162-140,1-1,1-1,1-1,0-1,1-1,1-1,1-1,0-2,1 0,0-2,1-1,31 6,14 1,-46-9,1-1,1-2,-1-1,33 1,0-5,-15 1,0-1,1-3,-1-2,-1-1,73-21,-63 7,-1-3,-2-2,91-57,31-34,-168 112,0 0,0 1,1 0,-1 1,0 0,1 0,0 0,0 1,-1 0,1 1,0-1,0 2,0-1,-1 1,12 2,15 5,0 1,39 16,-22-7,-7-1,48 25,2 1,67 16,-136-52,2 0,-1-2,1-1,34 1,58 6,-59-3,-36-5,1 2,-1 0,0 1,-1 2,1 1,-1 0,30 19,9 10,68 55,-127-91,8 5,1 0,-1-1,2 0,-1-1,0-1,1 0,0 0,0-1,0-1,1 0,-1-1,0-1,15 0,21-4,0-1,54-13,-76 12</inkml:trace>
</inkml:ink>
</file>

<file path=ppt/ink/ink19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2:26:41.228"/>
    </inkml:context>
    <inkml:brush xml:id="br0">
      <inkml:brushProperty name="width" value="0.05292" units="cm"/>
      <inkml:brushProperty name="height" value="0.05292" units="cm"/>
      <inkml:brushProperty name="color" value="#0070C0"/>
    </inkml:brush>
  </inkml:definitions>
  <inkml:trace contextRef="#ctx0" brushRef="#br0">1363 4749 0,'13'0'78,"13"0"-63,14 13-15,13-13 16,79 14-16,-13-14 16,40 13-16,0 13 15,39-12 1,1 25-16,12-39 0,133 40 15,-79-27-15,-40 0 16,26-13 0,106 0-16,-92 0 15,-14 0-15,1 0 16,-28 0-16,41-13 16,-40 13-16,-40 0 15,-13 0-15,-26 0 16,12 0-16,-12 0 15,-27 0-15,27 0 16,-14 0-16,-13 0 16,-53 0-16,40-26 15,-66 26-15,26-13 0,-13 13 16,-14 0 0,-12 0-16,-1 0 15,-13 0-15,1 0 16,-1 0-1,0 0 1,14 0 0,-1 0-16,14 0 15,-1 0 1,14 0-16,13 0 0,1 0 16,38 0-16,-12 0 15,0 0 1,-54-14-16,-25 14 15,12 0-15,0 0 16,-26-13-16,40 13 0,-27-13 16,14 0-16,-14 13 31,0 0-31,1 0 16,-14-14-16,13 14 15,0 0 16,0 0-31,0 0 32,1 0-17,12 0 17,-13 0-17,1 0-15,-1 0 16,13 0-16,14 0 15,-14 0-15,-12 0 16,12 0-16,14 0 16,-1 0-16,1-13 15,-13 0 1,12 13-16,1-13 16,-14 13-16,-12-14 15,12-12-15,-13 26 0,1 0 16,-14-13-16,13 13 15,-13-13 1,13-1 0,-13 1-16,0-27 15,0 14-15,0-93 0,0 53 16,0-14-16,0 27 16,0-13-1,0-26-15,0 39 16,0 13-16,0 0 15,-13 1-15,13 12 16,0-12-16,0 12 16,0 1-16,0 12 15,-13 14-15,13-13 16,-14 13 156,-65 0-157,13 0-15,-40 13 16,-53-13-16,-13 0 16,-39 0-16,-80 0 15,39 0-15,-158-13 16,119 0-16,53 0 16,26 13-16,-79 0 15,93 0-15,13 0 16,26 0-16,0 0 15,-39 0-15,26 0 16,13 0-16,27 0 16,-27 0-1,0 0-15,40 0 0,13 0 16,40 0 0,-40 0-16,0 0 0,40 0 15,13 0 1,14 0-16,-1 0 0,-13 0 15,27 0 1,-14 0-16,-26 0 16,-27 0-16,1 0 15,-1-13-15,-13 13 16,27 0-16,-67-14 16,40 1-16,14 13 0,-14-13 15,13 13 1,-12-13-16,25-1 15,27 1-15,0 13 16,27 0-16,-27 0 16,13-13-16,1 13 15,-1-13-15,0 13 16,-26 0-16,40 0 16,12 0-16,1 0 15,-13 0-15,-1 0 16,1 0-16,13 0 15,-27 0-15,0 0 16,14 0-16,-14 0 16,14 0-16,-14 0 15,0 0 1,1 13-16,12-13 0,1 13 16,-1-13-1,-13 0-15,14 13 16,-14 1-16,14-14 15,-1 0-15,-12 13 16,25-13-16,-78 0 0,52 0 16,-13 0-1,14 13-15,12-13 16,14 0-16,0 0 16,-1 0 46,14 13-31,-13-13-15,0 0-16,0 53 16,0-26-16,13-14 15,-14 27-15,14-1 16,-13 14-1,13-26-15,0 12 0,0 1 16,0-13 0,0 39-16,0-27 15,0 14-15,13 40 16,-13-40-16,0 26 16,0-26-16,0 0 15,0-13-15,14-1 16,-14 14-16,0-40 15,0 1-15,0 12 16,13-26 0,-13 13-16,0 14 15,13-14 1,0-13 0,-13 13-16,0 1 62,27-14-62,-1 0 16,27 0-16,0 0 15,53-14-15,39 1 16,-26 13-16,-13 0 16,0 0-1,-27 0-15,-39 0 16,-27 0-16,1 0 15</inkml:trace>
  <inkml:trace contextRef="#ctx0" brushRef="#br0" timeOffset="2261.57">3598 9009 0,'-13'27'63,"0"-14"-47,13 0-16,-13 0 0,13 0 0,0 1 15,-14-1-15,1 0 0,0 14 16,13-14-16,-13 0 0,-1 14 15,1-14-15,13 0 0,-13 0 16,13 0-16,-13 1 16,13-1-16</inkml:trace>
  <inkml:trace contextRef="#ctx0" brushRef="#br0" timeOffset="2954.71">3440 9419 0,'0'0'0,"13"13"31,-26 1-31,13-1 16,-14 0-16,14 0 0,-13 1 0,0-1 15,0-13-15,-1 13 0,14 0 16,-13 0-16,0-13 0,13 14 0,-13-1 15,13 0 1,-13-13-16,13 13 16,13-13-1,0 0 1,13 0-16,-12-13 0,-1 13 16,0 0-16,0-13 0,14 13 15,-14-13-15,0 13 0,0-14 0</inkml:trace>
  <inkml:trace contextRef="#ctx0" brushRef="#br0" timeOffset="3660.17">3956 9088 0,'0'-13'0,"-14"40"46,14-14-46,-13 0 16,13 0-16,-13 1 0,13 12 0,-13-13 16,-1 1-16,1 12 0,13 0 15,-13-12-15,0 12 0,-1-13 0,14 14 16</inkml:trace>
  <inkml:trace contextRef="#ctx0" brushRef="#br0" timeOffset="4141.84">3969 9459 0,'13'-13'16,"-39"26"0,26 0-1,-14-13-15,1 13 0,0 1 0,0-14 16,-1 13-16,1 0 0,0-13 15,0 13-15,-1 0 0,1-13 16,13 14-16,-13-14 0,13 13 16,-13-13-16,13 13 15,0 0 1,13-13-16,-13 14 0,13-14 16,0 0-16,-13 13 0,14-13 15,-1 0-15,0 0 0,14 0 16,-14-13-16,0 13 15,-13-14-15,13 14 0,-13-13 16,14 13-16,-14-13 0,13 0 16,-13-1-16,0 1 15,13 0-15,-13 0 16,-13 39 15,13-13-15,0 1-16,0-1 0,0 0 0,0 0 15,13 1-15,-13-1 16,0 0-16,0 0 0,0 1 16,13-14-16,0 0 0</inkml:trace>
  <inkml:trace contextRef="#ctx0" brushRef="#br0" timeOffset="4665.91">4432 9049 0,'0'0'0,"0"26"32,0-13-17,0 1-15,0-1 0,-13 0 16,13 0-16,0 1 0,0 12 0,-14-13 15,14 1-15,0 12 0,-13-13 0,13 0 16,0 14-16,-13-14 0,13 0 16,0 14-16,-13-14 0,13 0 0,-14 0 15,14 1-15,0-1 0,0 0 16,0 0-16</inkml:trace>
  <inkml:trace contextRef="#ctx0" brushRef="#br0" timeOffset="5093.93">4432 9446 0,'0'0'0,"-13"0"16,-1 13-1,1-13-15,13 13 16,-13 0-16,13 1 15,0-1-15,0 0 16,0 0-16,0 0 16,0 1-1,13-14-15,-13 13 16,0 0 0,13-13-1,-26 13 79,0-13-94,13 14 16,-13-14-16,-1 13 0,1 0 31</inkml:trace>
  <inkml:trace contextRef="#ctx0" brushRef="#br0" timeOffset="5732.76">4908 9102 0,'0'26'16,"0"-13"-16,-13 1 16,13-1-16,0 0 0,-13 14 15,13-14-15,0 0 0,0 13 16,0-12-16,0-1 0,0 0 0,0 0 15,0 1-15,0-1 16</inkml:trace>
  <inkml:trace contextRef="#ctx0" brushRef="#br0" timeOffset="6306.39">5027 9499 0,'13'26'16,"-13"-13"-1,14-13-15,-14 13 0,0 1 16,0-1-16,0 0 0,0 0 15,0 1-15,0-1 0,-14 0 0,14 0 16,0 1-16,-13-1 0,13 0 16,-13-13-16,0 13 15,26-39 1,-13 13 0,13-1-16,0 1 15,-13 0-15,14 0 0,-1-1 0,-13 1 16,13-13-16,-13 12 0,0 1 0,13 0 15,-13 0-15,0 0 16,0-1-16,-13 1 0,13 0 16,-13 13-16,13-13 0,-13 13 15,-1-14-15,1 14 16,0 14-16,0-14 16</inkml:trace>
  <inkml:trace contextRef="#ctx0" brushRef="#br0" timeOffset="7249.96">4485 9366 0,'0'-13'0,"-14"39"32,1-26-17,13 14-15,-13-1 0,13 0 16,-13 0-16,0 1 0,13-1 0,-14 13 15,14-12-15,-13-1 0,13 0 0,-13 27 16,13-27-16,-13 27 16,13-27-16,0 0 0,0 0 15,0 1-15,0-1 0,0 0 0,0 0 16,0 0-16,13 1 16,0-1-16,0-13 15,1 13 1,-1-26-16,0 13 15,0 0-15,-13-13 0,13 13 16,1 0-16,-14-14 0,13 1 16,-13 0-16,0 0 0,0 0 15,0-1 1,-13 1-16,-1 13 16,1-13-16,0 13 0,0 0 15,0 0-15,-1 0 16,1 0-16,0 13 15</inkml:trace>
  <inkml:trace contextRef="#ctx0" brushRef="#br0" timeOffset="8365.37">5583 9022 0,'-14'27'31,"14"-14"-15,0 0-16,0 0 0,0 1 15,0-1-15,0 0 0,0 0 0,-13 1 16,13-1-16,0 0 0,0 0 15,0 1-15,0-1 0,0 0 16</inkml:trace>
  <inkml:trace contextRef="#ctx0" brushRef="#br0" timeOffset="8913.16">5503 9406 0,'-13'26'31,"13"-12"-31,0-1 0,0 0 16,0 0-16,0 1 15,-13-14-15,13 26 0,0-13 16,13-13-16,-13 13 16,13-13-16,1 0 31,-1-13-31,0 13 15,0 0 1,0 0 0,1 13-1,-1-13-15,0 0 0,0 14 16,1-14 0,-1-14-1,-13 1 1,0 0-1,0 0-15,-13 13 0,-1-13 16,1-1 0</inkml:trace>
  <inkml:trace contextRef="#ctx0" brushRef="#br0" timeOffset="9277.68">6165 9128 0,'-13'27'0,"-14"12"31,27-25-31,0-1 0,-13-13 0,13 26 16,0-13-16,0 1 16,0-1-16,0 0 0,13-13 15,-13 13-15,0 1 0,13-14 0</inkml:trace>
  <inkml:trace contextRef="#ctx0" brushRef="#br0" timeOffset="9552.93">6138 9499 0,'-26'13'31,"13"0"-31,13 0 0,-14 0 0,1 1 16,0-1-16,13 0 15,-13 0-15,-1 1 0,1-1 16,13 0-16,-13 0 0</inkml:trace>
  <inkml:trace contextRef="#ctx0" brushRef="#br0" timeOffset="9913.25">6284 9538 0,'-27'27'16,"14"-27"-1,13 13-15,-13-13 0,0 13 16,-1 0-16,14 1 15,-13-14-15,13 13 16,13-13 15,1 0-31,-14-13 16,13 13-16,0 0 0,0-14 16,1 14-1,-1 14 1,-26-1-16,13 0 15,0 0 1,-14-13-16,14 14 0,0-1 16,0 0-1,14-13-15,-1 0 16,0 0-16</inkml:trace>
  <inkml:trace contextRef="#ctx0" brushRef="#br0" timeOffset="10336.14">6720 9128 0,'14'27'0,"-14"-1"15,0-13-15,-14 1 0,14-1 16,0 13-16,0-13 0,0 1 16,0-1-16,0 0 0,0 0 0,-13 1 15,13-1-15,0 0 0,0 0 0,0 0 16</inkml:trace>
  <inkml:trace contextRef="#ctx0" brushRef="#br0" timeOffset="10945.84">6654 9565 0,'14'0'16,"12"0"0,-26 13-16,13-13 0,-13 13 15,0 0-15,-13 1 16,13-1-16,0 0 0,-13 0 16,13 1-16,-13-14 0,13 13 0,0 0 15,-14-13-15,14 13 0,0 0 16,27-13 15,-14 0-15,0-13-16,0 13 0,1-13 15,-1 13-15,0 0 0,0-13 0,1 13 16,-1 0-16,0 0 16,0 0-16,0 0 15,1 0-15,-1 0 16,0-13-1,-13-1 1,-13 1 0,0 13-1,-1-13 1,1 0-16</inkml:trace>
  <inkml:trace contextRef="#ctx0" brushRef="#br0" timeOffset="11333.67">7435 9115 0,'0'0'0,"-13"26"31,13-12-31,0-1 0,-14 13 16,14-12-16,-13 12 0,13 0 16,0 1-16,-13-14 15,13 14-15,0-14 0,0 0 0,0 13 16,0-12-16</inkml:trace>
  <inkml:trace contextRef="#ctx0" brushRef="#br0" timeOffset="11864.88">7263 9604 0,'39'0'15,"-25"0"-15,-1 14 16,-13-1 0,0 0-16,0 0 0,0 1 15,-13-1-15,13 0 16,0 0-16,-14-13 0,14 13 15,0 1 1,-13-14-16,26 13 16,1-13-1,-1 0-15,0-13 16,0 13-16,14-14 0,-14 14 0,0-13 16,1 0-16,-1 13 0,0-13 0,13 0 15,-26-1-15,14 14 0,-1-13 16,0 13-16,-13-13 0,13 13 15,1 0 17,-14 13-17,0 0-15,0 1 16,0-1-16,13 0 0,-26 0 16,13 0-16,0 1 15,-14-14-15,14 13 0,-13 0 0,0 0 16,0-13-16,-1 0 15,1 0 1,13-13-16</inkml:trace>
  <inkml:trace contextRef="#ctx0" brushRef="#br0" timeOffset="12279.67">8030 9062 0,'0'-13'15,"0"39"1,0-13-1,0 1-15,0-1 0,0 0 16,-13 0-16,13 14 0,0-1 16,0 1-16,0-14 0,0 13 15,0-12-15,0 12 0,0-13 0</inkml:trace>
  <inkml:trace contextRef="#ctx0" brushRef="#br0" timeOffset="12652.82">7977 9525 0,'13'-13'0,"1"26"16,-14 0 0,0 0-1,0 1-15,0-1 0,-14 13 16,14-12-16,0-1 0,0 0 16,0 0-16,0 1 15,0-1-15,0 0 0,0 0 16,-13 0-16,13 1 15,0-1-15,-13-13 16,13 13-16,0 0 0,-13-13 0,13 14 16,-13-14-1</inkml:trace>
  <inkml:trace contextRef="#ctx0" brushRef="#br0" timeOffset="12878.1">8136 9684 0,'13'13'16,"0"0"0,1-13-1,-1 0-15,0 0 16,0 0-16,-13-13 0,14 13 16,-14-13-1,0 0-15,0-1 0,-14 1 16,1 13-16,0-13 0,0 13 15,-1 0-15,1-13 0,0 13 16,0-14-16,-1 14 0,14-13 16</inkml:trace>
  <inkml:trace contextRef="#ctx0" brushRef="#br0" timeOffset="13285.88">8903 9062 0,'-13'26'31,"13"-12"-31,0-1 0,-13 0 15,13 0-15,0 1 0,0-1 16,0 0-16,0 0 16,0 1-16,0-1 0,0 0 15,0 0-15,0 0 0,0 1 16,13-1-16</inkml:trace>
  <inkml:trace contextRef="#ctx0" brushRef="#br0" timeOffset="13819.71">8903 9591 0,'0'0'0,"-26"0"16,-1 13-1,14-13-15,0 14 0,0-1 16,-1-13-16,1 13 0,0-13 0,0 13 16,-1 1-16,1-1 0,0-13 15,13 13-15,-13 0 16,26 0 15,0-13-31,14 0 16,-14 0-16,0 0 0,0-13 15,1 13-15,-1-13 0,0 0 16,0 0-16,1-1 0,-1 1 16,0 0-16,-13 0 0,13 13 15,-13-14 1,-13 41 15,13-14-15,-13-13-16,13 13 15,0 1-15,0-1 0,-13 0 16,26 0 0,-13 0-16,0 1 15</inkml:trace>
  <inkml:trace contextRef="#ctx0" brushRef="#br0" timeOffset="14653.01">8678 9697 0,'14'-26'16,"12"26"-1,0-14-15,-12 14 0,-1 0 16,0 0-16,0 0 16,1 0-16,-1 14 0,-13-1 15,0 0 1,0 0-16,-13 0 15,13 1-15,0-1 16,0 0 0,0 0-1,13-13-15,-13 14 0,13-1 16,0 0-16,-13 0 16,0 0-16,0 1 0,0-1 15,0 0-15,-13 0 0,13 1 0,-13-14 16,0 13-16,-1 0 0,1 0 15,0 1-15,0-14 0,13 13 0,-14-13 16,1 0-16,0 13 0,0-13 16,13-13-1,13-14-15</inkml:trace>
  <inkml:trace contextRef="#ctx0" brushRef="#br0" timeOffset="14899.98">8956 9710 0,'0'13'47,"0"1"-47,0-1 0,0 0 16,0 0-16,13 1 0,-13-1 0,0 0 15,0 0-15,0 0 16,0 1-16,0-1 15,-13 0-15,0-13 0,13 13 16,-13-13-16,13-13 31,13-13-31,-13 12 0</inkml:trace>
  <inkml:trace contextRef="#ctx0" brushRef="#br0" timeOffset="15307.97">9697 9102 0,'0'-14'0,"-13"14"31,13 27-31,0-14 16,0 0 0,0 1-16,0-1 0,-13 0 0,13 0 15,0 14-15,0-14 0,-14 27 16,14-14-16,0-13 0,-13 14 16,13-1-16,0 1 0</inkml:trace>
  <inkml:trace contextRef="#ctx0" brushRef="#br0" timeOffset="15641.1">9723 9604 0,'-26'0'15,"13"0"-15,0 14 0,-1-1 16,-12-13-16,13 13 0,-1-13 15,1 13-15,0 1 0,-14-1 0,14 0 16,0-13-16,0 13 0,0 0 16,-1 1-16,14-1 0,-13-13 15,13 13-15,0 0 16,13 1-16,-13-1 16,14-13-16,-1 13 15,0-13-15,0 0 0,0 13 0,1-13 16,-1 0-16,0 0 0,0 0 15,1 0-15,-1 0 16,0 0-16,-13-13 0,13 13 0,1-13 16,-1 13-16,-13-13 0</inkml:trace>
  <inkml:trace contextRef="#ctx0" brushRef="#br0" timeOffset="16109.67">9737 9644 0,'0'0'0,"0"-13"16,-27 26 15,27 0-31,0 1 16,0-1-16,-13 0 15,13 0-15,0 0 0,-13 1 16,13-1-16,0 0 0,0 0 0,0 1 0,0-1 16,0 0-16,0 0 15,13-13-15,0 13 0,0-13 16,1 0-16,-1-13 0,0 0 15,0 13-15,1-13 0,-1 0 16,0 13-16,-13-14 0,13 14 16,0-13-16,1 13 15,-1 0 1,-13 13 0,13 1-1,0-1-15,1-13 0,-1 13 16,0-13-16,0 13 0,14-13 0,-14 0 15,13 0-15,-12 0 0,-1 0 16,13-13-16,-12 13 0,-1-13 0,0 13 16,0-13-16,-13-1 0,14 14 0,-14-13 15,0 0-15,-14 13 0,14-13 0,-13-1 16,0 14-16,-14-13 16,14 13-16,-13 0 0,-1-13 0,14 13 15,-13 0-15,-1 0 0,14 0 0,0 0 16,-1 0-16,1 13 0,0-13 0,0 0 15,-1 0-15</inkml:trace>
  <inkml:trace contextRef="#ctx0" brushRef="#br0" timeOffset="16909.64">12766 8083 0,'0'0'0,"146"-13"16,-67 13 0,0-13-16,107 13 0,-67 0 15,13 0-15,13 0 0,-12 0 16,12 0-16,1 0 0,-1 0 16,1-14-16,13 14 0,-14 0 0,1 0 15,-1 0-15,1 0 0,-14 0 0,80 14 16,-106-14-16,-14 0 15,-13 0-15,1 13 0,-1-13 0,-26 0 0,0 0 16,-26 0-16,-1 0 0,0 13 16,-12-13-16,-1 0 0,-66 0 31,13-13-31</inkml:trace>
  <inkml:trace contextRef="#ctx0" brushRef="#br0" timeOffset="17212.09">12449 8334 0,'0'0'0,"198"27"31,-105-27-31,13 13 0,26-13 0,13 13 15,1 1-15,-1-14 0,14 13 0,0 0 16,0-13-16,13 13 0,-14 0 16,-12 1-16,-1-1 0,1 13 0,-14-12 15,0-1-15,-39 0 0,0 0 0,-14 0 16,0-13-16,-12 14 0,-14-1 16,-14-13-16,1 13 0,-14-13 0,-12 0 15,12 0-15,-13 0 0,-13-13 0,14 13 16,-14-27-16</inkml:trace>
  <inkml:trace contextRef="#ctx0" brushRef="#br0" timeOffset="17645.63">13467 6456 0,'80'-13'0,"-160"26"0,213-26 0,-54-1 15,0 14-15,14-13 0,0 13 0,-1 0 16,14 0-16,26-13 16,14 13-16,-14 0 0,0 13 0,1-13 15,-1 0-15,0 13 0,-13-13 0,-13 0 16,26 14-16,-26-14 0,-13 0 0,-1 13 15,1-13-15,-14 0 0,41 13 16,-68-13-16,-12 0 0,-13 0 16,-14 13-16</inkml:trace>
  <inkml:trace contextRef="#ctx0" brushRef="#br0" timeOffset="17965.64">13388 6654 0,'106'0'0,"-212"0"0,291-13 16,-106 13-16,14 0 15,13 0-15,0 0 0,26-13 0,0 13 0,14 0 16,-14-13-16,14 13 0,-1 0 0,-13-14 15,14 14-15,0 0 0,-14 0 16,0 0-16,-26 14 0,0-14 16,-14 0-16,1 0 0,-14 13 0,-12-13 0,-15 0 15,1 13-15,-13-13 0,-14 0 16,1 0-16,-14 0 0,0 0 16,1 13-16,-1-13 15,-40 0 1,14 0-16,0 14 0,-14-14 0</inkml:trace>
  <inkml:trace contextRef="#ctx0" brushRef="#br0" timeOffset="20077.86">14922 4842 0,'0'-13'0,"0"26"0,-13-13 15,13 26 1,-13 14-16,13 0 0,-13 26 16,0 0-16,13 0 0,-14 14 15,1-1-15,0 0 0,0 1 0,-1 25 16,1-25-16,0-1 0,13 1 0,-13-14 15,13 0-15,-13 0 0,13-13 0,0 0 16,-14-13-16,14-1 0,0 1 16,0-14-16,0-12 0,0 12 0,0-13 15,0 1-15,0-1 0,0 0 16,14-13-16,-14-13 31,13 0-31,-13-1 16</inkml:trace>
  <inkml:trace contextRef="#ctx0" brushRef="#br0" timeOffset="20570.28">14486 5940 0,'0'26'32,"13"-12"-32,-13-1 0,0 13 15,13 1-15,1-1 0,-14 14 0,13 0 16,0-14-16,0 14 0,1-14 15,-14-13-15,13 14 0,0-14 16,0 14-16,-13-14 0,13 0 0,14 13 16,-27-12-16,13-14 0,0 13 15,1-13-15,-1 0 0,0 0 16,14-13-16,-1 13 0,14-14 0,-14 1 16,14 0-16,-1-13 0,-12 12 0,13-12 15,-1 13-15,1-14 0,0 14 16,-14 0-16,1-1 0,-1 1 0,1 0 15,-14 13-15,0-13 0,0 13 0,0 0 16,14-13-16,-14-1 16,0 14-16,1 0 15</inkml:trace>
  <inkml:trace contextRef="#ctx0" brushRef="#br0" timeOffset="26172.98">14764 3598 0,'-40'106'31,"40"-66"-31,0 0 0,0-1 0,-13 1 16,13 0-16,0-1 0,0-12 0,0-1 15,0 1-15,-13-1 0,13 1 16,0-14-16,0 0 0,0 14 16,0-14-16</inkml:trace>
  <inkml:trace contextRef="#ctx0" brushRef="#br0" timeOffset="26561.78">14539 3612 0,'0'0'0,"26"-27"0,-12 14 0,-1 0 15,0 13-15,0-14 16,14 14-16,-1-13 0,1 13 0,-14 0 16,13 0-16,1 0 0,-14 13 0,13 1 15,1-1-15,-14 0 0,0 0 0,-13 1 16,14 12-16,-14-13 0,0 14 15,0-14-15,-14 13 0,14 1 0,-26 26 16,13-40-16,-1 0 0,-12 14 16,13-14-16,0 0 0,-1 0 15,1 1-15,0-1 0,0-13 16</inkml:trace>
  <inkml:trace contextRef="#ctx0" brushRef="#br0" timeOffset="26948.9">15094 3784 0,'-92'26'31,"79"-13"-31,-14 0 0,14 1 0,0-1 0,-1 0 16,1 0-16,0 1 0,13 12 16,0-13-16,0 1 0,0-1 15,13 0-15,0 0 0,1-13 16,-1 0-16,0 0 0,14 0 0,-14 0 16,13 0-16,1-13 0,-1 0 0,-13 13 15,14-13-15,-14-1 0,0 1 16,1 0-16,-1 0 0,-13-1 15,0 1-15,0-13 0,-13 12 16,13 1-16,-14 0 0,1 13 16,0-13-16,0 13 0,-1 0 15,1-13-15,0 13 0,-13 13 16,12 0-16,1-13 0,0 13 16,13 0-16,13-13 15</inkml:trace>
  <inkml:trace contextRef="#ctx0" brushRef="#br0" timeOffset="27185.12">15240 3810 0,'13'13'31,"-13"0"-31,13 1 0,-13-1 16,14 0-16,-14 0 0,13 1 15,0-1-15,-13 0 0,13 0 0,-13 1 16,0-1-16,14 0 0,-28 0 0,14 0 16,-13 1-16,13-1 15,-13-13-15,0 13 16,-1 0-16,1-13 0,0-13 16</inkml:trace>
  <inkml:trace contextRef="#ctx0" brushRef="#br0" timeOffset="27373.81">15425 3797 0,'13'0'31,"-13"13"-31,0 0 0,0 0 16,0 1-16,0 12 0,0-13 15,0 1-15,0 12 0,-13-13 16,13 14-16,0-14 0,0 0 0,0 0 15,-13 1-15,13-1 0,0 0 0,0 0 16,0 1-16</inkml:trace>
  <inkml:trace contextRef="#ctx0" brushRef="#br0" timeOffset="27516.91">15505 3612 0,'0'0'0,"-14"-14"0</inkml:trace>
  <inkml:trace contextRef="#ctx0" brushRef="#br0" timeOffset="27724.74">15716 3492 0,'13'53'31,"-13"-26"-31,0-14 0,0 14 0,0 12 16,0 1-16,0 0 0,0-1 0,0 1 15,14 0-15,-14-14 0,0 27 16,0-26-16,13-1 0,-13-13 15,0 14-15,0-14 0</inkml:trace>
  <inkml:trace contextRef="#ctx0" brushRef="#br0" timeOffset="28097.73">15571 3956 0,'-13'0'16,"26"-14"-16,0 1 16,0 13-16,0-13 0,1 13 15,12-13-15,27-1 0,-27 1 16,1 13-16,13-26 16,-14 26-16,1-14 0,-14 14 0,0 0 15,53-26 1,-53 26-1,1 0 1,-14 40 0,0-27-1,13 0-15,-13 0 0,0 1 16,13-14-16,-13 13 0,0 0 16,13-13-16,-13 13 0,14-13 0,-14 14 15,13-14-15,0 13 16,0-13-16,0 0 15</inkml:trace>
  <inkml:trace contextRef="#ctx0" brushRef="#br0" timeOffset="28620.14">16192 3823 0,'0'-13'47,"0"0"-16,0 39 78,-13-26-93,13 13-16,-13 1 16,13-1-16,-13 0 0,0-13 15,13 13-15,-14 1 0,14-1 0,-13-13 16,0 13-16,13 0 15,-13-13-15,13 14 0</inkml:trace>
  <inkml:trace contextRef="#ctx0" brushRef="#br0" timeOffset="29396.16">16179 3836 0,'0'14'0,"13"-14"32,-13 13-32,0 0 15,14-13 1,-14 13-16,0 1 0,13-14 15,0 13 1,0-13 0,1-13-1,-14-1-15,13 1 16,-13 0-16,13 0 16,-13-1-16,13 1 15,-13 0-15,14 13 16,-14-13-1,13 13-15,0 0 16,0 0-16,0 0 16,1-13-16,-1 13 15,0 0-15,0-14 16,1 14-16,-14 14 16,13-14-16,-13 13 15,0 0 1,13 0-1,0 0-15,1-13 16,-1 0-16,0 0 16,0 0-16,0 0 0</inkml:trace>
  <inkml:trace contextRef="#ctx0" brushRef="#br0" timeOffset="29862.64">17026 3559 0,'-13'13'31,"13"0"-31,0 0 0,0 1 0,0 12 16,0-13-16,13 0 0,-13 27 16,0-13-16,0-14 0,0 0 15,0 0-15,0 14 0,0-14 0,0 0 16,-13 0-16,13 1 0,-14-1 16,1 0-16,0 0 0,0-13 0,13 14 15,-13-14-15,-1 13 0,1-13 0,0 0 16,0 0-16,-1-13 15,14-1-15,0 1 0,14 0 16</inkml:trace>
  <inkml:trace contextRef="#ctx0" brushRef="#br0" timeOffset="30061.93">17224 3347 0,'0'0'0,"40"-26"15,-27 39 1,-13 0-16,14 0 15,-14 14-15,0-1 0,0 1 0,-14-1 16,1 14-16,13-1 0,-13 1 16,0 0-16,-1-14 0,1 14 0,0-14 15,0 1-15,-1-1 0,14-12 16,0-1-16,0 0 0,0 0 16,14 0-16</inkml:trace>
  <inkml:trace contextRef="#ctx0" brushRef="#br0" timeOffset="30305.04">17449 3625 0,'-26'0'0,"52"0"0,-92 13 0,53-13 16,-14 13-16,1 0 0,13-13 15,-14 14-15,14-1 0,0-13 16,0 13-16,13 0 0,-14 1 0,14-1 15,0 13-15,14-26 16,12 14 0,-13-14-16,1 0 0,25 0 15,-26 0-15,14 0 0,-14 0 16,14 0-16,-14 0 0,13 0 16,-13 0-16,1 0 0</inkml:trace>
  <inkml:trace contextRef="#ctx0" brushRef="#br0" timeOffset="31492.76">17661 3836 0,'40'-13'16,"-40"0"-16,13 13 15,0-26-15,0 26 0,-13-14 16,14 1-16,-14 0 0,13 13 0,-13-13 15,13-1-15,-13 1 16,-26 26 15,26 1-15,-14-14-16,14 13 0,-13 0 16,13 0-16,0 1 0,13-1 15,-13 0 1,14-13-16,-1 0 0,0 0 15,0 0-15,0 0 0,14 0 16,-14 0-16,0-13 0,1 13 0,12-13 16,-13 13-16,1-14 0,12 1 15,-13 13-15,0 0 16,-13-13-16,14 13 0,-1 0 16,0 0-1,0 13 1,1-13-1,-1 0 1,0 0 0,0 13-1,1-26-15,-1 13 16,0 0 0,0 13-1,0-13-15,1 0 16,-1-13-1,0 13-15,0 0 16,1 0-16,-14-13 16,13 13-16,0 0 15,0-13 1,0 13 15,1 0-15,-1 0-16,0-14 15,0 14-15,1 0 16,-14-13-16,13 13 0,0 0 16,0-13-16,1 13 31,-1 0-15,-13 13-1,13-13-15,0 0 16,0 0-16,1 0 15,-1 0-15,0-13 0,0 13 16,1 0 0,-1 13-16,0-13 15,0 0 1,1 0-16,-1 0 16,0-13-16,0 13 15,0 0-15,-13-13 0,14-1 0,12 14 16,-13-13-16,1 0 0,-1 13 15,-13-13-15,13 13 0,0 0 16,-13 13 15,-13 0-15,0 0-16,13 1 16,0-1-16,-13 0 0,13 0 15,0 1-15,0-1 0,-14-13 0,14 13 16,-13 0-16,13 1 15,-13-14 1</inkml:trace>
  <inkml:trace contextRef="#ctx0" brushRef="#br0" timeOffset="31812.96">16285 4260 0,'384'-93'0,"79"-13"32,-344 93-32,-27-13 0,-12 12 0,12 1 15,-12 0-15,-1 0 0,-13 13 0,-13-13 16,-13-1-16,0 14 0,-14 0 16,-13 0-16,14 0 0</inkml:trace>
  <inkml:trace contextRef="#ctx0" brushRef="#br0" timeOffset="32012.43">16100 4352 0,'0'0'0,"-13"0"0,66-13 16,-1 13-16,531-79 31,-451 66-31,-26-14 15,-14 14-15,14-14 0,-13 14 16,-14-13-16,-13-1 0,67-26 16,-81 27-16,1-14 0</inkml:trace>
  <inkml:trace contextRef="#ctx0" brushRef="#br0" timeOffset="32305.77">15915 2990 0,'26'0'0,"-13"0"0,225-27 31,-145 14-31,0 0 0,132 0 0,-93-1 15,-13 14-15,13-13 0,-39 0 16,13 13-16,0-13 0,-14 13 16,1 0-16,-1-13 0,-12 13 0,-1 0 15,-26 0-15,0 0 0,-13 0 0,-14 0 16,-13 0-16,-26 13 16</inkml:trace>
  <inkml:trace contextRef="#ctx0" brushRef="#br0" timeOffset="32543.71">16060 3162 0,'0'0'0,"40"-13"16,0 13-16,26-14 0,13 1 16,14 0-16,-1 13 0,27-13 0,14-1 15,-1 14-15,0 0 0,-39-13 0,39 13 16,-26 0-16,0 0 0,0 0 15,-14 0-15,-12 0 0,12 0 16,-26 0-16,1 0 0,-15 0 0,-12 0 16,0 0-16,-14 0 0,1 0 15,-14 0-15,0 0 0,0 0 0,1 0 0</inkml:trace>
  <inkml:trace contextRef="#ctx0" brushRef="#br0" timeOffset="44393.96">3559 8903 0,'0'-13'47,"0"0"16,0 0-48,0-1 1,13 1-1,-13 0 1,13 0 0,-13-1-1,13 14-15,-13-13 16,14 0 0,-1 13-16,-13-13 15,13 13-15,0-14 31,0 14-15,1 0 0,-1 0-1,0 0 1,0 0-16,1 0 16,-1 14-1,0-14 1,0 0-1,1 13 1,-1-13 0,0 13 15,0-13 16,0 0-32,1 13 1,-1-13 15,0 0-15,0 0 0,1 0 15,-1 0-16,0 14 1,0-14 0,1 0-1,-1 0 17,0 13-32,0-13 15,0 0 1,1 0-16,-1-13 15,0 13-15,0 0 16,1 0-16,-1 0 16,0 0-16,0 0 15,1-14-15,-1 14 16,0 0 0,0-13-16,0 13 15,1-13 1,-14 0-1,13 13-15,-13-14 0,13 14 16,-13-13-16,0 0 16,13 0-1,-13 0 32,14 26 47,-1-13-94,-13 13 16,13-13-1,0 0-15,0 13 16,1-13-1,-1 0 1,0 0-16,0 0 16,1 0-16,-1 0 15,0 0-15,0 0 16,1 0-16,-1 0 16,0 0-16,13 0 15,-12 0-15,-1 0 16,0-13-16,0 13 0,1 0 15,-1 0-15,0 0 16,0 0-16,1-13 16,-1 13-16,0 0 15,0 0 1,0 0-16,1 0 16,-1 0-16,0 0 15,0 0 1,1 0-16,-1 0 15,0 0-15,0 0 16,0 0-16,1 0 16,-1 0-1,0 0-15,0 0 0,1 0 16,-14 13-16,13-13 0,0 0 16,0 0-16,1 13 15,-1-13 1,0 13-16,0 1 15,0-14 1,-13 13-16,14 0 16,-14 0-16,0 1 0,13-1 15,-13 0-15,0 0 16,0 1-16,13-1 0,-13 0 16,0 0-16,0 0 0,13-13 0,-13 14 15,0-1-15,14-13 16,-14 13-16,0 0 0,13-13 15,0-13 17</inkml:trace>
  <inkml:trace contextRef="#ctx0" brushRef="#br0" timeOffset="45070.33">4419 8678 0,'13'-26'31,"-13"-1"-15,0 14-16,0 0 0,0-14 15,13 1-15,-13 0 0,0-27 0,0 13 16,0 0-16,13-13 0,-13 14 0,0-1 16,0-13-16,0 0 0,0-39 15,0 52-15,-13-13 0,13 13 16,0 1-16,0-1 0,0 13 0,0-25 15,-13 25-15,13 14 0,0-14 16,0 14-16,0 0 0,0 0 16,-13-1-16,13 1 0,0 0 0,0 0 15,0 0-15,-14 13 32</inkml:trace>
  <inkml:trace contextRef="#ctx0" brushRef="#br0" timeOffset="45309.54">4405 7607 0,'-13'39'16,"0"-12"-1,0-14-15,-1 0 0,14 14 16,-13-14-16,13 14 0,-13-14 0,0 13 16,-1-13-16,14 14 0,-13-14 15,13 14-15,-13-14 0,0 0 16,13 14-16,-13-14 0,13 0 0,-14 0 16</inkml:trace>
  <inkml:trace contextRef="#ctx0" brushRef="#br0" timeOffset="45573.69">4286 7726 0,'27'13'15,"-14"-13"-15,0 13 16,0-13-16,1 14 16,-1-1-16,0-13 0,0 0 15,-13 13-15,14-13 0,-1 13 0,0-13 16,0 0-16,0 0 16,1 13-16,-1-13 0,0 0 15,0-13-15</inkml:trace>
  <inkml:trace contextRef="#ctx0" brushRef="#br0" timeOffset="52020.52">9604 8043 0,'-13'-26'16,"0"13"-16,0-1 15,-1 14-15,1-13 16,0 0-16,0 13 0,-14-13 16,1 0-16,-27-14 0,26 14 15,-12 0-15,-27-14 16,26 14-16,14 0 0,-54-14 15,40 14-15,1 0 0,-41 0 16,27-1-16,1 1 0,12 13 16,-13-13-16,0 0 0,-53-1 15,53 14-15,14-13 0,-14 13 16,13-13-16,-13 13 0,13 0 0,-13-13 16,14 13-16,-14 0 0,13-14 0,0 14 15,1 0-15,12 0 0,-12 0 16,12-13-16,-12 13 0,12 0 0,1 0 15,-14 0-15,27 0 0,-14 0 16,1 0-16,-1 0 0,1 0 0,-1 0 16,-26 13-16,27-13 0,0 0 15,-1 14-15,1-14 0,12 0 16,-12 13-16,-1-13 0,14 13 0,-13-13 16,-1 13-16,14-13 0,-13 14 0,-1-14 15,14 13-15,-14 0 16,14-13-16,-13 13 0,-1 1 0,14-1 15,-13-13-15,12 13 0,-12 0 0,13-13 16,0 13-16,-14 1 0,14-1 16,-14 0-16,14 0 0,0 1 0,0-1 15,-1 0-15,1 0 0,0 14 0,0-1 16,0-13-16,13 14 16,-14-14-16,14 0 0,0 14 0,0-14 15,0 0-15,0 14 0,0-14 0,0 13 16,14-12-16,-14 12 0,13-13 15,0 14-15,13-14 0,-12 13 0,12 1 16,14-14-16,-14 0 0,14 14 16,-14-14-16,14 0 0,0 1 0,-1-1 15,41 0-15,-40 0 16,12 0-16,-12-13 0,0 14 0,0-14 16,12 0-16,-12 13 0,13-13 0,0 0 15,-13 13-15,13-13 0,0 0 16,-14 0-16,14 13 0,0-13 15,-13 0-15,13 14 0,0-14 0,-14 0 0,14 13 16,0-13-16,0 0 0,-13 13 16,13-13-16,-1 0 0,41 13 15,-40-13-15,-13 0 0,-1 0 0,1 0 16,0 0-16,13-13 0,-14 13 16,14 0-16,-13 0 0,0 0 15,-1 0-15,14-13 0,-26 13 0,12 0 16,-12 0-16,13 0 0,-14 0 0,40 0 15,-39 0-15,-1 0 16,27-13-16,-27 13 0,14 0 16,-13-14-16,-1 14 0,1 0 0,-1-13 15,0 13-15,1-13 0,-1 13 16,1-13-16,-1-1 0,1 14 16,-1-13-16,1 13 0,-1-13 0,1 0 0,-14 13 15,13-13-15,1-1 0,-14 1 16,13 13-16,-12-13 0,12 0 15,-13-1-15,1 1 0,-1 13 0,0-13 16,0 0-16,0-1 0,1 1 16,-1 0-16,0 0 0,-13 0 15,13-1-15,1 1 0,-14 0 16,0 0-16,0-1 0,13 1 0,-13 0 16,0 0-16,0-1 0,0 1 15,-13 0-15,13 0 0,0-14 0,-14 14 16,14 0-16,-13 0 0,0-1 0,13-12 15,-13 13-15,-1 0 0,1-1 16,-13 1-16,13 0 0,-14 0 0,-13-14 16,14 14-16,-14 0 0,1-1 15,-1 1-15,-40-13 0,41 26 16,-54-27-16,54 27 16,-14-13-16,-40 0 0,40 0 15,0 13-15,0 0 0,-53-14 16,54 14-16,-1 0 0,13 0 15,-13 0-15,0 0 0,-53 0 16,67 14-16,-1-14 0,-26 13 16,39-13-16,14 0 0,0 0 15</inkml:trace>
  <inkml:trace contextRef="#ctx0" brushRef="#br0" timeOffset="52645.65">9657 6879 0,'0'-26'0,"-26"39"31,26 0-31,-13 0 16,-1 14-16,1-1 0,0 14 0,0-14 15,-14 14-15,14 0 0,0 0 0,0-1 16,-1-12-16,-12 12 15,13 1-15,-1-14 0,1 1 0,0-1 16,0 14-16,-1-27 0,14 1 16,0 12-16</inkml:trace>
  <inkml:trace contextRef="#ctx0" brushRef="#br0" timeOffset="52959.68">9247 7236 0,'-13'14'16,"13"-1"-16,-13 0 0,13 0 16,-13 0-16,-1 27 0,1 0 15,0-27-15,13 0 0,0 14 16,0-14-16,0 0 0,0 0 15,0 1-15,0-1 0,13 0 16,-13 0-16,13-13 0,1 14 0,-1-14 16,0 0-16,0 0 0,0 13 15,14-13-15,-14-13 0,14 13 16,-14 0-16,13-14 0,1 14 0,-1-13 16,1 0-16,-1 13 0,1-13 15,-1-1-15,0 1 0,-12 0 0,12 0 16,-13 0-16</inkml:trace>
  <inkml:trace contextRef="#ctx0" brushRef="#br0" timeOffset="53992.77">9723 5887 0,'0'0'0,"-26"26"16,26-12-16,0-1 0,-13 13 15,13 1-15,-13 12 0,13 1 16,-14 0-16,14 0 0,0-14 0,0 0 16,0 1-16,0 13 0,0-27 0,0 13 15,14 1-15,-14-1 0,13-13 16,0 1-16,-13-1 0,13 0 16,0-13-16,14 13 0,-14-13 0,0 0 15,14 0-15,12-13 0,-25 13 16,12-13-16,-13 0 15,14-1-15,-14 1 0,14-13 0,-14 13 16,-13-1-16,13-12 0,-13 13 16,0-1-16,0 1 15,0 0-15,-13 0 0,0 13 16,-1 13 0,1-13-16,13 13 15,-13 0-15,13 1 0,0-1 16,0 0-16,0 0 0,0 1 15,0-1-15,13 0 16,-13 0-16,13-13 0,-13 13 16,14-13-16,12 14 0,-13-14 0,0 0 15,1 0-15,-1 0 0,0-14 16,0 14-16,1-13 0,-1 13 16,0-13-16,-13 0 0,13 0 15,-13-1-15,14 14 0,-1-26 0,0 13 16,-13-1-1,13 14-15,-13-13 16,13 13-16,1 0 16,-1 0-16,-13 13 15,13-13-15,-13 14 0,13-1 0,-13 0 16,14 0-16,-14 1 0,0-1 16,0 0-16,13 0 15,-13 0-15,13 1 16,0-28-1,1 14-15,-1-13 0,0 0 16,0 0-16,0 0 0,1 13 16,-14-14-16,13 1 0,0 13 15,0-13-15,1 0 0,-1 13 16,0 13 0,-13 0-1,-13-13-15,13 27 0,0-14 16,-13-13-16,13 13 15,0 0-15,0 0 0,-14-13 16</inkml:trace>
  <inkml:trace contextRef="#ctx0" brushRef="#br0" timeOffset="54331.87">10874 5993 0,'0'-13'0,"-13"39"32,13 14-17,0-27-15,0 13 0,-13 1 0,13-14 16,0 14-16,-13-1 0,13 14 16,0-14-16,0-13 0,0 14 15,0-14-15,0 0 0,0 1 16</inkml:trace>
  <inkml:trace contextRef="#ctx0" brushRef="#br0" timeOffset="54560.39">11007 5927 0,'0'-53'0,"0"40"16,0-1-16,13 1 0,-26 0 0,-1 26 46,14 14-46,0-14 0,0 0 0,-13 13 16,13 1-16,0-1 16,0 1-16,0-1 0,0 1 0,0-1 15,0 1-15,0-1 0,0 1 0,13-1 16,-13 0-16,14-12 0,-14-1 16,13 0-16,-13 0 15</inkml:trace>
  <inkml:trace contextRef="#ctx0" brushRef="#br0" timeOffset="54776.11">10597 6244 0,'-14'-13'0,"28"26"0,-14-39 16,13 26-16,0-14 15,0 1-15,14 0 0,12 0 0,-12 0 16,13-1-16,-1-12 0,14 13 0,0-1 15,-13 1-15,-1 0 0,1 0 0,0-1 16,13 1 0,-27 13-16,-13 0 0,-13 13 15</inkml:trace>
  <inkml:trace contextRef="#ctx0" brushRef="#br0" timeOffset="54957.64">10689 6257 0,'-40'14'15,"80"-28"-15,-53 28 32,39-14-32,-12-14 15,12 14-15,1-13 0,12 0 16,1 0-16,0 13 0,-14-27 0,27 14 16,-13 0-16,-1 0 0,1-14 15,13 14-15,-13-14 0,-1 1 0,1-1 16</inkml:trace>
  <inkml:trace contextRef="#ctx0" brushRef="#br0" timeOffset="55580.32">11589 5755 0,'0'0'0,"-13"-14"15,-1 14 1,-12 0-16,-1 14 16,14-14-16,0 13 0,-14 0 15,14 14-15,-13-1 0,-1-13 16,14 14-16,0-1 0,0 1 0,-1-14 15,14 0-15,0 0 0,0 14 0,0-14 16,0 0-16,14-13 0,-1 13 16,-13 1-16,13-14 0,14 0 0,-14 13 15,0-13-15,0 0 0,0-13 0,14 13 16,-14 0-16,0-14 0,1 14 16,-1-26-16,0 13 0,-13 0 15,0-1-15,0 1 16,0 0-16,0 0 15,-13 13-15,13-14 32,13 14-17,14 14 1,-14-14-16,0 0 0,0 13 16,0-13-16,1 0 0,-14 13 0,13-13 15,0 13-15,0 1 16,-13-1-1,0 0 17,14-39-17,-1 12-15,0 1 16,0 0-16,1 0 0,-1-14 16,13 1-16,1-1 0,-14 14 15,0 0-15,14 0 0,-14-1 0,0 1 16,0 13-16,0-13 0,1 13 15,-1-13-15,0 13 16,0-14 0,1 14-1,-1-13 1,-26 0 0,-1 13-1,1 0-15,0 0 0,-14-13 16,-12 13-16</inkml:trace>
  <inkml:trace contextRef="#ctx0" brushRef="#br0" timeOffset="56765.07">5067 5980 0,'0'0'0,"-13"-27"0,13 14 0,0 0 16,-14-1-16,1 14 0,0-13 0,0 0 15,-14 0-15,1 0 0,-1 13 16,1-14-16,-14 14 15,0 0-15,-13 0 0,1 0 0,-1 14 16,-13-1-16,13 13 0,-14-13 0,1 14 16,13 13-16,-13-14 0,13 14 15,-13-1-15,13 1 0,0 13 0,-66 53 16,27 0-16,65-53 16,-12 0-16,12-1 0,1 1 15,-1 0-15,14 0 0,13-13 0,-13 13 16,13-14-16,0-12 0,13 13 0,0-1 15,0-12-15,14 12 0,-1-12 16,27-1-16,-13 1 0,13-14 16,13 0-16,-13 1 0,13-1 0,0-13 15,80 13-15,-67-13 0,0-13 0,1 13 16,-1-13-16,-13-1 16,14 1-16,-14 0 0,13-14 0,-13 14 15,14-13-15,-14 12 0,-13-12 0,13 13 16,-13-14-16,-13 14 0,-1-13 15,1 12-15,0-12 0,-14 13 0,1-14 16,-1 14-16,27-40 0,-27 40 16,-12-14-16,-1 14 0,0 0 15,0-13-15,1 12 0,-14-12 16,13 13-16,-13-14 0,0 1 0,0-1 16,0 14-16,0-27 0,0 14 0,-13-14 15,-1 0-15,1 1 0,-13-27 16,-1 26-16,1 0 0,-1 1 15,-12-1-15,12 0 0,-13 0 0,1 14 16,-14-14-16,13 14 0,-13-14 16,14 14-16,-14-1 0,0 1 0,-53-14 15,53 14-15,-13 12 0,-53-12 16,66 26-16,-13-13 0,13 13 16,0 0-16,-27 0 0,14 13 15,0 0-15,-13-13 0,13 27 0,0-14 16,-67 27-16,67-14 0,13 1 15,0-1-15,14 0 16,-1 1-16,13-14 0,1 14 0,13-14 16,13 13-16,0-13 0,0 1 15</inkml:trace>
  <inkml:trace contextRef="#ctx0" brushRef="#br0" timeOffset="57264.64">6178 5424 0,'-40'13'0,"27"0"0,-13 14 16,12 13-16,-25-1 0,12 1 15,-12 13-15,12-13 0,-13-1 0,14 14 0,0-13 16,-1 13-16,1-14 15,-1 1-15,-13 26 0,27-39 16,0-1-16,13-13 0,-13 1 0,13 12 16,-13-13-16,13 1 15</inkml:trace>
  <inkml:trace contextRef="#ctx0" brushRef="#br0" timeOffset="57547.83">5728 5821 0,'-13'26'31,"13"1"-31,-13-14 0,13 27 0,-13-1 16,-1 1-16,14 0 0,-13-1 16,13 1-16,-13-13 0,13-1 0,0-13 15,0 14-15,0-14 0,0 13 16,0-12-16,13-1 0,-13 0 0,13 0 15,1 1-15,-1-14 0,0 0 16,0 0-16,14-14 0,12 1 16,1 0-16,39-27 0,-26 14 15,0 12-15,-13-12 0,13 0 16,-13-1-16,-1 1 0,1 12 0,0-12 16</inkml:trace>
  <inkml:trace contextRef="#ctx0" brushRef="#br0" timeOffset="58289.74">6588 5226 0,'-13'-14'0,"13"1"0,-13 40 47,13-14-47,0 13 0,0 1 16,0 12-16,-14 1 0,14 0 15,0 26-15,0-40 0,0 1 16,0-1-16,0-13 0,0 14 0,0-14 15,0 0-15,0 1 0,0-1 16,0 0-16,0 0 16,27-26-1,-27 0 1,13 13-16,-13-13 0,13-1 16,1 14-16,-1-13 15,0 13 1,0 0-16,1 0 15,-1 0-15,0-13 16,0 13-16,0 0 16,-13-13-16,14 13 0,-1-14 0,0 14 15,-13-13-15,13 13 0,1-13 16,-1 26 15,-13 0-15,0 1-16,0-1 0,0 0 15,0 0 1,13 1-16,-13-1 16,26-13 15</inkml:trace>
  <inkml:trace contextRef="#ctx0" brushRef="#br0" timeOffset="59306.5">6813 5437 0,'13'13'16,"0"-13"-1,-13 14-15,14-14 16,-14 13-16,13-13 0,-13 13 0,13 0 15,-13 1-15,13-1 16,-13 0-16,0 0 0,14 0 16,-14 1-16,0-1 0,-14 0 15,14 0-15,0 1 16,0-1 0,0-26 30,14-1-46,-14 1 0,0 0 16,13 0 0,-13-14-16,13 14 0,-13-13 0,0 12 15,13-12-15,-13-1 0,0 1 0,0 0 16,0-1-16,14 14 0,-14-14 16,0 14-16,0 0 0,0-14 15,0 14-15,0 0 0,-14 39 47,14-12-47,0-1 0,-13 0 0,13 0 16,0 1-16,0-1 0,0 0 15,0 0-15,0 1 0,0-1 0,0 13 16,13-13-16,-13 1 16,0-1-16,0 0 0,0 0 15,0 1-15,14-14 16,-14 13-16,0 0 15,0 0-15,13-13 16,-13 13-16,0 1 31,13-14-15,0 0 31,0 0-32,1 0 1,-1 0 0,-13-14-1,13 14-15,0-13 16,1 13-16,-14-13 16,13 13-16,0-13 15,0 13 1,1-13-1,-1 13 1,0 0 0,0 0-1,0-14-15,1 14 16,-1 0-16,0-13 16,0 0-16</inkml:trace>
  <inkml:trace contextRef="#ctx0" brushRef="#br0" timeOffset="59424.56">7329 5437 0,'0'-13'15</inkml:trace>
  <inkml:trace contextRef="#ctx0" brushRef="#br0" timeOffset="60176.43">3215 8586 0,'26'0'16,"-13"0"-16,1 0 16,-1 0-16,0 0 0,0 0 0,14 0 15,-14-14-15,0 14 0,27 0 16,-27 0-16,0-13 0,1 13 16,-1 0-16</inkml:trace>
  <inkml:trace contextRef="#ctx0" brushRef="#br0" timeOffset="60432.65">3188 8136 0,'13'-13'0,"1"13"0,-14-14 15,13 14-15,0 0 0,0 0 16,1-13-16,-1 13 0,0 0 16,0-13-16,1 13 0,-1-13 0</inkml:trace>
  <inkml:trace contextRef="#ctx0" brushRef="#br0" timeOffset="60728.52">3188 7594 0,'13'0'0,"40"-14"16,-26 1-1,-1 13-15,-12 0 0,-1-13 16,0 13-16,13-13 0,-12 13 15,-1-14-15,0 14 0</inkml:trace>
  <inkml:trace contextRef="#ctx0" brushRef="#br0" timeOffset="60981.48">3215 7091 0,'26'-13'0,"40"-1"15,-52 14 1,-1-13-16,0 13 0,0 0 15,0-13-15,1 13 0,-1 0 0</inkml:trace>
  <inkml:trace contextRef="#ctx0" brushRef="#br0" timeOffset="61220.45">3201 6720 0,'0'0'15,"14"0"-15,-1-13 16,0 13-16,0 0 0,14-13 16,-14 13-16,14 0 0,-14-13 15,0 13-15,13 0 0,-12-13 16,-1 13-16,0 0 0,0-14 0</inkml:trace>
  <inkml:trace contextRef="#ctx0" brushRef="#br0" timeOffset="61458.59">3096 6284 0,'26'-13'16,"-13"13"-16,1-14 0,12 14 16,-13 0-16,0-13 0,14 13 0,-14 0 15,14-13-15,-1 13 0,1-13 16,-14 13-16</inkml:trace>
  <inkml:trace contextRef="#ctx0" brushRef="#br0" timeOffset="61693.56">3321 6019 0,'26'-13'0,"-52"26"0,78-26 0,-38 13 0,-1-13 15</inkml:trace>
  <inkml:trace contextRef="#ctx0" brushRef="#br0" timeOffset="62309.22">3440 6099 0,'0'-14'0,"0"28"0,-14-54 15,14 27-15,0-1 16,0-12-16,0 13 0,-13 0 16,13-14-16,0 14 0,0-14 0,0 14 15,0-13-15,0-1 0,0 14 16,0-13-16,0-1 0,0 14 15,-13-27-15,13 27 0,0 0 16,0 0-16,0-1 0,0 1 16,0 0-16,0 0 15</inkml:trace>
  <inkml:trace contextRef="#ctx0" brushRef="#br0" timeOffset="62588.46">3400 5636 0,'-13'26'0,"26"-52"0,-40 65 15,14-25-15,13 12 0,-13-13 16,0 0-16,0 14 0,-1-14 16,1 14-16,0-14 0,0 0 0,13 0 0,-14 1 15,14-1-15,-13-13 16</inkml:trace>
  <inkml:trace contextRef="#ctx0" brushRef="#br0" timeOffset="62793.57">3347 5530 0,'13'13'0,"0"0"16,1-13-16,-1 13 15,0 1-15,0-14 16,14 13-16,-14-13 0,0 13 0,14-13 16,-14 0-16,0 13 0,14-13 15,-14 0-15,13 0 0,-12 0 0,-1 0 16,0 0-16,13 0 0,-12 0 0</inkml:trace>
  <inkml:trace contextRef="#ctx0" brushRef="#br0" timeOffset="86841.48">13481 10266 0,'-27'119'16,"14"-79"-16,0 13 16,13-1-16,-14 15 0,1 12 0,0 0 15,0 1-15,13-1 0,-14 27 0,-12 0 16,13 0-16,0-1 0,-1-12 15,1 13-15,0-27 0,0 27 16,-1-27-16,14 1 0,-13-1 0,0-13 16,13 14-16,-13-27 0,13 13 0,0-13 15,0 0-15,0-14 0,-14 14 16,14-26-16,0-1 0,0 1 0,0-14 16,0 13-16,0-13 0,0 1 15</inkml:trace>
  <inkml:trace contextRef="#ctx0" brushRef="#br0" timeOffset="87195.73">12488 12171 0,'40'-27'31,"-14"27"-31,14-13 0,13 0 16,0 13-16,13-13 0,0-1 0,14 1 16,-1 13-16,14-13 0,-1 0 15,14 13-15,13-13 0,0-1 16,13 1-16,-12 0 0,12 0 0,-13 13 15,13-14-15,-13 1 0,14 13 0,-1-13 16,-13 0-16,-13 13 0,13-14 16,-13 14-16,-14 0 0,14-13 0,-13 13 15,-1 0-15,-12 0 0,12-13 0,-39 13 16,0 0-16,0 0 0,-27 0 16,1 0-16,-14 0 0</inkml:trace>
  <inkml:trace contextRef="#ctx0" brushRef="#br0" timeOffset="88707.55">13203 11853 0,'13'0'16,"0"-13"-16,0 0 15,1 13-15,-14-13 0,13-1 16,0 1-16,0 13 0,1-13 15,-1 0-15,0-14 0,0 14 0,14 0 16,-14 0-16,0-14 0,0 14 0,1-14 16,-1 14-16,0-13 0,0-1 15,1 1-15,-1 13 0,-13-14 0,13 14 16,0-14-16,0 1 0,1 13 16,-14-14-16,13 1 0,0-1 15,-13 14-15,13-13 0,27-120 31,-27 120-31,-13-1 0,13 1 16,-13 13-16,14-14 0,-14 1 0,26-27 16,-26 40-16,13-14 0,-13 1 15,14 12-15,-14-12 0,13-1 0,-13 14 16,0 0-16,13-13 0,-13 12 16,13 1-16,-13-13 0,14 12 0,-14 1 15,13 0-15,0-14 0,-13 14 16,13 0-16,-13-13 0,13 12 15,1 1-15,-14 0 0,13 0 0,0-1 16,-13 1-16,13 0 16,1 0-16,-1 0 15,0 13 1,0 13 0,1-13-16,-14 13 15,13 0-15,0 0 16,-13 1-16,13-1 15,-13 0-15,13 0 0,-13 27 16,14-27-16,-14 0 0,13 14 16,-13-14-16,0 0 0,13 1 15,-13 12-15,13-13 0,-13 1 0,14 12 16,-14-13-16,0 0 0,13 14 0,-13-14 16,0 0-16,13 14 0,-13-14 15,13 0-15,-13 1 0,0 12 0,14-13 16,-14 0-16,0 1 0,13-1 0,-13 13 15,13-12-15,-13-1 0,13 0 16,0 0-16,-13 0 0,14 1 0,-1-1 16,0 0-16,0 0 0,1 1 15,-1-1-15,13-13 0,-12 13 0,-1 0 0,13 1 16,-13-14-16,14 13 16,-1 0-16,1-13 0,-1 13 0,1 0 15,-1-13-15,1 14 0,-1-1 0,14-13 16,-14 13-16,14 0 0,0-13 0,-14 14 15,14-1-15,-14-13 0,14 13 16,0 0-16,-1-13 0,1 14 0,0-1 16,-1-13-16,1 13 0,0-13 0,52 26 15,-39-26-15,-13 14 16,13-14-16,-13 13 0,12 0 0,1-13 16,0 13-16,0-13 0,0 14 0,-13-1 15,13-13-15,0 13 0,0 0 0,-1-13 16,-12 14-16,0-14 15,13 13-15,-27-13 0,14 13 0,-14-13 16,-12 0-16,12 0 0,-13 13 0,0-13 16,1 0-16,-1 0 0,0 0 0,0 0 15,1 0 1,-14-13-16,-14 0 16,1 13-1,0-13-15,0 13 0,-1 0 16,1-14-16</inkml:trace>
  <inkml:trace contextRef="#ctx0" brushRef="#br0" timeOffset="89957.4">14724 9816 0,'0'0'16,"0"-13"-16,-13 39 15,13-13-15,-13 1 16,13-1-16,0 13 0,-14 1 16,14-1-16,-13 1 0,13-14 15,0 13-15,-13 1 0,13-1 0,-13 1 16,13-1-16,0-12 0,0 12 0,-14-13 16,14 0-16,0 14 15,-13-14-15,13 0 0,0 14 16</inkml:trace>
  <inkml:trace contextRef="#ctx0" brushRef="#br0" timeOffset="90256.84">14579 10213 0,'0'0'0,"0"-13"0,-27 26 31,27 0-31,0 0 16,-13-13-16,13 14 0,0-1 15,0 0-15,0 0 0,0 1 16,0-1-16,13-13 16,-13 13-16,13-13 0,-13 13 15,14-13-15,-1 0 0,0 13 16,0-13-16,0 0 15,1 0-15,-1-13 0,13 0 16,-12 13-16,-1-13 0,0 13 16,0-13-16,1-1 0</inkml:trace>
  <inkml:trace contextRef="#ctx0" brushRef="#br0" timeOffset="91162.93">14459 9049 0,'-13'0'0,"26"0"0,-39 13 15,13-13-15,0 13 16,-1-13-16,1 27 0,0-14 0,0 0 16,-1 0-16,-12 14 0,13-1 15,0-12-15,-1 12 0,14-13 0,-13 14 16,0-14-16,13 0 0,-13 14 15,13-14-15,0 0 0,0 0 0,0 0 16,0 1-16,13-1 0,-13 0 16,13-13-16,0 0 0,1 13 0,-1-13 15,0 0-15,0-13 0,14 13 16,-14 0-16,13-13 0,-12 0 0,12-1 16,-13 1-16,14 0 0,-14 0 0,0 0 15,0 13-15,-13-14 0,14 1 16,-14 0-16,0 0 0,-14-1 15,1 14 1,0 0 0,0 0-16,-1 0 15,14 14-15,-13-14 16,40 13 15,-14-13-31,0 0 16,0 13-16,1-13 0,-14 13 15,13-13-15,0 14 0,0-1 16,1 0-16,-14 0 16,13-13-16,-13 13 0,0 1 15,0-1-15,-13 0 16,13-26 15,0-14-15,13 27-16,-13-13 15,0 0-15,13 13 0,0-13 16,-13 0-16,13 13 0,1-14 0,-14 1 16,13 13-16,0 0 0,0 0 0,-13-13 15,14 13-15,-1 0 0,0 0 16</inkml:trace>
  <inkml:trace contextRef="#ctx0" brushRef="#br0" timeOffset="91967.67">15068 8996 0,'0'0'15,"-13"26"1,0 1-1,13-14-15,0 13 0,-14 1 16,14-1-16,0 14 0,-13 0 0,13-14 16,0 40-16,0-39 0,0-14 15,0 13-15,0-12 0,0-1 0,0 0 16,0 0-16,0 1 0,0-1 16,0 0-16,-13-39 31,13 12-31,0-12 15,0-1-15,0 1 0,0-14 0,13 1 16,-13-1-16,13 0 0,1 1 0,-1 12 16,0 1-16,0-1 0,0 14 0,1 0 15,-1 0-15,0 13 0,0 0 0,1-14 16,-14 28-16,13-14 0,0 13 16,-13 0-16,0 0 0,0 0 15,0 1-15,-13-1 0,13 0 0,-13 0 16,-1 1-16,1-1 0,0 0 15,0 14-15,-1-27 0,1 13 16,0 0-16,0 0 0,26-39 31,-13 13-15,26-1-16,-12 1 16,-1 0-16,13 0 0,-12 13 15,-1 0-15,0 0 0,14 0 16,-27 13-1,13-13-15,-13 13 0,0 0 16,0 1-16,0-1 0,0 0 16,0 0-16,0 0 0,0 1 15,-13-1 1,13 0-16,26-39 31,-13 26-31,0-14 0,1 1 16,-1 0-16,0 0 15,0 13-15,1 0 16,-1 0-16,0 0 16,-13 13-16,13-13 0,-13 13 15,0 0-15,0 1 16,0-1-16,0 0 16,-13 0-16,13 1 0,0-1 15,0 0-15</inkml:trace>
  <inkml:trace contextRef="#ctx0" brushRef="#br0" timeOffset="92109.67">15438 9128 0,'-13'-13'31</inkml:trace>
  <inkml:trace contextRef="#ctx0" brushRef="#br0" timeOffset="92349.22">15558 9155 0,'-14'13'0,"14"13"31,0-12-31,0-1 15,14 0-15,12-13 16,-13 13 0,0-13-1,1 0-15,-14 13 16,13-13-16,0 14 16,0-14-16,1 0 15,-1 0-15,0 0 16,0 0-16,0 0 0,1 0 15,-1 0-15</inkml:trace>
  <inkml:trace contextRef="#ctx0" brushRef="#br0" timeOffset="93112.44">16285 10795 0,'13'0'16,"14"0"0,-14 0-16,13 0 0,1 0 15,-1 0-15,67-13 16,-53 13-16,-14 0 0,27-13 15,-13 13-15,-1 0 0,-12-14 0,-1 14 0,14 0 16,-13 0-16,-14-13 0,13 13 16,-13 0-16,1 0 0,-1 0 0,0 0 15,0 0-15,14 0 16,-27-13-16,13 13 0,-26 0 62,0-13-46</inkml:trace>
  <inkml:trace contextRef="#ctx0" brushRef="#br0" timeOffset="93417.68">16841 10610 0,'26'13'16,"-13"-13"-1,1 0-15,-1 13 0,0-13 0,0 13 16,1-13-16,12 14 0,-13-1 0,40 0 16,-40 0-16,1 1 15,12-14-15,-13 13 0,1 0 0,-1 0 16,-13 1-16,13-1 0,-13 0 15,-13 0-15,13 0 0,-13 1 0,-1-1 16,1 0-16,-13 0 0,12 1 16,1-1-16,0-13 0,0 13 15,-1 0-15,1 1 0</inkml:trace>
  <inkml:trace contextRef="#ctx0" brushRef="#br0" timeOffset="94064.43">17952 10279 0,'-13'0'0,"26"0"0,-39-13 0,12 13 0,-12 0 15,13 13-15,-14-13 0,14 0 16,0 0-16,-1 13 0,1-13 15,0 0-15,0 14 0,0-1 16,13 0-16,0 0 16,13 0-16,0 1 0,0-1 15,0 0-15,14 0 16,-14-13-16,0 14 0,1-1 0,-1 0 16,0-13-16,0 13 0,1 1 15,-14-1-15,0 0 16,0 0-16,-14-13 15,1 13-15,0-13 0,-14 14 0,14-1 16,-13-13-16,12 0 0,1 13 16,-13-13-16,13 0 0,-1 0 0,-12 0 15,13 0-15,-1 0 0,1 0 16,13-13-16,13 0 16,-13-1-1,14 1-15</inkml:trace>
  <inkml:trace contextRef="#ctx0" brushRef="#br0" timeOffset="94865.6">18137 10332 0,'0'0'15,"-13"0"1,0 0-16,0 0 15,-1 0 1,14 13-16,-13-13 16,13 13-16,-13-13 0,13 14 0,-13-14 15,13 13-15,-14 0 0,14 0 16,0 1-16,-13-14 16,13 13-1,13 0-15,1-13 16,-1-13-1,0 0 1,-13-1 0,13 14-16,-13-13 0,0 0 15,14 13-15,-14-13 16,0-1 0,13 14-1,-13-13-15,13 13 31,0 13-15,-13 1 0,13-14-1,-13 13-15,14-13 16,-14 13-16,13-13 31,-13 13-15,13-26 15,0 13-15,1-13-1,-1 13 1,0 13 0,0-13-1,0 0 16,1 13 16,-1-13-31,0 0 0,0 0-1,1 0-15,-1 0 16,-13-13-16,13 13 15,0-13-15,-13 0 16</inkml:trace>
  <inkml:trace contextRef="#ctx0" brushRef="#br0" timeOffset="95326.34">18441 10134 0,'0'-14'0,"-13"14"16,0 14-1,13-1-15,0 0 16,0 0-16,0 0 0,-13 1 16,13 12-16,0 1 0,0-1 0,0 1 15,0-1-15,0 0 0,0 41 16,0-41-16,0 1 0,-13 25 16,13-25-16,0-1 0,0-12 0,0 12 15,-14-13-15,14 0 0,0 1 16,0-1-16,0 0 0,0 0 15,14-39 17,-14-1-32,13 14 15,0-26-15,0 12 0,0-13 0,14 1 16,-14 12-16,0-12 0,1 12 0,-1 1 16,0 12-16,0 1 0,-13 0 15,14 13-15,-14-13 0,13 13 0,-13 13 16,0 0-1,0 0-15,0 1 16,-13-1-16,13 0 0,0 0 16,-14 14-16,1-14 0,13 0 0,-13 1 15,13-1-15,-13 0 0,13 0 0,-14 0 16,1 1-16</inkml:trace>
  <inkml:trace contextRef="#ctx0" brushRef="#br0" timeOffset="95669.56">18719 10160 0,'13'0'0,"-26"0"0,26-13 0,-26 39 31,0-26-15,13 13-16,0 1 0,-13-1 0,13 13 15,0-12-15,0-1 0,0 0 0,0 0 16,0 1-16,0-1 0,13 0 16,-13 0-16,13 0 0,0 1 15,1-14-15,12-14 16,-13 14-16,1-13 0,-1 13 16,-13-13-16,13 13 0,0-13 15,1 13 1,-14 13-1,0 0 1,13-13-16,-13 13 0,0 1 16,0-1-16,0 0 15,13-13-15,-13 13 0</inkml:trace>
  <inkml:trace contextRef="#ctx0" brushRef="#br0" timeOffset="97181.47">17952 11020 0,'0'26'47,"0"-12"-47,0-1 0,0 0 0,0 0 16,-13 0-16,13 1 0,0-1 15,0 0-15,0 0 0,0 1 16,0-1-16,0 0 0,0 0 0,0 1 16,0-1-1,0-53 32,0 27-47,0 0 16,0-1-16,0 1 0,13 13 0,-13-13 15,0 0-15,0-1 0,0 1 16,0 0-16,0 0 16,0 0-16,0-1 15,13 41 17,0-27-32,-13 13 0,0 0 15,14 0-15,-14 1 16,0-1-16,13-13 0,-13 13 0,13 0 15,0-26 17,1 13-32,-14-13 0,13 13 0,-13-13 15,13-1-15,0 14 0,-13-13 16,14 13-16,-14-13 0,13 0 16,0 13-1,0 13 1,-13 0-16,13 0 15,-13 1-15,0-1 16,14-13-16,-14 13 0,0 0 16,13-13-16,-13 14 15,13-14-15,0 13 16,1-13 0,-1 0-16</inkml:trace>
  <inkml:trace contextRef="#ctx0" brushRef="#br0" timeOffset="97974.21">18322 11165 0,'14'-13'0,"-28"26"0,28-39 0,-14 13 16,13 13-16,-13-14 0,0 1 15,0 0 1,0 0-16,-27 26 47,27 0-47,0 0 15,0 1-15,0-1 16,0 0-16,14 0 16,-1 1-16,0-14 15,-13 13-15,13-13 0,1 0 0,-1 0 16,0 0-16,0 0 0,0 0 15,1 0-15,-1 0 0,0 0 0,0-13 16,1 13-16,-1-14 0,0 1 16,0 0-16,1 0 0,-14-1 15,13 14-15,-13-13 16,13 0-16,-13 0 0,-26 26 62,26 0-46,0 0 15,0 1-31,13-1 32,0-26-17,0 13 1,0 0-16,1-14 15,-1 14 17,0 14-17,0-14 1,1 13 15,-1-13-15,-13 13 15,13-13 0,0-13-15,0 13-16,-13-13 16,14 13-16,-1 0 15,-13 13 1,0 0-1</inkml:trace>
  <inkml:trace contextRef="#ctx0" brushRef="#br0" timeOffset="98340.57">17833 11827 0,'0'0'0,"0"-13"0,13 39 32,-13-13-32,0 1 0,0-1 0,0 0 15,0 0-15,0 0 16,0 1-16,0-1 0,13 0 0,-13 0 16,0 1-16,0-1 0,0 0 15,0 0-15,0 1 0,0-1 16</inkml:trace>
  <inkml:trace contextRef="#ctx0" brushRef="#br0" timeOffset="98659.58">17899 11800 0,'66'-39'32,"-66"52"-32,13-13 0,1 13 15,-1 0-15,0-13 0,0 27 0,1-14 16,-1 0-16,0 1 0,-13-1 16,13 13-16,-13-13 0,0 1 0,0-1 15,0 0-15,0 14 0,0-14 16,-13 0-16,0 0 0,13 1 0,-13-1 15,-1 0-15,1 0 0,-13 0 16,12-13 0,1 0-16</inkml:trace>
  <inkml:trace contextRef="#ctx0" brushRef="#br0" timeOffset="99088.7">18203 11933 0,'14'-14'0,"-14"41"32,0-14-17,0 0-15,0 14 16,0-14 0,-14-13-16,14 13 15,0 1 1</inkml:trace>
  <inkml:trace contextRef="#ctx0" brushRef="#br0" timeOffset="99199.35">18230 11800 0,'0'0'0,"-13"-13"31</inkml:trace>
  <inkml:trace contextRef="#ctx0" brushRef="#br0" timeOffset="99475.58">18362 11853 0,'13'0'16,"-13"14"-1,0-1-15,14 0 0,-14 0 16,0 0-16,13 1 0,-13-1 16,13 0-16,-13 0 0,0 1 15,0-1-15,13 0 0,-26-13 16,13 13-16,0 1 16,-13-1-16,0 0 0,-1-13 15,14 13-15,-13-13 0,0-13 16,13 0-1</inkml:trace>
  <inkml:trace contextRef="#ctx0" brushRef="#br0" timeOffset="99672.54">18468 11721 0,'13'-26'16,"-26"52"-16,26-66 0,0 54 31,-13-1-15,14 0-16,-14 0 0,0 1 15,0-1-15,0 0 0,0 0 0,13 0 16,-13 1-16,0-1 0,0 0 16,0 14-16,0-14 0,0 0 0,0 0 15,0 0-15,0 1 0,0-1 16,-13 0-16</inkml:trace>
  <inkml:trace contextRef="#ctx0" brushRef="#br0" timeOffset="99839.79">18455 11919 0,'0'0'15,"0"-13"-15,0 0 16,13 13-16,0-13 0,0 13 16,-13-13-16,14 13 0,-1 0 15,0-14 1,0 14-16,1 0 0</inkml:trace>
  <inkml:trace contextRef="#ctx0" brushRef="#br0" timeOffset="100139.51">18680 11840 0,'0'13'31,"0"1"-31,13-1 15,-13 0-15,0 0 0,0 0 16,0 1-16,0-1 16,0 0-16,0 0 15,13-39 17,-13 13-32,13-1 15,-13 1-15,13 0 16,-13 0-16,14 0 15,-14-1-15,13 1 16,-13 0-16,13 0 16,0 13-16,1-14 0</inkml:trace>
  <inkml:trace contextRef="#ctx0" brushRef="#br0" timeOffset="100288.05">18838 11774 0,'0'0'16,"0"-13"-16,14 39 15,-14-13 1,0 1-16,0 12 15,0-13-15,-14-13 16,28 14-16,-28-1 0,14 0 16,0 0-16,0 0 31</inkml:trace>
  <inkml:trace contextRef="#ctx0" brushRef="#br0" timeOffset="100443.92">18918 11708 0,'0'0'0,"-14"-13"15,28-1 32</inkml:trace>
  <inkml:trace contextRef="#ctx0" brushRef="#br0" timeOffset="100971.8">19103 11483 0,'-13'40'0,"-1"39"16,1-53-1,13 1-15,0-1 0,0 1 0,0-14 16,0 14-16,-13-14 0,13 0 15,0 13-15,0-12 0,0-1 16,0 0-16,26-13 31,-12-13-31,-14 0 16,13-1-16,13 14 0,-12-13 0,-1 0 16,0 0-16,0 13 0,1 0 0,-1-13 15,0 13-15,0 0 0,0 0 16,1 0-16,-1 0 15,-13 13-15,13-13 0,-13 13 0,0 0 16,-13 14-16,13-14 0,-13-13 16,13 13-16,-14 0 15,1 1-15,0-1 0,0-13 0,0 13 0,-1-13 16,1 13-16,0-13 0,0 13 0,-1-13 16,1 0-16,0 14 15,39-41 16</inkml:trace>
  <inkml:trace contextRef="#ctx0" brushRef="#br0" timeOffset="101920.57">19381 11708 0,'13'0'15,"-26"13"32,13 0-47,0 1 0,0-1 16,0 13-1,13-26-15,-13 13 0,13-13 16,0 0-16,1 0 0,-1 0 16,-13-13-16,13 13 0,0-13 15,1 0-15,-1 0 0,0 13 16,-13-14-16,13 1 0,0 0 0,-13 0 15,14-1-15,-14 1 0,13 0 16,0 0-16,-13-1 16,13 14-1,-13 14 17,0-1-17,0 0-15,0 0 0,0 1 16,0-1-16,0 0 0,0 0 15,14-13-15,-14 14 16,13-1-16,0-13 16,0 0-16,14 0 15,-14 0-15,0-13 0,0 13 16,1-14-16,-1 1 0,0 0 0,0 0 16,1-14-16,-1 14 0,0-14 15,0 1-15,1-14 0,-1 14 0,-13-1 16,13 1-16,0-1 0,-13 1 0,13 13 15,-13 0-15,0-1 0,0 1 16,14 0-16,-28 39 31,14-12-31,0 12 0,0-13 16,0 14-16,0-14 0,0 13 16,0-12-16,-13 25 15,13-12-15,0-14 0,0 13 0,0-12 0,0-1 16,0 0-16,0 0 0,-13 1 15,13-1-15,-13-13 16,13 13-16,-13-13 0,-1 0 16,1 0-16,0-13 15,0 13-15,-1-13 16,1 13-16,13-14 16,-13 14-16,26-13 15,0 0 1,1 0-16,-1 13 15,0-14-15,0 14 0,1-13 0,12 13 16,-13-13-16,0 0 0,1 13 16,12-13-16,-13 13 0,1 0 0,-1-14 15,0 14-15,0 0 16,0 0-16,-13 14 0,14-14 16,-14 13-16,13-13 0,-13 13 15,0 0-15,0 0 0,13 1 16,-13-1-16,0 0 15,0 0-15,0 1 0,0-1 16,0 0-16,0 0 16,13-13-16,1-13 31,-1 0-31,-13 0 16</inkml:trace>
  <inkml:trace contextRef="#ctx0" brushRef="#br0" timeOffset="102045.72">20161 11509 0,'0'-13'15,"-13"13"-15,13-13 0,0 0 16,-13 13 0,13-14-1</inkml:trace>
  <inkml:trace contextRef="#ctx0" brushRef="#br0" timeOffset="102310.38">20174 11562 0,'0'27'0,"0"-54"0,0 67 0,-13-40 0,13 13 15,13 0-15,-13 1 16,14-14-16,-1 0 16,13 0-16,1-14 15,-14 14-15,-13-13 16,13 13-16,1-13 0,-14 0 0,13 0 15,-13-1-15,0 1 16,0-13-16,-13 12 0,-1 1 16,1 0-16,13 0 0,-13 13 15,0-14-15,13 1 0,-14 13 16,1-13-16,0 0 0,13 0 16,-13-1-16,13 1 0,0 0 0</inkml:trace>
  <inkml:trace contextRef="#ctx0" brushRef="#br0" timeOffset="102837.5">19844 10530 0,'0'0'0,"26"0"31,-13-13-31,14 13 16,-1 0-16,1 0 0,12 0 0,1 0 16,13-13-16,-13 13 0,66 0 15,-67 0-15,1 0 0,13 0 16,-27-13-16,14 13 0,-27 0 0,14 0 15,-1 0-15,-13 0 0,1 0 16,12-13-16,-13 13 0,1 0 16,-1 0-16,0 0 0,0 0 15,1-14 1,-1 1 0,-13 0 15</inkml:trace>
  <inkml:trace contextRef="#ctx0" brushRef="#br0" timeOffset="103137.34">20479 10306 0,'26'13'15,"-13"-13"1,1 13-16,-1-13 0,0 13 16,14-13-16,-14 13 0,13 1 0,-12-1 15,12-13-15,-13 13 0,0 0 0,1 1 16,-1-1-16,0-13 0,0 13 16,1 0-16,-14 1 0,13-14 15,-13 13-15,0 0 0,0 0 0,0 0 16,0 1-16,-13-14 0,13 13 15,-14 0-15,14 0 0,-13 1 16,0-1-16,0-13 0,13 13 16,-14 0-16,1-13 0,13 13 0,-13-13 0</inkml:trace>
  <inkml:trace contextRef="#ctx0" brushRef="#br0" timeOffset="104291.63">21669 8652 0,'14'13'16,"-1"0"-16,-13 1 16,13-1-16,-13 13 0,13 14 0,-13 0 15,0-1-15,14 14 16,-14 0-16,0 0 0,13 26 0,-13-12 15,0 12-15,13 0 0,-13 1 0,0 12 16,0 1-16,0 26 0,0-13 0,0-14 16,0 27-16,0 1 0,0-15 15,0 14-15,0-26 0,0 13 0,0 13 16,13-40-16,-13 14 0,13-14 0,-13 14 16,14-14-16,-1-13 0,0 14 15,-13-14-15,13-13 0,1 13 0,-14-26 16,13-1-16,-13 1 0,13-13 0,-13-14 15,0 13-15,13-13 0,-13 1 16,0-41 15,-13 14-31,13 0 16,-13 0-16,0-1 0</inkml:trace>
  <inkml:trace contextRef="#ctx0" brushRef="#br0" timeOffset="104793.54">20876 11245 0,'26'0'31,"1"0"-31,-14 0 16,26 0-16,-12 0 0,26 0 15,0-13-15,13 13 0,0 0 0,13 0 0,14 0 16,0 0-16,-1 0 0,1 0 15,13 0-15,0-14 0,26 14 16,0 0-16,14 0 0,-14-13 0,0 13 16,14 0-16,-1 0 0,1 0 0,-1 0 15,1 13-15,-1-13 0,-12 0 16,12 14-16,-13-14 0,133 13 16,-159 0-16,0-13 0,-14 13 0,1-13 15,13 0-15,-14 13 0,1-13 0,-14 0 16,1 14-16,-14-14 0,-13 0 15,-14 0-15,1 0 0,0 0 16,-27 0-16,13 0 0,-12-14 0,-1 14 16,-13-13-16,0 0 15,-13 13-15,-1-13 16,1 13-16,-13-13 0,-1 13 0</inkml:trace>
  <inkml:trace contextRef="#ctx0" brushRef="#br0" timeOffset="105816.12">23032 9618 0,'-26'-27'32,"26"14"-32,0 0 15,0-1-15,13 1 0,0 0 16,0 13-16,14-13 15,-14 0-15,13 13 0,-12-14 0,12 14 16,-13 0-16,14 0 0,-1 0 0,-13 14 16,1-14-16,12 13 0,-26 13 15,13-13-15,1 14 0,-14-14 0,0 14 16,0-1-16,0 1 0,-27 39 16,14-27-16,0 1 0,-1-14 15,-12 14-15,13-13 0,0 12 0,-1-12 16,1-1-16,0 1 0,13-1 15,-13-13-15,13 14 0,0-14 0,0 0 16,0 1-16,0-1 0,0 0 0,13 0 16,0 0-16,-13 1 15,13-14-15,1 13 0,-1 0 16,0-13-16,-13 13 0,13-13 0,-13 14 16,13-14-16,-13 13 0</inkml:trace>
  <inkml:trace contextRef="#ctx0" brushRef="#br0" timeOffset="105960.71">23244 10438 0,'13'-27'62,"0"27"-46,-13-13-16</inkml:trace>
  <inkml:trace contextRef="#ctx0" brushRef="#br0" timeOffset="112937.38">17965 9737 0,'-26'-14'15,"13"1"-15,-1 13 0,1-13 16,0 13-16,0-13 0,-1 13 0,-12 0 15,13-13-15,-1 13 0,-25 0 16,12 0-16,14 0 0,-40 26 16,27-13-16,-1 0 0,-26 40 15,27-39-15,-1 25 16,1-12-16,-1-1 0,14 14 0,-26 26 16,12-26-16,14-1 0,0 1 15,-1 0-15,1-1 0,0-12 16,0 13-16,13-1 0,-13 1 0,13 0 15,-14-1-15,1 1 0,13 0 0,-13-1 16,13 41-16,-13-41 0,13 1 16,-14 0-16,14 0 15,0-1-15,0 1 0,0 13 0,-13-13 0,13-1 16,0 1-16,0 0 0,0-1 16,0 1-16,-13 0 0,13-1 15,0-12-15,0-1 0,0 27 0,0-13 16,0-14-16,0 1 0,13 52 15,-13-52-15,0 12 0,0 1 0,0 0 16,0-14-16,13 14 0,-13-14 16,14 14-16,-14-14 0,0 1 0,13 26 15,0-27-15,0 14 0,-13-14 16,14 1-16,-1-1 0,0 1 16,13 26-16,-26-27 15,14 1-15,-1-1 0,0 1 0,0-1 16,27 14-16,-27-14 0,14 1 15,-14-14-15,13 13 0,-12 1 16,12-1-16,-13-13 0,14 14 0,-1-14 16,1 14-16,-14-14 0,13 0 0,1 13 15,-1-12-15,1-1 0,-1 13 16,1-12-16,12-1 0,-12 0 0,-1 0 16,-12 1-16,25-1 0,-12 13 15,12-13-15,-12 1 0,-1-1 0,14 0 16,0 0-16,-1-13 0,1 14 15,-14-1-15,27 0 0,-13 0 0,0 1 16,-1-1-16,1-13 0,0 13 0,0 0 16,12 0-16,-12 1 0,13-1 0,-13-13 15,13 13-15,0 0 0,-1-13 16,1 14-16,0-14 0,0 13 0,66 0 16,-66-13-16,13 0 0,-13 0 15,13 0-15,-13 0 0,13 0 16,1 0-16,-14 0 0,13 0 0,-13 0 15,66-13-15,-66 13 0,-1-13 16,1 13-16,14-14 0,-15 1 0,1 0 16,0 0-16,-13-1 15,0 1-15,13 0 0,13-27 16,-27 27-16,-12 0 0,13-14 0,-27 14 16,13 0-16,1-14 0,-14 14 15,13 0-15,-12 0 16,-1 0-16,0-1 0,-13-12 0,13 13 15,1-1-15,-1-12 0,0 13 0,0-27 16,0 27-16,1-14 0,-14 14 16,13 0-16,-13-14 0,13 14 0,-13 0 15,0-14-15,13 14 0,-13-13 0,0 13 16,0-1-16,0-12 0,0 13 16,14-14-16,-14 14 0,0 0 0,0-14 15,0 14-15,0 0 0,0 0 0,0-1 16,0-12-16,-14 13 0,14-1 15,0-12-15,0 13 0,0 0 16,-13-14-16,13 14 0,0 0 0,0-14 16,-13 14-16,13 0 0,0-14 0,0 14 15,-13 0-15,13-14 0,0 14 0,-14 0 16,1-27-16,13 27 16,-13-13-16,13-1 0,-13 14 15,0 0-15,13-1 0,-14-12 16,1 13-16,13-1 0,-13 1 15,0 0-15,-1-13 0,1 12 0,0 1 16,0 0-16,0 0 0,-1-1 0,-12 1 16,13 0-16,-1-14 0,1 14 0,0 0 15,-14 0-15,14 0 0,-13-14 16,-1 14-16,14 0 0,-13-14 16,-1 14-16,14 0 0,-14-14 15,14 14-15,-13 0 16,13 0-16,-1-1 0,1 1 15,0 0-15,0 13 0,-1-13 0,1-1 16,0 1-16,0 13 0,-1-13 0,1 0 16,0 13-16,0-14 15,0 1-15,-1 13 0,1-13 0,0 0 16,0 13-16,-14-27 0,14 27 16,0-13-16,-1 13 0,1-13 15,0 0-15,0 13 0,0-14 0,-1 1 16,1 13-16,0-13 0,0 0 15,-1 13-15,1-13 0,-13-1 0,13 14 16,-1-13-16,1 0 0,0 0 0,0 13 16,-1-14-16,-12 1 0,13 13 0,-1-13 15,1 0-15,0 13 0,-27-14 16,27 1-16,0 13 0,0-13 16,-14 0-16,14 13 0,0-13 0,-1 13 15,1-14-15,0 1 0,0 13 16,0-13-16,-1 0 0,1-1 0,13 1 15,-13 0-15,0 0 0,13-1 16,-27-12-16,27 13 0,-13 0 16,13-1-16,0 1 0,-13 0 0,13 0 15,-13-1-15,13-12 0,0 13 16,-14 0-16,14-1 0,-13-12 0,13 13 16,0-1-16,-13-12 0,13 13 0,-13-40 15,-1 13 1,1 27-16,13 0 0,-13-14 0,13 14 15,-13 0-15,-1-1 0,1 1 16,13-13-16,-13 13 0,0 13 0,0-14 16,-1 1-16,1 0 0,0 0 0,0-1 15,-14 1-15,14 13 0,0-13 16,-14 0-16,14-1 0,0 14 0,-14-13 16,1 0-16,13 13 0,-1-13 0,-12 13 15,13-13-15,-14 13 0,14 0 16,0-14-16,-14 14 0,14-13 0,-13 13 15,12 0-15,1-13 0,0 13 0,-14 0 16,14-13-16,0 13 0,0 0 16,0-14-16,-1 14 0,1 0 15,0 0-15,0-13 0,-1 13 16,14-13 0</inkml:trace>
  <inkml:trace contextRef="#ctx0" brushRef="#br0" timeOffset="114177.39">18719 9948 0,'0'-13'31,"-13"0"-15,0 13-16,0 0 16,13-13-16,-14 13 15,1 0-15,0 0 0,0-14 0,-1 14 16,1 0-16,0-13 0,-13 13 0,12-13 15,-12 13-15,13-13 0,-1 13 16,-12-14-16,13 14 0,-14-13 16,14 13-16,0-13 0,-14 13 0,-12-13 15,25 0-15,-12 13 0,13 0 16,-14-14-16,14 14 0,-13-13 0,-1 13 16,14 0-16,-14 0 0,1 0 15,13-13-15,-14 13 0,1 0 0,-1 0 0,1 0 16,-1 0-16,1 0 15,13 13-15,-14-13 0,1 0 0,-1 0 16,1 0-16,-1 0 0,1 0 0,13 0 16,-27 13-16,14-13 15,12 0-15,1 0 0,0 0 0,0 0 16</inkml:trace>
  <inkml:trace contextRef="#ctx0" brushRef="#br0" timeOffset="115782.32">20518 10306 0,'-13'0'0,"13"13"78,13 0-63,-13 0 1,14-13-16,-14 13 0,13-13 16,0 14-16,0-1 15,1-13-15,-1 13 0,0-13 16,0 13-16,1-13 0,-1 14 16,0-14-16,0 0 0,0 13 0,14-13 15,-27 13-15,13-13 0,0 0 16,1 0-16,-1 13 15,0-13-15,0 0 16,0 14 0,1-14-1,-28 26 17,1-13-17,0 0 1,0 1-16,13-1 15,-13 0-15,-1-13 0,14 13 0,-13 1 16,0-1-16,13 0 0,-13 0 16,-1 0-16,1 1 0,13-1 15,-13-13-15,13 13 0,-13 0 0,0 1 16,13-1 0,-14-13-1,14 13-15,-13 0 31,0-13 1,0 0-1</inkml:trace>
</inkml:ink>
</file>

<file path=ppt/ink/ink1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18.852"/>
    </inkml:context>
    <inkml:brush xml:id="br0">
      <inkml:brushProperty name="width" value="0.05" units="cm"/>
      <inkml:brushProperty name="height" value="0.05" units="cm"/>
      <inkml:brushProperty name="ignorePressure" value="1"/>
    </inkml:brush>
  </inkml:definitions>
  <inkml:trace contextRef="#ctx0" brushRef="#br0">1 627,'15'-41,"-9"28,12-41,-2-2,-2 0,11-94,-10 55,-27 167,10-40,0-4,3 49,-1-71,1-1,0 1,0 0,0-1,0 1,1-1,0 1,0-1,1 0,0 0,0 0,0 0,0 0,7 6,-8-9,1 0,0 0,0-1,0 1,0-1,0 1,0-1,0 0,1-1,-1 1,0-1,0 1,1-1,-1 0,0 0,1 0,-1 0,0-1,0 0,1 1,-1-1,0 0,0-1,0 1,0 0,0-1,0 0,0 0,-1 0,5-3,2-2,0 0,-1-1,0 0,0 0,-1 0,0-1,11-19,10-36,-1-1,18-76,-33 104,-8 19,-4 14,0 1,1 0,-1 0,1 0,0-1,0 1,1 0,-1 0,0 0,1 1,0-1,2-3,-3 6,-1 1,1-1,0 1,-1-1,1 1,-1 0,1-1,0 1,-1 0,0 0,1-1,-1 1,1 0,-1 0,0 0,0-1,1 1,-1 0,0 0,0 0,0 0,0-1,0 1,0 0,-1 2,4 27,-2 14,-1-17,0 0,2-1,1 1,1-1,11 38,-13-58,1 1,0-1,-1-1,2 1,-1 0,1-1,0 1,0-1,0 0,1-1,0 1,0-1,0 0,0 0,0 0,1-1,0 0,0 0,0 0,0-1,0 0,1 0,-1-1,0 1,1-1,-1-1,12 1,1-1,-2 0</inkml:trace>
</inkml:ink>
</file>

<file path=ppt/ink/ink1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19.629"/>
    </inkml:context>
    <inkml:brush xml:id="br0">
      <inkml:brushProperty name="width" value="0.05" units="cm"/>
      <inkml:brushProperty name="height" value="0.05" units="cm"/>
      <inkml:brushProperty name="ignorePressure" value="1"/>
    </inkml:brush>
  </inkml:definitions>
  <inkml:trace contextRef="#ctx0" brushRef="#br0">0 60,'7'-3,"5"-5,4 0,3 0,1 2,1-1,3 0,1 2,-1 1,-1 2,0 1,-2 0,-5 1</inkml:trace>
</inkml:ink>
</file>

<file path=ppt/ink/ink1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19.970"/>
    </inkml:context>
    <inkml:brush xml:id="br0">
      <inkml:brushProperty name="width" value="0.05" units="cm"/>
      <inkml:brushProperty name="height" value="0.05" units="cm"/>
      <inkml:brushProperty name="ignorePressure" value="1"/>
    </inkml:brush>
  </inkml:definitions>
  <inkml:trace contextRef="#ctx0" brushRef="#br0">1 58,'6'-4,"6"0,5 0,1 0,2-1,1-1,-1 1,1 1,-1-1,0-1,0 1,0 2,-4 0</inkml:trace>
</inkml:ink>
</file>

<file path=ppt/ink/ink1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22.952"/>
    </inkml:context>
    <inkml:brush xml:id="br0">
      <inkml:brushProperty name="width" value="0.05" units="cm"/>
      <inkml:brushProperty name="height" value="0.05" units="cm"/>
      <inkml:brushProperty name="ignorePressure" value="1"/>
    </inkml:brush>
  </inkml:definitions>
  <inkml:trace contextRef="#ctx0" brushRef="#br0">1 219,'23'-25,"-21"22,1-1,0 1,-1 0,1-1,1 2,-1-1,0 0,1 0,-1 1,1 0,0 0,-1 0,1 0,0 1,0-1,0 1,1 0,-1 0,0 0,0 1,1 0,-1 0,5 0,59 14,-53-10,-1 0,0-1,1-1,19 1,-30-3,1-1,-1 1,0-1,1 0,-1 0,0 0,1 0,-1-1,0 0,0 0,0 0,0 0,-1-1,1 1,0-1,-1 0,0 0,5-5,-3 1,0-1,-1 1,0-1,0 0,-1 0,5-12,-6 11,1 1,0 0,1 0,0 0,0 1,6-8,0 4</inkml:trace>
</inkml:ink>
</file>

<file path=ppt/ink/ink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1:38:04.722"/>
    </inkml:context>
    <inkml:brush xml:id="br0">
      <inkml:brushProperty name="width" value="0.05292" units="cm"/>
      <inkml:brushProperty name="height" value="0.05292" units="cm"/>
      <inkml:brushProperty name="color" value="#0070C0"/>
    </inkml:brush>
  </inkml:definitions>
  <inkml:trace contextRef="#ctx0" brushRef="#br0">9657 2593 0,'14'0'31,"-14"-13"-31,-27 13 31,14 0-31,0 0 16,-1 0-16,1 0 0,0 0 0,0 0 16,-14 0-16,14 0 0,0 13 15,0-13-15,-1 0 0,1 0 0,0 13 16,0-13-16,-1 13 0,1 1 16,13-1-16,-13-13 15,13 13-15,0 0 0,-13 1 16,13 25-16,-14 1 15,14-27-15,-13 14 0,13-1 16,0 1-16,-13-1 0,13 0 0,0 1 16,0-1-16,-13 1 0,13-14 0,0 13 15,0 1-15,0-14 0,0 0 0,-13 14 16,13-14-16,0 0 0,0 1 16,0 12-16,0-13 0,0 0 15,-14 1-15,14-1 0,0 0 16,0 0-16,0 1 15,0-1 1,14 0-16,-1-13 0,-13 13 16,13-13-16,0 0 0,0 14 15,1-14-15,-1 0 0,0 0 16,0 13-16,1-13 0,-1 0 0,0 0 16,0 0-16,1 0 0,-1 0 15</inkml:trace>
  <inkml:trace contextRef="#ctx0" brushRef="#br0" timeOffset="1095.83">450 3784 0,'0'0'0,"13"13"16,0-13-16,0 0 0,14 0 0,-1 0 15,1 0-15,26 0 0,0 0 0,0 0 16,0 0-16,26-13 0,-13 13 0,13 0 15,1 0-15,-14 0 0,13 0 16,-13-14-16,-13 14 0,14 0 0,-15 0 16,1 0-16,0 0 0,0 0 0,0 0 15,-13 0-15,-14 0 0,14 0 16,-14 0-16,14 0 0,-13 0 16,-14 0-16,13 0 0,1 0 0,-14 0 15,0 0-15,0 0 0,1 0 16,-1 0-16,0 0 0,0 0 15,-39-13 32,13 13-31</inkml:trace>
  <inkml:trace contextRef="#ctx0" brushRef="#br0" timeOffset="7688.1">3572 3281 0,'26'-13'63,"-12"13"-47,-1 0-1,0 0 1,0 0-1,0-14 1,-13 28 15,14-1 1,-14 0-32,0 0 15,0 1-15,0-1 16,0 0-1,0 0-15,0 0 0,0 1 0,0-1 16,0 0-16,0 0 0,0 14 0,0-14 16,0 0-16,0 0 0,0 14 15,0-14-15,0 0 0,0 1 0,0-1 16,0 0-16,0 0 0,13 1 16,-13-1-16,0 0 0,0 0 0,0 0 15,0 1-15,0-1 0,0 0 16,13 0-16,-13 1 15,0-1 1,0 0 0,0 0 15,-13-13-15,0 0-1,-1 0 1,1 0-16,0 14 15,0-14-15,0 0 0,-14 0 16,14 0-16,0 0 16,-1 13-16,1-13 0,-13 0 0,12 0 15,1 13-15,0-13 0,0 0 16,0 0-16,-1 13 0,1-13 16,0 0-16,0 0 15,-1 0-15,1 0 0,13 13 16,-13-13-1,0 14 32,26-41 47,-13 14-78</inkml:trace>
  <inkml:trace contextRef="#ctx0" brushRef="#br0" timeOffset="12481.78">4683 3757 0,'0'-13'15,"0"0"1,13 39 31,-13-13-47,0 1 0,14-1 15,-14 0-15,0 0 16,13 0-16,0 1 0,-13 12 0,13-13 16,0 1-16,-13 12 0,14-13 0,-1 1 15,0-1-15,0 13 0,1-13 0,12 1 16,-13-1-16,14 0 16,-14 0-16,13-13 0,-12 14 0,12-14 15,1 13-15,-1-13 0,-13 13 0,14-13 16,-14 0-16,13 0 0,1 13 15,-1-13-15,-12 0 0,12 0 0,1 0 16,-14-13-16,13 13 0,1 0 0,-1 0 16,-13-13-16,14 13 0,-1 0 15,1-13-15,-14 13 0,13-14 0,1 1 16,-1 0-16,-12 13 0,25-27 0,-12 27 16,-1-13-16,14 0 0,-14 0 15,14 0-15,-14-1 0,14 1 0,-13 0 16,12 0-16,-12 13 0,-1-14 15,14 1-15,0 13 0,-14-13 0,14 0 16,-14 13-16,14-14 0,0 14 16,-14-13-16,14 13 0,-1-13 0,1 13 15,-13-13-15,25 13 0,-12-13 0,0-1 16,0 14-16,12-13 0,-12 13 16,13-13-16,-13 0 0,13 13 0,-14-14 15,14 14-15,0-13 0,-13 13 0,13 0 16,0-13-16,-14 13 0,1 0 15,0 0-15,-14 0 0,14 0 0,0 0 16,-14 0-16,14 0 0,-14 13 0,14-13 16,-14 0-16,1 0 15,12 13-15,-12-13 0,13 14 0,-1-14 16,-12 13-16,-1 0 0,1-13 0,65 27 16,-65-14-1,-1-13-15,1 13 0,-1 0 0,-13-13 16,14 13-16,-1 1 0,-12-14 0,-1 13 15,13-13-15,-13 13 0,1 0 16,-1-13-16,0 14 0,0-14 16,1 13-16,-1 0 0,0-13 15,-13 13-15,13 1 0,0-14 0,-13 13 16,14-13-16,-14 13 0,13 0 16,-13 0-1,13-13-15,-13 14 16,13-14-1,14-14 17,-14 14-17,-13-13-15,13 13 0,1-13 16,-1 0-16,0 0 0,0 13 16,0-14-16,1 14 0,-1-13 15,13 13-15,-12-13 0,12 0 16,1 13-16,-1-14 0,0 14 0,1-13 15,13 13-15,-14-13 0,14 0 16,-1 13-16,1 0 0,0-14 0,-14 14 16,14 0-16,13-13 0,-13 13 0,-14 0 15,14 0-15,-14 0 0,27 0 16,-13 0-16,13 0 0,-14 0 0,1 0 16,13 0-16,-13 0 0,-1 0 0,1 0 15,-14 13-15,27-13 0,-13 0 0,13 0 16,-13 0-16,13 0 0,0 0 15,-1 0-15,1 0 0,0 0 0,0 0 16,0 0-16,0 0 0,0 0 16,-13 14-16,13-14 0,-1 0 15,1 0-15,0 0 0,0 0 0,-13 13 16,13-13-16,0 0 0,-14 0 0,1 13 16,-13-13-16,12 0 0,-12 0 15,12 0-15,-12 0 0,-1 0 0,1 0 16,-1 0-16,-13 0 0,14 0 0,-1 0 15,-12 0-15,12 0 0,-13-13 16,1 13-16,12 0 0,-13-13 16,0 13-16,1-14 0,-1 14 15,0 0-15,-13-13 0,13 13 0</inkml:trace>
  <inkml:trace contextRef="#ctx0" brushRef="#br0" timeOffset="13557.02">12078 3744 0,'0'26'0,"13"-26"15,-13 14-15,14-14 0,-1 13 0,0 0 16,0-13-16,1 13 0,-1 0 16,0 1-16,14-1 0,-14 0 0,13 0 15,1 1-15,-14-1 0,13-13 0,1 26 16,12-26-16,-12 14 0,-1-1 16,1-13-16,-1 0 0,1 13 0,-1-13 15,14 0-15,-14 0 0,1 0 0,-1 0 16,1 0-16,-1-13 0,1 13 15,-1 0-15,1 0 0,-1-13 0,1 13 16,-1 0-16,0-14 0,-12 14 0,12 0 16,1-13-16,-1 13 0,1-13 15,-1 0-15,0 13 0,1 0 16,-1-14-16,-12 14 0,12-13 0,0 13 16,1-13-16,-1 13 0,1 0 0,-1 0 15,1 0-15,-1-13 0,1 13 16,-1 13-16,1-13 0,-1 0 0,1 0 15,-1 0-15,0 13 0,1-13 0,-1 13 16,1-13-16,-1 0 0,1 14 16,-1-14-16,14 0 0,-14 0 15,1 13-15,12-13 0,-12 0 0,-1 0 16,14 0-16,-13 0 0,12 0 0,-12-13 16,26 13-16,-14-14 0,1 14 15,13-13-15,-13 0 0,-1 13 0,1-13 16,0-1-16,-1 14 0,-12-13 0,-1 0 15,-13 13-15,14-13 0,-14 13 16,-13-13-16</inkml:trace>
  <inkml:trace contextRef="#ctx0" brushRef="#br0" timeOffset="14553.41">278 4366 0,'26'0'0,"-12"13"0,12-13 15,0 0-15,14 0 0,13 0 0,0 0 16,26 0-16,-13 0 0,14 0 15,-1 13-15,-13-13 0,14 0 0,-1 0 16,0 0-16,14 0 0,-27 0 0,14 0 16,-14 0-16,-13 0 0,0 0 0,0 0 15,-1-13-15,-12 13 0,0 0 16,-14 0-16,1 0 0,-1 0 16,1 0-16,-14 0 0,0 0 0,14 0 15,-14 0-15,0 0 0,0 0 16,0 0-1,-13 13-15</inkml:trace>
  <inkml:trace contextRef="#ctx0" brushRef="#br0" timeOffset="15936.17">7435 3757 0,'13'53'32,"-13"-40"-32,-13 14 0,13 12 0,0 1 15,0-13-15,-13 12 0,13 1 16,0-14-16,0 1 0,-14-1 0,14-12 16,0 12-16,-13 0 0,13-12 0,0-1 15,0 13-15,0-12 0,-13-1 16,13 0-16,0 0 0,0 0 15,0 1-15</inkml:trace>
  <inkml:trace contextRef="#ctx0" brushRef="#br0" timeOffset="16496.99">7408 3797 0,'-39'13'15,"25"0"-15,1-13 0,0 13 16,13 1-16,-13-14 0,-1 13 15,1 0-15,0 0 0,0 1 16,0-1-16,-1 0 16,1 0-16,0-13 15,39-26 17,-12 13-17,-1-1-15,0 1 0,0 13 0,0-13 16,1 0-16,-1-1 0,13 1 0,-12 13 15,-1-13-15,0 13 0,0 0 16,1 0-16,-1 0 0,0 0 0,0 13 16,0-13-16,1 13 0,-1 1 0,0-14 15,0 13-15,1 0 0,-1 0 16,0-13-16,0 14 0,1-1 16,-1 0-16,0-13 0,0 13 0</inkml:trace>
  <inkml:trace contextRef="#ctx0" brushRef="#br0" timeOffset="29705.02">9776 6112 0,'-13'-13'16,"53"13"0,-14 0-16,1 0 0,-1 13 15,27-13-15,0 0 0,0 0 0,26 13 16,-13-13-16,14 0 0,12 13 0,-12-13 16,12 0-16,-12 14 0,12-14 15,-12 13-15,-1-13 0,1 0 0,-1 13 16,-13-13-16,0 0 0,-26 13 0,13-13 15,0 0-15,-27 13 0,1-13 16,-1 0-16,1 0 0,-1 0 16,-13 0-16,0 14 0,1-14 0,-1 0 15,0 0-15,0 0 0,1 0 16,-1 0 0,0 0-16,0 0 15,-13 13 1,14-13-1,-1 0 17</inkml:trace>
  <inkml:trace contextRef="#ctx0" brushRef="#br0" timeOffset="30488.14">13137 6099 0,'66'13'16,"-40"-13"-16,27 0 0,-13 0 16,-1 13-16,14-13 0,-13 0 15,13 0-15,-13 13 0,13-13 0,-14 0 16,14 14-16,-26-14 0,12 0 15,-12 13-15,12-13 0,-12 0 0,-14 0 0,14 0 16,-14 0-16,0 13 0,0-13 16,1 0-16,-41 13 31,14-13-31,-27 0 16,14 0-16</inkml:trace>
  <inkml:trace contextRef="#ctx0" brushRef="#br0" timeOffset="32015.79">794 6813 0,'26'13'0,"-13"-13"0,1 0 0,12 0 16,14 13-16,-1-13 0,14 0 0,27 0 15,-1 0-15,14 0 0,13 0 16,-14 0-16,54 0 0,-14 0 0,14 0 15,-1 0-15,14 0 0,0 0 0,-1 0 16,-12 0-16,13 0 0,-1 0 16,1 0-16,-13 0 0,-1 14 15,1-14-15,-41 0 0,1 0 0,-13 0 16,13 0-16,-27 0 0,14 0 16,-14 0-16,-26 0 0,13 0 0,-13 0 15,0 0-15,-13 0 0,-14 13 0,14-13 16,-27 0-16,14 0 0,-1 0 15,-13 0-15,0 0 0,1 0 16,-1 0-16,0 0 0,0 0 0,14 0 16,-14 0-16,0 0 31,-39-13 16</inkml:trace>
  <inkml:trace contextRef="#ctx0" brushRef="#br0" timeOffset="35912.21">7051 5278 0,'13'27'31,"-13"-14"-15,14 0-16,-14 1 0,13-1 16,-13 0-16,0 0 0,13-13 0,-13 14 15,13-1-15,1 0 0,-1 0 16,0 0-16,0-13 15</inkml:trace>
  <inkml:trace contextRef="#ctx0" brushRef="#br0" timeOffset="36150.06">7488 5265 0,'0'0'0,"-14"-13"15,1 13 1,0 13-16,0-13 0,0 13 15,-14 1-15,14-1 0,-14 13 0,1 1 16,-1-1-16,1-12 0,0 12 0,12 0 16,-12 1-16,13-14 0,-1 0 15,1 14-15,-13-14 0,13 0 0,13 14 16,-14-14-16,1 0 0,0 0 0,0 1 16,13-1-16,-14 0 15</inkml:trace>
  <inkml:trace contextRef="#ctx0" brushRef="#br0" timeOffset="36451.44">7858 5146 0,'-13'27'15,"13"-14"-15,-13 0 0,13 0 16,-14 1-16,1 12 0,13-13 16,-13 27-16,0-14 0,0 1 0,-1-1 15,1 1-15,0-14 0,0 13 0,-1-12 16,1 12-16,0 1 0,13-14 15,-13 0-15,-1 0 0,14 0 0,-13 1 16,13-1-16,0 0 0</inkml:trace>
  <inkml:trace contextRef="#ctx0" brushRef="#br0" timeOffset="36964.5">8149 5622 0,'13'-26'31,"-13"13"-31,14-1 0,-14 1 16,13 0-16,-13 0 0,13 0 0,-13-1 16,13 1-16,1 0 0,-1 0 15,-13-1-15,13 14 16,-13-13-16,13 13 0,0 0 16,1 13-16,-1 1 15,-13-1 1,0 0-16,13-13 0,-13 13 0,0 1 15,13-1-15,1 0 16,-1-13 0,0 0-1,0-13-15,1 0 16,-14-1-16,13 14 0,-13-13 0,13-13 16,-13 12-16,13 1 0,-13 0 15,13 0-15,-13-14 0,14 14 0,-14 0 16,13 0-16,-13-1 0,0 1 0,13 13 15,-13-13-15,0 0 0,13-1 16,-13 1 0,14 13-1</inkml:trace>
  <inkml:trace contextRef="#ctx0" brushRef="#br0" timeOffset="40525.01">5477 6588 0,'-27'13'16,"14"14"0,0-27-16,13 13 0,0 0 15,0 1-15,0-1 16,13 0-16,-13 0 0,13 0 0,-13 1 16,14-1-16,-1-13 0,0 13 0,-13 0 15,13 1-15,1-14 0,-1 13 16,0 0-16,13-13 0,-12 13 0,-1-13 15,0 13-15,0-13 0,1 0 0,-1 14 16,0-14-16,0 0 0,1 0 16,12 13-16,-13-13 0,14 0 0,-14 0 15,13 0-15,1-13 0,-1 13 16,1 0-16,-1 0 0,1-14 16,12 14-16,-12 0 0,-1-13 0,1 13 15,-1 0-15,-13-13 0,14 13 0,-1 0 16,-12-13-16,12 13 0,-13 0 15,14-13-15,-14 13 0,13 0 0,-12-14 16,12 14-16,-13 0 0,14-13 0,-14 13 16,0 0-16,14-13 0,-14 13 0,13 0 15,-12-13-15,-1 13 0,13 0 16,-12-14-16,12 14 0,-13 0 0,14-13 16,-14 13-16,13 0 0,-12 0 0,-1 0 15,13 0-15,-12-13 16,-1 13-16,13 0 0,-13 13 0,14-13 15,-1 0-15,-12 0 0,12 0 0,0 0 16,1 13-16,-1-13 0,1 0 16,-1 14-16,1-14 0,-1 13 0,14 0 15,-14 0-15,1-13 0,-14 14 0,14-1 16,-1 0-16,-13-13 16,40 26-16,-40-26 0,14 27 15,-14-27-15,0 0 0,0 13 16,1-13-16,-1 13 0,0-13 0,0 14 15,14-14 1,-14 0 0,0-14-16,1 14 0,-1 0 0,0-13 15,0 13-15,0-13 0,14 0 16,-1 13-16,-12-14 0,12 1 0,1 13 16,-1 0-16,0-13 0,14 13 0,-13 0 15,12 0-15,1 0 0,13 0 0,-13 0 16,13 13-16,-14-13 0,14 0 15,-13 13-15,13-13 0,-14 14 0,14-14 16,-13 0-16,13 13 0,-13-13 0,13 0 16,-1 0-16,-12 13 0,13-13 15,-13 0-15,-14 0 0,14 0 0,-14 0 16,1 0-16,-1 0 0,1 0 16,-1 0-16,1-13 0,-14 13 0,27-13 15,-1-1-15,-12 1 0,12 0 16,-12-13-16,13 12 0</inkml:trace>
  <inkml:trace contextRef="#ctx0" brushRef="#br0" timeOffset="41966.92">11192 6628 0,'-13'0'0,"-1"13"0,14 0 16,0 1-16,0-1 16,0 0-16,0 0 15,14 0-15,-1 1 16,-13-1-16,13-13 0,0 13 15,1-13-15,-1 13 0,0-13 16,0 0-16,0 0 0,1 0 16,-1 0-16,0 14 0,0-14 15,1 0-15,-1-14 0,0 14 16,0 0-16,1 0 0,-1 0 0,0-13 16,0 13-16,0 0 0,1-13 15,-1 13-15,0-13 0,0 13 16,1-14-16,-1 14 0,0 0 0,0-13 15,1 13-15,-1 0 0,0 0 16,0-13-16,0 13 0,1 0 0,-1 0 16,0 0-16,0 0 0,1 0 0,-1 0 15,0 13-15,0-13 16,1 0 0,-1 13-16,0-13 15,0 0 1,0 14-1,1-14 1,-1 0 47,-13-14-17,13 14-30,0 0 0,-13-13-1,14 13-15,-1 0 16,0 0-16,0-13 16,0 13-16,1 0 0,12 0 15,-13 0 1,-13 13-16,14-13 0,-1 13 15,0 1-15,0-14 16,-13 13-16,14-13 0,-14 13 0,13-13 16,0 13-16,0-13 15,-13 14-15,13-14 0,1 0 0,-1 0 16,0 0-16,0 0 0,1-14 16,-1 14-16,0 0 0,0 0 15,1-13-15,-1 13 0,0 0 0,0-13 16,0 13-16,1-13 0,-1 13 15,0-14 1,0 14-16,1 0 16,-1 0-16,0 0 15,0 14-15,0-14 0</inkml:trace>
  <inkml:trace contextRef="#ctx0" brushRef="#br0" timeOffset="43125.55">10821 6985 0,'0'0'0,"27"26"31,-27-12-31,0-1 16,13 0-16,-13 0 0,0 1 16,0-1-16,13 0 0,-13 0 15,0 1-15,14-14 0,-14 13 0,13-13 16,0 0-16,0 13 0,1-13 0,-1 0 15,0-13-15,0 13 0,14 0 16,-14-13-16,0-1 0,0 14 0,14-13 16,-14 0-16,0 0 0,14-1 15,-27 1-15,13 13 16,-13-13-16,13 0 16,-39 26-1,12-13-15,1 13 16,-13 0-16,13 14 0,-1-14 15,-12 0-15,13 14 0,-14-1 0,14-13 16,-13 14-16,12-14 0,1 14 16,0-1-16,0-13 0,-1 0 0,1 14 15,0-14-15,0 0 0,-1 1 0,14-1 16,-13 0-16,13 0 0,0 1 16</inkml:trace>
  <inkml:trace contextRef="#ctx0" brushRef="#br0" timeOffset="43389.4">11351 7025 0,'-27'13'16,"27"0"-1,-13 0-15,0 1 0,-1-1 0,1 13 16,-13 1-16,13 12 16,-1-12-16,-12-1 0,13 1 0,-1-1 15,-12 1-15,13-1 0,-1-13 0,14 1 16,-13-1-16,13 0 0,0 0 16,-13-13-16,13 14 0,13-1 15</inkml:trace>
  <inkml:trace contextRef="#ctx0" brushRef="#br0" timeOffset="43807.32">11443 7422 0,'13'-53'16,"-13"39"0,0 1-16,0 0 0,14 0 15,-14-1-15,13 1 16,0 0-16,0 26 47,1 0-47,-14 1 15,13-14-15,0 0 16,0 0 0,1 0-16,-14-14 15,13 14-15,-13-13 0,13 13 0,-13-13 16,13 0-16,-13 0 0,13-1 0,-13 1 16,14 0-16,-14 0 15,0-1-15,13 14 0,-13-13 0,13 0 0,-13 0 16,13 13-1</inkml:trace>
  <inkml:trace contextRef="#ctx0" brushRef="#br0" timeOffset="44355.1">10702 6800 0,'0'0'16,"0"39"-16,-13-25 0,13 12 0,-13 1 15,13 12-15,-13 1 0,13 13 0,-14-13 16,1 13-16,0 13 0,0-13 0,0-1 15,-1-12-15,14 0 16,-13 0-16,0-1 0,0 1 0,13-14 0,-14 1 16,14-1-16,-13-12 0,13-1 15,0 0-15,0 0 0,0 0 16</inkml:trace>
  <inkml:trace contextRef="#ctx0" brushRef="#br0" timeOffset="45012.38">10742 6720 0,'53'0'15,"-106"0"-15,132 0 0,-52 0 16,13 0-16,13 0 0,-1 0 0,28 0 0,-1 0 16,1 0-16,-1 0 0,14 0 0,-1 14 15,1-14-15,-1-14 16,-12 28-16,12-14 0,-12-14 0,-1 28 0,0-14 16,-12 0-16,-14 0 0,-1 0 0,1 0 15,-13 0-15,0 0 16,-14 0-16,1 0 0,-14 13 0,13-13 15,-12 0-15,-1 0 0,0 0 0,0 13 16,0-13-16,1 13 16,-14 1-16,0-1 0,0 0 15,0 13-15,0-12 0,0 12 0,0-13 16,0 14-16,0-1 0,0 14 0,0 0 16,0-14-16,0 14 0,0-14 15,-14 14-15,14-14 0,14 14 0,-14-13 16,0-1-16,0 0 0,0 1 0,0-1 15,0-12-15,0 12 0,0-13 16,0 14-16,0-14 0,0 0 16,0 0-16,0 1 0,0-1 0,0 0 15,0 0-15,-14-13 0,14 14 16,-13-1-16,0 0 0,0-13 0,0 13 16,-14-13-16,14 0 0,-14 14 0,1-14 15,-1 0-15,-12 0 0,-14 13 0,0-13 16,0 0-16,-13 13 0,-13-13 15,-1 13-15,1-13 0,-1 13 0,1-13 16,-14 14-16,14-14 0,0 13 0,-1 0 16,14-13-16,0 13 0,0 1 15,26-14-15,-13 0 0,14 13 0,-14-13 16,26 13-16,-12-13 0,12 0 16,1 0-16,-1 0 0,14 0 15,0 0-15,-14 0 0,14 0 0</inkml:trace>
  <inkml:trace contextRef="#ctx0" brushRef="#br0" timeOffset="46567.25">4485 7580 0,'92'0'0,"-184"0"0,237 0 0,-79 0 15,14-13-15,12 13 16,1 0-16,0 0 0,-1-13 0,1 13 16,-1 0-16,1 0 0,-14 0 0,14 0 15,-14 0-15,1 0 0,-27 0 16,13 0-16,-13 0 0,-14 0 0,1 0 15,0 0-15,-14 0 0,-13 0 0,14 0 16,-14 0-16,0 0 0</inkml:trace>
  <inkml:trace contextRef="#ctx0" brushRef="#br0" timeOffset="46863.34">4630 7805 0,'106'-13'16,"-27"13"-16,1 0 0,264-13 15,-252 0-15,-12 13 16,-14 0-16,13 0 0,-13 0 15,-13 0-15,0 0 0,0 0 16,0 0-16,-13 0 0,-14 0 0,1 0 16,-1 0-16,-13 0 0,1 0 15,-1 0-15,0 0 0,-13 13 0,13-13 16</inkml:trace>
  <inkml:trace contextRef="#ctx0" brushRef="#br0" timeOffset="88775.32">16550 10835 0,'-80'39'0,"67"-39"16,13 14-1,0-1 1,13-13-16,1 13 0,-1-13 16,0 13-16,0-13 15,14 14-15,-14-14 0,0 13 0,0 0 16,1-13-16,-1 13 0,0-13 0,-13 13 15,13 1-15,-13-1 0,0 0 16,0 0-16,-13-13 0,0 14 16,0-1-16,-1 0 0,1 0 0,-13-13 15,-1 13-15,14-13 0,-13 14 16,12-14-16,1 0 0,-13 0 0,12 0 16,1 0-16,0 0 0,0 0 0,-1 0 15,1 0-15,0-14 16</inkml:trace>
  <inkml:trace contextRef="#ctx0" brushRef="#br0" timeOffset="89084.46">16841 10795 0,'0'26'16,"0"-12"0,0-1-16,0 0 0,0 0 15,0 1-15,0-1 0,0 13 0,0-12 16,0-1-16,0 0 16,13 0-16,-13 0 0,13 1 0,-13-1 15,13 0-15,1 0 0,-1 1 0,0-14 16,-13 13-16,13-13 0,1 13 15,-1-13-15,0 13 0,0-13 16,0 0-16,1 0 0,-14-13 16,13 13-16</inkml:trace>
  <inkml:trace contextRef="#ctx0" brushRef="#br0" timeOffset="89256.2">16761 11046 0,'0'0'0,"0"-13"16,14 13 0,-1-13-16,13 13 15,-12 0-15,-1-13 0,13 13 0,1-14 16,-1 14-16,1-13 0,12 0 0,-12 13 16,12-13-16,-12 13 0,-14 0 15,14 0-15</inkml:trace>
  <inkml:trace contextRef="#ctx0" brushRef="#br0" timeOffset="89993.18">17198 11073 0,'26'-13'0,"-12"-1"16,-14 1-1,13 13-15,-13-13 0,0 0 16,13-1-16,-13 1 16,0 0-16,-13 13 15,0 13 1,-1-13-16,14 13 15,-13 1-15,0-1 0,13 0 16,0 0-16,-13-13 0,13 14 16,13-1-16,-13 0 15,13-13-15,0 0 0,14 0 16,-14 0 0,0-13-16,1 0 0,-1-1 0,0 14 15,0-13-15,0 0 0,1 0 16,-1-14-16,0 14 15,-13 0-15,13 0 0,-13-1 16,14 1-16,-14 40 31,0-14-31,0 0 0,0 0 0,0 14 16,0-14-16,0 13 0,-14 1 16,14-1-16,0 1 0,0-1 0,0-13 15,0 14-15,0-1 0,-13-12 0,13 12 16,0-13-16,0 0 0,0 1 15,-13-1-15,13 0 16,-13 0-16,13-39 16,0 13-1,0-14-15,0 14 0,0-13 16,13-1-16,-13 1 0,13 12 0,-13-12 16,13 13-16,-13-14 0,14 27 0,-14-13 15,13 0-15,0 13 0,0 0 16,0 0-1,-13 13-15,0 0 16,0 0-16,0 1 16,0-1-1,0 0-15,14-13 32</inkml:trace>
  <inkml:trace contextRef="#ctx0" brushRef="#br0" timeOffset="90217.35">17634 11007 0,'0'-14'15,"0"54"17,0-27-17,0 1-15,0-1 16,-13-13-16,13 13 0,0 0 0,-13 0 15,13 1-15,-13-14 16,0 13-16,-1-13 16</inkml:trace>
  <inkml:trace contextRef="#ctx0" brushRef="#br0" timeOffset="90743.96">18283 11179 0,'-14'-14'15,"-12"-25"1,13 25-16,13 1 16,-13-13-16,13-1 0,0 1 0,-14-1 15,14 1-15,14 0 0,-14-14 16,13 13-16,0-12 0,0 25 0,0-12 15,1 13-15,-1 0 0,0 13 0,-13-14 16,13 14-16,1 0 0,-1 14 16,-13-1-16,-13 0 15,13 0-15,-14 0 0,-12 14 16,-1-1-16,-12 1 0,12-1 0,1 1 0,-1-14 16,-12 13-16,26-12 0,-14-1 0,14 0 15,0 0-15,-1 1 16,14-1-16,14-13 15,-1 0 1,0 0-16,0 0 0,14 0 0,-14-13 16,27 13-16,-14 0 0,1-14 15,-1 14-15,14-13 0,-14 13 0,1-13 16,-1 13-16,-13-13 0,14 13 0,-14 0 16,0 0-16,0-14 0</inkml:trace>
  <inkml:trace contextRef="#ctx0" brushRef="#br0" timeOffset="92076.16">18891 10861 0,'-13'40'31,"13"-27"-31,0 0 0,0 1 15,0-1-15,0 0 0,0 0 16,0 0-16,0 1 0,0-1 0,0 0 16,0 0-16,0 1 15,0-1 1,0-40 15,13 14-31,-13 0 0,13 0 16,-13-1-16,14 1 15,-1 0-15,0 13 0,-13-13 16,13 13-16,1 0 0,-1 0 16,0 0-1,-13 13-15,13-13 0,1 0 0,-14 13 16,13 0-16,-13 1 16,13-14-16,-13 13 0,0 0 15,13-13-15,-13-13 47,0 0-47,13 13 0,-13-14 0,14 1 16,-1 0-1,0 13-15,0 0 16,1 0-16,-1 0 16,-13 13-16,13-13 0,0 13 15,1 1 1,-1-1-1,0-13-15,0 0 16,0 0 0</inkml:trace>
  <inkml:trace contextRef="#ctx0" brushRef="#br0" timeOffset="92925.14">19381 11020 0,'0'-13'0,"0"-1"16,0 1-1,-13 26 32,13 1-47,0-1 16,-14 0-16,14 0 15,0 1-15,0-1 0,14 0 16,-1-13-16,-13 13 16,13-13-16,0 0 15,0 0-15,1 0 0,-1-13 0,0 13 16,0-13-16,1 13 0,-1-13 0,0-1 16,0 1-16,0 0 0,1-14 15,-1 14-15,-13-13 0,13 13 0,0-14 16,-13 1-16,14-1 0,-14 14 0,0-14 15,13 1-15,-13 13 0,0 0 0,0-1 16,13 1-16,-13 0 16,0 0-16,0-1 0,0 1 15,-13 40 32,13-14-47,0 0 0,0 0 0,0 1 16,0-1-16,0 0 0,-13 0 0,13 0 15,0 14-15,0-14 0,13 0 16,-13 1-16,0-1 0,0 0 0,0 0 16,0 1-16,13-1 0,-13 0 15,13 0-15,-13 0 16,14-13-16,-1 14 16,0-28-1,0 14-15,-13-13 0,13 0 16,-13 0-16,14 0 15,-14-1-15,13 1 0,-13 0 16,13 0-16,-13-14 0,13 14 0,-13 0 16,0-1-16,14 1 0,-14 0 0,0 0 15,13 0 1,-13-1-16,0 41 47,0-14-32,0 0 1,0 0-16,0 1 0,0-1 16,0 0-16,0 0 15,0 1-15,0-1 0,0 0 16,0 0-16,13-13 16,-13 14-16,13-1 15,1-13 1,-1 0-16</inkml:trace>
  <inkml:trace contextRef="#ctx0" brushRef="#br0" timeOffset="93120.32">19539 10901 0,'53'-27'31,"-39"27"-31,12-13 0,-13 13 16,27-13-16,-14 13 0,1 0 16,-14 0-16,27 0 0</inkml:trace>
  <inkml:trace contextRef="#ctx0" brushRef="#br0" timeOffset="94091.05">19817 10941 0,'0'0'0,"14"-14"31,-1 1-31,0 0 0,0 13 16,0 0 0,1 13-16,-1-13 15,0 13-15,0 1 16,1-14-16,-14 13 0,13-13 0,-13 13 15,13-13-15,0 0 16,0 13-16,1-13 16,-1 0-16,0-13 0,0 13 15,1-13 1,-1 13-16,-13-13 16,13 13-16,0 0 31,1 0-16,-1 0-15,0 0 16,0 0 0,-13-14-1,0 1-15,-13 0 32,0 13-17,13-13 1,13 13 15,0 0-31,0 0 16,1 0-16,-1 0 15,0 0 1,-13 13-16,13-13 16,-13 13-16,14 0 15,-1 1 1,0-14-1,0-14 1,1 14-16,-1-13 0,0 0 16,0 0-16,-13-1 0,13-12 15,1 13-15,-1-14 0,0 1 0,-13 13 16,13-1-16,-13 1 0,14 0 0,-14 0 16,0-1-16,-14 54 31,14-13-16,-13-14-15,13 0 0,0 0 0,0 0 16,-13 14-16,13-14 0,0 0 0,0 1 16,0-1-16,13 0 0,-13 0 0,0 1 15,13-14-15</inkml:trace>
  <inkml:trace contextRef="#ctx0" brushRef="#br0" timeOffset="94584.32">21286 10583 0,'-14'40'32,"1"-14"-32,13-12 0,0 12 15,0-13-15,-13 14 0,13-1 16,0-12-16,0 12 0,0-13 0,0 14 15,-13-14-15,26 0 0,-13 14 0,0-14 16,0 0-16,0 0 0,0 1 16,0-1-16,0 0 0,0 0 15</inkml:trace>
  <inkml:trace contextRef="#ctx0" brushRef="#br0" timeOffset="94964.11">21074 10927 0,'27'-13'15,"-14"0"-15,13 13 16,-13 0-16,14-13 0,-1 13 0,1-14 16,-14 14-16,13 0 0,-12-13 0,12 13 15,-13 0-15,1 0 0,-1 0 16,0 0-16,0 0 15,1 13-15,-1 1 16,0-14 0,-13 13-16,13-13 0,0 0 15,1 0-15,-1 0 16,0 0-16,0 0 0,-13-13 16,14 13-16,-1-14 0,-13 1 15,0 0-15,0 0 0,-13-1 16,13 1-16,-14 0 0,1 13 15,13-13-15,-13 13 0,0-13 0,-1 13 16,14-14-16,-13 14 0,0 14 31</inkml:trace>
  <inkml:trace contextRef="#ctx0" brushRef="#br0" timeOffset="95935.47">22093 10888 0,'-14'-27'31,"1"27"-31,0 0 0,0 0 16,0 0-16,-1-13 0,1 13 16,0 0-16,0 13 15,26 0 1,-13 1-16,13-1 15,-13 0-15,13 0 0,1 1 0,-14-1 16,13 0-16,-13 0 0,13 0 0,-13 1 16,0-1-16,0 0 0,0 0 15,0 1-15,-13-1 0,0 0 16,13 0-16,-14-13 0,1 0 16,13 13-16,-13-13 15,0 0-15,13-13 16,13 0-1,-13 0-15,13 13 0,0-13 16,1-1-16,-1 14 0,0-13 16,0 0-16,14 0 0,-14-1 0,0 1 15,14 0-15,-14 0 0,0 0 0,0-1 16,-13 1-16,14 13 0,-1-13 16,-13 0-16,13 13 0,-26 13 62,13 0-62,0 0 16,13-13-16,0 0 0,0 0 15,1 0 1,-1 0-16,0 0 0,0 0 0,1-13 0,12 0 16,-13 0-16,1-1 0,-1-12 0,13-1 15,-13-12-15,1 12 0,-1-12 16,-13 12-16,13 14 0,-13-14 0,0 14 15,13 0-15,-13 0 0,0 0 0,0-1 16,-13 41 15,0-14-31,13 0 16,0 14-16,-13-14 0,13 13 0,0 1 16,0-14-16,13 14 0,-13-14 15,13 13-15,-13-13 0,13 14 0,1-14 16,-1 0-16,0-13 0,0 14 0,-13-1 15,13-13-15,1 0 0,-1 0 0,0 0 16,0 0-16</inkml:trace>
  <inkml:trace contextRef="#ctx0" brushRef="#br0" timeOffset="96132.3">22304 10729 0,'0'0'0,"27"-13"16,-14 13-1,14 0-15,-14 0 0,13 0 0,1 0 16,-1 0-16,1-14 0,12 14 0,-12 0 16,-1 0-16,1 0 0,-1 0 15,1 0-15</inkml:trace>
  <inkml:trace contextRef="#ctx0" brushRef="#br0" timeOffset="96536.21">23270 10663 0,'27'13'31,"-27"0"-31,13 14 0,-13-14 16,0 0-16,13 0 0,-13 14 0,0-14 16,0 0-16,0 14 0,0-14 15,-13 0-15,13 0 0,0 1 0,0-1 16,-13 0-16,13 0 0,0-39 47,0 13-47,13-1 0,-13 1 0,13-13 15,-13 12-15,13-12 0,0 13 16,1 0-16,-14-1 0,13 1 16,0 13-16,0-13 0,1 0 15,-1 13-15,0 0 16,0 13-16,-13 0 15</inkml:trace>
  <inkml:trace contextRef="#ctx0" brushRef="#br0" timeOffset="96884.2">23469 10901 0,'13'-27'31,"0"27"-31,-13-13 0,13 0 0,-13 0 16,13-1-16,-13 1 0,14 0 0,-1 0 15,-13 0-15,13-1 16,-13 1-16,-26 26 47,26 1-47,0-1 15,-14-13-15,14 13 0,0 0 0,14 0 16,-14 1-16,0-1 16,13-13-16,-13 13 15,13 0-15,0-13 16,1 0-16,12 0 16,-13 0-16,1 0 0,-1 0 15,0 0-15,0 0 0</inkml:trace>
  <inkml:trace contextRef="#ctx0" brushRef="#br0" timeOffset="97151.72">23786 10729 0,'0'0'0,"-13"0"15,13 13 1,0 0-1,0 1-15,0-1 16,0 0-16,0 0 0,0 0 16,0 1-16,0-1 15,-13-13-15,13 13 0,-14-13 0,14 13 16,-13-13-16,0 14 0,0-14 16,-1 0-1,1 0 1</inkml:trace>
  <inkml:trace contextRef="#ctx0" brushRef="#br0" timeOffset="97880.01">23839 10808 0,'13'-13'15,"-26"39"16,13-12-15,0-1-16,0 0 16,13 0-1,0-13 1,1 0 0,-1 0-16,0 0 15,-13-13-15,13 13 16,1 0 15,-1 13-15,0-13-1,0 0-15,0 0 16,1-13-16,-1 13 16,-13-13-16,13 0 0,0 13 0,1-27 15,-1 14-15,0 0 0,0-14 16,1 1-16,-1-1 0,13 1 0,-13-14 15,1 14-15,-14-1 0,13 14 0,0 0 16,-13 0-16,0-1 0,13 1 0,-26 26 31,0 1-15,13 12-16,-13-13 0,-1 14 0,14-14 16,-13 13-16,13-12 0,0 12 0,0-13 15,0 1-15,0-1 0,0 0 16,0 0-16,13-13 0,-13 14 15,14-1-15,-1-13 0,0 0 16,0 0-16,1 0 0,-1 0 0,0-13 16,0-1-16,1 1 0,12-13 15,0-1-15,-12 1 0,12-1 0,-13 1 16,14-14-16,-14 14 0,0 12 0,1 1 16,-1-13-16,-13 13 0,13 13 0,-13-14 15,0 41 16,-13-14-31,13 0 0,0 0 0,-13 14 16,13-14-16,0 0 0,0 14 16,0-14-16,0 0 0,0 14 15,0-14-15,13 0 0,-13 0 16,0 1-16,13-1 0</inkml:trace>
  <inkml:trace contextRef="#ctx0" brushRef="#br0" timeOffset="98058.52">24448 10623 0,'66'-13'0,"-132"26"0,171-26 0,-65 0 0,0-1 0,13 14 15,-14-13-15,1 0 16,0 0-16,-1-1 0,-12 1 0,-14 0 15,0 0-15,-13 0 0,0-1 0,-39-39 16</inkml:trace>
  <inkml:trace contextRef="#ctx0" brushRef="#br0" timeOffset="98612.21">18058 11470 0,'0'0'0,"132"-14"0,159-12 16,-211 13-16,12 13 0,40-27 15,-13 14-15,1 0 0,-1 0 16,0-1-16,-27 1 0,1 0 0,-1 13 16,1-13-16,-27 13 0,0-14 0,-13 14 15,-26 0-15,-1 0 0,-13 0 0,-13 14 16,-39-1 0</inkml:trace>
  <inkml:trace contextRef="#ctx0" brushRef="#br0" timeOffset="98812">18150 11655 0,'186'-27'16,"-107"27"-16,0-13 0,14 0 0,0 13 16,-1-13-16,1 0 0,13-1 15,-27 14-15,14-13 0,-14 13 16,-13-13-16,-13 13 0,-26 0 0,-1 0 0,0 0 15,-12 0-15,-1 0 0</inkml:trace>
  <inkml:trace contextRef="#ctx0" brushRef="#br0" timeOffset="104824.31">13758 7554 0,'53'0'0,"-26"0"0,12 0 16,-12 0-16,-1 0 0,1 13 15,-1-13-15,1 0 0,-1 0 0,1 0 16,-1 13-16,1-13 0,-14 0 16,0 0-16,13 14 0,-12-14 0,-1 13 15,0 0-15,0 0 0,-13 0 16,0 1-16,14 12 0,-14 1 0,0-1 15,0 1-15,0 12 0,-14 1 0,14 13 16,0-13-16,0 12 0,-13 1 16,13 13-16,0-13 0,0 14 0,0-15 15,-13 15-15,13-14 0,0-1 0,13 1 16,-13 0-16,0 13 0,13-13 0,-13 0 16,14 0-16,-1 0 0,-13-13 15,13-1-15,0 1 0,1 0 0,-14-14 16,13 1-16,0-1 15,0 40-15,-13-52 16,27 78 15,-27-79-31,-14 14 16,14-14-16,-13-13 16,0 13-16,-13 1 0,12-1 15,-12-13-15,-1 13 0,-12 0 0,-1 0 16,-13 1-16,0-14 0,13 13 15,-12 0-15,-15-13 0,1 13 0,0-13 0,-13 0 16,13 14-16,-14-14 0,1 0 16,-1-14-16,1 14 0</inkml:trace>
  <inkml:trace contextRef="#ctx0" brushRef="#br0" timeOffset="106659.27">688 7832 0,'-13'0'0,"26"0"0,-40-14 16,14 14-1,0 0-15,0 0 0,-14 0 16,14-13-16,0 13 0,0 0 15,-1 0-15,1 0 0,0 0 16,0 0-16,-1 0 0,1 0 0,0 0 16,0 0-16,0 0 0,-1 0 15,-12 0-15,13 0 0,-1 0 0,1 0 16,0 0-16,0 0 0,0 13 0,-1-13 16,1 0-16,0 0 15,0 0-15,-1 0 0,1 0 0,0 0 16,0 0-16,-1 14 15,1-14-15,0 0 16,0 0-16,0 13 0,-1-13 16,14 13-16,-13-13 15,13 13-15,-13 1 16,0-14-16,13 13 0,0 0 16,0 0-16,0 1 15,-14-1-15,28 0 0,-14 0 16,0 0-16,0 1 15,0-1-15,0 0 0,0 0 0,13 1 16,-13 12-16,0-13 0,0 0 16,0 14-16,0-14 0,0 14 0,0-14 15,13 13-15,-13-12 0,0 12 16,0 0-16,0-12 0,0 12 0,0-13 16,0 14-16,0-14 0,0 14 0,-13-14 15,13 0-15,0 13 0,0-12 16,0-1-16,0 0 0,0 0 0,0 14 15,0-14-15,-13 0 0,13 0 0,0 1 16,0-1-16,0 0 0,0 0 16,0 1-16,0-1 0,-14 0 15,14 0-15,0 1 0,0-1 0,0 0 16,0 0-16,0 0 0,0 1 16,0-1-16,0 13 0,0-12 0,0-1 15,0 0-15,0 0 0,0 1 16,0 12-16,0-13 0,0 0 0,0 1 15,0-1-15,0 13 0,0-12 0,0-1 16,0 0-16,0 14 0,0-14 0,0 0 16,0 13-16,0-12 15,0 12-15,0-13 0,0 14 0,0-14 16,0 14-16,14-1 0,-14 0 0,0 1 16,0-1-16,0 1 0,13-1 15,-13 1-15,0-1 0,0-13 0,13 14 16,-13-14-16,0 0 0,0 14 0,13-14 15,-13 0-15,0 0 0,14 1 16,-14-1-16,0 0 16,13-13-16,-13 13 0,13-13 15,0 0 1,0 14-16,1-1 16,-1-13-16,0 0 0,0 13 0,14-13 15,-1 0-15,27 13 0,-13-13 16,13 0-16,0 14 0,0-14 15,0 0-15</inkml:trace>
  <inkml:trace contextRef="#ctx0" brushRef="#br0" timeOffset="107352">5517 10226 0,'-14'53'32,"14"-26"-32,0-1 0,-13 14 15,13-1-15,-13 1 0,0 0 0,-1 13 16,14 0-16,-13-1 0,0-12 0,0 0 15,0 13-15,-1-14 0,14-12 16,-13 13-16,0-1 0,0-12 0,13-14 16,-14 13-16,14-12 0,0-1 15,-13-13-15,13 13 0</inkml:trace>
  <inkml:trace contextRef="#ctx0" brushRef="#br0" timeOffset="107602.62">5569 10226 0,'-132'80'31,"106"-54"-31,-1 0 16,1 1-16,-1 13 0,1-14 0,-14 14 16,14-14-16,-1 14 0,1-14 0,13 1 15,-1-14-15,1 13 0,0-26 16,13 14-16</inkml:trace>
  <inkml:trace contextRef="#ctx0" brushRef="#br0" timeOffset="107770.98">5278 10319 0,'0'0'0,"27"13"0,-14 0 0,0-13 15,14 13-15,-14 1 0,27-1 0,-14 0 16,14 14-16,-14-14 0,14 0 16,-14 0-16,14 1 0,0-1 0,-14 0 15,14 0-15,0 0 0,-14 1 0,-13-14 16</inkml:trace>
  <inkml:trace contextRef="#ctx0" brushRef="#br0" timeOffset="108288.32">5675 11761 0,'-13'39'16,"26"-78"-16,-26 105 0,0-53 0,13 14 0,0-1 16,0 0-16,0 1 0,0-1 15,0 14-15,13 0 0,-13-14 0,0 1 16,13-1-16,1 1 0,-1-14 0,0 0 16,13 0-16,-12-13 0,-1 14 15,0-14-15,14-14 0,52-12 16,-53 13-16,1-14 15,-14 14-15,0-14 0,1 14 16,-1-13-16,-13 13 0,0-14 0,0 14 16,-13-14-16,-1 1 0,-12-1 0,13 1 15,-14 0-15,1 12 0,-1 1 0,14 0 16,-13 0-16,12 13 0,-12 0 16,13 0-16,-14 0 0,14 0 0,0 13 15,0 0-15,-14 0 0,14-13 0,0 14 16,13-1-16,-14 0 0,14 0 15</inkml:trace>
  <inkml:trace contextRef="#ctx0" brushRef="#br0" timeOffset="108723.3">5953 11390 0,'27'53'31,"-27"-13"-31,13 0 0,0 13 16,-13-1-16,13 15 0,0-14 0,-13 13 15,14-13-15,-1-1 0,-13-12 16,13 13-16,-13-13 0,0-1 16,13 1-16,-13-13 0,0-1 0,0-13 15,14 1-15,-14-1 0,-14 0 16,14-39-1,0 12-15,0-12 16,0-1-16,0-12 0,14 12 16,-1-12-16,0-1 0,0 13 0,1 1 15,12 13-15,-13-1 0,0 1 0,14 13 16,-14-13-16,0 13 0,1 13 16,-1-13-16,0 0 0,0 13 15,1-13-15,-1 14 0,-13-1 0,0 0 16,0 0-16,0 1 0,0 12 15,-13-13-15,-1 14 0,1-14 0,-13 0 16,12 0-16,-12 1 0,13-1 0,-1-13 16,1 13-16,0-13 0,0 0 0,0-13 15,13 0 1</inkml:trace>
  <inkml:trace contextRef="#ctx0" brushRef="#br0" timeOffset="109172.3">6548 11761 0,'-26'13'0,"52"-26"0,-65 39 0,39-13 15,0 1-15,0-1 0,0 0 16,13 0-16,-13 1 0,13-1 15,0 0-15,1 0 0,-1 14 0,0-14 16,0 0-16,-13 0 0,14 1 0,-1-1 16,-13 0-16,0 0 0,0 1 15,0-1-15,0 0 0,-13 0 0,13 0 16,-14 1-16,1-1 0,0-13 0,-14 13 16,14-13-16,0 0 0,0 13 15,0-13-15,-1 0 0,1 0 16,13-13-16,-13 13 15</inkml:trace>
  <inkml:trace contextRef="#ctx0" brushRef="#br0" timeOffset="109660.34">6760 12039 0,'0'0'16,"27"-14"-16,-27 1 0,13 0 0,-13 0 0,13 13 15,-13-14-15,0 1 0,13 0 0,-13 0 16,0-1-16,0 1 0,0 0 16,0 0-16,-13 13 15,13-27-15,-13 27 16,0 0 0,-1 14-16,14-1 15,-13 0-15,13 0 0,0 0 16,13 1-1,-13-1-15,0 0 0,14-13 16,-1 0-16,13 0 16,-13 0-1,1 0-15,-1 0 0,0 0 0,0 0 16,1 0-16,-1 0 0,0 13 16,0-13-16,1 0 0,-1 0 15,0 14-15,0-14 0,0 13 0,-13 0 16,14-13-16,-1 13 15,-13-26 17,0 0-32,0 0 15,13-1-15,-13 1 0,0 0 0,13-14 16,-13 14-16,14 0 0,-1-13 16,-13 12-16,13 1 0,14-13 0,-14 26 15,-13-14-15,13 14 0,0-13 16,0 13-16,1 0 15</inkml:trace>
  <inkml:trace contextRef="#ctx0" brushRef="#br0" timeOffset="110101.33">7329 11761 0,'40'66'31,"-40"-53"-31,13 0 0,0 1 0,-13-1 16,13 13-16,1-26 0,-14 13 15,13 1-15,-13-1 0,13-13 16,-13 13-16,13-13 0,0 0 16,1-13-1,-1 0-15,-13-1 0,13-12 16,-13 13-16,0-14 0,13 1 0,1 13 15,-14-14-15,13 1 0,-13 13 16,13-1-16,-13 1 0,13 0 0,1 0 16,-14-1-16,13 1 0,0 13 15,-13-13-15,13 13 0,0 0 16</inkml:trace>
  <inkml:trace contextRef="#ctx0" brushRef="#br0" timeOffset="110923.72">7845 11602 0,'-27'13'15,"14"-13"1,13 13-16,-13-13 0,0 14 16,13-1-16,-13-13 0,13 13 15,-14-13-15,14 13 0,-13-13 16,13 14-16,0-1 16,0 0-1,13-13 1,1-13-16,-1 13 15,0 0-15,0 0 0,0 0 16,1-13 0,-1 13-16,0 0 0,-13-14 0,13 14 15,1 0-15,-1-13 0,0 0 16,-13 0-16,13-1 0,1 1 16,-14 0-16,13 0 0,-13-14 15,0 14-15,13-13 0,-13-1 0,0 14 16,0-14-16,0 1 0,0 0 0,0 12 15,0-12-15,0 13 0,0-1 16,0 1-16,0 0 0,13 39 31,0-12-31,-13-1 16,0 0-16,14 14 0,-14-1 0,0 0 16,13 1-16,-13-1 0,13 1 0,-13-14 15,13 14-15,-13-1 0,14-13 16,-14 0-16,13 1 0,-13-1 15,13 0-15,-13 0 0,-13-26 32,0 13-17,-1 0-15,1-13 0,0 0 16,0 13-16,-1 0 0,1-14 16,0 1-16,0 13 15,13-13-15,0 0 16,0 0-16,0-1 0,13 14 15,-13-13-15,13 0 0,0 13 16,1-13-16,-1-1 0,0 14 0,0-13 0,14 13 16,-14 0-16,0-13 15,0 13-15,1 0 0,-1 0 0,0 13 16,0-13-16,1 0 0,-1 13 16,0-13-16,-13 14 0,13-1 15,1 0-15,-14 0 0,0 1 16,0-1-16,0 0 15,0 0-15</inkml:trace>
  <inkml:trace contextRef="#ctx0" brushRef="#br0" timeOffset="111040.33">8189 11377 0,'0'-13'0</inkml:trace>
  <inkml:trace contextRef="#ctx0" brushRef="#br0" timeOffset="111768.25">8453 11404 0,'-26'13'0,"13"13"16,13-13-16,0 1 16,0-1-16,-13 0 0,13 0 15,13 1-15,-13-1 0,0 0 16,0 0-16,13-13 0,-13 14 0,13-14 16,-13 13-16,13-13 0,1 0 0,-1-13 15,0 13-15,0 0 16,1-14-16,-14 1 0,13 13 15,-13-13-15,13 0 0,-13-1 0,0 1 16,-13 0 0,13 0-16,0-1 0,-13 1 15,13 0-15,-14 13 16,14-13-16,-13 13 16,13-13-1,-13 13-15,53 13 47,-27-13-47,0 0 16,0 13-16,0-13 0,-13 13 15,14-13-15,-1 13 0,0-13 16,-13 14-16,13-14 0,-13 13 0,14-13 16,-14 13-16,13-13 0,0 13 15,0-26 16,1 0-15,-1 0 0,0 13-16,0-14 15,0 14-15,1 0 0,-1-13 16,0 13-16,0 0 0,1 0 16,-1-13-16,0 13 0,0 0 15,1 0-15,-1 0 0,0-13 16</inkml:trace>
  <inkml:trace contextRef="#ctx0" brushRef="#br0" timeOffset="112293.27">9036 11324 0,'0'-13'0,"0"26"0,-14-26 16,1 13-1,0 0 1,13 13-16,-13-13 0,-1 13 16,1 1-1,13-1 1,0 0 0,0 0-1,0 1-15,13-14 16,1 0-16,-1 0 15,-13-14 1,13 14-16,0 0 0,1 0 16,-1 0-16,0 0 15,0-13 1,0 13-16,-13-13 16,14 13-16,-1-13 0,-13-1 15,0 1-15,13 0 0,-13 0 16,0-1-16,0 1 0,0-13 15,0 13-15,0-14 0,0 14 0,0 0 16,0-1-16,0 1 0,0 0 0,0 39 47,0-12-47,0 12 0,13-13 0,-13 14 16,0-1-16,14-13 0,-1 14 0,13-1 15,-12-12-15,12 12 0,-13-13 16,0 1-16,14-1 0,-14 0 0,14-13 15,-14 0-15,13 0 0</inkml:trace>
  <inkml:trace contextRef="#ctx0" brushRef="#br0" timeOffset="112755.43">9869 10954 0,'0'0'0,"-27"0"0,14 0 16,-13 13 0,13 0-16,13 0 0,0 1 15,0-1-15,13 0 0,0-13 16,-13 13-16,26 1 0,1 12 0,-1-13 16,1 0-16,-1 14 0,1-14 15,-14-13-15,0 13 0,14 1 16,-14-1-16,0 0 0,0 0 0,-13 1 15,0-1-15,0 0 16,0 0-16,-13-13 0,0 27 0,0-27 16,-14 13-16,14 0 0,-13 0 0,-1 1 15,1-14-15,12 13 0,-12-13 0,13 13 16,-1-13-16,1-13 0,0 13 16,0-13-16,13-1 15,0 1-15</inkml:trace>
  <inkml:trace contextRef="#ctx0" brushRef="#br0" timeOffset="112965.46">10147 10782 0,'0'-27'16,"13"54"0,-13-14-16,0 0 0,13 14 15,-13-1-15,13 1 0,-13 12 0,14 1 16,-1-14-16,0 14 0,-13 0 0,13-14 15,1 1-15,-1-1 0,0 1 16,0-1-16,-13-13 0,14 1 0,-1-1 16,-13 0-16,13 0 0,0 0 15</inkml:trace>
  <inkml:trace contextRef="#ctx0" brushRef="#br0" timeOffset="113140.28">10094 11073 0,'0'0'15,"13"-13"-15,0 13 16,14 0-16,-14-14 0,0 14 16,14-13-16,-1 13 0,1-13 0,-1 13 15,1-13-15,-1 13 0,0-14 0</inkml:trace>
  <inkml:trace contextRef="#ctx0" brushRef="#br0" timeOffset="113792.06">10597 11046 0,'0'-13'0,"0"53"46,0-27-30,0 0-16,0 0 0,13 1 0,0-1 16,-13 0-16,13 0 0,0 1 15,1-14-15,-1 0 16,0 13-16,0-26 16,1 13-16,-14-14 0,13 14 15,0-13-15,-13 0 0,13 0 16,-13-1-16,14 1 0,-14 0 15,0 0-15,13 0 0,-13-1 16,13 1 0,0 26-1,-13 1 1,0-1-16,13-13 0,-13 13 0,0 0 16,14 0-16,-14 1 0,0-1 15,13 0-15,-13 0 0,0 1 16,13-14-16,-13 13 0,13-13 15</inkml:trace>
  <inkml:trace contextRef="#ctx0" brushRef="#br0" timeOffset="114580.13">11205 10623 0,'-13'40'32,"13"-14"-32,0-13 15,0 27-15,0-13 0,13-1 16,-13 14-16,0-1 0,13-12 16,-13 13-16,14-14 0,-1 0 0,-13-12 15,13 12-15,0-13 0,-13 1 16,13-1-16,1 0 0,-14 0 15,-14-39 17,1 26-32,0 0 15,0 0-15,0-13 0,-1 13 0,1 0 0,0 13 16,-14-13-16,14 0 0,-13 13 0,12-13 16,1 13-16,-13-13 0,13 13 15,-1 1-15,1-14 0,13 13 16,13 0-1,1-13 1,12 0-16,-13 0 0,14-13 0,-1 0 16,14 13-16,-14-14 0,1 1 0,-1 13 15,-13 0-15,14-13 0,-14 13 0,0 0 16,1-13-16,-1 13 16,0 0-16,0 0 15,1 0-15,-1 0 16,0 0-16,0-13 15,0 13-15,1 0 32,-1 0-32,0 0 15,0 13 1,1-13-16,-1 13 0,0 0 16,-13 14-16,13-14 0,-13 0 0,14 14 15,-14-1-15,0-13 0,0 14 16,-14 12-16,14-12 0,-13 13 0,0-14 15,0 1-15,-1-14 0,1 13 0,0-13 16,13 1-16,-13-14 0,-1 0 16,1 13-16,0-13 0,0-13 15,13-1-15,-13 1 0,13 0 16,0 0-16,0 0 0,0-1 0,0-12 16,13 13-16,-13-1 0,13-12 15,-13 13-15,13-14 0,0 14 0,1 0 16,-1 0-16,0-1 0,0 1 0,1 0 15,-1 0-15,0-1 0,0 1 16,1 13-16,-1-13 0,0 0 16,0 13-16,-13-14 0,13 14 0</inkml:trace>
  <inkml:trace contextRef="#ctx0" brushRef="#br0" timeOffset="114749.57">11906 11007 0</inkml:trace>
  <inkml:trace contextRef="#ctx0" brushRef="#br0" timeOffset="135120.2">11417 12091 0,'0'14'32,"13"-1"-32,-13 0 0,0 0 15,13 1-15,-13-1 16,0 13-16,13-12 0,-13-1 0,14 13 16,-1-13-16,-13 1 0,13 12 0,0-13 15,1 1-15,-1-1 0,0 0 16,14 0-16,-14 0 0,0 1 0,13-1 15,-12 0-15,-1-13 0,13 13 0,-12-13 16,-1 14-16,0-14 0,0 0 0,1 0 16,-1 13-16,0-13 0,0 0 15,0 0-15,1 0 0,12 0 16,-13 0-16,1-13 16</inkml:trace>
  <inkml:trace contextRef="#ctx0" brushRef="#br0" timeOffset="135464.99">11867 12330 0,'13'13'47,"-13"0"-47,13-13 0,-13 13 0,13 0 15,0-13-15,1 14 0,-1-1 0,0 0 16,14 0-16,-14 1 16,0-1-16,-13 0 0,13 0 15,1 1-15,-14-1 0,0 0 0,0 0 16,0 0-16,-14 1 15,1-1-15,13 0 0,-13 0 16,0 1-16,-1-14 0,1 13 0,0-13 0,0 13 16,-1-13-1</inkml:trace>
  <inkml:trace contextRef="#ctx0" brushRef="#br0" timeOffset="136030.21">12488 12224 0,'0'-13'15,"27"26"1,-14 13 0,0-13-16,0 1 0,-13 12 15,14-13-15,-1 1 0,-13 12 0,0-13 16,13 0-16,-13 1 0,0 12 16,0-13-16,0 1 0,0-1 0,0 0 15,-13 0-15,13 1 16,-13-14-1,13-14-15,0 1 16,0 0-16,0-14 0,0 14 0,0-13 16,0-1-16,13 1 0,-13 13 15,13-14-15,0 14 0,1-14 0,-1 14 16,-13 0-16,13 0 0,0 13 16,1-13-16,-1 13 0,0 0 15,0 0-15,0 0 16,1 0-16,-14 13 0,13-13 0</inkml:trace>
  <inkml:trace contextRef="#ctx0" brushRef="#br0" timeOffset="136381.59">12819 12475 0,'13'-26'16,"1"12"0,-14 1-16,0 0 0,13 0 0,-13-1 15,13 1-15,-13 0 0,0 0 16,0 0 0,-26 26-1,26 0 1,-14-13-16,14 13 15,0 0-15,-13 1 0,13-1 16,0 0-16,13-13 16,-13 13-16,14-13 15,-1 0-15,0 0 16,0 0-16,0 0 0,1 0 0,-1-13 16,13 13-16,1-13 0,-14 0 15</inkml:trace>
  <inkml:trace contextRef="#ctx0" brushRef="#br0" timeOffset="136624.04">13084 12303 0,'-14'0'0,"14"-13"16,-13 26 15,13 0-15,0 1-16,0-1 15,13 0-15,-13 0 0,14-13 16,-14 13-16,0 1 0,0-1 15,0 0 1,-14 0-16,1 1 16,0-14-16,0 13 15,0-13-15,-1 0 0,1 0 16,0 0-16</inkml:trace>
  <inkml:trace contextRef="#ctx0" brushRef="#br0" timeOffset="137568.7">13216 12290 0,'-13'-13'16,"-1"39"15,14-13-15,0 1-16,0-1 0,-13 0 16,26 0-1,-13 0-15,0 1 0,14-14 31,12-14-31,-13 1 16,1 0-16,-1 0 0,0 0 16,0 13-1,1 0 1,-1 13-16,0 0 16,0 0-1,0-13 1,14 0-1,-27-13-15,13 13 0,-13-13 0,13 0 16,1-14-16,-14 14 0,13-14 16,-13 14-16,13-13 0,0-27 15,1 13-15,-14 27 16,0 0-16,13-14 0,-13 14 16,-13 39-1,13-12-15,-14 12 16,14 14-16,-13-14 0,0 14 15,13-14-15,0 1 0,0-14 0,0 14 16,0-14-16,0 0 0,0 13 16,13-12-16,0-1 0,1 0 15,-1-13-15,0-13 16,0 0-16,0 13 0,14-14 16,-14-12-16,0 0 0,1-1 0,-1 1 15,0-1-15,0-12 0,0 12 0,1 1 16,-1-1-16,-13 14 0,13 0 0,-13-1 15,0 1-15,0 0 0,13 0 16,-13 0-16,0-1 16,-13 41 15,0-27-31,13 13 0,0 0 16,-13-13-16,13 13 0,0 1 0,0-1 15,0 0-15,0 0 16,0 1-1,0-1-15,13 0 16,-13 0-16,13-13 16,-13 14-16,13-1 0,1 0 15,-14 0-15,0 0 16,13 1-16,-13-1 16,0 0-1,13 0-15,-26 1 16,0-14-1,-1 0 1,14-14 0,-13 1-16</inkml:trace>
  <inkml:trace contextRef="#ctx0" brushRef="#br0" timeOffset="137719.53">13626 12237 0,'-13'0'0,"0"-13"31,26 0-16,0 13-15,0-14 0,0 14 0,1 0 16,-1-13-16,13 0 0,1 13 16,-1-13-16,1-1 0,-1 14 0,-13-13 15,14 13-15,-1-13 0,-12 13 0,12-13 16</inkml:trace>
  <inkml:trace contextRef="#ctx0" brushRef="#br0" timeOffset="139071.31">14314 12078 0,'-13'-13'0,"26"39"32,-13-12-17,13-1-15,-13 0 0,13-13 16,-13 13-16,14 1 0,-14-1 15,13-13-15,-13 13 0,13 0 0,0-13 16,-13 14-16,14-14 0,-1 0 16</inkml:trace>
  <inkml:trace contextRef="#ctx0" brushRef="#br0" timeOffset="139327.4">14579 12078 0,'0'-13'16,"-27"26"-1,14 0 1,13 1-16,-13-1 0,-1 13 16,1-12-16,0 25 0,13-12 0,-13-1 15,-1-13-15,1 27 16,0-13-16,-13 12 0,12-12 16,1-14-16,13 13 0,-13-12 0,13-1 0,-13-13 15,13 13-15,-14 0 0,14 1 16,-13-14-16,53-14 47</inkml:trace>
  <inkml:trace contextRef="#ctx0" brushRef="#br0" timeOffset="140115.34">14870 11840 0,'0'0'0,"0"27"16,0-1-16,-14-13 16,14 14-16,-13 12 0,0 1 15,0 0-15,-1-1 0,1 14 16,0 0-16,0-13 0,0 0 0,-1-1 15,1 1-15,0 0 0,0-14 0,-1 14 16,1-27-16,0 14 0,13-14 16,-13 13-16,13-13 0,-14 1 0,14-1 15,-13-13-15,40-13 32</inkml:trace>
  <inkml:trace contextRef="#ctx0" brushRef="#br0" timeOffset="140920.4">15174 12396 0,'-13'13'0,"13"-40"62,0 14-62,0 0 0,0 0 16,0 0-16,0-1 0,0 1 0,0-13 15,0 12-15,0 1 0,0 0 16,0 0-16,0 0 0,0-1 0,13 14 16,-13-13-16,0 0 0,0 0 31,13 26-16,0 0-15,-13 0 0,14 1 16,-14-1-16,13 0 0,-13 0 16,13 0-16,0 1 15,-13-1-15,13 0 0,-13 0 16,14-13-16,-14 14 0,13-14 0,-13 13 16,13-13-16,0 0 31,1-13-31,-1-14 15,-13 14-15,13-14 16,-13 14-16,0-13 0,0 13 16,13-14-16,-13 1 0,0 12 0,0-12 15,0-1-15,14 14 0,-14 0 0,0 0 16,0 0-16,0-1 0,0 1 16,0 0-16,0 0 15,0 52 16</inkml:trace>
  <inkml:trace contextRef="#ctx0" brushRef="#br0" timeOffset="143391.37">14843 5345 0,'40'-14'15,"-27"14"-15,13 0 16,1 0-16,-1 0 0,1 0 0,13 0 0,-14 14 16,14-14-16,-14 0 0,1 0 0,-1 0 15,1 0-15,-1 13 0,-13-13 16,14 0-16,-14 13 0,0-13 0,0 13 16,14 1-16,-27-1 0,13 0 0,0 0 15,-13 0-15,14 14 0,-14-1 16,0 1-16,0-1 0,0 1 15,13 12-15,-13 1 0,0 0 0,13-1 0,-13 1 16,13 0-16,-13 0 0,13-1 16,-13 1-16,14 0 0,-14-1 15,13 1-15,-13 0 0,13-1 0,-13-12 16,13 12-16,-13 1 0,14 0 0,-14-14 16,0 1-16,13-1 0,-13 27 15,0-26-15,0-1 16,0 1-16,0-14 0,0 13 0,-13-13 0,13 14 15,0-14-15,0 0 0,-14 1 16,14-1-16,-13 0 0,0 0 0,0 1 16,-1-1-16,1 0 0,-13 0 15,-14 0-15,14-13 0,-14 14 0,-13-1 16,13-13-16,1 13 0,-1 0 16,-13-13-16,0 0 0,13 14 0,1-14 15,-1 0-15,14 0 0,-14 0 0,0 0 16</inkml:trace>
</inkml:ink>
</file>

<file path=ppt/ink/ink2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42:30.352"/>
    </inkml:context>
    <inkml:brush xml:id="br0">
      <inkml:brushProperty name="width" value="0.05292" units="cm"/>
      <inkml:brushProperty name="height" value="0.05292" units="cm"/>
      <inkml:brushProperty name="color" value="#FF0000"/>
    </inkml:brush>
  </inkml:definitions>
  <inkml:trace contextRef="#ctx0" brushRef="#br0">1614 2487 0,'145'0'15,"-65"-13"-15,12 13 0,1-13 16,0 13-16,39-14 0,-13 1 15,13 13-15,-39-13 0,13 13 0,-14-13 16,14 13-16,-13 0 0,-14 0 0,14-14 16,-14 14-16,-13 0 0,-13 0 15,0 0-15,0 0 0,0 14 0,-13-14 16,-14 0-16,-13 0 0,14 0 0,-14 13 16</inkml:trace>
  <inkml:trace contextRef="#ctx0" brushRef="#br0" timeOffset="206.58">1707 2844 0,'39'14'0,"-78"-28"0,118 14 16,-26 0-16,26 0 0,1 0 0,25-13 15,14 0-15,14 13 0,12-13 16,-12-1-16,-1 14 0,0-13 0,-13 0 15,-26 13-15,-1-13 0,1-1 0,-14 14 16,1-13-16,-14 13 0,-13-13 16,-13 13-16,-1 0 0,-12 0 0</inkml:trace>
  <inkml:trace contextRef="#ctx0" brushRef="#br0" timeOffset="1185.4">1468 6376 0,'14'0'0,"-1"14"16,-13-1-16,13 0 16,-13 0-16,0 1 0,13-1 15,-13 13-15,0-12 0,0-1 0,0 13 16,0-13-16,0 1 0,0-1 15,0 0-15,0 14 0,0-14 0,0 0 16</inkml:trace>
  <inkml:trace contextRef="#ctx0" brushRef="#br0" timeOffset="1416.09">1826 6535 0,'26'13'0,"-13"1"15,-13-1-15,0 66 32,-13-52-32,13-14 0,-13 0 0,0 14 15,13-14-15,-14 0 0,1 0 0,13 1 16,-13-1-16</inkml:trace>
  <inkml:trace contextRef="#ctx0" brushRef="#br0" timeOffset="1660.16">2130 6284 0,'13'26'31,"-13"-12"-31,0-1 0,0 0 0,0 0 16,0 0-16,0 1 0,0 12 0,0-13 15,0 1-15,-13 12 0,13-13 0,0 1 16,0 12-16,-13-26 0</inkml:trace>
  <inkml:trace contextRef="#ctx0" brushRef="#br0" timeOffset="1867.84">2275 6482 0,'14'14'15,"-14"-1"-15,0 0 16,0 0-16,0 0 0,0 1 0,0-1 16,0 0-16,-14 14 0,14-14 0,-13-13 15,13 26-15,0-12 0,0-1 16,-13-13-16,13 13 0</inkml:trace>
  <inkml:trace contextRef="#ctx0" brushRef="#br0" timeOffset="2315.25">2686 6271 0,'0'39'0,"0"-78"0,0 92 0,0-27 0,0-13 15,0 0-15,-14 14 0,14-14 16,0 0-16,0 14 0</inkml:trace>
  <inkml:trace contextRef="#ctx0" brushRef="#br0" timeOffset="2532.81">2884 6429 0,'13'14'0,"0"25"15,-13-25-15,-13-1 16,13 0-16,-13 13 0,13-12 16,-13 12-16,13-13 0,-13 1 0,13-1 15,0 0-15,-14 0 0,14 1 16</inkml:trace>
  <inkml:trace contextRef="#ctx0" brushRef="#br0" timeOffset="2991.33">3294 6231 0,'0'13'0,"0"40"16,-13-40-16,13 14 15,0-14-15,0 13 0,-13-12 16,13-1-16,0 13 0,0-12 0,-14 12 16</inkml:trace>
  <inkml:trace contextRef="#ctx0" brushRef="#br0" timeOffset="3452.86">3664 6469 0,'0'40'31,"0"-27"-31,0 0 16,-13 0-16,13 1 0,-13 12 0,13-13 15,-13 1-15,13-1 0,-13 0 16,13 0-16,-14 1 0,14-1 16,0 0-16</inkml:trace>
  <inkml:trace contextRef="#ctx0" brushRef="#br0" timeOffset="3656.25">3942 6271 0,'0'13'0,"0"40"31,0-40-31,0 0 16,0 14-16,-13-14 0,13 13 0,0-12 15,-13-1-15,13 13 0,0-12 16,0-1-16,0 0 0</inkml:trace>
  <inkml:trace contextRef="#ctx0" brushRef="#br0" timeOffset="4103.24">4749 6271 0,'0'0'0,"0"26"31,0-13-15,0 1-16,0-1 0,0 0 15,-13 0-15,13 0 0,0 1 0,0-1 16,0 13-16,-13-12 0,13-1 0,0 13 16,-13-12-16,-1 12 0,14-13 15,-13 0-15,0 14 0,13-14 0,-13 0 16,-1 1-16</inkml:trace>
  <inkml:trace contextRef="#ctx0" brushRef="#br0" timeOffset="4476.22">4247 6522 0,'-14'66'31,"1"-39"-31,0-14 0,0 13 0,13 1 16,-14 12-16,1-25 15,13-1-15,0 0 0,13-13 0,-13 13 16</inkml:trace>
  <inkml:trace contextRef="#ctx0" brushRef="#br0" timeOffset="4896.84">5027 6257 0,'13'0'0,"14"27"32,-27-14-32,0 0 0,-13 1 15,13-1-15,-14 0 0,14 0 16,0 0-16,-13 1 0,13-1 15,13 0-15,-13 0 16,14-13-16,-1 27 16,-13-14-16,13 0 0,-13 1 15,-13-1-15,13 0 0,0 0 16,-13-13-16,-1 13 0,14 1 16,-13-1-16,0-13 0,0 13 0,-1-13 15</inkml:trace>
  <inkml:trace contextRef="#ctx0" brushRef="#br0" timeOffset="5058.41">5186 6429 0,'13'0'0,"-13"14"0,0 25 31,-13 14-31,0-26 16,-1-14-16,14 13 0,-13 1 0,13-14 15,-13 0-15,13 1 0,-13-1 16,13 0-16</inkml:trace>
  <inkml:trace contextRef="#ctx0" brushRef="#br0" timeOffset="5356.09">5728 6204 0,'27'14'0,"-27"-1"0,0 0 15,13 0-15,-13 1 0,0-1 0,0 13 16,0-12-16,0 12 0,0-13 0,0 14 16,0-14-16,-13 0 0,13 14 15,0-14-15,0 0 0,0 0 0,0 1 16</inkml:trace>
  <inkml:trace contextRef="#ctx0" brushRef="#br0" timeOffset="5855.56">6019 6244 0,'13'0'0,"1"13"32,-14 1-32,0-1 15,-14-13-15,14 13 0,0 14 16,14-14-16,-14 0 16,0 0-16,13-13 0,-13 13 15,13 1-15,-13-1 0,0 0 0,0 0 16,0 1-16,0-1 15,0 0-15,0 0 0,-26 14 0,26-14 16,-14 0-16,1 0 0,-13 1 16,26-1-16,-13-13 15,39-13 1</inkml:trace>
  <inkml:trace contextRef="#ctx0" brushRef="#br0" timeOffset="5995.99">6271 6469 0,'13'13'0,"0"27"32,-26-27-32,13 0 0,-13 1 0,13-1 15,-27 27-15,27-27 0,-13 0 16,13 0-16,0 1 0,0-1 16</inkml:trace>
  <inkml:trace contextRef="#ctx0" brushRef="#br0" timeOffset="6265.63">6932 6218 0,'13'26'0,"-13"-13"0,14 14 16,-14-14-16,0 0 0,0 14 15,0-14-15,0 13 0,0 1 16,0-14-16,0 14 0,0-1 0,0-13 16,0 14-16,0-1 0,0-13 15,0 1-15</inkml:trace>
  <inkml:trace contextRef="#ctx0" brushRef="#br0" timeOffset="6689.2">7183 6244 0,'14'-13'15,"-1"26"-15,0 0 16,-13 1-1,0-1-15,-13 0 16,13 0-16,0 1 0,13-1 16,-13 0-16,13 0 0,-13 0 15,14-13-15,-14 14 0,13-1 16,-13 0-16,13-13 0,-13 27 16,-13-14-16,13 0 15,0 0-15,-13 1 0,-1-14 16,1 13-16,0 0 0,0-13 0,13 13 15,-14-13-15</inkml:trace>
  <inkml:trace contextRef="#ctx0" brushRef="#br0" timeOffset="6836.41">7435 6482 0,'13'14'0,"-26"-28"16,39 41-16,-26-14 0,-13 0 0,13 0 15,-13 1-15,0 12 0,13-13 16,-14 1-16,1-1 0,0 0 0,13 14 16,-13-27-16,13 13 0,0 0 0</inkml:trace>
  <inkml:trace contextRef="#ctx0" brushRef="#br0" timeOffset="7176.3">7938 6284 0,'13'13'16,"-13"0"-16,0 1 0,0-1 0,0 0 16,-13 0-16,13 14 0,0-1 0,-14 1 15,14-1-15,-13-13 0,13 14 16,-13-14-16,13 13 0,0-12 0,0-1 15,0 0-15,0 0 0</inkml:trace>
  <inkml:trace contextRef="#ctx0" brushRef="#br0" timeOffset="7515.96">8268 6244 0,'27'13'0,"-54"-26"0,67 26 0,-40 1 16,0-1-16,-13 0 16,13 0-16,0 1 15,-14-1-15,1 0 0,13 0 16,0 0-16,0 1 0,0-1 15,13-13-15,-13 13 0,14 0 16,-14 1-16,13-14 0,-13 13 16,0 0-16,0 0 15,0 1-15,-13-1 0,13 0 16,-14 0-16,1-13 0,13 13 0,-13-13 16,0 14-16,13-1 15</inkml:trace>
  <inkml:trace contextRef="#ctx0" brushRef="#br0" timeOffset="7672.04">8453 6509 0,'-13'66'16,"13"-53"-1,-13 0-15,0 1 0,13-1 16,-27 13-16,27-12 0,-13-1 15,13 0-15</inkml:trace>
  <inkml:trace contextRef="#ctx0" brushRef="#br0" timeOffset="7997.01">8996 6324 0,'0'13'15,"0"0"-15,0 0 0,0 0 16,0 1-16,0 12 0,0-13 16,-13 1-16,13-1 0,0 0 15,0 0-15,-14 1 0,14-1 0,0 0 16,0 0-16,0 0 16</inkml:trace>
  <inkml:trace contextRef="#ctx0" brushRef="#br0" timeOffset="8337.1">9287 6231 0,'13'0'0,"0"13"16,-26 0-16,13 1 16,0 12-1,0-13-15,0 1 16,13-14-16,-13 13 0,0 0 0,14 0 16,-14 0-16,0 1 0,13-1 0,-13 0 15,0 0-15,13 1 16,-26-1-16,13 0 0,0 0 15,-13 1-15,-1-14 0,14 13 0,-13 0 16,0 0-16,0-13 16,13 13-16</inkml:trace>
  <inkml:trace contextRef="#ctx0" brushRef="#br0" timeOffset="8513.28">9512 6469 0,'13'13'16,"-26"-26"-16,26 40 0,-13-14 0,0 0 16,0 0-16,-13 0 0,13 1 15,-13 12-15,-1-13 0,14 1 16,-13-1-16,13 0 0,-13 0 0,13 1 16,0-1-16</inkml:trace>
  <inkml:trace contextRef="#ctx0" brushRef="#br0" timeOffset="8760.04">10094 6257 0,'0'14'0,"0"39"15,-13-27 1,13-13-16,-14 14 0,1-1 16,13-13-16,-13 14 0,0-14 0,13 14 15,0-14-15,-14 0 0,14 0 0,0 0 16,0 1-16,0-1 0,0 0 16</inkml:trace>
  <inkml:trace contextRef="#ctx0" brushRef="#br0" timeOffset="9084.48">10266 6297 0,'0'0'16,"13"0"-16,-13 13 15,0 14 1,-13-27-16,13 13 16,0 0-16,0 0 0,0 1 15,0-1-15,13-13 16,-13 13-16,0 0 0,13 1 16,-13-1-16,0 0 15,0 0-15,-13 1 0,13-1 16,-13 0-16,0-13 0,-1 13 0,1 0 15,0 1-15,0-14 0,-1 13 0,1 0 16,0 0-16,0-13 16,13 14-16,-13-14 0,-1 13 0,1-13 15</inkml:trace>
  <inkml:trace contextRef="#ctx0" brushRef="#br0" timeOffset="14366.96">4604 6826 0,'39'-13'0,"-12"13"15,-1 0-15,-12 0 0,12 0 0,0 0 16,1 0-16,-1 0 0,1-13 16,-1 13-16,14 0 0,-14 0 0,-12-13 15,12 13-15,-13 0 0,1 0 0,-1 0 16,0 0-16,-39 13 15,12 0 1,-12-13-16,-1 13 0,-12 0 0,-1 1 16,-13-1-16,13 0 0,-12 0 15,-1-13-15,13 14 0,0-1 0,14-13 16,13 13-16,-1-13 0,1 0 0,0 13 16,26 1-1,0-14-15,14 13 16,-1-13-16,14 0 0,-14 0 0,14 0 15,13 0-15,-13 0 0,-14 0 0,14 0 16,0 0-16,-1 0 0,-12 0 16,-1 0-16,1-13 0,-14 13 0,13 0 15,-12 0-15,-1 13 0,0-13 16</inkml:trace>
  <inkml:trace contextRef="#ctx0" brushRef="#br0" timeOffset="14916.87">5398 8401 0,'0'66'16,"0"-40"-16,-14 1 15,1 39-15,0-27 0,13-12 16,-13 13-16,-1-14 0,14 0 0,0-12 16,0-1-16,-13 13 0,13-12 15,0 12-15,0-13 0,0 1 16,0-1-16,0 0 0</inkml:trace>
  <inkml:trace contextRef="#ctx0" brushRef="#br0" timeOffset="15588.18">5583 8520 0,'0'0'0,"13"0"0,0 0 16,0 0-16,1 0 15,-1 13-15,0-13 16,-13 13-16,13 0 15,-13 0-15,0 1 16,0-1-16,0 0 16,14 0-16,-14 1 0,0-1 0,13 0 15,0 0-15,-13 1 0,13-1 16,-13 0-16,0 0 0,0 0 16,0 1-16,0-1 0,-13 0 15,13 0-15,-13 1 0,13-1 0,-13 0 0,-1 0 16,-12 1-16,13-1 0,-14 0 15,14-13-15,0 13 0,-14-13 0,14 0 16,0 0-16,0-13 16,13 0-1,0 0-15</inkml:trace>
  <inkml:trace contextRef="#ctx0" brushRef="#br0" timeOffset="15958.31">5173 8136 0,'-106'79'0,"212"-158"0,-252 211 0,106-92 15,14 26-15,-1-13 0,1 26 0,0-13 16,12 14-16,14 12 0,0-12 16,0-1-16,27 14 0,-1 13 0,14-14 15,0-12-15,13-14 0,-14-13 0,14 0 16,0-14-16,0-12 0,0 12 15,53-12-15,-53-27 0,0 0 16,52-27-16,-38 14 0,-1-26 16,-13 12-16,13-13 15,-13-13-15,79-66 0,-79 53 16,-13 13-16,39-92 0,-53 79 16,1 0-16,-14-14 0,-13 1 15,-13-1-15,-67-197 16,41 197-16,-1 14 0,0 13 0,-13 13 15,-52-26-15,52 53 16,0 0-16,0 13 0,-93 0 16,54 13-16,12 0 0,-12 1 0</inkml:trace>
  <inkml:trace contextRef="#ctx0" brushRef="#br0" timeOffset="17300.54">2805 9578 0,'-27'-238'15,"54"476"-15,-54-503 0,27 252 0,0-13 16,0 12-16,0 1 0,0 0 15,13 0 1,-13 39 0,14-13-16,-14 1 15,13-1-15,-13 0 0,13-13 16,-13 13-16,13-13 0,1 0 16,-1 0-16,0-13 15,0 13-15,0-13 0,1 13 0,-1-13 16,0-1-1,0 14-15,1 0 16,-1 14-16,-13-1 16,13 0-1,-13 0-15,0 1 0,13-14 16,-13 13-16,13-13 0,1 0 16,-1-13-16,53-14 15,-53 14 1,1 0-16,52 26 47,-66 0-32,13 14 1,0-27-16,0 13 16,1-13-16,-1 13 0,0-13 15,0-13-15,14 13 16,-14-13-1,-13-1-15,-13 1 16,0 13 0,13-13-1,-14 13-15,14-13 16,14-1 0,-1 14-16,0-13 15,0 13-15,0-13 0,-13 0 16,14 13-16,-1 0 0,0-13 15,0 13-15,1 0 16,-1 0 0,-13 13-16,0 0 15,0 0-15,0 0 0,0 1 16,0-1 0,0 0-1,13-39 1,0 12-1,-13 1-15,0-13 0,13 13 16,-13-40-16,0 39 0,0-12 16,0-14-16,-13 27 0,13-13 15,0 12-15,0 1 16,-13 26 0,0-13-16,13 14 15,0 12-15,0-13 16,0 0-16,13 27 0,-13-27 15,13 1-15,14-1 16,-27 0-16,26-13 16,-13-13-16,1 13 0,-1 0 15,0 0-15,0 0 0,14 0 0,-14 0 16,13 0-16,-12 0 16,-1 0-16,0 13 0,0-13 0,1 0 15,-1 13-15,0-13 0,0 0 16,1 0-1</inkml:trace>
  <inkml:trace contextRef="#ctx0" brushRef="#br0" timeOffset="17871.82">4022 9128 0,'66'0'0,"-53"-13"0,14 13 16,-1 0-16,14-13 0,-14 13 15,40-27-15,-13 27 16,-40 0 0</inkml:trace>
  <inkml:trace contextRef="#ctx0" brushRef="#br0" timeOffset="18040.04">4061 9287 0,'0'0'0,"40"0"31,-27-13-31,1 13 0,38-14 16,-25 14-16,79-39 15,-80 39-15,14-13 0</inkml:trace>
  <inkml:trace contextRef="#ctx0" brushRef="#br0" timeOffset="20112.3">6376 8877 0,'14'-27'0,"-1"27"0,0 0 15,0 0-15,14 0 0,-1 0 0,14 0 16,13 0-16,-13-13 0,13 13 0,-1 0 16,15-13-16,12 13 0,-13 0 15,13-13-15,-12 13 0,25-14 16,-12 14-16,12-13 0,1 0 0,26 0 0,13-1 15,0 1-15,1 0 16,-1 0-16,27-14 0,-14 14 0,1 0 16,13 0-16,-1-14 0,1 14 0,0 0 15,0-1-15,-1-12 0,1 13 0,0-14 16,-14 14-16,14-13 16,-13 12-16,-14-12 0,0 13 0,0-14 15,-12 14-15,-28 0 0,-12 0 0,78-27 16,-92 27-16,-26 13 0,0-14 15,-14 14-15,1-13 0,-14 13 0,0-13 16,-26 0 0,0 13-1,-1-13-15,-12 13 0,13-14 0,-14 14 16,1 0-16,13-13 0,-14 13 0</inkml:trace>
  <inkml:trace contextRef="#ctx0" brushRef="#br0" timeOffset="20421.18">10927 8030 0,'40'13'16,"-14"1"-16,14-14 0,13 13 0,66 26 16,-40-25-16,-12 12 0,12 14 15,-13-14-15,0 14 0,0 0 16,-13-14-16,-13 27 0,0-13 0,-14-14 16,-13 14-16,-13 0 0,-13-1 15,-13 14-15,-14-13 0,-26 26 0,-13 13 0,-14-12 16,0-1-16,-13 0 0,14-13 15,-27 13-15</inkml:trace>
</inkml:ink>
</file>

<file path=ppt/ink/ink2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23.609"/>
    </inkml:context>
    <inkml:brush xml:id="br0">
      <inkml:brushProperty name="width" value="0.05" units="cm"/>
      <inkml:brushProperty name="height" value="0.05" units="cm"/>
      <inkml:brushProperty name="ignorePressure" value="1"/>
    </inkml:brush>
  </inkml:definitions>
  <inkml:trace contextRef="#ctx0" brushRef="#br0">0 40,'1'-1,"-1"-1,0 0,1 1,0-1,-1 0,1 1,0-1,0 1,0-1,0 1,0-1,0 1,1 0,-1-1,0 1,1 0,-1 0,1 0,-1 0,1 0,-1 1,1-1,-1 0,1 1,0-1,0 1,-1-1,1 1,2 0,52-6,-56 6,5-1,0 1,0 0,0 1,0-1,0 1,0 0,-1 0,1 0,0 1,-1-1,1 1,-1 0,1 1,-1-1,0 1,0 0,5 4,-7-4,0 0,0 0,-1 0,1 0,-1 0,1 0,-1 0,0 1,0-1,0 0,-1 1,1-1,-1 1,0-1,0 1,0-1,0 0,-1 1,1-1,-1 1,0-1,0 0,0 1,0-1,-3 3,-1 6,-2 0,0-1,0 0,-1 0,-1 0,-16 15,-24 32,49-57,-1-1,1 0,0 1,-1-1,1 0,0 1,0-1,-1 1,1-1,0 1,0-1,0 0,-1 1,1-1,0 1,0-1,0 1,0-1,0 1,0-1,0 1,0-1,0 1,0-1,0 1,0-1,1 1,-1-1,0 0,0 1,0-1,1 1,-1-1,1 1,17 3,24-11,130-50,-160 52</inkml:trace>
</inkml:ink>
</file>

<file path=ppt/ink/ink2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24.798"/>
    </inkml:context>
    <inkml:brush xml:id="br0">
      <inkml:brushProperty name="width" value="0.05" units="cm"/>
      <inkml:brushProperty name="height" value="0.05" units="cm"/>
      <inkml:brushProperty name="ignorePressure" value="1"/>
    </inkml:brush>
  </inkml:definitions>
  <inkml:trace contextRef="#ctx0" brushRef="#br0">207 45,'1'0,"-1"1,0-1,1 0,-1 0,1 0,-1 0,1 0,-1 0,0 0,1 0,-1 0,1 0,-1-1,1 1,-1 0,0 0,1 0,-1 0,1 0,-1-1,0 1,1 0,-1 0,0-1,1 1,-1 0,0-1,0 1,1 0,-1-1,0 1,0 0,1-1,-1 1,0-1,0 1,0 0,0-2,0 2,0-1,0 0,-1 1,1-1,-1 1,1-1,0 1,-1-1,1 1,-1-1,1 1,-1-1,0 1,1 0,-1-1,1 1,-1 0,0-1,1 1,-1 0,0 0,1 0,-1 0,0-1,0 1,-12 0,1 1,-1 0,1 0,0 1,0 1,-1 0,2 0,-1 2,0-1,1 1,0 1,0 0,0 1,-13 10,22-15,1 0,-1-1,1 1,0 0,0-1,0 1,0 0,0 0,0 0,0 0,0 0,1 0,-1 0,1 1,0-1,-1 0,1 0,0 0,0 0,1 1,-1-1,0 0,1 0,-1 0,1 0,0 0,-1 0,1 0,0 0,0 0,0 0,1-1,-1 1,0 0,1-1,-1 1,3 1,8 9,1-1,0 0,27 17,-17-12,-21-15,0 0,0 0,-1 1,1-1,0 1,-1-1,1 1,-1 0,0-1,1 1,-1 0,0 0,0 0,0 0,-1 0,1 0,0 0,-1 0,1 0,-1 0,0 0,0 1,1-1,-2 0,1 0,0 0,0 0,-1 1,1-1,-1 0,1 0,-1 0,0 0,0 0,0 0,0 0,0-1,-1 1,1 0,0 0,-1-1,1 1,-1-1,0 0,1 1,-1-1,0 0,0 0,0 0,0 0,0 0,0 0,0-1,0 1,0-1,0 0,-1 1,1-1,0 0,0 0,0 0,0 0,-1-1,1 1,0-1,-3 0,5 1,-1-1,1 1,-1 0,0 0,1 0,-1-1,1 1,-1 0,1-1,-1 1,1-1,-1 1,1 0,0-1,-1 1,1-1,0 1,-1-1,1 1,0-1,0 0,-1 1,1-1,0 1,0-1,0 0,0 1,0-1,0 1,0-1,0 0,10-21,28-18,-34 37,16-15,-4 5,-2 0,1-2,-2 1,21-29,-32 40,0 0,0 0,-1 0,1-1,0 1,-1 0,0-1,0 1,0-1,0 0,-1 1,1-1,-1 1,0-1,0 0,0 1,-1-1,1 0,-1 1,0-1,0 1,0-1,0 1,-1 0,0-1,1 1,-1 0,0 0,0 0,-1 0,1 0,-4-3,3 4,0-1,0 1,0 0,0 0,0 0,0 1,0-1,-1 1,1 0,0 0,-1 0,1 0,-6 0,-8-1</inkml:trace>
</inkml:ink>
</file>

<file path=ppt/ink/ink2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25.203"/>
    </inkml:context>
    <inkml:brush xml:id="br0">
      <inkml:brushProperty name="width" value="0.05" units="cm"/>
      <inkml:brushProperty name="height" value="0.05" units="cm"/>
      <inkml:brushProperty name="ignorePressure" value="1"/>
    </inkml:brush>
  </inkml:definitions>
  <inkml:trace contextRef="#ctx0" brushRef="#br0">78 1,'-6'3,"1"1,0 0,0 0,1 0,-1 0,1 1,0 0,0 0,0 0,1 0,0 1,0-1,0 1,1 0,-3 9,2-8,1 1,0 0,0 0,1 0,0-1,0 1,1 0,0 1,0-1,1-1,3 15,-2-18,0 0,0 0,0-1,0 1,1 0,-1-1,1 1,0-1,0 0,1 0,-1 0,1-1,-1 1,1-1,0 0,0 0,0 0,0 0,0-1,0 1,0-1,1 0,-1 0,0-1,1 0,-1 1,0-1,1-1,-1 1,6-2,-5 2,0-1,1 1,-1-1,0-1,0 1,0-1,0 0,0 0,0-1,-1 1,1-1,-1 0,1 0,-1-1,0 1,-1-1,1 0,0 0,-1 0,0 0,0-1,0 1,-1-1,4-9,-4 6,-1 0,1 0,-2 0,1 0,-1 0,-1 0,1-1,-3-7,3 12,-1 0,0 0,-1 0,1 0,0 1,-1-1,0 0,0 1,0-1,0 1,-1-1,0 1,1 0,-1 0,0 0,0 1,-6-4,-9-3</inkml:trace>
</inkml:ink>
</file>

<file path=ppt/ink/ink2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25.555"/>
    </inkml:context>
    <inkml:brush xml:id="br0">
      <inkml:brushProperty name="width" value="0.05" units="cm"/>
      <inkml:brushProperty name="height" value="0.05" units="cm"/>
      <inkml:brushProperty name="ignorePressure" value="1"/>
    </inkml:brush>
  </inkml:definitions>
  <inkml:trace contextRef="#ctx0" brushRef="#br0">1 55,'0'9,"0"1,1-1,-1 0,2 1,-1-1,1 0,1 0,0 0,4 9,-4-14,-1 0,1 0,0-1,0 1,0-1,0 0,1 0,-1 0,1 0,0 0,0-1,0 0,0 0,0 0,0 0,1-1,-1 1,0-1,1 0,6 0,9 2,0-1,0-1,0-1,0-1,30-5,-43 5,-1-1,0 1,1-2,-1 1,0-1,-1 1,1-2,0 1,6-5,-10 5,1 1,0-1,-1 0,0 0,1 0,-1 0,0 0,-1 0,1-1,0 1,-1 0,0-1,0 0,0 1,0-1,-1 0,1-4,-1 4,0-1,-1 1,0-1,0 1,0 0,0 0,0-1,-1 1,0 0,0 0,0 0,0 1,-1-1,0 0,1 1,-1 0,0 0,-1 0,1 0,0 0,-1 0,0 1,0 0,1 0,-1 0,-1 0,-3-1,-2-1,0 0,0 1,0 1,0 0,0 0,0 1,-1 0,1 0,-1 1,-14 3,-1 2,-48 18,52-14</inkml:trace>
</inkml:ink>
</file>

<file path=ppt/ink/ink2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2.443"/>
    </inkml:context>
    <inkml:brush xml:id="br0">
      <inkml:brushProperty name="width" value="0.05" units="cm"/>
      <inkml:brushProperty name="height" value="0.05" units="cm"/>
      <inkml:brushProperty name="ignorePressure" value="1"/>
    </inkml:brush>
  </inkml:definitions>
  <inkml:trace contextRef="#ctx0" brushRef="#br0">197 3,'-12'-1,"13"-1,1 2,-1 0,1 0,0 1,-1-1,1 0,-1 1,1-1,-1 1,0-1,1 1,-1 0,1 0,-1-1,2 3,0-1,-1-1,1 1,-1 1,1-1,-1 0,0 1,0-1,0 1,0-1,-1 1,1 0,-1 0,1 0,-1 0,0 0,0 0,-1 0,1 0,0 1,-1 5,0-4,-1 0,0-1,-1 1,1 0,-1 0,0-1,0 1,0-1,0 1,-1-1,0 0,-4 5,-7 6,-1 1,-1-2,0 0,-1-1,-22 13,7-10,26-13,-1-1,1 1,0 0,0 1,0 0,0 0,1 0,0 0,-7 8,12-12,-1 1,1-1,0 1,0-1,0 1,0-1,0 1,0-1,0 1,0 0,0-1,0 1,0-1,0 1,1-1,-1 1,0-1,0 1,0-1,1 1,-1-1,0 1,1-1,-1 0,0 1,1-1,-1 1,1-1,-1 0,0 1,1-1,-1 0,1 0,-1 1,1-1,-1 0,1 0,-1 0,1 0,-1 1,1-1,-1 0,1 0,0 0,0 0,29 4,-28-4,104 1,-85-1</inkml:trace>
</inkml:ink>
</file>

<file path=ppt/ink/ink2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3.276"/>
    </inkml:context>
    <inkml:brush xml:id="br0">
      <inkml:brushProperty name="width" value="0.05" units="cm"/>
      <inkml:brushProperty name="height" value="0.05" units="cm"/>
      <inkml:brushProperty name="ignorePressure" value="1"/>
    </inkml:brush>
  </inkml:definitions>
  <inkml:trace contextRef="#ctx0" brushRef="#br0">172 2,'1'-1,"-1"1,0 0,0 0,0 0,1 0,-1 0,0 0,0 0,0 0,1 0,-1 0,0 0,0 0,1 0,-1 0,0 0,0 0,1 0,-1 0,0 0,0 0,0 0,1 0,-1 0,0 0,0 0,0 0,1 0,-1 1,0-1,0 0,0 0,0 0,1 0,-1 1,0-1,0 0,0 0,0 0,0 1,0-1,1 0,-1 0,0 0,0 1,0-1,0 0,0 0,0 1,0-1,0 0,0 0,0 0,0 1,0-1,0 0,-1 1,-13 13,-26 11,30-20,0 0,1 0,0 1,0 0,1 0,-13 13,20-18,0-1,1 1,-1 0,0 0,1 0,-1 0,1 0,-1 0,1 0,-1 0,1 1,0-1,0 0,-1 0,1 0,0 0,0 0,0 1,0-1,0 0,1 0,-1 0,0 2,2-1,-1 0,1 0,-1 0,1 0,0 0,-1-1,1 1,0-1,0 1,1-1,-1 1,0-1,0 0,0 0,4 1,1 1,1 0,1 1,-1-1,-1 2,1-1,10 9,-17-13,0 1,0 0,-1 0,1 0,0 0,0 0,0 0,-1 0,1 1,-1-1,1 0,-1 0,1 0,-1 1,1-1,-1 0,0 1,0-1,0 0,0 0,0 1,0-1,0 0,0 1,-1-1,1 0,0 0,-1 1,1-1,-1 0,1 0,-1 0,0 0,1 1,-1-1,0 0,0 0,0 0,0-1,0 1,0 0,0 0,0 0,0-1,-2 2,-4 3,0-1,0 0,-1 0,0 0,1-1,-1 0,0-1,-1 1,1-2,0 1,-1-1,-14 0,5-1</inkml:trace>
</inkml:ink>
</file>

<file path=ppt/ink/ink2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3.863"/>
    </inkml:context>
    <inkml:brush xml:id="br0">
      <inkml:brushProperty name="width" value="0.05" units="cm"/>
      <inkml:brushProperty name="height" value="0.05" units="cm"/>
      <inkml:brushProperty name="ignorePressure" value="1"/>
    </inkml:brush>
  </inkml:definitions>
  <inkml:trace contextRef="#ctx0" brushRef="#br0">77 0,'10'0,"1"0,0 1,-1 0,1 1,18 4,-27-5,0 0,0-1,0 1,0 0,0 0,0 0,-1 1,1-1,0 0,-1 1,1-1,-1 1,1 0,-1-1,0 1,1 0,-1 0,0 0,0 0,-1 0,1 0,0 0,-1 0,1 0,-1 0,1 0,-1 0,0 1,0-1,0 0,0 0,-1 0,1 0,0 0,-2 4,0 0,0-1,-1 0,0 1,0-1,0 0,0 0,-1 0,0-1,0 1,0-1,0 0,-7 5,-63 42,65-46,-47 35,56-40,0 0,-1 0,1 1,0-1,0 0,0 0,0 0,0 0,-1 1,1-1,0 0,0 0,0 0,0 0,0 1,0-1,0 0,0 0,0 0,0 1,0-1,0 0,0 0,0 1,0-1,0 0,0 0,0 0,0 1,0-1,0 0,0 0,0 0,0 1,0-1,0 0,0 0,1 0,-1 0,0 1,0-1,0 0,0 0,0 0,1 0,-1 0,0 1,16 3,16-2,71-20,-86 16</inkml:trace>
</inkml:ink>
</file>

<file path=ppt/ink/ink2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4.180"/>
    </inkml:context>
    <inkml:brush xml:id="br0">
      <inkml:brushProperty name="width" value="0.05" units="cm"/>
      <inkml:brushProperty name="height" value="0.05" units="cm"/>
      <inkml:brushProperty name="ignorePressure" value="1"/>
    </inkml:brush>
  </inkml:definitions>
  <inkml:trace contextRef="#ctx0" brushRef="#br0">58 1,'-3'7,"-2"5,1 4,-2-1,-1 1,1 0,2 2,1 0,-2 1,0 0,1 0,1 1,0-4</inkml:trace>
</inkml:ink>
</file>

<file path=ppt/ink/ink2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4.931"/>
    </inkml:context>
    <inkml:brush xml:id="br0">
      <inkml:brushProperty name="width" value="0.05" units="cm"/>
      <inkml:brushProperty name="height" value="0.05" units="cm"/>
      <inkml:brushProperty name="ignorePressure" value="1"/>
    </inkml:brush>
  </inkml:definitions>
  <inkml:trace contextRef="#ctx0" brushRef="#br0">8 12,'0'-3,"-3"-2,-1 1</inkml:trace>
</inkml:ink>
</file>

<file path=ppt/ink/ink2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5.276"/>
    </inkml:context>
    <inkml:brush xml:id="br0">
      <inkml:brushProperty name="width" value="0.05" units="cm"/>
      <inkml:brushProperty name="height" value="0.05" units="cm"/>
      <inkml:brushProperty name="ignorePressure" value="1"/>
    </inkml:brush>
  </inkml:definitions>
  <inkml:trace contextRef="#ctx0" brushRef="#br0">161 0,'-7'12,"-1"-1,1-1,-2 0,0 0,0 0,0-1,-18 13,13-11,1 0,1 1,-16 19,27-30,0-1,1 1,-1 0,0 0,1 0,-1 0,1 0,-1 0,1 0,-1 0,1 1,0-1,-1 0,1 0,0 0,0 0,0 0,0 0,0 1,0-1,0 0,0 0,1 0,-1 0,0 0,1 0,-1 1,1-1,-1 0,1 0,-1 0,1-1,0 1,-1 0,1 0,0 0,0 0,0-1,0 1,0 0,0-1,0 1,0 0,0-1,0 0,0 1,2 0,4 1,0 1,0-2,0 1,0 0,15 0,-4-2</inkml:trace>
</inkml:ink>
</file>

<file path=ppt/ink/ink2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43:12.827"/>
    </inkml:context>
    <inkml:brush xml:id="br0">
      <inkml:brushProperty name="width" value="0.05292" units="cm"/>
      <inkml:brushProperty name="height" value="0.05292" units="cm"/>
      <inkml:brushProperty name="color" value="#FF0000"/>
    </inkml:brush>
  </inkml:definitions>
  <inkml:trace contextRef="#ctx0" brushRef="#br0">1667 2725 0,'0'13'203,"53"-13"-187,53 0-16,52 0 16,28 0-16,52 0 15,53 0-15,39 0 16,-12 0-16,52 0 15,-79 0-15,40 40 16,-40-40-16,-53 27 16,14-27-16,-54 0 15,-66 0-15,1 0 16,-80 0-16,-14 0 16</inkml:trace>
  <inkml:trace contextRef="#ctx0" brushRef="#br0" timeOffset="13940.64">7673 4710 0,'119'-27'0,"-66"27"0,0-13 15,53 0-15,-53-1 16,-1 14-16,15 0 0,-14-13 0,-1 13 0,1 0 16,0 0-16,0-13 0,-26 13 15,12 0-15,-12 0 0,-1 0 0,-13 0 16,14 0-16,-14 0 0,0 0 0,1 0 16,-1 0-16,0 0 15,0-13-15,1 13 16,-1 13-1</inkml:trace>
  <inkml:trace contextRef="#ctx0" brushRef="#br0" timeOffset="14427.65">9221 4696 0,'39'0'15,"-12"0"-15,-1-13 16,27 13-16,-13 0 0,13 0 0,0-13 15,26 13-15,-13-13 0,14 13 16,-14-14-16,-13 14 0,0 0 0,0-13 16,-1 13-16,-12 0 0,0-13 0,-14 13 15,1 0-15,-14 0 0,0 0 16,0 0-16,1 0 0,-1 13 16,-26 0-1,-1 1 1</inkml:trace>
  <inkml:trace contextRef="#ctx0" brushRef="#br0" timeOffset="15527.93">8070 4815 0,'26'106'31,"-26"-53"-31,-13-13 0,13 26 15,0-13-15,0 13 0,0-13 16,-13 0-16,13-13 0,0 13 16,0-14-16,0 1 0,-13 0 0,13-14 15,0 0-15,0-12 0,-14 25 16,14-25-16,0-1 16,0 0-16</inkml:trace>
  <inkml:trace contextRef="#ctx0" brushRef="#br0" timeOffset="15816.55">7885 5464 0,'0'26'0,"13"-13"0,-13 1 16,0 12-16,13 0 0,-13-12 0,13 12 15,-13 14-15,14-14 0,-1 27 16,0 0-16,0-40 16,0 1-16,-13-1 0,14 0 0,-14 0 15,13-13-15,0 14 0,0-14 16,1 0-16,-1-14 0,0 14 16,0-13-16,0 13 0,1-13 15,-1 0-15,13-1 0,-12 1 16,-1 0-16,0 0 0,0-1 0,1 1 15,12 0-15</inkml:trace>
  <inkml:trace contextRef="#ctx0" brushRef="#br0" timeOffset="16345.34">9869 4749 0,'-106'172'31,"66"-106"-31,14-13 0,-14 27 16,1 12-16,-14-12 0,13-1 16,-13 0-16,13-26 0,1 13 15,12-13-15,-12 0 0,12 0 0,1-13 16,12-14-16,1 14 0,0-27 0,0 14 15,13-14-15,0 0 0,-13-13 16,13 13-16</inkml:trace>
  <inkml:trace contextRef="#ctx0" brushRef="#br0" timeOffset="16612.23">9062 5583 0,'0'0'0,"-13"26"0,0-13 0,13 14 0,-14-14 16,14 14-16,-13-14 0,13 13 0,0 1 16,0-1-16,0 1 15,0-1-15,0 1 0,13-1 0,1-13 0,-1 0 16,0 14-16,13-14 0,14 0 0,0-13 15,0 0-15,12 0 0,1-13 16,13 0-16,1 0 0,-1-1 0,-13-12 16,13 13-16,0 0 0,-13-14 15,-13 14-15</inkml:trace>
  <inkml:trace contextRef="#ctx0" brushRef="#br0" timeOffset="17097.52">8268 6628 0,'0'0'0,"13"40"32,-13-14-32,0 0 15,0 1-15,0 13 0,-13-1 0,13 1 16,0 13-16,-13-13 0,13-1 0,-13 14 16,13-13-16,-13 0 0,13-1 0,0-12 15,-14-1-15,14 1 0,0-14 16,-13 13-16,13-13 0,0 1 0,0-1 15,0 0-15</inkml:trace>
  <inkml:trace contextRef="#ctx0" brushRef="#br0" timeOffset="17983.7">8295 6734 0,'119'-53'31,"-106"53"-31,13 13 0,-12-13 0,-1 13 16,0 0-16,-13 1 0,0-1 15,0 0-15,0 14 0,0-14 0,-13 13 16,0 1-16,13-1 0,-14-13 0,14 1 15,0-1-15,-13 0 0,13 0 16,13 1-16,1-1 16,-14 0-16,13-13 0,0 13 0,14 0 15,-14 1-15,0-1 0,-13 0 16,13 0-16,0 1 0,-13-1 0,0 0 16,0 0-16,-13 1 0,0 12 0,0-13 15,0 14-15,-14-1 0,1 1 16,-1-14-16,14 0 0,-13 0 0,12 0 15,1 1-15,0-14 0,0 13 16,-1-13-16,1-13 16,13-1-16,0 1 0,0-13 15</inkml:trace>
  <inkml:trace contextRef="#ctx0" brushRef="#br0" timeOffset="18149.57">8692 6945 0,'39'-13'0,"-78"26"0,78-13 16,-26 0-16,1 14 0,-14-1 15,0 0-15,0 0 16,0 0-16,0 14 0,0-14 0,-14 0 16,14 14-16,0-14 0,-13 0 0,13 1 15,-13-1-15,13 0 16,0 0-16,-13 0 0,13 1 16</inkml:trace>
  <inkml:trace contextRef="#ctx0" brushRef="#br0" timeOffset="18275.84">8639 6853 0,'-14'0'0,"28"0"0</inkml:trace>
  <inkml:trace contextRef="#ctx0" brushRef="#br0" timeOffset="19601.41">8996 6906 0,'0'39'15,"0"-25"-15,0-1 16,-13 0-16,13 0 0,0 0 15,0 1-15,0-1 0,0 0 16,0 0 0,0 1-16,13-41 47,-13 14-47,13 13 0,0-13 15,-13-1-15,14 1 0,-1 13 0,0-13 16,0 13-16,0 0 0,1 0 15,-1 13 1,0-13-16,0 13 16,1-13-1,-1 0 17,0 0-32,0 0 15,-13-13 1,14 26-1,-1-13 1,0 0-16,0 0 16,0 0-16,1 0 0,-1-13 0,0 13 15,0 0-15,1-13 0,-1 13 16,0-13-16,0 13 0,0 0 0,-13-13 16,14 13-16,-1 0 15,0 0-15,0 0 16,1 0-1,-14 13-15,13-13 0,0 0 16,0 0-16,1-13 16,-1-1-16,0 14 15,0-13-15,0 0 0,-13 0 16,14 13-16,-14-14 0,0 1 0,0 0 16,0 0-1,-14-1-15,1 14 16,0 0-16,-13 0 15,26 14-15,-14-1 16,28 0 15,-1-26-31,0 13 0,0 0 16,0 0-16,1-13 0,-1 13 16,13-14-16,-12 14 15,-1-13-15,0 13 0,0 0 0,1 0 31,-14 13-31,0 1 16,0-1-16,0 0 16,0 0-16,0 1 15,13-1 1,0-13 0,0 0-1,-13-13-15,13 13 0,-13-14 16,14 1-16,-14 0 0,13 0 0,-13-14 15,0 14-15,13-13 0,-13-1 16,13-13-16,-13 14 0,0 0 0,0-1 16,14 1-16,-14-1 0,0 14 0,0 0 15,0-1-15,0 1 0,0 40 32,0-1-32,0-13 15,0 14-15,13-1 0,-13 1 0,0-14 16,13 13-16,0 1 0,-13-14 15,13 0-15,1 1 0,-14-1 0,13 0 16,0 0-16,0-13 0,1 13 16,-1-13-16,0 0 15,0 0-15,14 0 0,-14 0 16,0 14-16,0-14 16,-13 13-16,14-13 0,-14 13 15,13 0-15,-13 1 16,0-1-1,0 0-15</inkml:trace>
  <inkml:trace contextRef="#ctx0" brushRef="#br0" timeOffset="19693.54">10067 6734 0,'0'-14'0,"-13"1"16,13 0-1</inkml:trace>
  <inkml:trace contextRef="#ctx0" brushRef="#br0" timeOffset="19997.46">10107 6734 0,'0'26'16,"-26"14"-1,26-27 1,0 0-16,13-13 16,0 0-16,0 0 15,1 0-15,-14-13 0,26 13 16,-13-13 0,0 13-16,1 0 15,-1 0-15,0 0 16,0 0-1,1 0 1,-14 13 15</inkml:trace>
  <inkml:trace contextRef="#ctx0" brushRef="#br0" timeOffset="21748.43">7752 3982 0,'119'26'31,"-92"-26"-31,13-13 0,-14 13 16,0 0-16,14 0 0,-13 0 0,25-13 16,-12 13-16,0-13 0,13 13 15,-14-13-15,14 13 0,-13-14 0</inkml:trace>
  <inkml:trace contextRef="#ctx0" brushRef="#br0" timeOffset="22048.44">9115 4154 0,'40'0'16,"-14"0"-16,1-13 16,25 13-16,-12-13 0,13 13 0,0 0 15,13-14-15,-13 14 0,0 0 0,0-13 16</inkml:trace>
  <inkml:trace contextRef="#ctx0" brushRef="#br0" timeOffset="25109.3">15994 4498 0,'0'-13'0,"0"26"0,0-40 16,0 54 15,0-14-31,0 0 0,0 1 0,0-1 15,0 0-15,0 14 0,-13-14 0,13 0 16,0 13-16,0-12 0,0-1 16,0 0-16,0 0 0,0 1 0,-13-1 15,13 0 1,0 0-16,0 0 16,13-39 30,-13 13-46,0 0 0,0-1 16,13 1-16,-13 0 0,0 0 0,0-14 16,0 14-16,13 0 0,-13 0 15,0-1-15,0 1 0,0 0 0,14 0 16,-14-1-16,0 1 0,0 0 16,13 0-1,0 13-15,0 13 16,0 0-1,-13 0-15,14-13 0,-14 14 0,13-1 16,-13 0-16,13 0 0,-13 1 16,13-14-16,-13 13 0,0 0 0,14-13 15,-14 13-15,13-13 0,0 0 16,0 0 0,0-13-16,-13 0 0,14 0 15,-1-1-15,0 1 0,-13-13 16,13 12-16,1 1 0,-1-13 0,-13 12 15,13 1-15,-13 0 0,13 13 0,-13-13 16,14 13 0,-1 13-16,-13 0 15,0 0-15,0 1 0,0 12 16,0-13-16,0 14 0,0-14 0,0 14 16,0-14-16,0 13 0,0-13 0,0 1 15,0-1-15,13 0 0,-13 0 16,0 1-16,0-1 0,0 0 15,0 0-15,13-13 0,-13 13 0,13-13 16,1 0-16,-1 0 16</inkml:trace>
  <inkml:trace contextRef="#ctx0" brushRef="#br0" timeOffset="26009.01">16550 4630 0,'0'0'0,"-14"27"32,1-14-17,13 0 1,0 0-16,13 1 16,1-14-1,-1 0-15,0 0 16,0-14-16,1 14 0,-14-13 15,13 0-15,0 13 0,-13-13 0,13 13 16,-13-14-16,14 14 0,-14-13 16,13 13-16,0 13 15,-13 1 1,0-1-16,13 0 16,-13 0-16,13-13 15,-13 14-15,14-14 0,-14 13 0,13-13 16,0 0-16,0 0 15,1 0-15,-1-13 0,0 13 16,-13-14-16,13 1 0,1 0 16,-1 0-16,-13-1 0,13-12 0,-13 0 15,0 12-15,13-25 0,0 12 16,-13 1-16,0-1 0,14 14 0,-14-13 16,0 12-16,0 1 0,0 0 0,13 13 15,-13-13-15,-13 52 31,13-25-31,-14 12 0,14-13 16,0 14-16,0-14 0,0 13 0,0-12 16,0 12-16,0-13 0,14 1 15,-14 12-15,13-13 0,0 0 16,-13 1-16,13-1 0,1-13 16,-1 0-16,0 0 0,0 0 15,0-13-15,1 13 16,-1-14-16,13 1 0,-12-13 0,-1-1 15,0 1-15,0-14 0,14 14 0,-27-1 16,13-12-16,0 12 0,0 14 16,-13-14-16,0 14 0,14 0 0,-14 0 15,0 39 1,0-13 0,0 1-16,-14 12 0,14-13 15,0 14-15,0-14 0,0 13 0,0-12 16,0 12-16,0-13 0,0 1 0,0-1 15,14 0-15,-14 0 0,0 1 16,0-1-16,13-13 0,-13 13 16,13-13-1,0 0 1</inkml:trace>
  <inkml:trace contextRef="#ctx0" brushRef="#br0" timeOffset="26173.4">17132 4511 0,'-13'0'32,"39"0"-17,-13-13 1,0 13-16,1 0 0,-1 0 0,0 0 16,14-13-16,-14 13 0,13-14 15,-12 14-15,12 0 0,-13 0 0,0-13 16</inkml:trace>
  <inkml:trace contextRef="#ctx0" brushRef="#br0" timeOffset="26459.84">17529 4498 0,'-14'0'16,"14"13"-16,-13 14 16,0-14-1,13 0-15,0 0 0,0 1 16,-13-1-16,13 0 31</inkml:trace>
  <inkml:trace contextRef="#ctx0" brushRef="#br0" timeOffset="26584.67">17529 4379 0</inkml:trace>
  <inkml:trace contextRef="#ctx0" brushRef="#br0" timeOffset="27937.57">17714 4485 0,'-13'13'0,"26"-26"0,-26 39 16,13-13-16,0 1 16,-14-1-16,14 0 0,0 0 15,0 1-15,-13-1 16,26 0-1,1-39 17,-1 26-17,0 0-15,-13-14 0,13 14 16,1 0-16,-1 0 16,0 0-1,0 0-15,0 0 16,1 0-1,-1 0-15,0 0 16,0 0 15,1 14-31,-1-14 32,0 0-32,14 0 15,-14 0 1,0-14-16,0 14 0,-13-13 15,13 13-15,1 0 0,-1-13 0,0 13 16,-13-13-16,13 13 0,1 0 16,-1-14-1,-13 28 1,13-1-16,-13 0 16,0 0-16,13 1 15,1-1 1,-1-13-16,0 0 15,13 0-15,-12 0 16,-14-13-16,13 13 16,-13-14-16,0 1 15,-13 0-15,-1 13 16,14-13-16,-13 13 0,0 0 0,0-14 16,0 14-1,39-13 16,-13 13-15,0-13-16,14 13 0,-14 0 0,14-13 16,12 13-16,-12-14 0,-1 14 0,-13 0 15,14 0-15,-14 0 0,0 0 16,1 0-16,-1 0 0,0 14 16,-26-1-16,13 0 15,-13 0-15,13 1 16,-14-1-16,14 0 0,-13 0 15,13 1-15,0-1 16,13 0 15,1-26-31,-1 0 0,0 13 16,-13-14-16,13-12 0,0 13 0,1-14 16,12 1-16,-13-14 0,1 14 0,-1-1 15,0 1-15,-13-1 0,13 14 16,-13 0-16,0-1 0,14 14 0,-14-13 15,-14 26 1,14 1 0,0 12-16,-13-13 0,13 1 15,-13 12-15,13-13 0,0 1 0,0-1 16,0 0-16,0 0 0,13 0 0,-13 1 16,0-1-16,13-13 0,1 13 15,-1-13-15,0 0 0,0 0 16,0 0-16,1 0 0,-1 0 15,-13-13-15,13 13 0,0 0 16,-13-13-16,0 26 31,0 0-15,14 0 0,-1-26-1,0 13-15,0 0 16,0-13-16,1 13 0,-1-13 0,0-1 15,0 14-15,1 0 16,-14-13-16,13 13 0,0 13 31,-13 1-15,0-1-16,0 0 31,13-13-31</inkml:trace>
  <inkml:trace contextRef="#ctx0" brushRef="#br0" timeOffset="28083.6">19103 4339 0,'-13'0'31,"-1"13"-16,1 1 1</inkml:trace>
  <inkml:trace contextRef="#ctx0" brushRef="#br0" timeOffset="28791.83">19169 4233 0,'13'-39'0,"-26"78"0,40-92 16,-27 40-16,0 0 0,13 13 0,-26 26 31,-1 1-31,1-1 0,0 14 15,0 0-15,-1-1 0,1 1 0,0 0 16,13-1-16,-13-12 0,13-1 0,13 1 16,-13-1-16,13 1 0,-13-14 15,13 13-15,1-12 0,-1-1 0,0 0 16,0-13-16,1 13 0,-1-13 0,0 0 16,0 0-16,0 0 0,14 0 15,-14 0-15,0-13 0</inkml:trace>
  <inkml:trace contextRef="#ctx0" brushRef="#br0" timeOffset="28979.35">19592 4657 0,'0'0'0,"0"-14"62</inkml:trace>
  <inkml:trace contextRef="#ctx0" brushRef="#br0" timeOffset="29244.93">17780 4934 0,'26'0'16,"1"0"-16,13-13 0,13 13 15,-1 0-15,28-13 0,-1 0 0,1 13 16,-1-13-16,14 13 0,-14-14 0,14 14 15,-14-13-15,0 13 0,1-13 0,-14 13 16,-13-13-16,-14 13 0,14-14 16,-26 14-16,-1 0 0,-13 0 0,1-13 15</inkml:trace>
  <inkml:trace contextRef="#ctx0" brushRef="#br0" timeOffset="29526.02">18084 4987 0,'0'0'0,"93"0"0,-53 0 16,12 0-16,15 0 0,-14-13 0,-1 13 16,15 0-16,-14 0 0,-1-13 15,1 13-15,0 0 0,0 0 0,-13-13 16,0 13-16,-14 0 0,0 0 15,1 0-15,-14 0 0,0 0 16,1-14-16,-1 14 0,0 0 0,0 0 16,1-13-16,-1 13 15,-40 0 17,14 0-32</inkml:trace>
  <inkml:trace contextRef="#ctx0" brushRef="#br0" timeOffset="35528.18">13679 7990 0,'-13'14'0,"26"-1"109,0-13-109,0 0 0,1 0 16,-1 13-16,0-13 15,-13 13-15,13-13 0,-13 14 16,0-1-16,-13 0 16,13 0-16,-13-13 0,13 13 15,-13-13-15,13 14 0,-14-1 16,28 0 0,-1-13-1,-13 13-15,13-13 0,0 14 0,1-14 16,-14 13-16,13-13 0,-13 13 0,13 0 15,-13 1-15,-13-1 16,13 0-16,-13 0 16,-1 0-16,1-13 0,0 14 0,-14-1 15,14 0-15,-13 0 0,-1-13 0,14 0 16,0 14-16,0-14 0,-1 0 16,1 0-16,0 13 0</inkml:trace>
  <inkml:trace contextRef="#ctx0" brushRef="#br0" timeOffset="35704.74">13944 8321 0,'-27'40'16,"14"-27"-16,0 0 15,-80 67 1,67-67-16,12 0 0,1 0 0,-13 1 15,26-1-15,-14-13 0,1 13 0</inkml:trace>
  <inkml:trace contextRef="#ctx0" brushRef="#br0" timeOffset="36196.42">14592 8043 0,'-27'27'31,"14"-14"-31,0 0 0,-14 0 0,14 1 0,-13 12 16,-1-13-16,14 1 0,-13-1 15,12 0-15,1 0 0,0 1 0,0-14 16,-1 13-16,14 0 0,0 0 16,-13 0-16,26 1 15,1-14-15,-14 13 0,13-13 16,0 13-16,14-13 0,-14 0 0,13 13 16,-13-13-16,14 0 0,-14 0 0,0 0 15,14 0-15,-14-13 0,14 13 16,-14-13-16,0 13 0,0-13 0,0 13 15,1-14-15,-14 1 0</inkml:trace>
  <inkml:trace contextRef="#ctx0" brushRef="#br0" timeOffset="36393.48">14618 8030 0,'-26'13'0,"26"40"16,0-26-1,-13-14-15,13 13 0,0-12 16,0 12-16,0 1 0,-14-14 0,14 13 16,0 1-16,-13-1 0,13-13 0,-13 1 15,13 12-15,0-13 0,0 1 16,-13-1-16,13 0 0</inkml:trace>
  <inkml:trace contextRef="#ctx0" brushRef="#br0" timeOffset="36612.31">14922 8242 0,'40'39'15,"-40"-25"-15,13-1 16,-26 0-16,13 0 0,0 1 0,-13 12 15,0-13-15,-1 14 0,1-14 16,0 0-16,0 0 0,13 1 0,-13-1 16,13 0-16,-14-13 0</inkml:trace>
  <inkml:trace contextRef="#ctx0" brushRef="#br0" timeOffset="36911.68">15505 8030 0,'0'0'0,"-14"27"15,1-14 1,0 0-16,-14 0 0,14 0 16,0 1-16,0-1 0,0 0 15,-1 0-15,1 1 0,0-1 16,13 0-16,-13 0 0,13 1 0,0-1 15,0 0-15,0 0 0,13-13 16,-13 13-16,13-13 16,0 0-16,1 0 0,-1 0 0,0 0 15,0 0-15,0 0 0,14-13 0,-14 13 16,0-13-16,1 13 0,-1-13 16,0 0-16,0-1 0,1 14 0,-14-13 15,0 0-15</inkml:trace>
  <inkml:trace contextRef="#ctx0" brushRef="#br0" timeOffset="37092.32">15518 7977 0,'0'0'0,"-13"13"15,-1 1-15,14-1 16,0 0-16,-13 0 0,13 14 0,0-14 16,-13 13-16,13 1 0,0-1 0,0 1 15,0-1-15,-13 1 0,13-1 16,0 1-16,0-14 0,0 0 0,-14 14 15,14-14-15,0 0 0,0 0 0,0 1 16,0-1-16</inkml:trace>
  <inkml:trace contextRef="#ctx0" brushRef="#br0" timeOffset="37295.21">15901 8242 0,'-13'79'31,"0"-66"-31,0 14 0,-14-1 16,14 1-16,-13-14 0,-1 13 0,1 1 16,12-14-16,-12 14 0,13-14 15,13 0-15,-13-13 0,13 13 0</inkml:trace>
  <inkml:trace contextRef="#ctx0" brushRef="#br0" timeOffset="38075.08">16576 7951 0,'0'0'0,"27"0"0,-27-13 0,13 13 16,-40 0 15,14 13-31,0-13 16,0 13-16,-14-13 0,14 13 0,0-13 16,0 13-16,13 1 0,-14-14 15,14 13-15,-13-13 0,13 13 0,13 0 16,-13 1-16,14-14 15,-1 13-15,0-13 16,0 13-16,0-13 0,14 13 0,-14 0 16,0-13-16,1 14 0,-1-1 15,-13 0 1,-13 0-16,13 1 0,-14-14 0,-12 13 16,13 0-16,-14 0 0,1 1 0,-1-1 15,1-13-15,13 13 0,-14-13 0,14 13 16,0-13-16,-1 0 0</inkml:trace>
  <inkml:trace contextRef="#ctx0" brushRef="#br0" timeOffset="38245.18">16880 8109 0,'27'133'31,"-40"-120"-31,-1 27 0,1-14 16,0 1-16,-13-1 0,12 1 0,1-1 16,0-13-16,0 0 0,-1 1 0,14-1 15,-13 0-15</inkml:trace>
  <inkml:trace contextRef="#ctx0" brushRef="#br0" timeOffset="38733.4">17489 7885 0,'-27'39'31,"14"-25"-31,13-1 0,-13 13 0,0-13 15,13 14-15,-13-14 0,13 14 0,0-14 16,0 13-16,0-13 0,0 1 0,0 12 16,13-13-16,-13 1 0,13-14 15,0 13-15,0-13 0,1 13 16,-1-13-16,0-13 16,-26-14 15,0 27-31,-1 0 15,1 0 1,0 0-16,0 0 16,13 14-16</inkml:trace>
  <inkml:trace contextRef="#ctx0" brushRef="#br0" timeOffset="38973.21">17806 8176 0,'0'0'0,"14"0"16,-14 13-16,0 0 16,0 0-16,0 1 0,0-1 15,-14 13-15,1-13 0,0 1 0,0 12 16,0-13-16,-1 1 0,1-1 15,0 0-15,0 0 0,-1-13 16,14 14-16,-13-1 16</inkml:trace>
  <inkml:trace contextRef="#ctx0" brushRef="#br0" timeOffset="39301.48">18124 7951 0,'-13'26'15,"0"-26"1,13 13-16,-14 14 0,14-14 16,-13 0-16,13 14 0,0-14 0,0 0 15,0 14-15,0-14 0,0 0 16,13 14-16,-13-14 15,14-13-15,-1 13 0,0-13 0,0 13 16,0-13-16,1-13 16,-14 0-1,-14 0-15,1-1 16,0 14-16,13-13 16,-13 13-16,0 0 0,-1 0 15</inkml:trace>
  <inkml:trace contextRef="#ctx0" brushRef="#br0" timeOffset="39581.44">18574 8123 0,'26'53'15,"-26"-40"-15,0 0 16,0 0-16,0 1 0,0 12 0,-13-13 16,13 14-16,0-14 0,-13 0 0,13 0 15,0 1-15,-13-1 0,13 0 16,0 0-16,0 1 0</inkml:trace>
  <inkml:trace contextRef="#ctx0" brushRef="#br0" timeOffset="39913.36">19090 7845 0,'92'13'31,"-65"0"-15,-27 1-16,13-1 0,-13 0 15,13 0-15,-13 1 0,0-1 16,0 13-16,0-13 0,-13 1 0,13 12 16,0-13-16,-13 14 0,13-14 0,-13 0 15,13 0-15,-14 1 0,14-1 16,-13 0-16,13 0 0,0 1 16,-13-14-16,13 13 15</inkml:trace>
  <inkml:trace contextRef="#ctx0" brushRef="#br0" timeOffset="40104.55">19010 8083 0,'40'0'0,"-80"0"0,106 0 0,-39 0 16,-14-13-16,14 13 0,-1 0 15,1 0-15,-1 0 0,0 0 0,1-13 0,-1 13 16,14 0-16,-27 0 0,14 0 16,-1-14-16</inkml:trace>
  <inkml:trace contextRef="#ctx0" brushRef="#br0" timeOffset="45337.05">14327 8612 0,'40'0'16,"-27"0"-16,14 0 0,12 0 16,14 0-16,0-13 0,-13 13 15,13 0-15,0 0 0,-14-13 16,1 13-16,-14 0 0,14 0 0,-13 0 15,-1 0-15,0 0 0,-12 0 16,12-14-16,1 14 0</inkml:trace>
  <inkml:trace contextRef="#ctx0" brushRef="#br0" timeOffset="46912.63">13864 9578 0,'-26'-13'0,"39"-1"15,13 14 1,-12 14-16,-1-14 0,0 13 16,0-13-16,-13 13 15,0 0-15,0 1 16,0-1-16,-13-13 0,13 13 16,0 0-1,0 1-15,13-14 16,-13 13-16,0 0 0,0 0 15,0 14 1,-13-27-16,13 13 0,-13 0 0,0 0 16,-1-13-16,1 14 0,0-1 0,0 0 15,-1-13-15,1 13 0,0-13 16,0 13-16,0-13 0,-1 14 16,1-14-16,0 0 0,0 0 15</inkml:trace>
  <inkml:trace contextRef="#ctx0" brushRef="#br0" timeOffset="47108.24">14195 9710 0,'13'0'16,"40"-13"-1,-40 13 1,1 0-16,-1 0 0,0-13 16,0 13-16,0 0 0,1 0 0,-1-13 15</inkml:trace>
  <inkml:trace contextRef="#ctx0" brushRef="#br0" timeOffset="47334.58">14684 9485 0,'14'14'16,"-28"52"0,14-53-16,-13 0 15,13 0-15,0 14 0,-13-14 16,13 0-16,-13 1 0,13-1 0,0 0 15,0 0-15,0 0 0,-14-13 0,14 14 16</inkml:trace>
  <inkml:trace contextRef="#ctx0" brushRef="#br0" timeOffset="48740.71">13838 10398 0,'-40'0'31,"27"13"-31,-14 1 16,14-1-16,0 0 16,0 0-16,-1-13 0,1 14 0,0-1 15,0-13-15,13 13 16,0 0-16,-14 0 0,28 1 16,-1-1-1,0 0-15,0 0 16,1-13-16,12 14 0,-13-14 0,14 0 15,-14 0-15,0 0 0,14 0 16,-14 0-16,0 0 0,0 0 0,14-14 16,-14 14-16,0 0 0,1-13 0</inkml:trace>
  <inkml:trace contextRef="#ctx0" brushRef="#br0" timeOffset="48944.25">13983 10411 0,'-13'14'0,"-13"25"32,26-25-32,0-1 0,0 13 15,-14-13-15,14 14 0,0-14 0,-13 0 16,13 14-16,0-14 0,0 13 16,0-12-16,-13-1 0,13 0 0,0 0 15,0 1-15,13-1 0,-13 0 16,13-13-16,-13 13 0,14-13 15</inkml:trace>
  <inkml:trace contextRef="#ctx0" brushRef="#br0" timeOffset="49228.59">14301 10544 0,'39'0'31,"-25"0"-16,-1 0-15,0 0 0,0 0 16,1 0-16,12-14 16</inkml:trace>
  <inkml:trace contextRef="#ctx0" brushRef="#br0" timeOffset="49603.57">14684 10372 0,'0'0'16,"53"0"-1,-53 13-15,14-13 0,-14 13 16,0 0-16,13-13 15,-26 14-15,13-1 0,0 0 0,-14 0 16,1 1-16,13-1 0,-13-13 0,0 13 0,13 0 16,-14 0-16,1 1 15,13-1-15,-13-13 16,13 13-16,0 0 16,13-13-1,-13 14-15,27-14 0,-14 0 16,0-14-16,0 14 0,1 0 15,-1 0-15,0 0 0,0 0 16,14 0-16,-14-13 16,0 13-16</inkml:trace>
  <inkml:trace contextRef="#ctx0" brushRef="#br0" timeOffset="50933.05">13957 11271 0,'13'0'16,"0"0"-16,0 0 16,1 0-1,-1 0-15,-26 13 47,-1-13-31,1 0-16,0 14 0,0-14 0,0 13 15,-1-13-15,1 0 16,13 13-16,-13-13 16,13 13-1,13 1-15,0-14 16,-13 13-16,14-13 0,-14 13 0,13 0 15,0 1-15,-13-1 16,13-13-16,-13 13 16,0 0-16,-13-13 0,13 13 0,-13-13 15,13 14-15,-13-1 0,-14-13 0,14 13 16,0-13-16,-1 13 0,1-13 16,0 14-16,0-14 0,-1 0 0,1 0 15,0 0-15</inkml:trace>
  <inkml:trace contextRef="#ctx0" brushRef="#br0" timeOffset="51149.46">14354 11417 0,'13'0'16,"13"0"-1,-12 0-15,-1 0 0,0 0 0,0-13 0,0 13 16,1 0-16,-1 0 16,13-14-16,-12 14 0</inkml:trace>
  <inkml:trace contextRef="#ctx0" brushRef="#br0" timeOffset="51349.78">14751 11245 0,'-27'39'31,"27"-25"-31,-13-1 0,13 0 0,0 0 16,0 1-16,0-1 0,0 0 0,0 0 15,-13 1-15,13 12 0,0-13 16,0 0-16,0 1 0,0-1 16,-14 0-16,14 0 0</inkml:trace>
  <inkml:trace contextRef="#ctx0" brushRef="#br0" timeOffset="53395.53">13983 11919 0,'-13'0'15,"0"14"-15,13-1 0,-13 0 16,13 0-16,0 1 0,-14-1 0,14 0 16,0 0-16,0 1 0,0-1 0,0 13 15,14-13-15,-1 14 16,-13-14-16,13 0 0,0 1 0,0-14 16,1 13-16,-1-13 15,0 0 1,0-13-16,-13-1 15,-13 1 1,0 0 0,0 13-1,-1 0 1</inkml:trace>
  <inkml:trace contextRef="#ctx0" brushRef="#br0" timeOffset="53591.65">14354 12078 0,'13'-13'0,"0"13"31,-13-13-31,13 13 15,1 0 1,-1 0-16,0 0 0</inkml:trace>
  <inkml:trace contextRef="#ctx0" brushRef="#br0" timeOffset="54211.65">14790 11959 0,'0'-13'0,"0"26"0,13-26 16,1 26-1,-1-13-15,-13 13 0,0 1 16,-13-1-16,13 0 15,-14-13-15,14 13 0,-13 1 16,0-1-16,13 0 0,0 0 0,-13-13 16,13 13-16,0 1 0,0-1 31,13-13-31,0 13 16,0-13-16,1-13 0,-1 13 15,0 0-15,14 0 0,-14 0 16,13-13-16,-13 13 0,1 0 0,12 0 15,-13 0-15,1 0 0,-1 0 0,0 0 16</inkml:trace>
  <inkml:trace contextRef="#ctx0" brushRef="#br0" timeOffset="54884.53">13944 12687 0,'66'-27'31,"-53"27"-31,0 0 16,0 0-16,1 0 0,-1 0 15,0 0-15,0 0 0,1 14 16,-1-1-16,0 0 16,-13 0-1,0 0-15,13 1 0,-13-1 0,0 0 16,0 0-16,0 1 0,0-1 0,0 0 15,0 0-15,0 1 16,0-1-16,0 0 0,0 0 16,0 0-16,0 1 31</inkml:trace>
  <inkml:trace contextRef="#ctx0" brushRef="#br0" timeOffset="55091.9">13970 12872 0,'0'0'0,"26"-13"32,-12 13-32,-1 0 0,0 0 15,0 0-15,1 0 0,12-13 0,-13 13 16,14 0-16,-1-14 15,1 14-15,-1 0 0,1-13 16,-14 13-16,0 0 0,14 0 0</inkml:trace>
  <inkml:trace contextRef="#ctx0" brushRef="#br0" timeOffset="55448.88">14486 12766 0,'13'0'16,"0"0"0,1 0-16,-1-13 15,0 13 1,0 0-16,1 0 0,-1-13 15,0 13-15</inkml:trace>
  <inkml:trace contextRef="#ctx0" brushRef="#br0" timeOffset="56177.34">14922 12581 0,'14'26'32,"-14"-12"-32,0-1 0,0 0 0,0 14 15,0-14-15,0 13 0,0 1 0,-14-1 0,14 1 16,0-14-16,0 13 0,-13-12 16,13 12-16,0-13 0,0 0 15,0 1-15,0-1 0,13-13 16</inkml:trace>
  <inkml:trace contextRef="#ctx0" brushRef="#br0" timeOffset="57104.78">15478 10517 0,'27'-13'0,"-54"26"0,67-26 15,-27 13-15,0-13 16,1 13 0,-1 13-16,0-13 15,-13 13-15,13-13 0,-13 13 0,27 27 16,-14 0-16,0-1 15,-13 1-15,13 0 0,-13 0 0,14 52 16,-14-39-16,13 0 0,-13 0 16,13 13-16,0-13 0,-13 0 15,13 13-15,1-26 0,-14 13 0,13 0 16,0-1-16,0-12 0,1 13 0,-14-13 16,26 39-16,-13-39 15,1 0-15,-1-14 0,0 0 0,0 1 16,-13-1-16,13-12 0,-13-1 0,14 13 15,-14-13-15,0 1 16,0-1-16,13 0 16,-26-13-16,13 13 0,0 1 0,-14-14 0,1 13 15,0-13-15,0 13 0,-14-13 16,14 0-16,-13 13 0,12-13 16,-12 0-16,-1 0 0,1 0 0,0 0 15,-14-13-15,13 13 0,1 0 0,0 0 16,12-13-16,-12 13 0,13 0 15,-1-13-15,1 13 0,13-14 16,-13 14-16,13-13 0,13 0 16,-13 0-16,13-1 0</inkml:trace>
  <inkml:trace contextRef="#ctx0" brushRef="#br0" timeOffset="57505.42">15901 11311 0,'0'0'0,"40"0"16,-13 0-16,12 0 15,14 0-15,13 0 0,14 0 0,-1 0 16,14 0-16,-1 0 0,-12 0 0,12-13 16,1 13-16,0 0 0,-1 0 15,-13 0-15,1 0 0,-14-14 0,0 14 16,-13 0-16,0 0 0,0 0 0,-13 0 16,-14-13-16,0 13 0,1 0 15,-1 0-15,-12 0 0,-1 0 0,0 0 16,0 0-16,1 0 0,-1 0 15,0 0 1</inkml:trace>
  <inkml:trace contextRef="#ctx0" brushRef="#br0" timeOffset="57908.46">17502 10993 0,'66'40'31,"-52"-27"-31,12-13 0,-13 14 0,0-1 16,1-13-16,-1 13 0,13 0 15,-12 14-15,-1-14 0,0 0 0,-13 14 16,13-14-16,-13 13 0,0 1 0,0-1 16,-13 1-16,-13 12 0,-1 1 15,-13 0-15,1-1 0,-14 1 0,0-13 16,0 12-16,-13 1 0,26 0 0,-13-1 16,0-12-16,14-1 0,-14 1 15</inkml:trace>
</inkml:ink>
</file>

<file path=ppt/ink/ink2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5.609"/>
    </inkml:context>
    <inkml:brush xml:id="br0">
      <inkml:brushProperty name="width" value="0.05" units="cm"/>
      <inkml:brushProperty name="height" value="0.05" units="cm"/>
      <inkml:brushProperty name="ignorePressure" value="1"/>
    </inkml:brush>
  </inkml:definitions>
  <inkml:trace contextRef="#ctx0" brushRef="#br0">95 0,'-3'4,"-2"3,-2 5,-1 3,1 3,-1 1,0 1,3 0,-3-3,1-1,2-1,-3-2,2 0,0 1,2-2</inkml:trace>
</inkml:ink>
</file>

<file path=ppt/ink/ink2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6.127"/>
    </inkml:context>
    <inkml:brush xml:id="br0">
      <inkml:brushProperty name="width" value="0.05" units="cm"/>
      <inkml:brushProperty name="height" value="0.05" units="cm"/>
      <inkml:brushProperty name="ignorePressure" value="1"/>
    </inkml:brush>
  </inkml:definitions>
  <inkml:trace contextRef="#ctx0" brushRef="#br0">113 1,'-4'0,"-3"0,-5 3,-3 2,-3-1,-1 3,0 0,5 2,9-1,9-1,6 1,6 3,-1 2,-2 3,-1 2,-2-2</inkml:trace>
</inkml:ink>
</file>

<file path=ppt/ink/ink2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7.172"/>
    </inkml:context>
    <inkml:brush xml:id="br0">
      <inkml:brushProperty name="width" value="0.05" units="cm"/>
      <inkml:brushProperty name="height" value="0.05" units="cm"/>
      <inkml:brushProperty name="ignorePressure" value="1"/>
    </inkml:brush>
  </inkml:definitions>
  <inkml:trace contextRef="#ctx0" brushRef="#br0">77 16,'0'-1,"0"0,0 1,0-1,0 1,0-1,0 0,0 1,-1-1,1 1,0-1,0 0,-1 1,1-1,0 1,-1-1,1 1,-1-1,1 1,0-1,-1 1,1 0,-1-1,1 1,-1 0,1-1,-1 1,0 0,1-1,-1 1,1 0,-1 0,-1 0,-25 3,25-2,0-1,0 1,0-1,0 1,1 0,-1 0,0 0,1 0,-1 0,0 0,1 1,0-1,-1 0,1 1,0-1,-1 1,1-1,0 1,0 0,0 0,1-1,-1 1,0 0,1 0,-1 0,1 0,-1 2,2-1,0 0,1 0,-1-1,1 1,0-1,0 1,0-1,0 0,0 0,0 1,0-2,1 1,-1 0,4 1,-3 0,1-1,-1 0,0 1,0 0,0-1,-1 1,1 0,0 1,-1-1,2 4,-2-2,-1 1,0-1,0 1,0-1,-1 1,0 0,0-1,0 1,-1-1,0 1,-2 8,-23 63,18-56,1-5</inkml:trace>
</inkml:ink>
</file>

<file path=ppt/ink/ink2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8.536"/>
    </inkml:context>
    <inkml:brush xml:id="br0">
      <inkml:brushProperty name="width" value="0.05" units="cm"/>
      <inkml:brushProperty name="height" value="0.05" units="cm"/>
      <inkml:brushProperty name="ignorePressure" value="1"/>
    </inkml:brush>
  </inkml:definitions>
  <inkml:trace contextRef="#ctx0" brushRef="#br0">191 0,'-74'6,"69"-5,-1 0,1 1,-1-1,1 1,0 0,0 0,-1 1,1 0,1 0,-9 6,13-9,-1 1,0 0,1 0,-1 0,1 0,-1-1,1 1,-1 0,1 0,0 0,-1 0,1 0,0 0,0 0,0 0,0 0,0 0,0 0,0 0,0 0,0 0,0 0,0 0,1 0,-1 0,0 0,1 0,-1 0,1 0,-1 0,1 0,0-1,-1 1,1 0,0 0,-1-1,1 1,0 0,1 0,43 31,-29-22,-14-9,-1 0,1 1,0-1,-1 0,1 1,-1-1,1 1,-1-1,0 1,1 0,-1 0,0-1,0 1,0 0,-1 0,1 0,0 0,-1 0,1 0,-1 0,0 0,0 0,0 3,0-2,-1 0,0-1,0 1,-1 0,1-1,-1 0,1 1,-1-1,1 0,-1 0,0 1,0-1,0-1,-5 4,-6 4,0-2,0 1,-1-2,1 0,-17 5,12-6</inkml:trace>
</inkml:ink>
</file>

<file path=ppt/ink/ink2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8.857"/>
    </inkml:context>
    <inkml:brush xml:id="br0">
      <inkml:brushProperty name="width" value="0.05" units="cm"/>
      <inkml:brushProperty name="height" value="0.05" units="cm"/>
      <inkml:brushProperty name="ignorePressure" value="1"/>
    </inkml:brush>
  </inkml:definitions>
  <inkml:trace contextRef="#ctx0" brushRef="#br0">120 0,'0'7,"0"5,-3 7,-1 4,-1 4,2 5,-3 3,0 2,-2 5,-3 5,0 5,-1-1,-2-1,1-4,0 1,2-7</inkml:trace>
</inkml:ink>
</file>

<file path=ppt/ink/ink2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0.237"/>
    </inkml:context>
    <inkml:brush xml:id="br0">
      <inkml:brushProperty name="width" value="0.05" units="cm"/>
      <inkml:brushProperty name="height" value="0.05" units="cm"/>
      <inkml:brushProperty name="ignorePressure" value="1"/>
    </inkml:brush>
  </inkml:definitions>
  <inkml:trace contextRef="#ctx0" brushRef="#br0">288 2,'-18'-1,"1"1,0 0,0 2,-1 0,1 1,0 0,1 1,-21 9,36-13,0 0,0 1,0-1,-1 1,1-1,0 1,0-1,0 1,0 0,0-1,1 1,-1 0,0 0,0 0,0 0,1-1,-1 1,0 0,1 0,-1 1,1-1,-1 0,1 0,0 0,-1 0,1 0,0 0,0 1,0-1,0 0,0 0,0 0,0 0,0 1,0-1,1 0,-1 0,1 2,2 3,1 0,0 0,1 0,-1-1,10 9,-10-11,-1 0,0 0,0 0,-1 0,1 0,0 1,-1-1,0 1,0-1,0 1,0 0,-1 0,2 5,-4-6,1 0,-1 0,0 0,0 1,-1-1,1 0,-1 0,1-1,-1 1,0 0,0-1,0 1,-1-1,1 1,0-1,-1 0,0 0,1 0,-1 0,0-1,0 1,0-1,0 0,-7 2,3 0,-1-1,0 0,0 0,0-1,-1 0,1 0,0-1,-17-1,8-3</inkml:trace>
</inkml:ink>
</file>

<file path=ppt/ink/ink2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0.572"/>
    </inkml:context>
    <inkml:brush xml:id="br0">
      <inkml:brushProperty name="width" value="0.05" units="cm"/>
      <inkml:brushProperty name="height" value="0.05" units="cm"/>
      <inkml:brushProperty name="ignorePressure" value="1"/>
    </inkml:brush>
  </inkml:definitions>
  <inkml:trace contextRef="#ctx0" brushRef="#br0">197 1,'-2'30,"-2"-1,-2 0,0 1,-2-2,-1 1,-15 30,-8 30,-64 155,88-205,6-23</inkml:trace>
</inkml:ink>
</file>

<file path=ppt/ink/ink2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1.056"/>
    </inkml:context>
    <inkml:brush xml:id="br0">
      <inkml:brushProperty name="width" value="0.05" units="cm"/>
      <inkml:brushProperty name="height" value="0.05" units="cm"/>
      <inkml:brushProperty name="ignorePressure" value="1"/>
    </inkml:brush>
  </inkml:definitions>
  <inkml:trace contextRef="#ctx0" brushRef="#br0">109 2,'2'-1,"-1"1,1 0,-1 0,1 0,0 0,-1 0,1 0,-1 0,1 1,-1-1,1 1,-1-1,1 1,-1-1,1 1,-1 0,1 0,-1-1,0 1,0 0,1 0,-1 1,0-1,0 0,0 0,0 1,0-1,0 0,-1 1,1-1,0 1,-1-1,1 1,-1-1,1 1,-1-1,0 1,0-1,0 1,0 0,0-1,0 1,0-1,0 1,0 0,-1-1,1 1,-2 1,0 5,0-1,-1 0,-1 0,1 0,-1 0,0-1,0 0,-1 1,-5 5,-97 82,107-94,0 0,0 0,0 0,0 0,0 0,0 0,-1 1,1-1,0 0,0 0,0 0,0 0,0 0,0 0,0 1,0-1,0 0,0 0,0 0,0 0,0 1,0-1,0 0,0 0,0 0,0 0,0 0,0 1,0-1,0 0,0 0,0 0,0 0,0 1,0-1,0 0,0 0,1 0,-1 0,0 0,0 0,0 0,0 1,0-1,0 0,0 0,1 0,-1 0,0 0,0 0,0 0,0 0,0 0,1 0,-1 0,0 0,0 0,0 0,0 0,1 0,-1 0,0 0,0 0,20 0,21-6,-36 5,19-4,45-15,-56 14</inkml:trace>
</inkml:ink>
</file>

<file path=ppt/ink/ink2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1.636"/>
    </inkml:context>
    <inkml:brush xml:id="br0">
      <inkml:brushProperty name="width" value="0.05" units="cm"/>
      <inkml:brushProperty name="height" value="0.05" units="cm"/>
      <inkml:brushProperty name="ignorePressure" value="1"/>
    </inkml:brush>
  </inkml:definitions>
  <inkml:trace contextRef="#ctx0" brushRef="#br0">1 1,'19'0,"-4"-1,0 1,0 1,0 0,-1 1,26 6,-36-6,0-1,-1 1,1 0,-1-1,0 1,1 1,-1-1,0 1,0-1,-1 1,1 0,0 0,-1 0,0 0,0 0,0 1,0-1,0 0,-1 1,1 0,-1-1,0 1,0 0,0 0,-1 0,0 0,1 4,-1 9,-1 1,0-1,-1 0,-5 19,-3 34,9-55</inkml:trace>
</inkml:ink>
</file>

<file path=ppt/ink/ink2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1.969"/>
    </inkml:context>
    <inkml:brush xml:id="br0">
      <inkml:brushProperty name="width" value="0.05" units="cm"/>
      <inkml:brushProperty name="height" value="0.05" units="cm"/>
      <inkml:brushProperty name="ignorePressure" value="1"/>
    </inkml:brush>
  </inkml:definitions>
  <inkml:trace contextRef="#ctx0" brushRef="#br0">1 1,'3'0,"5"0,4 0,3 0,3 0,1 0,1 0,0 0,0 0,-3 0</inkml:trace>
</inkml:ink>
</file>

<file path=ppt/ink/ink2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45:35.779"/>
    </inkml:context>
    <inkml:brush xml:id="br0">
      <inkml:brushProperty name="width" value="0.05292" units="cm"/>
      <inkml:brushProperty name="height" value="0.05292" units="cm"/>
      <inkml:brushProperty name="color" value="#FF0000"/>
    </inkml:brush>
    <inkml:brush xml:id="br1">
      <inkml:brushProperty name="width" value="0.05292" units="cm"/>
      <inkml:brushProperty name="height" value="0.05292" units="cm"/>
      <inkml:brushProperty name="color" value="#0070C0"/>
    </inkml:brush>
  </inkml:definitions>
  <inkml:trace contextRef="#ctx0" brushRef="#br0">1759 3175 0,'0'13'0,"80"-13"31,-27 0-31,0 0 0,0 0 16,26-13-16,0 13 0,-13-13 0,14 13 16,-14-13-16,0 13 0,40-14 15,-53 14-15,-13-13 0,13 13 16,-40 0-16,13-13 0,-13 13 16,1 0-16,-1 0 0,0 0 15,0 0-15,1 0 16</inkml:trace>
  <inkml:trace contextRef="#ctx0" brushRef="#br0" timeOffset="1476.38">1958 3056 0,'40'0'32,"-14"0"-32,1 0 0,39 0 15,-27 0-15,14 0 0,0-13 16,0 13-16,-13-14 0,66 1 16,-53 13-16,-14-13 0,54 0 15,-53 0-15,-14 13 0,0-14 16</inkml:trace>
  <inkml:trace contextRef="#ctx0" brushRef="#br0" timeOffset="1668.57">2394 3082 0,'80'-13'32,"-54"0"-32,1 13 0,-1-13 0,40-1 15,-39 1-15</inkml:trace>
  <inkml:trace contextRef="#ctx0" brushRef="#br0" timeOffset="3053.68">15782 3096 0,'53'0'16,"27"0"-1,-14 0-15,13 0 0,106-14 16,-79 14-16,13 0 0,27 0 16,-1 0-16,-12 0 0,144 0 15,-131 0-15,-14 0 0,1 14 0,-1-14 16,-26 13-16,-14-13 0,14 13 0,-13-13 16,-1 0-16,-12 13 0,65 1 15,-92-14-15,0 0 0,-26 0 16,12 0-16,-26 13 0,14-13 0,-14 0 15,0 0-15,1 0 0,-1 0 16,0 0-16,-66 0 47,40 0-47</inkml:trace>
  <inkml:trace contextRef="#ctx0" brushRef="#br0" timeOffset="3406.27">16907 3268 0,'0'0'0,"40"0"0,-14 0 16,27 0-16,0 0 0,13 0 0,93-14 15,-67 14-15,1 0 16,0 0-16,12 0 0,-12 0 0,0 0 16,92 14-16,-93-14 0,-12 0 15,52 0-15,-79 0 0,-13 0 16,-1 0-16,-12 0 0,-1 0 16,1 13-16,-14-13 0,0 0 0,0 0 15,14 0-15,-14 0 16,0 0-1</inkml:trace>
  <inkml:trace contextRef="#ctx0" brushRef="#br0" timeOffset="4157.74">20677 3003 0,'159'0'15,"-106"0"1,92 13-16,-65-13 16,12 13-16,80-13 0,-79 0 15,0 14-15,92-14 0,-93 0 16,1 0-16,79 0 15,-93-14-15,1 14 0,-14 0 16,-13 0-16,0 0 0,0-13 0,-1 13 16,-38 0-16,-1-13 15</inkml:trace>
  <inkml:trace contextRef="#ctx0" brushRef="#br0" timeOffset="4356.34">21180 3056 0,'40'26'0,"-14"-26"0,358 27 31,-292-27-31,14 0 0,0 13 16,39-26-16,80 13 0,-119-13 15,66-1-15,-79 1 16,-27 0-16</inkml:trace>
  <inkml:trace contextRef="#ctx0" brushRef="#br0" timeOffset="5197.84">1376 3916 0,'26'0'16,"14"0"-16,13-13 15,0 13-15,92-27 0,-52 14 16,-14 0-16,159-14 15,-119 14-15,1-13 0,131-1 16,-145 14-16,0 0 0,66-14 16,-93 14-16,0 13 0,40-13 15,-66-1-15,0 14 0,-13 0 16,0-13-16,-14 13 0,14 0 16,-27 0-16</inkml:trace>
  <inkml:trace contextRef="#ctx0" brushRef="#br0" timeOffset="6280.52">5146 3704 0,'53'0'0,"13"0"0,-13 13 16,-13-13-16,66 0 16,224-13-1,-250 13-15,-1 0 0,93-13 16,-93 13-16,54-13 16,-80 13-16,0 0 0,39 0 15,-65 0-15,-1-14 0,14 14 16,-27 0-16,0 0 0,1 0 15,-1 0-15,0 0 16,0 0-16,0 0 16,1 0-16</inkml:trace>
  <inkml:trace contextRef="#ctx0" brushRef="#br0" timeOffset="7569.61">8149 3638 0,'93'0'0,"-186"0"0,252 0 16,13 0-16,-80 0 16,14 0-16,27 0 0,-1 0 15,278 13-15,-278-13 16,14 0-16,-40 0 0,-14 0 0,14 0 15,0 13-15,0-13 0,-14 0 16,1 0-16,79 0 0,-106 0 16,0 0-16,40 0 0,-53 14 15,-13-14-15,13 0 16,-27 0-16,1 0 0,-1 0 16,-13 0-16,0 0 0,1 0 15,-1 0-15,0 0 0,0 0 16,-13 13-1,14-13 17</inkml:trace>
  <inkml:trace contextRef="#ctx0" brushRef="#br0" timeOffset="8828.32">11893 3149 0,'40'0'16,"-27"13"-16,0-13 16,0 0-16,1 0 15,-1 0 1,0 13-1,0-13 17,1 0-17,-14 13 1,13 0 0,-13 1-16,13-1 0,-13 0 0,13 0 15,-13 1-15,13-1 0,1 27 16,-14-27-16,13 13 0,-13 14 15,13-27-15,-13 14 0,0-14 16,13 0-16,-13 0 0,-13 40 16,0-40-1,0 1-15,-14-1 0,1 13 0,-14-12 0,0-1 16,1 0-16,-14 13 16,-40 1-16,54-14 0,-14 0 15</inkml:trace>
  <inkml:trace contextRef="#ctx0" brushRef="#br0" timeOffset="15666.66">7885 4299 0,'105'-39'0</inkml:trace>
  <inkml:trace contextRef="#ctx0" brushRef="#br0" timeOffset="18241.49">10451 5080 0,'13'0'32,"-13"-13"-17,0 0 17,-13-1-17,0 14 1,0 0-16,-1 14 15,1-14-15,13 13 16,0 0-16,-13 0 0,13 0 0,0 14 16,-13-14-16,13 0 0,0 14 15,-14-14-15,14 14 0,-13-14 0,13 13 16,-13-13-16,13 14 0,-13-14 16,13 0-16,-13 1 0,-1-1 15,14 0-15,-13-13 16,13 13-1,0 1 1,0-1-16,0 0 16,0 0-16,0 14 15,-13-14-15,13 0 0,-13 14 0,13-14 16,-14 0-16,14 13 0,-13-12 16,13-1-16,0 0 0,-13 0 0,13 1 15,0-1-15,0 0 16,0 0-16,13-13 15</inkml:trace>
  <inkml:trace contextRef="#ctx0" brushRef="#br0" timeOffset="18588.52">10861 5212 0,'13'-13'0,"-52"26"31,25 1-31,1-14 16,0 13-16,-13 0 0,12 0 0,1 0 16,-13 1-16,12-1 0,1 0 15,0 0-15,0-13 0,13 14 0,-14-1 16,1 0-16,13 0 0,0 1 15,0-1 1,13-13-16,1 13 0,-1 0 16,0-13-16,0 0 0,14 0 15,-14 0-15,0 0 0,1 0 0,-1 0 16,13 0-16,-13 0 0,1 0 16,-1 0-16,0-13 0,0 13 15,1 0-15</inkml:trace>
  <inkml:trace contextRef="#ctx0" brushRef="#br0" timeOffset="18793.89">10888 5199 0,'-14'0'0,"14"13"16,-13-13-16,13 14 0,0-1 15,-13 13-15,13-13 0,0 14 0,-13-14 16,13 14-16,0-1 0,-14 14 0,1-14 15,13 1-15,0-1 0,-13 1 16,13-14-16,-13 13 0,13-13 0,0 14 16,0-14-16,0 0 0,-13 1 15</inkml:trace>
  <inkml:trace contextRef="#ctx0" brushRef="#br0" timeOffset="19044.21">11126 5424 0,'26'13'16,"-13"0"0,-13 1-16,14-1 0,-14 0 15,0 14-15,0-14 0,0 0 0,0 0 16,-14 0-16,14 14 0,0-14 0,0 0 15,-13-13-15,13 14 16,0-1-16,-13 0 0,13 0 16,-13-13-16</inkml:trace>
  <inkml:trace contextRef="#ctx0" brushRef="#br0" timeOffset="19490.5">11509 5226 0,'27'0'32,"-1"0"-32,-12 0 15,-1 0-15,0 13 0,0-13 16,0 0-16,1 13 15,-1-13-15,0 13 0,0 0 16,-13 1-16,14-1 0,-14 0 0,0 14 16,0-14-16,0 0 0,0 0 15,0 14-15,0-14 0,0 0 0,-14 14 16,14-14-16,0 0 0,-13-13 16,13 13-16,0 1 0,-13-1 15,13 0 1</inkml:trace>
  <inkml:trace contextRef="#ctx0" brushRef="#br0" timeOffset="19660.64">11523 5411 0,'-14'0'15,"54"0"16,-27 0-31,1 0 0,12 0 16,-13 0-16,0 0 0,14 0 16,-14-13-16,14 13 0,-1 0 15,-13 0-15</inkml:trace>
  <inkml:trace contextRef="#ctx0" brushRef="#br0" timeOffset="19828.3">11972 5371 0,'14'13'0,"-1"-13"16,-13 14-16,13-14 0,-13 13 15,13 0-15,-13 0 0,0 0 0,0 1 16,14-1-16,-28 0 0,14 0 16,0 14-16,-13-14 0,13 13 0,-13-12 15,0 12-15,-1-13 0,1 14 0,13-14 16,-13 0-16,0 1 0,13-1 16,-14 0-16,14 0 0</inkml:trace>
  <inkml:trace contextRef="#ctx0" brushRef="#br0" timeOffset="20242.21">12515 5239 0,'0'13'16,"0"0"-16,0 0 16,-13 1-16,13-1 0,0 0 0,0 0 15,-14 14-15,14-14 0,-13 0 16,13 1-16,0-1 0,0 0 0,0 0 15</inkml:trace>
  <inkml:trace contextRef="#ctx0" brushRef="#br0" timeOffset="20416.62">12726 5252 0,'14'0'15,"-28"0"-15,28 13 31,-14 0-31,0 1 0,0-1 0,-14 13 16,14-12-16,-13-1 0,0 53 16,0-26-1,13-27-15,0 0 0</inkml:trace>
  <inkml:trace contextRef="#ctx0" brushRef="#br0" timeOffset="20608.55">12951 5490 0,'0'66'31,"0"-53"-31,0 14 0,-13-14 16,0 14-16,13-14 0,-27 27 15,14-14-15,0 0 0,13-12 0,-13-1 16,13 13-16,-13-12 0</inkml:trace>
  <inkml:trace contextRef="#ctx0" brushRef="#br0" timeOffset="21360.74">13613 5186 0,'0'-13'0,"0"39"16,0-13-1,0 27-15,-13 0 16,13-14-16,-27 40 0,27-39 16,-40 105 15,40-119-31,14 0 15</inkml:trace>
  <inkml:trace contextRef="#ctx0" brushRef="#br0" timeOffset="21638.37">13864 5265 0,'0'0'0,"-26"27"31,12-14-31,1 0 0,0 0 0,13 14 15,-13-1-15,13-12 0,-13 12 0,13-13 16,0 0-16,0 1 0,0 12 16,0-13-16,13-13 0,-13 14 0,0-1 15,13-13-15,-13 13 0,13-13 0,-26-13 47,0 13-47,0-13 16,-1-1 15</inkml:trace>
  <inkml:trace contextRef="#ctx0" brushRef="#br0" timeOffset="21798.54">13944 5477 0,'26'13'0,"0"14"16,14 39-1,-27-53 1,-13 0-16,0 14 0,0-14 0,0 0 15,0 0-15,0 1 0,-13-1 16,13 0-16,0 0 0,0 0 0,-13 1 16,26-1-1</inkml:trace>
  <inkml:trace contextRef="#ctx0" brushRef="#br0" timeOffset="22377.44">14552 5265 0,'13'0'0,"1"0"16,-1 0-16,-13 13 0,13 14 16,0-14-16,-13 0 15,0 1-15,-13-1 0,13 0 0,-13 0 16,0 1-16,13-1 0,-14 0 0,1 0 16,0 0-16,13 1 0,-13-1 15,-1 0-15,1 0 16,13 1-16,13-14 15,1 0 1,-1 0-16,0 0 16,14-14-16,-1 14 0,-13-13 0,14 13 15,12-13-15,-12 0 0,-14 13 0,14-14 0,-14 14 16,0-13-16,0 13 16,0 0-16,1 0 15,-1 0 1,0 13-16,0-13 15,1 0-15,-14 14 16,13-28-16,0 14 16,0 0-16,-13-13 15,0 0 1,0 0-16,-13 13 0,13-13 16,-13 13-16,13-14 0,-13 14 15,-1 0-15,1 0 0,0 0 0,0 0 16,-1 14-16,1-14 15,0 0-15,13 13 0</inkml:trace>
  <inkml:trace contextRef="#ctx0" brushRef="#br0" timeOffset="22576.89">15200 5477 0,'14'26'0,"-1"14"32,-13-27-32,0 0 0,-13 1 15,-1-1-15,1 0 0,0 0 0,0 1 16,-1 12-16,1-13 0,0 1 0,0-1 16,-1-13-16,1 13 0</inkml:trace>
  <inkml:trace contextRef="#ctx0" brushRef="#br0" timeOffset="23121.04">15650 5292 0,'40'0'0,"-80"0"0,93 0 0,-40 0 16,0 0-16,1 13 0,-1-13 0,-13 13 16,13-13-16,-13 13 0,-13 14 15,13-14-15,-13-13 16,-1 13-16,1 1 0,0-1 0,13 0 15,-13 0-15,0 0 0,-1 1 16,14-1-16,-13 0 16,13 0-1,13 1-15,1-14 16,-1 0-16,0 0 0,0 0 16,14 0-16,-14 0 0,13 0 0,-12-14 15,12 14-15,-13 0 0,14-13 16,-14 13-16,0 0 0,-13-13 0,13 13 15,1 0-15,-14-13 0</inkml:trace>
  <inkml:trace contextRef="#ctx0" brushRef="#br0" timeOffset="23481.82">16007 5318 0,'14'-13'0,"-1"0"16,0 13-16,0-14 16,14 14-16,-14 0 15,-13 14-15,13-14 0,0 13 16,1 0-16,-28 14 15,1-14-15,13 0 16,-13 0-16,0 1 0,-1-1 0,14 0 16,-13 0-16,0 0 0,13 1 15,0-1-15,13-13 32,0 0-32,1 0 0,-1 0 15,0 0-15,0-13 0,1 13 0,12-14 16,-13 14-16,0-13 0,14 13 15,-14 0-15,0-13 0,1 13 0,-1 0 16,0 0-16,0 0 16,1 0-16,12 13 15,-26 0-15,13 1 0,-13-1 16,0 0-16,-13 0 0,13 1 0,0-1 16,-13 0-16,13 0 0,-13 0 15,-1 1-15,14-1 0,-13 0 16,13 0-16,-13-13 0</inkml:trace>
  <inkml:trace contextRef="#ctx0" brushRef="#br0" timeOffset="23970.41">16999 5226 0,'27'0'0,"26"13"32,-40 0-32,0 0 0,-13 0 15,0 1-15,0-1 0,0 0 0,0 0 16,-13 1-16,13 12 0,-13-13 0,0 1 16,-1 12-16,1-13 0,0 0 15,0 1-15,-1-14 0,14 13 0,-13 0 16,0 0-16,13 1 15,13-1 17,0-26-32,1 13 0,-1 0 0,0 0 15,14 0-15,-14 0 0,13 0 0,-12-14 16,12 14-16,-13 0 0,0-13 16,14 13-16,-14 0 0,0-13 0,1 13 15,-1 0-15,0-13 0</inkml:trace>
  <inkml:trace contextRef="#ctx0" brushRef="#br0" timeOffset="24287.75">17515 5305 0,'-53'0'31,"40"0"-15,0 0-16,0 13 16,0-13-16,13 13 0,0 1 15,13-1-15,-13 0 16,13 0-16,-13 1 16,13-14-16,-13 13 0,0 0 15,13 0-15,-13 0 0,-13 1 16,0-1-1,0-13-15,13 13 0,-13-13 0,-1 13 16,1-13-16,0 0 0,0 14 0,-1-14 16</inkml:trace>
  <inkml:trace contextRef="#ctx0" brushRef="#br0" timeOffset="24456.57">17595 5437 0,'39'13'0,"-78"-26"0,92 40 16,-40-14-16,-13 0 0,13 0 16,-13 1-16,-13-1 0,13 0 0,0 13 15,-13-12-15,-1 12 0,1-13 16,0 14-16,-13-14 0,12 0 16,1 14-16,13-14 0,-13 0 0,0-13 15,13 13-15</inkml:trace>
  <inkml:trace contextRef="#ctx0" brushRef="#br0" timeOffset="24936.68">18217 5265 0,'26'0'16,"-52"0"-16,65 0 0,-26 13 0,1-13 0,-1 0 0,0 14 15,0-14-15,1 13 0,-1 0 16,-13 0-16,0 1 0,0-1 16,-13 0-16,-1 0 0,-12 14 0,13-14 15,-14 13-15,-12-12 0,12-1 0,14 0 16,-14 0-16,14 1 0,0-1 16,0-13-16,13 13 0,-13-13 0,-1 0 15,14 13-15,0 0 16,14 1-1,-1-14-15,0 0 0,0 0 16,14 0-16,-14 0 0,13 0 0,1 0 16,-1 0-16,1 0 0,12-14 0,1 1 15,0 0-15,-14 0 16,14 0-16,0-1 0,-14-12 0,14 13 16</inkml:trace>
  <inkml:trace contextRef="#ctx0" brushRef="#br0" timeOffset="25189.53">18812 5226 0,'13'-27'0,"-26"54"0,26-67 15,-53 53 1,27-13 0,0 13-16,0 1 0,-14 12 15,1 0-15,13-12 0,-1 12 0,14-13 16,-13 14-16,13-14 0,-13 0 16,13 1-16,0-1 0,13 0 0,-13 0 15,13 0-15,-13 1 0,14-14 16,-1 13-1,0-13-15,-13-13 16,13 13-16,-13-14 16,0 1-16,-13 0 15,13 0 17</inkml:trace>
  <inkml:trace contextRef="#ctx0" brushRef="#br0" timeOffset="25353.42">18918 5450 0,'26'27'0,"-13"26"31,-26-40-31,13 0 0,-13 0 0,0 1 0,-1-1 16,-12 0-16,13 0 16,0 1-16,-14-1 0,14 0 0,0 0 15,-1 1-15,1-1 0,0-13 0,13 13 0</inkml:trace>
  <inkml:trace contextRef="#ctx0" brushRef="#br0" timeOffset="26050.74">19539 5226 0,'27'-14'15,"-54"28"-15,67-28 16,-27 28-16,-13-1 15,-13 0 1,13 0-16,-13-13 0,0 13 0,-1 1 16,1-1-16,13 0 15,-13 0-15,13 1 0,13-1 16,-13 0-16,13 0 16,-13 1-16,14-1 0,-1 0 0,-13 0 15,13-13-15,0 13 0,-13 1 0,14-1 16,-14 0-16,-14 0 15,14 1-15,-13-14 16,13 13-16,-13-13 0,0 0 0,-1 13 16,1-13-16,0 0 15,0 0-15</inkml:trace>
  <inkml:trace contextRef="#ctx0" brushRef="#br0" timeOffset="26361.48">19817 5292 0,'0'13'16,"-13"0"-1,13 0 1,0 1-16,13-1 0,-13 0 0,14-13 15,-14 13-15,13 1 0,-13-1 0,13-13 16,-13 13-16,13 0 0,-13 0 16,0 1-16,0-1 0,0 0 15,-13 0-15,13 1 0,-13-1 16,0-13-16,-1 13 0,1 0 16,0 0-16,0-13 0,-14 14 15,14-14-15,13 13 0,-13-13 0,-1 0 0,14 13 16,-13-13-1</inkml:trace>
  <inkml:trace contextRef="#ctx0" brushRef="#br0" timeOffset="27424.64">20042 4921 0,'93'66'32,"-80"-39"-17,27 39-15,-40-26 0,13 39 16,0-39-16,-26-1 15,13 1-15,-13 0 0,-14 13 0,1-14 16,-1 14-16,-12-13 0,-1 0 0,-13-14 16,13 14-16,1-14 0,-1 1 0,0-1 15,1 1-15,12-14 0,-13 0 16</inkml:trace>
  <inkml:trace contextRef="#ctx0" brushRef="#br1" timeOffset="58893.49">9432 6601 0,'0'-13'15,"0"0"17,-26 26-1,13-13-31,13 13 15,-14-13-15,1 14 0,0-1 0,0 13 16,0 14 0,-1-27-16,14 0 0,-13 1 0,13-1 15,0 0-15,0 0 0,0 1 16,0-1-16,13 0 0,-13 0 0,14 0 0,-1-13 16,0 14-16,0-14 15,0 0-15,1 0 0,12 0 0,-13 0 16,1 0-16,12-14 0,-13 14 0,1-13 15,-1 13-15,0-13 0,0 0 16,0 0-16,1-1 0,-14 1 0,13 0 16,-13 0-16,0-1 0,0 1 0,0 0 15,0 0-15,-13-14 0,13 14 0,0 0 16,-14-14 0,1 27-16,0-13 0,13 0 0,-13 13 15,0 0-15,-1 0 0,-12 0 16,13 0-16,-1 13 15,1 0-15,13 1 16,0-1-16</inkml:trace>
  <inkml:trace contextRef="#ctx0" brushRef="#br1" timeOffset="59232.94">9671 6787 0,'26'-14'0,"-13"14"0,-13-13 16,13 13-16,1 0 0,-1 0 0,0 0 15,0-13-15,1 13 16,-1 0-16,0 0 0,0 0 16,0 0-16,1-13 15,-1 13-15,0 0 0,0 0 16</inkml:trace>
  <inkml:trace contextRef="#ctx0" brushRef="#br1" timeOffset="59909.41">10292 6668 0,'0'-14'16,"0"1"-1,-13 0 16,13 0-15,-13-1 0,0 14-16,-1-13 15,1 26 1,0-13-16,0 0 0,13 14 16,-14-14-16,1 13 0,0-13 0,0 13 15,0 0-15,-1 1 16,1-1-16,13 0 0,0 0 15,13 0 1,1-13 0,-1 0-16,0-13 0,0 13 0,0 0 15,1-13-15,-1 13 0,0 0 0,0-13 16,1 13-16,-1 0 16,0 0-16,0 0 0,1 0 0,-14 13 15,0 0-15,0 0 16,0 1-16,0-1 0,0 0 15,0 0-15,-14 1 16,14-1-16,0 0 0,0 0 0,-13 0 16,13 1-16</inkml:trace>
  <inkml:trace contextRef="#ctx0" brushRef="#br1" timeOffset="62620.56">20413 10676 0,'0'-13'0,"0"26"0,-14-40 15,1 27 1,-13 14-1,12-14-15,1 13 0,0 0 16,0 0-16,-14 1 0,14-1 0,0 0 16,0 0-16,-1 1 0,1-1 0,13 0 15,-13 0-15,0 0 16,13 1-16,0-1 0,0 0 16,0 0-16,13-13 0,0 14 15,0-14-15,14 0 16,-14 0-16,0 0 0,1 0 0,-1 0 15,13 0-15,-13 0 0,1-14 0,-1 14 16,0 0-16,0 0 16,1 0-16,-1-13 0,0 13 15,0 0-15,-13-13 0,14 13 16,-1 0-16,0-13 16,0 13-1,0 0 1,1-14-16,-1 14 15,-13-13 1,13 13-16,-13-13 0,13 13 16,-13-13-16,14 0 15,-1-1-15,-13 1 0,0 0 16,13 0-16,-13-1 0,0 1 16,13 0-16,-13 0 0,0-1 15,0 1-15,14 13 0,-41 27 31,14-14-15,13 0-16,-13 0 0,-1 14 0,1-14 16,13 0-16,0 1 0,-13-1 15,13 0-15,0 0 0,0 0 0,0 1 16,0-1-16,13 0 0,-13 0 16,13-13-16,1 0 15,-1 0-15,0 0 0,14 0 0,-14 0 16,13 0-16,-13-13 0,1 13 0,12-13 15,-13 13-15,1-13 0,-1 13 16,0-14-16,0 1 0,-13 0 16,-26 26 15,13 0-15,-1 1-1,14-1 1,14-13-1,-1 0-15,0 0 16,0 0-16,0 0 0,1 0 16,-1 0-16,0 13 15,0-13-15,1 13 16,-14 1 0,0-1-1,0 0 1,-14-13-16,14 13 15</inkml:trace>
  <inkml:trace contextRef="#ctx0" brushRef="#br1" timeOffset="63292.4">22278 10702 0,'40'-13'31,"-67"13"1,14 0-32,0 13 15,-1-13-15,1 0 0,13 14 0,-13-14 16,0 0-16,13 13 0,-13-13 0,13 13 15,0 0 1,0 1-16,0-1 16,13 0-16,-13 0 0,13 0 15,-13 1-15,13-14 16,-13 13-16,0 0 0,0 0 16,-13 1-16,0-1 15,0-13-15,-1 13 16,1-13-16,0 13 0,0-13 0,-1 0 15,1 14-15,0-14 0,0 13 16,39-40 15,-13 27-31,14-13 0</inkml:trace>
  <inkml:trace contextRef="#ctx0" brushRef="#br1" timeOffset="63547.62">22463 10782 0,'13'0'16,"1"13"-1,-28 0-15,14 0 16,0 1-16,0-1 16,0 0-1,14-13-15,-14 13 0,13-13 0,-13 14 0,13-14 16,0 0-16,0 0 0,1 0 16,-1 0-1,-13-14-15,13 1 0,-26-13 16,13 12-16,-13 14 15,-1-13-15,14 0 0,-13 0 16,0 13-16,0 0 0,13-13 0,-13 13 16,-1 0-16,1 13 15</inkml:trace>
  <inkml:trace contextRef="#ctx0" brushRef="#br1" timeOffset="63713.58">22966 10914 0,'-27'-13'0</inkml:trace>
  <inkml:trace contextRef="#ctx0" brushRef="#br1" timeOffset="66243.47">23720 10808 0,'13'-13'0,"14"26"16,-14-13-16,-13 13 15,13-13-15,-13 14 16,0-1-16,-13-13 0,13 13 16,-13 0-16,-1 1 0,1-1 15,0 0-15,0-13 0,-1 13 16,1 1-16,0-14 0,0 13 15,0 0 1,26 0 15,0-13-31,13 0 16,-12 0 0,-1 0-16,0 0 0,0-13 15,1 13-15,12 0 16,-13-13-1</inkml:trace>
  <inkml:trace contextRef="#ctx0" brushRef="#br1" timeOffset="66565.59">24077 10821 0,'-13'0'16,"0"14"15,13-1-31,13 0 16,-13 0-16,0 1 15,0-1-15,0 13 16,-13-12-1,13-1-15,-14-13 0,1 13 16,0 0-16,0-13 16,-1 13-16,1-13 0,0 0 15,0 0-15,0 14 0,-14-28 16</inkml:trace>
  <inkml:trace contextRef="#ctx0" brushRef="#br1" timeOffset="66804.63">23680 10623 0,'-39'13'0,"78"-26"0,-92 39 15,40-12-15,0-14 0,0 26 0,-1-13 16,1 14-16,0-1 0,0-12 0,-1 12 15,14 0-15,-13 1 0,13-1 16,0-12-16,0 12 0,0 1 0,13-14 16,-13 13-16,14-13 0,-1 14 0,13-14 15,-12 0-15,12 1 0,14-1 16,-14 0-16</inkml:trace>
  <inkml:trace contextRef="#ctx0" brushRef="#br1" timeOffset="67089.59">24355 10649 0,'40'40'0,"-80"-80"0,93 93 0,-40-39 15,0-1-15,-13 13 0,27 1 16,-27-1-16,13-13 0,0 14 0,-13-1 16,0 1-16,0-14 0,0 14 15,-13-1-15,0 0 0,0 1 16,-1-1-16,1-12 0,-13 12 0,-14-13 16,13 14-16,14-14 0,-13 0 0,13 0 15,-14 1-15</inkml:trace>
  <inkml:trace contextRef="#ctx0" brushRef="#br1" timeOffset="69530.58">22582 11165 0,'13'0'32,"1"0"-32</inkml:trace>
  <inkml:trace contextRef="#ctx0" brushRef="#br1" timeOffset="69680.7">22820 11218 0,'14'0'32,"-14"-13"-17</inkml:trace>
  <inkml:trace contextRef="#ctx0" brushRef="#br1" timeOffset="69810.34">22992 11258 0,'14'-13'31</inkml:trace>
  <inkml:trace contextRef="#ctx0" brushRef="#br1" timeOffset="69953.57">23442 11337 0,'0'0'16,"0"-13"-16,13 13 16,1 0-16</inkml:trace>
  <inkml:trace contextRef="#ctx0" brushRef="#br1" timeOffset="72005.77">22423 11192 0,'-26'0'62,"13"13"-62,0-13 16</inkml:trace>
  <inkml:trace contextRef="#ctx0" brushRef="#br1" timeOffset="72132.42">22357 11284 0,'-26'14'15,"13"-14"1</inkml:trace>
  <inkml:trace contextRef="#ctx0" brushRef="#br1" timeOffset="72272.83">22304 11337 0</inkml:trace>
  <inkml:trace contextRef="#ctx0" brushRef="#br1" timeOffset="72685.56">22714 11404 0,'14'0'31,"-1"0"-15</inkml:trace>
  <inkml:trace contextRef="#ctx0" brushRef="#br1" timeOffset="76649.53">20108 11721 0,'0'-13'31,"-13"26"1,13 0-32,-13-13 0,13 14 15,0-1-15,0 0 0,0 0 0,0 0 16,0 1-16,0-1 0,0 0 16,0 0-16,13-13 0,-13 14 15,13-1-15,1 0 0,-1-13 16,0 13-16,0-13 15,0 0-15,1-13 16,-1 13-16,-13-13 16,13 13-16,-13-13 0,0-1 15,13 14-15,-13-13 16,0 0-16,-13 0 0,13-1 16,-13 1-16,13 0 15,-13 0-15,-1 0 16,1-1-1</inkml:trace>
  <inkml:trace contextRef="#ctx0" brushRef="#br1" timeOffset="76977.39">20492 11787 0,'13'13'31,"0"-13"-15,1 0 0,-1 0-1</inkml:trace>
  <inkml:trace contextRef="#ctx0" brushRef="#br1" timeOffset="77945.56">20876 11681 0,'13'0'0,"0"0"32,0 0-32,-39 14 62,13-14-62,-1 13 16,1-13-1,0 0-15,0 13 32,26 0-17,0-13 1,-13 14-16,13-14 0,1 13 16,-14 0-16,13-13 15,0 13-15,0 0 16,-13 1-1,0-1 1,-13-13-16,13 13 16,-13-13-16,0 13 0,-1-13 15,1 0-15,0 0 0,13 14 16,-13-14-16,-1 0 0,1 13 0,0-13 16</inkml:trace>
  <inkml:trace contextRef="#ctx0" brushRef="#br1" timeOffset="79721.58">20174 12224 0,'14'-13'0,"-28"26"47,1 0-31,13 0-16,-13 0 0,13 1 15,-13-1-15,13 0 0,0 0 16,0 1-16,-13-14 0,13 13 0,0 0 16,0 0-16,0 0 15,13 1-15,-13-1 16,13-13-16,-13 13 0,13-13 16,0 0-16,1 0 15,-1 0-15,0 0 0,-13-13 16,13 13-16,1-13 15,-14-1 1,0 1 0,-14 0-16,1 13 31,13-13-31,-13 13 16</inkml:trace>
  <inkml:trace contextRef="#ctx0" brushRef="#br1" timeOffset="80271.45">20479 12356 0,'13'0'31,"0"0"-31,0 0 16,1 0-16,-1 0 16,0 0-16,0 0 15,1 0-15,-1 0 16,0 0 15</inkml:trace>
  <inkml:trace contextRef="#ctx0" brushRef="#br1" timeOffset="80677.5">20862 12263 0,'0'14'31,"0"-1"-31,0 0 16,0 0-16,0 1 0,0-1 16,0 0-16,0 0 0,0 0 15,0 1-15</inkml:trace>
  <inkml:trace contextRef="#ctx0" brushRef="#br1" timeOffset="81073.82">21074 12290 0,'-26'13'16,"26"0"-16,0 1 15,0-1-15,-14-13 16,14 13-16,14 0 16,-14 0-16,0 1 15,13-14-15,0 0 16,0 0 0,1 0-16,-1 0 0,-13-14 15,13 14-15,0 0 0,-13-13 16,13 0-16,-13 0 15,0 0-15,0-1 16,-13 1-16,13 0 16,-13 13-16,0-13 0,0 13 0,-1 0 15,-12 0-15,13 0 16,-1 13-16,1-13 0,0 0 16,0 13-16,-14-13 0</inkml:trace>
  <inkml:trace contextRef="#ctx0" brushRef="#br1" timeOffset="81737.7">20174 12779 0,'-13'27'47,"13"-14"-47,-13 0 15,13 1-15,0-1 16,0 0-16,0 0 16,0 0-1,0 1-15</inkml:trace>
  <inkml:trace contextRef="#ctx0" brushRef="#br1" timeOffset="81982.69">20360 12740 0,'0'13'47,"-14"0"-32,14 0-15,0 1 0,0-1 0,0 0 16,0 0-16,-13-13 0,13 14 16,0-1-16,0 0 15,0 0-15,0 0 16</inkml:trace>
  <inkml:trace contextRef="#ctx0" brushRef="#br1" timeOffset="82237.72">20532 12872 0,'13'0'0,"0"0"16,0 0-16,1 0 16,-1 0-1,0 0-15,0 0 16,1 0-16,-1 0 15</inkml:trace>
  <inkml:trace contextRef="#ctx0" brushRef="#br1" timeOffset="82736.95">20942 12713 0,'-13'27'16,"13"-14"0,0 0-16,-14-13 15,14 13-15,0 1 16,0-1-16,0 0 0,-13-13 16,13 13-16,0 1 15,0-1 1</inkml:trace>
  <inkml:trace contextRef="#ctx0" brushRef="#br1" timeOffset="84659.68">21206 12766 0,'14'-13'0,"-1"13"32,0 0-32,0 0 15,-13-13-15,13 13 0,1 0 16,-1 0-1,-13-14 1,-27 28 15,14-14-31,0 0 16,0 13-16,0-13 0,-1 0 16,1 0-16,13 13 15,-13-13-15,0 0 0,-1 13 16,28 1 15,-1-14-31,-13 13 16,13-13-16,0 0 15,-13 13-15,14-13 0,-14 13 16,13-13-16,0 14 0,-13-1 16,13-13-1,-26 13-15,13 0 16,-13-13-16,13 13 0,-13-13 15,-1 14-15,1-14 16,0 0-16,0 0 0,13 13 0,-14-13 16,1 0-16,0 0 0,0 0 15</inkml:trace>
  <inkml:trace contextRef="#ctx0" brushRef="#br1" timeOffset="86136.62">20188 13282 0,'0'27'16,"0"-14"-16,0 0 0,-14 0 16,14 0-16,0 1 15,0-1-15,-13 0 0,13 0 16,0 1-16,0-1 15,-13 0-15,13 0 16,0 1-16</inkml:trace>
  <inkml:trace contextRef="#ctx0" brushRef="#br1" timeOffset="86493.52">20399 13256 0,'-26'26'16,"26"-13"-16,-13 1 0,13-1 16,0 0-16,0 0 15,0 0-15,0 1 0,13-1 0,-13 0 16,0 0-16,13-13 15,-13 14-15,13-14 0,1 0 16,-1 13-16,0-26 31,0 13-15,-39-14 15,13 14 0</inkml:trace>
  <inkml:trace contextRef="#ctx0" brushRef="#br1" timeOffset="86683.49">20690 13361 0,'14'-13'16,"12"13"15,-26-13-31,13 13 0,1 0 16,-1 0-16,0 0 0</inkml:trace>
  <inkml:trace contextRef="#ctx0" brushRef="#br1" timeOffset="87607.49">21048 13295 0,'13'0'16,"0"0"0,0 14-16,-13-1 31,0 0-31,-13 0 16,13 0-16,-13 1 15,13-1 1,-13 0-16,13 0 15,0 1 32,13-14-31,0 0 0,0 0-16,1 0 15,-1 0-15,0-14 0,0 14 0,0 0 16,1-13-16,12 13 0</inkml:trace>
  <inkml:trace contextRef="#ctx0" brushRef="#br1" timeOffset="87891.69">21378 13282 0,'-26'13'47,"26"1"-47,0-1 16,0 0-16,0 0 15,0 0-15,13-13 16,0 14-16,1-14 16,-1 0-1,0-14 1,-13 1-16,0 0 16,0 0-16,0 0 0,-13 13 15,13-14-15,-13 1 0,-1 0 16,1 13-1,0 0-15,-14 0 16,14 13-16,0-13 0,-14 0 0,14 13 16</inkml:trace>
  <inkml:trace contextRef="#ctx0" brushRef="#br1" timeOffset="88583.64">20227 13864 0,'14'0'16,"-1"0"-16,0 0 15,0 0 1,-13 13-16,-13 1 16,13-1-1,-13-13-15,13 13 16,-13 0-16,13 1 0,-14-1 15,14 0 1,0 0 0,0 0-1,14-13 1,12 0-16,-13 0 16,1-13-16,12 13 0,-13-13 15</inkml:trace>
  <inkml:trace contextRef="#ctx0" brushRef="#br1" timeOffset="88752.3">20492 13824 0,'-53'53'0,"106"-119"0,-53 79 0,13-26 0,-13 40 31,0-14-15,-13 0 0,13 0-16,0 1 0,0-1 0,0 0 15,0 0-15,0 1 16,0-1-16,0 0 0,0 0 15,0 0-15,13-13 0,-13 14 16</inkml:trace>
  <inkml:trace contextRef="#ctx0" brushRef="#br1" timeOffset="88969.32">20757 13957 0,'13'0'0,"13"-13"16,-13 13 0,1 0-16,-1-14 0,13 14 15,-12 0 1</inkml:trace>
  <inkml:trace contextRef="#ctx0" brushRef="#br1" timeOffset="89468.78">21286 13811 0,'13'0'15,"13"13"1,-26 1 0,0-1-16,-13 0 15,13 0-15,-13 1 0,0-1 16,13 0-16,-14-13 16,14 13-16,-13 1 0,0-14 15,13 13-15,-13 0 16,26-13 31,0 0-47,0 0 15,1 0-15,-1 0 16,0 0 0,0 0-16,1 0 15,-1-13-15,0 13 16</inkml:trace>
  <inkml:trace contextRef="#ctx0" brushRef="#br1" timeOffset="89820.33">21643 13838 0,'-13'0'0,"-1"0"31,14 13-31,0 0 16,0 0 15,14 1-31,-14-1 15,-14 0-15,14 0 16,-13 1 0,0-1-16,0-13 0,0 13 15,-1-13-15,1 0 0,0 13 0,0-13 16,-1 0-16,1 0 0,-13 0 16,12 0-16</inkml:trace>
  <inkml:trace contextRef="#ctx0" brushRef="#br1" timeOffset="100027.63">21709 12832 0,'0'-13'0,"13"13"31,1 0-15,12 0-16,-13 0 15,0 0-15,1 0 0,-1 0 16,0 13-16,0-13 16,1 0-16,-1 0 15,0 0 1,0 0-1,1 14 1</inkml:trace>
  <inkml:trace contextRef="#ctx0" brushRef="#br1" timeOffset="100340.19">21894 12740 0,'14'13'31,"-1"-13"-15,-13 13-16,13-13 0,0 13 15,0-13-15,-13 14 0,0-1 16,14-13-16,-14 13 0,13 0 16,-13 1-16,-13-1 15,13 0-15,0 0 0,-14 0 0,1-13 16,0 14-16,13-1 0,-13 0 16,0-13-16,-1 13 0,1 1 15,0-14-15,0 13 0</inkml:trace>
  <inkml:trace contextRef="#ctx0" brushRef="#br1" timeOffset="103782.48">22595 12687 0,'0'-13'0,"14"13"0,-1 13 31,0-13-31,-13 13 0,13-13 16,-13 13-16,0 0 16,0 1-16,-13-1 0,0 0 15,13 0-15,-13 1 16,-1-1-16,1-13 0,13 13 0,-13-13 15,0 13-15,-1 1 0,1-14 16,13 13 0,-13-13-16,13 13 15,13-13 1,0 13 0,1-13-16,-1 0 15,13 0 1,-12 0-16,-14-13 15,13 13-15,0 0 16,0 0-16,1 0 16</inkml:trace>
  <inkml:trace contextRef="#ctx0" brushRef="#br1" timeOffset="104955.8">22926 12687 0,'13'0'0,"1"-13"15,-1 13 1,0 0-16,0-14 16,1 14-16,-28 14 47,1-14-32,0 0-15,13 13 0,-13-13 0,-1 0 16,1 13-16,0-13 15,0 0-15,13 13 0,-14-13 16,1 0-16,13 13 31,13 1-15,1-1 0,-1-13-16,-13 13 15,13-13-15,-13 13 0,0 1 16,0-1-1,0 0-15,-13 0 16,0 1-16,-1-14 0,1 13 16,0-13-16,0 13 0,0-13 0,-1 13 15,1-13-15,0 0 0,0 13 16,-1-13-16,1 0 0,0 0 0,0 0 16,-1 14-16</inkml:trace>
  <inkml:trace contextRef="#ctx0" brushRef="#br1" timeOffset="106532.97">21418 11814 0,'26'13'16,"-12"-13"0,-1 0-16,0 0 15,0 0 1,1 0-16,-1 0 15,0 0-15,0 0 16,1 0-16,-1-13 16,0 13-1</inkml:trace>
  <inkml:trace contextRef="#ctx0" brushRef="#br1" timeOffset="106893.45">21590 11695 0,'26'13'31,"-12"-13"-31,-1 0 15,0 13-15,0-13 0,1 13 16,-1-13-16,0 0 0,-13 14 16,13-1-16,1-13 0,-1 13 0,-13 0 15,13-13-15,-13 13 0,0 1 16,0-1 0,0 0-16,-13-13 0,13 13 0,-13 1 15,-1-14-15,14 13 0,-13-13 16,0 13-16,0-13 0,13 13 0,-14-13 15,14 13-15,-13-13 0,13 14 16</inkml:trace>
  <inkml:trace contextRef="#ctx0" brushRef="#br1" timeOffset="108952.51">22410 11708 0,'13'0'16,"1"0"-1,12 0-15,-13-13 16,1 13-16,-1 0 16,0 0-16,0 0 15,0 0-15,-39 13 32,13 0-17,0-13-15,-1 0 0,1 13 0,0-13 16,0 0-16,-1 14 0,1-14 15,0 13-15,0-13 0,0 0 16,-1 13 0,14 0-1,14-13-15,-14 13 0,13-13 16,0 14-16,0-1 16,0-13-16,1 13 0,-1-13 0,0 13 15,0 1-15,1-1 16,-14 0-1,0 0-15,-14-13 16,1 13-16,0-13 0,0 0 16,-14 14-16,14-14 0,-13 0 15,12 0-15,1 13 0,-13-13 0,12 0 16,1 0-16,0 13 0,0-13 0,-1 0 16,1 13-16</inkml:trace>
  <inkml:trace contextRef="#ctx0" brushRef="#br1" timeOffset="109593.19">21683 12409 0,'53'-27'31,"-40"27"-31,0 0 0,0 0 16,0 0-1,1 0-15,12 0 16,-13 0 0</inkml:trace>
  <inkml:trace contextRef="#ctx0" brushRef="#br1" timeOffset="109997.27">21802 12290 0,'13'-13'15,"40"26"16,-40 0-31,0-13 0,1 0 16,-1 13-16,0-13 0,-13 14 0,13-14 16,0 0-16,-13 13 0,14-13 15,-14 13-15,13-13 0,-13 13 0,0 0 16,0 1 0,-13-14-16,13 13 0,-14 0 0,1 0 15,0 1-15,0-1 16,0 0-16</inkml:trace>
  <inkml:trace contextRef="#ctx0" brushRef="#br1" timeOffset="110680.69">22635 12356 0,'27'-13'0,"-14"13"31,-40 0 16,14 13-47,0-13 15,0 0-15,-1 0 0,1 13 16,0-13-16,0 0 16,-1 0-16,14 13 0,-13-13 0,0 14 31,26-14-15,0 13-16,1-13 15,-14 13-15,13-13 0,0 0 16,0 13-16,-13 1 15,-13-14 1,13 13-16,-13-13 16,0 0-16,-1 13 0,1-13 0,0 0 15,-13 13-15,12-13 0,-12 14 16,13-14-16</inkml:trace>
  <inkml:trace contextRef="#ctx0" brushRef="#br1" timeOffset="111776.33">21815 13348 0,'13'0'0,"40"0"31,-40-13-31,1 13 16,-1 0-1,0 0-15,0 0 16,0 0-16</inkml:trace>
  <inkml:trace contextRef="#ctx0" brushRef="#br1" timeOffset="112181.47">21987 13256 0,'13'0'31,"0"0"-31,1 0 16,-1 0-16,0 0 16,-13 13-16,13-13 0,0 0 15,1 13-15,-1 0 16,-13 1-1,0-1 1,0 0-16,-13-13 0,13 13 16,-14 0-16,1-13 15,13 14-15,-13-1 16</inkml:trace>
  <inkml:trace contextRef="#ctx0" brushRef="#br1" timeOffset="113035.56">22847 13295 0,'13'-13'16,"0"13"-16,0-13 0,1 13 16,-28 13 46,14 0-62,-13-13 0,0 0 16,0 14-1,13-1 17,13 0-17,0 0 1,0 0-16,-13 1 16,14-14-1,-28 13 1,14 0-16,-13-13 15,0 0-15,0 0 0,0 13 16,-1-13-16,1 0 16,0 0-16,0 0 0,-1 0 15</inkml:trace>
  <inkml:trace contextRef="#ctx0" brushRef="#br1" timeOffset="119429.09">22569 12369 0,'26'-13'16,"14"-13"-1,-27 12-15,1 14 0,12-13 16,-13 0-16,0 13 0,1-13 0,-1 13 15,0-14 1,0 14-16,1-13 0,-1 13 0,0 0 16,-13-13-16,13 13 15,1-13-15,-1 13 16,-40 0 62,14 13-78,0-13 16,0 13-16,-1-13 15,1 0-15,13 13 16,-13-13-16,0 0 0,13 14 0,-14-14 16,1 0-16,13 13 0,-13-13 15,0 0-15,0 13 0,-1 0 16,1-13-16,13 14 0,-13-14 0,0 0 15,13 13-15,-14-13 0,1 13 16,0 0-16,0 0 16,-1-13-16,14 14 0,-26-1 15,26 0-15,-13-13 0,13 13 16,-13 1-16,13-1 16,-14 0-16,14 0 15,0 1 1,14-1-16,-14 0 15,13-13-15,0 0 0,0 13 16,0-13-16,1 0 0,-1 0 16,0 0-16,0 0 0,1-13 0,-1 13 15,0 0-15,0 0 0,1 0 0,-1-13 16,0 13-16,0 0 0,-13-13 16,13 13-16,-13-14 15,-13 1 1,0 13-16,0 0 15,0 0-15,-1-13 16,1 13-16,0 0 0,-14 0 0,14 0 16,0 13-16,0-13 0,-14 0 15,14 13-15,0-13 0,13 14 0,-13-14 16,13 13-16</inkml:trace>
  <inkml:trace contextRef="#ctx0" brushRef="#br1" timeOffset="120515.49">22873 13242 0,'0'-13'0,"13"0"16,1 13 0,-14-13-16,13 13 0,0-14 15,0 1-15,1 13 16,-1 0-16,0-13 0,0 13 0,1-13 16,-1 13-16,0-13 15,0 13-15,0 0 16,-13-14-16,14 14 15,-41 14 32,14-14-47,0 0 0,0 13 16,-1 0-16,1 0 0,0-13 16,0 13-16,-1-13 0,14 14 15,-13-1-15,0-13 0,0 13 16,-1 0-16,1 1 0,13-1 15,-13-13-15,0 13 0,13 0 16,-13-13-16,13 14 0,0-1 0,-14-13 16,14 13-16,0 0 0,-13-13 0,13 13 15,0 1 1,0-1-16,0 0 0,0 0 16,0 1-1,13-14-15,1 0 16,-1 0-16,13 0 15,-13 0-15,1 0 16,-1-14-16,0 14 16,0 0-16,1-13 15,-14 0-15,-14 0 32,1-1-17,0 14-15,0 0 0,-1 0 16,1 0-16,0 0 15,0 0-15,0 14 0,-1-14 16,1 0-16,13 13 0</inkml:trace>
  <inkml:trace contextRef="#ctx0" brushRef="#br1" timeOffset="121123.66">21987 13957 0,'26'-13'15,"-12"13"1,-1 0-16,0 0 0,0-14 16,0 14-16,1 0 0,-1 0 0,0 0 15,0 0-15,1 0 16,-1 0-16,0 0 0,0-13 0,1 13 15</inkml:trace>
  <inkml:trace contextRef="#ctx0" brushRef="#br1" timeOffset="121393.31">22132 13838 0,'27'13'31,"-14"-13"-31,-13 13 16,13-13-16,1 13 0,-1-13 0,0 14 16,0-1-16,0 0 0,-13 0 15,14 1-15,-14-1 16,0 0-16,-14 0 0,14 0 0,0 1 15,0-1-15,-13 0 0,13 0 16</inkml:trace>
  <inkml:trace contextRef="#ctx0" brushRef="#br1" timeOffset="122295.58">23098 13851 0,'0'26'94,"13"-12"-94,-13-1 0,0 0 0,14 0 15,-14 1-15,0-1 0,0 13 16,0-13-16,0 1 0,0-1 16,0 0-16,0 0 0,-14-13 0,14 14 15,0-1-15,-13-13 0,13 13 16,-13 0-16,0-13 15,-1-13 1,14 0 0,14 0-16,-1-1 15,0 1-15,0 0 16,-13 0-16,14 13 0,-14-14 16,13 1-16,-13 0 0,0 0 0,13 13 15,-13-13-15,0-1 0,0 1 16,0 0-1,-13 0-15,13-1 0,0 1 16,-13 13-16,-1-13 16,1 13-16,0 0 15</inkml:trace>
  <inkml:trace contextRef="#ctx0" brushRef="#br1" timeOffset="124109.6">22939 11642 0,'40'13'31,"-27"-13"-31,14 0 16,-1 0-16,-13 0 0,14 0 0,-1 0 15,1 13-15,-14-13 0,14 0 0,-1 0 16,-13 0-16,0 13 0,14-13 15,-14 14-15,0-14 0,1 13 0,-1 0 16,0 0-16,0 1 0,-13 12 16,13-13-16,1 14 0,-14-1 0,0 1 15,13-14-15,-13 26 0,13 1 16,-13 0-16,13 0 0,-13-1 16,0 1-16,14 0 0,-14-1 0,13 14 15,0 0-15,0-13 0,1 13 0,-1 0 16,0 0-16,13-1 0,-12 1 15,12 0-15,1 0 0,-14 0 0,27 40 16,-27-54-16,13 1 0,-13 0 16,1 0-16,-1-1 0,-13 1 15,13-14-15,0 14 0,1 0 0,-1-14 16,-13 1-16,13-1 0,-13 1 0,13-1 16,-13-13-16,13 14 0,-13-1 15,0 1-15,14-1 0,-14 1 16,13-1-16,-13-13 0,13 14 0,0-14 15,-13 13-15,0-12 0,14-1 0,-14 0 16,13 0-16,-13 0 0,13 1 16,-13-1-16,13 0 0,-13 0 0,14 1 15,-14-1-15,13 0 16,0 0-16,0 1 16,-13-1-16,13-13 15,1 13-15,-14 0 16,13-13-1,-13 13-15,0 1 32,0-1-32,-13-13 15,13 13-15,-14-13 0,1 13 0,0 1 16,-13-1-16,-1 0 0,1 0 0,-1 1 16,-13 12-16,14-26 0,0 13 15,-1 0-15,1-13 0,12 14 0,-12-14 16,13 0-16,-14 13 0,14-26 0</inkml:trace>
  <inkml:trace contextRef="#ctx0" brushRef="#br1" timeOffset="125167.6">19870 11642 0,'0'-14'0,"0"28"0,-13-41 0,0 14 16,0 0-16,-1 13 16,1 0-16,13-13 0,-26 13 15,12 0-15,1 0 0,0 0 0,0 0 16,-1 0-16,1 13 0,0-13 0,0 13 15,-14 13-15,14 1 16,-13 13-16,12-1 0,1 1 0,0 13 16,0 0-16,-1 13 0,1-13 0,13 0 15,-13 13-15,0-13 0,0 0 16,-1 0-16,1 0 0,0-14 0,0 1 16,-14 0-16,14-1 0,-13-12 0,12-1 15,-12 1-15,13-1 0,-1-13 16,1 1-16,0-14 0,0 13 0,-1-13 15,1-13-15,13-1 16,0 1-16,13 0 16,-13 0-16,14-1 0,-1 14 15,13 0-15,-12 27 16,-1-1-16,0 14 0,-13 13 0,13 13 16,-13 0-16,0 0 0,-13 14 15,13-1-15,0 14 0,-13-14 0,13 14 16,-13-14-16,13 1 0,0-1 0,-14 0 15,14 1-15,0-14 0,0 0 16,14 0-16,-14 0 0,0-13 0,13 13 16,0-26-16,0 0 0,1-14 0,-14 14 15,26-14-15</inkml:trace>
  <inkml:trace contextRef="#ctx0" brushRef="#br1" timeOffset="126305.55">20294 12052 0,'0'0'16,"26"13"-1,-13-13-15,14 0 16,-14 0-16,13 0 0,1 0 16,-1 0-16,1 0 0,-1 0 0,-13 0 15,14 0-15,-1 0 0,-12 0 0,-1 0 16</inkml:trace>
  <inkml:trace contextRef="#ctx0" brushRef="#br1" timeOffset="126476.53">20280 12158 0,'40'-14'16,"-27"14"-16,14 0 0,-1 0 15,1 0-15,12 0 0,-12 14 0,26-14 16</inkml:trace>
  <inkml:trace contextRef="#ctx0" brushRef="#br1" timeOffset="127003.57">20294 12502 0,'13'0'0,"93"-14"32,-80 14-32,14 0 15,-14 0-15,14 0 0,-14 0 0,1 0 0,13 0 16,-14 0-16,-13 14 0,14-14 15,-14 13-15,0-13 0,0 13 0,1-13 16</inkml:trace>
  <inkml:trace contextRef="#ctx0" brushRef="#br1" timeOffset="127167.2">20532 12674 0,'39'-14'0,"-25"14"16,-1 0-16,13-13 0,-12 13 16,12 0-16,0 0 0,1-13 0,-1 13 15,-12 0-15</inkml:trace>
  <inkml:trace contextRef="#ctx0" brushRef="#br1" timeOffset="127515.52">20426 13150 0,'53'0'0,"-106"0"16,119-13-16,-40 13 0,-12 0 0,12 0 15,-13 0-15,14 0 0,-14-14 0,14 14 16,-14 0-16,13 0 0</inkml:trace>
  <inkml:trace contextRef="#ctx0" brushRef="#br1" timeOffset="127717.4">20479 13203 0,'53'0'32,"-40"0"-32,0-14 0,14 14 0,-1 0 15,-13 0-15,14 0 0</inkml:trace>
  <inkml:trace contextRef="#ctx0" brushRef="#br1" timeOffset="128200.6">20664 13626 0,'13'-13'15,"0"13"-15,1 0 0,-1-13 0,0 13 16,0 0-16,14-14 0,-1 14 0,1-13 16,-1 13-16,1-13 0,-1 13 15,1-13-15,-1 13 0,-13 0 0,14-14 16,-14 14-16,13 0 0,-12 0 0,-1 0 16,0 0-16</inkml:trace>
  <inkml:trace contextRef="#ctx0" brushRef="#br1" timeOffset="128420.66">20717 13732 0,'40'0'16,"-27"0"-1,0-13-15,0 13 0,14 0 16,-14-14-16,13 14 0,1 0 0,-1-13 16,-12 13-16,12 0 0,-13 0 0,14-13 15,-14 13-15,0 0 0</inkml:trace>
  <inkml:trace contextRef="#ctx0" brushRef="#br1" timeOffset="129164.4">21101 14248 0,'13'-13'16,"0"13"-16,0-14 15,0 14-15,1 0 0,-1-13 16,0 13-16,0 0 0,14-13 0,-14 13 15,13-13-15,-12 13 0,-1 0 0,13-14 16,-12 14-16,-1 0 0,0-13 16,0 13-16,1 0 0,-1-13 0</inkml:trace>
  <inkml:trace contextRef="#ctx0" brushRef="#br1" timeOffset="129417.17">21180 14261 0,'26'-13'31,"-12"13"-31,-1 0 0,0 0 16,0 0-16,0-13 0,1 13 15,-1 0-15,0 0 0,0-14 16,1 14-16,-1 0 0,0 0 16,0 0-16,1 0 15</inkml:trace>
  <inkml:trace contextRef="#ctx0" brushRef="#br1" timeOffset="133413.74">23270 12766 0,'0'-13'31,"13"0"-31,-13-1 31,0 1-31,0 0 31,0 0-31,0 0 0,-13 13 16,13-14-16,0 1 16,0 0-16,-13 0 15,0-1-15,13 1 16,-14 0-1,1 13-15,0-13 16,0 13 0,0 0-16,-1-14 0,1 14 15,0 0 1,13-13-16,-27 13 16,14 0-16,13-13 0,-13 13 15,0 0-15,-1 0 0,1-13 16,0 13-16,0 0 15,0 0-15,-1 0 0,1-13 16,0 13-16,0 0 16,-1 0-16,1 0 0,0 0 0,0 0 15,13-14-15,-14 14 0,1 0 16,0 0-16,0 0 0,0 0 0,-1 0 16,1 0-16,0 0 15,0 0-15,-1 0 16,1 0-16,0 0 0,0 0 15,-1 0-15,1 0 0,0 0 16,0 0-16,0 0 0,-1 0 16,1 0-16,0 0 0,0 0 15,-1 0-15,1 0 0,0 0 0,0 0 16,-1 0-16,1 0 0,0 0 16,-13 0-16,12 0 0,1 0 0,0 0 15,-14 0-15,1-13 0,13 13 0,-14 0 16,14 0-16,-13 0 15,12 0-15,-12 0 0,13-13 0,-14 13 16,14 0-16,-13 0 0,12 0 0,-12 0 16,13 0-16,-14-13 0,1 13 15,12 0-15,-12 0 0,13 0 0,-14 0 16,1 0-16,13 0 0,-14-14 0,14 14 16,-13 0-16,12 0 0,1 0 15,-13 0-15,12 0 0,1 0 0,0 0 16,0 0-16,-1 0 0,1 0 15,0-13-15,-13 13 0,12 0 16,1 0-16,0 0 0,0 0 16,-1 0-16,1 0 0,0 0 15,0 0-15,-1 0 0,1 0 16,0 0-16,0 0 0,0 0 0,-1 13 16,-12-13-16,13 0 0,-1 0 15,1 0-15,0 0 0,0 0 0,-14 0 16,14 0-16,0 0 0,-14 0 0,14 0 15,0 0-15,-14 0 0,14 0 16,0 0-16,-14 0 0,14 0 0,-13 0 16,13 0-16,-1 0 0,-12 0 15,13 0-15,-1 0 0,-12 0 16,13 0-16,0 0 0,-1 0 0,-12 0 0,13 0 16,-1 14-16,-12-14 0,13 0 15,-1 0-15,1 0 0,0 0 16,0 0-16,0 0 0,-1 0 0,1 0 15,0 0-15,0 0 0,-1 0 16,1 0-16,0 0 0,0 0 16,-1 13-16,1-13 0,0 0 15,0 0-15,0 0 0,-1 0 16,1 0-16,0 13 16,0-13-16,-1 0 0,1 0 15,0 0-15,0 0 16,0 0-16,-1 13 0,1-13 15,0 0-15,0 0 0,-1 0 16,1 0-16,0 0 16,0 0-16,-1 0 0,-12 0 15,13 0-15,-14 0 16,14 0-16,0 0 16,0 0-16,-1 0 0,1 0 15,0 0-15,0 14 16,-1-14-16,1 0 0,0 0 15,0 0-15,0 0 0,-1 0 16,1 0-16,0 13 0,0-13 16,-1 0-16,1 0 0,0 0 15,0 13-15,-1-13 0,1 0 0,0 0 16,0 13-16,0-13 0,-1 0 16,1 0-16,13 13 0,-13-13 0,-14 14 15,14-14-15,0 13 0,0-13 16,13 13-16,-14-13 0,1 13 15,0-13-15,0 14 0,0-1 0,13 0 16,-14-13-16,1 13 0,0 1 16,13-1-16,-13 0 0,13 0 15,-14 14-15,14-14 0,-13 0 0,13 0 16,0 1-16,-13 12 0,13-13 0,0 1 16,0-1-16,0 0 0,0 0 15,0 0-15,0 1 0,0-1 16,0 0-16,13 0 0,-13 1 15,13-1-15,1 0 16,-1-13-16,0 13 0,0 1 16,14-14-16,-14 0 0,0 13 0,14-13 15,-14 13-15,13-13 0,-12 0 16,12 13-16,-13-13 0,14 0 0,-1 0 16,1 13-16,-1-13 0,14 0 0,-14 0 15,1 0-15,-1 14 16,1-14-16,-1 0 0,14 0 0,-27 0 15,14 0-15,-1 0 0,0 13 0,1-13 16,-1 0-16,1 0 0,-1 0 16,-12 0-16,12 0 0,0 0 0,1 0 15,-1 0-15,1 13 0,-1-13 16,-13 0-16,14 0 0,-1 0 0,1 0 16,-14 0-16,14 0 0,-1 13 0,-13-13 15,14 0-15,-1 0 0,1 0 0,-1 14 16,-13-14-16,14 0 0,-1 0 15,1 13-15,-14-13 0,13 0 16,1 0-16,-1 0 0,1 13 0,-14-13 16,13 0-16,1 0 0,-1 0 15,1 0-15,-1 0 0,-13 0 0,40 13 16,-26-13-16,-14 0 0,14 0 16,-1 0-16,-13 0 0,14 13 15,-14-13-15,13 0 0,-12 0 0,25 14 16,-25-14-16,12 0 0,-13 13 15,14-13-15,-14 0 0,13 0 16,-12 13-16,-1-13 0,0 0 0,14 0 16,-14 13-16,0-13 0,0 0 15,0 0-15,14 0 0,-14 14 16,14-14-16,-14 0 16,13 0-16,-13 0 15,1 0-15,-1 0 0,0 0 0,0 0 16,14 0-1,-14 13-15,0-13 0,1 0 16,-1 0-16,0 0 0,0 0 0,0 0 16,1 0-16,-1 0 0,0 0 15,0 0-15,1 0 0,12 0 16,-13 0-16,1 0 0,-1 0 16,0 0-16,0-13 15,0 26-15,1-13 0,-1-13 0,0 13 16,0 0-16,1 0 0,-1 0 0,0 0 15,0 0-15,0 0 16,1 0-16,-1 0 0,0 0 16,0 0-16,1 0 0,-1 0 15,0-14-15,0 14 16,1 0-16,-1 0 0,0 0 16,13 0-1,-12-13 1,-1 13-16,0 0 15,0 0-15,1-13 0,-1 13 16,0 0 0,0-13-16,1 13 15,-1-14 1,0 14-16,0 0 0,0 0 16,1-13-1,-1 13 1,0 0-16,-13-13 15,13 13-15,1 0 16,-14-13-16,13 13 16,0 0-16,-13-13 0,13 13 15,1-14 1,-1 14-16,0-13 16,0 13-16,0-13 15,1 13 1,-1-13-16,0 13 15,0 0-15,-13-14 0,14 14 16,-1-13-16,0 13 16,0-13-16,1 0 15,-1 0-15,0 13 0,0-14 16,0 1-16,1 13 16,-1-13-16,0 0 15,0 13-15,1-14 0,-1 1 0,0 0 16,0 0-16,0-1 0,1 1 15,-1 0 1,-13 0-16,0 0 16,13 13-16</inkml:trace>
  <inkml:trace contextRef="#ctx0" brushRef="#br1" timeOffset="137592.34">10200 5530 0,'-53'-13'31,"40"13"-15,-1 0-16,-25 0 0,12 0 15,14 0-15,-14 0 0,14 0 16,-13 0-16,13 0 0,-14 0 16,14 0-16,0 0 0,-1 0 0,1-14 15,0 14-15,0 0 16,-1 0-16,1 0 15,0 0-15,0 14 16,13-1 0,-13-13-16,13 13 0,-14 0 0,14 14 15,-13-14-15,13 13 0,-13 1 16,13-1-16,0 1 0,-13-1 16,13 14-16,-14-14 0,14 14 0,0-13 15,-13-1-15,13 0 0,0 1 0,-13-14 16,13 0-16,0 14 0,0-14 15,0 0-15,0 0 0,0 1 16,-13-1-16,13 0 16,0 0-16,0 1 15</inkml:trace>
  <inkml:trace contextRef="#ctx0" brushRef="#br1" timeOffset="137918.72">9618 5913 0,'0'27'47,"0"-14"-47,0 0 0,0 1 16,13-1-16,-13 0 0,0 0 16,0 0-16,0 1 0,13-14 15,-13 13-15,0 0 0,13 0 16,1-13-16,-1 0 15,0 0-15,0 0 0,0-13 0,27 0 16,-13 0-16,-1-1 0,40-25 16,-26 26-16,-14-14 15,14 14-15,-14 0 0</inkml:trace>
  <inkml:trace contextRef="#ctx0" brushRef="#br1" timeOffset="139665.54">9274 7369 0,'0'13'0,"-14"13"16,14-12-1,0 12-15,-13-13 0,13 14 16,-13-14-16,13 13 0,-13-12 0,13 12 0,-13-13 15,13 14-15,0-14 0,-14 0 0,14 0 16,0 1-16,0-1 0,-13 0 16,26 0-16</inkml:trace>
  <inkml:trace contextRef="#ctx0" brushRef="#br1" timeOffset="139976.63">9446 7461 0,'0'-13'16,"-14"39"0,1-26-16,13 14 0,0-1 15,0 0-15,13 0 0,-13 1 0,0-1 16,14 0-16,-14 0 0,13-13 16,-13 14-16,13-14 0,0 13 0,1-13 15,-1 0-15,0 0 0,0 0 16,0 0-16,1-13 0,-1 13 15,-13-14-15,0 1 16,0 0-16,0 0 0,0-1 0,-13 1 16,-1 0-16,1 0 0,0-1 15,0 1-15,0 13 0,-1-13 16,1 13-16,0 0 0,-14 0 16,14 13-16,0-13 0,13 13 15,-13 1-15,13-1 16</inkml:trace>
  <inkml:trace contextRef="#ctx0" brushRef="#br1" timeOffset="140440.57">9750 7527 0,'53'0'16,"-40"0"-16,0 0 15,0 0-15,1 14 16,-1-14-16,0 0 0,0 0 16,1 0-16,-1 0 0,0 0 15,0 0-15,1 0 0,-1 0 16,0 0-16,0 0 0</inkml:trace>
  <inkml:trace contextRef="#ctx0" brushRef="#br1" timeOffset="141254.76">10306 7395 0,'13'13'15,"-13"1"1,-13-1-16,13 0 0,0 0 0,0 0 16,-14 14-16,14-14 0,0 0 15,-13 14-15,13-14 0,-13 0 0,13 1 16,0-1-16,-13 0 0,13 0 15,13 0-15</inkml:trace>
  <inkml:trace contextRef="#ctx0" brushRef="#br1" timeOffset="141548.91">10570 7461 0,'-40'-13'31,"27"26"-31,0-13 16,0 13-16,0-13 0,-1 14 0,1-14 15,0 13-15,13 0 0,-13-13 16,13 13-16,0 1 16,13-14-16,0 0 0,0 13 15,1-13-15,-1 0 16,0 13-16,0-13 0,-13 13 0,13-13 15,-13 14-15,0-1 0,0 0 0,0 0 16,0 0-16,0 1 0,-13-1 0,13 0 16,-13 14-16,0-14 0,13 0 15,-13 0-15,13 14 0,-14-27 0</inkml:trace>
  <inkml:trace contextRef="#ctx0" brushRef="#br1" timeOffset="143337.13">9036 8123 0,'13'0'15,"0"-14"-15,0 28 0,0-14 16,14 0-16,-27 13 16,13-13-16,-13 13 15,0 0-15,-13-13 0,13 14 16,0-1-16,-13 0 0,-1 0 0,1 1 15,0-1-15,0 0 16,13 0-16,-13-13 0,13 13 0,-14-13 16,14 14-16,-13-1 15,40-13 17,-14-13-32,0 13 0,13-14 15,-12 1-15,12 0 0,1 13 16,-1-13-16,1 0 0,-14-1 0,13 14 15,-13-13-15,1 13 0,-1 0 0,0-13 16,0 26 0,-13 0-1,0 1 1,14-1-16,-1 0 16,13-26 15,-26 0-16,0-1-15,0 1 16,-13 0-16,0 13 16,13-13-16,-13 13 15,-1-14-15,1 28 16,13-1 0,0 0-1,13-13-15</inkml:trace>
  <inkml:trace contextRef="#ctx0" brushRef="#br1" timeOffset="143537.47">9631 8229 0,'13'0'31,"0"0"-31,1-14 0,-1 14 15,0 0 1,0 0-16,0 0 16,1 0-16,-1-13 0</inkml:trace>
  <inkml:trace contextRef="#ctx0" brushRef="#br1" timeOffset="144151.6">10028 8136 0,'26'-13'0,"-13"26"16,1-13-16,-1 13 15,0-13-15,0 13 16,-13 1 0,0-1-16,0 0 15,0 0-15,-13-13 0,13 14 0,-13-1 16,0-13-16,13 13 0,-14-13 15,14 13-15,-13-13 0,0 13 16,0 1 0,39-14 15,-13 0-31,1 0 16,-1 0-16,0 0 15,0 0-15,1 0 16,-14-14-16,13 14 0,0 0 0,0 0 15,0 0-15,-13-13 0,14 13 16,-1 0-16,0 0 16,0 0-16</inkml:trace>
  <inkml:trace contextRef="#ctx0" brushRef="#br1" timeOffset="144492.47">10451 8109 0,'0'0'0,"-13"0"0,-14 14 16,14-14-16,0 0 0,0 13 0,-53 13 31,52-12-31,28-1 31,-1-13-15,0 13-16,0 0 15,-13 1-15,0-1 0,0 0 16,0 0-16,0 0 0,0 1 16,-13-1-16,13 0 0,0 0 15,-13 1-15,13-1 0,-13 0 0,13 0 16,-14-13-16,14 14 0,0-1 0,-13-13 15</inkml:trace>
  <inkml:trace contextRef="#ctx0" brushRef="#br1" timeOffset="145536.37">8996 8824 0,'-13'0'16,"39"13"31,-26 0-47,0 1 15,0-1-15,0 0 16,0 0-16,-13-13 15,13 13-15,0 1 16,0-1 0,13 0-1,0 0-15,1 1 16,-14-1 0,0 0-1,-14 0-15,14 1 16,-13-14-16,13 13 0,-13-13 0,0 13 15,13-26 17,13-14-32,-13 14 15</inkml:trace>
  <inkml:trace contextRef="#ctx0" brushRef="#br1" timeOffset="145796.4">9194 8850 0,'14'0'0,"-14"14"31,0-1-31,0 0 0,0 0 16,0 0 0,13 1-16,0-1 0,0 0 15,0-13-15,1 0 16,-1 0-16,0 0 16,0 0-16,1-13 15,-14 0-15,0-14 16,0 14-1,-14 13-15,1-13 0,0 0 16,0 13-16,-1 13 16,1 0-1</inkml:trace>
  <inkml:trace contextRef="#ctx0" brushRef="#br1" timeOffset="145977.31">9551 8943 0,'0'0'0,"14"-13"0,-1 13 0,0 0 0,0 0 16,-13-14-16,27 14 16,-14 0-16,0-13 15,1 13-15,-1 0 0,0 0 16</inkml:trace>
  <inkml:trace contextRef="#ctx0" brushRef="#br1" timeOffset="146389.37">10094 8797 0,'0'0'0,"40"0"31,-27 14-31,-13-1 16,0 0-1,-13 0-15,13 1 16,0-1 0,0 0-16,0 0 15,0 0-15,0 1 16,0-1 0,0 0-16,-14-13 15,14 13-15,-13-13 0,13 14 0,-13-1 16,0-13-16,-1 13 0,1-13 15,0 13-15</inkml:trace>
  <inkml:trace contextRef="#ctx0" brushRef="#br1" timeOffset="146677.47">10345 8824 0,'-26'0'32,"13"13"-32,-1-13 15,41 0 17,-14 13-32,0-13 15,-13 14-15,0-1 16,0 0-16,0 0 15,0 0-15,-13 1 0,13-1 16,0 0-16,0 0 0,-13 1 0,13-1 16,0 0-16,-13-13 0,13 13 15,13 1 1</inkml:trace>
  <inkml:trace contextRef="#ctx0" brushRef="#br1" timeOffset="148098.57">11298 6694 0,'0'0'0,"26"-13"16,-13 13-16,1 0 15,-1 0-15,13 0 0,-12 0 16,-1 0-16,13 0 0,-13 0 0,14 0 0,-14 0 16,0 0-16,14 0 0,-14 0 15,0 0-15,1 13 0,-1-13 16</inkml:trace>
  <inkml:trace contextRef="#ctx0" brushRef="#br1" timeOffset="148281.41">11364 6813 0,'-13'0'0,"26"0"0,-13 13 31,13-13-31,-13 13 0,13-13 15,1 0-15,-1 0 0,13-13 0,-13 13 16,14 0-16,-1 0 0,1 0 16,-14-13-16,14 13 0,-1 0 0</inkml:trace>
  <inkml:trace contextRef="#ctx0" brushRef="#br1" timeOffset="148627.51">11576 6522 0,'26'13'15,"-13"-13"1,-13 13-16,13 1 0,1-1 16,-1-13-16,0 13 0,0 0 0,1 1 15,-14-1-15,13 0 0,-13 0 16,0 1-16,0-1 0,0 0 16,0 0-16,-13 0 0,-1 1 0,1-1 15,0 0-15,0 0 0,-1 1 0,1-1 16,0 13-16,0-13 0,0 1 15,-14 12-15,14 1 0,0-14 0,-1 13 16</inkml:trace>
  <inkml:trace contextRef="#ctx0" brushRef="#br1" timeOffset="148953.5">11351 7474 0,'26'0'0,"-52"0"0,65 0 15,-12 0-15,-14 0 16,0 0-16,0 0 0,1 0 16,-1 0-16</inkml:trace>
  <inkml:trace contextRef="#ctx0" brushRef="#br1" timeOffset="149132.69">11192 7660 0,'26'0'31,"-12"0"-31,-1 0 16,0 0-16,13 0 0,-12 0 0,-1-14 15,13 14-15,-12 0 0,12 0 0,1-13 16</inkml:trace>
  <inkml:trace contextRef="#ctx0" brushRef="#br1" timeOffset="149415.75">11337 7302 0,'14'14'16,"-1"-1"-16,0 0 0,0-13 0,1 13 16,-1 1-16,0 12 0,0-13 15,0 1-15,-13-1 0,14 0 0,-1 0 16,-13 0-16,0 1 0,13-1 15,-13 0-15,-13 0 0,13 1 16,0-1-16,-13 13 0,-1-12 0,1-1 16,0 0-16,-13 13 0,12-12 0,1-1 15,0 0-15</inkml:trace>
  <inkml:trace contextRef="#ctx0" brushRef="#br1" timeOffset="149852.53">10927 8414 0,'27'0'16,"-14"0"-16,66 0 31,-65 0-31</inkml:trace>
  <inkml:trace contextRef="#ctx0" brushRef="#br1" timeOffset="150055.44">10848 8546 0,'13'13'31,"0"-13"-31,1 0 0,-1 0 0,0 0 16,0 0-16,1 0 0,12 0 15,-13 0-15,14-13 0,-14 13 0,13 0 16,-12 0-16,-1-13 0</inkml:trace>
  <inkml:trace contextRef="#ctx0" brushRef="#br1" timeOffset="150347.76">11046 8281 0,'0'14'0,"14"-1"0,25 13 31,-26-26-31,-13 14 0,14-1 0,-1 0 16,0 0-16,0-13 0,-13 14 0,14-1 16,-14 0-16,13-13 0,-13 13 15,0 0-15,-13 1 0,13-1 0,0 0 16,-14 0-16,1 1 0,0-1 0,0 0 16,-1 0-16,1 0 0,0 1 15,0-1-15,13 0 0,-13 0 0</inkml:trace>
  <inkml:trace contextRef="#ctx0" brushRef="#br1" timeOffset="150712.78">10848 9036 0,'13'0'15,"27"0"1,-27 0-16,0 13 0,1-13 16,-1 0-16,0 0 0,0 0 15,0 13-15,1-13 0</inkml:trace>
  <inkml:trace contextRef="#ctx0" brushRef="#br1" timeOffset="150930.31">10729 9208 0,'26'0'16,"-12"-14"-1,-1 14-15,0 0 0,0 0 16,0 0-16,14-13 0,-14 13 16,0 0-16,1 0 0,-1-13 0,0 13 15,0 0-15,1-13 0,-1 13 16,0-14-16</inkml:trace>
  <inkml:trace contextRef="#ctx0" brushRef="#br1" timeOffset="151246.62">10967 8916 0,'13'0'0,"0"0"15,1 0-15,-1 14 0,0-14 16,0 0-16,-13 13 0,14-13 15,12 26-15,-13-26 0,0 14 16,1-1-16,-1 0 0,-13 0 0,13-13 16,-13 14-16,0-1 0,13 0 15,-13 0-15,0 0 0,-13-13 0,13 14 16,0-1-16,-13 0 0,0 0 0,-1 14 16,-12-14-16,0 0 15,12 1-15,-12-1 0,-1 0 0,14 0 16,-13 0-16,13 1 0,-14-1 0,14-13 15,0 13-15</inkml:trace>
  <inkml:trace contextRef="#ctx0" brushRef="#br1" timeOffset="154744.34">10782 5794 0,'39'0'15,"-25"0"-15,12 0 0,-13 0 0,14 0 16,13 0-16,-14 0 0,14 0 15,13-13-15,-1 13 0,-12 0 16,13-13-16,-13 13 0,13-13 0,-14 13 16,-12 0-16,13-14 0,-27 14 15,13 0-15,-13 0 0,1 0 0,-1-13 16,0 13-16,0 0 0,-52 13 31,25-13-31,-12 14 0,-14-14 16,1 0-16,-1 13 0,-13-13 0,13 13 15,1-13-15,-14 13 0,13-13 16,0 0-16,1 14 0,12-14 0,1 13 16,-1-13-16,1 0 0,13 0 0,-1 13 15,1-13-15,0 0 0,26 13 32,0-13-32,14 0 0,-1 0 15,1 0-15,-1 0 0,14 0 0,0 0 16,-1-13-16,1 13 0,0 0 15,-14 0-15,14 0 0,-14-13 0,1 13 16,-1 0-16,1 0 0,-14-13 0,13 13 16,-12 0-16,-1 0 0,0 0 15,0 0-15,0 0 0,1 0 16,-1-14-16,0 14 47</inkml:trace>
  <inkml:trace contextRef="#ctx0" brushRef="#br1" timeOffset="155419.23">12316 6509 0,'40'0'16,"13"13"-1,-40 0-15,-13 0 16,0 1-16,0-1 0,-13 0 16,0 0-16,-1 1 0,1 12 15,-13 1-15,-1-1 0,1-13 0,-1 14 16,1-14-16,13 0 0,0 0 0,-1 1 16,14-1-1,0 0-15,14-13 16,-1 0-16,0 0 0,0 0 0,0 0 15,14 0-15,-1-13 0,-12 13 16,25 0-16,-12 0 0,-1 0 16,14-13-16,-27 13 0,27 0 0,-27 0 15,13 0-15,1 0 0,-14 0 0</inkml:trace>
  <inkml:trace contextRef="#ctx0" brushRef="#br1" timeOffset="158669.57">12422 5755 0,'27'13'15,"12"-13"-15,1 0 16,13 0-16,0 0 0,13 13 0,0-13 16,14 0-16,-1 0 0,14 0 15,-14 0-15,13 0 0,-12 0 16,-1 0-16,-13 0 0,14 0 0,-1 13 15,-26-13-15,13 0 0,-26 0 16,13 0-16,-14 14 0,-12-14 0,-1 0 16,-12 0-16,12 0 0,-13 0 15,1 0-15,-54 13 16,13-26 0,1 13-16,-1 0 0,-12 0 15,-14 0-15,0 0 0,-13 0 16,-14 0-16,14 0 0,-13 0 0,0 0 15,12-14-15,-12 14 0,13 0 0,0 14 16,0-14-16,13 0 0,0 0 16,0 0-16,13 0 0,14 0 0,12 0 15,1 0-15,0 0 0,0 0 0,52 13 32,1-13-32,-13 0 0,26 0 15,13 0-15,0 0 0,13 0 0,-13 0 16,14 0-16,-1 0 0,0 13 15,-26-13-15,14 0 0,-15 0 0,15 0 16,-15 0-16,1 0 0,0 0 0,-26 0 16,12 0-16,-12 0 0,-14 13 15,14-13-15,-14 0 0,0 0 16,0-13-16,1 13 0,-1 0 0,0 0 16,-39-13 30,-1 13-30,14 0-16,0 0 0,-1 0 0,1 0 16,0 0-16,13 13 0,-13-13 15</inkml:trace>
  <inkml:trace contextRef="#ctx0" brushRef="#br1" timeOffset="159761.93">12091 7422 0,'27'-14'15,"-54"28"-15,67-28 0,-27 14 0,14 0 0,-14 0 16,0 14-16,1-14 0,-1 0 0,0 13 16,0-13-16,0 13 0,1 0 15,-14 0-15,0 1 16,0-1-16,-14 0 0,1 0 0,0 1 15,-13 12-15,-1-13 0,1 14 0,-14-14 16,13 0-16,1 0 0,0 1 16,12-14-16,1 13 0,0-13 0,0 0 15,-1 13-15,28 0 32,-1-13-32,0 0 15,14 0-15,-14 0 0,13 0 0,1 0 16,-14 0-16,13 0 0,1 0 15,-14 0-15,14 0 0,-14 0 0,13 0 16,-13 0-16,1 0 0,-1 0 0,0 0 16,0 0-16,14 0 15,-14 0 1</inkml:trace>
  <inkml:trace contextRef="#ctx0" brushRef="#br1" timeOffset="161960.57">14618 5821 0,'40'13'31,"-14"-13"-31,1 0 0,26 0 15,13 0-15,13 0 0,1 0 0,12 13 16,-12-13-16,12 0 0,14 14 16,0-14-16,13 0 0,13 13 15,-26-13-15,26 13 0,-13-13 0,14 13 16,-41 0-16,94 1 0,-94-14 16,-12 13-16,-1-13 0,0 0 15,-13 13-15,-13-13 0,0 0 0,0 0 16,-13 13-16,-14-13 0,1 0 0,-14 0 15,0 0-15,0 0 0,1 0 16,-54-13 0,14 13-16,-1 0 15,-26-13-15,0 13 16,-26 0-16,-93-13 0,79 13 16,1-14-16,-1 14 0,-13 0 0,0-13 15,1 13-15,-1 0 0,0-13 16,13 13-16,-13 0 0,14 0 0,-1 0 15,14 0-15,0 0 0,26-13 0,0 13 16,13 0-16,14 0 0,-1 0 0,14 0 16,0 0-16,-1 0 0,54 0 15,0 0 1,13 0-16,0-13 0,26 13 0,14 0 16,-1 0-16,14 0 15,0 0-15,0 0 0,39 0 0,-13 0 16,80 0-16,-106 0 0,-13 0 15,-1 0-15,1 13 0,-1-13 16,-12 0-16,-1 13 0,-13-13 0,-13 0 16,0 13-16,-13-13 0,0 0 0,-14 0 15,0 13-15,-12-13 0,-1 0 16,0 0-16,0 0 0,-52 0 16,12 0-1,-26-13-15,-13 13 0,-13 0 16,-1 0-16,-12-13 0,-14 13 0,13 0 15,-12 0-15,-28 0 0,14 0 16,-13 0-16,26 0 0,0 0 0,0 0 16,14 0-16,12 0 0,1 0 15,26 13-15,0-13 0,14 0 0,12 0 16,1 0-16,12 0 0,1 0 0,0 13 16</inkml:trace>
  <inkml:trace contextRef="#ctx0" brushRef="#br1" timeOffset="165234.51">12039 8295 0,'-14'0'16,"1"13"31,0-13 62,13 13-78,-13-13 141,13-13 1250</inkml:trace>
  <inkml:trace contextRef="#ctx0" brushRef="#br1" timeOffset="168556.25">10451 8123 0,'0'-27'16,"-13"27"-1,13-13-15,-13 13 16,-1 0-16,1 0 16,0 0-16,0 13 15,-1-13-15,1 13 0,0-13 16,13 14-16,-13-14 0,0 13 0,-1 0 15,1-13-15,13 13 16,-13-13-16,13 14 16,0-1-1,13-13-15,14-13 16,-14 13-16,0-14 16,0 14-16,0-13 0,1 13 0,-1 0 15,0-13-15,0 26 16,-13 0-16,0 1 15,-13-1-15,0 27 0,0-1 0,-14-12 16,14 12-16,-13 14 0,-1-26 0,14 12 16,-14-12-16,14 13 0,0-27 15,0 13-15,-1-13 0,14 14 16,0-14-16,-13-13 0</inkml:trace>
  <inkml:trace contextRef="#ctx0" brushRef="#br1" timeOffset="169830.73">17158 5900 0,'0'0'0,"27"13"32,-14-13-32,0 0 0,14 14 0,12-14 15,1 0-15,0 0 0,13 13 16,-1-13-16,15 0 0,52 0 15,-53 0-15,13 0 0,-26 0 0,13 0 16,-13 0-16,0 0 16,0 0-16,40 13 0,-67-13 0,1 0 15,-14 0-15,0 0 0,0 0 16,-52 0 0,25 0-1,-25 0-15,-14 0 0,13 0 0,-26-13 16,13 13-16,-26 0 0,-1 0 0,14 0 15,-13 0-15,-1 0 0,14 0 16,-13 0-16,26 0 0,0 0 0,0 0 16,13 0-16,14 0 0,-1 0 0,1 0 15,13 0-15,39 13 16,1-13 0,-1 0-16,27 0 0,0 13 0,0-13 15,26 14-15,-13-14 16,14 0-16,-1 13 0,-13-13 0,0 13 15,1-13-15,-14 0 0,-1 0 0,1 0 16,-13 13-16,13-13 0,-27 0 16,1 0-16,-1 0 0,1 0 0,-14 0 15,0 0-15,0 0 0,1 0 0,-41-13 32</inkml:trace>
  <inkml:trace contextRef="#ctx0" brushRef="#br1" timeOffset="171168.34">12171 8295 0,'-27'13'31,"14"-13"-31,-13 13 0,12 0 0,-12 1 16,0-1-16,-1 13 0,1-12 0,-1 12 15,1-13-15,-1 0 0,1 1 16,13-1-16,-1 0 0,1 0 15,0-13-15,0 27 0,-1-27 16,28 13 0,-14 0-16,13-13 0,0 0 0,0 0 15,1 0-15,12 0 0,0 13 16,1-13-16,-1 0 0,1 0 16,-1 0-16,1 0 0,-1-13 0,14 13 15,-27 0-15,14 0 0,-1 0 0,1 0 16,-14 0-16,13-13 0,-13 13 15,1 0-15,-1 0 0,0 0 0,0 0 16,1-13 0</inkml:trace>
  <inkml:trace contextRef="#ctx0" brushRef="#br1" timeOffset="171396.37">12144 8334 0,'-26'80'31,"13"-54"-31,13-13 0,-14 27 0,1 0 16,0-1-16,0 1 0,0-13 0,-1 12 15,1 1-15,0-14 0,0 1 16,-1-1-16,14 1 0,-13-14 0,13 14 15,0-14-15,-13 0 0,13 0 16,0 0-16,0 1 0</inkml:trace>
  <inkml:trace contextRef="#ctx0" brushRef="#br1" timeOffset="172736.06">19711 5887 0,'0'0'16,"53"13"-16,14 0 15,-41-13-15,-13 0 0,14 0 0,-14 14 0,0-14 16,0 0-16,1 0 0,-54 13 31,13-13-31,1 0 0,-27 13 0,13-13 16,-13 0-16,14 0 0,-1 13 15,0-13-15,14 0 16,-14 0-16,14-13 0,13 13 16,52 0-1,-26 0-15,27-13 16,0 13-16,13 0 0,0 0 0,-14 0 15</inkml:trace>
  <inkml:trace contextRef="#ctx0" brushRef="#br1" timeOffset="173967.84">12105 9168 0,'13'-13'94,"0"13"-78,14 0-1,-14 0-15,0 0 16,0 0-16,1 13 16,-14 0-16,-14 0 15,14 1 1,-13-14-16,13 13 0,-13 0 16,26 0-1,0-13 1,-13 13-16,14-13 15,-14 14-15,13-14 0,-13 13 16,13 0-16,-13 0 0,0 1 16,-13-1-16,13 0 0,-27 0 15,14 0-15,-40 27 16,27-27-16,-14 1 0,14-1 16,-1-13-16,-13 26 0,27-26 0,-13 0 15,-1 14-15,14-14 0</inkml:trace>
  <inkml:trace contextRef="#ctx0" brushRef="#br1" timeOffset="175579.61">12211 9208 0,'0'0'15,"0"-14"-15,0 41 16,0-14-16,0 13 15,0-12-15,-14 12 0,14-13 16,-13 14-16,0 12 0,13-12 0,-13-1 16,13-12-16,-14 12 0,14-13 0,-13 1 15,13-1-15,-13 13 16,13-13-16,0 1 16,13-54-1,-13 27 1,13-14-16,1 1 0,-1-14 0,0 14 15,0-14-15,-13 14 0,14-1 0,-1 1 16,-13 12-16,13 1 0,-13 0 16,0 0-16,13 13 0,-13 26 31,0-13-31,-13 14 0,0-1 16,13 14-16,-13-14 0,-1 14 0,1 0 15,13-14-15,-13-12 0,0 12 16,13-13-16,0 0 0,-14 1 0,14-1 15,0 0-15,0 0 16,14-39 0,-14-1-16,13-12 15,0-1-15,0 0 0,14 1 16,-14-14-16,0 0 0,0 26 0,1-12 16,-1 12-16,-13 14 0,0 0 0,13 0 15,-39 39 1,12 14-1,1-14-15,0 14 0,-13-14 0,12 14 16,-12 0-16,13-14 0,-14 14 16,14-14-16,0-12 0,13 12 15,-14-13-15,1 0 0,26-39 32,-13 0-32,14-14 0,-1 0 15,13-13-15,-12 0 0,12 0 0,-13 1 16,1 12-16,-1 0 0,0 14 0,-13 12 15,13 1-15,-13 0 0,-13 53 16,-13-1 0,-1 1-16,1 13 0,-1-13 0,-13 26 15,14-13-15,-14-14 0,14 14 16,-1 0-16,14 0 0,0-26 16,0 12-16,-1-12 0,1-1 0,13-13 15</inkml:trace>
  <inkml:trace contextRef="#ctx0" brushRef="#br1" timeOffset="176791.69">12131 9419 0,'-26'66'15,"12"-52"-15,1 12 0,13-13 16,-13 0-16,13 1 0,-13 12 16,13-13-16,-13 1 0,13-1 15,13-40 1,0 14 0,0-27-16,14 1 0,-14-1 15,0 0-15,0 14 0,14-14 0,-27 14 16,13 13-16,-13-1 0,13 1 15,-39 40 1,13 12-16,-1 1 0,-12 13 0,-1 0 16,1 13-16,0 0 0,-1-13 15,1 13-15</inkml:trace>
  <inkml:trace contextRef="#ctx0" brushRef="#br1" timeOffset="180499.69">3135 10888 0,'53'13'0,"-106"-26"15,146 26-15,-40-13 0,0 13 0,39-13 0,-12 0 16,26 0-16,26 0 15,0 13-15,0-13 0,14 0 0,-1 0 16,14 0-16,0 0 0,0 0 0,-1 0 16,1 0-16,0 0 0,-13 0 15,12-13-15,-12 13 0,-1 0 0,1 0 16,-14 0-16,-26 0 0,0 0 0,0 0 16,-14 0-16,1 0 0,-14 0 15,14 0-15,-27 0 0,-13 13 0,0-13 16,-14 0-16,-12 14 0,-1-14 0,-12 0 15,-14 13-15</inkml:trace>
  <inkml:trace contextRef="#ctx0" brushRef="#br1" timeOffset="180871.45">4273 11337 0,'225'27'16,"-450"-54"-16,543 54 0,-226-27 0,14-13 0,39 13 15,-12 0-15,12 0 0,1-14 0,13 14 16,13 0-16,-14 0 0,14 0 15,-13-13-15,0 13 0,0 0 16,-1 0-16,14 0 0,-26 0 0,-1 0 16,1-13-16,-1 13 0,-12 0 0,-1 0 15,-26 0-15,-14 0 0,1-13 0,0 26 16,-14-13-16,53 0 16,-92 0-16,0 0 0,-14 0 15,1 0-15,-14 0 0,0 13 0,0-13 16,-13 13-1</inkml:trace>
  <inkml:trace contextRef="#ctx0" brushRef="#br1" timeOffset="181875.42">12594 10941 0,'93'0'0,"-54"0"0,1 0 16,13 0-16,0 0 0,0 0 0,0 0 15,0 0-15,0-14 0,0 14 0,13 0 16,-13 0-16,0 0 0,-1 0 16,-12-13-16,0 13 0,0 0 0,-14 0 15,0 0-15,-12 0 0,12-13 0,-13 13 16,1 0-16</inkml:trace>
  <inkml:trace contextRef="#ctx0" brushRef="#br1" timeOffset="182121.3">12660 11046 0,'40'14'15,"-80"-28"-15,106 41 0,-39-27 0,13 13 16,13-13-16,-14 13 0,14-13 0,-13 0 16,13 0-16,0 0 0,0 13 0,-14-13 15,1 0-15,0-13 16,-14 13-16,-13 0 0,14 0 0,-14 0 16,13 0-16,-12 0 0,-1 0 0,0 0 15,0 0 1</inkml:trace>
  <inkml:trace contextRef="#ctx0" brushRef="#br1" timeOffset="183736.07">9208 6522 0,'13'0'0,"-26"0"0,39-13 15,-13 0 1,-13-1 0,-13 1-16,0 13 15,0-13-15,-1 13 16,1 0-16,0 0 0,-14 0 0,14 0 15,-13 0-15,12 13 0,-12 0 16,13 1-16,0-1 0,-1 0 0,1 0 16,0 14-16,13-1 0,0 1 15,-13-1-15,13 1 0,0-1 0,0 0 16,13 14-16,-13 0 0,0-14 0,0 14 16,-13 0-16,13 13 0,-27 13 15,-13 13-15,1-26 16,12-27-16,1 1 15,-27 13-15,26-27 0,1 0 16,13-13-16,0 0 0,-1 0 0,1 0 16,13-13-16,0 0 0,0-1 15,13 14-15,-13-13 16,14 0-16,-1 13 0,0 0 16,0 0-16,0 13 0,1 0 15,-1 1-15,-13 12 0,0 14 0,0 13 16,-13 0-16,-1 13 0,-12 0 15,0 0-15,-1 13 0,-13 14 0,1-14 16,-14 1-16,13 12 0,0-12 16,1-1-16,12-13 0,1 0 0,-1 1 15,1-1-15,13-13 0,-14-1 0,14 1 16,0-13-16,13 0 0,0-1 0,-13-12 16,13-14-16,0 14 0,13-14 0,-13 13 15,0-12 1,13-1-16,-13 0 0,13-13 0,-13 13 15</inkml:trace>
  <inkml:trace contextRef="#ctx0" brushRef="#br1" timeOffset="186317.48">2699 6165 0,'0'0'16,"-13"0"-16,-14 39 31,27-25-31,0-1 0,0 0 0,0 0 16,0 1-16,0-1 0,0 0 0,13 14 15,-13-14-15,14 0 0,-14 0 16,13 0-16,0 1 0,0-14 0,0 13 16,14-13-16,-14 0 0,0 0 0,1 0 15,-1 0-15,13 0 0,-12-13 16,-1 13-16,0-14 0,0 1 16,0 0-16,-13 0 0,14 0 0,-14-1 15,0 1-15,0 0 0,0 0 16,0-1-16,-14 1 0,14 0 0,-13-14 15,0 27-15,0-13 0,0 0 0,-1 0 16,1 13-16,13-13 0,-13 13 0,0 0 16,-1-14-16,1 28 15</inkml:trace>
  <inkml:trace contextRef="#ctx0" brushRef="#br1" timeOffset="186628.66">3281 6244 0,'13'-13'0,"0"0"16,14 13 0,-14 0-16,0 0 15,-13-14-15,13 14 0,1 0 0,-1 0 16,0 0-1,0 0-15</inkml:trace>
  <inkml:trace contextRef="#ctx0" brushRef="#br1" timeOffset="187044.45">3942 6032 0,'0'0'0,"-26"0"31,13 14-31,-1-1 0,-12-13 16,13 13-16,-1 0 0,-12-13 0,13 14 15,13-1-15,-13-13 0,-1 13 16,1 0 0,26 1-1,-13-1-15,14-13 0,-1 0 16,-13 13-16,13-13 0,0 0 0,-13 13 16,13-13-16,1 13 0,-1-13 15,-13 14-15,0-1 16,0 0-16,-13 0 0,-1-13 15,1 14-15,0-1 0,0 0 0,-14 0 16,14 1-16,-13-14 0,-1 26 0,-13-13 16,14-13-16,0 13 0,-1 1 15,14-14-15,-14 0 0</inkml:trace>
  <inkml:trace contextRef="#ctx0" brushRef="#br1" timeOffset="187941.08">2778 6866 0,'80'-40'16,"-67"40"-16,0 0 15,0 0 1,0 0-16,-52 13 31,26-13-15,-1 0-16,1 14 16,0-14-16,0 0 0,13 13 15,-14-13-15,1 13 16,13 0-1,13-13-15,-13 14 16,14-14-16,-14 13 0,13-13 0,0 13 16,0-13-16,1 13 15,-1-13-15,0 14 16,0-14-16,-13 13 16,0 0-1,0 0-15,-13-13 0,0 13 16,0 1-16,-1-14 0,1 13 15,-13-13-15,12 13 0,1 0 0,0-13 16,0 14-16,-1-14 16,1 0-16,13 13 0,-13-13 15</inkml:trace>
  <inkml:trace contextRef="#ctx0" brushRef="#br1" timeOffset="188148.99">3228 6972 0,'26'0'15,"-52"0"-15,79-13 0,-40 13 16,0 0-16,1 0 0,-1 0 15,-13-14-15,13 14 0,0 0 0,0 0 16,1 0-16,-1-13 0</inkml:trace>
  <inkml:trace contextRef="#ctx0" brushRef="#br1" timeOffset="188355.73">3598 6760 0,'-26'27'15,"26"-14"1,-13 0-16,13 0 0,0 14 16,0-14-16,-14 0 0,14 0 0,0 1 15,0-1-15,0 0 16,0 0-16</inkml:trace>
  <inkml:trace contextRef="#ctx0" brushRef="#br1" timeOffset="188640.18">3704 6853 0,'0'0'15,"13"39"1,-13-25-16,0-1 15,14 0-15,-14 0 16,13-13 0,0 0-16,0-13 0,1 13 15,-1-13-15,0 0 0,-13-1 16,13 14-16,-13-13 0,0 0 16,0 0-16,0-1 0,0 1 15,-13 0-15,13 0 0,-13 0 0,13-1 16,-13 14-16,-1-13 0,1 13 0,0 0 15,0 0-15,-1 13 0,-12-13 16,-14 14-16,14-1 0,-14 13 0</inkml:trace>
  <inkml:trace contextRef="#ctx0" brushRef="#br1" timeOffset="189076.58">2686 7607 0,'13'53'16,"-13"-40"-1,-13 0-15,13 0 0,0 1 16,0-1-16,0 0 0,-14 14 16,14-14-16,0 0 0</inkml:trace>
  <inkml:trace contextRef="#ctx0" brushRef="#br1" timeOffset="189276.45">2884 7567 0,'0'0'0,"13"27"31,-13-14-31,0 0 16,0 0-16,0 14 0,-13-14 0,13 0 15,0 0-15,0 1 0,0-1 16,0 0-16,0 0 0,0 1 0,0-1 16,0 0-16</inkml:trace>
  <inkml:trace contextRef="#ctx0" brushRef="#br1" timeOffset="189551.54">3201 7660 0,'27'0'31,"-14"0"-15,0 0-16,1 0 15,-1 0-15,0 0 0,14-14 0,-14 14 0,0 0 16</inkml:trace>
  <inkml:trace contextRef="#ctx0" brushRef="#br1" timeOffset="189792.54">3638 7461 0,'-26'27'15,"26"-14"1,0 0-16,0 0 0,-14 1 15,14-1-15,0 0 0,0 0 0,-13 1 16,13-1-16,0 0 0,0 0 16,0 0-16,0 1 0,0-1 15</inkml:trace>
  <inkml:trace contextRef="#ctx0" brushRef="#br1" timeOffset="190352.55">3916 7488 0,'13'0'31,"-53"13"-15,27-13 0,0 0-16,13 13 15,-13 0-15,26 1 31,-13-1-31,13-13 0,-13 13 16,13 0-16,1 1 16,-1-14-16,-13 13 15,-13 0-15,13 0 16,-14-13-16,1 13 0,0-13 0,0 14 16,-1-1-16,1-13 0,0 13 0,0-13 15,0 13-15,-1-13 0,-12 0 16,13 0-16</inkml:trace>
  <inkml:trace contextRef="#ctx0" brushRef="#br1" timeOffset="190936.31">2619 8361 0,'0'40'15,"0"-27"-15,-13 0 0,13 0 16,0 14-16,0-14 16,-13 0-16,13 14 0,-13-14 0,13 0 0,-14 0 15,14 0-15,0 1 0,0-1 16</inkml:trace>
  <inkml:trace contextRef="#ctx0" brushRef="#br1" timeOffset="191246.49">2818 8348 0,'-13'39'16,"13"-25"-16,-14-1 0,14 0 16,0 0-16,-13 14 0,13-14 15,0 0-15,0 0 0,0 1 0,0-1 16,0 0-16,0 0 0,13 0 15,-13 1-15,14-14 0,-14 13 16,13-13-16,0 13 16,-26-39 15,0 26-15,-1 0-16,1 0 15,0 0 1,0 0-16,13 13 15,-14-13-15</inkml:trace>
  <inkml:trace contextRef="#ctx0" brushRef="#br1" timeOffset="191480.52">3149 8480 0,'13'0'31,"0"0"-15,0 0-16,-13-13 15,13 13-15,1 0 0,-1 0 16,0 0-16</inkml:trace>
  <inkml:trace contextRef="#ctx0" brushRef="#br1" timeOffset="192400.67">3744 8229 0,'53'13'0,"-40"26"31,-13-25-31,-26 25 16,12-25-16,1-1 0,0 13 15,0 1-15,-14-14 0,14 0 0,0 0 16,-1 1-16,14-1 0,-13 0 16,0 0-16,0 1 0,13-1 15,-13 0 1,39-13-1,0-13-15,-12 13 16,-1-13-16,13-1 0,14 1 16,-13-13-16,-1 12 0,14-12 0,-14 13 15,1-14-15,-1 14 0,1 0 0,-14 0 16,0 13-16,0-14 0,0 14 0,-13-13 16,0 40 15,0-14-16,0 0 1,0 0-16,14-13 0,-1 0 16,-13 14-16,26-28 15,-12 14-15,-1 0 0,0-13 16,0 0-16,1 13 0,-14-13 16,13-1-16,-13 1 0,0 0 15,-13 0-15,13-1 0,-14 1 0,1 13 16,0-13-16,0 13 15,-1-13-15,1 13 0,0 0 0,0 0 0,-14 13 16,1 0-16,13-13 0,-27 13 16,13 14-16</inkml:trace>
  <inkml:trace contextRef="#ctx0" brushRef="#br1" timeOffset="193695.54">2566 9247 0,'14'-13'0,"-1"13"15,0 0 1,0 13-16,1-13 16,-14 13-16,0 1 15,0-1-15,-14 0 0,14 0 16,0 1-16,-13-1 16,13 13-16,-13-13 0,13 1 15,-13-1-15,13 0 0,0 0 16,0 1-1,13-14 1,0 0-16,0-14 0,1 1 16,12 0-16,1 0 0,-1-1 15,0-12-15,1 13 0,-1-14 16,-12 14-16,12 0 0,-13 0 0,1-1 16,-1 1-16,0 13 15,-13-13-15,13 26 16,-13 0-1,0 1-15,0-1 16,0 0-16,0 0 0,0 1 16,0-1-16,-13-13 0,13 13 0,0 0 15,13 0-15,-13 1 0,13-1 16,1-13 0</inkml:trace>
  <inkml:trace contextRef="#ctx0" brushRef="#br1" timeOffset="193912.41">3321 9274 0,'39'0'15,"-26"0"1,-13-14-16,14 14 0,-1 0 0,0-13 16,0 13-16,1 0 0,-1-13 15,0 13-15</inkml:trace>
  <inkml:trace contextRef="#ctx0" brushRef="#br1" timeOffset="194581.47">3810 9049 0,'66'-13'31,"-39"13"-31,-14 0 16,-13 13-16,13-13 0,-13 13 16,0 0-16,0 0 0,0 1 15,-13-1-15,13 0 0,-13 0 0,-1 1 16,14-1-16,-13 0 0,13 0 0,-13 1 16,13-1-16,-13-13 0,13 13 0,-14 0 15,14 0 1,-13-13-16,13 14 15,13-14 1,1 0 0,-1 0-16,0 0 15,0-14-15,1 14 0,12-13 16,1 13 0,-14-13-16,0 13 0,0-13 0,0 13 15</inkml:trace>
  <inkml:trace contextRef="#ctx0" brushRef="#br1" timeOffset="194864.3">4207 8983 0,'-27'13'0,"14"0"15,0 0-15,0 1 16,13-1-16,0 0 0,0 0 15,13 0-15,-13 1 16,13-1-16,-13 0 0,13 0 16,-13 1-16,0-1 0,14 0 15,-28 0-15,14 1 16,-13-1-16,0 0 0,0-13 16,13 13-16,-13-13 0,-14 0 0,14 13 15,0-13-15,-1 14 0,1-14 16,0 0-16,-14 13 0,14-13 0,-13 13 15</inkml:trace>
  <inkml:trace contextRef="#ctx0" brushRef="#br1" timeOffset="195596.91">2791 9842 0,'14'-13'16,"-1"0"-16,0 13 0,0 0 15,1 0-15,-1 0 0,0 0 16,0 0-16,0 13 16,1 0-16,-14 1 15,0-1-15,-14 0 0,14 0 16,-13 1-16,0-1 0,13 13 16,-13-12-16,0-1 0,-1 0 0,1 0 15,13 0-15,-13 1 0,0-1 16,-1 0-16,14 0 15,0 1 1,14-14 0,-14 13-16,13-13 15,0 0-15,0 0 0,1 0 16,-1-13-16,13 13 0,-13 0 16,1-14-16,-1 14 0,0-13 0,14 0 15,-14 0-15,13-1 0,1-12 16</inkml:trace>
  <inkml:trace contextRef="#ctx0" brushRef="#br1" timeOffset="195891.81">3215 9737 0,'0'0'0,"-14"26"16,1-13 0,0 1-16,13-1 0,0 0 15,-13 0-15,13 14 0,-13-14 0,13 0 16,0 0-16,0 1 0,0-1 15,0 0-15,13 0 0,-13 1 16,13-1-16,0 0 31,-26-39 16,0 26-47,0 0 16,-1 13-1</inkml:trace>
  <inkml:trace contextRef="#ctx0" brushRef="#br1" timeOffset="196092.46">3373 9922 0,'14'0'16,"-28"0"-16,41 0 0,-14 0 15,0 0-15,14 0 16,-14 0 0,0 0-16,0-13 15,1 13-15</inkml:trace>
  <inkml:trace contextRef="#ctx0" brushRef="#br1" timeOffset="196543.48">4008 9684 0,'0'0'15,"27"0"1,-27 13-16,13 0 0,-26 0 16,13 1-16,0-1 15,-13 0-15,-1 0 16,14 1-16,-13-1 16,13 0-16,0 0 15,13-13-15,-13 13 16,0 1-16,0-1 0,0 0 15,-13 0 1,13 1 0</inkml:trace>
  <inkml:trace contextRef="#ctx0" brushRef="#br1" timeOffset="196796.16">4141 9803 0,'0'0'0,"13"13"0,0-13 16,0 13-16,14-13 15,-27-13-15,13 13 0,0 0 16,1 0-16,-1-13 0,0 13 16,-13-13-16,13-1 0,0 14 15,-13-13-15,0 0 0,14 0 0,-14-1 16,-14 1-16,14 0 15,-13 0-15,0 0 16,0 13-16,0 0 16,-14 13-16,14-13 0,-14 13 0,1 0 15,-14 0-15,14 1 0,-14 12 0</inkml:trace>
  <inkml:trace contextRef="#ctx0" brushRef="#br1" timeOffset="197577.73">2738 10888 0,'14'-14'0,"12"1"15,1 26 1,-27 1 15,0-1-31,0 0 0,0 0 16,0 1-16,0-1 16,0 0-16,0 0 15,13-13-15,-13 13 0,0 1 0,13-14 16,-13 13-16,13-13 0,-13 13 0,0 0 15,0 14 1,0-14-16,-13-13 16,13 13-16,-13 0 0,0 1 0,-1-1 15,1-13-15,13 13 0,-13-13 16,0 13 0</inkml:trace>
  <inkml:trace contextRef="#ctx0" brushRef="#br1" timeOffset="198565.72">2977 10888 0,'0'0'0,"13"26"47,-13-13-47,0 1 0,0-1 16,0 0-16,0 0 0,0 0 0,0 1 15,0-1-15,13 0 0,-13 0 16,0 1-16,0-1 0</inkml:trace>
  <inkml:trace contextRef="#ctx0" brushRef="#br1" timeOffset="198844.63">3413 11073 0,'40'0'47,"-27"-13"-47,0 13 16,0 0-16,14 0 0,-14-14 15,0 14-15,14 0 0,-1-13 0,1 13 0</inkml:trace>
  <inkml:trace contextRef="#ctx0" brushRef="#br1" timeOffset="199223.44">4128 10755 0,'13'0'15,"-26"0"-15,39 0 0,-13 0 0,-13 14 16,13-1-16,-13 0 16,0 0-16,0 0 15,0 1-15,0-1 0,0 0 16,0 0-16,0 1 15,14-1-15,-14 0 0,13 0 16,-13 1-16,0-1 0,0 0 16,0 0-16,0 0 15,0 1-15,0-1 0,-13-13 16,13 13-16,-14 0 0,1-13 0,13 14 16,-13-1-16,0-13 0,13 13 15,-13-13-15</inkml:trace>
  <inkml:trace contextRef="#ctx0" brushRef="#br1" timeOffset="199475.47">4352 10702 0,'0'0'0,"0"27"31,0-14-31,0 0 0,14 1 15,-14-1-15,0 0 0,0 0 0,13 0 16,-13 1-16,0-1 16,0 13-16,13-12 0,-13-1 0,0 0 15,0 0-15,0 1 0,-13-1 0,13 0 16,-13 0-16,13 0 16,-14 1-16,14-1 0,-13 0 0,0 0 15,0 1-15,-1-1 0,1-13 16,0 13-16</inkml:trace>
  <inkml:trace contextRef="#ctx0" brushRef="#br1" timeOffset="200732.73">2897 11906 0,'0'0'16,"27"0"-16,-14 0 15,0 0-15,0 13 0,-13 1 16,14-14 0,-14 13-16,13 0 0,0 0 15,0 1-15,0-1 16,1-13-16,-1 13 15,0 0-15,0 1 0,1-1 16,-1 0-16,-13 0 16,0 0-16,0 1 15,0-1-15,0 0 0,0 0 0,-13-13 16,13 14-16,-14-1 0,14 0 0,-13-13 16,13 13-16,-13-13 0,0 0 15,13-13 1</inkml:trace>
  <inkml:trace contextRef="#ctx0" brushRef="#br1" timeOffset="201005.44">3228 11853 0,'0'27'15,"0"-14"-15,0 0 0,0 0 16,0 1-16,13-1 0,-13 0 0,0 0 15,0 1-15,13-1 0,-13 0 0,14-13 16,-14 13-16,13-13 0,-13 14 16,13-14-16,0 0 0,1 0 31,-14-14-15,0 1-1,-14 13-15,1-13 16</inkml:trace>
  <inkml:trace contextRef="#ctx0" brushRef="#br1" timeOffset="201216.5">3678 11919 0,'26'-13'0,"14"13"32,-40-13-32,13 13 0,0 0 15,1-13-15,-1 13 0</inkml:trace>
  <inkml:trace contextRef="#ctx0" brushRef="#br1" timeOffset="201759.49">4379 11668 0,'0'13'15,"-40"40"1,40-39-16,-26 12 15,26-13-15,-14 0 0,14 1 16,-13-1-16,13 0 0,0 0 0,0 1 16,0-1-1,13 0 1,1-13-16,-1 0 16,0 0-16,0 0 15,1-13-15,-1 13 16,0-13-16,0 13 0,-13-14 15,14 14-15,-1 0 0,-13-13 16,13 0-16</inkml:trace>
  <inkml:trace contextRef="#ctx0" brushRef="#br1" timeOffset="202156.55">4458 11615 0,'-13'27'15,"13"-14"-15,0 0 16,0 0 0,0 1-16,0-1 0,13 0 15,-13 0-15,0 1 0,0-1 0,13-13 16,-13 13-16,14-13 0,-1 13 16,0-26-16,0 13 15,1-13-15,-1 0 0,0 13 16,-13-14-16,13 14 0,1-13 15,-1 13-15,0 0 16,0 0 0,0 0-16,1 0 15,-1 0-15,-13-13 0,13 13 16,0-13-16,1 13 0,-1-14 0,0 14 16,0-13-16,0 0 15,-13 0-15,14 13 0,-14-14 16,0 1-16,-14 0 15,1 0-15,0 0 16,0-1-16,0 1 16,13 0-16,-14 0 0,1-1 0</inkml:trace>
  <inkml:trace contextRef="#ctx0" brushRef="#br1" timeOffset="203433.2">4286 5913 0,'27'-26'15,"-14"13"-15,40 0 16,-27 13-16,-12 13 15,12 0-15,0 13 0,1 1 16,-14 13-16,14-1 0,-14 14 16,0 0-16,0 0 0,-13 13 0,0 0 0,0 0 15,0 1-15,0 12 16,0-13-16,-13 14 0,13-1 0,-13 13 16,0-12-16,-1 26 0,1-14 0,0-12 15,0-1-15,13 0 0,-14 1 16,14-14-16,0 0 0,0 0 0,0 0 15,14 1-15,-1-15 0,0 1 16,0-13-16,1 13 0,12-27 0,-13 14 16,14-13-16,-1-1 0,1-13 0,12 14 15,-12-14-15,-1-13 0,1 0 16,-1 0-16,1 0 0,-1 0 0,14-13 16,-14-1-16,14 1 0,-14-13 15,-12 13-15,12-1 0,-13 14 0,1-13 16,-1 0-16,0 26 15,0 0 1,-13 14-16,0 26 0,13 0 0,-13 13 16,14 13-16,-14 1 0,13 25 0,13-12 15,-12 13-15,12 13 0,1-13 16,12 0-16,-12 13 0,12 0 0,1 0 16,0 13-16,-14-13 0,14 0 0,0 13 15,-14-13-15,0 14 0,14-14 16,-13 0-16,-14 0 0,13-13 0,-12 13 15,-1-13-15,-13-27 0,0 14 0,13-14 16,-26 0-16,13 1 0,-13-1 16,13-13-16,-14 0 0,1 1 15,-13-14-15,12-14 0,1-12 0,0 12 16,0-25-16,-1 12 0</inkml:trace>
  <inkml:trace contextRef="#ctx0" brushRef="#br1" timeOffset="204827.66">13322 6231 0,'66'-13'16,"-132"26"-16,158-40 0,-65 27 0,13-13 0,-14 13 15,0 0-15,1 0 0,-1 0 0,1 0 16,-1 0-16,1 13 0,-1 1 15,1-1-15,-1 13 0,-13 1 0,14 13 16,-27-1-16,13 1 0,0 13 0,-13 13 16,0 0-16,13 0 0,-13 14 15,0-1-15,14 0 0,-1 14 0,0 13 16,14 0-16,-14-14 0,27 107 16,-14-107-16,-13-12 0,0 12 15,1-12-15,-1-1 0,0 0 16,0 14-16,1-14 0,-1 1 0,-13-14 15,13 13-15,0-13 0,1 14 0,-14-27 16,13 13-16,-13 0 0,0-26 16,0 13-16,0-14 0,0 1 0,-13 0 15,13-1-15,-27 1 0,14-13 0,-27-1 16,14 0-16,-14 1 0,0-14 16,1 0-16,-14 1 0,13-14 0</inkml:trace>
  <inkml:trace contextRef="#ctx0" brushRef="#br1" timeOffset="205640.48">8956 6006 0,'-79'0'16,"158"0"-16,-198 0 0,66 0 0,13 13 0,-12-13 16,-1 13-16,-14-13 0,15 14 0,-1-1 15,13 0-15,-13-13 0,13 27 0,1-14 16,-1 0-16,14 0 0,-1 1 15,1 12-15,-1 0 0,1 1 16,12-1-16,1 1 0,0 13 0,0 12 16,0 1-16,-1 0 0,-12 13 0,13 14 15,-1-14-15,1 13 0,-13 14 16,-1 13-16,1-14 0,-1 1 0,1 0 16,-1-1-16,1-26 0,0 27 0,-14-14 15,27 1-15,-14-14 0,1 13 16,-1-13-16,1 14 0,-1-1 0,1-13 15,-1 27-15,1-27 0,-1 0 0,1 0 16,0-13-16,12 13 16,-12-13-16,13 0 0,-1-13 0,14 0 0,0-14 15,0 0-15,14 14 0,-1-13 16,0 12-16,14-12 0,12-1 16,1 14-16,0-14 0,13 1 0,13-1 15,0-12-15,0 12 0,13 0 0,-12-12 16,12-1-16,0 13 0,1-12 15,-1-1-15,14 0 0,-14 0 0,0 14 16,-13-14-16,80 13 0</inkml:trace>
</inkml:ink>
</file>

<file path=ppt/ink/ink2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2.301"/>
    </inkml:context>
    <inkml:brush xml:id="br0">
      <inkml:brushProperty name="width" value="0.05" units="cm"/>
      <inkml:brushProperty name="height" value="0.05" units="cm"/>
      <inkml:brushProperty name="ignorePressure" value="1"/>
    </inkml:brush>
  </inkml:definitions>
  <inkml:trace contextRef="#ctx0" brushRef="#br0">75 1,'-3'3,"-2"5,1 4,-3 3,1 3,0 1,-1 1,0 0,-3 0,2 0,1 0,2-3</inkml:trace>
  <inkml:trace contextRef="#ctx0" brushRef="#br0" timeOffset="1">172 20,'-4'7,"0"5,-4 4,1 3,-3 1,1 1,1-1,0-3,0-1,2 0,2 0,2 2,0-4</inkml:trace>
</inkml:ink>
</file>

<file path=ppt/ink/ink2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2.635"/>
    </inkml:context>
    <inkml:brush xml:id="br0">
      <inkml:brushProperty name="width" value="0.05" units="cm"/>
      <inkml:brushProperty name="height" value="0.05" units="cm"/>
      <inkml:brushProperty name="ignorePressure" value="1"/>
    </inkml:brush>
  </inkml:definitions>
  <inkml:trace contextRef="#ctx0" brushRef="#br0">0 1,'0'0</inkml:trace>
</inkml:ink>
</file>

<file path=ppt/ink/ink2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3.135"/>
    </inkml:context>
    <inkml:brush xml:id="br0">
      <inkml:brushProperty name="width" value="0.05" units="cm"/>
      <inkml:brushProperty name="height" value="0.05" units="cm"/>
      <inkml:brushProperty name="ignorePressure" value="1"/>
    </inkml:brush>
  </inkml:definitions>
  <inkml:trace contextRef="#ctx0" brushRef="#br0">35 1,'3'0,"0"0,0 0,0 0,1 0,-1 1,0-1,0 1,0 0,0 0,0 0,0 0,-1 1,1-1,0 1,3 2,-4-2,-1 0,0-1,0 1,0 0,0 0,0 0,-1 0,1 0,-1 0,1 0,-1 0,0 0,1 0,-1 0,0 0,0 0,-1 0,1 0,0 0,-1 0,1 0,-1 0,0 0,-1 3,0 3,0-1,1 1,0 0,0 15,2-16,-2 0,1 1,-1-1,0 0,-4 13,4-18,0 0,0 1,-1-1,1 0,-1 0,1 0,-1 0,0 0,1-1,-1 1,0 0,0-1,0 1,0-1,-1 0,1 0,0 0,0 0,-1 0,1 0,-4 0,-11 2,1-2</inkml:trace>
</inkml:ink>
</file>

<file path=ppt/ink/ink2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3.551"/>
    </inkml:context>
    <inkml:brush xml:id="br0">
      <inkml:brushProperty name="width" value="0.05" units="cm"/>
      <inkml:brushProperty name="height" value="0.05" units="cm"/>
      <inkml:brushProperty name="ignorePressure" value="1"/>
    </inkml:brush>
  </inkml:definitions>
  <inkml:trace contextRef="#ctx0" brushRef="#br0">149 0,'-7'0,"-5"0,-4 3,-3 2,-1 2,3 4,7 3,9 3,8 2,3 0,-1 1,-5-3,-6-5,-6 0,-6-3,-2-3,-4-2,4-2</inkml:trace>
</inkml:ink>
</file>

<file path=ppt/ink/ink2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6.001"/>
    </inkml:context>
    <inkml:brush xml:id="br0">
      <inkml:brushProperty name="width" value="0.05" units="cm"/>
      <inkml:brushProperty name="height" value="0.05" units="cm"/>
      <inkml:brushProperty name="ignorePressure" value="1"/>
    </inkml:brush>
  </inkml:definitions>
  <inkml:trace contextRef="#ctx0" brushRef="#br0">1 36,'0'-2,"1"0,-1 0,1 1,-1-1,1 0,0 1,0-1,0 0,0 1,0-1,0 1,1 0,-1-1,0 1,1 0,-1 0,1 0,-1 0,1 0,-1 0,1 0,0 0,-1 1,1-1,0 1,0-1,0 1,-1 0,1 0,0 0,3 0,4-1,0 0,-1 1,1 1,0-1,11 3,-18-2,1-1,0 1,-1 0,1 0,-1 0,1 0,-1 0,0 0,0 1,1-1,-1 1,0-1,0 1,0 0,0 0,2 3,-4-3,1-1,0 1,-1 0,1 0,-1 0,1 0,-1 0,0 0,0 0,0 0,0 0,0 0,0 0,0-1,-1 1,1 0,-2 3,-3 7,-1 0,-1-1,0 1,0-1,-14 14,-4 10,25-34,-1-1,1 1,0-1,-1 1,1-1,0 1,-1-1,1 1,0 0,0-1,0 1,-1-1,1 1,0 0,0-1,0 1,0 0,0-1,0 1,0-1,0 1,1 0,-1-1,0 1,0-1,0 1,1 0,-1-1,0 1,1-1,-1 1,0-1,1 1,-1-1,1 1,-1-1,1 1,-1-1,1 0,-1 1,1-1,-1 0,1 0,0 1,-1-1,1 0,-1 0,1 0,0 0,-1 1,1-1,0 0,-1 0,1 0,-1 0,1-1,0 1,-1 0,1 0,0-1,51-6,-42 5,188-40,-181 39</inkml:trace>
</inkml:ink>
</file>

<file path=ppt/ink/ink2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6.515"/>
    </inkml:context>
    <inkml:brush xml:id="br0">
      <inkml:brushProperty name="width" value="0.05" units="cm"/>
      <inkml:brushProperty name="height" value="0.05" units="cm"/>
      <inkml:brushProperty name="ignorePressure" value="1"/>
    </inkml:brush>
  </inkml:definitions>
  <inkml:trace contextRef="#ctx0" brushRef="#br0">76 11,'27'36,"-26"-31,1 0,-1 0,-1 0,1 0,-1 1,0-1,0 0,0 0,-1 1,0-1,0 0,0 0,-1 0,0 0,-3 8,3-10,1 1,-1 0,0-1,-1 1,1-1,-1 1,1-1,-1 0,0 0,0 0,0-1,-1 1,1-1,-1 0,1 0,-1 0,0 0,1 0,-1-1,-5 1,8-5,8-7,11-7,21-9,18-13,-53 37,-1-1,0 0,0 0,0 0,-1 0,1 0,-1-1,1 1,-1-1,0 1,-1-1,3-6,-4 8,0 0,0 1,0-1,0 0,-1 1,1-1,-1 0,1 1,-1-1,1 0,-1 1,0-1,0 1,0-1,0 1,0-1,0 1,0 0,0 0,-1-1,1 1,0 0,-1 0,1 0,-1 0,1 1,-1-1,0 0,1 1,-1-1,0 1,1-1,-5 1,-2-3,-1 1,0 1,1 0,-1 0,-13 0,11 3,1-1,-1 2,1-1,-10 5,3-1</inkml:trace>
</inkml:ink>
</file>

<file path=ppt/ink/ink2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7.035"/>
    </inkml:context>
    <inkml:brush xml:id="br0">
      <inkml:brushProperty name="width" value="0.05" units="cm"/>
      <inkml:brushProperty name="height" value="0.05" units="cm"/>
      <inkml:brushProperty name="ignorePressure" value="1"/>
    </inkml:brush>
  </inkml:definitions>
  <inkml:trace contextRef="#ctx0" brushRef="#br0">154 1,'-18'12,"-6"3,1 0,1 2,-31 30,52-46,0 0,-1 0,1 0,1 0,-1 0,0 0,0 0,0 1,0-1,1 0,-1 1,1-1,-1 0,1 1,-1-1,1 1,0-1,0 0,0 1,0-1,0 1,0-1,0 1,0-1,1 3,0-2,0 0,1-1,-1 1,1 0,-1-1,1 1,0-1,-1 0,1 0,0 1,0-1,0 0,0 0,0-1,2 2,7 1,1 0,-1 0,1-1,0-1,12 0,-4-1,5 1,0-2,0 0,38-8,-46 4</inkml:trace>
</inkml:ink>
</file>

<file path=ppt/ink/ink2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7.366"/>
    </inkml:context>
    <inkml:brush xml:id="br0">
      <inkml:brushProperty name="width" value="0.05" units="cm"/>
      <inkml:brushProperty name="height" value="0.05" units="cm"/>
      <inkml:brushProperty name="ignorePressure" value="1"/>
    </inkml:brush>
  </inkml:definitions>
  <inkml:trace contextRef="#ctx0" brushRef="#br0">107 1,'-4'3,"0"5,-4 0,0 3,1 2,-1 3,1 2,-2-3,0 0,2 1,-1-3,1 0,1 1,2 2,-1 1,-1-2</inkml:trace>
</inkml:ink>
</file>

<file path=ppt/ink/ink2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7.696"/>
    </inkml:context>
    <inkml:brush xml:id="br0">
      <inkml:brushProperty name="width" value="0.05" units="cm"/>
      <inkml:brushProperty name="height" value="0.05" units="cm"/>
      <inkml:brushProperty name="ignorePressure" value="1"/>
    </inkml:brush>
  </inkml:definitions>
  <inkml:trace contextRef="#ctx0" brushRef="#br0">174 0,'-13'4,"-8"3,-4 5,0 0,0 1,2 2,1 2,7 1,10-3,9-4,7-3,5-3,3-3,2-2,0 0,0-1,-3 0</inkml:trace>
</inkml:ink>
</file>

<file path=ppt/ink/ink2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8.033"/>
    </inkml:context>
    <inkml:brush xml:id="br0">
      <inkml:brushProperty name="width" value="0.05" units="cm"/>
      <inkml:brushProperty name="height" value="0.05" units="cm"/>
      <inkml:brushProperty name="ignorePressure" value="1"/>
    </inkml:brush>
  </inkml:definitions>
  <inkml:trace contextRef="#ctx0" brushRef="#br0">99 1,'-7'6,"-2"6,-3 4,1 3,2 1,0 1,0-1,3 1,2-1,-2 0,0 0,2-1,0 1,2-1,1-3</inkml:trace>
</inkml:ink>
</file>

<file path=ppt/ink/ink2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49:05.661"/>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2328 1283 0,'238'-26'15,"-171"13"-15,12-1 0,0 1 0,14 0 16,608-106 15,-582 106-31,-39-1 0,12 1 0,-12 0 16,-14 13-16,0-13 15,-26-1-15,12 14 0,-25 0 0,13 0 16,-27 0-16</inkml:trace>
  <inkml:trace contextRef="#ctx0" brushRef="#br0" timeOffset="239.02">3056 1310 0,'119'13'32,"-53"-26"-32,0-1 0,0 14 15,14-13-15,-1 0 0,14 0 16,-14 0-16,14 13 0,-14-14 0,1 1 16,-1 13-16,-13-13 0,0 13 0,-13-13 15,0 13-15,0 0 0,-27 0 16,14 0-16,-13 0 0,-14 0 0,0 0 15,0 0-15,0 0 0</inkml:trace>
  <inkml:trace contextRef="#ctx0" brushRef="#br0" timeOffset="7178.81">2222 3149 0,'0'-14'16,"0"28"-16,-13-28 0,40 14 31,-1 0-31,1 0 15,26 0-15,13 0 0,13 0 16,0 0-16,14 0 0,13 0 16,0-13-16,26 13 0,0 0 0,-13-13 15,14 0-15,-1 13 0,-13-14 0,-13 14 16,13-13-16,-13 0 0,-14 13 16,1-13-16,-14 13 0,14-14 0,-14 14 15,-26 0-15,0 0 0,0-13 0,-13 13 16,-14 0-16,1 0 0,-14 0 15,13 0-15,-12 0 0,-54 13 32,0-13-17,14 0-15,-27 14 0,0-14 0,0 0 16,-13 13-16,-14-13 0</inkml:trace>
  <inkml:trace contextRef="#ctx0" brushRef="#br0" timeOffset="7442.91">2871 3347 0,'-40'13'0,"67"14"31,-1-27-31,27 0 0,13-14 0,13 14 16,14-13-16,0 13 0,12-13 15,14 0-15,14 0 0,-14-1 16,-27 14-16,14-13 0,-13 0 0,0 0 15,-1 13-15,-13-14 0,1 14 16,-1-13-16,-26 13 0,0-13 0,0 13 16,-27 0-16,1 0 0,-1 0 0,-12 0 15,-1 0-15,0 0 0,0 0 16,-13-13-16,-13 13 16,-13-14-16</inkml:trace>
  <inkml:trace contextRef="#ctx0" brushRef="#br0" timeOffset="8019.29">3479 2461 0,'80'-14'0,"-27"14"0,26-13 0,556-27 31,-503 40-15,1-13-16,-1 13 0,0 0 0,0-13 16,-26 13-16,-13 0 0,13 0 15,-14 0-15,1 0 0,-1 0 0,1 0 16,-14-13-16,1 13 0,-1 0 16,-26 0-16,0 0 0,0 0 15,-13 0-15,-1 0 0,-12-13 0,12 13 16,-25 0-16,-1 0 0,-40 0 31,1 0-31,0 0 16,-27 0-16,0 0 0</inkml:trace>
  <inkml:trace contextRef="#ctx0" brushRef="#br0" timeOffset="8310.94">4723 2474 0,'-53'13'15,"40"-13"-15,13 13 0,92-13 32,-39 0-17,13 0-15,14 0 0,12 0 0,-12-13 16,12 13-16,-12 0 0,12 0 16,-12-13-16,12 13 0,-12 0 0,12 0 15,-12 0-15,-14-13 0,13 13 16,-26 0-16,0 0 0,-13 0 0,-1 0 15,1-14-15,-14 14 0,-12 0 0,25 0 16,-12 0-16,-14 0 16,0 0-16,1 0 0,-1 0 0,0 0 15,0 0-15,0 0 0,14 0 0,-14 0 16,0 0-16,1 0 16,12 0-16</inkml:trace>
  <inkml:trace contextRef="#ctx0" brushRef="#br0" timeOffset="8862.99">6998 2249 0,'27'-13'0,"-1"13"16,-13 0-16,14 0 0,-1 0 16,1 0-16,12 0 0,-12 0 0,13 0 15,-14 0-15,0 0 0,1 0 0,-1 0 16,1 0-16,-14 0 0,0 0 0,14 0 15,-14 0-15,0 13 0,0-13 16,1 0-16,-1 13 16,-13 0-16,13-13 0,-13 14 0,0-1 15,13 13-15,-13 1 0,14-14 0,-1 27 16,-13-1-16,13 1 0,0 0 16,14-1-16,-14 1 0,0 0 0,-13 0 15,13-1-15,1 1 0,-1 0 16,0-14-16,0 14 0,1-1 0,-14-12 15,0-1-15,13 1 0,-13-1 0,0-13 16,0 14-16,13-14 0,-13 0 16,0 1-16,-13-1 0,13 0 0,0 0 15,0 1-15,-13-1 0,-1 0 16,1 0-16,0-13 0,-14 13 0,-12 1 16,12-1-16,-26 0 0,-13 0 15,0 1-15,0-1 0,0 0 0,-14 0 16,1 1-16,0 12 0,-1-13 0,1 0 15,0 14-15</inkml:trace>
  <inkml:trace contextRef="#ctx0" brushRef="#br0" timeOffset="9891.75">22953 4630 0,'13'40'0,"-26"-80"0,39 93 0,-26-26 0,0-1 16,-13 14-16,0 26 0,-1 0 16,-12 0-16,-1 0 0,14 0 0,-13 14 15,-1-14-15,14-13 0,0 13 0,0-13 16,-1 0-16,14-13 0,-13-1 15,13 1-15,0 0 0,0-14 16,0-13-16,-13 14 0,13-14 0,0 0 16,0 0-16</inkml:trace>
  <inkml:trace contextRef="#ctx0" brushRef="#br0" timeOffset="10224.6">22569 5411 0,'26'106'32,"-12"-80"-32,-14 14 0,13-14 15,0 1-15,-13-1 0,13 1 0,-13-14 16,14 13-16,-1-13 0,0 14 0,0-14 15,0 0-15,1 1 0,-1-1 16,0-13-16,14 13 0,-14-13 0,13 0 16,1 0-16,12-13 0,1 13 0,0-13 15,13-14-15,0 14 0,0-14 16,0 1-16,-14 13 0,1 0 16,-14-1-16,1 1 0,-14 0 0,13 13 15,-12 0-15,-1-13 0,0 13 16</inkml:trace>
  <inkml:trace contextRef="#ctx0" brushRef="#br0" timeOffset="13891.28">807 4061 0,'-26'0'15,"52"0"-15,-52-13 0,52 13 32,-13 0-32,14 0 0,-1 0 15,14 0-15,13 0 0,0 0 16,0 0-16,13 0 0,0 0 0,13-13 16,-26 13-16,0 0 0,0 0 0,0 0 15,0 0-15,-13 0 0,-14-13 16,0 13-16,1 0 0,-14 0 0,14 0 15,-14 0-15,0 0 16,0 0-16</inkml:trace>
  <inkml:trace contextRef="#ctx0" brushRef="#br0" timeOffset="14131.83">701 4220 0,'-13'13'0,"26"-26"0,14 26 16,-14-13-16,13 0 16,14 0-16,0 0 0,13 0 15,-1 0-15,15 0 0,-1 0 0,13 0 16,-13-13-16,0 13 0,-13 0 0,0 0 16,0 0-16,0-13 0,-13 13 15,-14 0-15,14 0 0,-14 0 0,14 0 16,-27 0-16,1 0 0,-1 13 15,0-13-15,0 0 0,0 13 16,1-13-16</inkml:trace>
  <inkml:trace contextRef="#ctx0" brushRef="#br0" timeOffset="15214.72">19103 9009 0,'-40'291'31,"27"-225"-31,0 0 0,0-13 0,-14 13 16,14-13-16,-14 0 0,14 13 15,0-26-15,-14 0 0,14-1 0,0 1 16</inkml:trace>
  <inkml:trace contextRef="#ctx0" brushRef="#br0" timeOffset="15439.05">19156 9075 0,'-27'40'0,"1"-14"16,-1 1-16,-12 26 0,-14 0 16,-66 92-16,66-79 0,-146 159 15,133-145-15,13-1 16,-13-13-16,40-13 0,-14 0 0,14-13 16,-1 13-16</inkml:trace>
  <inkml:trace contextRef="#ctx0" brushRef="#br0" timeOffset="15669.98">18799 9088 0,'26'27'0,"-52"-54"0,65 67 0,-25-27 16,-1 27-16,0 0 0,13-1 0,-12 14 15,-1 0-15,13 13 0,-12-13 16,-1 0-16,0 0 0,0 0 0,1-13 16,12-1-16,-13 1 0,-13 0 0,13-1 15,1-12-15,-1-1 0,0 14 16</inkml:trace>
  <inkml:trace contextRef="#ctx0" brushRef="#br0" timeOffset="27915.67">12065 4061 0,'40'0'31,"-27"0"-31,13 0 16,1 0-16,13 0 0,12 0 16,1 0-16,0 0 0,0 0 15,-13 0-15,13 0 0,0 0 0,-14 0 16,1 0-16,-13 14 0,-1-14 0,0 0 16,1 0-16,-14 0 0,0 0 15,1 0-15,-1 0 0,0 0 0,-39 13 31,-1-13-31,14 0 16,-27 0-16,14 0 0,-14 0 0,0 13 16,-13-13-16,1 0 0,12 0 0,0 0 15,14 0-15,-14 0 0,14 0 16,-1 13-16,14-13 0,0 0 16,-1 0-16,1 0 0,26 14 31,14-14-31,-14 0 0,14 0 15,-1 0-15,14 0 0,-14 13 0,14-13 16,-14 0-16,14 0 0,-14 0 0,14-13 16,-13 13-16,-1 0 0,1 0 15,-1 0-15,-13 0 0,14 0 0,-14 0 16,0 0-16,0 13 0,1-13 16,-1 0-16,0 0 15,0 0-15,-39 0 78,13 0-78</inkml:trace>
  <inkml:trace contextRef="#ctx0" brushRef="#br0" timeOffset="29419.99">2805 4762 0,'13'14'32,"-13"-1"-32,0 0 15,0 0-15,0 1 0,0-1 16,-13 0-16,13 0 0,0 1 15,0-1-15,0 0 0,-14 0 0,14 0 16,0 1-16,0-1 0,-13 0 16,13 0-16,0 1 15,-13-1 1,13-40 31,13 14-47,-13 0 15,0 0-15,0-1 0,13-12 16,-13 13-16,0 0 0,0-1 16,14 14-16,-14-13 0,0 0 15,0 0-15,13 39 47,-26-26-31,13 27-16,0-14 15,0 0-15,-14 0 0,1 40 32</inkml:trace>
  <inkml:trace contextRef="#ctx0" brushRef="#br0" timeOffset="29666.79">2871 4776 0,'-40'26'15,"27"-13"1,0 1-16,-14 12 16,14 1-16,-14-1 15,14-13-15,13 0 16</inkml:trace>
  <inkml:trace contextRef="#ctx0" brushRef="#br0" timeOffset="29872.6">2818 4762 0,'13'14'16,"14"-1"-1,-14 0-15,0 0 0,0 1 16,0-1-16,1-13 15,-14 13-15,13 0 0,0-13 16</inkml:trace>
  <inkml:trace contextRef="#ctx0" brushRef="#br0" timeOffset="30555.59">3704 4842 0,'0'26'15,"0"-12"1,0-1-16,0 0 15,0 0-15,0 14 0,-13-14 16,13 0-16,0 0 0,-13 1 0,13 12 16,0-13-16,-14 1 0,14-1 15,0 0-15,0 0 16</inkml:trace>
  <inkml:trace contextRef="#ctx0" brushRef="#br0" timeOffset="31091.94">3731 4815 0,'-27'27'15,"27"-14"1,-13-13-16,13 13 0,-13 1 16,-1-1-16,14 0 0,-13 0 0,0 0 15,13 1-15,-13-1 0</inkml:trace>
  <inkml:trace contextRef="#ctx0" brushRef="#br0" timeOffset="31581.09">3717 4815 0,'14'14'16,"-1"-1"0,0-13-16,0 13 0,-13 0 15,14-13-15,-1 14 0,0-1 16,0-13-16,-13 13 0,13-13 15,1 13-15,-14 0 0,13-13 16,0 14-16,0-1 16,1-13-16,-14 13 15,13-13-15,0 13 16,0-13 0,-13 14 30,14-28 48</inkml:trace>
  <inkml:trace contextRef="#ctx0" brushRef="#br0" timeOffset="33454.61">6906 4855 0,'0'27'47,"0"-14"-47,0 0 16,13 0-16,-13 14 0,0-14 15,0 13-15,0-12 0,0-1 0,0 13 16,0-12-16,0 12 0,0-13 16,-13 0-16,13 14 0,0-14 0,0 0 15,0 1-15,0-1 0,0 0 16,-14-13-16,14 13 16,0 1-16</inkml:trace>
  <inkml:trace contextRef="#ctx0" brushRef="#br0" timeOffset="33711.65">6972 4855 0,'-13'0'31,"13"13"-31,-14 1 0,14-1 0,-13 0 16,0 0-16,0 0 0,-1 14 15,14-14-15,-13 14 0,0-14 16,0 0-16,-1 27 0,1-27 16,0 0-16,13 0 0,-13 1 15,13-1-15</inkml:trace>
  <inkml:trace contextRef="#ctx0" brushRef="#br0" timeOffset="33951">6906 4855 0,'13'0'0,"0"13"15,0 1-15,-13-1 0,14-13 16,-1 13-16,0 0 0,0 0 16,14 14-16,-14-27 0,-13 13 15,13 0-15,0-13 0,-13 14 0,14-1 16,-1-13-16,-13 13 0,0 0 16,13-13-16,-13 14 0</inkml:trace>
  <inkml:trace contextRef="#ctx0" brushRef="#br0" timeOffset="34719.21">6244 4908 0,'13'40'31,"-13"-27"-31,0 0 16,14 0-16,-14 27 0,0-27 15,-14 186 32,14-186-47,0 0 16,0 0-16</inkml:trace>
  <inkml:trace contextRef="#ctx0" brushRef="#br0" timeOffset="36138.65">6244 4948 0,'13'-14'16,"-39"28"15,13-1-15,-1 0-16,14 0 15,-13 1-15,0-1 0,0 0 16,-14 27-16,14-27 0,-13 13 15,26-12-15,-14-14 0,14 13 16,-13 0-16,13 0 0</inkml:trace>
  <inkml:trace contextRef="#ctx0" brushRef="#br0" timeOffset="36991.41">6271 4921 0,'13'0'15,"0"0"-15,0 13 0,1-13 16,-1 0-16,0 14 0,27-1 15,-27-13-15,0 13 0,0-13 16,1 13-16,-1-13 0,0 0 0,0 14 16,1-14-16,-14 13 0,13-13 15,0 0-15,0 13 0,0-13 16,-13 13-16,14-13 16,-1 0-1,-13 14 1,13-14-1,0 13 64,-13-26 342</inkml:trace>
  <inkml:trace contextRef="#ctx0" brushRef="#br0" timeOffset="39792.86">7051 4233 0,'0'-13'31,"-13"13"-15,0 0-16,13-13 16,-14 13-16,1 0 15,0-13-15,0 13 0,0 0 0,-27-14 16,27 1-16,-14 0 0,1 13 15,-14-13-15,14 0 0,-14-1 16,0 14-16,-26-26 0,26 26 16,14-13-16,-14-1 0,-26 14 15,26-13-15,14 13 0,-1 0 16,-12 0-16,12 0 0,-39 0 16,40 0-16,-1 13 0,-39-13 15,40 14-15,-27-1 16,26-13-16,1 13 0,-1-13 0,1 13 15,13-13-15,-14 14 0,14-1 16,-13-13-16,12 13 0,1 0 0,-13 0 16,12 1-16,1-1 0,0 0 15,0 14-15,-1-14 0,1 26 16,0-25-16,0 12 0,0 1 16,13-14-16,-14 13 0,14-12 0,-13 25 15,13-12-15,-13-14 0,13 0 16,0 14-16,0-14 15,0 0-15,13 40 0,-13-27 16,13-12-16,1 12 0,-1 14 16,0-27-1,0 0-15,14 14 0,145 65 47,-106-78-31,-13-14-16,277 26 62,-303-13-62,39-13 16,-13 0 0,0 0-16,-27 0 0,54 0 15,-41 0 1,28 0-16,-41-13 15,0 13-15,41 0 0,-41-13 16,27 13-16,-27-13 16,1 13-16,-1 0 0,14-14 15,-13 14-15,-1-13 0,14 0 16,-27 13-16,27-13 16,-1-1-16,-12 1 15,-1 13-15,-13-13 0,14 0 16,-14-1-16,14-12 15,-14 26-15,0-13 0,13-27 16,-12 27 0,-1 0-16,-13-14 0,0 1 15,0-1 1,-13-12-16,-14-14 16,-12 0-16,12 40 15,1-14-15,-1 1 0,-39-14 16,-40-26-16,27 39 15,39 14 1,-52 0-16,65 13 16,1-13-16,-54 26 0,67-13 15,-27 13-15</inkml:trace>
  <inkml:trace contextRef="#ctx0" brushRef="#br0" timeOffset="41762.51">10557 4313 0,'0'-14'0,"-13"-12"32,-1 13-32,1 0 15,0 13-15,13-14 0,-13 1 0,0 13 16,-1-13-16,-12 0 16,-1-1-16,14 14 0,0 0 15,0-13-15,-1 13 0,-25-13 16,26 13-16,-1 0 0,-25 0 15,12 13-15,1-13 0,-1 13 16,-12 1-16,12-1 0,-13 0 0,-26 27 16,40-27-16,-1 13 15,-26 27-15,27-39 0,13 12 16,-14 14-16,1 13 0,-1 13 16,14-40-16,0 14 0,13-14 15,0 1-15,-13-14 0,13 14 16,13 12-16,-13-12 15,13-1-15,0-13 0,1 14 0,-1-14 16,13 14-16,1-14 0,-1 0 0,80 13 31,-80-26-31,41 0 0,-41 0 16,1 0-16,12-13 0,1 13 16,0-13-16,-1 0 0,1 0 15,-14-14-15,14 14 0,53-40 16,-67 40-16,54-53 15,-41 13-15,-26 39 16,-13-12-16,27-14 16,-27 27-16,0-40 0,0 40 15,0-14-15,-13 1 0,-1 0 16,-12-1-16,13 14 0,0 0 0,-27-27 16,0 13-1,14 27-15,-14-13 0,14 0 16,-1 13-16,-26 13 15</inkml:trace>
  <inkml:trace contextRef="#ctx0" brushRef="#br0" timeOffset="42628.02">7131 5120 0,'105'26'0,"-78"-13"16,-1-13-16,54 14 16,-41-1-16,1 0 0,0-13 0,13 13 15,-14-13-15,14 14 16,27-1-16,-14-13 0,0 0 0,13 13 0,-13-13 15,93 0-15,13 0 16,-92 0-16,-1 0 0,93 0 16,-93-13-16,1 13 0,-1 0 15,0 0-15,1-13 0,-14 13 0,66-14 16,-66 14-16,-13 0 16,53-13-16,-53 13 15,-13-13-15,13 13 0,-14-13 0,27-1 16,-39 1-16,-1 13 15,1-13-15,-1 0 0,1-1 0,-14 14 16,0-13-16,0 0 0,14 0 0,-27 0 16,13-1-16,0 1 0,1 0 15,-1 0-15,-13-1 16,0 1 0,13 0-16</inkml:trace>
  <inkml:trace contextRef="#ctx0" brushRef="#br0" timeOffset="43172.46">9803 5001 0,'0'-14'0,"66"1"31,-53 0-31,0 13 0,1 0 0,-1 0 16,0 0-16,0 0 0,1 0 15,-1 0-15,0 13 0,0-13 0,0 13 16,1 1-16,-1-1 15,-13 0 1,0 0-16,0 1 16,0-1-16,13-13 0,-13 13 15,0 0-15</inkml:trace>
  <inkml:trace contextRef="#ctx0" brushRef="#br0" timeOffset="44000.82">9816 5067 0,'79'26'31,"-52"-26"-31,26 0 0,0 0 0,0 0 16,13 0-16,0 0 0,13 0 0,14 0 16,-14 0-16,14 0 0,-1 0 0,1-13 15,106 13-15,-67 0 16,0 0-16,14 0 0,-1 0 0,1 0 15,12 0-15,1 0 0,13 0 16,0 0-16,-13 0 0,26 0 0,0 0 16,-13 0-16,0 0 0,172 0 15,-185 0-15,0 0 0,132 0 16,-159 13-16,-26-13 16,0 0-16,-27 13 0,14-13 0,-27 0 0,-13 14 15,-27-14-15,14 0 0,-27 0 0,14 0 16,-14 0-16,0 13 0,0-13 15,0 0-15</inkml:trace>
  <inkml:trace contextRef="#ctx0" brushRef="#br0" timeOffset="44354.68">14565 4987 0,'14'0'15,"12"0"-15,-13 0 0,0 14 0,1-14 16,12 0-16,1 13 15,-1-13-15,1 13 0,-1-13 0,14 13 16,26 27-16,-40-27 0,1 14 16,12-1-16,-25 1 0,-1-14 15,-13 27-15,0-27 16,0 13-16,-53 27 0,26-26 16,-12-1-16,-14 1 0,13-1 15,-13 0-15,14-12 0,-41 25 16,54-25-16,-40 12 0,26-13 15</inkml:trace>
  <inkml:trace contextRef="#ctx0" brushRef="#br0" timeOffset="67361.73">1296 7197 0,'450'13'16,"-357"-13"-16,-1 0 16,14 0-16,0 0 0,0 0 15,26 0-15,-26 13 0,26-13 0,1 0 0,-1 0 16,0 0-16,-26 0 0,26 13 0,1-13 15,-1 0-15,543 14 32,-543-1-32,0-13 0,1 0 0,12 0 15,-13 13-15,14-13 0,-14 0 0,-26 0 16,26 0-16,1 0 0,-28 0 16,14 0-16,-13 0 0,0 0 0,0 0 15,-13 0-15,-1 0 0,1-13 0,-14 13 16,1 0-16,-14-13 0,0 13 0,-13-14 15,-14 14-15,14-13 0,-13 13 16,0-13-16,-1 0 0,-25 13 16,12-14-16,1 1 0,-14 13 0,0-13 15,13 0-15,-12 0 0,-14-1 0,13 1 16,-13 0-16,13-14 0,-13 14 16,0-13-16,0 12 0,-13-12 0,13 13 15,-13-27-15,-1 14 0,-12-1 0,-14-26 16,27 27-16,-13-1 15,-1 1-15,1-1 0,-1 1 0,-12 0 16,12-1-16,1 1 0,-14-1 0,-39-39 16,39 40-16,-13-1 15,13 1-15,-13-1 0,0 1 0,1-1 16,-1 1-16,0 13 0,-13-14 0,-1 1 16,1-1-16,0 14 0,-13-14 0,13 14 15,-14-13-15,1 13 0,-1-14 16,-12 14-16,13-14 0,-1 14 15,-12 0-15,-80-14 0,79 1 16,0 13-16,-92-14 0,93 14 16,-28-13-16,28 12 0,-14 1 15,0 0-15,0 0 0,14 0 16,-27-1-16,26 1 0,-13 0 0,14 0 0,-41 13 16,41-14-16,-27 1 0,13 13 15,13-13-15,1 13 0,-107-13 16,107-1-16,-14 14 0,13 0 15,1 0-15,12 0 0,-12-13 0,12 13 16,1 0-16,-1 0 0,1 0 0,0 0 16,-1 0-16,14 0 0,13 0 15,-26 13-15,26-13 0,0 0 0,0 0 16,-53 14-16,53-14 0,0 13 16,-39 0-16,39 0 0,13-13 15,1 14-15,-1-1 0,0 0 16,1 0-16,12-13 0,-13 14 0,14-1 15,13 0-15,-27 0 0,14 0 16,12 1-16,-12-1 0,13 0 0,-1 0 16,-12 1-16,13-1 0,-1 0 15,1 0-15,0 0 0,-13 27 0,-1-27 16,14 14-16,-27 26 16,27-27-16,0 1 0,0-1 15,-1 1-15,1 12 0,0-12 0,0 12 16,-1 1-16,1 0 0,0-14 0,13 14 15,0 0-15,0-1 0,0 1 0,0 0 16,13-1-16,0 1 0,1 0 16,12-14-16,1 14 0,52 39 15,-39-39-15,12-14 0,1 1 0,14-1 16,-1 1-16,-13-14 0,13 0 16,13 14-16,-13-14 0,0 0 0,14-13 15,79 27-15,-80-27 16,0 0-16,1 0 0,12 0 0,-12 0 15,12 0-15</inkml:trace>
  <inkml:trace contextRef="#ctx0" brushRef="#br0" timeOffset="74332.17">900 8348 0,'39'0'0,"-26"0"16,14 0-16,-1 0 0,14-14 0,13 14 15,0 14-15,0-14 0,0 0 0,13 0 16,-13 0-16,13 0 0,-13 0 16,13 0-16,-13 0 0,13 0 0,-13 0 15,0 13-15,0-13 0,-13 0 0,-1 0 16,-12 0-16,-1 0 0,1 0 16,-14 0-16,0 0 0,0 0 15,1 0-15</inkml:trace>
  <inkml:trace contextRef="#ctx0" brushRef="#br0" timeOffset="74619.88">1283 8361 0,'-26'0'0,"52"0"0,-65 0 15,78 13 1,-12-13-1,-1 0-15,1 0 0,12 0 16,1 0-16,13 0 0,-13-13 0,13 13 16,-14 0-16,1 0 0,0 0 15,-14 0-15,0 0 0,14-13 0,-13 13 16,-1 0-16,-13 0 0,14 0 0,-14 0 16,0 0-16,0 0 0,1 0 15,-1 0-15,0 0 0,0 0 0,1 0 16,-1 0-16,-13 13 0,26-13 15,-12 0-15,-1 0 0,13 0 0</inkml:trace>
  <inkml:trace contextRef="#ctx0" brushRef="#br0" timeOffset="80356.28">4471 4868 0,'0'14'16,"0"-1"0,0 0-16,0 0 15,0 0-15,0 14 0,0-14 0,0 14 16,0-1-16,0-13 0,0 14 0,0-14 16,-13 13-16,13-12 0,0 12 15,0-13-15,0 14 0,0-14 0,0 0 16,-13 1-16,13-1 15,0 0-15,0 0 16,0 0-16,0 1 16,0-1-1,13-40 63,-13 14-78,0 0 16,0 0 0,0 0-16,0-1 0,0 1 15,0 0-15,0 0 0,0-1 16,13 1-16,-13 0 16,0 0-16,0-1 0,0 1 0,0 0 15,0 0-15,14 0 0,-14-1 0,0 1 16,0 0-16,0 0 15,0-1-15,0 54 32,0-27-17,-14 1-15,14-1 0,-13 13 0,13-13 16,0 14-16,-13-14 0,13 14 0,-13-14 16,13 13-16,0-12 0,0-1 15,-13 0-15,13 0 0,0 0 0,0 1 16</inkml:trace>
  <inkml:trace contextRef="#ctx0" brushRef="#br0" timeOffset="80785.73">4564 4921 0,'-26'13'32,"26"1"-32,-14-1 0,1 0 15,0 0-15,0 14 0,-14-14 0,14 14 16,0-1-16,0-13 0,-1 0 16,1 14-16,0-14 0,13 0 0,-13 1 15,13-1-15,-14-13 0,14 13 0,14-39 47,-1 12-47,0 1 0,0-13 0,1-1 16,-1 1-16,0 13 15,0-1-15,-13 1 0,13 0 0,1 0 16,-1 13-16,0 0 0,0 13 16,1 0-1,-14 0-15,13 1 0,-13-1 16,13 0-16,-13 0 0,0 0 0,13 1 15,-13-1-15,14-13 16,-14 13-16,13 0 0,13-26 31</inkml:trace>
  <inkml:trace contextRef="#ctx0" brushRef="#br0" timeOffset="81486.78">4564 4048 0,'-119'-13'32,"93"26"-32,-1 0 0,1 1 15,-14-1-15,-13 13 0,13 14 16,1 0-16,-14-1 0,13 1 16,0 13-16,1 0 0,12 0 0,-12 13 15,12-13-15,14 0 0,-14 0 0,14 0 16,13-14-16,-13 1 0,26 53 15,0-54-15,1 1 0,39 39 16,-14-52-16,-12-1 0,12 1 16,1-14-16,0 13 0,-14-26 15,27 14-15,-13-1 0,-1-13 0,-12 0 16,26 0-16,0-13 0,-14-1 16,14 1-16,-13 0 0,13 0 0,-13-14 15,39-12-15,-39-1 0,-14 13 16,27-26-16,-26 27 15,12-40-15,-26 26 0,-13 14 16,14-14-16,-1-26 0,-13 39 16,0 1-16,-13-14 0,13 1 15,-14-1-15,1 13 0,13 1 0,-26-14 16,13 14-16,-1-1 0,-12 1 16,13-1-16,-14 1 0,14 0 0,-14 12 15,14 1-15,0 0 0,-13 0 16,12-1-16,-12 1 0,13 0 0,-14 13 15,1-13-15,13 0 0,-14 13 0,14 0 16,0 0-16,-14 0 0,14 0 16,0 0-16,-14 0 0,14 0 0,-13 13 15,12-13-15,-12 13 0,-1-13 0,14 13 16,-13 0-16,12 1 16,-12-1-16,13 0 0,-14 0 0,14 1 15,-13 12-15,-1-13 0,27 0 16,-13 1-16,0-1 0,13 0 0,0 0 15</inkml:trace>
  <inkml:trace contextRef="#ctx0" brushRef="#br0" timeOffset="82551.63">1323 8797 0,'66'0'0,"-132"0"0,159-13 15,-67 13-15,0 0 0,14 0 16,-13 0-16,-1 0 0,1-13 0,-1 26 16,-13-13-16,14 0 0,-1 0 0,-13 0 15,27 0-15,-27 0 16,-13 13-16,13-13 0</inkml:trace>
  <inkml:trace contextRef="#ctx0" brushRef="#br0" timeOffset="82985.67">1204 8890 0,'26'-13'16,"-12"13"-16,-1-13 0,13 13 0,1 0 15,-1 0-15,14-14 0,-14 14 16,1 0-16,12-13 0,-12 13 0,-1 0 15,14 0-15,-13 0 0,-1-13 0,0 13 16,-12 0-16,12 0 0,-13 0 16,1 0-16,-1 0 0,0 0 0,0 0 15,0 0-15,1 0 0,-1-13 16,-13 26-16,13-13 16,-26 13 93,13 0-93</inkml:trace>
  <inkml:trace contextRef="#ctx0" brushRef="#br0" timeOffset="85962.9">1177 9260 0,'-13'0'31,"40"-13"-15,-1 13-16,-13 0 0,14 0 0,12 0 15,14 0-15,-13-13 0,13 13 0,0 0 16,-13 0-16,13-13 0,-1 13 16,-12 0-16,13 0 0,-13-13 0,-14 13 15,14 0-15,-14 0 0,1 0 0,-1 0 16,-13 0-16,14 0 0,-14 0 16,0 0-16,1 0 0,-1 0 0</inkml:trace>
  <inkml:trace contextRef="#ctx0" brushRef="#br0" timeOffset="86295.58">1296 9393 0,'40'0'0,"-27"0"0,1 0 16,78-14-1,-65 14-15,-1 0 0,27-13 0,-26 13 16,12 0-16,-12-13 0,12 13 16,-12 0-16,-1 0 0,1 0 0,-1-13 15,-13 13-15,14 0 0,-14 0 16,0 0-16,1 0 0,-1 0 0,0 0 16,0 0-16,0 0 15,1 0-15,-1 0 16,0 0-1,0 0-15,1-13 32,-1 13-17</inkml:trace>
  <inkml:trace contextRef="#ctx0" brushRef="#br0" timeOffset="89845.76">1270 9750 0,'26'0'0,"-12"0"16,-1 0-16,13 0 0,-12 0 16,12 0-16,1 0 0,-1 0 15,0 0-15,1 0 0,-1 0 16,1 0-16,-1 0 0,1 0 0,-14 0 16,13-13-16,1 13 0,-14 0 0,0 0 15,1 0-15,-1 0 0,0 0 0,0 0 16</inkml:trace>
  <inkml:trace contextRef="#ctx0" brushRef="#br0" timeOffset="90295.81">1244 9895 0,'-14'0'0,"67"0"31,-40 0-31,1 0 16,12 0-16,-13 0 0,40 0 15,-39-13-15,12 13 0,0 0 0,-12 0 16,12 0-16,1 0 0,-14 0 16,13-13-16,-12 13 0,12 0 0,-13 0 15,0 0-15,1 0 0,-1 0 0,0 0 16,0 0-16,14-13 15,-14 13 1,0 0-16,0 0 16,1 0-1,-1 0 48,0 0-32,0 0-15,14 13-1,-14-26-15</inkml:trace>
  <inkml:trace contextRef="#ctx0" brushRef="#br0" timeOffset="92496.03">1349 10319 0,'27'0'32,"-14"0"-32,0 0 0,14 0 15,-14 0-15,0 0 0,14 0 0,-1 0 16,-13 0-16,14 0 0,-1 0 16,-12 0-16,12 0 0,-13 0 0,14 0 15,-14 0-15,0 0 0,0 0 16,1 0-16,-1 0 0,0 0 15,0-13-15</inkml:trace>
  <inkml:trace contextRef="#ctx0" brushRef="#br0" timeOffset="92889.65">1402 10358 0,'27'0'47,"-14"0"-47,0 14 0,0-14 0,1 0 15,-1 0-15,0 0 16,14 0-16,-14 0 0,0 0 0,0 0 16,14 0-16,-14 0 0,0 0 0,0 0 15,1 0-15,-1 0 0,0-14 16,0 14-16,14 0 15,-14 0 1,0 0-16,0 0 16,1 0-1,-1 0 17,0 0 30,0 0-46</inkml:trace>
  <inkml:trace contextRef="#ctx0" brushRef="#br0" timeOffset="93450.37">2963 10213 0,'27'13'16,"-14"-13"-16,0 0 0,0 0 16,1 0-16,-1 0 15,0 0-15,0 0 16,1 13 0</inkml:trace>
  <inkml:trace contextRef="#ctx0" brushRef="#br0" timeOffset="94101.86">952 10888 0,'14'0'15,"52"0"17,-40 0-32,-12 0 0,12 0 0,0 0 15,1 0-15,13 0 0,-14-14 0,1 14 16,12 0-16,1 0 0,0-13 16,-14 13-16,1 0 0,-1 0 0,-13-13 15,14 13-15,-14 0 0,0 0 16,0 0-16,1 0 0,-14-13 0</inkml:trace>
  <inkml:trace contextRef="#ctx0" brushRef="#br0" timeOffset="94385.71">939 10914 0,'40'-13'32,"-27"13"-32,0 0 0,14 0 0,-14 0 15,14 0-15,-1 0 0,0 0 0,1-13 16,13 13-16,-14 0 0,1 0 16,-1 0-16,14 0 0,-14 0 0,1 0 15,-1 0-15,-13 0 0,14 0 0,-1 0 16,1 0-16,-14 0 15,0 0-15,14 0 0,-14 0 0,13 0 16,-12 0-16,12 0 0,-13 0 0,0 0 16</inkml:trace>
  <inkml:trace contextRef="#ctx0" brushRef="#br0" timeOffset="95526.72">2831 10835 0,'13'0'16,"1"13"-16,-1-13 16,0 0-16,0 0 15,0 0-15,1-13 0,-1 13 0,0 0 16,14 0-16,-14-14 0,0 14 15,0 0-15,14-13 0,-14 13 0,0-13 16,0 13-16,1-13 0,-1 0 0,0 13 16,0-14-16,1 1 0,-1 0 15,0 0-15,-13-1 0,0 1 16,13 13-16,-13-13 0,0 0 0,0-1 16,13 1-16,-13 0 15,0 0-15,0 0 0,-13-1 0,13 1 16,0 0-16,0 0 0,0-1 0,-13 1 15,13 0-15,0 0 0,-13 0 16,0-1-16,13 1 0,-14 0 0,1 0 16,0-1-16,0 1 15,-1 0-15,1 13 0,13-13 16,-13 13-16,0-14 0,-1 14 0,1 0 16,0-13-16,0 13 0,-14 0 15,14 0-15,0 0 0,0 0 16,-1 0-16,-12 0 0,13 0 0,0 0 15,-1 0-15,1 0 0,0 13 16,0-13-16,-1 14 0,1-14 0,0 0 16,0 13-16,-1 0 0,1 0 0,0-13 15,0 14-15,13-1 0,-13 0 16,13 0-16,-14 1 0,14-1 0,-13 0 16,13 13-16,0-12 0,0-1 0,0 0 15,0 0-15,0 1 0,13 12 16,-13-13-16,14 0 0,-1 1 0,-13-1 15,13-13-15,0 13 0,0 0 0,1 1 16,-1-14 0,0 13-16,0-13 0,1 0 15</inkml:trace>
  <inkml:trace contextRef="#ctx0" brushRef="#br0" timeOffset="98622.87">8943 8070 0,'13'-13'0,"-66"39"31,27 0-31,-1 14 0,-12 13 16,-1 0-16,0 0 0,1 0 16,12 0-16,-13 0 0,14 0 0,-1-1 15,14 1-15,0-26 0,0 13 0,13-14 16,0 0-16,0-12 0,0-1 16,13 0-16,0-13 0,0 0 0,14 0 15,-1 0-15,14-13 0,0-14 0,-1 1 16,14 0-16,-13-14 0,13 13 15,0-12-15,-13 12 0,13 1 16,-14-1-16,1 14 0,-14 13 0,1-13 0,-14 13 16,14 13-16,-14-13 0,0 13 15,-13 1-15,13 12 0,-13-13 16,0 14-16,0-14 0,0 13 0,0 1 16,0-1-16,-13 1 0,13-14 0,0 0 15,-13 14-15,13-14 0,0 0 16,0 0-16,-13 1 0</inkml:trace>
  <inkml:trace contextRef="#ctx0" brushRef="#br0" timeOffset="99850.57">9340 8348 0,'0'-14'15,"0"28"-15,26-1 31,-26 0-31,0 0 0,0 1 0,13-1 16,-13 0-16,0 13 0,0-12 0,0-1 16,14 0-16,-14 0 15,0 1-15,0-1 0,0 0 0,0 0 16,0 0-16,13-39 31,0 13-31,-13-14 0,13-12 0,14-27 16,-14 26-16,0 13 0,14-39 15,-14 53-15,0 0 0,0 0 16,-13-1-16,14 1 0,12 0 16,1 26-1,-27 0-15,13-13 0,-13 14 0,13-1 16,-13 0-16,0 0 0,13-13 16,-13 13-16,0 1 0,14-1 0,-14 0 15,13-13-15,-13 13 0,13 1 0,0-14 16,14 0-1,-14 0-15,0-14 16,0 1-16,-13 0 0,14 0 16,-14-1-16,13 1 0,-13-13 0,0 13 15,0-1-15,0 1 16,0 0-16,-13 13 16,39 0 30,-13 0-46,0 0 16,1 0-16,-1 0 0,13 0 16,-12 0-16,-1-13 0,0 13 0,0 13 15,1-13-15,-1 0 0,0 0 0,0 0 16,0 0-16,1 0 0,-1 13 16,0-13-1,0 0-15,1 0 0,-1-13 0,0 13 16,0 0-16,1 0 0,-1 0 0,0 0 15,-13-13-15,13 13 0,14 0 16,-27 13-16,13-13 16,0 0-16,-13 13 0,13-13 0,-13 13 0,14-13 15,-14 14-15,13-14 0,0 13 16,0-13 0,1 0-16,-1-13 15,0-1-15,0 14 0,0-26 0,1 13 16,-1-14-16,13 1 0,-12-14 15,12 14-15,1-14 0,-1-13 0,0 27 16,-12-1-16,-1 1 0,0 12 0,14 1 16,-14 13-1,-13 13-15,13 14 0,-26-1 16,13 14-16,-13 13 0,-1 13 0,1 13 16,-13-12-16,-1 12 0,1 14 0,-40 52 15,39-52-15,1-27 16,-1-13-16,1 0 0,-1 0 0,14-14 15,-13 14-15,12-40 16,1 1-16,0-41 16,13 14-16,0-27 15,13-13-15,0-26 0,14 13 0,-1-40 16,14 13-16,0 1 0,-1-1 16,14 14-16,-13 26 0,-14 13 15,14 0-15,-13 14 0,-1 13 0,0 0 16,-12 39-16,-28-13 15,1 27-15,-13 13 0,-1-13 16,1 12-16,-14 1 0,1 0 0,12 0 16,-13-13-16,1 0 0,-14 26 15,40-53-15,-1 0 0,1 0 16,40-39 0,-1-1-16,14 1 15,-1-27-15,1 0 0,0 14 0,-1-14 16,1 13-16,0 13 0,-14 1 15,14-14-15,-27 40 0,0 0 16,1 0-16,-14 14 0,0-1 16,0 13-16,0 1 0,-14-1 15,1 14-15,0-14 0,0 14 16,-14-14-16,1 14 0,-14 26 0,14-39 16,-1-1-16,14-13 15,0 1-15,13-1 0,-13-13 16</inkml:trace>
  <inkml:trace contextRef="#ctx0" brushRef="#br0" timeOffset="100276.15">10848 8057 0,'13'39'0,"-13"-12"15,0-14-15,0 40 16,-13-40-16,13 0 0,0 14 16,0-14-16,-13 0 0,13 0 15,13 1 1,0-28-1,14 1-15,-14 0 0,0 13 0,14-13 16,-14 13-16,0 0 0,0 0 16,0 0-16,1 0 0,-14 13 0,13 0 15,-13 14-15,0-14 0,0 13 0,0 1 16,0-1-16,-13 1 0,13-1 0,0-13 16,0 14-16,0-14 15,0 14-15,0-14 0,13 0 0,-13 0 16,0 0-16,13-13 0,-39 0 31,-1-13-31,14 0 16,-27 0-16,1 0 0,-14-14 0</inkml:trace>
  <inkml:trace contextRef="#ctx0" brushRef="#br0" timeOffset="101482.86">966 11867 0,'-14'0'15,"28"0"-15,-41 0 0,14 0 16,0 0-16,39 13 31,-13-13-15,14 0-16,-1 0 0,1 0 0,13 0 15,12 0-15,15 0 0,-14 0 16,13-13-16,0 13 0,-13 0 0,26-14 16,-26 14-16,0 0 0,0-13 0,0 13 15,13 0-15,-13 0 0,-13-13 16,12 13-16,-12 0 0,-13 0 0,-1 0 16,1-13-16,-14 13 0,0 0 0,0 0 15,0 13-15,-26 0 31</inkml:trace>
  <inkml:trace contextRef="#ctx0" brushRef="#br0" timeOffset="101773.6">886 12052 0,'-26'0'0,"13"0"0,-1 0 15,14 13-15,27-13 16,-1 0-16,1 0 16,12-13-16,14 13 0,0-13 15,13 13-15,14-14 0,-14 14 0,13-13 16,1 13-16,-1-13 0,-13 13 0,14-13 16,-14 13-16,0-14 0,13 14 15,-26-13-15,0 13 0,-13 0 0,13 0 16,-14-13-16,-12 13 0,-1 0 15,1 0-15,-14 0 0,13 0 0,-12 0 16,-1 0-16,0 0 0,0 0 0,1 0 16</inkml:trace>
  <inkml:trace contextRef="#ctx0" brushRef="#br0" timeOffset="102733.52">1640 12091 0,'27'0'0,"-14"0"15,0 0-15,14-13 0,52 0 16,-39 0-16,0 13 15,12-13-15,-12 13 0,0-14 0,13 1 16,-14 13-16,1-13 0,0 0 0,-1-1 16,1 1-16,0 13 0,0-13 15,-14 0-15,0-1 0,1 14 16,-14-13-16,14 0 0,-14 0 0,13 0 16,-12-1-16,12-12 0,0 13 0,-12-14 15,-1 14-15,0 0 0,0-14 16,1 14-16,-14 0 0,13 0 15,0-14-15,-13 14 0,13 0 0,-13-1 0,0-12 16,14 13-16,-14 0 0,0-1 16,0 1-16,13 0 0,-13 0 0,0-14 15,0 14-15,0 0 0,0-1 0,0 1 16,0 0-16,0 0 16,13 0-16,-13-1 0,0-12 0,0 13 15,0-1-15,-13 1 0,13 0 0,0 0 16,0-1-16,-13 1 0,13 0 15,-14 0-15,1 0 0,13-1 0,-26 1 16,12 0-16,1 0 0,-13-1 0,12 1 16,-12 0-16,0 0 0,-1-1 15,1 1-15,-1 0 0,1 0 0,-1 0 16,-12-1-16,12 1 0,-13 13 0,14-13 16,-1 0-16,1 13 0,0 0 0,-14-14 15,13 14-15,1-13 0,0 13 16,-14 0-16,13 0 0,1-13 15,-14 13-15,14 0 0,-14 0 0,14 0 16,-1 0-16,-13 0 0,14 0 16,-14 0-16,14 0 0,-1 13 0,-12-13 15,12 0-15,1 0 0,-1 0 0,1 0 16,-1 13-16,1-13 0,13 0 0,-14 0 16,1 14-16,13-14 0,-27 0 15,27 13-15,-14-13 0,1 13 0,-1-13 16,14 13-16,-13-13 0,-1 14 0,1-1 15,-1-13-15,1 26 0,-1-13 16,-12 1-16,12-1 0,1 13 16,-1-12-16,1 12 0,-1-13 0,1 1 15,-1-1-15,14 13 0,-13-13 16,13 1-16,-14 12 0,1 1 0,12-1 16,-12 1-16,-14 25 0,14-25 15,-1-1-15,14 1 0,-13-1 0,12 14 16,1-14-16,0 1 15,0 13-15,-1-14 0,1 14 0,0-14 16,0 1-16,13-1 0,-13 1 0,13-1 0,0-13 16,-14 14-16,14-14 15,14 13-15,-14 1 0,0-14 0,13 14 16,0-14-16,13 13 0,1 1 0,-1-14 16,1 0-16,13 0 0,-1 1 0,1-14 15,0 13-15,13-13 0,-1 0 16,1 0-16,0 0 0,0 0 0,0 0 15,-13 0-15</inkml:trace>
  <inkml:trace contextRef="#ctx0" brushRef="#br0" timeOffset="107723.85">2183 12039 0,'13'26'16,"0"-13"-16,0 0 0,1 1 16,-1 12-16,13-13 0,1 27 15,13-13-15,-1-1 0,1 14 0,13-1 16,-13 1-16,26 0 0,-13-14 16,26 27-16,-13-13 0,27-1 0,-1 1 15,14 0-15,0-14 0,-13 1 0,26 12 16,0-12-16,0-14 15,13 14-15,0-1 0,146 14 16,-132-14-16,-1-13 0,14 1 0,0-1 16,-1 0-16,1 0 0,-13 1 0,26-14 15,0 0-15,0 0 0,0 0 16,0 0-16,0-14 0,0 14 0,0-13 16,13 0-16,0-14 0,0 14 0,0 0 15,1-13-15,-14-1 0,13 1 16,0-1-16,0 1 0,-13-1 0,13-12 15,1 12-15,-14 1 0,0-1 0,-14-13 16,14 14-16,-13 0 0,-13-1 16,12-13-16,-12 14 0,-14-1 15,0 1-15,1-14 0,-14 14 0,0-1 16,0 1-16,0 0 0,-13-1 16,0 1-16,-27 12 0,0 1 0,1-13 15,-1 12-15,1-12 0,-1 13 0,0 0 16,-13-1-16,1-12 0,-1 13 15,-13-1-15,0 1 0,-14 0 0,1 0 16,0 13-16,-14-14 0,1 14 0,-14-13 16,0 13-16,0 0 0,0-13 15,1 13-15,-1 0 0,0-13 16</inkml:trace>
  <inkml:trace contextRef="#ctx0" brushRef="#br0" timeOffset="108054.65">11840 11893 0,'27'0'0,"-1"0"16,-13 0-16,14 0 0,12 13 0,1-13 15,0 0-15,-1 13 0,1 1 16,0-1-16,0 0 0,-1 0 0,-12 14 15,-1-1-15,1 1 0,-14-1 0,0 14 16,-13-14-16,0 14 0,-13 13 16,0 0-16,-27 0 0,0-14 15,1 14-15,-28 14 0,14-15 0,1-12 16,-1 13-16,-14-13 0</inkml:trace>
  <inkml:trace contextRef="#ctx0" brushRef="#br0" timeOffset="112723.51">15280 11218 0,'0'0'0,"13"-13"0,-13 0 31,-13 26 16,-1 0-47,14 1 0,-13-1 0,0 13 16,0-13-16,-14 14 0,14-1 0,0-12 15,0 12-15,-1-13 16,1 14-16,0-14 0,0 13 0,-1-12 16,1-1-16,0 0 0,13 0 0,-13 1 15,13-1-15,0 0 16,0 0 0,13-13-16,0 0 0,0 0 15,1 0-15,-1 0 0,13 0 16,1 0-16,-14 0 0,14 0 0,-1 0 15,0 0-15,1 0 0,-14 0 0,14 0 16,-14 0-16,0 0 0,14 0 16,-14 0-16,0 0 0,0 0 15,0 0-15,1 0 0,-1 0 16,0 0-16,-39-13 47</inkml:trace>
  <inkml:trace contextRef="#ctx0" brushRef="#br0" timeOffset="113024.49">15386 11205 0,'0'-13'16,"0"0"-1,-14 26 1,1 13-16,13-12 16,-13 25-16,0-12 0,-1 12 0,-12 1 15,13 13-15,-1 0 0,1 0 0,-13-13 16,13 12-16,-14 1 0,14-13 16,0 0-16,-1-14 0,14 14 0,-13-14 15,0-12-15,13-1 0,-13 13 0,13-13 16,0 1-16,0-1 15,-14 0-15,14 0 0,0 1 16</inkml:trace>
  <inkml:trace contextRef="#ctx0" brushRef="#br0" timeOffset="113892.73">15359 11258 0,'0'-13'0,"13"13"15,-39 13 17,26 0-32,-13-13 0,-1 27 15,1-14-15,-13 0 0,-1 14 0,1-1 16,13 1-16,-14-1 0,1-13 16,-14 40-16,27-40 15,-1 1-15,1-1 0,0 0 0,13 0 16,-13 1-16,0-1 0,13 0 15,-14-13-15,14 13 0,-13-13 0,13 13 16,-13-13-16,13 14 16,13-14-1,0 0 1,14 0-16,-14 0 16,0 0-16,0 0 15,1 0-15,-1 0 0,0-14 16,0 14-16,1 0 0,-1 0 15,0-13-15,0 13 0,1 0 16,-1-13-16,0 13 0,-13-13 0,13 13 16,0-13-16</inkml:trace>
  <inkml:trace contextRef="#ctx0" brushRef="#br0" timeOffset="114094.7">15399 11284 0,'-13'27'0,"-1"-14"0,1 0 16,0 14-16,0 13 0,-14-14 0,14 27 15,-14-13-15,1-1 0,0 14 0,-1-13 16,14 0-16,0-1 0,-14-12 16,14 12-16,0-12 0,-14-1 0,1 14 15,26-27-15,-13 0 0,13 1 16</inkml:trace>
  <inkml:trace contextRef="#ctx0" brushRef="#br0" timeOffset="114955.79">12475 9829 0,'0'0'0,"13"0"0,-39 13 47,13 1-31,-1-14-16,1 13 0,13 0 15,-26 0-15,12 1 0,1-1 0,0 13 16,0-12-16,0-1 0,-1 0 0,1 0 16,0 0-16,0 1 0,13-1 15,-14-13-15,14 13 0,0 0 0,-13-13 16,13 14-16,13-1 15,1 0-15,-1-13 0,0 0 16,0 0-16,1 0 0,-1 0 16,13 0-16,1 0 0,-1 0 0,1 0 15,-14 0-15,13 0 0,1 0 0,-1-13 16,-13 13-16,1 0 0,-1 0 16,0-13-16,0 13 0,1 0 0,-14-14 15,13 1-15</inkml:trace>
  <inkml:trace contextRef="#ctx0" brushRef="#br0" timeOffset="115173.88">12581 9737 0,'-13'26'16,"13"-13"-16,-14 14 15,14-14-15,0 13 0,-13 14 0,13 0 16,-13 0-16,13-1 0,-13 1 15,13 0-15,-13-14 0,13 14 0,-14-14 16,14-13-16,-13 14 0,13-14 0,0 0 16,0 14-16,-13-14 0,13 0 15,0 1-15,0-1 16</inkml:trace>
  <inkml:trace contextRef="#ctx0" brushRef="#br0" timeOffset="115656.24">12925 9856 0,'-27'0'16,"14"0"-16,0 0 0,13 13 15,-13-13-15,0 13 0,-1 0 16,14 1-16,0-1 16,0 0-16,0 0 15,14 1-15,-14-1 0,13 0 16,-13 0-16,13 0 0,-13 1 16,13-1-16,-13 0 0,-13 0 15,13 1 1,-13-1-16,0 0 0,-1-13 15,1 13-15,0-13 0,0 0 0,13 14 16,-14-14-16,1 0 0</inkml:trace>
  <inkml:trace contextRef="#ctx0" brushRef="#br0" timeOffset="116072.65">13322 9842 0,'-13'27'31,"13"-14"-31,0 0 0,0 1 16,-14 12-16,14-13 0,-13 1 0,13 12 16,-13-13-16,13 0 0</inkml:trace>
  <inkml:trace contextRef="#ctx0" brushRef="#br0" timeOffset="116511.71">13150 9975 0,'13'0'0,"-26"0"0,39-13 16,-13 13-16,1 0 0,-1 0 0,13-14 15,-12 14-15,12 0 0,1-13 16,-1 13-16,0-13 0,1 13 0,-1-13 16,1 13-16,-1-14 0,14 1 15,-14 0-15,1 13 0,-1-13 0,-12-1 16,12 14-16,-13-13 0,0 0 16,1 13-16,-1-13 0,0 13 0,-13-13 15,13 13-15,1-14 16,-41 28 15,14-14-15,13 13-16,-13 0 0,-1 0 0,1 0 15,0 1-15,13-1 0,-13 0 16,13 0-16,-13 1 16,13-1-16,13 0 0,-13 0 15,13 1-15,0-1 16,0-13-16,1 0 0,-1 13 15,0-13-15,0 0 0,1 0 16,-1 0-16,0 0 0,14-13 0,-14 13 16</inkml:trace>
  <inkml:trace contextRef="#ctx0" brushRef="#br0" timeOffset="116715.47">13917 9697 0,'-26'13'15,"12"0"-15,14 1 16,-13 12-16,13-13 0,-13 1 16,13 12-16,0-13 0,0 14 15,0-1-15,0-13 0,0 14 16,0-1-16,-13 1 0,13-14 0,0 13 16,0-12-16,0-1 0,0 13 0,0-12 15,0-1-15,13-13 0,-13 13 16</inkml:trace>
  <inkml:trace contextRef="#ctx0" brushRef="#br0" timeOffset="117075.16">14142 9671 0,'-53'26'0,"106"-52"0,-119 52 16,66-13-16,-13-13 0,26 13 31,0 1-31,0-14 0,1 26 16,-1-26-16,-13 13 0,13 1 15,-13 12-15,13-13 0,-13 0 16,0 1-16,13 12 0,-13-13 16,0 1-16,0 12 0,14-13 0,-14 1 15,0-1-15,0 0 0,0 0 16,13 0-16,-13 1 0,0-1 16,0 0-16,0 0 15</inkml:trace>
  <inkml:trace contextRef="#ctx0" brushRef="#br0" timeOffset="117495.02">12660 10319 0,'93'-13'15,"-53"13"1,13-14-16,-1 14 0,28-13 0,-14 13 16,13-13-16,1 0 0,-1-1 0,0 14 15,1-13-15,-1 0 0,1 0 16,-14-1-16,13 1 0,-13 13 0,-13-13 16,-13 0-16,0 13 0,-1-13 0,-26 13 15,14 0-15,-14 0 0,0 0 16,1 0-16,-1 0 15,-13 13-15,-13 0 16</inkml:trace>
  <inkml:trace contextRef="#ctx0" brushRef="#br0" timeOffset="117826.52">13441 10464 0,'40'0'16,"-27"0"-16,0 0 0,0 0 0,0 0 16,1 0-16,-1 0 0,0 14 15,0-14-15,1 13 0,-14 26 16,-14-25 0,1 12-16,-13 1 0,-1-1 0,1-13 15,13 14-15,-14-1 0,1-13 16,12 1-16,1-1 0,0 0 15,13 0-15,13-13 16,0 0-16,1 0 0,-1 0 16,13 0-16,1-13 15,12 0-15,1 0 0,39-14 16,-39 14-16,0 0 0,13-1 0,-14 1 16,1 0-16,0-13 0,39-1 15</inkml:trace>
  <inkml:trace contextRef="#ctx0" brushRef="#br0" timeOffset="118091.8">14367 10081 0,'26'-14'16,"-52"28"-16,66-28 0,-27 14 0,26 0 15,-25 0-15,-1 0 0,0 0 0,0 0 16</inkml:trace>
  <inkml:trace contextRef="#ctx0" brushRef="#br0" timeOffset="118252.48">14380 10279 0,'0'0'0,"27"0"15,-14 0 1,0-13-16,13 13 0,-12 0 0,12-13 15,14-1-15,-14 14 0,14-13 16</inkml:trace>
  <inkml:trace contextRef="#ctx0" brushRef="#br0" timeOffset="120565.08">15399 11179 0,'13'-14'31,"-39"41"-31,-1-14 16,14 0-16,-27 14 0,14-1 0,-1-13 16,1 14-16,-14-1 0,14 1 15,-14-1-15,13 1 0,1-1 0,0 1 16,-1-1-16,1-13 0,-1 14 0,14-14 16,13 0-16,-13-13 0,-1 14 15,14-1-15,0 0 0,0 0 16,14-13-16,-1 0 15,0 0-15,0 0 0,1 0 16,-1 0-16,13 0 0,1-13 0,-1 13 16,-13 0-16,14-13 0,-1 13 15,-12-13-15,12 13 0,1-14 0,-14 14 16,0-13-16,0 0 0,14 0 16,-14 13-16</inkml:trace>
  <inkml:trace contextRef="#ctx0" brushRef="#br0" timeOffset="120758.81">15412 11218 0,'-26'27'0,"-41"52"15,41-39-15,-1 0 16,1-1-16,0 14 16,-1-13-16,1 0 0,-1 12 0,14-12 15,-14 0-15,14-14 0,0 14 0,0-14 16,0 1-16,13-14 0,-14 14 15,14-14-15,0 0 0,0 0 0,0 0 16,0 1-16</inkml:trace>
  <inkml:trace contextRef="#ctx0" brushRef="#br0" timeOffset="121690.16">15412 11311 0,'26'0'47,"-12"0"-47,-1 0 0,0 0 0,0-13 15,14 13-15,-14 0 0,0 0 0,1-14 16,-1 14-16,0 0 0,0 0 15,0 0-15,-13-13 0,14 13 16,-1 0-16,0 0 16,-13 13-1,13 1-15,-13-1 0,0 0 0,-13 0 16,13 1-16,0 12 0,-13 1 0,13-1 16,-13 0-16,-1 14 0,1-13 15,13-1-15,-13 14 0,0-14 0,13-13 16,0 14-16,-13-1 0,13-12 0,0-1 15,0 0-15,-14 0 0,14 1 0,0-1 16,0 0-16,0 0 16,0 0-1,14-13-15,-14-13 32,0 0-32</inkml:trace>
  <inkml:trace contextRef="#ctx0" brushRef="#br0" timeOffset="121985.83">15505 11483 0,'0'-13'0,"0"26"0,26-26 16,-13-1-16,14 14 16,-14 0-16,0 0 0,14 0 15,-14 0-15,-13-13 0,13 13 16,0 0-16,1 0 0,-1 0 0,0 0 16,0 0-16,0 0 15,1 13 1</inkml:trace>
  <inkml:trace contextRef="#ctx0" brushRef="#br0" timeOffset="122987.12">16444 11999 0,'159'-13'16,"-93"13"-16,0 0 15,27-14-15,-14 14 0,13 0 0,14 0 16,-13 0-16,13 0 0,0 0 15,-1 0-15,1 0 0,-13 0 16,13 14-16,0-14 0,-14 0 0,1 0 16,-1 13-16,-12-13 0,12 0 15,-26 0-15,1 0 0,-14 0 0,-1 13 16,1-13-16,0 0 0,-13 0 0,-14 0 16,1 0-16,-14 0 0,14 0 15,-14 0-15,-40 0 31,1 0-31</inkml:trace>
  <inkml:trace contextRef="#ctx0" brushRef="#br0" timeOffset="123291.62">16616 12171 0,'53'13'0,"172"-13"16,-133 13-16,1-13 15,-1 0-15,14 0 0,0 0 0,40 0 0,-41 0 16,1-13-16,0 13 0,0 0 16,0 0-16,-14 0 0,1 0 15,0 13-15,-14-13 0,-13 0 0,-13 0 16,0 0-16,0 0 0,-13 0 15,-14 0-15,0 0 0,-12 0 0,12 0 16,-13 0-16,1 0 0,-1 0 0,0 0 16</inkml:trace>
  <inkml:trace contextRef="#ctx0" brushRef="#br0" timeOffset="148798.54">18243 569 0,'-13'-13'31,"13"39"-15,0-13-16,0 1 15,0-1-15,0 0 0,0 0 16,0 0-16,0 27 15,0-13-15,-13-14 0,13 0 16,0 0-16,0 1 0,0-1 16,0 0-16,0 0 15,0 0 1</inkml:trace>
  <inkml:trace contextRef="#ctx0" brushRef="#br0" timeOffset="149150.6">18468 781 0,'26'26'31,"-26"-13"-31,0 0 0,0 1 16,0-1-16,0 0 15,-13 0-15,13 1 0,-13-1 0,0 0 16,-1 0-16,14 0 0,-13-13 16</inkml:trace>
  <inkml:trace contextRef="#ctx0" brushRef="#br0" timeOffset="149517.6">18865 595 0,'0'0'0,"13"0"0,0 0 0,-13 14 16,0-1 0,0 0-16,-13-13 0,13 13 0,-13 14 15,0-14-15,-1 0 0,1 0 0,13 1 16,-13-1-16,0-13 0,-1 13 16,14 0-16,-13 1 0,13-1 15,-13 0-15,26 0 16,0-13-1,-13 13-15,14-13 0,-1 0 16,0 0-16,0 0 0,14-13 16,-14 13-16</inkml:trace>
  <inkml:trace contextRef="#ctx0" brushRef="#br0" timeOffset="149693.6">19050 741 0,'13'13'15,"-13"0"-15,0 1 16,0-1-16,0 0 0,0 0 16,0 0-16,0 1 0,0-1 15,-13 0-15,13 0 16,0 1-16,-13-1 0,13 0 16,-13 0-16</inkml:trace>
  <inkml:trace contextRef="#ctx0" brushRef="#br0" timeOffset="150081.68">19473 595 0,'-13'14'32,"13"-1"-17,-13 0 1,26 0-16,-13 0 15,13-13-15,-13 14 0,14-1 0,-14 0 16,13 0-16,-13 1 16,0-1-16,13-13 15,-13 13-15,-13 0 0,13 1 16,-13-1-16,-1 0 0,14 0 16,-13 0-16,0-13 0,13 14 15,-13-14-15</inkml:trace>
  <inkml:trace contextRef="#ctx0" brushRef="#br0" timeOffset="150281.37">19672 754 0,'13'0'0,"0"13"15,-13 1 1,0-1-1,0 0-15,-13 0 0,0 0 16,13 1-16,-13-1 16,13 0-16,-14-13 0,14 13 0,-13 1 15</inkml:trace>
  <inkml:trace contextRef="#ctx0" brushRef="#br0" timeOffset="150639.15">20161 661 0,'-26'0'15,"13"14"1,-1-14-16,14 13 0,-13-13 0,0 13 0,0 0 16,13 1-16,-14-1 0,1-13 15,13 13-15,-13 0 0,0 1 16,13-1-16,0 0 0,0 0 16,0 0-16,0 1 15,13-14-15,-13 13 0,13-13 0,0 0 16,1 13-16,12-13 0,-13 0 15,1 0-15,12 0 0,-13-13 0,0 13 16,14 0-16,-14 0 0,0-13 0</inkml:trace>
  <inkml:trace contextRef="#ctx0" brushRef="#br0" timeOffset="150810.74">20320 714 0,'0'-13'15,"-26"40"1,12-27-16,14 13 15,-13 0-15,13 0 0,0 1 16,-13-1-16,13 13 0,0-13 0,-13 1 16,13-1-16,0 0 0,0 14 0,0-14 15,0 0-15,0 0 0,0 0 16,0 1-16,13-1 16</inkml:trace>
  <inkml:trace contextRef="#ctx0" brushRef="#br0" timeOffset="151007.79">20651 833 0,'0'0'0,"13"14"16,-13-1-16,0 0 15,0 0-15,0 1 0,-13 12 16,13-13-16,-13 0 15,-1-13-15,1 27 0,13-14 0,-13 0 0,0 1 16,13-1-16,0 0 0</inkml:trace>
  <inkml:trace contextRef="#ctx0" brushRef="#br0" timeOffset="151447.6">21550 595 0,'-13'27'31,"13"-14"-31,0 0 16,0 14-16,-13-14 0,13 0 0,0 0 16,-13 14-16,13-14 0,-14 0 0,14 1 15,0-1-15,-13 0 0,13 0 16,0 0-16,-13 1 0,26-1 16</inkml:trace>
  <inkml:trace contextRef="#ctx0" brushRef="#br0" timeOffset="151761.04">21722 661 0,'-13'14'32,"0"-14"-32,0 13 0,13 0 0,-14 0 15,14 1-15,0-1 0,0 0 16,0 0-16,0 1 15,14-14-15,-14 13 0,13-13 0,0 13 16,0-13-16,1 0 0,-1 0 0,0 0 16,0 0-16,0 0 15,1-13-15,-1 13 0,-13-13 0,13-1 16,-13 1-16,0 0 0,0 0 16,0-1-16,0 1 15,0 0-15,-13 0 16,13-1-16,-13 1 15,-1 0 1</inkml:trace>
  <inkml:trace contextRef="#ctx0" brushRef="#br0" timeOffset="151993.67">21934 741 0,'0'0'0,"13"13"0,-13 0 0,13-13 16,-13 14-16,14-14 0,-1 0 0,0 0 15,0 13-15,1-26 16,-1 13-16,0 0 0,0 0 16,0 0-16,1-14 0,-1 1 15,0 13-15,-13-13 0,13 0 0,-13-1 16,14 14-16,-14-13 0,0 0 16,0 0-16,-14-1 0,14 1 15,-13 13-15,13-13 0,-13 13 0,0 0 16,-14-13-16,1 13 0,-1 0 15,1 13-15,-1-13 0,-12 13 0</inkml:trace>
  <inkml:trace contextRef="#ctx0" brushRef="#br0" timeOffset="152485.78">19222 1058 0,'79'0'31,"-26"0"-31,0 0 0,0 0 16,0 0-16,0 0 0,13-13 0,0 13 16,0 0-16,-13 0 0,13 0 15,-13-13-15,0 13 0,13 0 0,-13-13 16,-13 13-16,13 0 0,-27 0 0,14 0 16,-27 0-16,14 0 0,-14-14 0,0 14 15,0 0-15,1 0 16,-41 14-1</inkml:trace>
  <inkml:trace contextRef="#ctx0" brushRef="#br0" timeOffset="152762.57">19090 1257 0,'0'0'15,"13"13"-15,0-13 0,0 0 16,14 0-16,-1 0 0,1 0 0,12 0 16,1 0-16,13 0 0,-13-13 15,13 13-15,0 0 0,-1 0 0,-12 0 16,13 0-16,-13 0 0,-1 0 16,1 0-16,13-13 15,-26 13-15,-1 0 0,-13 0 0,0 0 16,14 0-16,-14 0 0,0 0 0,1 0 15,-1 0-15,0-14 16,0 14-16,0 0 16</inkml:trace>
  <inkml:trace contextRef="#ctx0" brushRef="#br0" timeOffset="153678.74">22569 781 0,'26'0'31,"1"0"-31,-14 0 16,0 0-16,1 0 0,-1 0 0,0 13 15,0-13-15,0 0 16</inkml:trace>
  <inkml:trace contextRef="#ctx0" brushRef="#br0" timeOffset="153882.79">22397 952 0,'40'0'32,"-27"0"-32,0 14 15,0-14-15,1 0 0,-1 0 16,0 0-16,0 0 15,0 0-15,1 0 0,-1 0 0,-13 13 16,13-13-16,0 0 0</inkml:trace>
  <inkml:trace contextRef="#ctx0" brushRef="#br0" timeOffset="154730.59">22569 807 0,'0'0'0,"26"0"47,-12 0-31,-1 0-16,0 0 15,14 0-15,-14 0 0,0 0 16,0 0-1</inkml:trace>
  <inkml:trace contextRef="#ctx0" brushRef="#br0" timeOffset="154905.65">22371 952 0,'13'0'0,"0"0"0,0 0 16,0 0-16,1 0 15</inkml:trace>
  <inkml:trace contextRef="#ctx0" brushRef="#br0" timeOffset="156489.51">19368 582 0,'13'-13'15,"0"13"-15,0 0 16,0-13-1,1 13-15,-1 0 16,0 0-16,0 0 16,1 0-16,-1 0 0,0 0 15,-13 13 1,0 0 0,-13 0-1,0 1-15,-1-14 16,14 13-16,-13-13 0,0 13 15,0-13-15,-1 0 0,14 13 16,-13-13-16,0 0 16,13 13-1,26-13 1,-26 14 0,14-14-16,-1 0 0,0 13 15,0-13-15,1 13 0,-1-13 16,0 13-16,0-13 0,0 14 15,1-1-15,-1-13 16,-13 13-16,0 0 0,0 1 16,-13-14-16,13 13 15,-14-13-15,1 13 0,0-13 16,0 13-16,0-13 0,-1 13 0,1-13 16,0 0-16,0 0 0,-1 0 0,1 0 15,0 0-15,0 14 0,0-14 16,-1 0-1</inkml:trace>
  <inkml:trace contextRef="#ctx0" brushRef="#br0" timeOffset="158561.7">22079 648 0,'0'-13'0,"14"13"31,-28-13 0,1 0 0,0 13-15,0 0 0,0 0-1,-1 13 1,1-13 0,13 13-16,-13-13 15,13 13-15,-13-13 16,13 13-16,-14 1 15,14-1 1,0 0-16,0 0 31,0 1-31,14-1 16,-1 0 0,0-13-1,-13 13-15,13-13 0,1 0 16,-1 14-1,0-14 1,0 0 0,0 0-1,1 0-15,-1-14 16,0 14 0,0-13-16,-13 0 15,14 13-15,-14-13 16,13 13-16,-13-14 0,0 1 15,-13 0 1,-1 0-16,1 13 16,0 0-16,0 0 0,-1 0 15,1 0-15,0 0 0,-13 0 16,12 0-16,1 0 0,0 0 16,-14 13-16</inkml:trace>
  <inkml:trace contextRef="#ctx0" brushRef="#br0" timeOffset="164838.53">19050 900 0,'0'13'0</inkml:trace>
  <inkml:trace contextRef="#ctx0" brushRef="#br0" timeOffset="166587.79">19606 807 0,'13'13'47,"-13"0"63</inkml:trace>
  <inkml:trace contextRef="#ctx0" brushRef="#br0" timeOffset="167545.37">20161 860 0,'13'0'16,"-13"13"46</inkml:trace>
  <inkml:trace contextRef="#ctx0" brushRef="#br0" timeOffset="168529.55">23402 635 0,'-13'53'15,"0"-27"1,13-12-16,0-1 0,-13 0 0,13 0 15,0 1-15,0-1 0,0 0 16,0 0-16,-14 0 0,14 1 16,0-1-16,0 0 0</inkml:trace>
  <inkml:trace contextRef="#ctx0" brushRef="#br0" timeOffset="168734.53">23535 688 0,'0'26'31,"-14"-12"-31,14-1 16,-13 0-16,13 0 0,-13 1 15,13-1-15,0 13 0,-13-13 16,0 1-16,13-1 0,0 0 0,0 0 15,-14-13-15</inkml:trace>
  <inkml:trace contextRef="#ctx0" brushRef="#br0" timeOffset="169060.56">23693 754 0,'0'27'31,"0"-14"-15,14-13-16,-14 13 15,13-13-15,0 13 0,0-13 16,1 13-16,-1-13 0,0 0 16,0 0-16,0 0 0,1 0 0,-14-13 15,13 13-15,0-13 0,0 0 0,-13 0 16,0-1-16,14 1 0,-14 0 15,0 0-15,0-1 0,0 1 0,0 0 16,-14 0-16,14-1 0,-13 1 16,13 0-16,-13 13 0,0 0 15,-1 0-15,-12 13 16,13-13-16,0 13 0,-1 1 0,-12-1 16</inkml:trace>
  <inkml:trace contextRef="#ctx0" brushRef="#br0" timeOffset="169343.55">23138 1098 0,'40'0'0,"-14"-13"16,53 13-1,-39-13-15,13 13 0,-13 0 0,13-14 16,-1 14-16,1 0 0,0 0 0,0 0 16,-13 0-16,0 0 0,-1 0 15,-12 0-15,-1 0 0,1 0 0,-14 0 16,13 0-16,-12-13 0,-1 13 0,0 0 16,-26-13 15</inkml:trace>
  <inkml:trace contextRef="#ctx0" brushRef="#br0" timeOffset="170202.77">18838 860 0</inkml:trace>
  <inkml:trace contextRef="#ctx0" brushRef="#br0" timeOffset="170471.54">19738 833 0</inkml:trace>
  <inkml:trace contextRef="#ctx0" brushRef="#br0" timeOffset="170701.77">20492 913 0,'13'0'0</inkml:trace>
  <inkml:trace contextRef="#ctx0" brushRef="#br0" timeOffset="170902.07">21418 820 0,'0'-13'16,"0"0"0</inkml:trace>
  <inkml:trace contextRef="#ctx0" brushRef="#br0" timeOffset="171630.9">23535 1402 0,'26'-13'0,"-52"26"0,65-26 0,-25 13 16,-1 0-16,0-13 16,-39 13 31,12 13-47,1-13 15,0 0-15,13 13 16,-13-13-16,13 14 15,13-1-15,-13 0 16,13 0-16,-13 0 16,13 1-16,-13-1 0,0 0 15,0 0 1,0 1-16,-13-1 0,0 0 16,0-13-16,-1 0 15,-12 13-15,13-13 0,0 0 0,-1 14 16,1-14-16,0 0 0,0 0 0,-1 0 15,1 0 1,13-14-16</inkml:trace>
  <inkml:trace contextRef="#ctx0" brushRef="#br0" timeOffset="172026.69">24170 926 0,'13'-13'16,"0"13"-16,0 0 0,1 0 15,-1 0-15,0 0 0,0 0 0,1 0 16,-1 0-16,0 0 0,0 0 16,0 0-16</inkml:trace>
  <inkml:trace contextRef="#ctx0" brushRef="#br0" timeOffset="172195.52">24104 1045 0,'-14'0'16,"14"13"0,14 1-16,-1-14 15,0 0-15,0 0 16,0 0-16,1 0 0,-1 0 16,0 0-16</inkml:trace>
  <inkml:trace contextRef="#ctx0" brushRef="#br0" timeOffset="173922.61">24659 807 0,'13'0'0,"-26"0"0,26-13 16,1 13 0,-1 13-1,-13 0-15,13-13 16,-13 13-16,0 1 15,-13-1 1,13 0-16,0 0 0,-13 1 16,13-1-16,0 0 0,-14 0 15,14 0 17,0 1-17,14-1 1,-1-13-1,0 0 1,0 0-16,1 0 0,-1 0 16,0 0-16,0 0 15,0-13-15,1 13 0</inkml:trace>
  <inkml:trace contextRef="#ctx0" brushRef="#br0" timeOffset="174335.69">24924 807 0,'13'0'0,"-26"0"0,39 0 0,-13 13 15,-13 0 1,0 1-16,-13-1 16,13 0-16,-13-13 15,13 13-15,0 1 0,-13-14 16,13 13-16,0 0 0,-13-13 0,13 13 15,0 0 1,13-13-16,0 14 16,0-14-16,0 0 0,1 0 15,-1 13-15,0-13 0,14 0 0,-14 0 16,0 0-16,0 0 0,0 0 16,-13 13-16,14-13 0,-1 13 15</inkml:trace>
  <inkml:trace contextRef="#ctx0" brushRef="#br0" timeOffset="174573.93">24606 1151 0,'40'-13'31,"-27"13"-31,14 0 16,-14 0-16,13 0 0,-12 0 0,12 0 15,0 0-15,1 0 0,-1 0 16,-12 0-16,-1 0 0,0 0 0,0 0 16,1 0-16,-1 13 15</inkml:trace>
  <inkml:trace contextRef="#ctx0" brushRef="#br0" timeOffset="174891.63">24540 1230 0,'27'0'15,"-14"0"1,0 0-16,0 0 0,0 14 15,1-14-15,12 0 0,-13 0 0,14 0 16,-14 0-16,14 0 0,-14 0 0,0 0 16,13 0-16,-12 13 0,-1-13 15,0 0-15,0 0 0,1 0 0,-1 0 16,0 0-16,0 0 16,1 0-16,-1 0 15,0 0 1</inkml:trace>
  <inkml:trace contextRef="#ctx0" brushRef="#br0" timeOffset="175304.63">24778 1363 0,'-53'92'15,"27"-52"1,-1 13-16,-12 0 0,-14 13 0,0 0 0,0 13 16,0-26-16,0 0 0,0 0 15,0 0-15,14 0 0,-14-13 16,13-1-16,0 1 0,1 0 0,12-1 15,1-12-15,-1-1 0,14-12 0,0-1 16,0 0-16,-1 0 0,1 0 16,40-39-1,-14 13 1,0 0-16</inkml:trace>
  <inkml:trace contextRef="#ctx0" brushRef="#br0" timeOffset="175774.42">24593 1429 0,'26'-27'31,"-12"27"-31,-1 0 0,0 0 16,0 0-16,1-13 0,-1 13 15,13 0-15,1 0 0,-14 13 16,0 1-16,0-14 0,-13 13 16,14 0-16,-14 13 15,-14-12-15,14 12 0,-13 14 0,0-14 16,0 1-16,0 12 0,-1-12 0,1-1 15,0 1-15,0-14 0,-1 13 16,14-12-16,-13 12 0,0-13 0,0 1 16,13-1-16,-14 0 0,1 0 15</inkml:trace>
  <inkml:trace contextRef="#ctx0" brushRef="#br0" timeOffset="176669.76">22503 2924 0,'-13'26'16,"-1"-13"-1,14 1-15,0 12 0,-13-13 16,13 0-16,-13 1 0,13 12 16,0-13-16,-13 1 0,13-1 0,0 0 15,0 0-15,0 1 0,-14-1 16,28-40 15,-14 14-15,0-13-16,13 12 0,-13-12 15,13 13-15,0-14 0,-13 14 16,14-13-16,-1 12 0,-13 1 0,13 13 16,-13-13-16,13 0 0,0 13 15,-13 13 1,14-13-16,-14 13 0,0 0 0,13 1 16,-13-1-16,0 0 0,0 0 15,0 0-15,0 1 0,0-1 0,0 0 16,13 0-16,-13 1 0,0-1 15,27-26 17,-14 13-32,-13-14 15,13 1-15,0 0 0,1 0 16,-1-1-16,0 1 0,-13 0 0,13 13 16,0-13-16,1 13 15,-14 13-15,13-13 16,-13 13-16,0 0 0,0 1 0,0-1 15,0 0-15,0 0 0,-13 1 16,13-1-16,0 0 0,0 0 16,0 1-16,0-1 15,13-13-15</inkml:trace>
  <inkml:trace contextRef="#ctx0" brushRef="#br0" timeOffset="177526.02">22979 3175 0,'0'0'0,"13"-13"0,-13 0 15,0-1-15,0 1 16,14 0-16,-14 0 15,-27 26 17,27 0-32,-13 0 15,0 1-15,13-1 0,0 0 16,-14-13-16,14 13 0,0 0 16,0 1-16,14-1 0,-14 0 15,13-13-15,0 13 16,0-13-16,1 0 0,-1 0 15,0 0-15,0 0 0,0-13 0,1 13 16,-1 0-16,13 0 0,-12-13 0,-1 13 16,13 0-16,-12-13 0,-1 13 15,0-14-15,0 14 0,0 0 16,1-13-16,-1 13 0,-13-13 0,13 13 16,-13-13-16,13 13 0,-13-13 15,14 13-15,-14-14 16,0 1-1,-14 0 1,1 13 0,13 13-16,-13-13 0,0 0 15,13 13-15,-14-13 0,14 14 0,-13-14 16,0 13-16,0 0 16,13 0-16,-13-13 0,13 13 15,0 1 1,0-1-16,13 0 31,0-26-15,0 13-16,0 0 15,1 0-15,-1-13 16,0 13-16,0-14 16,1 14-16,-14-13 15,13 13 1,0 13 15,0 1 0,0-14 1,1 0-17,-1 0 1,0 0-1,0 0-15,-13-14 16</inkml:trace>
  <inkml:trace contextRef="#ctx0" brushRef="#br0" timeOffset="178034.7">22410 3545 0,'13'0'0,"1"0"16,-1 14-16,13-14 0,1 0 15,-1 0-15,14 13 0,0-13 16,-1 0-16,1 0 0,13 0 0,0 0 15,0 0-15,0 0 0,0-13 0,0 13 16,-1-14-16,1 14 0,0-13 16,0 0-16,-13 0 0,0-1 0,12 1 15,-25 0-15,13 0 0,-1-14 0,-12 14 16,12-13-16,-12 12 0,-1-12 0,1 0 16,-1 12-16,-12-25 0,-1 12 15,13 1-15,-13-14 0,-13 0 0,0 1 16,0-1-16,0 0 0,-13 1 0,0-14 15,-13 0-15,-14 13 0,0-13 16,0 13-16,-12 14 0,-15-14 16,1 14-16,-13 13 0,0-14 0,12 14 15,-12 13-15,0 0 0,-14 13 16,14 0-16,-1 1 0,1 12 0,13 1 16,0-1-16,-1 14 0,1-1 0,13 1 15,0 13-15,14-13 0,-1 13 16,0-14-16,14 14 0,-1-13 0,1 13 15,13-14-15,13 1 0,0 0 16,0-14-16,13 14 0,0-14 0,0 1 16,14-14-16,-1 14 0,14-14 0,0-13 15,13 0-15</inkml:trace>
  <inkml:trace contextRef="#ctx0" brushRef="#br0" timeOffset="178579.55">23839 3122 0,'0'13'16,"0"1"-16,0-1 15,0 0-15,0 0 16,0 0-16,0 1 0,0-1 16,-13-13-16,13 13 0,0 0 0,0 1 15,0-1 1,0 0-16,26-13 16,-13 0-16,1-13 15,12 13-15,14-13 0,-1-1 0,28-12 16,-14 13-16,13-14 0,-13 1 15,13 13-15,-13-1 0,0-12 0,-14 13 16,1-1-16,0 14 0,-14-13 0,1 0 16,-14 13-16,0 0 15,0-13-15,0 13 0,1 0 0,-1 0 16</inkml:trace>
  <inkml:trace contextRef="#ctx0" brushRef="#br0" timeOffset="180619.71">23495 3188 0,'-13'13'47,"0"1"-47,13-1 0,0 0 15,-14 0 1,14 1-16,0-1 16,-13-13-1,40-13 48,-14 13-63,0 0 15,0 0 1,0 13 0,1-13-1,-1 13-15,0-13 16,0 0-16,1 0 15,12-13-15</inkml:trace>
  <inkml:trace contextRef="#ctx0" brushRef="#br1" timeOffset="199362.81">18918 146 0,'-14'-14'0,"1"1"31,0 0-31,0 13 0,0 0 0,-1-13 16,1 13-16,0 0 16,0-14-16,-1 14 0,-12 0 15,13 0-15,-1 0 0,1 0 0,-13 0 16,-1-13-16,14 13 0,-13 0 0,-1 0 15,1 0-15,-14 0 16,0 0-16,14 0 0,-14 0 0,1 0 16,-14 0-16,13 0 0,-13 13 0,13-13 15,-13 14-15,1-1 0,12-13 16,-26 26-16,13-12 0,0-1 0,0 13 16,0-13-16,0 14 0,0-1 0,13 1 15,-12-1-15,-1 1 0,13-1 16,0 14-16,1 0 0,-1-1 0,0-12 15,1 12-15,12-12 16,14 13-16,-14-14 0,-12 40 0,39-39 16,-14-14-16,1 13 0,13 1 15,0-14-15,0 13 0,0 1 0,13-1 16,-13-12-16,14 12 0,12 0 0,-13-12 16,14-1-16,-1 13 0,1-12 15,-1-1-15,1 13 0,12-26 0,1 14 16,0-1-16,-1 0 0,14-13 0,-13 0 15,13 0-15,-13 0 0,13 13 16,-1-13-16,-12-13 0,13 13 0,0 0 16,-13 0-16,13 0 0,0 0 0,-1-13 15,-12 13-15,13 0 0,0 0 16,-13 0-16,13 0 0,-1 0 0,-12 0 16,-13 0-16,12 0 0,14 0 15,0 0-15,-13 0 0,13 0 0,13 0 16,-13 0-16,0 13 0,13-13 15,0 0-15,0 0 0,0 13 0,-13-13 16,13 0-16,14 13 0,-14-13 0,0 14 16,0-14-16,14 13 0,-28-13 15,15 13-15,-14-13 0,13 0 0,-13 13 16,13-13-16,0 14 0,0-14 16,-13 0-16,26 13 0,-26-13 15,0 13-15,0-13 0,13 13 0,-13-13 0,13 14 16,0-1-16,1-13 0,-15 13 0,15 0 15,-1 0-15,-13 1 0,13-1 16,0-13-16,-13 13 0,13 0 16,-13 1-16,13-1 0,-26 0 0,13 0 15,-14 1-15,14-14 0,-13 13 0,13 0 16,-13 0-16,-1 0 0,1 1 16,0-1-16,-1 0 0,-12 0 0,13 1 15,-14-1-15,-13 0 0,14 0 0,-14 1 16,13-1-16,-12 0 0,12 0 15,-13 0-15,0 1 0,1-1 0,-1 0 16,0 0-16,14 27 16,-14-14-16,0 1 15,0-1-15,-13 1 0,0 13 16,0-14-16,0 0 0,0-12 0,-13 25 16,0-12-16,0-1 0,-1 1 15,1-1-15,0 1 0,-14-1 0,14 1 16,-13-1-16,13 0 0,-14 1 0,1-14 15,-1 14-15,1-1 0,-1 1 0,1-1 16,-1 0-16,1 1 0,-1 13 16,1-14-16,-27 27 15,13 13-15,14-39 0,-1-1 16,14 1-16,-13-1 0,13 0 0,-1 1 16,-12-1-16,26 1 0,-13-1 0,-1-12 15,14 12-15,0 0 0,-13-12 16,13 12-16,0-13 0,0 14 15,0-1-15,0-13 0,13 14 0,-13-1 16,14 1-16,-1-14 0,0 14 0,-13-14 16,27 0-16,-1 13 0,0-12 0,1 12 15,13-13-15,-1 1 0,14 12 16,0-13-16,0 14 0,0-14 0,13 13 16,-13-12-16,13-1 0,-13 13 0,13-12 15,-13-1-15,13 0 0,-26 0 16,13 0-16,-13 1 0,12-1 0,-12 0 15,0-13-15,13 13 0,-14-13 16,1 0-16,13 14 0,-13-14 0,13 0 16,-14 0-16,1 13 0,13-13 15,-13 0-15,-14 0 0,14 0 0,-14 0 16,14 0-16,-14 0 0,14-13 0,-13 13 16,-1 0-16,0 0 0,14 0 15,-13 0-15,-1-14 0,1 14 0,-1 0 16,0-13-16,1 13 0,-1-13 0,1 13 15,-1-13-15,-12 13 0,12-14 16,0 14-16,-12-13 0,12 13 0,1-13 16,-14 13-16,0-13 0,13 13 0,-12-13 15,-1 13-15,13-14 0,-12 14 16,-1-13-16,0 13 0,0-13 16,1 13-16,-1-13 0,13-1 0,-13 14 15,1-13-15,-1 13 0,13-13 0,-12 0 16,-1 13-16,13-13 0,1-1 0,-14 1 15,13 13-15,1-13 0,-14 0 16,14-1-16,-1 1 0,14 0 0,-14 0 16,1-14-16,-1 14 0,1-13 0,-1 12 15,14-12-15,-27 13 0,13-14 16,1 1-16,-1-1 0,1 1 0,-1-1 16,-13 1-16,14-1 0,-1 1 15,-12 0-15,12-1 0,-13 1 0,14-1 16,-1 1-16,-13-14 0,14 14 15,-14-1-15,14 1 0,-1-1 0,1 1 16,-14-1-16,13 1 0,1-1 0,-1 1 16,1 13-16,-14-14 0,13 1 0,-13 12 15,14 1-15,-14 0 0,0-13 16,1 12-16,-1 1 0,13 0 0,-12 0 16,-1-14-16,0 14 0,0 0 0,0-1 15,1 1-15,-1-13 0,13 13 16,-12-1-16,-1-12 0,0 13 0,0-1 15,14 1-15</inkml:trace>
  <inkml:trace contextRef="#ctx0" brushRef="#br1" timeOffset="200481.9">25387 2090 0,'-106'-1548'32,"93"1535"-32,-1 13 0,1-13 15,0 13-15,0 0 0,0-13 0,-1 13 16,1 0-16,0-14 0,0 14 0,-1 0 16,14-13-16,-13 13 0,0 0 0,0 0 15,13-13-15,-14 13 0,1 0 16,0-13-16,0 13 15,0 0-15,13-13 0,-14 13 16,1 0-16,0 0 16,13-14-16,-13 14 0,-1 0 15,1 0-15,0-13 0,0 13 16,0-13-16,-1 13 0,1 0 0,0-13 16,-14 13-16,14 0 0,0-14 15,0 14-15,-1-13 0,1 13 16,0 0-16,0-13 0,0 13 15,-1 0-15,14-13 0,-13 13 16,0 0-16,0-13 16,-1 13-1,1 0-15,0-14 16,0 14-16,-1 0 16,1 0-16,13-13 0,-13 13 0,0 0 15,-14-13-15,14 13 0,-13 0 16,12-13-16,-12 13 0,0-14 0,-1 14 15,1-13-15,-1 13 0,1 0 16,-1-13-16,1 13 0,-14-13 0,0 13 16,14-14-16,-1 14 0,1-13 0,0 13 15,-14 0-15,13-13 0,1 13 0,-1 0 16,-12-13-16,12 13 0,1 0 16,-14 0-16,14-13 0,-1 13 15,-12 0-15,12 0 0,1-14 0,-14 14 16,14 0-16,-1 0 0,-13 0 0,14 0 15,-14 0-15,-13-13 0,14 13 16,-14 0-16,13 0 0,0-13 0,-13 13 16,14 0-16,-14 0 0,13-13 0,0 13 15,14 0-15,-27 0 0,27 0 16,-27-14-16,13 14 0,-13 0 0,0-13 16,13 13-16,-12-13 0,-1 13 0,13 0 15,-13-13-15,13 13 0,-13-14 16,14 14-16,-14 0 0,13-13 0,-13 13 15</inkml:trace>
  <inkml:trace contextRef="#ctx0" brushRef="#br1" timeOffset="202394.72">19103 26 0,'-13'-13'15,"-1"13"-15,1 13 16,0-13-1,0 0 1,0 14 0,-1-14-1,14 13 1,-13-13-16,0 13 16,0-13-1,-1 13 1,1-13-1,13 14-15,-13-14 0,13 13 16,-13 0-16,-1 0 16,1 1-16,0-1 15,13 0-15,-13-13 0,13 13 0,-13 0 16,-1 1-16,14-1 16,-13-13-16,13 13 15,-13-13-15,13 13 16,-13 1-1,-1-14 17,1 0-17,0 0 1,0-14-16,-1 14 31,14-13-31,-13 13 16,0 0 31,39-13-16,-12 13-15,-1 0-16,0 0 15,0 0-15,1-13 0,105-1 31,-80 14-31,1 0 0,13 0 0,-13-13 0,-1 13 16,14 0-16,-13 0 0,13-13 16,0 13-16,-13 0 0,-1 0 15,14 0-15,-13 0 0,-1 0 0,14 0 16,-13 13-16,0-13 0,-1 0 16,1 0-16,0 0 0,-14 0 0,14 13 15,-14-13-15,14 0 0,-13 0 0,-1 0 16,14 0-16,-14 14 0,14-14 0,-14 0 15,1 0-15,12 0 0,1 0 16,-13 0-16,-1 13 0,14-13 0,-14 0 16,14 0-16,-14 0 0,14 0 0,-13 13 15,-1-13-15,0 0 0,1 0 0,-1 0 16,14 0-16,-13 0 16,-1 13-16,0-13 0,1 0 0,-1 0 15,1 14-15,-1-14 0,1 0 0,-1 0 16,1 0-16,-1 0 0,1 13 0,-1-13 15,14 0-15,-14 0 0,1 0 16,-1 13-16,1-13 0,-1 0 0,0 0 16,1 0-16,-1 0 0,1 0 0,-1 0 15,1 0-15,-1 0 0,1 0 16,-1 0-16,-13 0 0,14 0 0,-1 0 16,-13 0-16,14 0 0,-14 0 0,14 0 15,-14 0-15,0-13 0,0 13 16,14 0-16,-14 0 0,0 0 15,0 0-15,1 0 0,12 0 16,-13-13-16,1 13 0,-1 0 0,0 0 16,0 0-16,1 0 0,-1 0 0,0-14 15,0 14-15,0 0 0,1 0 16,-1 0-16,0 0 0,0 0 0,1 0 16,-1 0-16,0 0 0,0-13 0,1 13 15,-1 0-15,0 0 0,0 0 0,0 0 16,1 0-16,-1 0 0,0 0 15,0 0-15,1-13 0,-1 13 0,0 0 16,0 0-16,0 0 0,1 0 0,-1 0 16,0 0-16,0 0 0,1 0 15,-1-13-15,0 13 16,0 0-16,1 0 0,-1 0 0,0-14 16,0 14-16,0 0 0,1 0 15,-1-13-15,0 13 16,0 0-1,1 0-15,-1-13 16,0 13 0,0 0 31,1-13-1,-1 13-30,0 0 0,0 0-16,0 0 15,1 0-15,-1 0 16,0 0-16,0 0 16,1 0-1,-1 0-15,0 0 16,0 0-16,0 0 15,-13 13 1,0 0 0,-13 0-16</inkml:trace>
  <inkml:trace contextRef="#ctx0" brushRef="#br1" timeOffset="203494.66">18084 542 0,'0'27'31,"0"-14"-31,0 14 16,0 12-16,-13 1 0,13 0 0,-13 13 15,0-14-15,-1 14 0,1 0 0,13-27 16,-13 27-16,0-13 0,13 0 16,-14-14-16,14 1 0,-13-1 0,13 1 15,0-14-15,-13 0 0,13 0 0,0 1 16,0-1-16,0 0 0</inkml:trace>
  <inkml:trace contextRef="#ctx0" brushRef="#br1" timeOffset="205370.72">18005 489 0,'26'0'31,"-12"0"-31,-1 0 16,0 0-16,0 0 0,14 0 15,-1-13-15,1 13 0,-1 0 0,14 0 16,-14 0-16,14 0 0,13 0 0,-13 0 15,12-13-15,-12 13 0,13 0 16,-13 0-16,13 0 0,0-13 16,-1 13-16,1 0 0,0 0 0,0 0 15,0 0-15,13-13 0,-13 13 0,0 0 16,0 0-16,0 0 0,40 0 16,-40 0-16,-1 0 0,1 0 15,0 0-15,0-14 0,0 14 0,0 14 16,0-28-16,0 14 0,-13 0 15,12 14-15,-12-14 0,0 0 0,-14 0 16,27 0-16,-13 0 0,0 0 0,-14 0 16,14 0-16,-14 13 0,14-13 0,-14 0 15,1 0-15,-1 0 16,-13 0-16,14 0 0,-1 0 0,-12 13 16,12-13-16,-13 0 0,1 0 0,12 0 15,-13 0-15,0 0 0,1 0 16,-1 0-16,13 0 15,-12 0-15,-1 0 16,0 0-16,0 0 16,1 13 15,-1-26-31,0 13 31,0 0-15,-13 13-1,13-13-15,-13 13 16,0 1-16,0-1 16,14 0-16,-14 0 0,0 1 0,0-1 15,0 13-15,0-12 0,0 12 0,0 0 16,13 14-16,-13-13 0,0-1 16,0 1-16,0-1 0,0 0 0,13 14 15,-13-13-15,0-1 0,0 0 0,-13 1 16,13-14-16,0 14 15,0-14-15,0 0 0,0 0 16,0 1-16,0-1 16,0 0-16,-13 0 15,13 0-15,-14 1 16,1-14 0,-13 0-16,13 0 15,-1-14-15,1 14 16,0 0-16,-14 0 0,14 0 0,-13-13 15,12 13-15,-12 0 0,0 0 0,-1-13 16,1 13-16,-1 0 0,1-13 16,-14 13-16,14 0 0,-14 0 0,13 0 15,-12 0-15,-1-13 0,0 13 16,-13 0-16,14 0 0,-14 0 0,13 0 16,-13 0-16,0 0 0,14 0 15,-1 0-15,-66 0 0,66 0 16,-13 0-16,1 0 0,-1 0 0,0 0 15,13 0-15,-13 0 0,13 0 16,1 0-16,-1 0 0,0 0 0,14-14 16,-14 14-16,14 0 0,-14 0 0,14 0 15,-1 0-15,1 0 0,-1 0 16,1 0-16,-1 0 0,1 0 0,-1 0 16,14 0-16,-13 0 0,-1-13 15,1 13-15,-1 0 0,1 0 0,13 0 16,-14 0-16,14 0 0,0 0 15,-14 0-15,14 0 0,0 0 0,-14 0 16,14 0-16,0 0 0,0 0 0,-1 0 16,1 0-16,0 0 15,0 0-15,0 0 0,-1 0 0,1 0 16,0 0-16,0 0 0,-1 0 16,1 0-16,0 13 15,0-13-15,-1 0 16,1 0-16,0 0 15,0 0 1,0 0 0,-1 0-16,1 0 15,0 0 1,0 14 0,-1-14-16,1 0 15,0 0-15,0 0 16,0 0-16,-1 13 0,1-13 15,0 0-15,0 0 16,-1 0-16,1 0 16,0 13-16,0-13 31,-1 0-31,1 0 47,0 0-16,13 13 47,-13-13-15,26-26 15,-13 13-63,13 13-15,-13-14 16</inkml:trace>
  <inkml:trace contextRef="#ctx0" brushRef="#br1" timeOffset="206825.65">18508 1204 0,'-14'26'31,"14"-12"-15,-13-14-16,0 13 0,0 0 16,13 0-16,-14 0 0,1 1 15,0-1-15,0 0 0,0 0 0,-1 1 16,1-14-16,13 13 0,-13 0 15,0-13-15,13 13 0,-14 1 0,1-14 16,13 13-16,-13 0 16,0-13-1</inkml:trace>
  <inkml:trace contextRef="#ctx0" brushRef="#br1" timeOffset="207138.81">18521 1151 0,'0'-13'0,"-27"13"32,14 13-32,0 0 0,0-13 15,-1 13-15,1-13 16,0 14-16,0-1 16,0 0-16,-1-13 0,1 13 0,0 1 15,0-1-15,-1-13 16,1 13-16,0-13 0,-14 13 31</inkml:trace>
  <inkml:trace contextRef="#ctx0" brushRef="#br1" timeOffset="208087.02">18441 1124 0,'53'27'31,"-53"-14"-31,14-13 16,-1 13-16,0 1 0,0-14 15,-13 13-15,14 0 0,-1-13 0,-13 13 16,13-13-16,-13 14 0,13-14 16,-13 13-16,13-13 15,-13 13-15,14-13 16,-14 13-1,13-13-15,-13 13 16,13-13 47,-13 14-17</inkml:trace>
  <inkml:trace contextRef="#ctx0" brushRef="#br1" timeOffset="210775.72">18296 1442 0,'13'13'0,"0"-13"16,1 0 0,-1 0-16,0 0 15,0 0-15,1 0 0,12 0 0,0 0 16,-12 13-16,25-13 0,-12 0 0,-1 0 15,27 0-15,-13 14 0,13-14 16,0 0-16,13 13 0,0-13 16,0 0-16,0 13 0,-13-13 0,13 13 15,1-13-15,-1 0 0,0 14 0,0-14 16,13 13-16,-13-13 0,1 13 16,-1-13-16,-13 13 0,13-13 0,-13 14 15,0-14-15,0 13 0,-1 0 0,1-13 16,-13 13-16,13-13 0,0 13 15,0-13-15,0 0 0,-14 14 0,14-14 16,0 13-16,-13-13 0,13 13 0,0-13 16,-13 13-16,12-13 15,-12 0-15,13 14 0,0-14 0,-13 0 16,13 13-16,-1-13 0,1 13 0,-13-13 16,13 0-16,0 13 0,-13-13 15,12 0-15,-12 13 0,13-13 0,-13 0 16,13 0-16,-14 14 0,1-14 0,0 0 15,13 13-15,-27-13 0,27 0 16,-13 13-16,-1-13 0,-12 0 0,-1 13 16,1-13-16,13 14 0,-14-14 0,0 0 15,1 0-15,-1 13 0,14-13 16,-14 0-16,1 13 0,-1-13 16,14 0-16,-13 0 0,-1 13 0,0-13 0,1 0 15,-1 0-15,1 14 16,13-14-16,-14 0 0,0 0 0,1 0 15,-1 13-15,1-13 0,-1 0 0,1 0 16,-1 0-16,1 13 0,-14-13 16,13 0-16,1 0 0,-1 0 0,1 13 15,-1-13-15,1 0 0,-1 0 0,1 13 16,-1-13-16,0 0 0,1 0 16,-1 0-16,1 14 0,-1-14 0,1 0 15,-1 13-15,14-13 0,-14 0 16,1 13-16,-14-13 0,14 0 15,-1 0-15,-13 13 0,14-13 0,-14 0 16,13 0-16,-12 0 0,-1 14 0,0-14 0,0 0 16,0 0-16,1 0 15,-1 0-15,0 13 0,0-13 0,1 0 16,-1 0-16,0 0 0,0 0 16,-13 13-16,14-13 0,-1 0 15,0 0-15,0 0 0,0 0 16,1 0-16,-1 13 0,0-13 15,0 0-15,1 0 0,-1 0 16,0 0-16,0 14 16,1-14-16,-1 0 0,0 0 15,0 0-15,0 0 16,1 0-16,-1 0 0,0 0 16,0 0-16,1 0 0,-1 0 15,13 0-15,-13 0 16,1 0-16,-1 0 15,0 0-15,14 0 16,-14 0-16,0 0 16,0 0-1,1 0-15,-1 0 0,0 0 16,0 0-16,0 0 0,14-14 16,-14 14-1,0 0 1,1 0-16,-1 0 15,-13-13-15,13 13 16,0 0-16,1 0 16,-1 0-16,0-13 15,0 13-15,0 0 0,1 0 16,-1-13 0,0 13-16,0 0 0,1-14 15,-1 14-15,0-13 16,0 13-16,1-13 15,-1 0-15,0 13 0,0-14 16,0 1-16,1 13 16,-1-13-16,0 13 0,-13-13 15,13 0-15,1 13 0,-1-14 0,0 1 16,0 13-16,-13-13 0,14 13 0,-1-13 16,0 13-16,-13-14 0,13 14 15,0-13-15,1 13 0,-14-13 0,13 0 16,0 13-16,-13-14 0,13 14 0,1-13 15,-1 0-15,0 0 0,0 13 16,-13-13-16,13 13 0,1-14 16,-1 14-16,-13-13 0,13 13 0,0-13 15,1 13-15,-14-13 0,13 13 16,0-14-16,0 14 0,1-13 16,-1 13-16,0-13 0,0 0 15,0 0-15,1 13 16,-14-14-16,13 14 0,0 0 15,-13-13-15,13 13 0,-13-13 0,14 13 16,-1-13-16,0 13 16,-13-14-16,13 14 0,-13-13 15,14 13 1,-1-13 0,-13 0 46</inkml:trace>
  <inkml:trace contextRef="#ctx0" brushRef="#br1" timeOffset="211158.42">24831 1416 0,'-13'0'15,"0"0"1,-1 0-16,1 0 15,0 13-15,0-13 16,0 13-16,-14-13 0,14 13 16,0-13-16,-1 13 0,-12 1 0,13-14 15,-14 13-15,14 0 16,-13-13-16,-1 13 0,1 1 0,12-1 16,-12 0-16,13-13 0,-14 13 0,14 1 15,-13-1-15,12-13 0,1 13 16,0 0-16,0-13 0,-1 0 0,1 13 15,0-13-15,0 14 0,0-14 16,-1 0-16,14 13 16,-13-13-16</inkml:trace>
  <inkml:trace contextRef="#ctx0" brushRef="#br1" timeOffset="211782.51">24567 1429 0,'0'0'0,"13"0"16,0 0-1,0 0-15,0 13 16,1-13-16,-1 0 16,0 0-16,0 13 15,1-13-15,-1 0 0,0 0 0,14 13 16,-14-13-16,0 0 0,13 14 0,-12-14 16,12 13-16,-13-13 0,1 0 0,-1 0 15,0 13-15,0-13 0,1 0 16,-1 0-16,0 0 0,-13 13 0,13-13 15,0 0-15,1 0 16,-1 0-16,0 14 16,0-14-1,1 0-15,-1 0 16,0 0 0,0 0-1,0 13 32,-13 0-31,0 0-1,-13-13-15,13 14 0,0-1 16,-13 0-16,13 0 0,-13 0 16,0 1-16,-1 12 0,1-13 15,0 1-15,0-1 0,13 0 16,-14 0-16,1 0 0,13 1 0,-13-1 15,13 0-15,-13-13 0,13 13 0,0 1 16,-13-14 0</inkml:trace>
  <inkml:trace contextRef="#ctx0" brushRef="#br1" timeOffset="214591.52">21418 939 0,'0'13'16,"13"-13"-1,0 0-15,1 0 16,-1 14-16,0-14 16,0 13-16,1-13 0,-1 13 0,0-13 15,0 13-15,14-13 0,-14 0 16,13 14-16,-12-14 0,12 0 0,1 13 15,-1-13-15,14 0 0,-14 0 0,1 0 16,12 0-16,-12 0 0,-1 0 16,1 0-16,-1 0 0,1 0 0,-1 0 15,1 0-15,-1 0 0,0-13 0,1 13 16,-1 0-16,1-14 0,-1 14 16,-12-13-16,12 13 0,-13-13 15,14 13-15,-14-13 0,13-1 0,-12 14 16,-1 0-16,13-13 0,-12 13 15,-1-13-15,0 0 0,0 0 0,0-1 16,1 1-16,-1 13 0,-13-13 0,13 0 16,0-1-16,-13 1 0,14 0 15,-14 0-15,0 0 0,13-1 0,-13 1 16,0 0-16,0 0 0,0-1 16,0 1-16,0 0 0,-13 0 15,-1-1-15,1 1 16,0 0-16,0 0 0,-1 0 0,1-1 15,0 1-15,-13 13 0,12-13 16,1 0-16,-13-1 0,12 1 16,-12 0-16,13 13 0,-14-13 0,14-1 15,0 14-15,-14-13 0,14 0 0,0 13 16,0-13-16,-14 13 0,14-13 16,0-1-16,-14 14 0,14 0 0,0-13 15,-14 13-15,14-13 0,-13 13 0,-1 0 16,14-13-16,-13 13 0,12 0 0,-12 0 15,13-14-15,-14 14 16,14 0-16,-14 0 0,14 0 0,0 0 0,0 0 16,-14 0-16,14-13 0,0 13 0,0 0 15,-14 0-15,14 0 16,0 0-16,-1 0 0,1 0 0,0 0 16,0 13-16,0-13 0,-1 0 0,1 0 15,-13 0-15,12 0 0,1 0 0,0 14 16,0-14-16,-1 0 0,1 0 15,0 13-15,0-13 0,0 0 0,-1 13 16,1-13-16,0 0 0,0 13 0,-1-13 16,1 14-16,0-14 0,13 13 15,-13-13-15,-1 13 0,1-13 0,0 13 16,13 0-16,-13-13 0,0 14 0,-1-14 16,14 13-16,-13 0 15,0-13-15,13 13 0,-13 1 0,13-1 16,-14 0-16,1-13 0,13 13 0,-13 1 15,13-1-15,0 0 0,-13-13 0,13 13 16,-13 0-16,13 1 0,0-1 16,-14-13-16,14 13 0,0 0 0,0 1 15,0-1-15,0 0 16,0 0-16,0 1 0,0-1 16,0 0-16,0 0 0,0 0 15,14 1-15,-14-1 16,13 0-16,0 0 15,-13 1-15,13-1 16,0 0-16,1-13 0,-14 13 16,13-13-16,0 13 0,0-13 15,1 0-15,-1 14 16,0-14-16,0 13 0,0-13 16,1 13-16,-1-13 0,0 13 15,0-13-15,1 0 16,-1 14-16,0-14 0,0 0 15,1 0-15,-1 0 0,0 13 16,0-13-16,0 0 0,1 13 0,-1-13 16,0 0-16,0 0 0,1 0 15,-1 0-15,0 13 0,0-13 16,1 0-16,-1 0 0,0 0 16,0 14-16,0-14 0,1 0 0,-1 0 15,0 0-15,0 0 0,14 0 16,-14 0-16,0 0 0,14 0 0,-14 0 15,13 0-15,-12 0 0,12 0 0,-13 0 16,1 0-16,12 0 0,-13 0 16,1 0-16,-1 0 0,13 0 0,-13 0 15,1 0-15,-1 0 0,0 0 0,0 0 16,14 0-16,-14-14 0,0 14 16,0 0-16,1 0 0,-1 0 0,0 0 15,-13-13-15,13 13 0,1 0 16,-1 0-16,0-13 0,0 13 0,1 0 15,-1-13-15,0 13 16,0-14-16,0 14 0,1-13 0,-1 13 16,-13-13-16,13 13 0,0-13 0,1 13 15,-1-14-15,0 14 0,0 0 16,1-13-16,-1 0 0,0 13 16,0-13-16,0 0 0,1 13 15,-14-14-15,13 14 0,0-13 0,-13 0 16,13 13-16,-13-13 15,14 13-15,-1-14 0,-13 1 0,13 13 0,-13-13 16,13 0-16,-13 0 0,13-1 16,-13 1-16,0 0 15,14 0-15,-14-1 0,0 1 16,13 0-16,-13 0 0,0-1 0,0 1 16,-13 0-16,13 0 0,0 0 0,-14-1 15,14 1-15,-13 0 16,13 0-16,-13-1 0,0 1 0,0 0 15,-1 0-15,1-1 16,0 1-16,0 13 0,-1-13 0,1 0 16,-13 13-16,13-13 0,-1-1 15,-12 14-15,13-13 0,-1 13 0,-12-13 16,13 0-16,-1 13 0,-12-14 0,13 14 16,-14-13-16,14 13 0,0-13 15,-14 13-15,14-13 0,-13 13 0,12-13 16,1 13-16,-13-14 0,13 14 0,-14-13 15,14 13-15,-14 0 0,14-13 16,0 13-16,-13 0 0,12-13 0,1 13 16,-13 0-16,12 0 0,1 0 0,0-14 15,0 14-15,-1 0 0,1 0 16,0 0-16,0 0 31,0 0-31,-1 0 16,1 0-1,0 0-15,0 0 0,-14 14 16,14-14-16,-14 0 0,14 0 16,0 13-16,0-13 0,0 0 15,-1 0-15,-12 0 16,13 0 0,-1 13-16,1-13 15,0 0 1,0 0-16,-1 13 31,1-13-31,0 0 0,0 0 16,0 14-1,-1-14-15,1 0 0,0 13 16,0-13-16,-1 0 0,1 13 16,0-13-16,0 13 15,-1-13-15,1 0 0,0 13 0,0-13 16,0 14-16,-1-14 0,1 13 15,0-13-15,13 13 0,-13-13 0,-1 13 16,1 1-16,0-1 16,0 0-1,13 0-15,-13-13 0,13 13 16,-14 1 0,14-1-16,0 0 15,0 0-15</inkml:trace>
  <inkml:trace contextRef="#ctx0" brushRef="#br1" timeOffset="-214066.17">21775 1230 0,'-53'53'0,"40"-13"16,-27 0-16,1 13 0,-14 26 0,0 14 16,0-1-16,-13 1 0,13-1 15,-13 1-15,0 0 0,-14-1 0,14 14 16,0 13-16,-13-13 0,12 13 0,-12 0 16,0-13-16,-1 0 0,14-1 15,-13 1-15,13 0 0,13-26 0,0-1 16,0 0-16,13-26 0,0 0 0,14 0 15,0 0-15,-14-13 0,27-14 16,-1 1-16,-12-1 0,26-13 0,-13 0 16,-1 1-16,28-54 31,-1 14-31,13-27 0,1-14 0</inkml:trace>
  <inkml:trace contextRef="#ctx0" brushRef="#br1" timeOffset="-213363.15">21471 1270 0,'26'-13'31,"-12"0"-31,-1 13 16,0-14-16,0 1 0,14 13 0,-14-13 15,13 0-15,-12 13 0,12-14 16,-13 14-16,14-13 0,-14 13 0,14-13 15,-14 13-15,0-13 0,0 13 0,0 0 16,1 0-16,-1 0 16,0 13-16,-13 0 15,13 0-15,-13 14 0,0-14 16,0 14-16,-13-1 0,13 14 16,-13-14-16,13 1 0,-13 12 0,13 1 15,-14-14-15,14 14 0,-13-13 0,13-1 16,-13 14-16,13-14 0,0 1 15,0-1-15,0 14 0,0-14 0,0 1 16,13-1-16,-13 1 0,0-14 0</inkml:trace>
  <inkml:trace contextRef="#ctx0" brushRef="#br1" timeOffset="-211350.95">19209 4591 0,'-27'39'0,"27"-26"15,-13 1-15,0 12 0,0 1 0,13 12 16,-14-12-16,14-1 0,-13 14 0,13-14 15,-13 1-15,13-1 0,0-13 16,0 14-16,0-14 0,13 14 0,-13-14 16,13 0-16,-13 0 0,14 1 0,-1-14 15,0 0-15,0 0 0,1 0 16,-1 0-16,13-14 0,-13 1 16,14 0-16,-1 0 0,-12-14 0,12 14 15,-13-14-15,14 1 0,-14 0 0,0-14 16,0 13-16,1 1 0,-1-1 15,-13-12-15,0 12 0,0 1 0,0-1 16,0 1-16,0 0 0,0-1 0,0 14 16,-13-14-16,13 1 0,-14 13 15,1-14-15,13 14 0,-13 0 0,0 0 16,13-1-16,-13 14 0,-1-13 0,1 13 16,13-13-16,-13 13 0,0 0 15,-1 13-15,1-13 16,0 13-16,0 1 0,-1-14 0,1 26 15,0-13-15,0 14 0,0-14 16,13 13-16,-14 1 0,1-1 0,13-12 16,-13 12-16,13 0 0,0 1 0,-13-1 15,13 1-15,0-14 0,0 13 16,0-12-16,0-1 0,0 13 0,13-12 16,-13-1-16,0 0 0,13 0 0,-13 1 15,13-1-15,1 0 0,-1 0 16,0 0-16,0-13 15,0 0-15,1 14 16,-1-28-16,0 14 0,0 0 16,1 0-16,-1-13 0,0 0 15,0 13-15,1-13 0,-1 0 16,0 13-16,-13-14 0,13 1 0,0 0 16,1 0-16,-1-1 15,-13 1-15,13 0 0,-13 0 16,13 13-16,-13-14 0,14 1 15,-14 0 1,13 13 0,-13 26 15,-13-26-31,26 14 16,-26-1-16,26 0 0,-13 0 15,0 1-15,0-1 0,0 0 16,13-13-16,-13 13 15,13-13-15,0 14 16,1-28-16,-1 14 0,0 0 16,0-13-16,1 0 0,-1 0 15,0-1-15,0 1 0,1 0 16,-1 0-16,0-1 16,0 1-1,0 26 16,-26 1-31,13-1 16,13 0-16,-13 0 16,0 1-16,14-1 15,-1 0 1,0-13-16,0 0 16,1 0-16,-1-13 15,0 13-15,0-13 0,1 13 16,-1-14-16,-13 1 15,13 13-15,0-13 0,-13 0 16,13-14-16,1 14 0,-14 0 0,13-14 16,0 1-16,-13-1 0,13-12 15,1 12-15,-1-12 0,-13-1 0,13 13 16,-13 1-16,13 0 0,-13-1 0,0 14 16,0 0-16,13-1 0,-13 1 0,0 0 15,0 0-15,0-1 16,14 1-16,-28 53 31,14-27-31,0 14 0,0-1 16,0 1-16,0-1 0,0 0 0,-13 1 15,13 13-15,13-14 0,-13 1 16,0-1-16,0 0 0,0-12 16,0 12-16,14-13 0,-14 1 0,0-1 15,13 0-15,-13 0 0,13 0 16,0 1-16,1-14 15,12 0 1,-26-14-16,13 14 0,1-13 16,-1 13-16</inkml:trace>
  <inkml:trace contextRef="#ctx0" brushRef="#br1" timeOffset="-210686.49">19751 4577 0,'27'0'16,"-14"0"-16,13 0 0,-12 0 15,12 0-15,-13 0 0,14 0 0,-1 0 16,-13-13-16,14 13 0,-1-13 15,-13 13-15,14-13 0,-14 13 0,14-14 16,-14 14-16,0-13 0,14 0 16,-14 13-16,0-13 0,0-1 15,0 14-15,1-13 0,-1 0 0,0 0 16,0 0-16,1-1 0,-1 1 0,-13 0 16,13 0-16,0-1 15,-13 1-15,14 0 0,-14 0 16,13 13-16,-13-14 0,13 41 31,-13-14-15,0 0-16,0 1 0,0 12 0,0 1 15,0-1-15,0 0 0,0 1 16,0-1-16,13 1 0,-13-1 16,0-12-16,13 12 0,-13-13 0,0 14 15,14-14-15,-14 0 0,0 0 0,0 1 16,13-14-16,-13 13 0,13 0 15,0-13-15,1-13 16,-1 13-16,0-13 0,0-1 16,1 1-16,-1 0 15,0 0-15,0-1 0,0 1 16,1 13-16,-1 0 31,-13 13-31,0 1 0,0-1 16,0 0-16,0 0 0,0 1 0,-13-1 15,13 0-15,0 0 0,0 0 16,0 1-16,0-1 0,0 0 16,0 0-16,-14 1 15</inkml:trace>
  <inkml:trace contextRef="#ctx0" brushRef="#br1" timeOffset="-210533.93">20571 4445 0,'-13'-13'15</inkml:trace>
  <inkml:trace contextRef="#ctx0" brushRef="#br1" timeOffset="-209841.04">20783 4551 0,'13'-13'16,"-26"26"-16,26-40 0,-13 14 31,-26 26-15,13 1-1,13-1 1,-14 0-16,14 0 0,0 1 16,0-1-16,0 0 15,0 0-15,14 0 16,-1-13-16,0 0 15,13 0 1,-12 0 0,-1-13-16,0 0 15,0 0-15,1 13 0,-14-13 16,13 13-16,0 0 0,-13-14 0,13 14 16,1 0-16,-1 0 15,0 0-15,0 14 16,0-1-16,1 0 15,-14 0-15,0 0 0,13-13 16,-13 14-16,0-1 0,0 0 16,0 0-16,0 1 0,0-1 31,26-40-15,-26 14-1,14 0-15,-1 0 0,0-14 0,14 1 16,-14-1-16,13 14 0,-13 0 15,1-14-15,-1 27 0,0-13 0,0 0 16,1 13-16,-14-13 0,13 13 0</inkml:trace>
  <inkml:trace contextRef="#ctx0" brushRef="#br1" timeOffset="-209505.99">19487 5186 0,'158'-53'31,"-92"40"-31,1-1 15,-1-12-15,0 13 0,0 0 0,13-1 16,1 1-16,-14 0 0,13 0 16,-13-14-16,1 14 0,-1 0 0,-27 13 15,14-14-15,-13 1 0,0 13 16,-14-13-16,-13 13 0,14-13 0,-14 13 16,14 0-16,-14-13 0,0 13 15,-39 0 16,12 0-31</inkml:trace>
  <inkml:trace contextRef="#ctx0" brushRef="#br1" timeOffset="-209212.02">19407 5239 0,'0'0'16,"0"13"-16,13-13 15,1 0-15,-1 0 0,13 0 0,14-13 16,13 0-16,0 13 0,13-14 0,0 1 16,0 0-16,0 0 0,1-1 15,-1 1-15,0 0 0,0 13 0,0-13 16,-13-1-16,0 14 0,-13-13 16,-1 0-16,-12 13 0,-1-13 0,1 13 15,-1 0-15,-13-13 0,1 13 16,-1 0-16,0 0 0,0-14 0,1 14 15,-1 0-15,0-13 0,0 13 16,-13-13-16,14 13 0,-14-13 16,0-1-16,0 1 15,0 0-15</inkml:trace>
  <inkml:trace contextRef="#ctx0" brushRef="#br1" timeOffset="-208793.04">19606 3929 0,'53'0'16,"79"-13"-1,-79 0-15,0 13 0,0 0 0,26 0 16,-13-14-16,13 14 0,1 0 15,-14 0-15,0 0 0,-13 0 0,0 0 16,0 0-16,0 0 0,-13 0 0,-14 0 16,0 0-16,1 0 0,-1 0 15,-12 0-15,-1 0 0,0 0 0,-39 14 32,12-14-17</inkml:trace>
  <inkml:trace contextRef="#ctx0" brushRef="#br1" timeOffset="-208517.23">19566 4061 0,'0'0'16,"40"0"-16,-14 0 15,14 0-15,13 0 16,0 0-16,0 0 0,13 0 0,13 0 0,0-13 15,1 13-15,-14 0 0,13-13 0,-13 13 16,14 0-16,-14-13 16,-13 13-16,26-14 0,-26 14 0,0-13 15,0 0-15,0 13 0,-13-13 0,13 13 16,-27-13-16,0 13 0,1 0 16,-14 0-16,0 0 0,14-14 0,-14 28 15,0-14-15,1 0 0,-1 0 0,0 13 16,0-13-16,0 0 0</inkml:trace>
  <inkml:trace contextRef="#ctx0" brushRef="#br1" timeOffset="-208253.25">21736 4075 0,'0'26'0,"0"-52"0,0 65 0,0-12 16,-14-14-16,1 27 0,13-1 16,-13 1-16,0 0 0,-1-1 0,1 1 15,0 13-15,13-13 0,-13-1 0,13-12 16,-14 13-16,14-14 0,-13-13 16,13 14-16,0-1 0,0-13 15,-13 1-15,13-1 0,0 0 0,0 0 16,0 0-16</inkml:trace>
  <inkml:trace contextRef="#ctx0" brushRef="#br1" timeOffset="-208029.3">21881 4167 0,'-13'66'31,"0"-39"-31,-1 12 16,1 1-16,0 13 0,13-13 0,-13-1 16,-1 1-16,1 13 0,0-13 0,0-1 15,0-12-15,-1 13 0,1-14 16,0 14-16,0-14 0,13-13 0,-14 1 16,1 12-16,0-13 0,0-13 0,13 14 15,-14-1-15,1-13 16</inkml:trace>
  <inkml:trace contextRef="#ctx0" brushRef="#br1" timeOffset="-207530.13">18719 4128 0,'0'0'0,"13"52"15,-13-25-15,0 13 0,0-1 16,0 1-16,0 13 0,0 0 16,0-14-16,0 14 0,0-13 0,-13 13 15,13-13-15,-13-1 0,13 1 0,-13 0 16,0-14-16,13 1 0,-14-1 16,14-13-16,0 1 0,0-1 0,-13 0 15</inkml:trace>
  <inkml:trace contextRef="#ctx0" brushRef="#br1" timeOffset="-207298.23">18918 3956 0,'13'-27'0,"-26"54"0,39-54 0,-26 54 16,0-1-16,0 14 15,0 13-15,-13 0 0,13 13 0,-13 0 16,-1 13-16,14-13 0,-13 0 0,0 14 15,13-14-15,-13 0 0,0 0 16,13 14-16,-14-14 0,1 0 0,13-13 16,-13 13-16,13-26 0,-13-1 0,13 14 15,-14-26-15,14-1 0,0 1 16,-13-14-16,13 13 0,0-12 16,0-1-16</inkml:trace>
</inkml:ink>
</file>

<file path=ppt/ink/ink2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8.577"/>
    </inkml:context>
    <inkml:brush xml:id="br0">
      <inkml:brushProperty name="width" value="0.05" units="cm"/>
      <inkml:brushProperty name="height" value="0.05" units="cm"/>
      <inkml:brushProperty name="ignorePressure" value="1"/>
    </inkml:brush>
  </inkml:definitions>
  <inkml:trace contextRef="#ctx0" brushRef="#br0">131 1,'-6'1,"1"1,-1 0,1 0,-1 1,1 0,0 0,0 0,-7 7,10-8,1-1,0 1,0 0,0 0,0-1,0 1,0 0,1 0,-1 0,1 0,-1 0,1 0,0 0,0 0,-1 0,2 1,-1-1,0 0,0 0,1 0,-1 0,1 0,-1 0,1 0,0 0,0-1,0 1,2 3,1 2,0 1,-1-1,0 1,0 0,-1 0,0 0,0 0,1 13,-3-18,-1 0,1 0,-1 1,1-1,-1 0,0 0,0 0,0 0,-1 0,1 0,-1 0,1 0,-1-1,0 1,0-1,0 1,-1-1,1 0,-1 1,1-1,-1-1,0 1,1 0,-1-1,-4 2,-28 9,18-9</inkml:trace>
</inkml:ink>
</file>

<file path=ppt/ink/ink2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8.920"/>
    </inkml:context>
    <inkml:brush xml:id="br0">
      <inkml:brushProperty name="width" value="0.05" units="cm"/>
      <inkml:brushProperty name="height" value="0.05" units="cm"/>
      <inkml:brushProperty name="ignorePressure" value="1"/>
    </inkml:brush>
  </inkml:definitions>
  <inkml:trace contextRef="#ctx0" brushRef="#br0">95 0,'0'14,"0"10,-3 8,-5 8,0 5,-3 3,-3 2,2-3,-1 2,1-5,4-3,3-8</inkml:trace>
</inkml:ink>
</file>

<file path=ppt/ink/ink2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0.144"/>
    </inkml:context>
    <inkml:brush xml:id="br0">
      <inkml:brushProperty name="width" value="0.05" units="cm"/>
      <inkml:brushProperty name="height" value="0.05" units="cm"/>
      <inkml:brushProperty name="ignorePressure" value="1"/>
    </inkml:brush>
  </inkml:definitions>
  <inkml:trace contextRef="#ctx0" brushRef="#br0">73 1,'1'0,"0"0,0 0,0 0,0 0,0 0,0 0,0 1,0-1,0 0,0 0,-1 1,1-1,0 1,0-1,0 1,0-1,-1 1,1-1,0 1,0 0,-1-1,1 1,-1 0,1 0,-1-1,1 1,-1 0,1 1,0 1,0-1,-1 1,0 0,0-1,0 1,0 0,0-1,0 1,0 0,-2 3,-1 4,0-1,0 1,-1-1,-7 14,-20 10,27-29,0-1,0 1,0-1,1 1,0 1,-1-1,1 0,1 1,-1-1,-3 10,6-14,0 1,1-1,-1 1,0-1,1 1,-1 0,0-1,1 1,-1-1,1 1,-1-1,1 0,-1 1,1-1,-1 1,1-1,0 0,-1 0,1 1,-1-1,1 0,0 0,-1 0,1 0,0 1,-1-1,1 0,0 0,-1 0,1 0,0-1,-1 1,1 0,1 0,25-3,50-20,-31 8,-29 10</inkml:trace>
</inkml:ink>
</file>

<file path=ppt/ink/ink2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0.480"/>
    </inkml:context>
    <inkml:brush xml:id="br0">
      <inkml:brushProperty name="width" value="0.05" units="cm"/>
      <inkml:brushProperty name="height" value="0.05" units="cm"/>
      <inkml:brushProperty name="ignorePressure" value="1"/>
    </inkml:brush>
  </inkml:definitions>
  <inkml:trace contextRef="#ctx0" brushRef="#br0">0 1,'3'0,"0"-1,1 2,-1-1,0 0,0 0,0 1,0 0,0-1,0 1,0 0,0 1,-1-1,1 0,0 1,-1 0,1-1,-1 1,1 0,-1 0,0 0,0 1,0-1,0 1,0-1,-1 1,1-1,1 5,-1 1,0-1,0 1,0 1,-1-1,-1 0,1 0,-1 0,-1 0,-1 12,-17 73,17-75</inkml:trace>
</inkml:ink>
</file>

<file path=ppt/ink/ink2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0.817"/>
    </inkml:context>
    <inkml:brush xml:id="br0">
      <inkml:brushProperty name="width" value="0.05" units="cm"/>
      <inkml:brushProperty name="height" value="0.05" units="cm"/>
      <inkml:brushProperty name="ignorePressure" value="1"/>
    </inkml:brush>
  </inkml:definitions>
  <inkml:trace contextRef="#ctx0" brushRef="#br0">1 60,'6'-5,"0"0,0 1,1 0,-1 0,1 1,0 0,0 0,0 1,12-3,71-11,-83 15,26-2,49 2,-62 1,-3 0</inkml:trace>
</inkml:ink>
</file>

<file path=ppt/ink/ink2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1.301"/>
    </inkml:context>
    <inkml:brush xml:id="br0">
      <inkml:brushProperty name="width" value="0.05" units="cm"/>
      <inkml:brushProperty name="height" value="0.05" units="cm"/>
      <inkml:brushProperty name="ignorePressure" value="1"/>
    </inkml:brush>
  </inkml:definitions>
  <inkml:trace contextRef="#ctx0" brushRef="#br0">211 0,'-14'1,"0"-1,1 2,-1 0,0 0,1 1,0 1,0 0,0 1,0 1,1 0,-1 0,2 1,-13 9,23-15,-1 0,1 0,0 0,0 1,-1-1,1 0,0 1,0-1,0 1,0-1,1 1,-1-1,0 1,1-1,-1 1,0 3,1-5,0 1,1 0,-1 0,0 0,0-1,1 1,-1 0,0 0,1-1,-1 1,1 0,-1-1,1 1,-1-1,1 1,-1 0,1-1,0 1,-1-1,1 0,0 1,-1-1,1 1,1-1,2 2,1-1,-1 0,1 0,-1 0,1 0,0-1,-1 0,1 0,0 0,6-2,32-9,-34 7,0 2,1-1,-1 1,1 0,-1 1,15 0,-21 1,-1 1,1-1,0 1,-1 0,1 0,0 0,-1 0,1 0,-1 0,0 1,1-1,-1 1,0 0,0 0,0 0,0 0,0 0,0 0,-1 0,1 0,-1 1,0-1,1 1,-1-1,0 1,0 0,0 3,10 31,-7-21</inkml:trace>
</inkml:ink>
</file>

<file path=ppt/ink/ink2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2.577"/>
    </inkml:context>
    <inkml:brush xml:id="br0">
      <inkml:brushProperty name="width" value="0.05" units="cm"/>
      <inkml:brushProperty name="height" value="0.05" units="cm"/>
      <inkml:brushProperty name="ignorePressure" value="1"/>
    </inkml:brush>
  </inkml:definitions>
  <inkml:trace contextRef="#ctx0" brushRef="#br0">52 1,'-2'0,"0"1,0-1,0 1,0 0,0-1,0 1,0 0,1 0,-1 1,0-1,1 0,-1 0,1 1,-1-1,1 1,0 0,-1-1,1 1,0 0,0 0,0-1,0 1,1 0,-2 4,0-1,0 1,1-1,-1 1,1 0,0-1,1 1,-1 10,2-13,0 0,-1 0,1 0,0-1,1 1,-1 0,0-1,1 1,-1-1,1 1,0-1,0 0,0 1,0-1,0 0,3 2,-4-4,0 1,0-1,0 1,0-1,0 1,0-1,0 1,0-1,0 0,0 1,0-1,0 0,0 0,0 0,0 0,0 0,1 0,-1 0,0-1,0 1,0 0,0-1,0 1,0 0,0-1,0 1,0-1,0 0,0 1,-1-1,1 0,0 1,0-1,0 0,-1 0,1 0,0 0,-1 1,1-1,-1 0,1 0,-1 0,0 0,1 0,-1-2,1 0,0 0,0 0,-1 0,1 0,-1 0,0 0,0 0,0 0,0 0,-1 0,1 0,-1 1,1-1,-1 0,0 0,0 0,-1 1,1-1,-4-4,2 1,-1 1,1 1,-1-1,-1 0,1 1,-1 0,1 0,-9-5,-5 0</inkml:trace>
</inkml:ink>
</file>

<file path=ppt/ink/ink2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3.485"/>
    </inkml:context>
    <inkml:brush xml:id="br0">
      <inkml:brushProperty name="width" value="0.05" units="cm"/>
      <inkml:brushProperty name="height" value="0.05" units="cm"/>
      <inkml:brushProperty name="ignorePressure" value="1"/>
    </inkml:brush>
  </inkml:definitions>
  <inkml:trace contextRef="#ctx0" brushRef="#br0">191 1,'-19'1,"-1"0,1 2,0 0,0 1,-21 7,38-10,0 0,0-1,0 1,0 0,0 0,0 0,1 0,-1 1,0-1,0 0,1 1,-1-1,1 1,-1 0,1-1,-2 4,3-4,-1 1,1-1,0 0,0 1,-1-1,1 1,0-1,0 0,1 1,-1-1,0 1,0-1,1 0,-1 1,0-1,1 1,0-1,-1 0,2 2,4 6,1-1,0 1,1-1,-1-1,14 10,3 6,-21-21,-1 0,0 1,0-1,0 1,0 0,0-1,0 1,-1 0,1 0,-1 0,0 0,0 0,0 1,0-1,-1 0,1 0,-1 0,0 1,0-1,0 0,0 1,-1-1,1 0,-1 0,0 0,0 1,0-1,0 0,-1 0,1 0,-1-1,0 1,-2 3,-2 0,0 1,0-1,-1-1,0 1,0-1,0-1,-1 1,1-1,-1 0,0-1,-14 4,5-2</inkml:trace>
</inkml:ink>
</file>

<file path=ppt/ink/ink2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3.834"/>
    </inkml:context>
    <inkml:brush xml:id="br0">
      <inkml:brushProperty name="width" value="0.05" units="cm"/>
      <inkml:brushProperty name="height" value="0.05" units="cm"/>
      <inkml:brushProperty name="ignorePressure" value="1"/>
    </inkml:brush>
  </inkml:definitions>
  <inkml:trace contextRef="#ctx0" brushRef="#br0">86 0,'0'7,"0"8,0 5,0 6,-4 5,0 7,-1 7,-1 6,-1 4,-2 3,1-3,-3 0,2 1,2-4,-1-2,0-12</inkml:trace>
</inkml:ink>
</file>

<file path=ppt/ink/ink2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7.539"/>
    </inkml:context>
    <inkml:brush xml:id="br0">
      <inkml:brushProperty name="width" value="0.05" units="cm"/>
      <inkml:brushProperty name="height" value="0.05" units="cm"/>
      <inkml:brushProperty name="ignorePressure" value="1"/>
    </inkml:brush>
  </inkml:definitions>
  <inkml:trace contextRef="#ctx0" brushRef="#br0">263 0,'-50'2,"1"2,-87 18,135-22,0 0,-1 0,1 0,0 0,0 0,-1 1,1-1,0 1,0-1,0 1,0-1,-1 1,1 0,0-1,0 1,0 0,0 0,0 0,1 0,-1 0,0 0,0 0,1 0,-1 0,-1 2,3-2,-1 1,0-1,1 1,-1-1,1 0,-1 0,1 1,0-1,0 0,-1 0,1 0,0 1,0-1,0 0,0 0,0 0,0-1,3 2,5 5,1-1,0 0,0-1,17 6,-18-8,4 1,1 1,-1 0,0 1,21 12,-32-17,-1 0,1 0,-1 1,1-1,-1 1,1-1,-1 1,0-1,0 1,1 0,-1-1,-1 1,1 0,0 0,0 0,-1 0,2 2,-3-2,1 0,0 0,-1 1,1-1,-1 0,1 0,-1 0,0 0,0 0,0 0,0-1,0 1,0 0,-1 0,1-1,-1 1,1-1,-1 1,1-1,-3 2,-4 2,0-1,0 1,-1-1,1-1,-1 0,1 0,-1 0,-17 1,11-2</inkml:trace>
</inkml:ink>
</file>

<file path=ppt/ink/ink2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52:52.570"/>
    </inkml:context>
    <inkml:brush xml:id="br0">
      <inkml:brushProperty name="width" value="0.05292" units="cm"/>
      <inkml:brushProperty name="height" value="0.05292" units="cm"/>
      <inkml:brushProperty name="color" value="#FF0000"/>
    </inkml:brush>
    <inkml:brush xml:id="br1">
      <inkml:brushProperty name="width" value="0.05292" units="cm"/>
      <inkml:brushProperty name="height" value="0.05292" units="cm"/>
      <inkml:brushProperty name="color" value="#0070C0"/>
    </inkml:brush>
  </inkml:definitions>
  <inkml:trace contextRef="#ctx0" brushRef="#br0">1310 1389 0,'0'-13'0,"39"13"16,-12 0 0,-1 0-16,1 0 0,26 0 15,0-13-15,0 13 0,-1-14 0,15 14 16,12-13-16,-13 0 0,0 13 15,0-13-15,1-1 0,-15 14 0,1-13 16,-13 0-16,13 13 0,-13 0 16,-1-13-16,-25 13 0,12 0 0,-13 0 15</inkml:trace>
  <inkml:trace contextRef="#ctx0" brushRef="#br0" timeOffset="233.78">1376 1654 0,'26'0'16,"1"-14"0,-1 14-16,1 0 0,-1 0 15,27-13-15,-13 0 0,13 13 0,-14-13 16,14 13-16,-13-13 0,13-1 0,-13 14 15,12-13-15,-12 13 0,13-13 16,-26 13-16,-1 0 0,14 0 0,-27 0 16,13 0-16</inkml:trace>
  <inkml:trace contextRef="#ctx0" brushRef="#br0" timeOffset="2649.03">3784 2474 0,'0'0'0,"39"0"47,-26 0-47,14 0 0,-1 13 0,14-13 15,-13 0-15,25 0 0,-12 0 0,13 13 16,-13-13-16,13 0 0,-14 0 15,1 0-15,0 0 0,-1 0 0,-12 0 16,13 0-16,-1 0 0,-12 0 0,12 0 16,-12 0-16,-1 0 0,1 0 15,-1 0-15,1 0 0,-1 0 16,1 0-16,-1 0 0,-13 0 0,0-13 16,14 13-16,-14 0 0,0 0 0,1 0 15,-1 0-15,0 0 0,0-13 16,1 13-16,-1 0 0,0 0 0,0 0 15,0 0-15,1 0 16,-1 0-16,0-13 0,0 13 0,1 0 16,-1 0-16,0 0 0,0 0 0,1 0 15,-1 0-15,0 0 0,13 0 16,-12 0-16,-1 0 0,0 0 0,14 0 16,-14 0-16,13 0 0,1 0 0,-14-14 15,13 14-15,1 0 0,-1 0 16,1 0-16,13 0 0,-14 0 15,0 0-15,1-13 0,13 13 0,-14 0 16,0 0-16,1 0 0,13 0 16,-14-13-16,1 13 0,-1 0 0,14 0 15,-14 0-15,1 0 0,-1-13 16,-13 13-16,14 0 0,-1 0 0,-13 0 16,14 0-16,-14 0 0,0-14 0,1 14 15,-1 0-15,13 0 0,-13 0 0,1-13 16,-1 13-16,0 0 15,0 0-15,1 0 0,-1-13 16,0 13-16,0 0 0,1 0 16,-1-13-16,0 13 15,0 0-15,0-13 16,1 13-16,-1 0 0,0-14 16,0 14-16,1 0 15,-1-13-15,0 13 0,0 0 16,-13-13-16,14 13 0,-1 0 15,0-13-15,0 13 16,0-14-16,1 14 0,-14-13 16,13 13-16,0-13 0,0 13 15,-13-13-15,14-1 16,-1 1-16,0 0 16,-13 0-16,13 13 0,-13-13 15,14 13-15,-14-14 0,13 14 16,-13-13-16,0 0 15,13 13-15,-13-13 0,0-1 16,13 1-16,-13 0 16,0 0-16,0 0 0,0-1 15,13 1-15,-26 0 0,13 0 16,0-1-16,0 1 16,0 0-16,0 0 0,0-1 15,0 1-15,-13 0 0,13 0 0,0 0 16,-13 13-16,0-14 0,13 1 15,-14 0-15,1 0 0,0-1 0,-14 1 16,14 13-16,0-13 0,-14 0 16,14 13-16,-13-14 0,-1 1 0,14 13 15,-13-13-15,-1 13 0,1-13 0,-1 13 16,1-13-16,-1 13 0,-39-14 16,26 1-16,1 13 0,12 0 0,1-13 15,-1 13-15,-39 0 16,40-13-16,-1 13 0,1 0 0,-1 0 15,-12 0-15,12-14 0,-12 14 0,12 0 16,-13 0-16,14 0 16,-14 0-16,1 0 0,-1 0 0,0 0 15,-26 0-15,26 0 0,1 0 16,-1 0-16,14 0 0,-14 0 16,-26 0-16,13 0 0,13 14 15,0-14-15,1 0 0,-1 0 0,0 13 16,14-13-16,-27 0 0,27 0 15,-27 13-15,26-13 0,-12 13 0,-1-13 16,-26 14-16,26-1 16,-39 0-16,52-13 0,1 13 15,-1-13-15,-52 27 16,26-14-16,13 0 16,14 0-16,-1 1 15,1-14-15,-14 26 16,14-26-16,13 13 0,-14 1 15,14-1 1,-27 0-16,27 0 16,-14 0-16,27 1 15,-13-14-15,-13 13 0,26 0 16,-13-13-16,-1 13 0,1 1 16,-13-1-16,12 0 15,1 0-15,0-13 16,0 14-1,-1-1-15,14 0 0,-13 0 0,0 14 16,0-14-16,13 0 0,0 14 16,0-14-16,0 0 15,0 13-15,0-12 0,0-1 16,0 13-16,0-12 0,13 39 0,0-27 16,0-13-16,14 40 15,-14-26-15,14-1 0,-14 1 16,27 12-16,-14-26 0,27 27 15,-40-27-15,53 14 16,-39-14-16,-1-13 0,1 13 16,26 1-16,-14-14 0,-12 0 15,-1 0-15,27 0 0,-26 0 16,65 0-16,-65 0 0</inkml:trace>
  <inkml:trace contextRef="#ctx0" brushRef="#br0" timeOffset="3961.74">7501 2408 0,'0'0'0,"-13"0"0,52 0 47,-12 0-47,-1 0 0,27 13 16,0-13-16,13 0 0,14 0 0,-14 0 15,13 0-15,1 0 0,-1 0 16,0-13-16,1 13 0,12 0 0,-12 0 16,-1 0-16,0 0 0,-12 0 0,-1 0 15,-13 0-15,13 0 0,-13 0 16,0 0-16,-14 0 0,-12 0 0,-1 0 16,1 0-16,-14 0 0,13 0 0,-12 0 15,-1 0-15,0 0 16</inkml:trace>
  <inkml:trace contextRef="#ctx0" brushRef="#br0" timeOffset="4467.89">7871 2553 0,'0'0'0,"40"13"16,-27-13-16,14 0 0,12 0 0,1-13 16,13 13-16,0 0 0,0 0 15,26-13-15,-13 13 0,1 0 0,-1 0 16,66-13-16,-79 13 0,0-13 15,0 13-15,0 0 0,-14 0 16,14 0-16,-13 0 0,0 0 0,-14-14 16,14 14-16,-14 0 0,-13 0 0,54 0 47,-41 0-32,67 0 79,-80 0-16,13 0-78</inkml:trace>
  <inkml:trace contextRef="#ctx0" brushRef="#br0" timeOffset="5391.65">10623 2421 0,'26'13'16,"1"-13"-16,-1 0 15,1 0-15,13 0 0,12-13 16,1 13-16,0 0 0,27 0 16,-14 0-16,13 0 0,-26-13 0,13 13 15,-13 0-15,13 0 0,-13 0 0,13 0 16,-13 0-16,-13-14 0,13 14 15,-13 0-15,-14 0 0,1 0 0,-1 0 16,-13 0-16,0 0 0,14 0 16,-14 0-16,0 0 0</inkml:trace>
  <inkml:trace contextRef="#ctx0" brushRef="#br0" timeOffset="5813.96">10649 2580 0,'-26'13'0,"52"-13"31,-12 0-16,12 0-15,1-13 0,26 13 16,-14 0-16,14-14 0,0 14 0,13-13 16,0 13-16,-13 0 0,0-13 15,13 13-15,-13-13 0,0 13 16,0 0-16,0 0 0,-13 0 0,13-13 16,-14 13-16,-12 0 0,12 0 0,-25 0 15,12 0-15,1 0 0,-14 0 16,0 0-16,0 0 0,1 0 0,-1 0 15,0 0-15,0 0 0,0 0 16,1 0-16,-1 0 16,0 0-1,0 0 1,1 0 0,-1 0-1,13 0-15,-26-14 16,13 14-16</inkml:trace>
  <inkml:trace contextRef="#ctx0" brushRef="#br0" timeOffset="8633.74">18825 2368 0,'93'13'0,"-67"-13"0,14 0 16,-14 0-16,133 0 15,-119 0-15,-1 0 16,-12 0-16,52 0 0,-52 0 15,12 0-15,-12 0 16,13 0-16,-27 0 0,13 0 0,1 0 16,-14 0-16,13 0 0,-12 0 0,-1 0 15,0 0 1</inkml:trace>
  <inkml:trace contextRef="#ctx0" brushRef="#br0" timeOffset="8999.81">18931 2514 0,'53'0'15,"-27"0"-15,1 0 0,-1 0 0,1 0 16,12 0-16,-12 0 0,13-14 0,-14 14 16,14 0-16,-14 0 0,14 0 0,-14 0 15,1 0-15,-14 0 0,13 0 0,1 0 16,-14 0-16,14 0 0,-14 0 16,0 0-16,0 0 0,0 14 15,1-14-15,-1 0 16,13 0-1,-12 0 1,-1 13 0,0-13-16,0 0 0,1 0 15</inkml:trace>
  <inkml:trace contextRef="#ctx0" brushRef="#br0" timeOffset="14653.62">21365 2421 0,'40'0'16,"-14"0"-1,1 0-15,-1 0 0,14 0 0,13 0 0,-14 0 16,14 0-16,0 0 0,0 0 16,-13 0-16,0 0 0,-1 0 15,-12 0-15,-1 0 0,14 0 0,-27 0 16,14 0-16,-14 0 0,0 0 16,0 0-16</inkml:trace>
  <inkml:trace contextRef="#ctx0" brushRef="#br0" timeOffset="14846.83">21577 2447 0,'0'0'0,"26"14"16,-13-14-16,1 0 16,-1 0-16,13 13 0,14-13 15,-13 0-15,12 0 0,-12 13 16,12-13-16,-12 0 0,-1 0 0,14 0 15,-14 0-15,1 0 0,-1 0 16,1 0-16,-14 0 0</inkml:trace>
  <inkml:trace contextRef="#ctx0" brushRef="#br0" timeOffset="16166.51">4736 3003 0,'53'0'15,"-27"0"1,27-13-16,0 13 0,0 0 15,27 0-15,-1-13 0,-13 13 0,13 0 0,-12-14 16,-14 14-16,13 0 0,-13 0 16,13-13-16,-13 13 0,0 0 15,-1 0-15,-12 0 0,0-13 0,-14 13 16,1 0-16,-1 0 0,-13 0 16,1 0-16</inkml:trace>
  <inkml:trace contextRef="#ctx0" brushRef="#br0" timeOffset="16597.25">4657 3215 0,'0'0'0,"26"13"15,-13-13 1,14 0-16,-1 0 0,1 0 15,12 0-15,14-13 0,0 13 0,13 0 16,-13 0-16,0-14 0,0 14 0,0 0 16,0-13-16,-13 13 0,13 0 0,-14-13 15,-12 13-15,-1 0 0,-13 0 16,14 0-16,-14 0 0,14 0 0,-14-13 16,0 13-16,0 0 0,0 0 0,1 0 15,-1 0-15,0 0 16,0 0-1,1 0-15,-1 0 32,0 0-17,0 0 48,1-13-48,-1-1 1</inkml:trace>
  <inkml:trace contextRef="#ctx0" brushRef="#br0" timeOffset="18773.82">7078 3082 0,'26'14'63,"1"-14"-63,-14 0 0,0 13 16,13-13-16,1 0 0,-1 0 15,14 13-15,0-13 0,13 0 0,0 0 16,13 0-16,0 0 0,13 0 0,14 0 15,-14 0-15,14 0 0,-1-13 16,14 13-16,0 0 0,0 0 16,0 0-16,-14-13 0,14 13 0,-13 0 15,13 0-15,-1 0 0,-12 0 16,0-14-16,-1 14 0,1 0 0,-14 0 16,-13 0-16,14 0 0,-14 0 0,-13 0 15,0 0-15,0 14 0,-14-14 16,1 0-16,-14 0 0,1 0 0,-1 0 15,-12 0-15,12 0 0,-13 0 0,1 0 16,-1 0-16,0 0 0,0 0 16,0 0-1,-39-14 63</inkml:trace>
  <inkml:trace contextRef="#ctx0" brushRef="#br0" timeOffset="19793.22">11880 3029 0,'39'0'16,"-25"0"-16,12 0 0,1 0 0,12 0 16,14 0-16,-13 0 0,13 14 0,-13-14 15,12 0-15,1 0 16,-13 0-16,13 13 0,-13-13 0,-1 0 16,1 0-16,-14 0 0,14 0 0,-13 0 15,-1 0-15,1 0 0,-1 13 16,-13-13-16,14 0 0,-14 0 0,0 0 15,0 0-15,1 0 0,-1 0 16,0 0-16,0 0 16,1 0-16,-1 0 31,0 0-15,-13 13-1</inkml:trace>
  <inkml:trace contextRef="#ctx0" brushRef="#br0" timeOffset="24111.76">13719 2619 0,'-14'0'32,"1"0"-17,0 14-15,0-1 31,-1 0-15,14 0 0,-13-13-16,13 14 15,-13-14-15,13 13 16,-13 0 0,13 0-1,0 0 1,-13 1-1,13-1 1,0 0-16,0 0 0,0 1 16,0-1-16,0 0 0,0 0 15,0 1-15,0-1 0,0 0 16,0 0-16,0 0 0,0 1 0,-14 12 16,28-13-16,-14 1 0,0-1 0,0 0 15,0 0-15,0 0 0,0 1 16,0-1-16,0 0 0,13 0 15,-13 1-15,13-1 32,0 0-17,0-13-15,1 13 16,-1-13 0,0 0-16,0 0 15,1 0 1,-1 0-16,0 0 15,0 0-15,1 0 0,-1 0 16,0 0-16,0 0 0,0 0 0,1-13 16,12 13-16,-13 0 0,14 0 15,-14 0-15,14 0 0,-1 0 16,0 0-16,1 0 0,-1 0 0,1 0 16,13 0-16,-14-13 0,14 13 15,-14 0-15,14 0 0,-14 0 0,14 0 16,-14 0-16,14 0 0,0 0 0,-14 0 15,14 0-15,0 0 0,-14 0 16,14 0-16,-14-13 0,14 13 0,-14 0 16,14 0-16,-13 0 0,12 0 15,-12 0-15,12 0 0,-12 0 16,12-14-16,-12 14 0,13 0 0,-14 0 16,1 0-16,12 0 0,-12-13 0,-1 13 15,1 0-15,-1 0 0,-13 0 16,14 0-16,-1 0 0,-13 0 0,14 0 15,-14-13-15,0 13 0,1 0 0,12 0 16,-13 0-16,1 0 0,-1 0 16,0 0-16,0 0 0,14 0 0,-14 0 15,0 0-15,0 0 0,1 0 0,-1-13 16,0 13-16,0 0 0,1 0 16,-1 0-16,0 0 0,0 0 0,0 0 15,1 0-15,-1 0 0,0 0 16,0 0-16,1 0 0,-1 0 15,0 0-15,13 0 0,-12 0 16,-1 0-16,0 0 0,14 0 0,-14 0 16,0 0-16,14 0 0,-14 0 15,13 0-15,-13 0 0,14 0 0,-14 0 16,14 0-16,-1 0 0,-13 0 0,14 0 16,-1 0-16,1 0 0,-1 13 15,1-13-15,-14 0 0,13 0 0,1 0 16,-1 0-16,1 0 0,-14 0 0,13 13 15,1-13-15,-1 0 0,1 0 16,-14 0-16,13 0 0,1 13 16,26-13-16,-40 0 0,13 0 15,1 0-15,-14 0 0,0 0 16,14 14-16,-14-14 0,14 0 0,-14 0 16,13 0-16,-13 0 0,1 0 0,12 0 15,-13 0-15,14 13 0,-14-13 16,14 0-16,-14 0 0,0 0 0,13 0 15,-12 0-15,12 0 0,1 0 16,-1 0-16,-13 13 0,0-13 16,14 0-16,-14 0 0,14 0 15,-14 0-15,13 0 0,14 0 16,-27 0-16,14 0 0,-14 0 0,13 0 16,-12 13-16,-1-13 0,13 0 15,-12 0-15,-1 0 0,0 0 0,13 0 16,-12 0-16,-1 0 0,0 0 15,14 0-15,-14 0 0,0 0 0,0 0 16,0 0-16,14 0 0,-14 0 0,0 0 16,14 0-16,-14 0 0,0 0 0,14 0 15,-1 0-15,1 0 0,-1 0 16,-13 0-16,14 14 0,-1-14 16,1 0-16,-1 0 0,-13 0 0,14 0 0,-1 0 15,1 0-15,-1 0 16,1 0-16,26 0 0,-14 0 15,-12 0-15,13 0 0,-14 13 0,14-13 16,-1 0-16,1 0 0,0 0 16,-14 0-16,27 0 0,-13 0 0,-14 13 15,14-13-15,-14 0 0,14 0 0,-13 0 16,-1 0-16,14 0 16,-14 0-16,1 13 0,-1-13 0,14 0 0,-14 0 15,14 0-15,-14 0 0,1 0 16,-1 0-16,14 13 0,-14-13 15,1 0-15,-1 0 0,1 0 0,-1 0 0,1 0 16,-14 0-16,13 0 0,1 0 16,-1 14-16,1-14 0,-14 0 15,40 0-15,-27 0 0,-12 0 16,-1 0-16,13 0 0,1 0 0,-14 0 16,13 0-16,1 0 0,-1 0 15,1 0-15,-14 0 0,13 0 16,1 0-16,-1-14 0,1 14 0,-1 0 0,1 0 15,-1-13-15,14 13 0,-14 0 16,1-13-16,-1 13 0,1-13 0,-14 13 16,13-13-16,1 13 0,-14-14 0,14 14 15,-14-13-15,13 13 0,-13-13 16,1 0-16,12 13 0,-13-14 16,1 14-16,-1-13 0,13 0 0,-12 13 15,-1-13-15,0-1 16,0 1-16,0 13 0,-13-13 15,14 13-15,-1-13 0,-13 0 0,13 13 16,0-14-16,-13 1 0,14 13 16,-14-13-16,0 0 0,13-1 15,0 1-15,-13 0 0,0 0 16,0 0-16,0-1 0,0 1 0,0 0 16,0 0-16,0-1 15,0 1-15,0 0 0,0 0 16,-13-1-16,13 1 0,0 0 15,-13 13-15,13-13 16,0 0-16,-14 13 0,14-14 0,-13 14 16,13-13-16,-13 13 0,13-13 0,-13 0 15,-1 13-15,1-14 0,0 1 16,0 13-16,-14-13 16,14 0-16,-13-1 0,12 14 0,-12-13 15,-1 0-15,14 13 16,-13-13-16,-1 13 0,14-13 15,-13 13-15,-1 0 0,1-14 0,-27 1 16,26 13-16,1-13 0,-1 13 16,1 0-16,0-13 0,-1 13 15,-26-14-15,27 14 0,-1 0 16,-26-13-16,27 13 0,-14-13 16,14 13-16,-1 0 0,-12 0 15,12-13-15,-13 13 0,14 0 0,-27 0 16,27-14-16,-14 14 0,13 0 0,-12 0 15,12 0-15,1 0 0,-14 0 16,14-13-16,-40 13 0,39 0 16,-13 0-16,-13 0 15,14-13-15,12 13 0,1 0 16,-1 0-16,-12 0 0,-14 0 16,13 0-16,14 0 0,-40 0 15,26-13-15,13 13 0,-12 0 16,12 0-16,-12 0 0,12 0 15,-13 0-15,14 0 0,-14 0 0,-13 0 16,27 0-16,-14-13 0,1 13 0,12 0 16,-13 0-16,14 0 0,-1 0 0,-39 0 15,40 0-15,-1 0 0,1 0 16,-1 0-16,1 0 0,0-14 16,-1 14-16,-13 0 0,14 0 15,-1 0-15,-39 0 0,40 0 16,-14 0-16,-26 0 0,40 0 15,-14 0-15,0 0 0,14 0 16,-14 0-16,-26-13 0,39 13 16,-12 0-16,12 0 0,-12 0 0,12 0 15,-12 0-15,12 0 0,-13 0 16,14 0-16,-14 0 0,14 0 0,-1 0 16,-12 0-16,12 0 0,1 0 15,-1 0-15,1 0 0,-1 0 16,1 0-16,-1 0 0,1 0 0,-1 0 0,1 0 15,0 0-15,-1 0 0,1 0 16,-1 0-16,1 0 0,-1 0 16,14 0-16,-13 0 0,-1 0 0,1 0 15,-14 0-15,14 0 0,-1 0 0,-13 13 16,14-13-16,-14 0 0,14 0 16,-40 0-16,39 0 0,-13 0 15,-12 0-15,12 14 0,13-14 16,-12 0-16,12 0 0,1 0 15,-14 0-15,14 0 0,-1 0 0,-12 0 16,12 0-16,-13 0 0,14 13 16,-14-13-16,14 0 0,-14 0 0,0 0 15,14 0-15,-1 0 0,-12 0 16,12 0-16,1 13 0,-27-13 16,26 0-16,1 0 0,0 0 15,-1 0-15,14 0 0,-14 13 0,1-13 16,13 0-16,-14 0 0,1 0 0,-14 13 15,27-13-15,-14 0 16,1 0-16,13 0 0,-27 14 16,14-14-16,-14 0 0,27 13 15,-1-13-15,-12 0 0,13 0 0,0 0 16,-1 0-16,1 13 16,-13-13-16,12 0 0,1 0 0,0 0 15,0 13-15,0-13 0,-27 0 16,27 0-16,-14 14 15,14-14-15,-14 13 16,14-13-16,0 0 0,-27 13 16,14-13-1,13 13-15,-1-13 0,1 0 0,-13 14 0,12-14 16,1 13-16,-13 0 0,-14 0 16,-13 27-16,13-14 15,14 1-15,-53 39 16,39-40-16,-39 54 0,-1-14 15</inkml:trace>
  <inkml:trace contextRef="#ctx0" brushRef="#br0" timeOffset="35096.92">18415 8678 0,'26'14'0,"-52"-28"0,66 28 0,-40-1 16,13-13-16,-13 13 0,-13 0 16,13 0-16,-14 1 0,14-1 15,-13-13-15,-13 13 0,13 0 16,-1 1-16,-12-1 0,-1 0 0,14 0 15,-13-13-15,12 14 0,1-1 0,0-13 16,0 0-16,0 13 0,-1-13 16,1 13-16,40-13 31,-14 0-31,0 0 0,0 0 16,14 0-16,-14 0 0,0 0 15,0 0-15,14 0 0,-14 0 0,0 0 16,1 0-16,-1 0 0,0 0 15,0-13-15</inkml:trace>
  <inkml:trace contextRef="#ctx0" brushRef="#br0" timeOffset="35486.37">18799 8705 0,'-14'0'0,"28"0"0,-28-13 16,1 13-16,0 0 15,0 13 1,13 0 0,0 0-1,13-13-15,-13 13 0,0 1 0,13-1 16,-13 0-16,0 0 16,13-13-16,-13 14 0,0-1 15,-13-13-15,13 13 16,-13-13-16,13 13 0,-13 1 0,-14-14 15,14 13-15,0-13 0,-14 13 16,14-13-16,0 0 0,0 13 0,-1-13 16,1 0-16</inkml:trace>
  <inkml:trace contextRef="#ctx0" brushRef="#br0" timeOffset="37039.9">19129 8797 0,'14'-26'0,"-28"52"0,41-52 15,-27 13-15,0-1 0,13 14 0,-13-13 16,0 0-16,0 0 15,0 0-15,0-1 16,-13 14 0,0 14-1,-1-14-15,14 13 0,-13 0 16,13 0-16,-13 0 0,13 1 16,0-1-16,0 0 15,0 0-15,13 1 16,0-1-16,1 0 15,-1-13-15,0 0 0,0 0 16,1 0-16,-1 0 0,13 0 16,-13 0-16,1-13 0,-1 13 15,0 0-15,0 0 0,1-13 16,-1 13-16,-13-14 16,13 14-16,-13-13 0,13 13 15,-13-13-15,14 13 16,-1-13-1,-13-1-15,13 28 47,0-14-47,-13 13 16,0 0-16,13 0 16,-13 1-1,14-14 1,-1 0-1,0 0-15,0-14 16,1 14 0,-1 0-16,0 0 15,0 0 1,0 0 0,1 0-1,-1 0-15,0 0 16,-13-13-16,13 13 0,1 0 15,-14-13 1,13 13-16,0 0 16,0 0 15,1 13-15,-1 0-1,0-13 1,0 0-16,0-13 15,1 13-15,-1 0 16,0 0-16,0-13 0,1 13 0,-14-13 16,13-1-16,0 14 0,0-13 0,-13 0 15,14 0-15,-14 0 0,0-1 16,13 14-16,-13-13 0,0 0 0,-13 0 16,13-1-16,-14 14 15,14-13-15,-13 13 16,0 0-16,0 0 31,-1 0-15,1 0-1,13-13 1,-13 13 15,13 13-15,0 0-1,-13 1-15,13-1 16,0 0-16,-14 14 0,1-1 0,0 0 16,0 1-16,0 13 0,-1-14 0,-12 14 15,13-14-15,-1 1 0,1 12 0,0-12 16,13-14-16,-13 0 0,13 14 16,-14-14-16,14 0 0,-13-13 15,13 13-15,0 1 0,-13-1 16,13 0-1,13-53 1,-13 14-16,13 0 16,14-14-16,-14 13 0,14-26 0,-14 14 15,13-14-15,1 13 0,-1 0 16,1 1-16,-1 12 0,1 1 0,-14 13 16,0-1-16,0 14 0,1-13 0,-1 13 15,0 0-15,0 13 16,0-13-16,-13 14 0,0-1 15,0 0-15,0 0 0,-13 1 0,0 12 16,0-13-16,0 0 0,-1 14 0,1-14 16,-13 0-16,12 1 0,1-1 15,0 0-15,0-13 0,-1 13 0,1 1 16</inkml:trace>
  <inkml:trace contextRef="#ctx0" brushRef="#br0" timeOffset="37685.86">20188 8361 0,'-14'26'15,"14"-12"-15,0-1 0,-13 0 16,0 13-16,13 1 0,-13-1 15,0 1-15,-1-14 0,1 13 0,13 1 16,-13-14-16,13 14 0,-13-14 0,13 0 16,0 0-16,0 1 0,0-1 15,13 0-15,-13 0 16,13-13-16,14 0 16,-27-13-16,13 13 0,0-13 0,0 13 15,0-13-15,1 13 0,-1 0 16,-13-14-16,13 14 0,0 0 15,1 0 1,-1 14-16,0-14 16,0 0-1,1 0 1,-1-14-16,-13 1 31,-13 13-15,39 0 62,-13 0-78,0 0 0,1 0 16,-1 13-16,0-13 15,-13 14-15,13-14 16,-13 13-16,14-13 15,-14 13-15,13-13 16,0 0-16,0 0 16,1 0-1,-14-13-15,13 13 0,0 0 0,0-13 16,0 13-16,1-14 16,-1 1-16,0 0 15,0 0-15,1 13 0,-14-14 16,13 1-16</inkml:trace>
  <inkml:trace contextRef="#ctx0" brushRef="#br0" timeOffset="40725.75">20254 9432 0,'-27'0'0,"-12"0"16,25 0-16,1 0 0,0 0 16,0 14-16,0-14 0,-1 0 15,14 13-15,-13 0 16,13 0-16,13-13 15,-13 14-15,14-14 0,-14 13 0,13 0 16,0 0-16,0 0 0,0-13 0,-13 14 16,14-1-16,-1-13 0,-13 13 15,13 0-15,0 1 0,-13-1 16,0 0 0,-13-13-16,13 13 0,-13-13 15,13 14-15,-13-14 0,-1 0 0,1 13 16,0-13-16,0 13 0,-14-13 0,14 0 15,0 13-15,-14-13 0,14 0 16,0 0-16,0-13 16</inkml:trace>
  <inkml:trace contextRef="#ctx0" brushRef="#br0" timeOffset="40922.25">20174 9379 0,'0'40'32,"0"-27"-32,0 14 0,0-14 15,0 14-15,0-14 0,0 13 0,0 1 16,-13-1-16,13-13 0,-13 14 0,13-1 16,0-12-16,-13 12 0,13-13 15,0 0-15</inkml:trace>
  <inkml:trace contextRef="#ctx0" brushRef="#br0" timeOffset="41141.17">20413 9499 0,'0'26'31,"-14"-13"-31,14 0 0,-13 1 16,13-1-16,-13 0 0,13 0 0,0 1 15,-13-1-15,13 0 16,0 0-16</inkml:trace>
  <inkml:trace contextRef="#ctx0" brushRef="#br0" timeOffset="41421.5">20558 9565 0,'-13'26'31,"13"-13"-15,0 1-16,13-14 16,-13 13-16,13-13 15,1 0-15,-1 0 16,0 0-16,0-13 15,1-1-15,-14 1 16,0 0 0,0 0-16,-14 13 15,14-14-15,-13 14 16</inkml:trace>
  <inkml:trace contextRef="#ctx0" brushRef="#br0" timeOffset="41619.94">20730 9565 0,'13'13'0,"1"-13"15,-1 13 1,0-26-16,0 13 16,0-13-16,1-1 15,-14 1-15,0 0 16,0-13-16,-14 12 15,1 14 1,0 0 0,0 14-16,-14-14 0,14 13 15</inkml:trace>
  <inkml:trace contextRef="#ctx0" brushRef="#br0" timeOffset="42170.01">20108 10213 0,'-13'0'0,"0"0"15,0 0 1,-1 13-16,14 0 16,0 1-1,0-1-15,14 0 0,-14 0 16,0 1-16,0-1 0,0 0 0,0 0 15,0 0-15,0 1 16,0-1-16,-14 0 0,14 0 16,-13-13-16,13 14 0,-13-14 0,0 13 15,-1-13-15,1 0 0,13 13 16,-13-13-16,0 0 16,0-13-16,13 0 0,0-1 15</inkml:trace>
  <inkml:trace contextRef="#ctx0" brushRef="#br0" timeOffset="42342.86">20122 10134 0,'13'-14'16,"-13"28"-1,0-1 1,0 0-16,0 0 16,0 0-16,0 14 0,0-14 15,-13 14-15,13-14 0,0 13 0,-14 1 16,14-1-16,-13-13 0,13 1 0,0 12 15,0-13-15,-13 1 0,26-1 16</inkml:trace>
  <inkml:trace contextRef="#ctx0" brushRef="#br0" timeOffset="42637.03">20413 10200 0,'-27'39'16,"27"-25"-16,-13-1 16,13 0-16,0 0 0,0 1 0,0-1 15,0 0-15,0 0 16,13-13-16,-13 13 16,13-13-16,1-13 15,-1 13-15,0-13 0,-13 0 16,13 0-1,-13-1-15,-13 1 0,13 0 16,-13 13-16,0-13 16,-1 13-16,1 0 15,0 0 1,0 13-16</inkml:trace>
  <inkml:trace contextRef="#ctx0" brushRef="#br0" timeOffset="43414.1">20717 10200 0,'0'-14'31,"0"1"47,13 40-16,0-27 17,-13 13-17,14-13-46,-14 13-1,13-13-15,-13 13 16,0 1-16,0-1 16,-13-13-16,13 13 0,0 0 0,-14 1 15,1-1-15,0 0 16,13 0-16,0 0 15,-13-13-15,26 14 16,0-28 0,14 14-16,-14 0 0,-13-13 15,13 13-15,0 0 0,0-13 0,1 13 16,-1 0-16,-13-13 0,13 13 16</inkml:trace>
  <inkml:trace contextRef="#ctx0" brushRef="#br0" timeOffset="43746">20294 10173 0,'0'27'15,"0"-14"-15,-14 0 0,14 0 0,0 1 16,-13 12-16,-13 53 16,26-65-16,-14 12 15</inkml:trace>
  <inkml:trace contextRef="#ctx0" brushRef="#br0" timeOffset="44274.21">19910 10914 0,'-13'-13'15,"-1"26"1,14 0 0,0 1-16,0-1 0,0 0 15,0 0-15,0 0 0,0 1 0,0 12 16,0-13-16,0 1 0,0-1 15,0 0-15,0 0 0,0 0 0,-13 1 16,13-1-16,-13 0 0,0 0 0,13 1 16,-13-1-16,-1-13 0,1 13 15,0-13-15,0 0 16,-1-13-16,14 0 16</inkml:trace>
  <inkml:trace contextRef="#ctx0" brushRef="#br0" timeOffset="44451.35">19936 10795 0,'14'13'0,"-14"40"15,-14-40-15,14 14 16,0-1-16,-13 14 0,13-14 0,-13 14 16,0-13-16,13-1 0,-14 0 0,14 1 15,-13-14-15,13 14 0,-13-14 16,13 0-16,0 0 0,0 1 0,0-1 15</inkml:trace>
  <inkml:trace contextRef="#ctx0" brushRef="#br0" timeOffset="44678.91">20227 10914 0,'-13'27'32,"0"-14"-32,13 0 15,0 0-15,-13-13 0,13 13 16,-14 1-16,14-1 0,0 0 0,-13 0 16,13 1-16,0-1 0,0 0 0,0 0 15,0 0-15</inkml:trace>
  <inkml:trace contextRef="#ctx0" brushRef="#br0" timeOffset="44937.42">20320 11086 0,'13'0'32,"0"0"-1,1 0-16,-1 0-15,0-13 16,0 0-16,-13-1 16,0 1-1,0 0-15,-13 13 16,13-13-16,-13 13 16,0 0-1,-1 0 1</inkml:trace>
  <inkml:trace contextRef="#ctx0" brushRef="#br0" timeOffset="45194.61">20558 10941 0,'0'0'0,"13"0"0,1 13 15,-1 0 1,-13 0-1,0 0-15,0 1 16,0-1-16,13 0 0,-13 0 16,0 1-16,0-1 15,0 0-15,0 0 16,0 0-16,0 1 0,-13-1 0,0 0 16,13 0-16,-14-13 0,1 14 15,0-1-15,0 0 0,13 0 0,-14 1 16,-12 12-16,13-26 0</inkml:trace>
  <inkml:trace contextRef="#ctx0" brushRef="#br0" timeOffset="45986.11">20241 11456 0,'-14'27'32</inkml:trace>
  <inkml:trace contextRef="#ctx0" brushRef="#br0" timeOffset="46117.07">20227 11761 0,'-13'13'0</inkml:trace>
  <inkml:trace contextRef="#ctx0" brushRef="#br0" timeOffset="46266.44">20201 12025 0,'-13'0'16,"26"0"-16,-26 14 0,13-1 15,0 0 1</inkml:trace>
  <inkml:trace contextRef="#ctx0" brushRef="#br0" timeOffset="47758.87">21312 9327 0,'27'0'31,"-14"0"-31,0 0 0,-13 13 0,13 0 16,-13 0-16,0 14 15,14-14-15,-14 27 0,13-1 0,-13 1 16,13 0-16,-13-1 0,0 14 0,0 0 16,13-13-16,-13 13 15,0 0-15,0 0 0,0-14 0,13 14 16,-13 0-16,0 13 0,0-13 0,0 0 16,0 0-16,0 0 0,14 13 15,-14-13-15,0 13 0,0 0 16,13 0-16,-13-13 0,13 14 0,-13-15 0,13 15 15,-13-14-15,14 13 0,-14 0 16,13-27-16,-13 28 0,0-14 0,0-14 16,0 14-16,13 0 0,-13 0 0,0-13 15,0 13-15,13-14 0,-13 14 16,0-13-16,0 0 0,0-1 16,0-12-16,0-1 0,0 1 0,0-1 15,-13 1-15,0-1 0,0 0 0,-1-12 16,14 12-16,-26-13 0,13 14 0,-1-14 15,1 0-15,0 1 0,-13-1 16,12-13-16,1 13 0,0-13 0,0 0 16,-14 0-16,14-13 15,0 0-15,13-1 0,-14 1 0</inkml:trace>
  <inkml:trace contextRef="#ctx0" brushRef="#br0" timeOffset="48202.9">22053 10186 0,'13'27'31,"-13"-14"-31,0 0 16,-13 1-16,13 12 0,0-13 0,0 1 16,-13-1-16,13 13 0,0-13 15,-13 1-15,13-1 0,0 0 0,-14 0 16,14 1-16,0-1 0</inkml:trace>
  <inkml:trace contextRef="#ctx0" brushRef="#br0" timeOffset="48754.25">22199 10292 0,'-14'27'15,"14"-1"1,0-13 0,14 1-16,-1-1 15,0-13-15,0 0 16,0-13-16,1 13 16,-1-14-16,-13 1 15,0 0-15,0 0 16,0 0-16,0-1 0,0 1 15,0 0-15,-13 13 0,13-13 16,-14-1-16,1 1 31,40 13 1,-14 0-17,0 13-15,0-13 16,-13 14-16,14-14 0,-14 13 15,13 0-15,0-13 16,-13 13-16,13 1 16,1-1-16,-1-13 0,0 0 15,0 13-15,0-13 16,1 0-16,-1-13 0,0 13 0,0 0 16,1 0-16,-1-13 0,0-1 15,0 1-15,-13 0 16,0 0-16,0-1 0,0 1 15,-13 13-15,-13 0 16,12 0 0,1 13-16,0-13 0,0 14 0,-14-1 15,14 0-15,-13 14 0</inkml:trace>
  <inkml:trace contextRef="#ctx0" brushRef="#br0" timeOffset="49198.63">22119 10888 0,'0'39'15,"0"-25"-15,0-1 16,0 13-16,0-13 16,0 14-16,-13-1 0,13-12 0,0 12 15,0 0-15,-13 1 0,13-1 0,0 1 16,0-14-16,0 14 0,-14-14 16,14 13-16,0-13 0,0 1 0,0-1 15,0 0-15,0 0 0,0 1 16,0-1-16</inkml:trace>
  <inkml:trace contextRef="#ctx0" brushRef="#br0" timeOffset="49522.8">21974 11298 0,'0'26'15,"13"-13"-15,-13 1 0,0-1 16,0 0-16,0 0 0,0 1 16,13-1-16,-13 0 0,0 0 0,13-13 15,-13 13-15,14-13 16,-14 14-16,13-14 0,0 0 15,13 0-15,-12-14 0,-1 14 0,0-13 16,0 0-16,1 0 16,12 0-16,-13 13 0,1-14 0,-1 1 15,0 0-15,0 0 0,0 13 16</inkml:trace>
  <inkml:trace contextRef="#ctx0" brushRef="#br0" timeOffset="50002.65">21974 12065 0,'0'53'31,"-14"-40"-15,14 0-16,0 14 0,0-14 15,-13 0-15,13 14 0,0-14 0,-13 0 0,13 14 16,0-14-16,0 0 16,0 0-16,-13 1 0,13-1 0,0 0 15</inkml:trace>
  <inkml:trace contextRef="#ctx0" brushRef="#br0" timeOffset="50312.99">22172 12078 0,'13'13'32,"-13"1"-32,0-1 15,0 13-15,0-12 0,0-1 16,0 0-16,-13 0 0,13 14 0,0-14 16,0 0-16,-13 0 0,13 1 15,0-1-15,-13 0 0</inkml:trace>
  <inkml:trace contextRef="#ctx0" brushRef="#br0" timeOffset="50612.68">22423 12091 0,'-13'0'0,"-13"0"16,-14 27 15,27-14-31,13 0 0,0 1 16,13-1-16,-13 0 0,0 0 16,0 1-16,0-1 0,13 0 15,-26 13 1,13-12-16,-13-1 0,13 0 0,-13 0 0,-1 1 15,1-14-15,-13 13 0,12-13 16,1 13-16,-13-13 0,13 0 16,-1 0-16,1 0 0</inkml:trace>
  <inkml:trace contextRef="#ctx0" brushRef="#br0" timeOffset="51049.77">21828 12078 0,'0'-13'0,"0"26"0,-13-26 15,0 26 1,-1-13-16,14 13 16,0 1-16,-13-1 15,13 0-15,0 0 0,0 1 0,0-1 16,0 0-16,0 0 0,0 14 15,0-14-15,0 0 0,0 0 16,0 1-16,0-1 0,0 0 0,0 0 16,-13 1-16,13-1 0,0 0 15,-13 0-15,13 0 0,-13 1 16,-1-1-16,1-13 16,0 13-16,0-26 15</inkml:trace>
  <inkml:trace contextRef="#ctx0" brushRef="#br0" timeOffset="51214.81">21855 12105 0,'-14'53'0,"14"-40"0,-39 106 15,25-79 1,1-14-16,0 14 0,0-14 0,13 1 15,-13-1-15,13-13 0,0 1 16</inkml:trace>
  <inkml:trace contextRef="#ctx0" brushRef="#br0" timeOffset="52120.9">21908 10266 0,'-14'-13'0,"-39"13"32,40 0-32,0 0 15,0 0-15,-1 0 0,14 13 16,-13-13-16,13 13 0,-13 0 0,0 1 16,13-1-16,0 0 15,0 0-15,-13 0 0,13 1 0,0-1 16,0 0-16,-14 0 0,14 1 0,0-1 15,-13 0-15,13 0 0,-13 1 16,0-14-16,13 13 0,-14 0 16,1-13-16,0 0 0</inkml:trace>
  <inkml:trace contextRef="#ctx0" brushRef="#br0" timeOffset="52281.81">21815 10266 0,'-27'79'0,"54"-158"0,-67 198 0,27-66 0,0 0 15,-14 0-15,14 13 0,-13-13 0,-1 0 16,1 0-16,12-1 16,-12 1-16,0-13 0</inkml:trace>
  <inkml:trace contextRef="#ctx0" brushRef="#br0" timeOffset="54493.59">18441 11337 0,'14'0'0,"-1"0"15,13 0 1,-12 14-16,-1-1 0,-13 0 15,13 0-15,-13 1 0,-13-1 0,13 0 16,0 0-16,-13 14 0,-1-14 16,14 13-16,-13-12 0,0-1 0,0 13 15,13-12-15,-14-14 0,14 13 0,-13 0 16,13 0-16,-13-13 0,13 13 16,13-13-1,0 0-15,1 0 16,-1 0-16,0 0 0,14 0 0,-14 0 15,0-13-15,14 13 0,-14-13 16,13 13-16,-13 0 0,1-13 16,-1 13-16,0 0 0,0 0 0,1-13 15</inkml:trace>
  <inkml:trace contextRef="#ctx0" brushRef="#br0" timeOffset="55118.67">18812 11311 0,'66'0'31,"-53"0"-15,-13 13-16,0 0 0,0 1 15,0-1-15,0 0 16,0 0-16,13-13 0,-13 14 16,14-14-16,-1 13 0,0 0 15,0-13-15,-13 13 0,14-13 16,-14 13-16,13 1 0,-13-1 16,0 13-1,-13-12-15,-1-1 0,1 0 16,0-13-16,0 13 0,-1 1 0,1-14 15,0 0-15,0 13 0,0-13 16,-14 0 0</inkml:trace>
  <inkml:trace contextRef="#ctx0" brushRef="#br0" timeOffset="55526.11">18243 11284 0,'0'0'15,"-40"53"-15,27-39 0,0 12 0,0 14 0,-1-14 16,1 14-16,13-14 0,0 1 15,0 13-15,0-14 0,13 14 16,1-1-16,-1-12 0,13-1 0,-12 1 16,12-1-16,0 1 0,1-14 0,-1 0 15,1 0-15,-14-13 0,14 0 16,-1 0-16,14 0 0,-1-13 0,1 0 16</inkml:trace>
  <inkml:trace contextRef="#ctx0" brushRef="#br0" timeOffset="55808.28">19076 11073 0,'67'26'16,"-134"-52"-16,160 65 0,-66-12 0,12 13 16,-12-14-16,12 14 0,1-1 0,-13 1 15,12 0-15,-26 0 0,1-1 0,-1 41 16,-26-41-16,13 1 16,-27 13-16,14 0 0,-13-13 0,-1 12 15,-13-12-15,14 0 0,-14-14 16</inkml:trace>
  <inkml:trace contextRef="#ctx0" brushRef="#br0" timeOffset="57890.23">22728 10332 0,'13'13'47,"0"-26"-47,0 13 15,1 0-15,-1-13 16,0 13-16,0 0 16,1 0-16,-1 0 0,0 0 15,0 0 1,0 13-1,-13 0-15,14 14 16,-14-14-16,0 0 0,0 27 16,13-14-16,-13 1 15,0-1-15,0 14 0,0 0 0,0-1 16,0 1-16,0 0 0,0-1 0,0 1 16,0 0-16,0 13 0,-13-14 15,13 1-15,0 0 0,0-1 0,0 1 16,0 0-16,0-14 0,0 1 0,0 12 15,0-12-15,0-1 0,0 1 16,0 12-16,0-12 0,0-1 0,0 1 16,0-1-16,0 1 0,0 12 15,13-12-15,-13-1 0,0 1 0,0-1 16,0 1-16,13-1 0,-13 1 0,0-1 16,13 1-16,-13-1 0,14 0 15,-14-12-15,13 12 0,-13-13 0,13 14 16,-13-14-16,13 0 0,-13 0 15,14 1-15,-14-1 0,13 0 0,-13 0 16,13 1-16,-13-1 16,13-13-16,-13 13 0,13-13 15,-13 13-15,14 1 16,-28-1 15,14 0-15,-13-13-16,0 13 0,0-13 15,-14 13-15,14 1 0,-13-14 0,-1 13 16,-13 0-16,1 0 0,-1 1 16,0-1-16,1 0 0,-1 0 0,0 1 15,1-1-15,12 0 0,-13 0 0</inkml:trace>
  <inkml:trace contextRef="#ctx0" brushRef="#br1" timeOffset="64833.5">23270 10967 0,'40'0'0,"-27"0"16,13 0-16,-12 0 0,-1 0 16,0 0-16,0 0 0,1 0 0,-1 0 15,0 0-15,0 0 0,1 0 0,-1 0 16,0 0 0,0 0-16,0 0 15,1 0 1,-1 0-16,-13-13 15</inkml:trace>
  <inkml:trace contextRef="#ctx0" brushRef="#br1" timeOffset="65200.86">23455 10808 0,'27'13'15,"-27"1"1,13-14-16,0 13 0,0 0 0,1-13 15,-1 13-15,0 1 0,0-14 0,1 13 16,-1 0-16,0 0 0,0-13 0,1 14 16,-1-1-16,-13 0 0,0 0 15,13 0-15,-13 1 16,-13-1-16,0 0 0,13 0 0,-14 1 16,1-1-16,0 0 0,0 0 15,-1 0-15,1 1 0,13-1 0,0 0 16</inkml:trace>
  <inkml:trace contextRef="#ctx0" brushRef="#br1" timeOffset="66618.14">24156 10663 0,'14'13'16,"-14"0"0,0 0-16,0 1 0,0-1 15,0 13-15,0-12 0,0-1 0,0 13 16,0-13-16,0 14 0,-14-14 0,14 14 16,0-14-16,-13 0 0,13 0 15,0 1-15,0-1 0,0 0 0,0 0 16,-13 0-1,26-13 1,14-13 0</inkml:trace>
  <inkml:trace contextRef="#ctx0" brushRef="#br1" timeOffset="67180.78">24421 10702 0,'0'0'0,"13"-13"0,-26 40 31,13-14-31,0 0 0,-13 0 15,13 1-15,0-1 0,0 0 16,0 0-16,0 0 0,0 1 16,0-1-16,0 0 0,0 0 0,13 1 15,-13-1-15,13 0 16,1-13-16,-14 13 0,13-13 0,0 0 16,0 0-16,0 0 0,1 0 15,-1-13-15,0 13 0,-13-13 16,13 13-16,1-13 0,-14-1 15,13 1-15,-13 0 0,0 0 16,0-1-16,0 1 0,0 0 0,0 0 16,0 0-16,-13 13 0,13-14 15,-14 1-15,1 13 16,0-13-16,0 13 0,-1 0 16,1 0-1,0 0-15</inkml:trace>
  <inkml:trace contextRef="#ctx0" brushRef="#br1" timeOffset="67686.52">24712 10610 0,'13'0'15,"1"0"-15,-1 0 16,0 0-16,0 13 16,0-13-16,-13 13 15,14 0-15,-14 1 16,0-1-16,0 0 15,0 0-15,0 1 0,0-1 0,0 0 16,0 0-16,0 1 0,-14-1 0,14 0 16,0 0-16,0 0 0,0 1 15,-13-1-15,13 0 0,0 0 16,0 1 0,0-1-1</inkml:trace>
  <inkml:trace contextRef="#ctx0" brushRef="#br1" timeOffset="67888.75">24712 10821 0,'27'0'16,"-14"-13"-1,0 13-15,0 0 16,0 0-16,1 0 0,-1 0 0,0 0 16,0 0-16,1 0 0,-1 0 15,0 0-15,-13 13 16</inkml:trace>
  <inkml:trace contextRef="#ctx0" brushRef="#br1" timeOffset="68302.97">24170 11311 0,'-14'26'16,"14"-12"-16,0-1 16,0 0-1,0 0-15,-13-13 0,13 14 16,0-1-16,-13-13 0,13 13 0,0 0 16,0 0-16</inkml:trace>
  <inkml:trace contextRef="#ctx0" brushRef="#br1" timeOffset="68647.7">24355 11311 0,'-13'26'47,"13"-12"-47,0-1 15,13 0-15,0 0 16,0-13 0,1 0-16,-1 0 15,0 0-15,0 0 0,1 0 16,-1 0-16,0-13 16,0 13-16,-13-13 0,13 0 15,-13-1 1,0 1-16,-13 13 15,13-13 1,-13 13-16,0 0 16,0 0-1,-1 0 1</inkml:trace>
  <inkml:trace contextRef="#ctx0" brushRef="#br1" timeOffset="69089.75">24739 11218 0,'0'-13'15,"0"40"32,0-14-47,0 0 16,0 0-16,0 0 0,0 1 15,0-1-15,-14 0 0,14 0 0,-13 1 16,13-1-16,-13-13 16,13 13-16,-13 0 0,-1-13 15,14 14-15,-13-14 0,0 0 16,26-14 15,-13 1-31,13 13 16,-13-13-16,14 13 0,-1-13 15,-13-1-15,13 1 0,-13 0 16,13 0-16,-13-1 0,0 1 16,0 0-16,0 0 15,-13 0-15,13-1 0,-13 14 16,0-13-16,-1 0 0,-12 0 15,13 13-15,-1-14 0,1 1 16,-13 13-16</inkml:trace>
  <inkml:trace contextRef="#ctx0" brushRef="#br1" timeOffset="69654.81">24156 10464 0,'-13'14'16,"26"-28"-16,-39 41 0,13-14 0,0 13 0,-14 1 15,14 13-15,-14 12 0,14 1 0,-13-13 16,12 13-16,1 0 0,0 0 15,0 0-15,13-14 0,-13 1 16,13 0-16,-14-1 0,14 1 0,0-13 0,0-1 16,0 1-16,0-14 0,0 13 15,14-13-15,-14 1 0,13-14 16,-13 13-16,13-13 0,0 13 0,0-13 16</inkml:trace>
  <inkml:trace contextRef="#ctx0" brushRef="#br1" timeOffset="70812.8">24130 10358 0,'26'-13'0,"54"0"16,-40 13-1,-1 0-15,14 0 0,-13-13 0,13 13 16,0 0-16,-14 0 0,14 0 15,0 0-15,-13 0 0,-14 0 16,14 0-16,-14 0 0,14 0 0,-13 13 16,-1-13-16,1 0 0,-1 0 0,0 13 15,-12-13-15,12 0 0,-13 13 16,1-13-16,12 14 0,-13-14 0,0 13 16,1 0-16,12 0 0,-13 1 0,1-1 15,-1 0-15,0 0 0,-13 1 16,13-1-16,1 13 0,-14-13 0,13 14 15,-13-14-15,0 14 0,0-14 0,13 13 16,-13 1-16,0-14 0,0 13 0,-13 1 16,13-14-16,0 14 15,0-1-15,0 0 0,0 1 0,-13-1 16,13 1-16,0-1 0,0 1 0,0-1 16,0 1-16,0-1 0,0 1 15,0-1-15,0 0 0,0 1 0,0-14 16,0 14-16,0-14 0,0 13 0,0-12 15,0 12-15,0-13 0,0 14 16,0-14-16,13 0 0,-13 0 0,0 1 16,0-1-16,0 0 0,0 0 0,0 1 15,0-1-15,-13 0 16,13 0-16,0 0 0,0 1 16,0-1-16,-14-13 0,14 13 15,0 0-15,-13 1 0,13-1 16,-13-13-16,13 13 15,-13 0-15,13 1 0,-14-1 16,14 0-16,-13-13 16,13 13-16,-13 0 15,13 1-15,-13-14 16,13 13-16,-14 0 16,1-13-16,0 13 15,0-13 1,0 0-16,-1 0 15,1 14-15,0-14 0,0 0 0,-1 0 16,-12 0-16,0 0 0,-1 0 16,1 13-16,-14-13 0,13 0 15,-12 0-15,-1 0 0,-13 0 0,13 0 16,-12 0-16,-1 0 0,13 0 16,-13 0-16,13 0 0,1 0 0,12 0 15,-12 0-15,-14 13 0,26-13 16,1 0-16,12 0 0,-12 0 0,0 13 15,12-13-15,1 0 0,-13 0 16,12 0-16,1 0 0,0 0 16,0 14-16,-1-14 0,1 0 0,0 0 15,0 0-15,-14 0 16,14 0-16,0 13 16,0-13-1,-1 0-15,1-13 16,0 13-16,0 0 15,13-14-15,-14 14 0,14-13 0,-13 0 16,13 0-16,0-14 0,0 14 16,0-14-16,13-12 0,-13-1 15,0 0-15,14 14 0,-14-14 0,13 14 16,-13-1-16,0 1 0,13 13 0,-13-14 16,13 14-16,1 0 15,-1 13-15,0-14 0,14 14 0,-14-13 16,0 13-16</inkml:trace>
  <inkml:trace contextRef="#ctx0" brushRef="#br1" timeOffset="71678.47">24725 11258 0,'-13'0'0,"0"0"15,13-13 1,-13 13-16,-1 0 16,14-13-1,-13-1 1,13 1-16,0 0 16,-13 0-1,13-1-15,0 1 16,0 0-16,0 0 15,0-1-15,13 1 16,-13 0-16,0 0 16,0 0-16,13-1 15,-13 1-15,14 13 16,-14-13-16,13 13 0,0-13 16,0 13-16,1 0 15,-1 0-15,0 0 0,0 0 16,0 0-16,1 0 0,-14 13 15,13-13-15,0 13 0,0 0 16,1 1-16,-14-1 16,0 0-16,0 0 15,-14 0-15,14 1 16,-13-14-16,0 13 0,0 0 0,-14-13 16,14 13-16,0 1 0,0-14 0,-1 13 15,1-13-15,0 13 0</inkml:trace>
  <inkml:trace contextRef="#ctx0" brushRef="#br1" timeOffset="75846.64">19910 13097 0,'13'-13'16,"0"13"0,-26 13 30,0 0-30,0 0 0,-1 1-16,1-1 15,0-13-15,13 13 0,-13 0 16,13 0 0,0 1-1,13-14-15,-13 13 0,13-13 0,0 0 16,1 13-16,-1-13 0,0 13 15,0-13-15,1 0 0,-1 14 16,0-1-16,-13 0 16,13-13-16,-13 13 0,0 1 15,-13-14-15,13 13 0,0 0 16,-13-13-16,0 13 0,-1 0 16,1-13-16,0 14 0,0-14 15,-1 0-15,1 0 0,0 0 16,-13 0-1,26-14-15,-14 14 0,14-13 0,0 0 16,0 0-16</inkml:trace>
  <inkml:trace contextRef="#ctx0" brushRef="#br1" timeOffset="76038.72">19963 12991 0,'0'0'16,"-13"27"-1,13-14-15,0 0 16,0 13-16,0 1 0,-14-14 0,14 14 0,0-1 16,-13 14-16,13-1 0,0-12 15,-13-1-15,13 1 0,0-14 16,0 13-16,0 1 0,0-14 0,0 0 16,0 1-16,13-1 0</inkml:trace>
  <inkml:trace contextRef="#ctx0" brushRef="#br1" timeOffset="76989.75">20227 13123 0,'27'14'31,"-14"-14"-31,0 13 16,-13 0-16,0 0 0,0 0 16,0 1-16,-13-1 0,13 0 0,-13 0 15,0 14-15,13-14 0,-14 0 16,1 1-16,0-1 0,13 0 0,-13 0 15,-1 0-15,14 1 16,-13-14-16,13 13 16,13 0 15,14-26-15,-14 13-16,0-13 0,1 13 15,-1-14-15,0 1 0,14 0 0,-1 13 16,-13-13-16,0 0 0,14-1 15,-14 1-15,0 0 0,1 0 0,-1 13 16,0-14-16,0 1 0,1 0 31,-28 39 16,14-12-47,0-1 0,14-13 16,-14 13-16,13-13 0,0 0 15,-13 13-15,13-13 0,0 0 16,1 0-16,-14-13 0,13 13 16,0 0-16,-13-13 0,0 0 31,0-1-31,0 1 16,-13 13-16,13-13 0,-13 13 15,-1 0 1,14-13-16,-13 13 15</inkml:trace>
  <inkml:trace contextRef="#ctx0" brushRef="#br1" timeOffset="77262.67">20598 13176 0,'0'0'0,"26"0"0,-12 0 16,-1 0-1,0 0-15,-13 13 16,0 1-16,13-1 15,-13 0-15,0 0 16,13-13-16,-13 14 0,14-1 16,-1-13-16,13 13 15,-12-26 1,-1 13 0,0-13-16,-13-1 15,0 1 1,0 0-16,-13 0 15,0 13 1,-1 0-16,1 0 16,0 0-16,0 0 15</inkml:trace>
  <inkml:trace contextRef="#ctx0" brushRef="#br1" timeOffset="77582.56">20929 13150 0,'13'13'16,"-13"0"0,0 0-16,0 1 15,0-1-15,0 0 16,0 0-16,13-13 0,0 14 15,0-14 1,1 0-16,-1-14 16,0 1-1,-13 0 1,0 0-16,-13-1 0,13 1 16,-13 13-16,13-13 0,-14 13 15,1 0-15,0-13 0,0 13 0,0 0 16,-1 13-16,1-13 0,-13 0 0,12 13 15,-12-13-15</inkml:trace>
  <inkml:trace contextRef="#ctx0" brushRef="#br1" timeOffset="78193.78">19963 13785 0,'-13'0'15,"26"0"-15,-40 0 0,1 0 0,13 0 16,-1 13 0,1-13-16,0 0 0,0 13 15,0 0-15,13 1 16,13-1 0,0 0-1,0-13-15,0 13 0,1-13 16,-1 14-16,0-14 0,-13 13 15,13-13-15,1 13 0,-14 0 16,13-13-16,-13 14 0,0-1 16,0 0-16,-13 0 15,13 0-15,-14-13 0,14 14 16,-13-1-16,0-13 0,0 13 0,-1-13 16,1 0-16,0 13 0,0-13 15,0 0-15,-14 0 16,27-13-16,-13 13 0,13-13 15</inkml:trace>
  <inkml:trace contextRef="#ctx0" brushRef="#br1" timeOffset="78434.89">19936 13520 0,'-13'40'0,"13"-27"0,0 0 15,0 14-15,0-1 0,0 14 16,-13 0-16,13-1 0,0 1 0,0 0 16,0-1-16,0-12 0,0 13 0,0-1 15,0-12-15,0-1 0,13 1 16,-13-1-16,0 1 0,0-1 0,13-13 16,-13 14-16,0-14 0,0 0 0,0 0 15,14-13-15</inkml:trace>
  <inkml:trace contextRef="#ctx0" brushRef="#br1" timeOffset="80042.66">20254 13824 0,'0'-13'15,"0"26"-15,13-26 0,-13 0 16,13 13-16,1 13 15,-1-13-15,0 0 0,-13 13 0,13-13 16,-13 14-16,13-1 0,-13 0 16,0 0-16,0 1 0,-13 12 15,13-13-15,-13 1 0,0-1 0,13 0 16,-13 0-16,-1 0 0,1 1 16,13-1-16,-13 0 0,0 0 15,-1-13-15,14 14 0,0-1 31,14 0 1,-1-26-32,0 13 15,0 0-15,1 0 0,-1-13 16,0 13-16,-13-14 0,13 14 0,0 0 16,1-13-16,-1 13 15</inkml:trace>
  <inkml:trace contextRef="#ctx0" brushRef="#br1" timeOffset="81372.88">20492 13772 0,'26'13'46,"-12"-13"-30,-1 0 0,0 0-1,0 0 17,-39 0 61,26 13-77,0 0 15,13-13-31,-13 13 0,13 1 16,1-1-16,-1-13 0,-13 13 15,13 0-15,-13 1 0,13-14 16,-13 13-16,0 0 0,14 0 0,-14 1 16,0-1-16,0 0 0,-14-13 0,14 13 15,-13 0-15,13 1 16,-13-1-16,0 0 0,-1 0 16,1-13-16,13 14 0,-13-14 0,0-14 46,26 1-46,0 0 16,0 0-16,1-14 16,-1 27-16,0-26 0,0 13 0,1-1 15,-14 1-15,13 0 0,-13 0 16,0-1-16,13 1 0,-13 0 16,0 0-16,-13-1 0,13 1 15,-13 0-15,-1 13 16,14-13-16,-13 13 15,0 0-15,0 0 16,-1 0 0</inkml:trace>
  <inkml:trace contextRef="#ctx0" brushRef="#br1" timeOffset="81671.69">20717 13772 0,'13'0'15,"-26"0"-15,26 13 16,-13 0-16,0 0 16,0 0-16,0 1 0,13-14 0,-13 13 15,0 0-15,0 0 0,14 1 16,-1-1-16,-13 0 16,13-13-16,0 0 0,0 0 15,1 0-15,-1-13 16,0 0-16,-13-1 15,0 1 1,0 0-16,-13 0 16,13-1-16,-13 14 15,13-13-15,-14 13 0,14-13 16,-13 13 0,13-13-1</inkml:trace>
  <inkml:trace contextRef="#ctx0" brushRef="#br1" timeOffset="81929.95">20889 13838 0,'0'13'0,"26"13"16,-12-12-1,-1-14 1,0 0-16,0 0 0,0 0 15,1-14-15,-1 14 16,-13-13-16,13 0 0,-13 0 16,0-1-1,-13 1-15,0 13 16,-1-13-16,1 13 0,0 0 16,0 0-16,0 0 0,-1 13 15,1-13-15,0 0 16</inkml:trace>
  <inkml:trace contextRef="#ctx0" brushRef="#br1" timeOffset="84037.74">18362 13573 0,'13'-13'0,"14"-14"16,-14 27-16,0-13 15,0 13-15,1 13 16,-1 1-16,-13-1 0,0 0 16,0 0-16,0 1 15,-13 12-15,13-13 0,-14 0 0,1 1 16,0 12-16,0-13 0,0 1 0,13-1 16,-14 0-16,1 0 15,13 1-15,-13-14 0,13 13 16,13-13-1,0 0 1,1 0-16,-1 0 16,0 0-16,0-13 0,0 13 15,1 0-15,-1-14 16,0 1-16,-13 0 16</inkml:trace>
  <inkml:trace contextRef="#ctx0" brushRef="#br1" timeOffset="84336.63">18190 13282 0,'0'0'0,"-26"13"0,12-13 0,1 14 0,0-1 16,0 0-16,0 0 0,-1 0 0,14 14 16,-13-14-16,13 14 0,-13-1 15,13 1-15,0-1 0,0 0 0,0 14 16,13 0-16,-13-1 0,13 1 0,1-13 16,-1-1-16,13 14 15,-13-14-15,14-13 0,-1 14 0,1-14 16,-1 0-16,1 1 0,-1-14 0,-13 13 15,14-26-15,-14 13 0,14 0 16</inkml:trace>
  <inkml:trace contextRef="#ctx0" brushRef="#br1" timeOffset="84618.23">18666 13295 0,'80'106'32,"-67"-79"-32,0 12 0,0 1 15,-13-14-15,14 14 0,-14 0 0,-14-1 16,14 1-16,0 0 0,-13-14 15,0 14-15,0 0 0,-1-14 0,14 14 16,-13-14-16,0 1 0,0-14 0,13 0 16,-13 0-16</inkml:trace>
  <inkml:trace contextRef="#ctx0" brushRef="#br1" timeOffset="86192.9">17873 11708 0,'-67'0'0,"-184"13"15,211-13 1,-13 13-16,14-13 0,-1 14 16,0-14-16,14 13 0,13-13 0,-27 13 15,27 0-15,0 0 0,13 1 16,-14-1-16,14 0 0,-13 14 16,13-14-16,0 13 0,-13 14 0,13-14 15,0 14-15,0 13 0,0-13 0,-13 13 16,13 0-16,0-1 0,0 15 15,0-1-15,0 0 0,-14 0 0,14 13 16,-13 1-16,0-1 0,0-13 16,0 27-16,-1 0 0,-12-1 0,13-13 0,-1 1 15,1-1-15,-13 1 16,12-1-16,1-13 0,0 0 0,0-13 16,0 13-16,13-26 0,-14 0 0,14-1 15,0-12-15,0-1 0,0-12 16,0 12-16,0-13 0,14 14 15,-1-14-15,0-13 0,0 13 0,0 0 16,1-13-16,12 14 0,1-14 0,-1 13 16,14-13-16,-14 0 0,14 0 15,13-13-15,-13 13 0,-1-14 16,14 14-16,-13-13 0,-1 0 0,-12 0 16,-1 13-16,1-14 0,-14 1 15,0 0-15,1 0 0,-14 0 0,0-1 16,0-12-16,-14 13 0</inkml:trace>
  <inkml:trace contextRef="#ctx0" brushRef="#br1" timeOffset="86758.76">15571 12846 0,'13'-14'0,"0"14"16,14 0-16,-14 0 15,0 14-15,0-1 16,-13 0-16,0 0 0,0 0 15,0 14-15,-13-14 0,0 14 0,13-14 16,-27 13-16,14 1 0,0-14 0,0 0 16,0 0-16,-1 1 0,1-1 15,0 0-15,0 0 0,-1 1 16,54-28 31,-27 14-47,14-13 15,-14 13-15,0 0 0,0 0 0,1-13 16,-1 13-16,0-13 0,0 13 16,1 0-16,-1-14 0,0 14 15,-13-13-15</inkml:trace>
  <inkml:trace contextRef="#ctx0" brushRef="#br1" timeOffset="87118.81">16007 12806 0,'-26'0'0,"52"0"0,-65 13 15,25-13-15,1 13 0,0-13 16,0 0-16,13 14 0,-14-14 0,1 13 15,13 0-15,13-13 16,-13 13 0,14 0-16,-1 1 0,0-14 15,-13 13-15,13 0 0,1 0 16,-14 1-16,13-14 0,-13 13 16,0 0-16,0 0 15,0 1-15,-13-14 0,-1 13 0,1 0 16,0-13-16,0 0 15,-1 13-15,1-13 0,-13 0 0,13 0 16,-1 0-16,1 0 0,0 0 0,0 0 16,-1 0-16,1 0 0</inkml:trace>
  <inkml:trace contextRef="#ctx0" brushRef="#br1" timeOffset="88024.77">15412 13070 0,'-13'-13'15,"-14"13"-15,14 0 16,0 0-16,-14-13 0,14 13 0,-13-13 15,-1 13-15,-12-13 0,-1-1 0,13 14 16,-26-13-16,14 0 0,-1 13 16,-13-13-16,0 13 0,14 0 0,-14-14 15,0 14-15,0 0 0,0 0 0,0-13 16,13 13-16,-13 0 0,0 0 0,14 0 16,-1 0-16,0 0 0,14 0 15,-14 0-15,14 0 0,-14-13 0,14 13 16,-14 0-16,14 13 0,-1-13 0,1 0 15,-1 0-15,1 0 0,12 0 16,-12 0-16,13 0 0,-14 13 0,14-13 16,0 0-16,-14 14 0,14-14 15,0 13-15,0 0 16,-1-13-16,1 0 0,13 13 0</inkml:trace>
  <inkml:trace contextRef="#ctx0" brushRef="#br1" timeOffset="88870.71">13996 12819 0,'-13'-13'15,"-13"13"-15,13 0 16,-1 13-1,1-13-15,0 0 0,0 0 0,-1 13 16,1-13-16,0 0 0,0 14 0,-1-14 16,1 0-16,0 13 0,0-13 15,0 13-15,-1-13 16,14 13-16,-13-13 0,0 13 16,0 1-1,-1-14-15,14 13 16,-13 0-1,13 0 1,0 1-16,0-1 16,13-13-16,-13 13 0,0 0 0,14 1 0,-14-1 15,13 0-15,0-13 0,0 26 16,1-12-16,-1-1 0,0 0 16,13 0-16,-12 1 0,12-1 0,-13 13 15,1-13-15,12 1 0,-13-14 16,1 13-16,-1 0 0,0 0 15,0 1-15,-13-1 0,13-13 16,-13 13-16,-13 0 31</inkml:trace>
  <inkml:trace contextRef="#ctx0" brushRef="#br1" timeOffset="91870.85">11390 12951 0,'14'80'31,"-14"-67"-15,0 13-16,0-12 0,0 12 0,0 1 15,0-1-15,0 0 0,0 1 16,0-1-16,-14 1 0,14-14 0,0 14 15,0-14-15,-13 0 0,13 0 0,0 0 16,0 1-16,0-1 16</inkml:trace>
  <inkml:trace contextRef="#ctx0" brushRef="#br1" timeOffset="92390.68">11549 13004 0,'-13'14'0,"39"-14"31,-12 0-31,-1 0 0,0 0 16,13 0-16,-12-14 0,12 14 15,-13 0-15,14-13 0,-14 13 0,0 0 16,1 0-16,-1-13 0,0 13 0,0 0 16,0 13-16,1-13 15,-1 13-15,-13 1 16,13-1-16,-13 0 0,0 0 16,0 0-16,0 14 0,0-14 15,0 0-15,0 1 0,0 12 0,0-13 16,-13 0-16,13 1 0,0-1 15,0 13-15,0-12 0,0-1 16,0 0-16,0 0 0,-13-13 16,13 14-16,0-1 15</inkml:trace>
  <inkml:trace contextRef="#ctx0" brushRef="#br1" timeOffset="93033.77">11655 13203 0,'26'-27'31,"-12"27"-31,-1 0 15,0-13-15,14 13 0,-14 0 0,0-13 16,13 13-16,-12 0 0,-1-13 0,13 13 16,-12 0-16,-1-14 0,0 14 15,0 0-15,0 0 0,1-13 16,-1 13-16,0 0 0,0-13 0,1 13 16,-1 0-16,0-13 0,0 13 15,1-14-15,-1 1 16,0 0 15,-26 39 16,13-12-47,0-1 16,13 0-16,-13 0 15,13 1-15,0-14 16,1 13-16,-1-13 15,13 0-15,-12-13 16,-1 13-16,0 0 0,0-14 0,1 14 16,-1-13-16,0 13 15,-13-13-15,13 13 16,-13-13-16,0-1 16,-13 1-1,13 0 1,-13 0-16,0 13 15,13-13-15,-14 13 0,14-14 16,-13 14 0,0 0-16,0 0 15,-1 14 1,14-1 0</inkml:trace>
  <inkml:trace contextRef="#ctx0" brushRef="#br1" timeOffset="93409.95">12303 13004 0,'-13'14'0,"0"-1"15,13 0-15,0 0 16,0 0-16,0 1 0,0-1 16,13-13-16,-13 13 0,0 0 0,13-13 15,-13 14-15,13-14 0,1 13 16,12-26 0,-13 13-16,0-14 0,1 14 15,-1-13-15,0 0 0,0 0 16,1-1-16,-14 1 0,0 0 0,13 0 15,-13 0-15,0-1 0,-13 14 0,13-13 16,0 0-16,-14 0 0,1-1 16,0 14-16,0 0 0,-1 0 15,1 0-15,0 0 0,0 14 16,0-14-16,-1 13 16,1-13-16,13 13 0</inkml:trace>
  <inkml:trace contextRef="#ctx0" brushRef="#br1" timeOffset="94445.93">11523 13600 0,'-14'79'31,"14"-66"-31,0 14 0,0-14 0,0 13 16,0-12-16,0 12 0,0-13 16,-13 0-16,13 14 0,0-14 0,0 0 15,0 1-15,13-1 0,-13 0 16</inkml:trace>
  <inkml:trace contextRef="#ctx0" brushRef="#br1" timeOffset="94826.93">11853 13639 0,'-13'0'0,"-13"0"16,12 13-16,-25 14 31,26-14-31,13 0 16,13 1-1,0-14-15,-13 13 16,13-13-16,0 0 0,-13 13 0,14 0 16,-14 1-16,13-1 15,-13 0-15,-13 0 16,13 0-16,0 1 0,-14-14 0,14 13 16,-13 0-16,13 0 0,-13 1 0,0-14 15,13 13-15,-13-13 16</inkml:trace>
  <inkml:trace contextRef="#ctx0" brushRef="#br1" timeOffset="95097.78">11919 13705 0,'0'0'0,"14"53"31,-1-53-31,-13 14 0,13-14 0,0 0 16,1 0 0,-1-14-16,0 14 15,-13-13-15,0 0 0,13 0 16,-26-1 0,13 1-16,-13 13 15,13-13-15,-13 13 0,-1 0 16,14-13-1</inkml:trace>
  <inkml:trace contextRef="#ctx0" brushRef="#br1" timeOffset="95326.29">12118 13719 0,'13'13'0,"14"-13"31,-14 0-31,0 0 0,0-13 0,1-1 16,-1 1-16,0 13 0,0-13 15,0 0-15,1-1 16,-14 1-16,0 0 0,0 0 16,0 0-16,0-1 0,-14 14 15,14-13-15,-13 13 0,0-13 16,0 0-16,0 13 15,-1-14-15</inkml:trace>
  <inkml:trace contextRef="#ctx0" brushRef="#br1" timeOffset="95728.82">11165 12872 0,'-39'159'16,"25"-120"-16,14 28 15,-13-15-15,0 15 16,13-1-16,-13 0 0,13 0 0,-13-13 16,-1 13-16,14-13 0,0 0 0,-13-13 15,13 13-15,0-14 0,0 1 16,-13-14-16,13-12 0,0 12 0,0-13 15,0 1-15,0-41 32</inkml:trace>
  <inkml:trace contextRef="#ctx0" brushRef="#br1" timeOffset="96398.98">10808 12793 0,'0'0'0,"13"-27"0,1 14 15,12 13-15,1-13 0,-1-1 16,27 14-16,0-13 0,13 0 16,0 0-16,14 0 0,-1 13 0,14-14 15,-1 1-15,27-13 0,-13 12 16,13-12-16,-26 13 0,-1-1 0,14-12 15,-26 13-15,-1-14 0,0 14 0,1-13 16,-14 12-16,0 1 0,-26 0 16,-1 13-16,1-13 0,-14 13 0,1-14 15,-14 14-15,0 0 0,1 0 0,-1 0 16,0 0-16,0 0 0,1 0 16,-1 14-16,0-1 15,-13 0-15,13 0 0,-13 14 0,0-14 16,13 14-16,-13-1 0,0 14 15,14-1-15,-14 14 0,0-13 0,0 0 16,0 13-16,13-14 0,-13 1 0,0 13 16,13-13-16,-13 13 0,0-14 15,13 14-15,-13-13 0,14-1 16,-14 1-16,13 0 0,-13 0 0,13-1 16,-13 1-16,0-14 0,13-12 0,-13 12 15,14 1-15,-14-14 0,0 13 16,0-13-16,0 1 0,0-1 0,0 0 15,0 0-15,0 1 0,0-1 16,-14-13-16,14 13 16,-13-13-16,0 0 0,0 13 0,-1-13 15,-12 0-15,-27 13 0,13-13 0,-13 14 16,0-14-16,-13 13 0,0-13 0,0 13 16,-13 0-16,-1 14 0,1-14 15,0 0-15,-14 1 0,14 12 16,-80 0-16,79-12 0,1 12 15,0-13-15,-1 1 0,14 12 16,0-13-16,0 1 0,0-1 0,0 0 16,26 0-16,0-13 0,-13 13 0,14-13 15,12 14-15,-13-14 0,27 0 16,-13 0-16,13 13 0,-1-13 0</inkml:trace>
  <inkml:trace contextRef="#ctx0" brushRef="#br1" timeOffset="99893.75">21934 12991 0,'0'0'16,"-13"0"-16,-40 27 31,40-14-31,-1 0 0,1 0 16,0 0-16,0 1 0,13-1 0,-14 0 15,14 0-15,-13 1 0,13-1 16,0 0-16,0 0 0,13 0 15,1 1 1,-1-1-16,0-13 0,0 0 16,1 0-16,-1 0 0,0 0 0,0 0 15,14 0-15,-14 0 0,0-13 16,0 13-16,1-14 0</inkml:trace>
  <inkml:trace contextRef="#ctx0" brushRef="#br1" timeOffset="100204.86">22278 12991 0,'-13'-13'15,"-1"39"17,14-12-32,-13-14 15,13 13-15,0 0 0,-13 0 16,0 0-16,13 1 0,0-1 15,0 0-15,-13-13 0,13 13 0,0 1 16,0-1-16,0 0 16,0 0-1,13-13 1,0 13 0,0-13-1,0 0-15,1 0 16,-1 0-1</inkml:trace>
  <inkml:trace contextRef="#ctx0" brushRef="#br1" timeOffset="100471.29">22238 13163 0,'27'-26'0,"-1"12"32,-13 1-17,-13 0-15,0 0 16,0-1 0,0 1-1,0 0 1,0 0 15,14 13-31</inkml:trace>
  <inkml:trace contextRef="#ctx0" brushRef="#br1" timeOffset="100725.96">22490 12951 0,'-14'27'47,"14"-14"-47,-13-13 0,13 13 15,0 1-15,0 12 16,13-13-16,1-13 16,12 0-1,-13 0-15,0-13 16,1 0-16,-14 0 16,13 13-16,-13-14 15,-13 1-15,13 0 0,-14 13 16,1 0-16,0 0 15,0 0-15,0 0 0,-14 13 16,14 0-16,-14-13 0,1 27 0</inkml:trace>
  <inkml:trace contextRef="#ctx0" brushRef="#br1" timeOffset="101170.62">21762 13838 0,'-26'13'15,"12"0"-15,1 0 0,13 1 0,-13-14 16,13 13-16,-13 0 0,13 0 0,0 1 15,0-1-15,0 0 16,0 0-16,0 0 0,13-13 16,-13 14-16,13-1 0,0 0 15,1-13-15,-1 0 0,0 0 16,0 0-16,0 0 0,1-13 16,-1 13-16,13 0 0,-12-13 0,-1 13 15</inkml:trace>
  <inkml:trace contextRef="#ctx0" brushRef="#br1" timeOffset="101754.77">21974 13838 0,'13'0'31,"0"-14"-31,0 14 0,1-13 16,-1 13-16,0 0 0,0-13 16,0 0-16,1 13 0,-1-13 15,0-1-15,0 14 16,1-13 0,-1 26-1,-13 14 1,-13-27-16,13 13 15,0 0-15,0 0 0,0 1 0,-14-1 16,14 0-16,0 0 16,0 1-16,0-1 15,14-13-15,12-13 32,-13 13-32,-13-14 0,14 14 15,-14-13 1,13 13-1,-13 13 1,13-13 0,0 0-1,14 0-15,-14 0 16,-13-13-16,13 13 0,0-13 16,1 13-16,-1-13 0,-13-1 15,13 14-15,-13-13 0,13 0 0,-13 0 16,0 0-16,14 13 0,-28-14 15,14 1-15,-13 13 16,13-13-16,-13 13 16,0 0-16</inkml:trace>
  <inkml:trace contextRef="#ctx0" brushRef="#br1" timeOffset="102603.71">22913 13004 0,'26'0'16,"-52"0"-16,52-13 0,-12 13 0,-1 0 15,0 0-15,-13-13 16,13 26 0,1-13-16,-14 13 0,0 1 15,0-1-15,0 0 0,0 0 0,0 14 16,0-1-16,-14 1 0,14 12 0,0 1 16,-13 0-16,13-1 0,0 1 15,0 0-15,0-1 0,0 1 0,0 0 16,0-14-16,0 1 0,0-1 0,0 14 15,0-14-15,0 1 16,-13-1-16,13-13 0,0 14 0,0-14 16,0 0-16,0 1 0,0-1 0,0 0 15,0 0-15,-13 0 0,13 1 16,0-1-16,-14-13 0,14 13 0,-13-13 16,13 13-16,-13-13 0,0 0 0,13 14 15,-14-14-15,1 0 0,0 13 16,-13-13-16,12 0 0,1 0 15,0 13-15,0-13 0,-1 0 0,1 0 16,0 0-16,13 13 0,-13-13 0</inkml:trace>
  <inkml:trace contextRef="#ctx0" brushRef="#br1" timeOffset="104976.56">23641 13110 0,'-40'27'0,"-40"52"32,67-66-32,0 14 0,13-14 0,-13 0 15,13 0-15,-13 1 0,13-1 0,13-13 16,-13 13-16,0 0 0,13 0 16,0-13-16,0 0 0,-13 14 15,14-14-15,-1 0 0,0 0 16,0-14-16,1 14 0,-1 0 0,0 0 15,0-13-15,1 13 0,-1 0 0,0-13 16,0 13-16,-13-13 0</inkml:trace>
  <inkml:trace contextRef="#ctx0" brushRef="#br1" timeOffset="105342.78">23932 13189 0,'39'0'62,"-26"0"-62,1 0 16,-1 0-16,0 0 0,0 0 15,1 0-15,-1 0 16,0-13-16</inkml:trace>
  <inkml:trace contextRef="#ctx0" brushRef="#br1" timeOffset="105639.06">24302 13084 0,'-13'0'15,"26"0"-15,-39 0 16,12 13-16,14 0 16,0 0-16,0 1 0,-13-1 15,26 0-15,-13 0 16,-13 0-16,13 1 0,0-1 0,0 0 16,0 0-16,0 1 0,-13-1 15,-14 27 1,1-27-1,13 0-15,-1-13 0,1 13 16,0-13-16,13 13 16,-13-13-16,0 0 15</inkml:trace>
  <inkml:trace contextRef="#ctx0" brushRef="#br1" timeOffset="106534.78">24368 13229 0,'0'-13'0,"13"0"32,-39 39-1,13-13-16,13 1 1,0-1-16,0 0 16,13-13-1,0 0-15,0 0 16,1 0-16,-1-13 16,0 13-16,0-13 15,1 13-15,-14-14 0,13 14 0,0-13 16,0 13-1,0 0 1,1 13 15,12-26 1,-13 13-17,1-13-15,-1 13 16,0 0 15,-13 13-31,13-13 16,-13 13-16,13 1 31,1-14-31,-1-14 16,0 14-16,0 0 0,-13-13 15,14 0-15,-1 13 0,0-13 16,0-1-16,1 1 0,-1 0 0,0-13 15,0 12-15,14-12 0,-14-1 0,0 1 16,0 0-16,1 12 0,-1-12 16,-13 13-16,13-1 0,-13 1 0,13 13 15,-13-13-15,-13 26 32,0 0-32,0 1 15,13-1-15,-14 13 0,1-12 16,0 12-16,13-13 0,-13 0 15,13 14-15,-14-14 0,14 0 0,0 1 16,0-1-16,0 0 0,0 0 16,14 0-16,-1-13 15,0 0-15,0 0 16,1 0-16,-1-13 0,0 13 0,14-13 16,-14 13-16,-13-13 0,13 13 15,0 0-15,0 0 0,1 0 16,-1 13-1,-13 0 1,0 0 0,13-13-16,-13 14 15,13-14 1,1 0 0</inkml:trace>
  <inkml:trace contextRef="#ctx0" brushRef="#br1" timeOffset="106719.01">24897 13057 0,'-13'13'16,"40"1"15,-14-14-31,0-14 16,0 14-16,0 0 15,1 0-15,-14-13 16</inkml:trace>
  <inkml:trace contextRef="#ctx0" brushRef="#br1" timeOffset="106867.4">24646 13097 0,'0'13'0,"0"-26"0,-13 26 16</inkml:trace>
  <inkml:trace contextRef="#ctx0" brushRef="#br1" timeOffset="114251.16">19645 13229 0,'0'0'0,"-13"-13"31,0 0-31,0 13 0,-1 0 16,1 0-16,13-14 0,-13 14 0,0 0 15,-1 0-15,1 0 16,0 0-16,0 0 0,0 0 0,-1 0 15,1 14-15,0-14 16,0 0 0,13 13-16,-14-13 15,14 13-15,0 0 16,0 1 0,0-1-16,-13 0 0,26 0 15,-26 1-15,13 12 0,0 0 16,0 1-16,0 13 0,0-14 0,0 14 15,-13-1-15,13 1 0,0 0 0,-13-1 16,13 1-16,-13 0 0,13 0 16,-14-14-16,14 0 0,0 1 0,-13-14 15,13 14-15,0-14 0,-13 0 0,13 0 16,0 1-16,0-1 0,0 0 16,0 0-16,-13-13 0,13 13 15,13 1-15,0-14 31,0 0-15,1 0 0,-1-14-1,0 14 1,0 0 0,0 0-16,1 0 15,-1 0 16,-13 14-15,13-1 15,0-13-15,-13 13 0,14-26 171,-1 0-171,0 13-16,0-14 15</inkml:trace>
  <inkml:trace contextRef="#ctx0" brushRef="#br1" timeOffset="115260.76">22106 13348 0,'13'-13'15,"0"13"1,1 0-16,12 0 0,-13-13 16,14 13-16,-1 0 0,1 0 0,-1-13 15,1 13-15,-1 0 0,14 0 0,-14 0 16,1 0-16,-14-14 0,13 14 16,1 0-16,-14 0 0,0 0 15,14 0-15,-14 0 0,0 0 0,0 0 16,1 0-16,-14 14 15,0-1 1,-14-13-16,1 13 0,0-13 16,0 13-16,-14-13 0,1 13 15,13 1-15,-14-1 0,1-13 0,12 13 16,-12-13-16,13 13 0,-14-13 0,14 14 16,0-14-16,0 13 0,-1-13 15,1 0-15,0 13 0,0-13 16,-1 0-16,14 13 0,14 1 31,-1-14-31,0 0 16,0 0-16,14 0 0,-14 0 0,14 0 15,-1-14-15,-13 14 0,14 0 16,-1 0-16,1 0 0,-14-13 16,13 13-16,-13 0 0,14 0 0,-14 0 15,0 0-15,1-13 0,-1 13 16,0 0-16,0 0 0,1-13 0,-1 13 15,0 0-15,0 0 16,0 13 0,-13 0-16,0 0 0,0 1 15,-13-1-15,13 0 0,0 0 16</inkml:trace>
  <inkml:trace contextRef="#ctx0" brushRef="#br1" timeOffset="115793.01">22569 14010 0,'-27'0'31,"14"13"-31,-13 0 15,13-13-15,-1 13 0,-12 1 0,13-14 16,-14 13-16,14 0 0,-13 0 16,12-13-16,1 14 0,0-1 0,0-13 15,-1 0-15,1 13 0,0-13 0,0 13 16,-1-13-16,1 0 16,13 13-16</inkml:trace>
  <inkml:trace contextRef="#ctx0" brushRef="#br1" timeOffset="116147">22609 14049 0,'-14'14'47,"14"-1"-47,-13-13 0,13 13 15,-13-13-15,0 13 0,-1 1 16,1-1-16,0-13 16,13 13-16,-13-13 0,0 13 15,-1 0 1,1-13-16,0 14 15,0-14 1</inkml:trace>
  <inkml:trace contextRef="#ctx0" brushRef="#br1" timeOffset="120273.02">2236 4736 0</inkml:trace>
  <inkml:trace contextRef="#ctx0" brushRef="#br1" timeOffset="121693.84">3585 4485 0,'13'0'31</inkml:trace>
  <inkml:trace contextRef="#ctx0" brushRef="#br1" timeOffset="127209.93">2117 4577 0,'-14'0'32,"28"14"-1,-1-1-16,0 0-15,0-13 16,1 0-16,-1 0 0,-13 13 0,13-13 16,0 0-16,0 0 0,1 0 15,-1 0-15,0 0 0,14 0 0,-14 0 16,0-13-16,0 13 0,14 0 16,-14-13-16,0 13 0,0 0 15,1-13-15,-1 13 0,0 0 0,-13-14 16,13 14-16,1-13 0,-1 13 0,-13-13 15,13 13-15,0 0 0,-13-13 16,14 13-16,-14-14 0,13 14 0,-13-13 16,0 0-16,13 13 0,-13-13 0,0-1 15,13 14-15,-13-13 0,0 0 16,0 0-16,0 0 0,0-1 16,13 1-16,-26 0 0,13 0 15,0-1-15,0 1 16,0 0-16,0 0 0,0-1 15,0 1-15,-13 0 0,13 0 16,0 0-16,-13 13 16,13-14-16,0 1 0,-13 0 0,-1 0 15,14-1-15,-13 1 0,0 0 16,0 0 0,-40-27 30,-13 40 1,52 0-47,-197 53 94,197-53-94,-144 212 16,144-199-16,1 13 0,13 1 0,-13-14 15,13 40-15,-13-40 0,13 14 16,0-14-16,0 13 0,-13-12 16,13-1-16,0 0 0,13 0 0,-13 0 15,0 1-15,13-14 0,-13 13 16,13-13-16,0 0 0,1 0 15,-1 0-15,0 0 0</inkml:trace>
  <inkml:trace contextRef="#ctx0" brushRef="#br1" timeOffset="128746.78">8281 4286 0,'-13'-13'47,"13"0"-47,-13 13 16,13-13-16,0-1 15,-13 1-15,0 0 16,13 0-16,-14 13 0,1-27 16,0 14-16,0 0 0,-14 0 15,14-1-15,0 1 0,-1 13 16,1-13-16,0 13 0,-13-13 16,12 13-16,1-14 0,-13 14 0,12 0 15,-12 0-15,13 0 0,0-13 16,-14 26-16,14-13 0,0 0 0,-14 0 15,14 0-15,0 0 0,-14 14 0,14-14 16,0 0-16,0 13 16,-1-13-16,-25 26 0,25-26 15,1 14-15,0-1 0,0 0 0,-1 0 16,1-13-16,0 13 0,0 1 16,13-1-16,-13 0 0,-1 0 15,1-13-15,13 14 0,-13-1 0,0 0 16,-1 0-16,14 0 15,-13 1-15,13-1 0,-13 0 16,0 0-16,13 1 0,0-1 0,-14 0 16,14 0-16,0 1 15,0-1-15,0 0 0,0 0 0,0 0 16,0 1-16,0-1 0,14 13 16,-14-12-16,0-1 15,13 0-15,0 14 16,14-14-16,184 66 47,-197-79-47,131 0 31,-118 0-15,39-13-16,-13-14 15,92-65 16,-132 79-15,14-27-16,-1 0 16,-13-13-1,-13 40-15,0-13 16,0-1-16,0 14 0,-13-27 16,0 27-16,0 0 15,-27 0-15,0-14 16,27 14-16,-13 0 0,-1 13 0,-39-14 15,40 14 1,-40 0-16,26 14 16,27-1-16,-14-13 15,14 13-15</inkml:trace>
  <inkml:trace contextRef="#ctx0" brushRef="#br1" timeOffset="131953.43">2064 4577 0,'-13'27'31,"-1"-14"-31,14 0 0,-13 0 0,13 14 0,-13-1 16,0 14-16,-14 0 0,14-14 0,-14 27 16,1-13-16,13-1 0,-14 1 15,14 13-15,-13-26 0,12 12 0,-12 1 16,-1 13-16,14-27 16,0-12-16,-13 25 0,26-26 15,-14 14-15,1-14 16,13 0-16,-13 1 0,13-1 15,-13 0 1,13 0-16,-14 1 31,28-1 16,-1-13-47,27 13 16,-14-13-16,0 13 15,14-13-15,13 0 0,0 13 16,26-13-16,1 0 0,-1 0 0,0 14 16,14-14-16,-14 0 0,14 0 0,0 0 15,-14 13-15,14-13 0,-1 0 16,-12 0-16,12 0 0,1 0 0,-14 13 16,1-13-16,-1 0 0,0 0 0,-13 13 15,14-13-15,-27 0 0,0 14 16,13-14-16,-13 0 0,0 13 15,0-13-15,0 13 0,-14-13 0,1 0 0,0 13 16,-14-13-16,1 0 0,-1 13 16,-13-13-16,14 0 0,-14 0 15,0 0-15,0 0 0,1 0 0,-1 14 16,0-14-16,0 0 0,0 0 16,1 0-1,-1 0 1,0 13-16,0-13 47,1 0 0,-14-13-16,13 13-16,-13-14-15,13 1 0,-13 0 16,13 0-16,1 0 0,-1-14 16,-13 14-16,13 0 0,0-1 15,-13 1-15,13 0 0,1 13 0,-14-13 16,13 0-16,-13-1 0,13 1 0,0 0 16,-13 0-16</inkml:trace>
  <inkml:trace contextRef="#ctx0" brushRef="#br1" timeOffset="132197.97">4551 5318 0,'-13'0'47,"-1"13"-47,1 1 0,0-1 16,0 0-16,-1-13 0,1 13 16,0 1-16,0-14 0,0 13 0,-1 0 15,1-13-15,0 13 16,0-13-16,-1 0 15</inkml:trace>
  <inkml:trace contextRef="#ctx0" brushRef="#br1" timeOffset="132417.47">4445 5292 0,'13'0'0,"-13"13"0,13-13 0,-13 13 15,14-13-15,-1 13 0,0 1 0,-13-1 16,13 0-16,1-13 0,52 66 31,-53-66-31,13 13 16,-12-13-16,-14 14 0,13-14 0,0 0 16,0 0-1</inkml:trace>
  <inkml:trace contextRef="#ctx0" brushRef="#br1" timeOffset="133645.71">8480 4392 0,'-13'-13'0,"26"13"62,0 0-62,0-13 0,1 13 0,-1 0 16,0 0-16,13 0 0,-12-14 0,12 14 16,1 0-16,-1 0 0,1-13 15,12 13-15,1 0 0,0 0 16,13 0-16,-1-13 0,1 13 0,14 0 0,12-13 16,-13 13-16,13 0 0,-12 0 0,12 0 15,-13 0-15,13 0 16,1 0-16,-1 0 0,1 13 0,-1-13 15,0 13-15,1-13 0,-1 13 0,0 1 16,1-1-16,-14 0 0,13 0 16,1 1-16,-14 12 0,0-13 0,0 14 15,0-14-15,0 13 0,-13-12 0,0 12 16,13-13-16,-13 14 0,0-14 16,-13 13-16,0-12 0,-1-1 0,1 0 15,0 0-15,-14 14 0,1-27 0,-1 13 16,-13 0-16,14 0 0,-14-13 15,0 14-15,0-14 0,1 13 0,-1-13 16,0 0-16,0 13 0,1-13 16,-14 13-16,13-13 0,0 0 15,0 14 1,1-28 62,-14 1-47</inkml:trace>
  <inkml:trace contextRef="#ctx0" brushRef="#br1" timeOffset="134013.19">11523 4577 0,'26'27'31,"-26"-14"-15,13-13-16,1 13 0,-14 0 16,13 1-16,0-1 0,0 0 0,0 0 15,1 1-15,-1-1 0,0 0 0,0 0 16,1 0-16,-14 1 16,13-1-16,-13 0 0,13 0 0,0 1 15,-13-1-15,-13 0 0,13 0 16,-13-13-16,0 14 0,-1-14 15,-12 13-15,13 0 0,-14-13 0,1 13 16,-1-13-16,1 13 0,-14 1 16,0-1-16,14-13 0,0 13 0,-14 0 15,13-13-15,-12 14 0,12-1 16,-12 0-16</inkml:trace>
  <inkml:trace contextRef="#ctx0" brushRef="#br1" timeOffset="134765.64">9909 5265 0,'-14'0'0,"28"0"0,-1 13 31,13-13-31,1 0 16,26 14-16,0-14 0,13 0 0,13 13 16,14-13-16,-1 0 0,1 0 15,13 0-15,0 0 0,39 0 0,-13 0 16,1 0-16,12 13 0,1-13 0,-1 0 15,1 0-15,-14 0 0,14 0 16,-1 0-16,1 13 0,-14-13 0,0 0 16,1 14-16,-1-14 0,0 13 15,-39 0-15,13-13 0,-14 13 0,-12 1 16,12-14-16,-12 13 0,-1 0 0,0-13 16,-13 13-16,1 0 0,-28-13 15,14 14-15,-26-14 0,-1 13 16,1-13-16,-14 0 0,0 0 0,0 13 15,0-13-15,1 0 0,-41-13 32,14 13-17,0 0-15,0 0 0,-14-13 0,-26 13 16</inkml:trace>
  <inkml:trace contextRef="#ctx0" brushRef="#br1" timeOffset="136043.14">3731 5199 0,'-14'0'0,"14"13"0,27-13 31,-14 0-31,14 0 16,12 0-16,14 0 0,0 0 0,0 14 15,13-14-15,14 0 0,12 0 16,-13 0-16,14 0 0,13 0 0,-13 0 16,12 0-16,1 0 0,0 0 15,0 0-15,0 0 0,0 0 16,-1 0-16,1 0 0,0 0 0,0 0 0,0 0 15,-14 0-15,14 0 0,-13 0 0,-1 0 16,-12 0-16,-1 0 0,-13 0 16,0 0-16,-13 0 0,0 0 15,-26 0-15,12 0 0,-25 0 0,12 0 16,-13 0-16,1 0 16</inkml:trace>
  <inkml:trace contextRef="#ctx0" brushRef="#br1" timeOffset="153451.21">1508 9459 0,'66'0'16,"-26"0"-16,13 0 0,0 0 15,26 0-15,1 0 16,-1-13-16,0 13 0,1 0 0,-1-14 16,0 14-16,1-13 0,-1 13 0,1 0 15,-1-13-15,0 13 0,-13 0 16,-13-13-16,0 13 0,0 0 0,-13-14 16,0 14-16,-14 0 0,-13 0 0,14 0 15,-14-13-15,0 13 0,0 0 0,1 0 16,-1 0-1</inkml:trace>
  <inkml:trace contextRef="#ctx0" brushRef="#br1" timeOffset="154279.04">4948 9499 0,'13'26'16,"13"-26"-16,1 0 16,26 13-16,-14-13 0,14 13 15,27-13-15,-14 14 0,0-14 0,13 13 16,14-13-16,13 0 0,0 0 0,0 0 15,26 0-15,-26 0 0,-1 0 16,1-13-16,-13 13 0,13-14 0,-27 14 16,1-13-16,-1 13 0,-39 0 0,12-13 15,-25 13-15,-1 0 0,-12 0 16,-1 0-16</inkml:trace>
  <inkml:trace contextRef="#ctx0" brushRef="#br1" timeOffset="154560.71">5834 9684 0,'27'0'0,"-14"13"0,40-13 16,-14 0-16,54 0 15,-40 0-15,13 0 0,-13 0 16,13 0-16,-13 0 0,13 0 0,-13 0 16,13 0-16,-13 0 0,0 0 15,0 0-15,0 0 0,-13 0 0,-14 0 16,0 0-16,1 0 0,-1 0 0,1 0 16,-14 0-16,0 0 0,1 0 15,-1 0-15,0 0 0,0 0 16</inkml:trace>
  <inkml:trace contextRef="#ctx0" brushRef="#br1" timeOffset="155360.76">9710 9565 0,'-13'0'15,"26"0"-15,14 0 16,-14 0-16,13 0 0,1 0 16,-1 0-16,27 0 0,0-14 0,0 14 15,-13 0-15,26-13 0,-13 13 0,0-13 16,0 13-16,13 0 0,-13-13 16,0 13-16,0-13 0,26-1 15,-53 14-15,1 0 0,-1 0 16,-13-13-16,14 13 0,-14 0 0,0 0 15,1 0-15,-14-13 16</inkml:trace>
  <inkml:trace contextRef="#ctx0" brushRef="#br1" timeOffset="155625.66">9671 9644 0,'0'13'0,"145"14"31,-92-27-31,0 0 0,0 0 16,0 0-16,13 0 0,-13 0 0,13 0 16,-13 0-16,13 0 0,-13 0 0,-13 0 15,13 0-15,-14-13 0,-12 13 16,-14 0-16,13 0 0,-12 0 0,-1 0 15,0 0-15,0 0 0,0 0 16,1-14 0</inkml:trace>
  <inkml:trace contextRef="#ctx0" brushRef="#br1" timeOffset="157830.7">370 11007 0,'0'13'32,"0"0"-32,0 0 15,0 1-15,0-1 0,0 0 0,0 0 16,0 0-16,0 1 0,0 12 16,-13-13-16,13 1 0,0-1 0,0 0 15,0 0-15,0 14 0,0-14 16,0 0-16,0 0 15</inkml:trace>
  <inkml:trace contextRef="#ctx0" brushRef="#br1" timeOffset="158205.76">542 11033 0,'0'0'0,"-13"13"16,13 1-16,0-1 15,0 0-15,0 0 16,0 0-16,0 1 0,13-1 0,-13 0 16,14 0-16,-1-13 0,-13 14 0,13-1 15,0-13-15,1 0 0,-1 0 16,0 0-16,0 0 0,0 0 0,1 0 15,-1-13-15,0-1 16,-13 1-16,0 0 16,0 0-16,-13-1 0,13 1 0,-13 0 15,13 0-15,-14 0 0,1-1 0,0 1 16,13 0-16,-13 13 0,0-13 16,-1 13-16,1 0 15,-13 0-15,12 13 16,1 0-16,13 0 15,-13 1-15</inkml:trace>
  <inkml:trace contextRef="#ctx0" brushRef="#br1" timeOffset="159673.76">939 10954 0,'-26'0'47,"26"13"-47,-13-13 16,-1 13-16,14 0 15,-13-13 1,13 14-16,13-1 16,-13 0-16,14-13 15,-1 13-15,0-13 16,0 14-16,0-14 16,1 13-16,-1-13 0,0 13 15,0-13 1,-13 13-16,0 0 15,-13 1-15,0-14 16,0 13-16,-1 0 16,1-13-16,0 0 15,0 0-15,13 13 0,-13-13 16,-1 0-16,14 14 16</inkml:trace>
  <inkml:trace contextRef="#ctx0" brushRef="#br1" timeOffset="160222.6">1072 10914 0,'0'-13'31,"13"26"-15,0 0-1,-13 1-15,13-1 0,-13 0 16,13 0-16,-13 0 0,14 1 15,-14-1-15,0 0 0,13-13 0,-13 13 16,0 1-16,13-1 0</inkml:trace>
  <inkml:trace contextRef="#ctx0" brushRef="#br1" timeOffset="160706.87">1085 11086 0,'-13'-13'0,"52"-27"16,-26 27 0,1 0-16,-1-1 0,0 14 15,14-13-15,-27 0 0,13 0 0,0 13 16,0-13-16,1 13 0,-14-14 0,13 14 15,0-13-15,0 13 16,0 0 15,-13 13-15,0 1-16,0-1 16,14-13-16,-14 13 15,13 0-15,0-13 16,0 13-1,1-26-15,-1 13 16,0-13 0,0 13-1,-13-13-15,14 13 16,-14 13 15,13-13-31,-13 13 16,0 0-16,13 1 15,0-14-15</inkml:trace>
  <inkml:trace contextRef="#ctx0" brushRef="#br1" timeOffset="161231">1627 10755 0,'-13'-13'0,"13"40"47,0-14-47,0 0 0,0 0 0,0 0 16,0 1-16,0-1 0,0 0 0,0 0 15,0 1-15,0-1 0,0 0 16,0 0-16,0 1 16,0-1-16,0 0 15,-13 0 1,0 0-1,-1 1 1,14-1 0,-13 0-1,26 0 1,1-13 0,-1-13-1,0 13-15,-13-13 0,13 13 16,0-13-16,-13-1 15,14 14 1,-1 0 15,-13 14-15,13-1-16,0-13 16,-13 13-1,14-13-15,-1 0 16,0-13-1,0 13-15,-13-13 0,13 13 16,1-14-16,12 1 16</inkml:trace>
  <inkml:trace contextRef="#ctx0" brushRef="#br1" timeOffset="163097.7">3717 10067 0,'0'0'0,"27"-13"31,-1 13-15,-12 0-16,-1 0 0,0 13 15,0 1-15,0-1 16,-13 0-16,0 0 16,-13 1-16,13-1 0,-13 0 0,0 0 15,0 0-15,-1 1 16,1-1-16,0-13 0,13 13 15,-13-13-15,-1 13 16,28 1 15,-1-14-15,0 0-16,0 0 0,1 0 16,-1 0-16,0 0 15,0 0-15,14 0 16,-14 0-16,0 0 0,0-14 15,1 14 1</inkml:trace>
  <inkml:trace contextRef="#ctx0" brushRef="#br1" timeOffset="163403.72">4061 10001 0,'0'27'15,"0"-14"1,0 0-16,0 0 0,0 1 16,0-1-16,0 0 0,-13 0 15,13 1-15,0-1 0,0 0 0,0 0 16,-13 0-16,13 1 16</inkml:trace>
  <inkml:trace contextRef="#ctx0" brushRef="#br1" timeOffset="163954.73">3664 10610 0,'0'0'0,"27"-13"32,-14 13-32,0 0 15,1 13-15,-14 0 16,0 0 0,-14 0-16,14 1 0,0-1 15,-13 0-15,0 0 0,13 1 0,-13-14 16,13 13-16,-14 0 0,14 0 15,-13-13-15,13 14 0,-13-1 16,13 0 0,0 0-1,13-13-15,0 0 16,1 0-16,-1 0 0,0 0 16,0 0-16,14-13 0,-14 13 15,0 0-15,1 0 0,-1 0 0,0-13 16,0 13-16,0-13 0,1 13 15</inkml:trace>
  <inkml:trace contextRef="#ctx0" brushRef="#br1" timeOffset="164385.64">3956 10570 0,'0'-13'16,"0"26"-16,13-26 0,0 13 15,-13 13 1,13-13-16,-13 13 0,0 14 16,0-14-16,-13 0 15,13 0-15,-13 1 0,13-1 0,-13 0 16,-1-13-16,14 13 0,-13 1 16,13-1-16,-13 0 0,13 0 15,-13-13 1,39-13-1,-13 13 1,1 0-16,-1-13 0,0 13 0,0 0 16,14-13-16,-14 13 15,0 0-15,0 0 16</inkml:trace>
  <inkml:trace contextRef="#ctx0" brushRef="#br1" timeOffset="165135.29">3625 11126 0,'13'0'16,"13"0"-1,-12 0 1,-14 13-16,0 0 15,0 0-15,0 1 16,-14-1-16,14 0 0,-13-13 16,13 13-16,-13 1 0,13-1 15,-13 0-15,0-13 0,13 13 0,-14 0 16,14 1 0,-13-14-16,13 13 15,13-13 1,1 0-16,-1 0 15,0 0-15,0 0 0,14-13 16,-14 13-16,0 0 0,0-14 0,14 14 16,-14 0-16,0-13 0,1 13 15,-1 0-15,0-13 0</inkml:trace>
  <inkml:trace contextRef="#ctx0" brushRef="#br1" timeOffset="165472.75">3903 11086 0,'0'13'46,"0"0"-30,0 1-16,0-1 16,13-13-16,-13 13 0,13 0 15,0 1-15,-13-1 16,14-13-16,-14 13 16,13 0-16,-13 1 0,-13-1 15,13 0-15,0 0 0,-14-13 16,14 13-16,-13 1 15,0-1-15,0 0 0,13 0 0,-14 1 16,1-14-16,13 13 0,-13-13 0</inkml:trace>
  <inkml:trace contextRef="#ctx0" brushRef="#br1" timeOffset="166231.37">3545 11761 0,'0'0'16,"14"0"-16,-14-13 0,13 13 0,0 0 16,0 13-1,1 0-15,-14 0 16,0 0-16,0 1 0,-14-1 15,14 0-15,-13 0 0,13 1 16,-13-1-16,13 0 0,-13 0 0,-1 0 16,1 1-16,13-1 15,-13 0 1,26-13 0,0 0-1,1 0 1,-1 0-16,0 0 0,0 0 15,1-13-15,-1 13 0,0 0 0,13-13 16,-12-1-16,-1 14 0,0-13 16</inkml:trace>
  <inkml:trace contextRef="#ctx0" brushRef="#br1" timeOffset="166654.75">3876 11668 0,'27'27'31,"-27"-14"-31,0 0 16,13 0-16,-13 1 15,0-1-15,0 0 0,0 0 0,0 0 16,-13 1-16,13-1 0,0 0 0,0 0 15,-14 1-15,14-1 16,-13 0 0,40-39 15,-27 12-31,13 1 0,0 0 16,-13 0-16,13-1 0,-13 1 15,14-66 1,-14 66-16,0-1 0,0-12 0,0 13 15,-14-1-15,14 1 0,-13 0 16,0 0-16,0 0 16,-1 13-16,1 0 0,0 0 0,0 0 15,-1 0-15,14 13 0,-13-13 16,0 13 0</inkml:trace>
  <inkml:trace contextRef="#ctx0" brushRef="#br1" timeOffset="167354.53">3545 12488 0,'27'-13'0,"-54"26"0,67-26 16,-27 13-16,1 13 0,-1-13 15,-13 14-15,0-1 16,0 0-16,0 0 0,0 0 15,0 1-15,-13-1 0,-1 0 0,14 14 16,-13-14-16,13 0 0,-13 0 0,0 1 16,13-1-1,-14-13-15,14 13 0,-13 0 16,13 0-16,13-13 31,1 0-31,-1 0 16,0 0-16,0-13 0,14 0 15,-14 0-15,0 13 0,0-13 16,14-1-16,-14 1 0,0 0 16</inkml:trace>
  <inkml:trace contextRef="#ctx0" brushRef="#br1" timeOffset="167610.84">3942 12369 0,'-13'13'31,"0"1"-31,0-1 0,13 0 0,0 0 16,-14 1-16,14-1 0,0 0 16,14-13-16,-14 13 0,0 1 15,0-1-15,13-13 0,-13 13 0,13-13 16,0 13 0,1-13-16,-14-13 31,-14 0-31,1 13 15,0 0-15,0 0 16,-1 0-16,1 13 0,0 0 16,0 0-16</inkml:trace>
  <inkml:trace contextRef="#ctx0" brushRef="#br1" timeOffset="168248.65">3559 13018 0,'0'0'16,"13"-14"-16,0 14 16,0 14-16,1-14 15,-14 13-15,13-13 0,-13 13 0,0 0 16,0 0-16,0 1 15,0-1-15,-13 0 0,13 0 0,-14 1 16,14-1-16,-13 0 0,0 0 16,0 0-1,13 1 1,-14-14 0,28 13-1,-1-13 1,0 0-16,0 0 15,1-13-15,12 13 16,-13-14-16,0 14 16,1-13-16,-1 13 15</inkml:trace>
  <inkml:trace contextRef="#ctx0" brushRef="#br1" timeOffset="168617.69">3784 12991 0,'26'-13'16,"-13"13"0,0 0-16,1 13 15,-1-13-15,0 13 16,0-13-16,-13 14 16,14-1-16,-1 0 0,-13 0 15,0 0-15,13 1 16,-13-1-16,0 0 15,0 0-15,0 1 0,13-1 16,-13 0-16,0 0 16,-13-13-16</inkml:trace>
  <inkml:trace contextRef="#ctx0" brushRef="#br1" timeOffset="168810.76">3810 13150 0,'13'-13'0,"14"-1"15,-14 14-15,0-13 16,0 13-16,1 0 0,-1 0 0,0-13 16,0 13-16,1 0 0,-1 0 15,0 0-15,0 0 0,0 0 0,1-13 16</inkml:trace>
  <inkml:trace contextRef="#ctx0" brushRef="#br1" timeOffset="171773.84">5556 10358 0,'0'-26'0,"13"26"16,1 0-1,-1 13 1,-13 0-16,0 1 16,0-1-16,0 0 15,0 0-15,-13 1 0,13-1 16,-14 0-16,1 0 0,13 1 0,-13-1 16,13 0-1,0 0 1,13-13 15,0 0-15,1 0-16,-1 0 0,0 0 15,14-13-15,-14 13 0,0 0 16,0 0-16,1-13 0</inkml:trace>
  <inkml:trace contextRef="#ctx0" brushRef="#br1" timeOffset="172137.62">5953 10253 0,'-66'26'0,"26"1"16,27-27-16,0 13 16,13 0-16,-13-13 0,13 13 0,-14-13 15,14 13-15,14 1 16,-1-14-16,0 0 0,0-14 16,1 14-16,12 0 0,-13 0 0,0-13 15,1 13-15,-1 0 0,13 0 16,-26 13-1,14-13-15,-14 14 0,0-1 0,-14 0 16,14 0-16,0 1 0,0-1 16,0 0-16,-13 14 15,13-14-15,0 0 0,0 0 0,0 0 16,0 1-16</inkml:trace>
  <inkml:trace contextRef="#ctx0" brushRef="#br1" timeOffset="173628.97">5530 11060 0,'26'-14'16,"-13"14"0,1 0-16,-1 0 0,-13 14 15,13-1-15,-13 0 16,0 0-16,0 0 0,-13 1 15,13-1-15,-13 0 0,-1 0 16,14 1-16,-13-1 0,0 0 0,0 0 16,0-13-16,-1 14 0,14-1 15,-13-13-15,13 13 0,-13-13 0,0 13 16,26-13 15,0 0-15,0 0-1,1 0-15,-1 0 0,0 0 16,0 0-16,0 0 0,1-13 16,-1 13-16,0 0 15,-13-13-15</inkml:trace>
  <inkml:trace contextRef="#ctx0" brushRef="#br1" timeOffset="173950.73">5887 11033 0,'0'0'0,"-26"0"16,26 13-1,-14-13 1,14 14-16,0-1 15,14 0-15,-14 0 16,0 0-16,13 1 16,-13-1-16,-13 0 15,13 0 1,-14 1-16,1-14 0,0 13 16,0-13-16,-1 13 15,1-13-15,0 13 0,0-13 0,-1 0 16,1 14-16,0-14 0</inkml:trace>
  <inkml:trace contextRef="#ctx0" brushRef="#br1" timeOffset="178352.81">5464 11734 0,'13'0'47,"0"14"-47,-13-1 16,0 0-16,0 0 0,0 0 16,0 1-16,-13-1 0,13 0 15,-13 0-15,13 14 0,-14-14 16,1 0-16,0 0 0,13 1 0,-13-1 15,0 0-15,13 0 0,-14-13 0,14 14 16,-13-14-16,13 13 0,0 0 31,13-13-31,1 0 16,-1 0-16,0 0 16,0 0-16,0 0 0,1-13 15,-1 13-15,0 0 0,0 0 16,1 0-16,-1-13 0,0 13 15,0 0 1,0-14-16,1 14 16</inkml:trace>
  <inkml:trace contextRef="#ctx0" brushRef="#br1" timeOffset="180317.81">5768 11748 0,'0'-14'47,"13"41"109,-13-14-156,0 0 0,13-13 16,-13 13-16,14 1 0,-14-1 15,13 0-15,-13 0 0,0 1 16,0-1-16,0 0 0,0 0 15,-13 0-15,13 1 0,-14-1 16,1 0-16,0 0 0,0-13 16,13 14-16,-14-14 15,1-14 1,26 1 0,-13 0-16,14 13 15,-14-13-15,13-1 0,0 1 0,0 0 16,1 0-16,-1 0 0,0-14 0,0 14 15,1 0-15,-14-1 0,13 1 16,-13 0-16,0 0 0,13 0 0,-26-1 16,13 1-16,0 0 0,-13 13 15,-1-13-15,1 13 0,0-14 16,0 14-16,-1 0 0,1 0 16,0 14-16,0-14 0,-1 0 0,1 13 15,0-13-15,13 13 16,-13 0-16,13 1 0</inkml:trace>
  <inkml:trace contextRef="#ctx0" brushRef="#br1" timeOffset="182325.74">5517 12488 0,'0'0'0,"13"-13"0,0 13 16,-13-13-16,13 13 16,0 0-1,-39 13 16,13 0-31,0-13 16,-1 0-16,1 14 0,-13-1 16,12-13-16,1 0 15,0 13-15,0-13 16,26 13 0,0 0-1,0-13-15,1 14 0,-1-1 16,0-13-16,-13 13 0,13 0 15,-13 1 1,14-14-16,-14 13 0,-14 0 16,14 0-16,-13-13 0,13 14 15,-13-14-15,0 13 0,-1-13 16,1 13-16,0-13 0,13 13 16,-13-13-16,0 0 0,-1 13 15,1-13-15</inkml:trace>
  <inkml:trace contextRef="#ctx0" brushRef="#br1" timeOffset="182570.99">5768 12422 0,'13'0'15,"-13"13"1,0 1-16,0-1 0,0 0 16,13 0-16,-13 1 0,0-1 15,0 13-15,0-13 0,0 1 0,0-1 16,0 13-16,0-12 0,0-1 16,-13 0-16,13 0 0,0 1 15,0-1-15,0 0 0,0 0 16,13-13-16</inkml:trace>
  <inkml:trace contextRef="#ctx0" brushRef="#br1" timeOffset="198224.68">5953 12303 0,'-13'-13'156,"0"0"-156,-1 13 15,14-14-15,-13 1 16,0 13-16,13-13 16,-13 13-16,0-13 0,-1 13 15,14-13-15,-13 13 0,0-14 16,0 1 0,-1 13-16,1-13 0,0 13 15,0-13-15,-1 13 0,1 0 16,0-14-1,0 14-15,0 0 0,-14-13 16,14 13-16,0 0 16,-1 0-16,-12 0 15,13 0-15,-1 0 16,1 0-16,0 0 0,0 13 0,0-13 16,-1 0-16,1 0 0,0 14 15,-14-14-15,14 0 0,0 13 0,-13-13 16,12 0-16,-12 13 0,13-13 0,-1 13 15,-12-13-15,13 14 0,-14-1 16,1-13-16,13 13 0,-14 0 0,14 0 16,-14 1-16,14-14 0,0 13 0,0 0 15,-1 0-15,-12 1 0,13 12 16,0-13-16,-1 0 0,1 1 0,0 12 16,0-13-16,-1 14 0,1-14 15,13 14-15,-13-14 0,0 13 0,13 1 16,-14-1-16,14 1 0,0-14 15,-13 13-15,13 1 0,0-1 0,-13 1 16,13-1-16,0-13 0,13 14 0,-13-1 16,0 1-16,13-14 0,-13 13 15,14-12-15,-1 12 0,0-13 0,14 14 16,-1-1-16,-13-12 0,14-1 0,-1 13 16,1-13-16,-1 1 0,1-1 15,-1 0-15,14 0 0,-14 1 16,1-1-16,-14 0 0,13-13 0,1 13 15,-14 0-15,14-13 0,-1 0 0,-13 14 16,14-14-16,-14 0 16,0 0-16,14 0 0,-14 0 0,13 0 15,1 0-15,-14 0 0,13-14 0,14 1 16,-13 13-16,-1-13 0,0 0 0,14 0 16,-13 13-16,-1-14 0,1 1 15,-1 0-15,-13 13 0,14-13 0,-1-1 16,-13 1-16,27 0 0,-14 0 15,-12 0-15,-1-1 0,13-12 16,14-1-16,-27 14 0,14-13 16,-14-1-16,0 14 0,14-13 0,-14-1 15,0 14-15,0-14 0,1 14 0,-14 0 16,13-14-16,-13 14 0,13 0 16,-13 0-16,0-14 0,0 14 0,0 0 15,0 0-15,0-1 0,0 1 0,0 0 16,-13-14-16,13 14 0,-13 0 15,-1 0-15,1 0 0,0-1 0,0-12 16,-1 13-16,1-1 0,0 1 0,0 0 16,-14 0-16,14-1 0,0 1 15,-14 13-15,14-13 0,-13 0 16,12 13-16,-12-13 0,13 13 0,-14-14 0,14 14 16,-13 0-16,12-13 0,1 13 15,0 0-15,0 0 16,0 0-16,26 27 15,0-14 1,13-13-16</inkml:trace>
  <inkml:trace contextRef="#ctx0" brushRef="#br1" timeOffset="198749.83">6668 12541 0,'39'-13'31,"-26"13"-31,1 0 15,12-13-15,14 13 0,-1-13 16,14 13-16,14-14 0,-1 1 0,0 13 16,0-13-16,0 13 0,-13-13 0,0 13 15,0-14-15,0 14 0,-14-13 16,1 13-16,-13 0 0,-1 0 0,1-13 16,-14 13-16,13 0 0,-13 0 15,1 0-15,-1 0 0,0 0 16,0 0-16,-52 0 31,25 0-31,-12 0 16,13 0-16,-14 0 0,1 0 15,-14 0-15</inkml:trace>
  <inkml:trace contextRef="#ctx0" brushRef="#br1" timeOffset="199350.41">6720 12316 0,'-26'0'16,"26"14"-16,-13-14 15,0 13-15,-1 0 0,1 0 16,0 0-16,0 1 16,-1-14-16,1 13 0,0 0 15,0 0-15,-1 1 16,1-1-16,13 0 0,-13 0 16,13 1-1,0-1-15,0 0 16,0 0-16,13-13 0,-13 13 0,13 1 15,1-1-15,-1-13 0,0 13 0,0 0 16,14 1-16,-1-14 0,1 13 0,-1 0 16,14 0-16,-14 1 0,1-14 15,-1 13-15,1 0 0,-1-13 0,-13 13 16,14-13-16,-14 13 0,14-13 0,-14 0 16,0 14-16,0-14 15,0 0-15,1 13 0,-1-13 16,-13 13-16,0 0 15,-13-13 1,-1 14-16,1-14 0</inkml:trace>
  <inkml:trace contextRef="#ctx0" brushRef="#br1" timeOffset="204163">4313 10186 0,'0'-13'32,"0"0"-32,0 0 15,0 0 1,0-1-16,0 1 0,0 0 15,0 0-15,0-1 0,0 1 16,-14 0-16,14 0 0,0-14 16,-13 14-16,13 0 0,-13 0 0,13-1 15,-13 1-15,0 0 0,-1 0 16,1-1-16,0 1 0,0 0 0,-1 0 16,1-1-16,0 1 0,-13 0 0,12 0 15,1 13-15,0-13 0,0-1 16,-1 14-16,1-13 0,0 0 0,0 13 15,-1-13-15,1 13 0,0-14 16,0 14-16,0 0 0,-1-13 16,1 13-16,-13 0 0,12 0 0,1 0 15,0 0-15,-14 0 0,14 13 0,-13-13 16,13 0-16,-1 0 0,-12 14 16,13-14-16,-14 13 0,14-13 0,-14 13 15,14 0-15,-13 1 0,-1-1 0,14 0 16,-13 0-16,-1 0 0,1 14 15,-1-14-15,14 0 0,0 1 0,-14-1 16,1 13-16,13 1 0,-14-14 0,14 13 16,-13 1-16,12-14 15,1 14-15,-13-1 0,12-13 0,1 14 16,-13-1-16,12 1 0,-12-1 0,13 1 16,-14-1-16,14 1 0,-13-1 15,12 0-15,1 1 0,0-1 0,0 1 16,-1-1-16,1 1 0,13-1 0,-13 1 15,0 12-15,13-12 0,0 12 16,0-12-16,-13-1 0,13 1 0,0-1 16,0 1-16,0-1 0,13 14 0,-13-14 15,0 1-15,0-1 0,0 1 16,0-1-16,0 1 0,0-1 0,0 1 16,13-1-16,-13 0 0,0 1 15,0-1-15,0 1 0,0 13 16,13 158-1,-13-158-15,0-14 16,0 14-16,0 0 0,0-1 16,0 1-16,13-14 0,-13 14 0,0-13 15,0 12-15,14-12 0,-14 12 0,0-12 16,13 12-16,-13-12 0,0-1 16,13 1-16,-13-1 0,0 1 0,13 12 15,-13-12-15,0 13 0,14-14 0,-14 1 16,0-1-16,0 0 0,0 14 15,0-13-15,0-1 0,0 0 16,0 1-16,13-1 0,-13 1 0,0 13 16,0-14-16,0 0 0,0 1 0,0-1 15,0 1-15,0-1 0,0 1 16,0-1-16,13 1 0,-13-1 0,0 1 16,0-1-16,0 1 0,13-1 0,-13 0 15,14-12-15,-1 12 0,-13 1 16,13-14-16,-13 13 0,13-12 0,0 12 15,1-13-15,-1 14 0,0-14 0,-13 0 16,13 14-16,1-14 0,-1 0 16,0 13-16,0-12 0,1-1 15,-1 0-15,0 0 0,0 1 0,-13-1 16,13 0-16,1 0 0,-1 1 0,0-1 16,0-13-16,1 13 0,-1 0 15,0 0-15,0-13 0,-13 14 0,13-1 16,1-13-16,-1 13 0,-13 0 0,13-13 15,-13 14-15,13-14 0,1 13 16,-1 0-16,0 0 16,0 1-16,1-1 0,-1-13 15,-13 13-15,13-13 0,0 13 16,0 0-16,1-13 0,-1 14 16,0-14-16,-13 13 15,13-13-15,1 0 0,-1 13 16,0-13-16,0 0 0,1 0 15,-1 0-15,0 0 0,0 0 16,0 0-16,1 0 0,-1 0 0,0 0 16,14 0-16,-14 0 0,0 0 15,14 0-15,-14-13 0,13 13 0,-13-13 16,14 13-16,-14-14 0,0 1 0,14 0 16,-14 13-16,14-13 0,-14 0 15,0-1-15,0 1 0,14 13 0,-14-13 16,-13 0-16,13-1 0,0 1 0,1 0 15,-1 0-15,0-1 0,0 1 16,0 0-16,-13 0 16,14-14-16,-1 14 0,-13 0 0,13 0 15,-13-1-15,0 1 0,13-13 0,-13 12 16,14 1-16,-14 0 0,0-13 16,13 12-16,-13 1 0,0-13 0,0 12 15,13 1-15,-13 0 0,0 0 0,0-14 16,13 14-16,-13 0 0,0 0 15,0-14-15,0 14 0,0 0 16,0-1-16,0-12 0,0 13 0,0-14 0,14 1 16,-14 13-16,0-14 0,0 14 15,13-14-15,-13 14 0,0 0 16,0 0-16,13 0 0,-13-1 0,0 1 16,0 0-16,13 0 0,-13-1 0,0 1 15,13 0-15,-13 0 16,14-1-16,-14 1 0,13 0 0,0 13 15,-13-13-15,13 0 0,1-1 0,-1 1 16,-13 0-16,13 0 0,0 13 16,1-14-16,-14 1 0,13 13 0,0-13 15,0 0-15,0-1 16,1 14-16,-1-13 16,0 13-16,-13-13 0,13 13 15,1 0-15,-1-13 0,0 0 16,0 13-16,0 0 0,1-14 15,-1 14-15,0-13 0,0 13 0,1 0 16,-1-13-16,0 0 0,0 13 16,1 0-16,-1-14 0,0 14 15,0 0-15,0-13 0,1 13 16,-1 0-16,-13-13 0,13 13 0,0-13 0,1 13 16,12 0-16,-13-13 0,1 13 15,-1-14-15,0 14 0,13-13 0,-12 13 16,-1 0-16,13-13 0,-12 13 0,-1 0 15,13 0-15,-12-13 16,12 13-16,-13 0 0,14-14 0,-1 14 16,-13 0-16,14-13 0,-1 13 0,1 0 15,-1-13-15,1 13 0,-1 0 0,1 0 16,-1-13-16,0 13 0,14 0 16,-13-14-16,-1 14 0,14 0 0,-14 0 15,14-13-15,-14 13 0,1 0 0,26-13 16,-27 13-16,1 0 0,12 0 15,-12-13-15,-1 13 0,1 0 0,-1 0 16,14-13-16,-14 13 0,1 0 0,-14-14 16,13 14-16,1 0 15,-14 0-15,14-13 0,-14 13 0,0 0 16,14-13-16,-14 13 0,0-13 0,0 13 16,0 0-16,-13-14 0,14 14 15,-1 0-15,0-13 0,0 13 0,-13-13 16,14 13-16,-1-13 0,0-1 0,0 1 15,1 13-15,-14-13 16,13 0-16,0 0 0,0 13 0,-13-14 16,13 1-16,-13 0 0,14 13 0,-14-13 15,0-1-15,13 1 0,-13 0 16,13 0-16,-13 0 0,0-1 0,0-12 16,13 13-16,-13-1 0,0-12 15,0-1-15,0 14 0,0-13 16,14-1-16,-14 1 0,0-1 0,0 1 15,13-1-15,-13 1 0,0 13 0,0-14 16,0 14-16,0-13 0,0 12 16,0-12-16,0-1 0,-13 14 15,13-13-15,0 13 0,0-14 0,0 1 0,-14 12 16,14-12-16,0-1 0,0 14 16,0-13-16,0-1 0,0 1 0,0-1 15,0 14-15,-13-13 0,13-1 0,0 1 16,0-1-16,0 1 0,0 13 15,0-14-15,0 1 0,0 13 16,0-14-16,0 14 0,-13-14 0,13 14 16,0-13-16,0 12 0,0-12 0,0 13 15,0-14-15,-13 14 0,13-13 16,0 12-16,-14-12 0,14 0 0,-13 12 16,0-12-16,0 13 0,13-14 0,-13 14 15,-1-14-15,1 14 0,0-13 16,0 13-16,-1-14 0,14 14 0,-13 0 15,0-14-15,0 14 0,-1 0 0,1-14 16,13 14-16,-13 0 16,0 0-16,0-1 0,-1-12 0,1 13 0,0-1 15,0 1-15,-1 0 0,1 0 16,-13-1-16,12 1 0,-12 0 16,13 13-16,-14-13 0,1 0 0,13-1 15,-14 14-15,1-13 0,-14 0 0,14 13 16,-1-13-16,1 13 0,-1 0 15,1-14-15,-1 14 0,14 0 0,-13 0 16,12-13-16,1 13 0,0 0 0,-14 0 16,14 0-16,0 0 0,0-13 15,0 13-15,-14 0 0,14 0 16,0 0-16,-1 0 0,1 0 0,0 0 0,0-13 16,-1 13-16,1 13 15,0-13-15,0 0 16,0 0-16,-1 0 15,1 0-15,0 0 0,0 0 16,-1 13 0,1-13-16,0 0 15,0 0-15,13 13 0,-13-13 16,-1 0-16,1 0 0,0 14 16,0-14-16,-1 0 0,1 0 0,0 0 15,0 0-15,-1 13 0,1-13 0,-13 0 16,13 0-16,-14 0 0,14 0 15,-14 0-15,1 13 0,-1-13 16,14 0-16,-13 0 0,-1 13 0,14-13 16,-13 0-16,-1 0 0,14 14 15,-14-14-15,14 0 0,-13 0 0,13 13 16,-14-13-16,14 0 0,0 0 0,-1 0 16,1 0-16,-13 13 0,12-13 15,1 0-15,0 0 0,0 0 16,0 13-16,-1-13 0,1 0 0,0 0 15,0 0-15,-1 13 16,1-13-16,0 0 16,0 0-16,0 0 0,-1 0 15,14 14-15,-13-14 0,0 0 0,0 0 0,-1 13 16,1-13-16,0 0 16,0 13-16,-14-13 0,14 0 0,-13 0 15,12 13-15,1-13 16,0 0-16,0 0 0,-1 0 15,14 14-15,-13-14 0,0 0 16,0 0-16,-1 0 0,1 0 16,0 0-16,0 0 15,0 0-15,-14 0 16,27-14 0</inkml:trace>
  <inkml:trace contextRef="#ctx0" brushRef="#br1" timeOffset="206944.61">8930 10014 0,'0'-13'15,"0"53"1,0-27 0,0 0-16,0 1 0,-14-1 0,14 0 15,0 0-15,0 14 0,-13-14 16,13 0-16,0 0 0,0 1 0,-13-1 16,13 0-16,0 0 15,0 1 1</inkml:trace>
  <inkml:trace contextRef="#ctx0" brushRef="#br1" timeOffset="207221.89">9036 10054 0,'-14'27'15,"14"-14"1,0 0-16,0 0 15,14 1-15,-14-1 0,13-13 0,-13 13 16,13-13-16,0 13 0,0-13 0,1 0 16,-1 0-16,0 0 0,0 0 15,1-13-15,-1 13 0,0-13 0,0 0 16,-13-1-16,0-12 16,-13 26-1,13-13-15,-13 13 0,13-14 0,-13 14 16,-1-13-16,1 13 0,-13 0 15,12 0-15,1 13 16,0-13-16,13 14 0</inkml:trace>
  <inkml:trace contextRef="#ctx0" brushRef="#br1" timeOffset="207718.67">9353 10160 0,'13'0'0,"0"-13"16,1 13-16,-1 0 16,0 0-16,0 0 0,1 0 0,12-13 15,-13 13-15,1 0 16,-1 0-16,0 0 0,0 0 16,0 0-16,1-14 15,-1 14-15,0 0 16,-13-13-1,13 13-15</inkml:trace>
  <inkml:trace contextRef="#ctx0" brushRef="#br1" timeOffset="208132.65">9512 9975 0,'26'13'32,"-13"0"-17,1-13-15,-1 0 16,0 13-16,0 1 0,1-14 16,-1 13-16,0-13 0,0 13 15,1-13-15,-1 13 0,0 1 16,0-14-16,-13 13 0,0 0 0,0 0 15,0 1-15,-13-1 0,0 0 16,0 13-16,-1-12 0,-12-1 16,-1 13-16,14-12 0,0-1 0,0 0 15,-1 0-15,-12 1 0</inkml:trace>
  <inkml:trace contextRef="#ctx0" brushRef="#br1" timeOffset="211833.08">10583 9975 0,'-13'0'16,"40"0"31,-14 0-47,0 0 16,0-13-16,0 13 0,1 0 15,-1 0-15,13 0 16,-12 0-16,-1 13 15,0 0-15,-13 0 16,0 0-16,0 1 16,0-1-16,-13 0 0,13 0 0,0 1 15,-13 12-15,13-13 0,0 1 0,-14-1 16,14 0-16,0 0 0,-13 0 16,13 1-16,0-1 0,0 0 15,0 0 1</inkml:trace>
  <inkml:trace contextRef="#ctx0" brushRef="#br1" timeOffset="212064.78">10530 10173 0,'14'-13'31,"-1"13"-31,0 0 0,-13-13 16,13 13-16,1 0 15,-1 0-15,0 0 0,0 0 0,0 0 16,1-13-16,-1 13 0,0 0 0,0 0 16,1 0-16,-1 0 0,0-14 15,0 14-15,1 0 0,-1 0 16,0 0-16</inkml:trace>
  <inkml:trace contextRef="#ctx0" brushRef="#br1" timeOffset="212590.81">10993 10028 0,'-13'-14'16,"0"14"0,0 0-1,0 14 1,-1-14-16,1 0 16,13 13-16,-13-13 15,13 13-15,0 0 31,13 1-31,-13-1 16,13-13-16,-13 13 16,14-13-16,-14 13 0,13 1 15,-26-1 1,-1-13-16,14 13 16,-13-13-16,0 13 0,0-13 15,-1 13-15,1-13 0,0 0 16,0 14-16</inkml:trace>
  <inkml:trace contextRef="#ctx0" brushRef="#br1" timeOffset="213365.62">11205 10081 0,'0'26'16,"-13"-13"-1,13 1-15,0-1 0,-13 0 16,13 0-16,-14 0 0,1 1 15,0-1-15,0 0 16,13 0-16,-14 1 0,1-1 16</inkml:trace>
  <inkml:trace contextRef="#ctx0" brushRef="#br1" timeOffset="213750.52">11589 9948 0,'-40'14'0,"27"-14"15,13 13-15,-13 0 0,13 0 0,-14 0 16,14 14-16,-13-14 0,13 0 15,0 1-15,-13-1 0,26-13 0,-13 13 16,0 0-16,13 1 0,-13-1 16,14-13-1,-1 0 1,-13-13 0,0-1-1,0 1 1,0 0-16,-13 13 15,-1 0 1,1 0-16</inkml:trace>
  <inkml:trace contextRef="#ctx0" brushRef="#br1" timeOffset="214018.79">11642 9948 0,'13'0'0,"-13"14"32,0 12-32,0-13 15,0 0-15,0 1 0,13-1 0,-13 0 16,13 0-16,-13 1 16,14-1-1,-1-13 1,-40 0 46</inkml:trace>
  <inkml:trace contextRef="#ctx0" brushRef="#br1" timeOffset="214170.14">11748 10094 0,'13'13'0,"-26"-26"0,39 39 0,-26-12 16,13-1-16,-13 0 15,0 0-15,0 0 16,-13 1-16,13-1 16,0 0-16,0 0 15</inkml:trace>
  <inkml:trace contextRef="#ctx0" brushRef="#br1" timeOffset="-214469.94">12290 9922 0,'13'-13'0,"0"13"16,-13-14 0,-26 28 15,13-14-16,-1 13-15,1-13 0,0 0 16,13 13-16,-13-13 0,0 13 16,13 1-1,13-1 1,0 0-16,-13 0 16,13-13-16,-13 13 0,13-13 15,-13 14-15,0-1 0,0 0 16,0 0-16,0 1 15,-13-14-15,0 13 0,0 0 16,0-13-16,-1 0 0,1 13 16,0-13-16,0 14 15,-1-14-15,1 0 16</inkml:trace>
  <inkml:trace contextRef="#ctx0" brushRef="#br1" timeOffset="-214183.87">12475 9922 0,'0'0'16,"-13"0"-16,0 0 0,-1 0 16,1 13-1,13 0 1,13 1-16,-13-1 15,14 0-15,-14 0 16,13-13-16,-13 13 0,0 1 0,13-14 16,-13 13-16,0 0 0,0 0 15,-13 1-15,13-1 16,-13-13-16,13 13 0,-14-13 0,1 13 16,13 1-16,-13-14 0,0 13 0,-1-13 15,1 13 1</inkml:trace>
  <inkml:trace contextRef="#ctx0" brushRef="#br1" timeOffset="-214018.88">12607 10081 0,'27'39'15,"-27"-25"-15,0-1 0,0 0 16,-13 0-16,13 0 0,-14 1 15,1 12-15,0-13 0,0 1 0,13-1 16,-14 0-16,1 0 0</inkml:trace>
  <inkml:trace contextRef="#ctx0" brushRef="#br1" timeOffset="-212757.02">13057 9869 0,'-26'0'31,"13"13"-31,-1-13 15,14 13-15,-13 1 0,0-1 16,0 0-16,-1 0 16,14 1-16,-13-14 0,13 13 15,-13 0-15,13 0 0,0 0 16,0 1 0,0-1-16,13 0 15,0-13-15,1 13 0,-1-13 16,0 0-16,0 14 15,1-14-15,-1 0 0,0 0 0,0 0 16,0 0-16,1-14 0,-1 14 16</inkml:trace>
  <inkml:trace contextRef="#ctx0" brushRef="#br1" timeOffset="-212554.01">13110 9935 0,'-13'27'16,"0"-27"-16,13 13 16,0 0-16,-14 0 0,14 0 0,0 1 15,-13 12-15,13-13 0,-13 1 16,13-1-16,-13 0 0,13 0 0,0 1 16,-13-1-16,13 0 0,0 0 15,-14 0-15,28 1 16</inkml:trace>
  <inkml:trace contextRef="#ctx0" brushRef="#br1" timeOffset="-212246.97">13309 9922 0,'-67'26'31,"67"-12"-31,0-1 16,0 0-16,0 0 16,0 0-16,0 1 0,0-1 15,0 0-15,0 0 0,0 14 16,-13-1-1,0-12-15,13-1 0,-13 0 16,-1 0-16,14 0 0,-13-13 16,13 14-1</inkml:trace>
  <inkml:trace contextRef="#ctx0" brushRef="#br1" timeOffset="-212070.22">13428 10094 0,'13'40'15,"-13"-27"-15,0 0 16,-13 0-16,13 0 0,-14 1 16,14-1-16,0 0 0,-13 0 0,13 1 15</inkml:trace>
  <inkml:trace contextRef="#ctx0" brushRef="#br1" timeOffset="-211495.05">13626 9922 0,'0'26'47,"0"-12"-47,13-1 0,-13 0 15,0 0-15,0 0 0,0 1 16,0-1-16,0 0 0,-13 0 0,0 14 16,0-14-16,-1 0 15,1 1-15,0-14 16,0 13-16,-1-26 31,28-1-31,-1 1 16,0 0-16,0 0 15,1-1-15,-1 1 0,0 13 0,0-13 16,0 0-16,1-1 0,-14 1 0,13 0 16,-13 0-16,13 0 0,-13-1 15,0 1-15,0 0 0,0 0 16,0-1-16,-13 14 15,13-13-15,-13 13 16,-1 0-16,1 0 0,0 0 16,13 13-16,-13-13 0,13 14 15</inkml:trace>
  <inkml:trace contextRef="#ctx0" brushRef="#br1" timeOffset="-211187.07">13798 9922 0,'-13'26'15,"13"-12"-15,-13-1 0,13 0 16,0 0-16,0 0 16,0 1-16,13-1 15,-13 0-15,13-13 0,-13 13 16,13-13-16,0 0 0,14 0 15,-27-13-15,13 13 16,0 0-16,-13-13 0,0 0 16,14-1-16,-28 14 0,14-13 0,0 0 15,-13 0-15,0 0 16,0 13-16,-1 0 0,1 0 0,-13 0 16,13 0-16,-1 0 15,1 13-15,0 0 16</inkml:trace>
  <inkml:trace contextRef="#ctx0" brushRef="#br1" timeOffset="-210872.88">14116 10134 0,'0'26'15,"0"-13"1,0 0-16,-14 1 0,14-1 0,-13 0 15,13 0-15,-13 1 0,0-1 16,-1 0-16,1 0 0,13 1 0,-13-1 16,0-13-16,13 13 0,-14-13 0,14 13 15</inkml:trace>
  <inkml:trace contextRef="#ctx0" brushRef="#br1" timeOffset="-209166.65">14605 9829 0,'-13'13'32,"0"1"-32,-1-14 0,14 13 0,-13 0 15,0 0-15,13 1 0,-13 12 0,-1-13 16,14 1-16,-13-1 0,0 0 16,13 0-16,0 0 0,-13 1 15,13-1-15,0 0 0,0 0 16,0 1-1,13-1-15,0-13 16,-13 13 0,13-13-16,1 13 15,-1-13 32,0-13-31,-13 0-1,13 0 1,-26-1 0,13 1-1,-13 13 1,13-13-16,-13 13 16,13-13-16,-14 13 15,1 13 1,0-13-16</inkml:trace>
  <inkml:trace contextRef="#ctx0" brushRef="#br1" timeOffset="-208538.66">14777 9869 0,'13'-13'0,"0"-1"16,1 14 15,-14-13-16,13 13 1,-13 13 47,0 1-63,0-1 15,0 0-15,0 0 0,13 1 16,-13-1-16,0 0 0,0 0 15,0 1-15,-13-1 0,13 0 0,0 0 16,0 0-16,-13 1 0,13-1 0,0 0 16,-14 0-16,14 1 0,-13-14 15,0 0-15,13 13 16,-13-13-16,0 0 16,13-13-16,-14-1 15,28 1 1,-1 0-16,0 0 15,0-1-15,-13 1 0,13 0 16,1 0-16,-1 0 0,0-1 16,-13 1-16,13 0 0,-13 0 0,0-1 15,14 1-15,-14 0 0,0 0 0,0-1 16,-14 1-16,1 0 16,0 13-16,0 0 15,-1 13-15,1-13 0,0 0 16,0 13-16,13 1 0,-13-14 15,-1 13-15,14 0 0</inkml:trace>
  <inkml:trace contextRef="#ctx0" brushRef="#br1" timeOffset="-208362.54">14962 10028 0,'0'0'0,"0"26"0,0-13 0,0 1 16,0-1-16,0 0 0,-13 0 16,13 1-16,0-1 0,-13-13 0,13 13 15,0 0-15,0 0 0,0 1 0</inkml:trace>
  <inkml:trace contextRef="#ctx0" brushRef="#br1" timeOffset="-207919.44">15227 9842 0,'66'0'31,"-53"0"-31,14 0 15,-14 0-15,0 0 16,0 14-16,-13-1 0,14-13 16,-14 13-16,0 0 0,13-13 0,-13 14 15,0-1-15,0 0 0,0 0 0,0 1 16,0-1-16,-13 0 0,13 0 16,0 0-16,0 1 0,-14-1 0,14 0 15,0 0-15,0 1 0,0-1 0,-13 0 16,13 0-16</inkml:trace>
  <inkml:trace contextRef="#ctx0" brushRef="#br1" timeOffset="-207723.78">15227 10028 0,'0'0'0,"13"-14"16,0 14-16,0 0 0,1-13 0,-1 13 16,0 0-16,0 0 0,1-13 0,-1 13 15,13 0-15,-12 0 0,-1 0 16,13-13-16,-13 13 0,1 0 0</inkml:trace>
  <inkml:trace contextRef="#ctx0" brushRef="#br1" timeOffset="-207342.07">15637 9803 0,'0'26'32,"0"-13"-32,0 1 0,0-1 0,0 0 15,0 0-15,0 14 0,-13-14 0,-1 0 16,14 1-16,-13-1 0,0 13 0,0-13 15,0 1-15,13-1 16,-14-13-16,1 13 16,26-39 15,1 12-31,-14 1 0,13 0 16,13 0-16,-13-14 0,1 14 0,12-13 15,-13 12-15,1-12 0,-14 13 16,13-1-16,0 1 0,-13 0 0,0 0 15,0 0-15,0-1 0,0 1 16,-13 13-16,13-13 0,-13 13 16,-1 0-16,-12 0 15,13 0-15,-1 13 0,1 0 16,0 1 0</inkml:trace>
  <inkml:trace contextRef="#ctx0" brushRef="#br1" timeOffset="-206906.06">15729 10094 0,'14'13'16,"-14"0"0,0 1-16,-14-1 15,14 0-15,0 0 0,-13 0 0,13 1 16,-13-1-16,13 0 15,-13-13-15,13 13 0</inkml:trace>
  <inkml:trace contextRef="#ctx0" brushRef="#br1" timeOffset="-204890.03">16021 9856 0,'13'0'47,"-26"-14"16,-1 14-48,1 0 1,0 0 0,13 14-16,0-1 15,0 0-15,0 0 0,13 1 16,-13-1-16,0 0 0,13 0 15,-13 1-15,14-1 16,-14 0-16,0 0 0,0 0 16,-14 1-1,1-1-15,0-13 16,0 0-16,-1 0 0,1 0 16,0 0-1,0 0-15,13-13 16,13-1-1,-13 1-15,13 13 16,-13-13-16,13 0 0,1 13 0,-14-13 16,13-1-16,0 1 15,-13 0-15,13 0 16,-13-1-16,0 1 16,-13 0-16,13 0 0,-13-1 31</inkml:trace>
  <inkml:trace contextRef="#ctx0" brushRef="#br1" timeOffset="-204689.77">16113 9909 0,'0'0'0,"13"26"0,1-26 0,-1 13 15,0-13 1,-13 14-16,13-14 15,0 0-15,1 0 16,-14-14-16,0 1 16,0 0-1,0 0-15,0-1 16,-14 14-16,1-13 0,0 0 0,0 0 16,-14 13-16,14-14 0,-13 14 0,-14-13 15,14 13-15,-27 0 0,0 0 0</inkml:trace>
  <inkml:trace contextRef="#ctx0" brushRef="#br1" timeOffset="-204027.15">11576 10081 0</inkml:trace>
  <inkml:trace contextRef="#ctx0" brushRef="#br1" timeOffset="-202563.33">15438 10001 0,'14'0'16</inkml:trace>
  <inkml:trace contextRef="#ctx0" brushRef="#br1" timeOffset="-202362.8">15968 9935 0</inkml:trace>
  <inkml:trace contextRef="#ctx0" brushRef="#br1" timeOffset="-201810.81">16536 9962 0,'14'0'0,"-14"13"15,0 0-15,0 0 0,0 0 16,-14 14-16,14-14 0,-13 0 16,0 1-16,0 12 0,-14-13 15,1 14-15,-1-1 0,14-13 16,-13 14-16</inkml:trace>
  <inkml:trace contextRef="#ctx0" brushRef="#br1" timeOffset="-199303.9">16880 9935 0,'14'0'0,"-14"-13"16,0 0-1,13-1-15,-26 1 16,13 0-16,-14 0 16,1-1-1,0 14-15,0 0 0,0 0 0,-1 0 16,1 14-16,0-14 0,0 0 0,-14 13 15,14 0-15,-14-13 0,14 13 0,0 1 16,0-1-16,0-13 0,-1 13 16,14 0-16,-13-13 0,13 14 15,13-1-15,-13 0 16,14-13-16,-1 0 16,0 0-16,0 0 0,0 0 0,1 0 15,-1 0-15,0-13 0,0 13 0,1 0 16,-1-13-16,0 13 0,0 0 15,-13-14-15,14 14 0,-1 0 16,0 14 0,-13-1-16,0 0 15,0 0-15,0 0 0,0 1 16,0-1-16,0 0 0,0 0 16,0 1-16,-13-1 0,13 0 15,0 0 1,0 1-16</inkml:trace>
  <inkml:trace contextRef="#ctx0" brushRef="#br1" timeOffset="-198923.96">17145 9869 0,'-26'0'0,"12"0"0,1 0 15,0 13-15,0-13 0,-1 13 0,1-13 16,0 14-16,0-14 0,-1 13 0,1 0 16,13 0-1,-13-13-15,26 14 16,0-14-16,1 0 0,-1-14 15,0 14-15,0 0 0,1 0 16,-1 0-16,0 0 16,0 0-16,1 14 15,-14-1-15,0 0 16,0 0-16,0 0 16,0 1-16,-14-1 0,14 0 15,0 0-15,0 1 0,-13-1 0,13 0 16,0 0-16,0 1 15</inkml:trace>
  <inkml:trace contextRef="#ctx0" brushRef="#br1" timeOffset="-198715.19">17357 10094 0,'13'0'16,"0"13"-1,-13 0-15,0 1 16,0-1-16,-13 0 16,13 0-16,0 0 0,-13 1 0,13-1 15,0 0-15,-14 0 16,14 1-16</inkml:trace>
  <inkml:trace contextRef="#ctx0" brushRef="#br1" timeOffset="-198149.04">17899 9909 0,'0'0'0,"-13"-14"0,0 14 0,-14 14 15,14-14-15,0 0 0,-1 0 0,1 13 16,0-13-16,0 13 0,0-13 16,-1 13-16,1-13 0,0 14 0,0-14 15,13 13-15,-14-13 0,14 13 16,14-13 0,-1 0-16,0 0 0,0 0 15,1 0-15,12-13 0,-13 13 0,14 0 16,-14-13-16,0 13 0,0 0 15,1 0-15,-1-14 0,0 14 0,0 0 16,1 14-16,-1-1 16,-13 0-1,0 0-15,0 0 0,0 1 16,0-1-16,0 0 0,0 0 16,-13 1-16,13-1 15,0 0-15,0 0 16,13 1-1</inkml:trace>
  <inkml:trace contextRef="#ctx0" brushRef="#br1" timeOffset="-197770.11">18269 9935 0,'0'0'0,"-13"-13"0,0 13 15,0 0-15,-14 13 16,14-13-16,0 0 0,0 13 0,-1-13 16,1 0-16,13 14 0,-13-14 15,0 13-15,0-13 0,13 13 16,26-13-1,0 0 1,-12-13-16,-1 13 0,0 0 16,14 0-16,-27 13 15,13-13-15,-13 13 0,0 0 16,0 1 0,0-1-16,-13 0 15,13 0-15,0 1 0,-14-1 0,14 0 16,0 0-16,-13 1 15,13-1-15,13 0 16</inkml:trace>
  <inkml:trace contextRef="#ctx0" brushRef="#br1" timeOffset="-195806.88">10411 9988 0,'-26'159'32,"26"-120"-32,-13 1 0,-1 0 0,1 13 0,13-14 15,-13 1-15,0 0 16,13-14-16,-13 14 0,13-14 0,0 1 16,-14-14-16,14 14 0,0-14 0,14 0 15,-14 0-15,13 0 16</inkml:trace>
  <inkml:trace contextRef="#ctx0" brushRef="#br1" timeOffset="-193227.98">10372 9988 0,'13'-13'16,"0"13"-16,0 0 0,1-13 0,-1 13 16,0-14-16,0 14 15,14-13-15,-1 0 0,1 13 0,-1-13 16,14 13-16,-1-14 0,1 1 0,0 13 16,0-13-16,-1 0 0,14 13 15,-13-14-15,13 1 0,0 13 0,-14-13 16,14 13-16,0 0 0,0-13 0,0 13 15,0-13-15,0 13 0,0-14 16,0 14-16,0 0 0,13-13 0,-13 13 16,0-13-16,0 13 0,13 0 0,-13-13 15,-1 13-15,1 0 0,0-14 16,0 14-16,0 0 0,0-13 0,0 13 16,0 0-16,0-13 0,-14 13 15,1 0-15,13-13 0,-26 13 16,25-13-16,-25 13 0,-1-14 0,1 14 15,-1 0-15,1-13 0,-1 13 0,1-13 16,-14 13-16,13-13 0,-12 13 16,-1-14-16,13 14 0,-12 0 0,12-13 15,-13 13-15,0-13 0,14 13 0,-14 0 16,14-13-16,-14 13 0,13-14 16,1 14-16,-1 0 0,1-13 15,-1 13-15,1 0 0,-1 0 0,14-13 0,-1 13 16,1 0-16,-13 0 0,12-13 15,-12 13-15,12 0 0,-12 0 16,13 0-16,-14 0 0,27 0 0,-13-13 16,12 13-16,1 0 0,-13 0 15,13 0-15,-13 0 0,-1 0 0,1 0 16,-13 0-16,12 0 0,-12 0 0,12 0 16,1 0-16,-13 0 0,12 0 15,-12 0-15,12 0 0,-12 0 0,13-14 16,-14 14-16,14 0 0,-14 0 0,1 0 15,12 0-15,-12 0 16,-1 0-16,1 0 0,-1 0 0,1 0 0,-1-13 16,-13 13-16,14 0 0,-14 0 0,13 0 15,-12 0-15,-1 0 16,0 0-16,0 0 0,1 0 0,-1 0 16,0 0-16,0-13 0,0 13 0,1 0 15,-1 0-15,0 0 16,0 0-16,1 0 0,-1 0 0,0 0 15,0 0-15,0 0 0,1-13 16,-1 13-16,0 0 0,0 0 16,1 0-16,-1 0 0,13 0 0,-12 13 15,-1-26-15,13 13 0,1 0 16,-1 13-16,-13-13 0,14 0 0,-1 0 16,1 0-16,-1 0 0,14 0 15,-14 0-15,1 0 0,13 0 0,-14 0 16,14 0-16,-14 0 0,14 0 15,0 13-15,-1-13 0,1 0 0,0 0 16,-14 0-16,0 0 0,14 0 0,-13 0 16,-1 13-16,-13-13 0,14 0 15,-14 0-15,0 0 0,14 0 0,-14 0 16,0 0-16,0 0 0,1 0 16,-1 0-16,0 0 0,14 0 15,-14 0 1,0 14-16,0-14 0,0 0 15,1 0-15,-1 0 16,0 0 0,0 13-16,1-13 15,-1 0-15,0 13 16,0-13 0,-13 13-16,13-13 0,1 0 0,-1 13 15,0-13-15,-13 14 16,13-14-16,1 13 15,-1 0 1,0 0 0,-13 1-16,0-1 15,0 0 1,13-13-16,-13 13 0,0 1 0,0-1 16,0 0-16,0 0 15,-13 0-15,13 1 0,0-1 16,0 0-16,0 0 0,0 1 0,0-1 15,0 0-15,0 0 0,0 0 16,0 1-16,0-1 0,0 0 16,0 0-16,0 1 0,0-1 15,0 0-15,0 0 16,-13 1-16,13-1 0,0 0 0,0 0 16,0 0-16,0 1 15,-13-1-15,13 0 0,0 0 0,0 1 16,0-1-16,0 0 15,0 0-15,0 1 0,0-1 16,0 0-16,0 0 0,0 0 16,-14 1-16,14 12 15,0-13 1,0 1-16,0-1 16,0 0-1,0 0 1,0 1-1,-13-14 1,13 13 0,-13-13-16,0 13 15,-1-13 1,-12 0 0,13 0-16,0 13 0,-1-13 15,1 0-15,0 0 0,0 0 16,-1 0-16,-12 0 0,13 0 15,-14 0-15,14 0 0,-13 13 0,-1-13 16,14 0-16,-14 0 0,1 0 16,0 0-16,-14 14 0,0-14 15,27 0-15,-27 0 0,14 13 16,-1-13-16,14 0 0,-27 13 0,14-13 16,0 0-16,-1 13 0,1-13 0,-1 14 15,-13-14-15,14 13 0,0-13 16,-14 13-16,13-13 0,-12 0 0,12 13 15,1-13-15,-1 14 0,1-14 0,-1 0 16,1 13-16,-1-13 0,1 0 16,-14 13-16,14-13 0,-14 13 0,14-13 15,-14 13-15,0 1 0,1-14 16,-1 13-16,0 0 0,-13-13 0,14 13 0,-1 1 16,0-1-16,1-13 15,12 13-15,-13 0 0,1 0 0,-1-13 16,0 14-16,1-1 0,-1-13 0,0 13 15,1 0-15,-1-13 0,-53 27 16,54-27-16,-1 13 0,-13 0 16,0-13-16,13 14 0,-12-1 0,-1-13 15,13 13-15,-13-13 0,0 13 0,0-13 16,0 13-16,0-13 0,0 14 16,14-14-16,-14 13 0,0-13 0,13 0 15,-13 13-15,14-13 0,-14 0 16,13 13-16,-13-13 0,0 0 0,14 0 15,-14 0-15,0 14 0,13-14 0,-13 0 16,13 0-16,-13 13 0,14-13 16,-1 0-16,0 0 0,1 0 15,-1 0-15,14 13 0,-14-13 0,13 0 16,-12 0-16,12 0 0,1 0 0,-1 0 16,1 0-16,-1 0 0,14 0 0,-13 0 15,-1 0-15,14 0 0,0 0 16,-14-13-16,14 13 0,0 0 0,0 0 15,-14 0-15,14 0 0,0 0 0,0 0 16,-14 0-16,14 0 0,0 0 16,-1 0-16,-12 0 0,13 0 15,0 0-15,-1 0 0,-12 0 0,13 0 16,-1 0-16,1 0 0,-13-13 16,12 13-16,1 0 0,0 0 0,-13 0 15,12 0-15,-12 0 0,13 0 0,-14-14 16,1 14-16,-14 0 0,14 0 15,-1 0-15,-13 0 0,14 0 0,-1-13 16,-12 13-16,12 0 0,1 0 0,-1-13 16,1 13-16,13 0 0,-14 0 0,1 0 15,13-13-15,-14 13 0,1 0 16,12 0-16,-12 0 0,0-14 0,-1 14 16,14 0-16,-14 0 0,1 0 15,-1 0-15,-12 0 0,12 0 16,-12 14-16,12-14 0,1 0 0,-14 0 15,14 0-15,12 0 0,-12 13 0,-1-13 16,14 0-16,-13 0 0,13 0 16,-1 13-16,1-13 0,0 0 0,39 0 31</inkml:trace>
  <inkml:trace contextRef="#ctx0" brushRef="#br1" timeOffset="-191777.57">16947 9512 0,'0'0'0,"-27"0"0,-39 0 32,53 13-32,0-13 0,-1 0 15,-12 13-15,13-13 0,-1 13 0,1 1 16,-13-1-16,12 0 0,-12 0 0,13 1 15,-14-1-15,14 13 0,-13-12 16,12 12-16,-12 0 0,-1-12 0,14 12 16,0 1-16,0-1 0,0-13 0,-1 14 15,14-1-15,-13 1 0,13-14 16,0 13-16,0 1 0,0-1 0,0 1 16,0-1-16,0 1 0,13 12 15,-13 1-15,14-14 0,-1 14 16,0-13-16,0-1 0,14 1 0,-14-1 15,0 0-15,0 1 0,1-14 0,-1 14 16,13-14-16,-12 0 0,-1 0 16,13 1-16,1 12 0,-1-13 0,1 0 15,-1-13-15,1 14 0,12-1 0,1 0 16,0-13-16,12 13 0,-12-13 16,0 14-16,13-14 0,-14 0 0,1 13 15,-13-13-15,12 0 0,1 13 0,0-13 16,-14 0-16,14 0 0,-14 0 15,14 0-15,-14 0 0,14 0 16,13 0-16,-13-13 0,-1 13 0,1 0 16,-13 0-16,12-13 0,1 13 15,0-14-15,-1 14 0,1-13 0,0 0 16,-14 13-16,1-13 0,12 13 0,1-14 16,0 1-16,-14 0 0,14 0 15,-1 0-15,-12-1 0,13 1 16,-14 0-16,1 0 0,12-1 0,-12 1 15,-1 0-15,1 0 0,-1-1 0,1-12 16,-14 13-16,13 0 0,-13-1 0,1 1 16,-1 0-16,0 0 0,-13-1 15,13-12-15,1 13 0,-14-1 0,0 1 16,13-13-16,-13 13 0,-13-1 16,13 1-16,0-13 0,-14 12 0,1 1 15,13-13-15,-13-1 0,0 14 0,-14-13 16,14-1-16,-13 14 0,12-14 15,-12 1-15,-1 13 0,1-14 0,-1 14 16,1-13-16,-14 12 0,14-12 0,-14 13 16,0-1-16,1-12 0,-14 13 15,0-14-15,-13 14 0,13 0 0,-13 0 16,0-1-16,-1 1 0,1 0 16,0 0-16,13 13 0,0-14 0,-13 14 0,13-13 15,14 13-15,-14 0 16,13 0-16,14 0 0,-14 0 0,13 0 15,1 0-15,13 0 0,-14 0 0,1 0 16</inkml:trace>
  <inkml:trace contextRef="#ctx0" brushRef="#br1" timeOffset="-191326.88">17171 9578 0,'0'-27'0,"0"54"0,14-67 16,-28 27-16,14-13 0,0 12 0,0 1 16,0-13-16,0 12 0,0-12 0,0-1 15,-13 1-15,13-14 0,0 1 16,0-1-16,0 14 0,-13-1 16,13 1-16,0-1 0,0 1 0,0-1 15,0 1-15,0 13 0,0-1 0,0-12 16,0 13-16,0-1 15,0 1-15,0 0 0,0 0 16,0-1-16,13 1 16,0 0-1,1 13 1,-1 0-16,0 0 16,0 0-16</inkml:trace>
  <inkml:trace contextRef="#ctx0" brushRef="#br1" timeOffset="-191118.11">17277 8877 0,'0'0'0,"0"-13"0,0-1 16,0 1 0,-13 13-1,-13 0-15,12 0 0,14 13 16,-26-13-16,13 14 0,-1-1 16,-12 13-16,0-13 0,-1 14 0,1-1 15,-1-12-15,1 12 0,-1 1 16,1-14-16,13 13 0,-1-13 15,1 1-15,0-1 0,0 0 0,-1 0 0,1-13 16,13 14-16,-13-1 0,13 0 16</inkml:trace>
  <inkml:trace contextRef="#ctx0" brushRef="#br1" timeOffset="-190943.72">17132 8930 0,'13'13'0,"53"27"31,-39-27-31,-14 0 0,13-13 16,1 13-16,-14 1 0,13-14 0,1 13 16,-14-13-16,14 13 0,-14-13 15,13 13-15,1-13 0,-14 0 0</inkml:trace>
  <inkml:trace contextRef="#ctx0" brushRef="#br1" timeOffset="-183855.6">16999 10610 0,'-13'0'0,"0"0"32,0 13-17,0-13 32,-1 0-31,1 13 15,0-13-31,0 0 16,-1 13-1,1-13 1,13 14-16,-13-14 0,0 13 16,0-13-1,-14 26 1,14-26-16,13 14 0,-13-14 15,-1 13-15,1-13 0,13 13 0,-13 0 16,0-13-16,-1 14 0,1-1 0,0-13 16,0 13-16,0-13 0,13 13 15,-14-13-15,1 13 0,0-13 16,0 14-16,-1-14 0,14 13 16,-13-13-16,0 0 0,13 13 15,-13-13-15,-1 13 16,1-13-1,0 14-15,0-14 16,0 0-16,-1 13 16,1-13-1,0 13-15,0-13 16,-1 0-16,1 0 16,0 0-1,0 0-15,-1 0 16,14 13-16,-13-13 15,-13 0-15,13 0 16,-1 0 0,1 0-16,0 0 15,0 0-15,-1-13 0,1 13 16,0 0-16,0 0 16,13-13-16,-14 13 15,1 0-15,0 0 0,0-13 0,0 13 16,-1-14-16,1 14 15,0 0-15,13-13 0,-13 13 16,-1-13-16,1 13 0,0 0 0,0-13 16,13-1-16,-13 14 0,-1-13 0,1 13 15,0-13-15,0 0 0,-1 0 16,1 13-16,13-14 0,-13 1 0,0 13 16,-1-13-16,1 0 0,0 13 15,13-14-15,-13 14 16,13-13-16,-13 13 0,13-13 0,-14 13 15,1-13-15,13-1 16,-13 14-16,13-13 0,-13 13 16,13-13-16,-14 13 15,14-13-15,-13 0 0,0-1 16,13 1 0,-13 13-16,13-13 15,-27 0 1,27-1-1,0 41 48</inkml:trace>
  <inkml:trace contextRef="#ctx0" brushRef="#br1" timeOffset="-183499.86">15743 10491 0,'-14'-13'16,"1"26"-1,13 0-15,0 0 0,-13-13 16,13 13-16,0 1 0,-13-1 0,13 0 16,-13 0-16,13 1 0,0-1 15,-14 0-15,14 0 0,0 0 16,-13 1-16,13-1 0,-13 0 15,13 0-15,0 1 0,-13-14 16,13 13-16</inkml:trace>
  <inkml:trace contextRef="#ctx0" brushRef="#br1" timeOffset="-183161.12">15716 10464 0,'0'-13'16,"13"13"-1,1 13-15,-1-13 0,0 0 16,0 14-16,1-14 0,12 0 0,-13 13 15,1-13-15,12 13 0,-13-13 16,0 0-16,14 13 0,-14-13 0,0 0 16,1 13-16,-1-13 0,0 0 15,0 0-15,1 14 16,-1-14 0,0 0-1,-13 13 1,0 0-1</inkml:trace>
  <inkml:trace contextRef="#ctx0" brushRef="#br1" timeOffset="-181323.05">10544 10901 0,'-27'0'16,"14"0"-1,0 13-15,0-13 16,-1 0-16,1 13 0,0 1 0,0-14 16,-1 13-16,1 0 0,-13 0 0,12 0 15,-12 1-15,0-1 0,-1 0 16,-13 14-16,14-14 0,-1 0 15,-12 0-15,12 14 0,-12-14 0,-67 40 16,66-27-16,-13-12 0,13 12 16,1-13-16,-14 0 0,13 1 15,1 12-15,-1-13 0,-13 1 0,13-1 16,1-13-16,-1 13 0,-13 0 0,13-13 16,1 0-16,-1 14 0,13-14 15,-12 0-15,12 0 0,1 0 0,-1 0 16,-12 13-16,12-13 0,1 0 0,-1 0 15,1 0-15,-1 0 16,14 0-16,-13 0 0,-1 0 0,1 0 16,13 0-16,-14 0 0,14 0 0,0 0 0,-1 0 15,1 0-15,0 0 16,0 0-16,-1 0 0,1 0 0,0 0 16,0 0-16,0 0 15,-1 0-15,1 0 16,0 0-1,0 0 17,39 0-1,-13 0-15,14-13-16,-14 13 15,13 0-15,1 0 0</inkml:trace>
  <inkml:trace contextRef="#ctx0" brushRef="#br1" timeOffset="-180561.94">8837 11549 0,'0'13'16,"-13"-13"-1,0-13 1,-1 13-16,1 0 16,0 0-16,0-13 0,-14 0 0,14 13 15,-13-14-15,-1 1 16,1-13-16,-14 12 0,27 1 0,-14 0 0,14 0 16,-13-14-16,12 14 0,1 0 0,0 13 15,0-13-15,-1-1 16,1 14-16,13-13 0,-13 13 0,13-13 15,-13 13-15,13-13 0,13-1 16,0 14 0,-13-13-16,13 13 0,1 0 15,-1 0-15,13-13 0,-12 13 0,-1 0 16,0 0-16,13 0 0,-12 0 0,12-13 16,-13 13-16,14 0 0,-14 0 15,14 0-15,-14 0 0,0-13 0,13 13 16</inkml:trace>
  <inkml:trace contextRef="#ctx0" brushRef="#br1" timeOffset="-179010">8070 10755 0,'-27'66'32,"27"-52"-32,-13-1 15,13 0-15,-13 14 0,13-14 0,-13 13 16,13-12-16,-14-1 0,14 0 15,-13 13-15,0-12 0,13-1 0,-13 0 16,13 0-16</inkml:trace>
  <inkml:trace contextRef="#ctx0" brushRef="#br1" timeOffset="-178697.03">8162 10861 0,'-13'27'16,"0"-27"-16,13 13 0,0 0 0,0 0 15,0 1 1,13-1-16,-13 0 0,13-13 0,-13 13 16,14-13-16,-1 0 0,0 0 15,0 0-15,1 0 16,-1-13-16,0 13 0,0-13 15,-13 0-15,13 13 0,-13-14 0,0 1 16,0 0-16,0 0 0,-13-1 16,13 1-16,0 0 0,-13 0 15,13-1-15,-13 14 0,0 0 16,-1 0-16,1 14 16,0-1-16,13 0 15,0 0-15</inkml:trace>
  <inkml:trace contextRef="#ctx0" brushRef="#br1" timeOffset="-178479.09">8480 10888 0,'26'13'15,"-26"0"1,0 0-16,0 1 0,0-1 15,0 0-15,-13 0 0,13 14 0,-13-14 16,13 0-16,-13 0 0,-1 1 16,14-1-16,-13 0 0,13 0 15,-13 0-15</inkml:trace>
  <inkml:trace contextRef="#ctx0" brushRef="#br1" timeOffset="-178194.04">8903 10848 0,'0'0'0,"0"13"31,0 0-31,0 1 16,0-1-16,0 0 0,0 0 15,-13 1-15,13-1 0,0 0 0,-13 0 16,13 0-16,-13 1 16,13-1-16,-14-13 15</inkml:trace>
  <inkml:trace contextRef="#ctx0" brushRef="#br1" timeOffset="-177874.82">9115 10808 0,'-13'-13'0,"-1"13"15,1 13 1,13 0 0,0 1-1,0-1 1,0 0-16,0 0 16,0 1-16,0-1 15,0 0-15,-13 0 16,0 1-16,0-1 15,-1-13-15,1 13 0,0-13 16,0 0-16,-14 13 0,14 0 0,-14 1 16,1-14-16,0 13 15,-14 0-15</inkml:trace>
  <inkml:trace contextRef="#ctx0" brushRef="#br1" timeOffset="-177177.09">7898 11284 0,'53'0'0,"92"-13"31,-92 13-31,0 0 0,0 0 16,0-13-16,0 13 0,0 0 0,0-13 15,0 13-15,-1-13 0,-12 13 16,0-14-16,0 14 0,-1 0 16,-12-13-16,-1 13 0,1-13 0,-1 13 15,1-13-15,-1 13 0,0-14 16,1 1-16,-1 13 0,1-13 0,-1 0 16,1 13-16,-14-14 0,13 1 0,1 13 15,-1-13-15,-12 13 0,12-13 16,-13 13-16,1-13 0,12-1 0,-13 14 15,0-13-15,14 13 0,-14-13 0,0 13 16,1-13-16,-1-1 0,13 14 16,-13-13-16,1 13 0,-1-13 0,-13 0 15,13 13-15,0-13 0,1-1 16,-1 1-16,-13 0 0,13 0 16,0-1-16,-13 1 0,0 0 15,0 0-15,0-1 0,0 1 16,0 0-16,0 0 0,-13-14 0,0 14 15,0-13-15,-1 12 0,-12-12 16,-1-1-16,-12 1 0,12 13 0,-26-14 16,14 1-16,-14 13 0,-13-14 0,13 14 15,-13 0-15,-14 0 0,14 13 16,0-14-16,-13 14 0,12 0 0,1 14 16,13-14-16,-13 13 0,13-13 15,0 13-15,0 0 0,14-13 16,12 13-16,1-13 0,13 0 0</inkml:trace>
  <inkml:trace contextRef="#ctx0" brushRef="#br1" timeOffset="-176066.11">8996 9948 0,'0'-13'0,"0"0"0,13 13 16,0-13-1,1 13-15,-14-14 0,13 14 0,0 0 16,0 0-16,0-13 15,1 13-15,12 0 16,-13 0-16,1 0 0,-14 13 16,13-13-16,0 0 15,0 14-15,1-1 0,-1-13 16,-13 13-16,13 0 0,0 1 16,-13-1-16,0 0 15,13 0-15,-13 0 0,0 1 16,0-1-16,-13 0 0,13 0 15,0 1-15,-13-1 0,13 0 16,-13-13-16,13 13 0,-13 1 0,-1-1 16,14 0-16,-13-13 0,0 13 15,0 0-15,-1-13 16,14 14-16,-13-14 0,0 0 16,13 13-16,-13-13 0,-1 0 0,1 0 15,0 0 1,0 0-1,0 0-15,13-13 16,0-14-16,0 14 16,0 0-1,0 0-15,13-1 0,-13 1 0,13 13 16,-13-13-16,13 0 0,0-1 16,1 1-16,-1 13 15,0-13-15,0 13 16,1 13-16,-1-13 0,0 13 15,0-13 1,1 14-16,-1-1 0,0-13 16,0 13-16,0-13 0,1 13 0,-1-13 15,0 0-15,0 14 0,1-14 16,-1 0-16,0 0 0,0 13 0,14-13 16,-14 0-16,0 0 0,0 0 0,1 0 15,-1-13-15,0 13 0</inkml:trace>
  <inkml:trace contextRef="#ctx0" brushRef="#br1" timeOffset="-174931.08">7871 11351 0,'-13'0'0,"0"-14"15,0 1 1,-1 13 0,1-13-16,0 0 15,13-1-15,-13 1 0,0 0 0,13 0 16,-14-14-16,1 1 0,13 13 0,-13-14 15,13 1-15,0-1 0,-13 1 16,13-14-16,0 14 0,0-14 16,0 0-16,13 1 0,-13-1 0,26 0 15,-12 1-15,-1-14 0,13 26 16,1-13-16,-14 1 0,13 12 0,1 1 16,-1 13-16,-12-14 0,12 27 0,-13-13 15,0 13-15,1-13 0,-1 13 16,0 0-16,-13 13 0</inkml:trace>
  <inkml:trace contextRef="#ctx0" brushRef="#br1" timeOffset="-174059.53">8255 11390 0,'13'0'0,"-26"0"0,26-13 32,-13 53-17,0-27-15,0 13 0,0 14 16,13 13-16,-13-13 0,-13 13 15,13 0-15,0 0 0,0-1 16,0-12-16,0 13 0,0 0 0,0-13 16,0-1-16,0 1 0,0-14 0,0 1 15,0-1-15,-13 1 0,13-14 16,0 0-16,0 1 0,0-1 0,-13-26 47,13-1-47</inkml:trace>
  <inkml:trace contextRef="#ctx0" brushRef="#br1" timeOffset="-173797.94">8281 11364 0,'-66'92'15,"53"-65"1,-13-1-16,12 14 0,1-13 16,-13 12-16,12-12 0,-12 12 15,13-12-15,0-1 0,-1 1 0,14-1 16,-13-13-16,13 1 0</inkml:trace>
  <inkml:trace contextRef="#ctx0" brushRef="#br1" timeOffset="-173596.99">8215 11390 0,'0'27'0,"14"-27"15,-14 13-15,0 0 16,13 14-16,0-14 0,-13 13 0,13-12 16,0 12-16,14 14 0,-14-14 0,0 1 15,1-1-15,12 1 0,-13-1 16,1 1-16,-1-14 0,0 13 16</inkml:trace>
  <inkml:trace contextRef="#ctx0" brushRef="#br1" timeOffset="-172518.26">8202 12515 0,'0'0'16,"-13"0"-16,0 13 0,13 0 0,-14 0 16,14 1-16,0-1 0,0 13 0,0-12 15,0 12-15,0-13 0,0 14 16,0-14-16,14 0 0,-14 0 15,13 1-15,-13-1 0,13 0 0,0 0 16,1-13-16,-1 0 0,0 0 16,0 0-16,0-13 0,1 13 15,-1-13-15,-13 0 0,13-1 0,-13 1 16,0 0-16,0 0 0,-13-14 16,13 14-16,0-13 0,-13 12 0,13 1 15,-14-13-15,1 12 0,0 1 16,0 0-16,0 13 15,-14 0-15,27 13 16,-13-13-16,13 13 0,-13 1 16,13-1-16,0 0 15,13-13-15,-13 13 16,13-13-16,0 0 0,1 0 16,-1 0-16,0 0 0,0 0 15,0-13-15,1 13 16,-1 0-16,0 0 0,0 0 15,-13 13-15,14-13 0,-1 14 16,0-1-16,-13 0 16,13-13-16,-13 13 0,14 1 15,-1-14-15,-13 13 0,13-13 16,0 0 0,0-13-16,1 13 0,-14-14 15,13 14-15,0-13 0,0 0 0,-13 0 16,14-1-16,-1 1 15,0 0-15,-13 0 16,26 26 0,-12-13-1,-14 13-15,13-13 0,-13 13 0,13-13 16,0 0-16,1 0 0,-1 0 16,0 0-16,0-13 15,1 13-15,-1-13 0,-13 0 0,13-1 16,0-12-16,0 0 0,1 12 15,-14-25-15,13 12 0,0 1 0,-13-1 16,0 14-16,13 0 0,-13 0 16,0-1-16,0 1 0,0 0 0,0 53 31,0-27-31,0 0 16,0 13-16,0-12 0,0 12 15,0 1-15,0-1 0,0 1 0,0-1 0,0 0 16,0-12-16,0-1 0,0 0 15,0 0-15,0 1 0,0-1 0,0 0 16</inkml:trace>
  <inkml:trace contextRef="#ctx0" brushRef="#br1" timeOffset="-172301.87">8718 12568 0,'26'-27'16,"-12"27"-16,-1 0 16,0 0-16,0 0 0,1 0 15,-1 0-15,0 0 16,0 0-16,1 0 0,-1 0 16,0 0-16,-13 13 15,13-13 1,-13 14-16</inkml:trace>
  <inkml:trace contextRef="#ctx0" brushRef="#br1" timeOffset="-172117.57">8983 12449 0,'0'13'0,"0"66"32,0-66-17,13 1-15</inkml:trace>
  <inkml:trace contextRef="#ctx0" brushRef="#br1" timeOffset="-171402.51">16999 10808 0,'0'-13'0,"-13"39"32,0-12-32,0 12 0,0 14 15,-14-14-15,1 27 0,-1-13 16,14 13-16,-13 0 0,-1-14 0,1 14 16,-1-13-16,1 0 0,12-1 0,-12 1 15,13-13-15,0-1 0,-1 0 16,1-12-16,0-1 0,0 0 0,13 0 15,0 1-15,-14-14 0</inkml:trace>
  <inkml:trace contextRef="#ctx0" brushRef="#br1" timeOffset="-171070.98">16788 10901 0,'13'0'16,"-26"0"-16,26-13 0,0 13 0,1 0 15,-1-14-15,13 28 16,-13-14-1,1 13-15,-1 0 0,-13 0 16,13 1-16,-13-1 0,13 13 16,-13-13-16,0 1 0,14 12 0,-14-13 15,0 1-15,0 12 0,0-13 0,0 0 16,0 1-16,13-1 0,-13 0 16,0 0-16,0 1 0,0-1 0,0 0 15</inkml:trace>
  <inkml:trace contextRef="#ctx0" brushRef="#br1" timeOffset="-169889.23">15901 11959 0,'0'0'16,"-13"13"-16,0-13 0,13 14 16,-13-14-16,13 13 15,0 0-15,-13 0 0,13 1 16,0-1-16,13-13 0,-13 13 15,13 0 1,13-26-16,-12 13 16,-1 0-16,0-13 0,0 13 15,1-13 1,-1 13-16,0 13 16,-13 0-1,13-13-15,-13 13 16,14 0-16,-1-13 15,0 0 1,0 0-16,0 0 0,1-13 16,-1 0-16,0 0 0,0 0 15,-13-1-15,14-12 0,-1 13 16,0-1-16,-13-12 0,13 13 0,0-1 16,-13-12-16,14 13 0,-14 0 15,0 26 1,0 0-16,0 0 15,0 14-15,-14-1 16,14-13-16,-13 14 0,13-1 0,-13 1 16,13-1-16,-13 1 0,13-1 0,0-13 15,-13 1-15,13-1 0,0 0 16,0 0-16,0 1 0,0-1 0,-14-13 16,28-27 15,-14 14-31,13 0 0,0-27 15,0 14-15,0-1 0,14-12 0,-14 12 16,14 1-16,-14 12 0,0 1 0,14 0 16,-14 0-16,0 13 0,0-14 0,0 14 15,1 14-15,-1-1 16,-13 0-16,0 0 16,-13 1-16,13 12 0,-27 14 15,27-27-15,-26 0 16,13 14-16,-1-14 0,1 0 0,0 0 0,0 1 15,-1-1-15,1-13 0,0 13 16</inkml:trace>
  <inkml:trace contextRef="#ctx0" brushRef="#br1" timeOffset="-169126.36">16417 11748 0,'14'39'32,"-1"-26"-32,-13 14 15,0-14-15,0 14 0,0-14 0,0 13 16,0 1-16,13-14 0,-13 13 16,0 1-16,-13-14 0,13 14 0,0-14 15,0 0-15,0 0 0,0 0 0,0 1 16,0-1-16,0 0 0,-13-13 15,13 13-15,-14-39 32,14 13-32,14-14 15,-14 14-15,0-13 0,13-1 0,-13 14 16,13-14-16,-13 14 0,13 0 0,-13 0 16,14-1-16,-1 1 0,-13 0 15,13 13-15,0 0 16,0 0-16,1 0 15,-14 13-15,0 0 0,0 1 16,13-1-16,-13 0 16,0 0-16,0 1 15,0-1-15,0 0 16,0 0-16,13 1 16,0-1-1,1-26 1,-1 13-16,0 0 15,-13-14-15,13 14 0,-13-13 0,14 0 16,-1 0-16,-13-1 0,13 1 16,-13 0-16,0 0 15,0-1-15,13 1 16,-13 0 0,13 13 15,1 13-16,-1 0-15,0 1 16,0-14 0,-13 13-16,14-13 0,-14 13 15,13-13-15,-13 13 16,13-26 0,0 13-1,-13-13-15,14 0 0,-1-1 16,-13 1-16,13 0 0,0 13 15,-13-13-15,13 13 0,-13-13 16,-13 39 15</inkml:trace>
  <inkml:trace contextRef="#ctx0" brushRef="#br1" timeOffset="-168565.32">16272 12435 0,'0'27'31,"0"-14"-31,0 0 16,0 1-16,-13-14 15,13 13-15,0 0 16,-14 0-16,1 0 0,0 1 15,0-14-15,-1 0 0,1 13 16,0-13-16,0 0 0,0 0 16,-1 0-16,-12 0 0,26-13 15,0-14 1,13 14-16,0 0 16,1-14-16,-1 14 0,13 13 0,-13-13 15,1 0-15,-1 13 0,0-14 16,0 14-16,1-13 0,-1 13 0,0 0 15,0 0 1,14 13-16,-14-13 16,-13 14-16,13-1 15,-13 0-15,0 0 16,0 1-16,0-1 0,0 0 16,-13 0-1</inkml:trace>
  <inkml:trace contextRef="#ctx0" brushRef="#br1" timeOffset="-168435.44">16378 12356 0,'0'-13'0,"0"26"16,-14-39-16,28 12 31</inkml:trace>
  <inkml:trace contextRef="#ctx0" brushRef="#br1" timeOffset="-167853.99">16576 12197 0,'-13'0'0,"26"0"0,0 14 32,-13-1-32,-13 0 0,13 0 15,0 0-15,0 1 16,-13 12-16,13-13 0,0 1 15,0-1-15,0 0 0,0 0 16,0 0-16,0 1 16,-13-1-16,13 0 15,-14-13 1,1 13 0,0 1-1,0-1 1,13 0-1,13-13 1,0 0-16,14 0 16,-14-13-16,0 13 15,0 0-15,1 0 0,-14-13 0,13 13 16,13 0-16,54 13 94,-67-13-94,0-13 15,0 13 1,-13 13 31,0 0-16,27-26 16</inkml:trace>
  <inkml:trace contextRef="#ctx0" brushRef="#br1" timeOffset="-167713.26">16907 12449 0,'0'0'0,"-27"-14"47</inkml:trace>
</inkml:ink>
</file>

<file path=ppt/ink/ink2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7.877"/>
    </inkml:context>
    <inkml:brush xml:id="br0">
      <inkml:brushProperty name="width" value="0.05" units="cm"/>
      <inkml:brushProperty name="height" value="0.05" units="cm"/>
      <inkml:brushProperty name="ignorePressure" value="1"/>
    </inkml:brush>
  </inkml:definitions>
  <inkml:trace contextRef="#ctx0" brushRef="#br0">103 1,'-2'32,"-2"1,-1-1,-2 0,-1 0,-21 54,-15 57,41-124,3-3</inkml:trace>
</inkml:ink>
</file>

<file path=ppt/ink/ink2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8.287"/>
    </inkml:context>
    <inkml:brush xml:id="br0">
      <inkml:brushProperty name="width" value="0.05" units="cm"/>
      <inkml:brushProperty name="height" value="0.05" units="cm"/>
      <inkml:brushProperty name="ignorePressure" value="1"/>
    </inkml:brush>
  </inkml:definitions>
  <inkml:trace contextRef="#ctx0" brushRef="#br0">91 1,'0'0,"1"-1,-1 1,1 0,-1 0,1 0,-1 1,0-1,1 0,-1 0,1 0,-1 0,1 0,-1 0,1 1,-1-1,0 0,1 0,-1 1,1-1,-1 0,0 1,1-1,-1 0,0 1,0-1,1 0,-1 1,0-1,0 1,1-1,-1 0,0 1,0 0,-3 18,-16 14,17-31,1 0,0 1,-1-1,1 1,0-1,0 1,1-1,-1 1,1 0,-1-1,1 1,0 0,0 0,0-1,0 1,0 0,1-1,-1 1,1 0,0-1,0 1,0-1,0 1,0-1,0 1,1-1,1 3,-1-1,0 0,0 0,0 1,-1-1,1 1,-1-1,1 7,-2-9,-1 0,1 0,0 0,-1 0,1 0,-1 0,1-1,-1 1,0 0,0 0,0 0,0 0,0-1,0 1,-1-1,1 1,0-1,-1 1,0-1,1 0,-4 2,-3 3,0-1,-1-1,0 0,-12 4,3-1</inkml:trace>
</inkml:ink>
</file>

<file path=ppt/ink/ink2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8.623"/>
    </inkml:context>
    <inkml:brush xml:id="br0">
      <inkml:brushProperty name="width" value="0.05" units="cm"/>
      <inkml:brushProperty name="height" value="0.05" units="cm"/>
      <inkml:brushProperty name="ignorePressure" value="1"/>
    </inkml:brush>
  </inkml:definitions>
  <inkml:trace contextRef="#ctx0" brushRef="#br0">1 4,'2'1,"0"0,0 1,0-1,0 1,-1 0,1-1,0 1,-1 0,0 0,1 0,-1 0,0 1,0-1,0 0,0 0,1 4,7 11,-7-15,1 1,0 0,1-1,-1 0,0 0,1 0,-1 0,1-1,-1 1,1-1,0 0,0 0,-1 0,9 0,-11-1,1 0,-1 1,0-1,1 0,-1 0,0 0,1 0,-1 0,0-1,1 1,-1 0,0-1,0 1,1-1,-1 1,0-1,0 0,0 1,1-1,-1 0,0 0,0 0,0 0,0 0,-1 0,1 0,0 0,0 0,-1 0,1 0,0 0,-1-1,1 1,-1 0,0 0,1-1,-1 1,0 0,0-1,0 1,0 0,0-1,0 1,0-3,-1 2,1 0,-1 0,0 1,1-1,-1 0,0 0,0 0,0 1,0-1,0 0,0 1,-1-1,1 1,-1-1,1 1,-1 0,1 0,-1 0,0 0,1 0,-1 0,0 0,0 0,-4 0,-2-2,0 2,0-1,0 1,-14 0,4 1</inkml:trace>
</inkml:ink>
</file>

<file path=ppt/ink/ink2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8.953"/>
    </inkml:context>
    <inkml:brush xml:id="br0">
      <inkml:brushProperty name="width" value="0.05" units="cm"/>
      <inkml:brushProperty name="height" value="0.05" units="cm"/>
      <inkml:brushProperty name="ignorePressure" value="1"/>
    </inkml:brush>
  </inkml:definitions>
  <inkml:trace contextRef="#ctx0" brushRef="#br0">1 0,'2'2,"-1"-1,1 1,0 0,0-1,-1 1,1 0,-1 0,1 0,-1 0,0 1,0-1,0 0,0 0,1 5,11 18,-10-23,1 1,-1-1,1 0,-1-1,1 1,0 0,0-1,0 0,0 0,0 0,0-1,0 1,7-1,-10 0,0 0,0 0,1 1,-1-1,0 0,0 0,0 0,0-1,0 1,0 0,0 0,0 0,0-1,0 1,0-1,0 1,0-1,0 1,0-1,0 1,0-1,0 0,0 0,-1 1,1-1,0 0,-1 0,1 0,0 0,-1 0,1 0,-1 0,1 0,-1 0,0 0,0 0,1 0,-1 0,0 0,0 0,0 0,0 0,0-1,0 1,0 0,0 0,-1 0,1 0,0 0,-1 0,1 0,-1-1,-1-1,0 0,0 0,0 0,-1 1,1-1,-1 1,1 0,-1-1,0 1,0 0,0 1,0-1,0 0,0 1,0 0,-1 0,1 0,0 0,-1 0,1 1,-1-1,1 1,-1 0,1 0,-5 1,-11 2</inkml:trace>
</inkml:ink>
</file>

<file path=ppt/ink/ink2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9.285"/>
    </inkml:context>
    <inkml:brush xml:id="br0">
      <inkml:brushProperty name="width" value="0.05" units="cm"/>
      <inkml:brushProperty name="height" value="0.05" units="cm"/>
      <inkml:brushProperty name="ignorePressure" value="1"/>
    </inkml:brush>
  </inkml:definitions>
  <inkml:trace contextRef="#ctx0" brushRef="#br0">1 15,'0'6,"0"-1,0 1,1-1,0 1,0-1,1 0,-1 1,1-1,0 0,1 0,-1 0,1 0,0-1,0 1,0-1,1 0,0 1,6 5,-6-8,-1 0,0 0,1 0,-1 0,1-1,0 0,-1 1,1-1,0-1,0 1,0 0,-1-1,1 0,0 0,0 0,0 0,0-1,0 1,0-1,-1 0,1 0,0-1,-1 1,1-1,-1 0,1 0,4-3,-6 4,-1 0,1-1,0 1,-1 0,1-1,0 1,-1-1,0 1,1-1,-1 0,0 0,0 0,0 1,0-1,0 0,-1 0,1 0,-1 0,1 0,-1-1,1 1,-1 0,0 0,0 0,0 0,-1 0,1 0,0 0,-1 0,1-1,-1 1,0 0,1 1,-1-1,0 0,0 0,-1 0,0-1,0-1,-1 1,1 0,0 0,-1 1,0-1,0 0,0 1,0 0,0 0,0 0,0 0,-1 0,1 0,-1 1,0 0,1 0,-1 0,0 0,1 0,-8 0,-6 4,1 0</inkml:trace>
</inkml:ink>
</file>

<file path=ppt/ink/ink2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0.324"/>
    </inkml:context>
    <inkml:brush xml:id="br0">
      <inkml:brushProperty name="width" value="0.05" units="cm"/>
      <inkml:brushProperty name="height" value="0.05" units="cm"/>
      <inkml:brushProperty name="ignorePressure" value="1"/>
    </inkml:brush>
  </inkml:definitions>
  <inkml:trace contextRef="#ctx0" brushRef="#br0">250 10,'-15'-3,"0"0,0 1,0 1,0 1,0 0,0 1,-1 0,-17 5,33-6,-1 0,1 0,-1 0,0 0,1 0,-1 0,1 0,-1 0,1 0,-1 0,1 0,-1 0,1 0,-1 0,1 1,-1-1,1 0,-1 0,1 1,-1-1,1 0,-1 1,1-1,0 0,-1 1,1-1,0 1,-1-1,1 0,0 1,0-1,-1 1,1-1,0 1,0-1,0 1,-1-1,1 2,17 13,33 9,-50-24,7 3,1 1,-1-1,0 1,0 0,-1 1,0-1,1 1,6 8,-12-12,0 1,0-1,0 0,0 1,0 0,0-1,0 1,-1-1,1 1,-1 0,1 0,-1-1,0 1,0 0,1 0,-1 0,0-1,-1 1,1 0,0 0,0-1,-1 1,1 0,-1 0,0-1,1 1,-1 0,0-1,0 1,0-1,0 1,0-1,0 0,0 1,-1-1,1 0,-1 0,1 0,0 0,-1 0,0 0,-1 1,-7 4,0 0,-1 0,0-1,1 0,-2-1,1 0,0-1,-1-1,1 1,-1-2,0 1,0-2,0 0,-14-1,10-3</inkml:trace>
</inkml:ink>
</file>

<file path=ppt/ink/ink2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0.668"/>
    </inkml:context>
    <inkml:brush xml:id="br0">
      <inkml:brushProperty name="width" value="0.05" units="cm"/>
      <inkml:brushProperty name="height" value="0.05" units="cm"/>
      <inkml:brushProperty name="ignorePressure" value="1"/>
    </inkml:brush>
  </inkml:definitions>
  <inkml:trace contextRef="#ctx0" brushRef="#br0">135 1,'1'2,"0"0,1 0,-1 0,0 1,0-1,-1 1,1-1,0 1,-1-1,0 1,1-1,-1 1,0-1,0 1,-1 4,-7 43,5-40,-8 35,-3 0,-29 65,21-59,-17 64,35-99</inkml:trace>
</inkml:ink>
</file>

<file path=ppt/ink/ink2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1.225"/>
    </inkml:context>
    <inkml:brush xml:id="br0">
      <inkml:brushProperty name="width" value="0.05" units="cm"/>
      <inkml:brushProperty name="height" value="0.05" units="cm"/>
      <inkml:brushProperty name="ignorePressure" value="1"/>
    </inkml:brush>
  </inkml:definitions>
  <inkml:trace contextRef="#ctx0" brushRef="#br0">134 1,'4'0,"-1"0,0 0,0 0,0 0,0 1,0-1,0 1,0 0,0 0,0 0,0 0,0 0,0 1,0-1,-1 1,1 0,-1 0,1 0,-1 0,0 0,4 5,-5-5,0 1,0-1,-1 1,1 0,-1-1,1 1,-1 0,0-1,0 1,0 0,0-1,0 1,-1 0,1-1,-1 1,0-1,1 1,-1-1,0 1,-1-1,1 1,0-1,-1 0,1 0,-4 3,4-3,0-1,0 1,1 0,-1 0,0-1,1 1,-1 0,1 0,-1 0,1 0,0 0,0 0,0 0,0 0,0 0,0-1,1 1,-1 0,0 0,1 0,0 0,-1 0,1-1,0 1,0 0,0-1,0 1,0 0,1-1,-1 1,0-1,1 0,2 3,15 25,-18-27,-1 0,0-1,0 1,0-1,0 1,0 0,0-1,0 1,0-1,-1 1,1-1,-1 1,1 0,-1-1,0 0,1 1,-1-1,0 1,0-1,0 0,0 0,-2 2,-3 3,0-1,-1 0,1 0,-1 0,0-1,0 0,-1-1,0 0,1 0,-12 3,13-4,-1-1,1 1,-1-1,1 0,-1-1,1 1,-1-1,0-1,1 1,-1-1,1 0,-1-1,-8-2,3-5,4 0</inkml:trace>
</inkml:ink>
</file>

<file path=ppt/ink/ink2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1.617"/>
    </inkml:context>
    <inkml:brush xml:id="br0">
      <inkml:brushProperty name="width" value="0.05" units="cm"/>
      <inkml:brushProperty name="height" value="0.05" units="cm"/>
      <inkml:brushProperty name="ignorePressure" value="1"/>
    </inkml:brush>
  </inkml:definitions>
  <inkml:trace contextRef="#ctx0" brushRef="#br0">93 1,'6'0,"0"0,1 0,-1 1,0 0,0 0,0 1,0-1,0 1,10 5,-15-6,1 0,-1 0,0-1,0 1,0 0,0 0,0 0,0 1,0-1,0 0,-1 0,1 0,0 1,-1-1,1 0,-1 1,1-1,0 3,-1-2,0 0,0 1,-1-1,1 1,0-1,-1 0,0 1,1-1,-1 0,0 0,0 1,0-1,-1 0,-1 3,-9 10,0 0,-1-1,-1-1,0 0,-17 12,-36 35,66-60,1 0,0 0,-1 0,1 1,0-1,-1 0,1 0,0 0,0 1,-1-1,1 0,0 1,0-1,0 0,-1 1,1-1,0 0,0 1,0-1,0 0,0 1,0-1,-1 0,1 1,0-1,0 0,0 1,0-1,0 0,1 1,-1-1,0 1,0-1,0 0,0 1,0-1,0 0,1 1,-1-1,0 0,0 1,0-1,1 0,-1 1,21 2,23-8,78-21,-105 23</inkml:trace>
</inkml:ink>
</file>

<file path=ppt/ink/ink2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1.955"/>
    </inkml:context>
    <inkml:brush xml:id="br0">
      <inkml:brushProperty name="width" value="0.05" units="cm"/>
      <inkml:brushProperty name="height" value="0.05" units="cm"/>
      <inkml:brushProperty name="ignorePressure" value="1"/>
    </inkml:brush>
  </inkml:definitions>
  <inkml:trace contextRef="#ctx0" brushRef="#br0">131 18,'-1'-1,"1"0,-1 0,1 0,-1 0,0 0,1 0,-1 0,0 0,0 0,0 1,0-1,0 0,0 0,0 1,0-1,0 1,0-1,0 1,0-1,0 1,0-1,0 1,-1 0,1 0,0 0,-2 0,0 0,0 0,0 1,-1 0,1 0,0 0,0 0,0 0,0 1,-5 3,0 0,0 1,0 0,1 1,0 0,-11 13,16-17,1 0,-1 0,1 0,0 0,0 0,0 0,0 0,1 0,-1 1,1-1,0 0,0 0,0 1,0-1,2 6,-2-8,0 1,1-1,-1 0,0 0,1 0,-1 0,1 0,-1 0,1 0,0 0,-1 0,1 0,0 0,0 0,0 0,0 0,0 0,0-1,0 1,0 0,0-1,0 1,0-1,0 1,0-1,0 0,1 1,-1-1,0 0,0 0,0 0,1 0,-1 0,0 0,0 0,0 0,1-1,-1 1,0 0,0-1,0 1,0-1,0 1,2-1,-2 0,0 0,1 1,-1-1,0 0,1 0,-1 0,0 0,0 0,0 0,0 0,0 0,0 0,0-1,0 1,-1 0,1 0,0-1,-1 1,1-1,-1 1,1-1,-1 1,0-1,0 1,1-1,-1 1,0-2,-1 0,1-1,0 1,-1 0,0 0,0 0,0 0,0 0,0 0,-1 0,1 0,-4-4,-7-7</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6:50.933"/>
    </inkml:context>
    <inkml:brush xml:id="br0">
      <inkml:brushProperty name="width" value="0.025" units="cm"/>
      <inkml:brushProperty name="height" value="0.025" units="cm"/>
      <inkml:brushProperty name="ignorePressure" value="1"/>
    </inkml:brush>
  </inkml:definitions>
  <inkml:trace contextRef="#ctx0" brushRef="#br0">37 1,'0'3,"0"5,0 4,0 3,-3 3,-1 1,0 0,1 2,0-1,2 0,-3 0,-1 0,1-1,0 1,2-4</inkml:trace>
</inkml:ink>
</file>

<file path=ppt/ink/ink2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2.282"/>
    </inkml:context>
    <inkml:brush xml:id="br0">
      <inkml:brushProperty name="width" value="0.05" units="cm"/>
      <inkml:brushProperty name="height" value="0.05" units="cm"/>
      <inkml:brushProperty name="ignorePressure" value="1"/>
    </inkml:brush>
  </inkml:definitions>
  <inkml:trace contextRef="#ctx0" brushRef="#br0">0 1,'3'3,"2"5,-1 4,0 3,-2 2,0 3,-2 0,1 0,-1-3</inkml:trace>
</inkml:ink>
</file>

<file path=ppt/ink/ink2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2.601"/>
    </inkml:context>
    <inkml:brush xml:id="br0">
      <inkml:brushProperty name="width" value="0.05" units="cm"/>
      <inkml:brushProperty name="height" value="0.05" units="cm"/>
      <inkml:brushProperty name="ignorePressure" value="1"/>
    </inkml:brush>
  </inkml:definitions>
  <inkml:trace contextRef="#ctx0" brushRef="#br0">1 20,'0'0</inkml:trace>
  <inkml:trace contextRef="#ctx0" brushRef="#br0" timeOffset="1">136 0,'4'0,"0"0</inkml:trace>
</inkml:ink>
</file>

<file path=ppt/ink/ink2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2.936"/>
    </inkml:context>
    <inkml:brush xml:id="br0">
      <inkml:brushProperty name="width" value="0.05" units="cm"/>
      <inkml:brushProperty name="height" value="0.05" units="cm"/>
      <inkml:brushProperty name="ignorePressure" value="1"/>
    </inkml:brush>
  </inkml:definitions>
  <inkml:trace contextRef="#ctx0" brushRef="#br0">0 0,'4'0,"3"0,2 0</inkml:trace>
</inkml:ink>
</file>

<file path=ppt/ink/ink25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2:28:46.497"/>
    </inkml:context>
    <inkml:brush xml:id="br0">
      <inkml:brushProperty name="width" value="0.05292" units="cm"/>
      <inkml:brushProperty name="height" value="0.05292" units="cm"/>
      <inkml:brushProperty name="color" value="#0070C0"/>
    </inkml:brush>
  </inkml:definitions>
  <inkml:trace contextRef="#ctx0" brushRef="#br0">18799 4829 0,'-27'-14'0,"-26"-12"31,40 26-31,0-13 0,0 13 16,-1-14-16,1 14 0,-13-13 0,-27-13 16,0 13-1,26-1-15,-12 1 0,12 0 0,-12 0 16,12-1-16,-13 1 15,-26-13-15,27 13 0,12-1 0,-13 14 16,14-13-16,0 13 0,-14-13 0,13 13 16,-12-13-16,12 13 0,1 0 15,-14 0-15,0 0 0,14 0 16,-27 13-16,13-13 0,-13 0 0,14 13 16,-1 0-16,0-13 0,1 14 0,-1-1 15,0 0-15,-13 0 0,14 0 0,-1 1 16,0-1-16,14 0 15,-14 0-15,0 1 0,14-1 0,0 0 16,-14 0-16,13 0 0,1-13 0,-1 14 16,1-1-16,13 0 0,-14 0 0,14 1 15,-13-1-15,12 0 0,-12 0 16,13 1-16,-14 12 0,14-13 0,-13 14 0,12-14 16,-12 13-16,-1 1 0,14-1 15,-13 1-15,13-1 0,-14 1 0,14-1 16,-14 14-16,14-14 0,0 1 15,0-1-15,-1 1 0,14-14 0,-13 13 16,13 1-16,-13-14 0,13 14 0,0-1 16,-13 27-16,13-27 0,13 1 15,-13-1-15,0 1 0,13 12 16,14 28-16,-14-41 0,0 0 16,0 14-16,14-13 0,-14-1 0,14 1 15,-1-1-15,-13 0 0,14-12 16,-1 12-16,1 1 0,-1-14 15,1 13-15,12-13 0,-12 1 0,12 12 16,-12-13-16,12 1 0,14 12 0,-13-13 16,0 1-16,13-1 0,-14 0 15,1 0-15,13 0 0,53 14 16,-53-27-16,0 13 0,0 0 0,13 1 16,-13-1-16,0-13 0,-1 13 0,1 0 15,0-13-15,0 14 0,0-14 16,13 13-16,-13 0 0,0-13 15,13 13-15,-13-13 0,0 0 0,0 13 16,66-13-16,-66 14 0,0-14 0,13 13 16,0-13-16,0 13 15,-13-13-15,0 0 0,13 13 0,-13-13 16,0 0-16,0 0 0,0 14 0,0-14 16,13 0-16,-13 0 0,0 0 0,13 0 15,-13 0-15,0 0 0,0 0 16,0 0-16,0 0 0,0 0 0,-1 0 15,1 0-15,27 0 16,-41 0-16,14 0 0,-13 0 0,13 0 0,0 0 16,0 0-16,-14 0 15,14 0-15,0 0 0,-13 0 0,26 0 16,-26 0-16,0 0 0,-1 0 16,1 0-16,13 0 0,-14 0 0,-12 0 15,26 0-15,0 0 0,0 0 16,0 0-16,0 0 0,-1 0 0,1 0 15,0 0-15,0-14 0,0 14 0,0 0 16,0 0-16,-13 0 0,13 0 0,-1 0 16,-12 0-16,13 0 0,-13 0 15,-14-13-15,14 13 0,-14 0 0,27 0 16,13-13-16,-39 13 0,13 0 16,-1 0-16,1-13 0,0 13 15,-1 0-15,1-14 0,13 14 16,-27 0-16,14 0 0,0 0 0,-14-13 15,14 13-15,-14 0 0,14 0 0,-14 0 16,1 0-16,-1 0 0,1 0 16,-1 0-16,14-13 0,13 13 15,-27 0-15,1 0 0,13 0 0,-14 0 16,14 0-16,-14 0 0,14 0 0,13 0 16,-14-13-16,-12 13 0,13 0 0,-14 0 15,14 0-15,-1 0 0,-12 0 16,-1 0-16,14 0 0,-14 0 0,1 0 15,13 0-15,-14-13 0,1 13 16,39 0-16,-40 0 0,14 0 0,-14 0 16,1 0-16,-1 0 15,27 0-15,-26-14 0,-1 14 16,0 0-16,1 0 0,-1 0 0,-12 0 16,12 0-16,1 0 0,-1 0 0,-13-13 15,14 13-15,-1 0 0,-13 0 16,14 0-16,-14 0 0,14-13 0,-14 13 15,13 0-15,-13 0 0,14-13 16,-14 13-16,14 0 0,-14-14 0,13 14 16,-12-13-16,12 13 0,-13 0 0,0-13 15,14 13-15,-14-13 0,0 13 16,1-14-16,12 1 0,-13 13 0,1-13 16,-1 0-16,0 13 0,0-13 0,14 13 15,-14-14-15,0 14 0,0-13 0,1 0 16,-1 13-16,0-13 0,13-1 15,-12 14-15,-1-13 0,13 13 16,-12-13-16,-1 13 0,0-13 0,0-1 16,1 14-16,-1-13 0,0 13 0,0-13 15,0 13-15,1-13 0,12 0 16,-13 13-16,1-14 0,-1 1 0,0 0 16,14-14-16,-1 14 15,-13 0-15,0 0 0,14 0 0,-14-1 16,14-12-16,-14-1 0,13 14 0,1-13 15,-14 12-15,0 1 0,0-13 16,1 13-16,-1-1 0,0-12 0,0 13 16,1-1-16,-14 1 0,13-27 15,0 40-15,-13-13 0,0-13 16,0 13-16,0-1 0,0 1 16,0 0-16,0 0 0,0-1 0,-13 1 15,13 0-15,-13 0 0,13 0 16,-14-1-16,1 1 0,13 0 0,-13 0 15,0-1-15,-1 1 0,-12-13 16,13-1-16,-14 14 0,14 0 16,0 0-16,-14-1 0,14 1 15,-13 0-15,12 0 0,-25-1 0,26 1 16,-14 0-16,-13 0 0,14-1 16,-14 1-16,14 0 0,-14 13 0,0-13 15,14 0-15,-14-1 0,14 1 16,-14 13-16,0-13 0,1 0 0,-1-1 0,0 14 15,1-13-15,-1 0 0,0 0 16,1 13-16,-1-14 0,0 1 0,-13 0 16,14 0-16,-54 0 15,40-1-15,0 1 0,-92-13 16,105 12-16,-13 14 0,13-13 16,-13 0-16,1 13 0,-54-27 15,53 27-15,0-13 0,0 13 16,0-13-16,-13 0 0,26 13 0,-66-13 15,53-1-15,1 1 16,-1 13-16,0-13 0,0 13 0,0-13 16,0 13-16,0-14 0,0 1 0,13 13 15,-12 0-15,-1-13 0,0 13 0,0-13 16,-13 13-16,13-13 0,-27 13 16,-39-14-16,53 14 15,0 0-15,-80-13 0,67 13 16,0 0-16,13 0 0,-14 0 0,14 0 15,13 0-15,-13 13 0,13-13 16,-13 0-16,13 0 0,-13 0 0,0 14 16,13-14-16,-13 0 0,13 13 15,0-13-15,-13 0 0,13 13 0,-53-13 16,40 13-16,0-13 0,-1 13 16,1-13-16,-13 14 0,-80-1 15,80 0-15,-1 0 0,-92 14 16,67-27-16,-14 26 0,13-13 15,0 1-15,-13-1 0,0 13 0,13-12 16,0 12-16,14-13 0,12 1 16,-79 25-16,93-26 0,0-13 15</inkml:trace>
  <inkml:trace contextRef="#ctx0" brushRef="#br0" timeOffset="5882.68">12978 3492 0,'-27'0'32,"14"-13"-17,0 13-15,0 0 16,-1 0-16,1 0 0,-13-13 16,13 13-16,-1 0 0,-12 0 0,13-13 15,-14 13-15,1 0 0,-1 0 16,1-13-16,-1 13 0,-39 0 15,40-14-15,-14 14 0,0 0 0,1-13 16,-14 13-16,13 0 0,-13 0 16,13-13-16,-12 13 0,-1 0 0,13 0 15,-13 0-15,0 0 0,0 0 0,-53 0 16,53 13-16,1-13 0,-1 0 16,0 13-16,0-13 0,0 0 15,0 14-15,0-1 0,0-13 0,0 13 16,0 0-16,0 0 0,0 1 0,0-1 15,14 0-15,-14 0 0,0 1 16,13-1-16,-13 13 0,0-12 16,14-1-16,-14 0 0,13 13 0,0-12 15,1-1-15,-1 13 0,14-12 0,-14 12 16,0 1-16,14-14 0,-14 13 16,14 1-16,-40 26 0,39-40 15,-13 13-15,-26 40 0,27-52 16,12 12-16,-13 1 0,14-1 15,-1 1-15,-12-14 0,12 13 16,-12 1-16,12-1 0,1-13 0,-1 14 16,1-1-16,-14 1 0,14-1 0,-14 27 15,14-26-15,-1-1 16,1 0-16,12 1 0,-12-1 0,13 1 16,-14-1-16,14 1 0,0-1 0,0-13 15,-14 27-15,14-13 0,13-1 16,-13-13-16,13 14 0,-14-14 15,14 13-15,0-12 0,0-1 0,0 0 16,0 27-16,14-27 0,-14 13 16,13-12-16,0-1 15,0 13-15,1-12 0,-1-1 0,0 13 16,13 1-16,1-1 0,-1-13 0,1 14 16,-1-14-16,14 14 0,-14-14 0,14 0 15,0 0-15,52 14 16,-39-1-16,0-13 0,66 14 15,-53-14-15,1-13 0,78 27 16,-79-14-16,14 0 0,-1 0 0,-13 1 16,14-1-16,-1 0 0,0 0 15,1-13-15,-1 13 0,0 1 0,93-1 16,-79 0-16,-14-13 0,14 0 16,13 13-16,-14-13 0,1 14 15,0-14-15,12 0 0,-12 13 0,132 0 16,-119 0-16,-14-13 15,14 0-15,0 13 0,26-13 0,-26 0 16,0 14-16,0-14 0,0 0 16,13 0-16,-13 13 0,-1-13 0,1 0 15,-13 0-15,13 0 0,0 0 0,-14 0 16,1 0-16,92 0 0,-79 0 16,-14 0-16,-12 0 15,12 0-15,1-13 0,-14 13 0,1 0 16,-1-14-16,0 14 0,1-13 0,-1 13 15,1-13-15,-14 13 0,13-13 0,-13 13 16,0-13-16,-13 13 0,53-14 16,-40 1-16,-13 0 0,-13 0 15,13-1-15,-14 14 0,1-13 0,0 0 16,0-13-16,-1 12 0,1 1 16,-14-13-16,14-1 0,0 1 0,13-27 15,-27 13-15,1 14 0,12-41 16,-25 28-16,12-1 0,-13 0 15,-13 1-15,13-1 0,-13 0 16,0 1-16,0-14 0,-13 13 0,0 0 16,-27-52-16,14 39 15,-1 0-15,-12 13 0,-1-13 0,0 14 16,1-14-16,-1 0 0,0 0 16,-13 13-16,-79-92 0,66 79 15,0 0-15,-14 0 0,-52-39 16,53 39-16,-1 0 0,-12 13 15,-1 0-15,1 1 0,-94-41 16,80 41-16,1 12 0,-107-26 16,106 40-16,-13-13 0,13-1 0,-13 14 15,0 0-15,-66-14 16,66 14-16,26 0 0,-26-1 0,13 14 16,14-13-16,-14 13 0,13-13 15,-26 13-15,-13 0 0,13 13 0,-13-13 16,-1 13-16,14 1 0,-13-1 0,-14 0 15,14 14-15,0-14 0,-14 27 0,-145 12 16,159-12-16,-14-13 16,1 12-16,13-12 0,-1 12 15,14-12-15,0-1 0,13 1 0</inkml:trace>
  <inkml:trace contextRef="#ctx0" brushRef="#br0" timeOffset="7856.67">16867 2884 0,'-26'13'16,"26"0"-16,-13 1 0,-14 12 16,1 1-16,12-1 0,-12 0 0,-1 14 15,1-13-15,0-1 0,-1 1 0,1-1 16,-1 0-16,14 1 0,-14-1 16,14-12-16,0-1 0,0 13 0,0-26 15,-1 14-15,14-1 0,-13 0 16,0-13-16,13 13 0,-13 0 15</inkml:trace>
  <inkml:trace contextRef="#ctx0" brushRef="#br0" timeOffset="8135.61">16470 3201 0,'-26'0'15,"-80"67"1,80-54 0,-14 13-16,13 1 0,1-1 0,13 1 15,-14-1-15,14-13 0,0 14 16,0-14-16,13 0 0,-14 0 0,14 1 16,0-1-16,0 0 0,14-13 15,-14 13-15,13-13 0,0 14 0,0-14 16,0 0-16,1 13 0,-1-13 15,13 0-15,-12-13 0,12 13 0,1 0 16,12-14-16,1 1 0,-14 0 0,14-14 16,0 14-16,-14-13 15,14 13-15,13-27 0,-27 27 0</inkml:trace>
  <inkml:trace contextRef="#ctx0" brushRef="#br0" timeOffset="10748.39">15743 2818 0,'39'0'15,"-25"0"-15,12 0 0,1 0 0,25-13 16,-12 13-16,13-14 0,79-12 16,-52 26-16,-1-27 0,67 1 15,-67 13-15,0-14 0,1 14 16,-1-13-16,-13 12 0,14-12 15,-1 13-15,-13-14 0,-13 14 0,13-13 16,-13-1-16,-13 14 0,0-14 0,-1 14 16,-12-13-16,-1 12 0,1-12 15,-1 13-15,0-14 0,-12 1 16,-1 13-16,-13-14 0,13 14 0,0 0 16,-13-14-16,0 14 0,0-13 0,0 12 15,-13-39-15,13 27 16,-13 0-16,-14-1 0,14 1 0,-13-1 15,-14 1-15,14-1 0,-14 1 16,0-1-16,-13 14 0,0-13 16,1-1-16,-1 14 0,0 0 0,-66-27 15,53 27-15,-1 0 0,-52-14 16,53 14-16,0 13 0,13-13 16,-26 13-16,13 0 0,-14 0 15,1 0-15,-1 0 0,1 0 0,0 13 0,-1 0 16,1-13-16,0 13 0,-1 1 15,14 12-15,-13-13 0,-1 0 16,14 1-16,0 12 0,0-13 0,0 1 16,13 12-16,-13-13 0,13 1 0,0 12 15,0-13-15,13 14 0,-13-1 16,0 1-16,14-14 0,-1 13 16,0-12-16,-13 12 0,14 0 0,-1 1 15,0-1-15,14 1 0,-14-1 0,1 1 16,12-1-16,1 1 0,-14-1 15,13 1-15,1 12 0,0-12 0,12-1 0,-12 1 16,-1-1-16,14 1 0,-13 12 16,12-12-16,-25 65 15,26-65-15,13-14 0,0 27 16,0-14-16,0-13 0,13 14 16,13-1-16,-13 1 0,40 12 15,-13-12-15,-13-14 0,65 14 16,-39-14-16,0-13 0,13 13 15,13-13-15,-26 0 0,27 0 16,-1-13-16,1 13 0,-1-13 0,0 13 16,1-14-16,-1 1 0,0 13 15,-12-13-15,12 0 0,0-1 0,1 1 16,-1 0-16,-13 0 0,14 0 16,-14-1-16,0 1 0,0 0 0,0-14 15,-13 14-15,40 0 0,-54 0 16,1-1-16,-14 14 0,1-13 15,-1 13-15,-12-13 0,-1 13 16,13 0-16,-26-13 0,14 13 0,-1 0 0,0 0 16,0-13-16,0 13 15,-13-14-15,14 14 16,-1-13 0,0 13 15,-13-13 0,-13 13 219,0 0-234,-1-13 31,1 13-1,13 13 689,-13-13-720,13 13 32,-13-13 172,0 0-203,-1 13-16,1-13 15</inkml:trace>
  <inkml:trace contextRef="#ctx0" brushRef="#br0" timeOffset="13017.19">3215 1958 0,'0'-13'0,"-14"13"15,14 13 1,0 0-16,0 0 15,0 1-15,-13-1 0,13 0 16,0 14-16,0-14 0,0 13 0,0 1 16,-13-1-16,13 1 0,0-1 0,0 14 15,0-1-15,-13 14 0,13-13 0,0 0 16,0-1-16,-13 14 0,13-13 16,0 13-16,0-13 0,0 13 0,-14-14 15,14 54-15,0-40 0,0-14 16,0 14-16,14-13 0,-14 13 15,0 26-15,0-39 16,13 0-16,-13 13 0,0-14 0,0 1 16,0 0-16,0-1 0,0 1 15,13-14-15,-13 1 0,0 52 16,0-52-16,0-1 0,0 40 16,0-39-16,0 13 0,0-1 0,0 1 15,0-14-15,0 1 0,0 13 16,0-14-16,0 0 0,0 1 0,0 13 15,0-14-15,0 1 0,0-1 0,0 40 16,0-39-16,0-1 16,0 14-16,0-14 0,0 1 15,0 12-15,0 1 0,0-14 0,0 14 0,0 0 16,0-14-16,0 14 0,0-14 16,0 14-16,0 0 0,0-14 15,0 1-15,0-1 0,0 1 0,0 12 16,0-12-16,0 12 0,0 1 0,0-13 15,-13-1-15,13 1 0,0-1 16,0 14-16,0-14 0,0 1 0,0-1 16,0 1-16,0-1 0,0 0 15,0 1-15,-13 13 0,13-14 16,0 1-16,0-1 0,0 14 0,-14-1 16,14-12-16,0-1 0,0 40 15,-13-39-15,13-1 0,0 1 0,0-1 16,0 14-16,-13 0 0,13-14 15,0 14-15,0-1 0,-13 1 0,13 39 16,-14-39-16,14 0 0,-13 26 16,13-26-16,-13-1 15,13 1-15,-13 0 0,13-1 0,-14 1 16,14 0-16,-13 0 0,13-1 0,-13 1 16,0 0-16,13-1 0,-13 1 15,13 0-15,-14-1 0,1 1 0,13 0 16,-13-1-16,13 14 0,-13-13 15,-1 0-15,14-1 0,-13 1 0,0 13 16,0 0-16,0-13 0,13 12 16,-14-12-16,1 0 0,13 13 0,-13-14 15,0 1-15,13 13 0,-14-13 0,1-1 16,0 14-16,13-13 0,-13 0 16,-1-1-16,1 14 0,13-13 0,-13 0 15,0 13-15,13-14 0,-27 67 16,14-66-16,13 0 0,-13 12 0,0-12 15,13 13-15,-14-13 16,1-1-16,13 1 0,-13 13 0,0-13 0,13-1 16,-14 1-16,14 0 0,-13 13 0,0-14 15,13 1-15,-13 0 0,13-1 16,-13 1-16,13 0 0,-14 0 16,14-14-16,0 14 0,-13-1 0,13 1 15,-13 39-15,13-52 0,-13 13 16,13-14-16,0 0 0,0 1 15,0-1-15,0 41 0,-14-41 16,14 0-16,0 1 0,0-1 0,0 1 16,0 13-16,0-14 0,0 0 0,0 1 15,0 26 1,-13-27-16,13 14 0,0-14 0,0 1 16,13-1-16,-26 1 0,13-1 0,13 1 15,-13-1-15,0 1 0,0-1 0,0 1 16,0-1-16,0 0 15,0 1-15,0-1 0,0 1 0,0-1 0,0 40 16,0-39-16,0 13 0,0-1 16,0-12-16,14 26 0,-14-14 15,0 1-15,0 0 0,0 13 16,0 39-16,13-52 0,-13 26 0,0-13 16,13 13-16,-13 0 0,0 0 15,13 1-15,-13-1 0,0 13 0,0-13 16,14 14-16,-14-1 0,0 0 15,0 1-15,13 65 0,-13-65 0,0-1 16,0-13-16,0 0 16,13 0-16,-13 1 0,0-28 0,0 1 15,0 0-15,0-1 0,0-12 0,0-14 16,0 13-16</inkml:trace>
  <inkml:trace contextRef="#ctx0" brushRef="#br0" timeOffset="13804.45">3201 1852 0,'-39'40'31,"12"-14"-31,14 14 0,-13-14 0,-1 14 16,1 0-16,-1-1 0,1 1 0,-1 13 15,1-13-15,-14 26 0,27-40 16,-13 1-16,26-1 16,-14-13-16,1 1 0,13-1 0,-13-13 15,13 13-15</inkml:trace>
  <inkml:trace contextRef="#ctx0" brushRef="#br0" timeOffset="14020.64">2950 1905 0,'13'-13'0,"1"13"0,-1 0 16,0 13-16,0-13 0,14 13 0,-14 0 15,13 14-15,14-14 0,-13 14 0,-1-14 16,14 13-16,-1-12 0,1 12 15,26 14-15,-26-27 0,0 0 16,-14 0-16,14 1 0,-14-1 0,1-13 16,-14 13-16,13-13 0,1 13 15,-14-13-15,0 0 0,14 13 16,-14-13-16</inkml:trace>
  <inkml:trace contextRef="#ctx0" brushRef="#br0" timeOffset="17304.39">370 7064 0,'14'14'31,"-14"-1"-15,0 0-16,13 0 0,-13 1 16,13-1-16,-13 0 15,13 0-15,-13 0 16,0-26 31,0 0-47,0 0 15,0 0-15,0-1 0,0 1 0,-13 0 16,13 0-16,0-1 0,0 1 16,0 0-16,13 13 15,1 13 1,-1-13-16,0 13 16,0 1-16,0-14 15,1 0-15,-1 13 0,0-13 16,0 0-16,1 0 15,-14-13 1,0-1-16,0 1 0,0 0 16,0 0-16,0-1 15,-14 1-15,14 0 0,-13 0 16,13 0-16,0-1 0,-13 1 16,13 0-16,0 0 15,13-1 16,0 14-31,1 0 16,-1 0 0,-13 14-1,13-14-15,0 0 16,1 0 0,-1 0-1,0 0-15,0 0 16,0 0-1,-13-14-15,0 1 32,-13 13-32,0-13 15,0 13 1,0 0 0,13-13-1</inkml:trace>
  <inkml:trace contextRef="#ctx0" brushRef="#br0" timeOffset="17827.21">807 6496 0,'0'0'15,"-13"0"-15,-14 0 16,27 13-16,-13-13 15,13 13-15,0 0 0,0 0 16,0 1-16,13-14 16,1 13-16,-1-13 15,0-13 1,0 13-16,-13-14 16,13 14-16,-13-13 15,-13 0-15,13 0 16,0 0-16,-13-1 15,26 41 17,0-27-32,-13 13 15,14 0-15,-1 0 0,0 1 0,-13-1 16,13 0-16,1 14 0,-14-14 16,13 0-16,0 0 0,-13 1 15,0-1-15,13 0 0,-13 0 0,0 0 16,0 1-16,0-1 0,0 0 15,0 0-15,0 1 16,-13-1-16,0 0 16,0-26 15,13 0-31,0-1 16,0 1-16,13 0 15,-13 0-15,0-1 16,13 1-16,-13 0 15,0 0-15</inkml:trace>
  <inkml:trace contextRef="#ctx0" brushRef="#br0" timeOffset="18331.06">1032 6165 0,'-27'13'32,"41"13"-17,-1-12-15,-13-1 0,13 0 16,0 14-16,-13-14 0,14 0 0,-1 0 15,0 1-15,0-1 0,0 0 16,1 13-16,-1-12 0,-13-1 16,13 0-16,-13 0 0,0 1 0,0-1 15,-13 0-15,13 0 0,-13 1 16,-1-1-16,14 0 0,-13 0 0,0 0 16,0 1-16,0-14 15,-1 13-15,14-26 16,0-1-1</inkml:trace>
  <inkml:trace contextRef="#ctx0" brushRef="#br0" timeOffset="19312.15">1217 6191 0,'0'0'16,"-13"-13"-16,0 13 0,-1 13 31,14 0-31,0 1 16,-13-1-16,13 0 15,13 0-15,-13 1 16,0-1-16,14 0 16,-14 0-16,13 1 31,13-14-16,-26-14 1,0 1 0,14 13-16,-14-13 0,13 0 15,-13-1 1,13 14-16,-13-13 16,13 13-1,0 0 1,1 0-1,-1 0-15,0 13 32,0-13-32,1-13 31,-1 0-15,-13 0-1,13 13 1,0 0-1,1-14 1,-1 14-16,0 0 16,0-13-1,0 13-15,-13-13 0,14 0 16,-1 0-16,-13-1 0,0 1 16,0 0-16,0 0 0,0-1 15,-13 1-15,13 0 0,-14-14 0,1 14 16,13-13-16,-13 13 0,13-1 15,-13-12-15,0 26 0,13-13 16,0-1-16,-14 14 0,14 27 31,0-14-31,14 14 0,-14-1 16,13 0-16,0 14 0,0 0 16,0 0-16,1 39 0,-1-39 15,0-14-15,0 1 0,-13-1 0,0-13 16,14 14-16,-14-14 0,0 0 0,13 0 15,-13 1 1,0-1-16,-13 0 16,-1-26-16,1 0 15,0-1-15,13 1 16,-13-13-16,13-1 0,-14 1 16,14-1-16,0 1 0,0 13 0,0-14 15,0 14-15,0 0 0,0-1 0,0 1 16,14 13-16,-14-13 0,26 13 31,-26 13-31,0 0 16,0 1-16,-13-1 15,13 0-15,0 0 0,0 1 0,-13-1 16,13 13-16,0-12 0,-14-1 16</inkml:trace>
  <inkml:trace contextRef="#ctx0" brushRef="#br0" timeOffset="20028.43">1588 5755 0,'-14'-27'16,"28"54"-16,-28-67 15,1 66 1,13-12-1,0-1-15,0 13 0,0-12 16,0 12-16,13-13 0,-13 14 0,14-1 16,-14-13-16,13 14 0,-13-14 15,13 0-15,0 1 0,0-14 0,-13 13 16,14 0-16,-1-13 0,0 0 16,0 0-16,1-13 15,-1 0-15,-13-1 0,13 14 0,-13-13 16,0 0-16,0-14 0,13 14 15,-13 0-15,-13 39 32,13-12-17,0-1-15,0 0 16,0 0-16,13 1 16,-13-1-16,13-13 0,14 0 15,-14-13 1,0 13-16,1-14 0,-14 1 0,13 13 15,0-13-15,-13 0 0,13-1 16,1 1-16,-14 0 16,13 13-16,-13-13 0,13 13 47,0-13-16,-13 26 31,0 0-46,0 0-16,0 0 16,0 1-1,-13-14 48,0 13-48,0-13-15,13 13 16,-14-13-16,14 13 0,-13-13 16</inkml:trace>
  <inkml:trace contextRef="#ctx0" brushRef="#br0" timeOffset="22365.85">2302 9895 0,'26'-13'16,"-12"13"-16,-1 0 0,0 0 15,13 0-15,-12 0 0,12 0 16,14 0-16,-14 0 15,1-13-15,-1 13 0,-13 0 0,14-13 16,-1 13-16,1-14 0,-14 1 16,14 13-16,-14-13 0</inkml:trace>
  <inkml:trace contextRef="#ctx0" brushRef="#br0" timeOffset="23455.42">2527 8109 0,'26'-13'16,"-13"13"-16,1 0 0,-1 0 15,0 0-15,14-13 0,-1 13 0,1 0 16,12-13-16,-12 13 0,-1 0 0,14-13 16,-14 13-16,27-14 15,-26 14-15,-1 0 0,-13 0 16,14 0-16,-14 0 0,0-13 0,0 13 0,1 0 15</inkml:trace>
  <inkml:trace contextRef="#ctx0" brushRef="#br0" timeOffset="26028.39">2712 4114 0,'79'-26'31,"-39"13"-31,0 13 16,13-14-16,-14 14 0,14-13 15,0 13-15,0-13 0,53 13 16,-53-13-16,-13 13 0,26-14 16,-40 14-16,1 0 0,-1 0 15,-13 0-15,0 0 16,1 0-16,-54 0 16,14 0-1,-1 14-15,-13-14 0,1 0 16,-14 13-16,13-13 0,-13 0 0,0 13 15,0-13-15,0 0 0,1 13 0,-1-13 16,13 0-16,14 0 0,-1 0 16,14 0-16,-14 0 0,14 14 15,40-28 1,-1 14 0,1-13-16,25 13 0,-12-13 0,13 13 15,0-13-15,0 13 0,0-14 0,0 14 16,0 0-16,-27-13 0,14 13 15,-14 0-15,-13 0 0,14 0 0,-14 0 16,0 0-16,-52 0 31,25 13-31,-12-13 0,-14 0 0,-39 14 16,26-14-16,0 13 0,-40-13 16,41 0-16,25 13 15,1-13-15,-1 0 0,14 0 0,0 0 16,39-13-1,1 13 1,12-13-16,14-1 0,0 1 16,0 0-16,13 0 0,0 0 15,-26 13-15,13-14 0,0 1 0,-13 13 0,-14-13 16,0 13-16,1-13 0,-14 13 16,0 0-16,1 0 0,-1 0 0,-13-14 15,-40 14 1,14 14-16,-1-14 15,-26 0-15,14 0 0,-67 13 16,66 0-16,-13-13 0,-53 13 16,53 1-16,14-14 15,-1 13-15,0-13 0,14 13 0,13-13 16,0 0-16,-1 13 0</inkml:trace>
  <inkml:trace contextRef="#ctx0" brushRef="#br0" timeOffset="33004.46">4776 1495 0,'0'40'0,"13"211"31,-13-185-31,0 0 0,13 14 16,-13 78-16,0-78 0,0-1 15,13-13-15,-13 14 0,0-14 16,0 0-16,0 0 0,0-13 0,0-13 15,0 13-15,0-14 0,0-12 0,0-1 16,0 1-16,0-14 0,0 13 0,0-12 16,0-1-16,-13-13 15</inkml:trace>
  <inkml:trace contextRef="#ctx0" brushRef="#br0" timeOffset="33367.69">4061 2858 0,'0'0'0,"-26"0"0,13 0 16,66 0 15,-27 0-31,27-14 0,26 14 0,1-13 15,12 0-15,14 0 0,13-14 0,13 14 16,1-14-16,-1 1 0,0 13 16,-13-14-16,14 14 0,-14-13 0,13 12 15,-26 1-15,0 0 0,-14 13 0,1-13 16,0 13-16,-1-14 0,-12 1 16,-1 13-16,-13 0 0,-13-13 15,0 13-15,0-13 0,-27 13 0,14 0 16,-27 0-16,14 0 0,-14-13 0,13 13 15,-12 0-15,-14-14 16,-27 1 0,14 13-16,-14 0 0,1 0 0</inkml:trace>
  <inkml:trace contextRef="#ctx0" brushRef="#br0" timeOffset="34708.32">4855 2619 0,'13'-26'47,"-13"13"-47,14-1 0,-14 1 15,0 0-15,13 0 16,-13 0-16,0-14 0,13 14 0,-13 0 16,0-1-16,0-12 0,0 13 15,0-14-15,0 14 0,0-13 0,0 12 16,0-25-16,0 12 15,0 14-15,0-14 0,0 14 0,0-13 16,-13 13-16,13-1 0,0-12 16,0 13-16,0-27 0,0 14 15,0 12-15,0 1 0,0 0 0,0 0 16,13-14-16,-13 14 0,0 0 16,13-1-16,-13 1 0,13-13 15,-13 13-15,14 13 0,-14-14 16,13 1-16,0 0 0,0 0 15,1 13 1,12 0-16,-26 13 0,13-13 16,1 13-16,-1 0 15,0 1-15,0-1 16,0 0-16,-13 0 0,14-13 0,-1 13 16,-13 1-16,13-1 15,0 0-15,-13 0 0,14 1 16,-1-1-16,0 0 0,-13 0 15,13-13-15,-13 14 0,14-1 16,-1 0-16,-13 0 0,13-13 0,0 13 16,-13 1-16,13-14 0,-13 13 0,14 0 15,-1 0-15,-13 1 0,13-14 16,0 26 0,1-13-16,-1-13 0,-13 13 15,13-13-15,0 14 0,1-1 16,-1-13-1,0 13-15,0-13 0,0 13 16,1-13-16,-1 14 0,0-14 0,14 13 16,-1-13-16,-13 13 15,0-13-15,14 0 0,-14 13 0,14-13 16,-1 0-16,1 14 0,-1-14 0,0 0 16,1 13-16,-1-13 0,1 0 15,39 13-15,-26-13 0,-14 0 16,1 13-16,12-13 0,-12 0 0,26 0 15,26 13-15,-53-13 0,14 0 16,-13 0-16,-1 0 16,14 14-16,-14-14 0,-13 0 0,14 0 15,-1 0-15,1 0 0,-1 0 0,1 0 16,-14 0-16,13 0 0,-12 0 16,12 0-16,-13 0 0,1 0 15,-1 0-15,0 0 0,0 0 0,1 0 16,-1 0-16,0 0 0,0 13 15,0-13 1,1 0-16,-1 0 16,0-13 15,-13-14 0,-13 14-15,13 0-1</inkml:trace>
  <inkml:trace contextRef="#ctx0" brushRef="#br0" timeOffset="35704.28">7144 1945 0,'39'0'47,"-25"0"-31,-1 0-16,0 0 15,14-14-15,-14 14 0,0 0 0,0 0 16,14-13-16,-14 13 0,0 0 0,0 0 15,1 0-15,-1-13 0,0 13 16,0 0-16,1 0 0,-1 0 0,0 0 16,0-13-16,0 13 15,1 0 1,-1 0 0,-40 13 30,27 0-46</inkml:trace>
  <inkml:trace contextRef="#ctx0" brushRef="#br0" timeOffset="36122.76">7210 2090 0,'26'0'32,"-12"0"-32,-1 0 15,0 0-15,0 0 0,0 0 16,1 0-16,-1 0 0,0 0 0,0 0 15,1-13-15,-1 13 16,0 0-16,0 0 0,14 0 16,-14 0-1,0 0 1,0 0-16,1 0 16,-1 0 46,13 0-46,-26-13-16,14 13 15</inkml:trace>
  <inkml:trace contextRef="#ctx0" brushRef="#br0" timeOffset="36701.58">8123 1230 0,'0'0'16,"-14"40"-1,1-14-15,0 54 0,13-27 16,-13 13-16,13 0 0,0 0 0,0 0 16,0 0-16,13-13 0,-13 14 0,0-1 15,13 0-15,-13-13 16,13 13-16,1-13 0,-14 0 0,13 0 0,-13-14 15,13 1-15,-13 13 0,13-13 0,-13-14 16,14 14-16,-14-27 0,0 13 16,0 1-16,13-14 0,-13 14 15,0-14-15,-27-26 47,27-1-31,-13 14-16,0-13 0,13 0 0</inkml:trace>
  <inkml:trace contextRef="#ctx0" brushRef="#br0" timeOffset="37176.64">7660 2421 0,'-14'0'16,"54"0"15,13 0-15,-13-13-16,13 13 16,-14-14-16,28 1 0,-1 0 0,0 0 15,0 0-15,0-1 0,13 1 0,-12 0 16,12 0-16,0-1 0,-13 1 0,14 0 15,-14 0-15,13-1 0,1 1 16,-14 0-16,13 0 0,1 0 0,-1-1 16,0 1-16,67 0 15,-67 0-15,1-1 0,-1 14 16,-13-13-16,14 13 0,-1-13 0,-13 0 16,0 13-16,67-13 15,-81-1-15,1 14 0,0-13 0,-13 13 0,13-13 16,-13 13-16,-1 0 15,-12-13-15,-1 13 0,1 0 0,-14 0 16,0 0-16,0 0 0,1 0 0,-1-14 16,0 14-16,-39-13 31,12 13-31,-12 0 0,-1-13 0,1 13 0,-14 0 16,1 0-16,-14 0 0,-13 0 15,-14 0-15</inkml:trace>
  <inkml:trace contextRef="#ctx0" brushRef="#br0" timeOffset="39335.62">8123 2249 0,'13'0'110,"0"0"-95,0 0-15,1 0 16,-14-13-16,26 13 15,-13-14-15,1 14 16,-1-13-16,0 13 16,0-13-16,0 13 0,1-13 15,-1 13-15,-13-13 0,13 13 16,-13-14-16,13 14 0,-13-13 16,14 13-16,-1-13 0,-13 0 15,13-1-15,-13 1 16,13 13-16,-13-13 0,0 0 15,14 0-15,-14-1 0,13 1 16,-13 0-16,0 0 0,0-1 16,0 1-16,0 0 0,13 13 15,-13-13-15,0-1 0,0 1 16,0 0-16,13 0 0,-13 0 16,0-1-16,0 1 0,13-13 15,-13 12-15,0 1 0,14 0 16,-14 0-16,0-1 0,0 1 15,13 0-15,-13 0 0,0 0 0,0-1 16,13 1-16,-13 0 0,13 0 16,-13-1-16,0 1 15,14 0-15,-14 0 0,13 0 16,-13-1-16,13 1 16,-13 0-16,13 0 0,-13-1 15,0 1-15,13 13 0,-13-13 16,0 0-16,14-1 0,-14 1 15,13 0-15,-13 0 0,0 0 16,13 13-16,-13-14 0,13 1 0,-13 0 16,0 0-16,14-1 0,-1-12 15,-13 13-15,13-1 0,0-12 16,1 26-16,-14-13 0,13 0 16,0-1-16,0 1 0,0 0 15,-13 0-15,14-1 0,-1 1 16,0 0-16,0 0 15,1-1-15,-1 14 0,-13-13 16,13 13-16,0-13 16,1 0-16,-1 13 15,0-13-15,0 13 16,0 0-16,1-14 0,-1 14 16,0 0-16,0 0 15,14 0-15,-14 0 16,0 0-16,1 14 15,-1-14-15,0 0 16,0 13-16,0 0 16,1-13-16,-1 13 0,0 0 15,0 1-15,1-14 0,-14 13 16,13 0-16,0 0 0,0 1 16,1-1-16,-1 13 15,0-26-15,0 14 0,0 12 16,1-26-16,-1 13 0,0 14 15,0-14-15,1 0 16,-1 0-16,0 1 16,0-1-16,0 0 15,1 0-15,-1 1 0,0-1 16,0 0-16,1 0 0,-1 0 16,0 1-16,0-1 15,1-13-15,-14 13 0,13 0 0,0-13 16,-13 14-16,26-1 0,-12 0 15,-1 0-15,-13 1 16,13-14-16,0 13 0,1 0 16,-1 0-16,0-13 0,0 13 15,1 1-15,-1-1 0,0 0 16,0 0-16,0-13 0,1 14 16,-1-1-16,0-13 0,14 26 15,-14-26-15,0 13 0,13 1 16,-12-1-16,-1 0 0,0-13 15,0 13-15,1-13 0,12 14 16,-13-14-16,1 13 0,12-13 0,-13 13 16,0-13-16,14 0 0,-14 13 0,14-13 15,-14 14-15,13-14 0,1 13 16,12-13-16,-25 13 16,12-13-16,14 0 0,-27 13 15,14-13-15,-14 0 0,13 0 0,1-13 16,12 0-16,-12 0 0,26-27 15,-14 13-15,14-12 0,0-14 0</inkml:trace>
</inkml:ink>
</file>

<file path=ppt/ink/ink2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30:14.129"/>
    </inkml:context>
    <inkml:brush xml:id="br0">
      <inkml:brushProperty name="width" value="0.05" units="cm"/>
      <inkml:brushProperty name="height" value="0.05" units="cm"/>
      <inkml:brushProperty name="ignorePressure" value="1"/>
    </inkml:brush>
  </inkml:definitions>
  <inkml:trace contextRef="#ctx0" brushRef="#br0">176 1,'-27'664,"-25"561,43-895,0-9,-29 207,18-341,11-115,-2 37,10-94</inkml:trace>
</inkml:ink>
</file>

<file path=ppt/ink/ink2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30:14.130"/>
    </inkml:context>
    <inkml:brush xml:id="br0">
      <inkml:brushProperty name="width" value="0.05" units="cm"/>
      <inkml:brushProperty name="height" value="0.05" units="cm"/>
      <inkml:brushProperty name="ignorePressure" value="1"/>
    </inkml:brush>
  </inkml:definitions>
  <inkml:trace contextRef="#ctx0" brushRef="#br0">0 82,'91'-17,"507"-6,565-12,-793 28,903 13,-758 30,55 3,-490-37,-42-3,-1 3,58 8,-57-4,-22-4</inkml:trace>
</inkml:ink>
</file>

<file path=ppt/ink/ink2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30:14.131"/>
    </inkml:context>
    <inkml:brush xml:id="br0">
      <inkml:brushProperty name="width" value="0.05" units="cm"/>
      <inkml:brushProperty name="height" value="0.05" units="cm"/>
      <inkml:brushProperty name="ignorePressure" value="1"/>
    </inkml:brush>
  </inkml:definitions>
  <inkml:trace contextRef="#ctx0" brushRef="#br0">0 2332,'5'-1,"0"0,0 0,0 0,-1 0,1-1,-1 0,1 0,-1 0,1-1,-1 1,0-1,0 0,-1 0,1 0,0-1,-1 1,0-1,0 0,0 0,3-6,3-4,-1 0,-1-1,0 0,8-27,1-11,125-377,-95 300,-25 66,43-91,6-12,-19 39,-1-8,-18 44,18-64,-38 109,3 0,1 1,34-64,4 1,19-33,-65 128,1 0,1 1,1 0,0 1,0 0,1 1,19-14,-21 18,0 1,0 1,0 0,1 0,0 1,0 1,0 0,0 0,1 1,-1 0,1 1,-1 0,1 1,-1 1,1 0,-1 0,1 1,-1 0,13 5,7 4,0 1,-1 2,0 1,-1 2,36 26,-56-37,135 101,-123-89,0 2,-1 1,0 0,19 30,59 104,-27-38,-15-25,61 131,-96-177,3-1,2-1,35 46,104 113,-106-142,116 96,8 5,-162-140,1-1,1-1,1-1,0-1,1-1,1-1,1-1,0-2,1 0,0-2,1-1,31 6,14 1,-46-9,1-1,1-2,-1-1,33 1,0-5,-15 1,0-1,1-3,-1-2,-1-1,73-21,-63 7,-1-3,-2-2,91-57,31-34,-168 112,0 0,0 1,1 0,-1 1,0 0,1 0,0 0,0 1,-1 0,1 1,0-1,0 2,0-1,-1 1,12 2,15 5,0 1,39 16,-22-7,-7-1,48 25,2 1,67 16,-136-52,2 0,-1-2,1-1,34 1,58 6,-59-3,-36-5,1 2,-1 0,0 1,-1 2,1 1,-1 0,30 19,9 10,68 55,-127-91,8 5,1 0,-1-1,2 0,-1-1,0-1,1 0,0 0,0-1,0-1,1 0,-1-1,0-1,15 0,21-4,0-1,54-13,-76 12</inkml:trace>
</inkml:ink>
</file>

<file path=ppt/ink/ink2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0.686"/>
    </inkml:context>
    <inkml:brush xml:id="br0">
      <inkml:brushProperty name="width" value="0.05" units="cm"/>
      <inkml:brushProperty name="height" value="0.05" units="cm"/>
      <inkml:brushProperty name="ignorePressure" value="1"/>
    </inkml:brush>
  </inkml:definitions>
  <inkml:trace contextRef="#ctx0" brushRef="#br0">77 193,'1'4,"0"-1,0 1,-1 0,1 0,-1 0,0 0,0-1,0 1,0 0,-2 6,1-3,-3 35,-1 0,-3-1,-1 0,-3 0,-28 69,50-141,11-57,8-33,9-31,-39 152,1 0,0 0,0 0,0-1,0 1,0 0,0 0,0 0,0 0,0-1,0 1,0 0,0 0,0 0,0 0,0-1,0 1,0 0,0 0,0 0,0 0,1-1,-1 1,0 0,0 0,0 0,0 0,0 0,0-1,0 1,1 0,-1 0,0 0,0 0,0 0,0 0,1 0,-1 0,0 0,0 0,0-1,0 1,1 0,-1 0,0 0,0 0,0 0,0 0,1 0,-1 0,0 0,0 1,0-1,0 0,1 0,-1 0,0 0,0 0,0 0,0 0,0 0,1 0,-1 0,0 1,10 15,4 24,-7-10,2 0,1 0,1-1,2 0,1-1,22 34,-35-60,-1-1,1 0,0 1,0-1,0 0,0 0,0 1,0-1,0 0,0 0,0 0,1 0,-1-1,0 1,1 0,-1 0,0-1,1 1,-1-1,1 1,-1-1,4 1,-4-2,0 1,0-1,0 1,1-1,-1 0,0 0,0 0,0 1,0-1,0 0,0 0,0 0,0 0,-1 0,1-1,0 1,-1 0,1 0,-1 0,1-2,3-6,-1-1,-1 1,0-1,0 1,0-19,7-127,0-23,-9 139,0 23</inkml:trace>
</inkml:ink>
</file>

<file path=ppt/ink/ink2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2.367"/>
    </inkml:context>
    <inkml:brush xml:id="br0">
      <inkml:brushProperty name="width" value="0.05" units="cm"/>
      <inkml:brushProperty name="height" value="0.05" units="cm"/>
      <inkml:brushProperty name="ignorePressure" value="1"/>
    </inkml:brush>
  </inkml:definitions>
  <inkml:trace contextRef="#ctx0" brushRef="#br0">331 3,'-3'-2,"-6"9,-5 10,-8 19,2 2,2 1,-13 41,17-44,-112 328,104-280,3 1,-11 124,28-181,2 0,0 0,2-1,1 1,1-1,2 0,1 0,0 0,2-1,2 0,15 29,-18-42</inkml:trace>
</inkml:ink>
</file>

<file path=ppt/ink/ink2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3.534"/>
    </inkml:context>
    <inkml:brush xml:id="br0">
      <inkml:brushProperty name="width" value="0.05" units="cm"/>
      <inkml:brushProperty name="height" value="0.05" units="cm"/>
      <inkml:brushProperty name="ignorePressure" value="1"/>
    </inkml:brush>
  </inkml:definitions>
  <inkml:trace contextRef="#ctx0" brushRef="#br0">1 412,'1'-4,"0"0,0 0,0 0,1 0,0 0,-1 0,4-4,6-13,93-310,-102 307,-10 33,-13 39,17-31,-1 8,0-1,-2 44,7-62,-1-1,2 1,-1-1,0 0,1 1,0-1,0 0,1 0,0 1,0-1,0-1,0 1,1 0,-1 0,1-1,0 1,1-1,6 7,-8-10,-1 1,1-1,0 0,0 0,0 0,0 0,0 0,0 0,0 0,0-1,0 1,1-1,-1 0,0 1,0-1,0 0,1 0,-1 0,0-1,0 1,4-1,-1-1,-1 0,1 0,-1-1,0 1,0-1,0 0,0 0,-1 0,6-6,2-5,0 0,-1 0,-1-1,12-24,26-87,-50 136,0 0,0 0,1 1,0-1,1 1,0 0,1-1,0 1,0 0,2-1,3 18,-4-20,1-1,1 0,-1-1,1 1,1 0,-1-1,1 0,0 1,0-2,1 1,0 0,0-1,0 0,1 0,-1 0,1-1,10 6,-4-4</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6:52.038"/>
    </inkml:context>
    <inkml:brush xml:id="br0">
      <inkml:brushProperty name="width" value="0.025" units="cm"/>
      <inkml:brushProperty name="height" value="0.025" units="cm"/>
      <inkml:brushProperty name="ignorePressure" value="1"/>
    </inkml:brush>
  </inkml:definitions>
  <inkml:trace contextRef="#ctx0" brushRef="#br0">75 1,'-9'8,"1"2,0-1,0 1,1 1,1-1,-11 23,15-29,0-1,1 1,0-1,-1 1,1 0,0-1,1 1,-1 0,1 0,-1-1,1 1,0 0,0 0,1 0,-1-1,1 1,0 0,0 0,0-1,1 1,-1-1,1 1,0-1,0 0,0 1,5 4,-4-5,1-1,0 1,0-1,0 0,0 0,0 0,0 0,1-1,-1 0,1 0,-1 0,1 0,-1-1,1 0,-1 0,1 0,-1 0,1-1,0 1,-1-1,0-1,1 1,-1-1,8-3,-7 3,-1 0,1 0,-1-1,1 0,-1 0,0 0,0 0,0-1,-1 1,1-1,-1 0,0 0,0-1,0 1,-1 0,1-1,-1 0,0 0,0 1,-1-1,2-9,-2 10,-1 0,1 0,-1 0,0 0,-1-1,1 1,-1 0,1 0,-1 0,0 0,-1 0,1 0,-1 0,0 0,0 0,0 1,-4-6,2 6,1 0,-1 1,1-1,-1 1,0 0,0 0,0 0,0 1,-1-1,1 1,0 0,0 0,-1 1,1-1,-1 1,-6 0,-6 1</inkml:trace>
</inkml:ink>
</file>

<file path=ppt/ink/ink2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4.650"/>
    </inkml:context>
    <inkml:brush xml:id="br0">
      <inkml:brushProperty name="width" value="0.05" units="cm"/>
      <inkml:brushProperty name="height" value="0.05" units="cm"/>
      <inkml:brushProperty name="ignorePressure" value="1"/>
    </inkml:brush>
  </inkml:definitions>
  <inkml:trace contextRef="#ctx0" brushRef="#br0">55 1,'-3'6,"-2"6,1 5,1 1,0 2,2 1,-3 0,-1-1,1 0,1 0,-2-3,-1-2,1 0,1-2</inkml:trace>
</inkml:ink>
</file>

<file path=ppt/ink/ink2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5.579"/>
    </inkml:context>
    <inkml:brush xml:id="br0">
      <inkml:brushProperty name="width" value="0.05" units="cm"/>
      <inkml:brushProperty name="height" value="0.05" units="cm"/>
      <inkml:brushProperty name="ignorePressure" value="1"/>
    </inkml:brush>
  </inkml:definitions>
  <inkml:trace contextRef="#ctx0" brushRef="#br0">233 32,'-22'21,"-46"33,62-50,0 0,0 0,0-1,0 1,-1-2,1 1,-1-1,0 0,1 0,-1-1,0 1,0-2,0 1,-10-1,16 0,-1 0,1 0,-1 0,1-1,0 1,-1 0,1-1,-1 1,1-1,0 1,-1-1,1 0,0 1,0-1,0 0,0 0,-1 0,1 0,0 0,1 0,-1 0,0 0,0 0,0-1,1 1,-1 0,0-1,1 1,-1 0,1-1,0 1,-1-1,1 1,0 0,0-1,0 1,0-1,0 1,0-1,0 1,1 0,0-2,0-1,0 0,0 0,1 0,0 1,0-1,0 1,0-1,1 1,-1 0,1 0,0 0,0 0,6-4,2 0,0 1,1 1,-1 0,1 0,1 1,-1 1,0 0,1 0,22 0,10 2,66 7,-1 0,-51-7,-43 1</inkml:trace>
</inkml:ink>
</file>

<file path=ppt/ink/ink2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6.283"/>
    </inkml:context>
    <inkml:brush xml:id="br0">
      <inkml:brushProperty name="width" value="0.05" units="cm"/>
      <inkml:brushProperty name="height" value="0.05" units="cm"/>
      <inkml:brushProperty name="ignorePressure" value="1"/>
    </inkml:brush>
  </inkml:definitions>
  <inkml:trace contextRef="#ctx0" brushRef="#br0">0 0,'5'3,"-1"0,1 0,-1 0,1-1,0 0,0 0,10 3,-11-4,0 0,1 1,-1-1,0 1,0 0,0 0,0 1,6 4,-9-6,0 1,0 0,0 0,0-1,0 1,-1 0,1 0,0 0,-1 0,1 0,-1 0,0 0,0 0,0 0,0 0,0 0,0 0,0 0,0 0,-1 0,1 0,-1 0,0-1,0 1,0 2,-24 33,21-32,0 0,0 0,0 1,1-1,0 1,-5 12,7-17,1 0,0 0,0 0,0 0,0-1,0 1,0 0,0 0,0 0,0 0,0 0,1 0,-1-1,0 1,1 0,-1 0,0 0,1-1,-1 1,1 0,-1-1,2 2,0-1,-1 1,1-1,1 0,-1 0,0 0,0 0,0 0,0 0,1-1,-1 1,0-1,3 1,16 1,1-1,26-3,-20 1,-10 1</inkml:trace>
</inkml:ink>
</file>

<file path=ppt/ink/ink2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6.978"/>
    </inkml:context>
    <inkml:brush xml:id="br0">
      <inkml:brushProperty name="width" value="0.05" units="cm"/>
      <inkml:brushProperty name="height" value="0.05" units="cm"/>
      <inkml:brushProperty name="ignorePressure" value="1"/>
    </inkml:brush>
  </inkml:definitions>
  <inkml:trace contextRef="#ctx0" brushRef="#br0">0 0,'19'8,"-1"-1,1-1,0 0,0-2,1 0,29 2,124-5,-12-1,-78 5,-1-3,111-13,-163 4,-18 2</inkml:trace>
</inkml:ink>
</file>

<file path=ppt/ink/ink2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8.742"/>
    </inkml:context>
    <inkml:brush xml:id="br0">
      <inkml:brushProperty name="width" value="0.05" units="cm"/>
      <inkml:brushProperty name="height" value="0.05" units="cm"/>
      <inkml:brushProperty name="ignorePressure" value="1"/>
    </inkml:brush>
  </inkml:definitions>
  <inkml:trace contextRef="#ctx0" brushRef="#br0">11 0,'-2'2,"1"1,0-1,0 0,0 1,0-1,0 1,0-1,1 1,-1-1,1 1,0 0,-1-1,1 1,0-1,1 1,-1 0,0-1,1 1,1 3,18 54,-18-54,34 73,87 141,-4-11,-101-172,-2 1,-1 1,18 75,-24-70,-2 0,-2 0,-2 1,-2 0,-1-1,-3 1,-2 0,-1-1,-3 0,-1-1,-2 0,-2 0,-26 51,16-43,-2-1,-2-2,-3-1,-1-1,-54 57,69-85</inkml:trace>
</inkml:ink>
</file>

<file path=ppt/ink/ink2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39.138"/>
    </inkml:context>
    <inkml:brush xml:id="br0">
      <inkml:brushProperty name="width" value="0.05" units="cm"/>
      <inkml:brushProperty name="height" value="0.05" units="cm"/>
      <inkml:brushProperty name="ignorePressure" value="1"/>
    </inkml:brush>
  </inkml:definitions>
  <inkml:trace contextRef="#ctx0" brushRef="#br0">31 0,'1'53,"0"-19,-1-1,-2 0,-9 56,-9 17,20-106,0-1,0 1,0 0,0 0,0 0,0 0,0 0,0 0,1 0,-1 0,0 0,0 0,0 0,0 0,0 0,0 0,0 0,0 0,0 0,0 0,0 0,0 0,0 0,1 0,-1 0,0 0,0 0,0 0,0 0,0 0,0 0,0 0,0 0,0 0,0 0,0 0,0 0,0 0,0 0,1 0,-1 0,0 0,0 0,0 1,0-1,0 0,0 0,0 0,9-13,15-28,-16 27,-1 3,2-5,0 0,2 1,0 0,15-15,-25 28,1 0,0 0,0 0,0 0,0 0,0 1,0-1,0 1,1-1,-1 1,0 0,1 0,-1 0,1 0,0 1,-1-1,1 1,-1-1,1 1,0 0,-1 0,1 0,0 0,-1 0,1 1,0-1,-1 1,1 0,-1 0,1 0,-1 0,1 0,-1 1,0-1,0 0,0 1,3 2,0 2,-1 0,0 0,0 1,-1-1,1 1,-1 0,-1 0,1 0,-1 0,-1 0,1 0,-1 1,0-1,-1 1,0 9,0-6,1 1,1-1,0 0,0 0,7 17,-3-14</inkml:trace>
</inkml:ink>
</file>

<file path=ppt/ink/ink2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44.866"/>
    </inkml:context>
    <inkml:brush xml:id="br0">
      <inkml:brushProperty name="width" value="0.05" units="cm"/>
      <inkml:brushProperty name="height" value="0.05" units="cm"/>
      <inkml:brushProperty name="ignorePressure" value="1"/>
    </inkml:brush>
  </inkml:definitions>
  <inkml:trace contextRef="#ctx0" brushRef="#br0">1 426,'10'-132,"0"-4,-12 100,1 27,0-1,0 0,1 0,0 0,1 1,0-1,1 0,0 1,4-12,-3 22,1 10,0 12,-3 0,1 0,1 0,1 0,7 23,-10-42,1 1,-1-1,1 1,0-1,0 0,0 0,0 0,1 0,0 0,-1 0,2-1,-1 1,0-1,1 0,-1 0,1 0,0 0,0-1,0 0,0 0,1 0,-1 0,0 0,1-1,-1 0,9 1,-8-2,0 0,0-1,0 1,0-1,-1-1,1 1,0-1,0 1,-1-1,1-1,-1 1,1-1,-1 1,0-1,0 0,-1-1,1 1,0-1,-1 1,0-1,0 0,0-1,-1 1,1 0,-1-1,2-5,2-3,-1-1,0 0,-1 0,0 0,-2-1,1 1,-1-26,-1-13,0 49,-2 14,0 11,0 7,0 0,2 0,8 44,-9-66,2 0,-1 1,1-1,-1 0,2-1,-1 1,1 0,0-1,0 1,0-1,1 0,0 0,0 0,0 0,0-1,1 0,0 0,0 0,0 0,0-1,1 0,8 4,1-2</inkml:trace>
</inkml:ink>
</file>

<file path=ppt/ink/ink2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45.766"/>
    </inkml:context>
    <inkml:brush xml:id="br0">
      <inkml:brushProperty name="width" value="0.05" units="cm"/>
      <inkml:brushProperty name="height" value="0.05" units="cm"/>
      <inkml:brushProperty name="ignorePressure" value="1"/>
    </inkml:brush>
  </inkml:definitions>
  <inkml:trace contextRef="#ctx0" brushRef="#br0">208 74,'-4'6,"0"0,-1-1,1 1,-1 0,0-1,0 0,-1-1,1 1,-1-1,0 0,0 0,-1-1,1 0,-1 0,-7 2,11-3,0-1,0 0,-1 0,1 0,-1 0,1-1,0 0,-1 1,1-1,-1 0,1-1,-1 1,1-1,-1 1,1-1,0 0,-1 0,1 0,0-1,0 1,0-1,0 0,0 0,0 0,0 0,1 0,-1-1,1 1,0-1,-1 0,1 0,-2-4,2 5,1-1,0 1,0-1,0 0,0 1,1-1,-1 0,1 0,-1 1,1-1,0 0,0 0,0 0,0 1,1-1,-1 0,1 0,0 1,0-1,0 0,0 1,0-1,0 1,1 0,-1-1,1 1,-1 0,1 0,0 0,0 0,0 0,0 0,1 0,-1 1,0-1,5-1,-1-1,1 1,0 0,-1 1,1-1,0 1,0 1,0-1,1 1,-1 0,0 1,0 0,1 0,7 1,33 6,0-2,75-3,-107-3</inkml:trace>
</inkml:ink>
</file>

<file path=ppt/ink/ink2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46.310"/>
    </inkml:context>
    <inkml:brush xml:id="br0">
      <inkml:brushProperty name="width" value="0.05" units="cm"/>
      <inkml:brushProperty name="height" value="0.05" units="cm"/>
      <inkml:brushProperty name="ignorePressure" value="1"/>
    </inkml:brush>
  </inkml:definitions>
  <inkml:trace contextRef="#ctx0" brushRef="#br0">1 18,'0'-1,"1"0,0-1,-1 1,1 0,0 0,-1 0,1 1,0-1,0 0,0 0,0 0,0 1,0-1,0 0,0 1,0-1,0 1,1-1,-1 1,0 0,0-1,0 1,1 0,-1 0,0 0,0 0,1 0,1 0,37 1,-37-1,-1 1,1-1,0 1,-1-1,1 1,-1 0,1 0,-1 0,1 1,-1-1,0 0,0 1,1 0,-1-1,0 1,-1 0,1 0,0 0,0 0,-1 0,1 1,-1-1,0 0,0 1,0-1,0 1,0-1,0 1,-1 0,1-1,-1 1,0 0,0-1,0 1,0 3,-2 8,-1-1,0 0,-1-1,0 1,-10 19,10-22,4-9,-1-1,1 1,-1 0,1 0,0 0,-1 0,1 0,0 0,0 0,0-1,-1 1,1 0,0 0,0 0,1 0,-1 0,0 0,0 0,0 0,1 0,-1 0,0 0,1-1,-1 1,0 0,1 0,0 0,-1-1,1 1,-1 0,1-1,0 1,1 1,0-1,1 0,0 0,1 1,-1-2,0 1,0 0,0-1,0 1,1-1,3 0,11-1,1-1,25-5,4-2,-29 6</inkml:trace>
</inkml:ink>
</file>

<file path=ppt/ink/ink2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6:16.158"/>
    </inkml:context>
    <inkml:brush xml:id="br0">
      <inkml:brushProperty name="width" value="0.05" units="cm"/>
      <inkml:brushProperty name="height" value="0.05" units="cm"/>
      <inkml:brushProperty name="ignorePressure" value="1"/>
    </inkml:brush>
  </inkml:definitions>
  <inkml:trace contextRef="#ctx0" brushRef="#br0">0 42,'3'-4,"2"-3,2-2,1-2,-1 1</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7:21.678"/>
    </inkml:context>
    <inkml:brush xml:id="br0">
      <inkml:brushProperty name="width" value="0.025" units="cm"/>
      <inkml:brushProperty name="height" value="0.025" units="cm"/>
      <inkml:brushProperty name="ignorePressure" value="1"/>
    </inkml:brush>
  </inkml:definitions>
  <inkml:trace contextRef="#ctx0" brushRef="#br0">52 0,'-4'7,"0"5,0 4,-2-1,-1 0,1 2,2 0,-2 1,0 1,1-3</inkml:trace>
</inkml:ink>
</file>

<file path=ppt/ink/ink2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6:45.247"/>
    </inkml:context>
    <inkml:brush xml:id="br0">
      <inkml:brushProperty name="width" value="0.05" units="cm"/>
      <inkml:brushProperty name="height" value="0.05" units="cm"/>
      <inkml:brushProperty name="ignorePressure" value="1"/>
    </inkml:brush>
  </inkml:definitions>
  <inkml:trace contextRef="#ctx0" brushRef="#br0">1 0,'0'0</inkml:trace>
</inkml:ink>
</file>

<file path=ppt/ink/ink27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2:29:33.830"/>
    </inkml:context>
    <inkml:brush xml:id="br0">
      <inkml:brushProperty name="width" value="0.05292" units="cm"/>
      <inkml:brushProperty name="height" value="0.05292" units="cm"/>
      <inkml:brushProperty name="color" value="#0070C0"/>
    </inkml:brush>
  </inkml:definitions>
  <inkml:trace contextRef="#ctx0" brushRef="#br0">1640 9551 0,'-13'-13'0,"53"26"31,-27-13-31,14 0 0,-1 14 0,0-14 16,14 0-16,0 0 0,13 0 15,-14 13-15,1-13 0,0 0 16,0 0-16,-1 0 0,27 0 15,-39 0-15,-1 0 0,1 0 0,-1 0 16,1 0-16,-14 0 0,13 0 16,-12 0-16,-1 0 0,0-13 0,0 13 15,14 0-15,-14 0 16,0 0 0,0 0-1,14 0 1</inkml:trace>
  <inkml:trace contextRef="#ctx0" brushRef="#br0" timeOffset="2231.31">6972 9525 0,'-27'-13'31,"27"0"-15,14 13-1,12 0-15,-13 0 16,27 0-16,0 0 0,13 0 0,13 0 16,-13 0-16,13 0 0,0 0 0,13 0 15,1-14-15,12 14 0,-12 0 16,-1 0-16,0 0 0,1 0 0,-1 0 16,-13 0-16,14 0 0,-1 0 0,0 0 15,-26 0-15,13 0 0,1 0 16,-15 0-16,1 0 0,0 0 0,-13 0 15,0 0-15,-1 0 0,-12 0 16,-14 0-16,14 0 0,-1 0 0,-13-13 16,0 13-16,1 0 0,-1 0 15,0 0-15,0 0 0,1 0 16,-1 0-16,-13-13 16,13 13-16,-13-13 31,13 13-16,-13-14 17,14 14-1,-14-13 1000,13 13-1031,-13-13 16,13 13-16</inkml:trace>
  <inkml:trace contextRef="#ctx0" brushRef="#br0" timeOffset="3043.1">10239 8930 0,'0'-14'16,"0"54"15,0-27-31,-13 14 0,13-1 0,-13 1 16,13 12-16,-13 1 0,-1 0 16,14 0-16,-13-1 0,0-12 0,13 12 15,-13-12-15,13-1 0,-13 1 16,13-14-16,0 13 0,-14-12 0,14-1 0,0 0 15,-13 0-15,13 1 16,0-1-16,13-13 31</inkml:trace>
  <inkml:trace contextRef="#ctx0" brushRef="#br0" timeOffset="3846.21">11615 9512 0,'93'13'31,"-80"-13"-15,14 0-16,12 0 0,-12 0 0,26 13 16,-14-13-16,14-13 0,0 13 0,0 0 15,13 0-15,0 0 0,14 0 16,-1 0-16,0 0 0,1 0 0,12 0 16,1 0-16,0 0 0,-1 0 15,1 0-15,-1 0 0,14 13 0,-13-13 16,-1 0-16,1 0 0,13 0 0,-14 0 15,1 0-15,0 0 0,-1 0 0,1 0 16,-14 0-16,14 0 16,-14 0-16,1 13 0,65-13 15,-79 0-15,-13 0 0,0 0 0,0 0 16,-13 0-16,-14 14 0,1-14 0,-1 0 16,1 0-16,-14 0 0,0 0 15,13 0-15,-12 0 0,-1 0 16,0 0-16,0 0 0,1 0 15,-1 0 1,-40-14 62,14 14-78,0 0 0,-14 0 0</inkml:trace>
  <inkml:trace contextRef="#ctx0" brushRef="#br0" timeOffset="5926.31">2024 10107 0,'27'0'16,"-14"0"-16,0 0 0,0 0 0,14 0 16,-1 0-16,1 0 0,12 0 0,1-13 15,13 13-15,0 0 0,0 0 16,0 0-16,13-13 0,0 13 0,13 0 16,-13 0-16,14 0 0,-14-14 0,0 14 15,-13 0-15,13 0 0,-13 0 16,0 0-16,13 0 0,-13 0 0,0 0 15,-13 0-15,-14 0 0,14-13 0,-14 13 16,1 0-16,-1 0 16,1 0-16,-1 0 0,-13 0 0,1 0 15,-1 0-15,0 0 0,0 0 0,0 0 16,1 0-16,-1 0 16,0 0-16,0 0 15,1 0-15,-1 0 31,0 0 1,0 0-1,-39 13 547,13-13-562,-1 0-16</inkml:trace>
  <inkml:trace contextRef="#ctx0" brushRef="#br0" timeOffset="7953.18">10041 5609 0,'-13'0'0,"39"13"31,-13-13-15,1 0-16,-1 0 0,13 0 15,1 0-15,-1 0 0,14 14 0,13-14 16,0 0-16,0 0 0,26 0 0,0 0 16,14-14-16,0 14 0,-1 0 15,14 0-15,0 0 0,13-13 16,13 13-16,1 0 0,-28 0 0,28 0 16,-14 0-16,-13 0 0,26 0 0,-26 0 15,26 0-15,-26 0 0,0 0 0,-1 0 16,-12 13-16,0-13 0,-1 0 15,-12 14-15,-1-14 0,0 0 0,-12 13 16,-1-13-16,-27 0 0,14 0 0,-13 13 16,-14-13-16,-12 0 0,12 0 15,-13 0-15,1 0 0,-1 0 16,0 13-16,0-13 0,14 0 16,-14 0-1,0 0 16,-13-13 1,0 0-1</inkml:trace>
  <inkml:trace contextRef="#ctx0" brushRef="#br0" timeOffset="8636.48">13309 5437 0,'-14'0'15,"28"13"17,-14 1-32,13-14 0,-13 13 15,13-13-15,0 13 16,0-13-16,1 13 0,-1-13 0,0 14 15,14-14-15,-14 0 0,27 13 16,-27 0-16,13-13 0,-13 13 16,14-13-16,-14 0 0,14 13 15,-14-13-15,0 0 0,0 14 0,0-14 16,1 0-16,-1 0 0,13 13 0,-12-13 16,-1 0-16,0 0 15,-13 13-15,13-13 0,1 0 16,-1 0-16,0 0 15,0 13 1,0-13 31,-26 14-47,0-1 16,13 0-16,-13-13 0,0 13 15,-14 14-15,14-14 0,-14 13 0,1 1 16,-14-1-16,14 1 0,-14 13 15,14-14-15,-1 0 0,-12 1 0,12-1 16,1-12-16,-1 12 0,1 0 0,12-12 16,-12-1-16,13 0 0,-14 14 15,14-14-15,0 0 16,0 0-16,-1 1 16,1-14-1,13 13-15,-13 0 31,0-13-31</inkml:trace>
  <inkml:trace contextRef="#ctx0" brushRef="#br0" timeOffset="10220.23">5622 10134 0,'27'0'0,"-1"-14"15,1 14-15,12 0 0,14-13 16,0 13-16,0 0 0,0-13 0,0 13 16,26 0-16,-26 0 0,13 0 0,-13-13 15,14 13-15,-15 0 0,1 0 16,14-14-16,-28 14 0,14 0 0,0 0 15,-26-13-15,12 13 0,-12 0 0,-1 0 16,1 0-16,-14 0 16,0 0-16,13 0 0,-12 0 0,-1 0 15,0-13-15,-39 26 32,12-13-32,1 0 15,0 0-15,-13 13 0</inkml:trace>
  <inkml:trace contextRef="#ctx0" brushRef="#br0" timeOffset="11778.72">5887 10160 0,'-13'0'16,"39"0"0,1 0-1,-1 0-15,1-13 0,25 13 0,1 0 16,0 0-16,0 0 0,0 0 0,0 0 15,-13-13-15,13 13 0,0 0 16,-14 0-16,-12 0 0,12 0 0,-12 0 16,13 0-16,-14 0 0,1 0 0,-1 0 15,0 0-15,-12 0 0,12 0 16,-13 0-16,14 0 0,-14 0 0,0 0 16,0 0-16,1 13 15,-1-26-15,0 26 16,0-13-16,1 0 15,-1 0-15,0 0 16,0 0 31,1 0 0,-1-13 1078,-26-1-1110,13 1 1,-14 13 0</inkml:trace>
  <inkml:trace contextRef="#ctx0" brushRef="#br0" timeOffset="15634.99">1614 8824 0,'-13'0'0,"-40"0"16,40 0-16,-14 13 15,14-13-15,-14 13 0,1-13 0,0 14 16,-1-14-16,14 13 0,-27 0 16,14 0-16,-1 0 0,1 1 0,-1-1 15,1-13-15,13 13 0,-14 0 16,14 1-16,0-14 0,-1 13 0,1 0 16,0-13-16,0 13 0,0-13 0,13 14 15,-14-1-15,1-13 0,13 13 16,-13 0-16,13 0 0,-13 1 15,13-1-15,0 0 0,-14 0 16,14 1-16,0-1 0,0 0 16,0 0-16,0 1 0,0-1 0,14 0 15,-14 13-15,0-12 0,0 12 16,0 1-16,0-1 0,13 0 16,-13 1-16,0-1 0,0 1 0,0-1 15,0 1-15,13-1 0,-13 1 0,0-1 16,0 14-16,-13 105 15,13-118-15,0-1 16,0 1-16,0-1 0,-13 14 0,13-27 16,0 14-16,-14-1 0,14 0 15,0-12-15,0-1 0,0 13 0,0-12 16,0-1-16,0 0 0,0 0 16,0 1-16,0-1 15,0 0-15,14-13 0,-14 13 16,13-13-16,-13 13 15,13-13-15,0 14 16,1-1 0,-1-13-16,0 0 15,-13 13-15,13-13 0,0 0 0,1 0 16,-1 13 0,0-13-16,0 0 0,1 0 0,25 0 15,-12 0-15,-1 0 0,14 0 0,0 0 16,-1-13-16,14 13 0,0 0 15,13-13-15,0 0 0,1-1 16,-1 1-16</inkml:trace>
  <inkml:trace contextRef="#ctx0" brushRef="#br0" timeOffset="18423.9">9393 10134 0,'13'13'47,"0"-13"-31,-13 13-16,13-13 0,1 0 0,-1 0 15,-13 13-15,13-13 0,0 0 16,1 0-16,-1 13 0,0-13 16,0 0-16,0 0 0,1 0 0,-1 0 15,0 0-15,0 0 0,1 0 16,-1 0-16,0 0 15,0-13-15,1 13 0,-1 0 16,-13-13-16,13 13 16,-13-13-16,13 13 15,-13-13-15,13-1 0,-13 1 16,0 0-16,14 13 0,-14-13 16,0-1-16,0 1 0,0 0 15,0 0-15,13-1 0,-13-12 0,0 13 16,0 0-16,0-1 0,0 1 0,0 0 15,0 0-15,0-1 0,0 1 16,0 0-16,0 0 16,0-1-16,0 1 0,0 0 0,0 0 15,0 0 1,0-1-16,0 1 16,0 0-16,0 0 31,0-1-16,0 1 110,0 0-109,-13 13 15,13-13-31,0 0 32,0-1-1,0 1 0,13 13 0,-13-13-15,13 13-16,0 0 16,1 0-16,-1 0 15,0 0-15,0 0 16,0 0-16,1 0 0,-1 0 0,0 0 15,0 0-15,14 0 0,-14 0 0,0 0 16,14 0-16,-14 0 0,0 0 16,0 0-16,14 0 0,-14 0 15,0 0-15,1-13 0,-1 13 0,13 0 0,-12 0 16,-1 0-16,0 0 16,0 0-16,0 0 0,14 0 15,-14 0-15,0-14 0,1 14 0,-1 0 16,0 0-16,0 0 0,1 0 0,-1 0 15,0 0-15,0 0 0,0 0 16,1 0-16,-1 0 0,0 0 0,14-13 16,-14 13-16,0 0 0,0 0 15,14 0-15,-14 0 0,0 0 16,0 0-16,14 0 0,-1 0 0,-12 0 16,12-13-16,0 13 0,-12 0 0,12 0 15,1 0-15,-1-13 0,1 13 16,-1 0-16,0 0 0,14-14 15,-13 14-15,-1 0 0,14 0 0,-14-13 16,1 13-16,12 0 0,-12 0 0,-1-13 16,40 13-16,-39 0 15,-1-13-15,1 13 0,12 0 0,-12 0 16,-1 0-16,1-13 0,-1 13 0,1 0 16,-14 0-16,13 0 15,1 0-15,-1-14 0,1 14 0,-14 0 16,14 0-16,-1 0 0,-13-13 0,40 13 15,-40 0-15,1 0 0,-1 0 16,13 0-16,-12-13 0,-1 13 0,0 0 16,0 0-16,0 0 0,1 0 15,-1 0-15,0 0 0,0 0 0,1-13 16,-1 13-16,0 0 16,0 0-16,0 0 0,1 0 15,12 0 1,-13 0 15,1 0 0,-14-14 16</inkml:trace>
  <inkml:trace contextRef="#ctx0" brushRef="#br0" timeOffset="20883.08">14975 9551 0,'14'-13'0,"-1"13"0,13 0 16,-12 0-16,-1 0 0,0 0 16,13 0-16,1 0 0,-1 0 0,1 0 15,13 0-15,-14 0 0,14 0 16,-1 0-16,-12 0 0,26-13 15,-14 13-15,14 0 0,-13 0 0,13 0 16,-13-13-16,-1 13 0,14 0 0,-13-13 16,0 13-16,-1 0 0,41-14 15,-41 14-15,1-13 0,26 13 16,-26-13-16,0 13 0,-14-13 16,14 13-16,-14-14 0,14 14 15,-14-13-15,1 13 0,-1-13 0,1 13 16,-1-13-16,14 13 0,-14-14 0,1 14 15,-1-13-15,-13 13 0,14 0 16,-1-13-16,1 13 0,-1-13 0,1 13 16,12-13-16,-12-1 0,-14 14 15,14-13-15,-1 13 16,1-13-16,12 0 0,-12 13 16,-14-14-16,0 14 0,27-26 15,-27 26-15,0-13 0,0 0 16,1-1-16,-1 14 0,0-13 0,0 0 15,1 0-15,-14-1 0,13-12 16,-13 13-16,0-1 0,-13 1 16,13 0-16,0 0 0,-14 0 15,1-1-15,-13 1 16,12 0-16,1 13 0,0-13 0,0 13 16,-14-14-16,14 14 0,-13-13 15,-1 13-15,1-13 0,-1 13 0,1-13 16,-1 13-16,1 0 0,-14-14 15,14 14-15,-1 0 0,-12-13 16,-1 13-16,0 0 0,14-13 0,-1 13 16,-12 0-16,-1 0 0,0-13 0,1 13 15,-1 0-15,0 0 0,-13 0 0,14-13 16,-14 13-16,0 0 16,0 0-16,13 0 0,-13-14 0,0 14 0,0 0 15,0 0-15,-13 0 0,13-13 16,1 13-16,-1 0 0,-14 0 15,15 0-15,-28-13 0,27 13 0,0 0 16,-26 0-16,13-13 0,0 13 0,-1 0 16,-12 0-16,26-14 0,-26 14 0,26 0 15,-13 0-15,13 0 0,-13 0 16,13 0-16,-27-13 0,28 13 0,-28 0 16,14 0-16,13 0 0,-13 0 0,13 0 15,0 0-15,0 0 0,0 0 16,-13 0-16,13 0 0,0 0 0,0 0 15,0 0-15,1 0 0,-1 0 0,0 0 16,0 0-16,0 0 0,0 0 16,-40 0-16,40 0 0,1 0 15,-1 0-15,0 0 0,0 0 0,0 0 16,0 0-16,0 0 0,0 0 0,0 0 16,0 0-16,0 0 15,0 0-15,0 0 0,-66 13 16,53-13-16,13 0 0,-264 0 31,-1085 53 32,1309-53-32,-2328 133 47,2223-133-62,92 0-16,-79 13 0,92-13 15,14 0-15,-14 0 0,14 0 16,-1 0-16,1-13 0,13 13 0,-14 0 15,14 0-15,13-14 0,-26 14 16,26 0-16,0 0 0,-13-13 0,13 13 16,0 0-16,0-13 0,0 13 15,0 0-15,0-13 0,14 13 0,-14-14 16,13 14-16,0-13 0,1 13 0,-41-13 16,54 0-16,-14 13 15,1-13-15,-1 13 0,0-14 0,0 14 16,14-13-16,0 13 0,-14-13 0,13 13 15,1 0-15,-14-13 0,1 13 16,-1 0-16,13-14 0,1 14 0,-14 0 16,14 0-16,-14 0 0,0 0 0,14 0 15,-40-13-15,26 13 16,0 0-16,1 0 0,-1 0 16,0 0-16,14 0 0,-27-13 0,-13 13 15,26 0-15,-26 0 16,26 0-16,1 0 0,-14 0 15,13-13-15,-13 13 0,0 0 0,14 0 16,-14 0-16,13-14 0,-13 14 0,13 0 16,-13 0-16,14 0 0,12-13 0,-12 13 15,12 0-15,1 0 16,-1 0-16,-12 0 0,12 0 0,-52 0 16,52 0-16,1-13 0,-1 13 15,1 0-15,-1 0 0,1 0 16,-1 0-16,1-13 0,0 13 15,-41 0-15,41 0 0,0 0 0,-1-13 16,1 13-16,-1 0 0,-13 0 16,14 0-16,0 0 0,-1 0 15,1 0-15,-1-14 0,1 14 16,-1 0-16,1 0 0,-1 0 0,1 0 16,-14 0-16,-13 0 0,14 0 15,12 0-15,1 0 0,-14 0 0,14 0 16,-14 0-16,13 14 0,-12-14 15,12 0-15,1 0 0,-1 0 0,1 0 16,-1 0-16,1 13 0,-1-13 16,1 0-16,0 0 0,-1 0 0,1 0 15,-14 13-15,13-13 0,1 0 0,0 0 16,-1 13-16,1-13 0,-1 0 16,1 13-16,-1-13 0,1 0 0,-1 14 15,1-14-15,-1 0 0,1 13 0,0-13 16,12 13-16,-12-13 0,13 0 0,-14 13 15,14-13-15,-14 14 0,14-14 16,-13 0-16,13 13 0,-1-13 0,-12 13 16,-1-13-16,1 13 0,13-13 15,0 14-15,-1-14 0,1 13 16,0-13-16,-14 13 0,14-13 16,-13 13-16,12 0 15,1-13-15,0 14 0,0-14 0,13 13 16,-13 0-16,-1-13 0,14 13 15,-13 1-15,13-1 0,0 0 16</inkml:trace>
  <inkml:trace contextRef="#ctx0" brushRef="#br0" timeOffset="22984.18">1746 10213 0,'13'-27'47,"1"27"-31,-14-13-1,13 13-15,0-13 16,0 13 15,-13-13-31,14 13 16,-1 0-16,0-13 15,0 13-15,1 0 16,-1 0-16,0-14 0,0 14 0,0 0 0,1 0 16,12-13-16,-13 13 0,14 0 15,-1 0-15,1-13 0,26 13 16,-27-13-16,1 13 0,-1 0 0,0-14 16,1 14-16,-1 0 0,14 0 15,-13-13-15,-14 13 0,13 0 16,-13 0-16,14 0 0,-14 0 0,0 0 15,14 0-15,-14 0 16,0 0-16,1 0 0,12 0 0,-13 0 16,0 0-16,1 0 0,-1 0 0,0 0 15,0 0-15,1 0 0,-1 0 16,0 0-16,0 0 0,1 0 16,-1 0-16,0 0 0,0 0 0,0 0 15,1 0-15,-1 0 0,0 0 16,0 0-16,14 0 0,-14 0 15,0 0-15,27 0 16,-27 0-16,0 0 0,1-13 16,-1 13-16,0 0 0,0 0 0,1 0 15,-1 0-15,0 0 0,0 0 0,0-13 16,1 13-16,-1 0 0,0 0 16,0 0-16,1 0 15,-1 0-15,0 0 0,0 0 16,1 0-1,-1 0-15,0 0 16,0 0-16,0 0 16,1 0-16,-1 0 15,0 0 1,0 0-16,1 0 0,-1 0 0,0 0 16,0 13-16,1-13 15,-1 0-15,0 0 0,0 0 16,0 0-16,1-13 0,12 13 0,-13 0 15,1 0-15,12 0 0,-13 0 16,0 0-16,14 0 0,-14-14 0,0 14 16,14 0-16,-14 0 0,27 0 15,-14-13-15,1 13 0,12 0 16,-12 0-16,-14 0 0,14-13 16,-1 13-16,-13 0 0,14 0 0,-1 0 15,1 0-15,-14 0 0,13-13 0,1 13 16,-1 0-16,1 0 0,-1 0 0,1 0 15,-14 0-15,13 0 16,1 0-16,-14 0 0,13 0 0,-12 0 16,25-13-16,-25 13 0,12 0 15,-13 0-15,0 0 0,14 0 16,-14 0-16,14 0 0,-14-14 0,0 14 16,14 0-16,-14 0 0,0 0 0,13 0 15,-12 0-15,-1 0 0,13-13 16,-12 13-16,-1 0 0,0 0 0,0 0 15,14 0-15,-1 0 16,-13 0-16,1 0 0,12-13 0,-13 13 16,1 0-16,-1 0 0,0 0 15,13 0-15,-12 0 0,-1 0 0,0 0 16,14 0-16,-14 0 0,0 0 0,14-13 16,-14 13-16,13 0 0,14 0 15,-14 0-15,1 0 0,-14-14 16,14 14-16,-1 0 0,0 0 0,-12 0 15,12 0-15,1 0 0,-1 0 16,1 0-16,-14 0 0,13 0 0,1 0 16,-1 0-16,-13 0 0,14-13 0,-14 13 15,14 0-15,-14 13 0,13-13 16,-13 0-16,14 0 0,-14 0 16,14-13-16,-14 13 0,0 0 0,13 0 15,1 0-15,-14 0 0,14 0 0,-14 0 16,13-13-16,-12 13 0,12 0 15,-13 0-15,0 0 0,14 0 16,-14 0-16,0 0 0,1 0 0,-1 0 16,0 0-16,0 0 0,1-13 0,12 13 15,-13 0 1,-52 0 31</inkml:trace>
  <inkml:trace contextRef="#ctx0" brushRef="#br0" timeOffset="25079.99">9935 1442 0,'-13'-13'15,"26"0"17,14 13-1,-14 0-31,-13 13 0,13 0 16,0 0-16,-13 0 15,0 1-15,13-14 0,-13 13 0,0 0 16,0 0-16,0 1 0,0-1 15,0 0-15,0 0 0,-13 1 16,13-1-16,0 0 16,-13-13-16,13 13 0,-13-13 15,0-13 1,-1 0 0,14 0-1,0-1 1,14 14 15,12 0-15,-13 0-1,0 14-15,14-14 32</inkml:trace>
  <inkml:trace contextRef="#ctx0" brushRef="#br0" timeOffset="25511.99">10411 1442 0,'27'0'16,"-1"-13"-16,1 13 15,-14 0-15,13-13 0,-12 13 16,12 0-16,1 0 0,-14-14 16,13 14-16,-13 0 0,1-13 0,12 13 15,-13 0-15,1 0 0,-1 0 16,-13-13-16,13 13 15,0 0-15</inkml:trace>
  <inkml:trace contextRef="#ctx0" brushRef="#br0" timeOffset="25959.86">10610 1244 0,'39'13'47,"-25"-13"-47,-1 0 0,0 0 15,0 13-15,1-13 0,-1 0 0,0 0 16,0 13-16,1-13 0,-1 13 15,0 1-15,0-1 16,-13 0-16,0 0 0,0 1 0,0-1 16,0 0-16,0 0 0,-13 1 0,13 12 15,-13-13-15,13 14 0,-13-14 16,13 0-16,0 0 0,0 1 16</inkml:trace>
  <inkml:trace contextRef="#ctx0" brushRef="#br0" timeOffset="27048.12">11417 1072 0,'0'0'0,"-13"-14"16,13 41 15,0-14-16,0 0-15,0 0 16,0 1-16,0-1 16,0 0-1,0 0-15,0 1 16,0-1 15,13-40 16,-13 14-31,13 0-16,-13 0 15,13-1-15,-13 1 16,13 13-16,14 0 16,-14 0-1,0 13-15,1 1 16,-1-1-1,0 0 1,0 0 0,1-13-1,-1 0 1,-13-13 0,13 13-16,0 0 15,0 0 1,1 0-1,-1 0-15,0 0 16,0 0-16,1 0 16,-1-13-16,0 0 15,0 13-15,-13-14 16,14 14-16,-14-13 0,13 13 0,-13-13 16,13 0-16,0 0 31,-13 39 0,13-13-15,1-13-1,-1 0-15,0 0 16,0-13 0,1 13-16,-14-13 15,13 13 1,-13-13-16,13 26 47,0-13-32,0 0 1,1 13 0,-1-13-1,0 0-15,0 0 31,1 0-15,-1 0 0,13 0-1,-12-13-15</inkml:trace>
  <inkml:trace contextRef="#ctx0" brushRef="#br0" timeOffset="28363.95">12488 1270 0,'14'0'32,"-1"0"-17,0 13-15,0-13 0,14 13 0,12 1 16,1 12-16,13-13 0,53 27 16,-40-13-16,0-1 0,14 0 15,-1 1-15,-13-1 0,13 1 0,1-1 16,-14 14-16,27-14 0,-14 14 15,-13-13-15,0-1 0,0 0 16,0 14-16,-13-13 0,0-1 0,0-13 16,-13 14-16,0-14 0,-14 13 0,1-12 15,-1-1-15,0-13 0,-12 13 16,-1-13-16,0 13 0,0-13 0,-13 14 16,14-14-16,-1 0 0,-13 13 15,13-13-15,0 0 16,-13 13-16,14-13 15,-1 0 1,-13 13 15,13-39 32</inkml:trace>
  <inkml:trace contextRef="#ctx0" brushRef="#br0" timeOffset="28858.32">14195 1733 0,'13'13'32,"-13"0"-32,13-13 0,-13 14 0,27 12 15,-14-13-15,0 1 0,14 12 0,-14 1 16,13-14-16,14 13 0,-13-13 15,-1 14-15,0-14 0,1 14 0,-1-14 16,1 0-16,-14 0 0,14 14 0,-14-14 16,26 13-16,-25-12 15,12-14-15,1 26 16,-27-13-16,13-13 0,0 14 0,-13-1 16,13-13-16,-13 13 0,0 0 0,0 0 15,0 1 1,0-1-16,-13 0 0,0 0 0,0 1 0,-1 12 15,-12-13-15,-1 14 0,1-14 0,0 0 16,-1 14-16,14-14 0,-14-13 16,14 13-16,-13 0 0,12 1 0,1-14 15,0 13-15,0-13 0,0 0 0,13 13 16,-14-13-16,1 0 0,0 0 16,0 13-1</inkml:trace>
  <inkml:trace contextRef="#ctx0" brushRef="#br0" timeOffset="30636.12">17701 8176 0,'26'39'32,"-13"-12"-32,-13-14 0,0 0 15,14 14-15,-14-1 0,0 1 16,13-14-16,-13 13 0,0 1 0,0 12 16,13-12-16,-13-14 0,0 14 15,0-14-15,0 0 16,0 0-16,0 0 0,-13-13 0,13 14 15</inkml:trace>
  <inkml:trace contextRef="#ctx0" brushRef="#br0" timeOffset="30851.92">17820 8229 0,'-14'-14'16,"-12"28"0,13-1-16,0 0 0,-14 13 15,14 1-15,-14-1 0,1 1 16,13-1-16,-14 1 0,1 12 16,-1-25-16,27-1 0,-13 0 15,0 0-15,13 1 0</inkml:trace>
  <inkml:trace contextRef="#ctx0" brushRef="#br0" timeOffset="31074.16">17793 8189 0,'27'26'0,"12"14"15,-25-27-15,-1 0 16,0 1-16,0-1 0,14 13 16,-14-12-16,0-1 0,0 0 0,1-13 15,-1 13-15,0 1 0,0-1 16,1 0-16,-1-13 16</inkml:trace>
  <inkml:trace contextRef="#ctx0" brushRef="#br0" timeOffset="37348.91">22040 12290 0,'13'13'78,"0"0"-78,0-13 15,1 14-15,-1-14 0,0 0 16,14 13-16,-14-13 0,13 13 16,-12-13-16,12 13 0,-13-13 0,14 13 15,-1-13-15,1 14 0,-14-14 0,13 0 16,1 13-16,-1-13 16,-13 0-16,14 0 0,-1 0 0,14 0 15,-14 0-15,1 0 0,-14 0 0,14 0 16,-1 0-16,-13 0 0,40-13 15,-40 13-15,14-14 0,-14 14 16,0-13-16,14 13 0,-14 0 0,14-13 16,-14 13-16,0-13 15,13 13-15,-12-13 0,-1-1 0,0 14 16,0-13-16,1 0 0,-1 13 0,0-13 16,0-1-16,1 1 15,-1 0-15,-13 0 0,13 0 16,-13-1-16,0 1 0,13 13 0,-13-13 15,0 0-15,0-1 16,0 1-16,-13 0 0,13 0 16,0-1-16,-13 1 0,0 0 15,13 0-15,-14 0 0,14-1 0,-13 1 16,-13-13 0,26 12-16,-14 14 0,14-13 0,-13 0 15,13 0-15,-13-1 0,0 14 0,13-13 16,-14 0-16,1 0 0,0 0 15,0-1-15,0 14 0,13-13 16,-14 0-16,1 13 0,0-13 0,0 13 16,-1-14-16,1 1 0,0 13 15,0-13-15,-1 13 0,-12-13 16,13 13-16,0-13 0,-1 13 16,1-14-16,0 14 0,0 0 0,-1 0 15,1-13-15,0 13 0,-14 0 16,14-13-16,0 13 0,0 0 0,0 0 15,-1-13-15,1 13 0,0 0 16,0 0-16,-1 0 0,1 0 16,0-14-16,0 14 0,0 0 15,-1 0-15,1 0 0,0 0 16,0 0-16,-1 0 0,1 0 0,0 0 16,0 0-16,-14 0 15,14 14-15,0-14 0,-14 0 16,14 13-16,0-13 0,-14 13 15,14-13-15,-13 13 0,12-13 16,1 14-16,0-1 0,0-13 16,-14 13-16,14-13 0,0 13 0,0 0 15,-1 1-15,1-14 0,0 13 0,0 0 16,13 0-16,-13 1 0,-1-1 16,1 0-16,0 0 0,0 14 0,13-14 15,-14 0-15,1 14 0,13-14 0,0 13 16,-13-12-16,13 12 0,0-13 15,0 14-15,13-1 0,-13 1 0,27-1 16,-1 1-16,1-1 0,-1 0 0,14-12 16,13 12-16,13-13 0,0 1 15,0-1-15,53 0 16,-66-13-16,0 0 0,13 0 0,-26 0 16,-14 0-16,14 0 15,-27 0-15,0 0 0</inkml:trace>
  <inkml:trace contextRef="#ctx0" brushRef="#br0" timeOffset="39227.89">11509 11933 0,'0'0'0,"40"0"31,-27 0-31,1 0 0,-1 0 16,0 13-16,0-13 0,0 13 0,1 0 15,-14 1-15,0-1 16,0 0-16,0 0 0,-14 1 0,14 12 16,-13-13-16,0 14 0,13-14 0,-13 13 15,0-12-15,-1-1 0,14 0 16,-13 0-16,13 1 0,-13-14 15,13 13-15,13 0 16,14-26 0,-14 13-16,0-13 0,13 13 15,1-14-15,-14 1 0,14 13 16,-1-13-16,1 0 0,-14-1 0,13 1 16,-13 0-16,1 0 0,12-1 15,-13 1-15,-13 0 0,14 0 0,-1 0 16</inkml:trace>
  <inkml:trace contextRef="#ctx0" brushRef="#br0" timeOffset="39596.79">11430 11721 0,'-132'159'31,"118"-120"-31,1 41 15,13-40-15,13-1 0,-13 14 0,14-13 16,-1 13-16,13-14 0,1 1 16,-1-13-16,1-1 0,-1 0 0,54 27 15,-41-39-15,1-1 16,0-13-16,-1 0 0,1 0 0,39-13 16,-39-1-16,0-12 0,-14 13 15,14-14-15,-14-12 0,-12 12 16,12-13-16,-26 14 0,13-14 0,-13 1 15,0-1-15,-13 0 0,-13 14 16,12-14-16,-12 14 0,-1-1 0,1 14 16,-14-14-16,14 27 0,-1-13 15,1 13-15,13 0 0,-14 0 0,1 13 16,13 1-16,-14-1 0,14 0 0,13 14 16,-13-1-16,13 1 0,13-1 15,0 14-15,0-1 0</inkml:trace>
  <inkml:trace contextRef="#ctx0" brushRef="#br0" timeOffset="40231.19">12277 12766 0,'13'27'31,"0"-14"-31,-13 0 16,0 14-16,0-14 0,0 0 0,0 0 16,0 14-16,0-14 0,0 0 15,0 0-15,-13-13 0,13 14 16,0-1-16,0 0 0,13-13 15,-13 13-15,13-13 16,14-13-16,-14 0 0,0 0 16,14-14-16,-1 14 0,1-14 0,-1 1 15,1-14-15,-1 14 0,-13-1 16,14-12-16,-14 12 0,-13-12 0,13 12 16,-13 14-16,0-14 0,-13 14 0,13 0 15,-13 0-15,-14 13 0,14 0 16,-13-14-16,12 28 0,-12-14 15,-14 13-15,-13 0 0,14 0 0,-1 14 16,-13-1-16,13 1 0,1 12 16,-1 1-16,13 0 0,1 0 0,13-14 15,0 14-15,-1-1 0,14-12 0,0-14 16,14 14-16,-1-1 0,0-13 16,0 0-16,40 14 15,-26-14-15,-1-13 0,40-13 16,-26 13-16,0-13 0,-14-1 0,0-12 15,1 13-15,-1-14 0,1 14 16,-14-13-16,-13-1 0,13 14 0,-13-27 16,0 14-16,0 13 0,-13-27 15,13 27-15,-13-1 0,13 1 16,-13 0-16,-1 0 0,1-1 16,13 1-16,-13 0 0,13 0 0,-13 13 15,13-13-15,-14-1 0</inkml:trace>
  <inkml:trace contextRef="#ctx0" brushRef="#br0" timeOffset="40616.19">12647 12290 0,'-40'-66'0,"27"53"0,-106-186 32,106 186-32,0 0 0,-1-14 15,1 14-15,13 0 0,-13 13 16,0-14-16,-1 1 0,1 13 16,0-13-16,0 13 15,0 13-15,-1 0 16</inkml:trace>
  <inkml:trace contextRef="#ctx0" brushRef="#br0" timeOffset="41031.82">12846 12012 0,'0'0'15,"13"-26"17,13 26-32,-13-14 0,14-12 0,13 13 15,-14-1-15,14 1 0,-1-13 16,-12 26-16,-1-13 0,-12-1 15,12 14-15,-13-13 0,0 13 16,1 0-16,-1-13 0,0 13 16,0-13-16</inkml:trace>
  <inkml:trace contextRef="#ctx0" brushRef="#br0" timeOffset="41339.79">13269 11298 0,'26'53'31,"-12"-14"-31,-1 1 0,0 13 0,0 13 15,0 0-15,1 0 0,-14 1 16,13-1-16,0 0 0,-13-13 0,13 13 16,1 0-16,-14-13 0,13 0 0,-13-13 15,0 12-15,13-12 0,-13 0 16,13 13-16,-13-40 16,0 13-16,0-12 0,14-1 0,-14 0 15</inkml:trace>
  <inkml:trace contextRef="#ctx0" brushRef="#br0" timeOffset="41635.75">12965 12568 0,'0'0'15,"264"-119"16,-184 79-31,25 13 0,1-12 16,13 12-16,0-12 0,0 12 0,14-12 16,145-14-16,-146 26 0,13 1 15,1-1-15,-14 14 0,-13-13 16,0 12-16,-26 1 0,-1 0 0,-12 13 16,-1-13-16,-26 13 0,0-14 0,-26 14 15,-1 0-15,0 0 0,-12 0 16,-54 0-1,14 0-15,-1 14 16</inkml:trace>
  <inkml:trace contextRef="#ctx0" brushRef="#br0" timeOffset="43047.14">13507 12105 0,'13'13'0,"14"-26"31,-27-1-31,13 1 0,-13 0 16,0 0-16,13-14 0,-13 1 16,0-27-16,0 13 0,0-13 0,0-13 15,0-13-15,13 13 0,-13-14 0,14 14 16,-1-13-16,-13 13 0,26 13 15,-13 0-15,1 0 0,-1 13 0,0 14 16,0-1-16,-13 1 0,14 13 0,-14-1 16,13 14-16,0-13 0,0 26 15,1 14 1,-1 12-16,0 28 0,0-14 0,0-14 16,14 14-16,-14 0 15,0 0-15,14 0 0,-1-13 0,1 13 16,-14-14-16,13-12 0,1 12 0,-1-12 15,1-1-15,-1-12 0,1 12 16,-1-13-16,-13 0 0,14-13 16,-1 0-16,1 0 0,-14 0 0,14 0 0,-1-13 15,0 0-15,14-13 0,-13-1 16,-1 1-16,0-1 0,1-13 0,-14-12 16,14 12-16,-14-13 0,0 0 0,0 13 15,1 1-15,-1-1 0,0 13 0,0-12 16,-13 12-16,13 14 15,-13-13-15,14 12 0,-1 14 16,0 14 0,0-1-16,-13 0 0,14 14 15,-1-1-15,13 0 0,-12 14 0,-1-13 16,26 26-16,-25-27 0,-1 0 16,13 1-16,-12-14 0,-1 0 15,13 14-15,-13-27 0,1 13 0,-1 0 16,0-13-16,14 0 0,-27 14 0,13-28 15,0 14-15,0-13 0,1 0 16,-1 0-16,26-54 16,-39 28-16,14-1 0,-1 0 0,0-26 15,0 13-15,-13 14 0,14-14 0,-1 13 16,-13 14-16,13-14 0,0 27 16,1-14-16,-14 14 0,13 13 0,0-13 15,0 26-15,0 0 16,1 0-16,-1 14 0,13 13 15,-12-14-15,12 27 0,1-13 0,-1-1 16,0 1-16,1-14 0,-1 14 0,27 26 16,-26-39-16,-1-1 0,1 1 15,-1-1-15,1-13 0,-1 1 16,-13-1-16,14-13 0,-14 13 16,0-13-16,14 0 0,-14-13 0,13 13 15,1-27-15,-1 14 0,14-13 16,-14-1-16,1-12 0,-1 12 0,1-13 15,-1 14-15,14-14 0,-27 27 16,-13 0-16,13 0 0,1 13 16,-1 0-16,0 13 0,0 0 15,0 0-15,1 14 0,25 26 16,-25-14-16,12-12 0,27 39 16,-27-40-16,14 14 0,0-13 15,0-1-15,-1 0 0,1-12 16,0-1-16,13 0 0,-14-13 0,1 13 0,53-13 15,-54 0-15,14 14 16,-26-14-16,-1 0 0,14 0 16,-14 13-16,1-13 0,-14 13 0,13 0 15,-26 1-15,14-1 0</inkml:trace>
  <inkml:trace contextRef="#ctx0" brushRef="#br0" timeOffset="51916.96">23905 11946 0,'40'13'31,"-27"-13"-15,13 0-16,-12 0 0,-1 0 0,0 0 16,0 0-16,14 0 0,-14 0 15,14 0-15,-14 0 0,0 0 16,13 0-16,-12 0 0,-1 0 0,0 0 15,0 0-15,1 0 0,-1 0 16,0 0-16,0 0 16</inkml:trace>
  <inkml:trace contextRef="#ctx0" brushRef="#br0" timeOffset="52251.84">24249 11853 0,'13'0'32,"1"0"-17,-1 0-15,-13 14 16,13-14-16,0 13 0,0-13 15,-13 13-15,14 0 0,-1-13 16,-13 13-16,0 1 0,13-14 16,-13 13-16,0 0 15,0 0-15,0 1 16,0-1-16,-13-13 16,13 13-16,-13 0 15,-1 1-15,1-1 16,13 0-1</inkml:trace>
  <inkml:trace contextRef="#ctx0" brushRef="#br0" timeOffset="53671.8">24368 11893 0,'13'0'16,"1"0"-1,-14-13-15,13 13 16,0 0-16,0 0 16,1-13-16,-1 13 15,-13-14-15,13 14 0,0 0 16,-13-13-16,13 13 0,1-13 15,-1 0-15,-13-1 0,13 14 16,0-13-16,-13 0 0,14 0 0,-1 0 16,0-1-16,0 1 15,-13 0-15,13 0 0,1 13 0,-14-14 16,13-12-16,0 13 16,0-1-16,-13 1 0,14 0 0,-1 0 15,-13 0-15,13-14 0,0 14 16,-13 0-16,14-14 0,-1 14 0,0-14 15,-13 1-15,26-27 16,-12 27-16,-1-1 0,13-65 16,-12 65-16,-14 1 0,13-1 15,0-13-15,-13 1 0,13 12 16,1-12-16,-14 12 0,13-12 0,0-28 16,0 41-16,-13-14 0,13 1 15,-13 12-15,14 1 0,-14-1 16,0-13-16,13 14 0,-13 0 0,13-27 15,-13 26-15,0-12 0,0-14 16,0 26-16,0-13 16,0 1-16,0 12 0,0-12 15,0-1-15,0 13 0,0-12 0,0-1 16,0 14-16,0-1 0,-13 1 16,13-1-16,0-12 0,-13 12 0,13 1 15,0-1-15,-14 1 0,14-1 0,-13 1 16,0-1-16,0 1 0,0-1 0,-1-12 15,1 26-15,13-14 16,-13 1-16,0-1 0,-1 1 0,1 12 0,0-12 16,0 13-16,-1-27 15,1 14-15,0 12 0,0-12 16,0 13-16,-1-1 0,1-12 0,0 13 16,0 0-16,-1-14 0,1 14 0,-13-27 15,-1 14-15,-12-27 16,25 26-16,-12 14 0,-1-13 15,14-1-15,-13 1 0,-1-1 0,1 14 16,13-13-16,-14-1 0,1 1 16,12 12-16,-12-12 0,13 0 0,-40-14 15,40 13-15,-14 1 0,1 13 16,-14-27-16,14 14 0,-1-1 16,14 14-16,-14-14 0,1 1 15,-1 13-15,1-14 0,0 1 0,-1 13 16,1-14-16,-1 14 0,1-14 15,-1 14-15,1-13 0,13 26 16,-1-27-16,1 27 0,-27-26 16,27 13-16,13-1 0,-13 1 15,0 13-15,0-13 0,-1 0 0,1-1 16,0 1-16,0 0 16,-1 0 15,1 0-16</inkml:trace>
  <inkml:trace contextRef="#ctx0" brushRef="#br0" timeOffset="54263.02">23773 8176 0,'-27'-14'16,"14"14"-16,13-13 0,-13 13 15,0 0-15,-1 0 0,-12 0 0,13-13 16,0 13-16,-14 0 0,14 0 16,-27-13-16,27 13 0,0 0 15,-1 0-15,1-14 0,0 14 16,0 0-16,0 0 0,-1 0 15,1 0 1,0-13-16,0 13 16,-1 0 15,1 13-15,13 1 15,0-1-16,0 0-15,13 0 16,-13 1-16,0-1 16,14 0-16,-14 0 0,0 1 0,0-1 15,13-13-15,-13 13 0,0 0 16,0 0-16,0 1 0,0-1 16,13-13-16,-13 13 0,0 0 0,0 1 15,0-1-15,0 0 16,13 0-16,-13 1 15,14-1-15,-1-13 16</inkml:trace>
</inkml:ink>
</file>

<file path=ppt/ink/ink27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2:30:56.694"/>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FFFF"/>
    </inkml:brush>
  </inkml:definitions>
  <inkml:trace contextRef="#ctx0" brushRef="#br0">2990 1323 0,'0'0'0,"13"0"78,0 0-62,0 0-16,27 0 15,-13 0-15,105 0 16,0 0-16,40 0 16,13 0-16,-39 0 15,13 0-15,-40-13 16,-13 13-16,13-27 16,-66 27-1,-27-13-15,0 13 0,-12 0 16</inkml:trace>
  <inkml:trace contextRef="#ctx0" brushRef="#br0" timeOffset="3259">8096 3400 0,'93'-27'32,"-40"27"-32,13-13 15,13 0-15,1 13 0,-1-13 0,14 13 16,12-13-16,15 13 0,12-14 0,-40 14 15,14 0-15,0-13 0,-13 13 16,13 0-16,-14 0 0,1 0 0,-1 0 16,-12 0-16,-1 13 0,-13-13 15,-13 0-15,0 0 0,0 0 0,-13 0 16,-14 0-16,1 0 0,-1 0 0,-13 0 16,1 0-16,-1 0 0,0 0 15,0 14-15,-52-14 16,-1 0-16,-13 0 15,0 13-15</inkml:trace>
  <inkml:trace contextRef="#ctx0" brushRef="#br0" timeOffset="3679.09">8453 3492 0,'0'0'0,"-92"14"0,52-1 15,27-13-15,0 0 0,66 0 31,0 0-31,13 0 0,13-13 0,14 13 16,-1-14-16,1 14 0,39-13 0,-13 0 16,-13 13-16,-13-13 0,12 13 15,1-13-15,-13 13 0,0 0 0,-1-14 16,-13 14-16,-12 0 0,-14 0 0,-1 0 16,1 0-16,-13 0 0,0 0 15,-14 0-15,1 0 0,-14 0 16,13 0-16,1 0 0,13 0 31,-27 0-31,0 0 16,0 0-16,0 0 15,1 0-15,-1 0 16,-26-13 78,-1 13-79</inkml:trace>
  <inkml:trace contextRef="#ctx0" brushRef="#br0" timeOffset="6927.02">10874 4379 0,'93'-13'32,"-53"-1"-32,26 14 0,0 0 0,13 0 15,14 0-15,0-13 0,-14 13 16,27 0-16,-14 0 0,1 0 16,0 0-16,-14 13 0,14-13 0,-14 0 15,0 14-15,-13-14 0,1 0 16,-15 13-16,1-13 0,-13 0 0,-13 0 15,12 13-15,-26-13 0,1 0 0,-1 0 16,0 0-16,0 13 0,-39-13 16,-1 14-1</inkml:trace>
  <inkml:trace contextRef="#ctx0" brushRef="#br0" timeOffset="7231.1">10967 4538 0,'66'13'31,"-13"-13"-31,13 0 0,0 0 16,14 0-16,12 0 0,-12 13 16,12-13-16,1 0 0,0 0 0,-14 13 15,13-13-15,-12 0 0,-1 0 16,-13 0-16,1 14 0,-15-14 15,1 0-15,0 0 0,-26 0 0,12 0 16,-12 0-16,-1 13 0,-12-13 0,12 0 16,-13 0-16,0 0 0,1 0 15,-1 0-15,0 0 16,0 0-16,1 0 16,12 0-16,-13-13 15,1 13-15,-1 0 0</inkml:trace>
  <inkml:trace contextRef="#ctx0" brushRef="#br0" timeOffset="8214.18">18984 4313 0,'40'13'16,"-14"-13"-16,14 13 15,-1-13-15,14 13 0,13 1 16,14-1-16,-1 0 0,14 0 0,-14 1 15,14-1-15,-1 0 0,1-13 0,0 13 16,-1 0-16,1-13 0,-1 14 0,-12-14 16,12 0-16,-12 0 0,-1 0 0,1 0 15,-1 0-15,-13-14 0,13 14 0,-12-13 16,-15 0-16,15 0 0,-28 0 16,1-1-16,13-12 0,-13-1 15,-1 1-15,1-1 0,-14-12 0,1-1 16,-1 0-16,-12 1 0,-14-1 0,13-13 15,-13 13-15,-13-12 0,-1-1 16,-12 0-16,-14-13 0,0 13 0,-26-14 16,0 15-16,-13-15 0,-1 14 0,1 1 15,-14 12-15,1 0 0,-1 1 16,14 12-16,-14 14 0,14-14 0,0 27 16,-14-13-16,0 13 0,1 0 0,-14 13 15,0 14-15,-119 39 16,133-13-16,-14-13 0,13 26 15,1-13-15,12 13 0,1 0 0,13 0 16,13 0-16,0-13 0,26 0 0,1 0 16,-1 0-16,14 0 0,13-13 0,-13-1 15,13 1-15,13 0 0,0-1 16,14-12-16,-1 12 0,1-25 0,52 25 16,-26-39-16</inkml:trace>
  <inkml:trace contextRef="#ctx0" brushRef="#br0" timeOffset="9137.95">21114 3400 0,'0'-185'31,"0"132"-31,-13 13 16,13-13-16,0 0 0,0 0 0,-14 0 16,14 14-16,0-1 0,0 0 0,-13 14 15,13 13-15,0-14 0,0 14 16,0 0-16,13 13 0,1 13 16,12 0-16,-13 14 15,14 12-15,-1 1 0,1 0 16,12-1-16,-12 14 0,-1-13 0,40 39 15,-39-39-15,-1 0 16,14 13-16,-27-40 0,0 13 16,1-12-16,-14-1 0,0 0 15,0 0-15,-14-13 0,1 14 16,-13-14-16,12 0 0,-12 0 16,-14 0-16,1-14 0,-14 14 15,13 0-15,-13-13 0,13 13 0,-12 0 16,12-13-16,0 13 0,14-13 0,12 13 15,-12 0-15,13-14 0,0 14 16,-1 0-16,14-13 0,0 0 16,14 0-16,12-14 0,0 1 0,27-1 15,0 1-15,13-14 0,80-39 16,-80 39-16,-13 0 0,13 14 16,-13-14-16,13 1 0,27-14 15,-67 26-15,1 14 0,-1 0 16,1-14-16,-54 41 31,-12-1-31,12 13 0,-26 1 16,0-1-16,0 14 0,0 0 0,0-1 15,-52 41-15,52-41 0,13 1 16,0-14-16,1 14 16,-1 0-16,0 13 0,27-40 15,0 13-15,0-12 0,13-1 0,0 0 0,0 0 16,13 1-16,0-1 0,14-13 15,-1 13-15,0-13 0</inkml:trace>
  <inkml:trace contextRef="#ctx0" brushRef="#br0" timeOffset="9858.29">21722 3969 0,'-13'-13'0,"13"-14"0,-13 14 15,13 0-15,-13-40 16,13 13-16,0 0 0,0 1 16,-14-14-16,14 13 0,0-13 0,0 13 0,0 1 15,0-1-15,0 14 0,0 12 16,14-12-16,-14 13 0,0-1 0,0 1 16,13 0-16,13 26 15,-12 0-15,-1 1 16,0 25-16,13-12 0,-12-1 15,12 1-15,-13 12 0,14-12 0,-14-1 16,0 14-16,14-14 0,-14 1 0,0-1 16,-13-12-16,13 12 0,-13-13 15,0 1-15,0-1 0,0 0 0,0 0 16,-13 0-16,0 1 0,0-14 0,-14 13 16,1-13-16,-1 13 0,-12-13 0,-1 0 15,-13 0-15,13 0 0,-13 0 16,1-13-16,12 13 0,0-13 0,0-1 15,14 1-15,13 13 0,-14-13 16,27 0-16,-13 13 0,13-13 0,0-1 16,13-12-16,14 13 15,12-14-15,1 1 0,26-1 0,0 1 16,1-14-16,-1 14 0,79-27 16,-79 26-16,-13 1 0,13-1 15,-26 14-15,0 13 0,-14-13 0,-12 0 16,12 13-16,-13 0 0,-13 13 15,0 0-15,-13 0 0,0 14 16,-14-1-16,-12 14 0,-1 0 16,0-1-16,-13 1 0,14 0 0,-14-1 15,26 1-15,-12-13 0,12-1 16,1 14-16,-1-14 0,14 1 0,0-1 16,0 1-16,-1-14 0,14 13 15,-13-13-15,13 14 0,0-14 0</inkml:trace>
  <inkml:trace contextRef="#ctx0" brushRef="#br0" timeOffset="10635.3">21246 5133 0,'0'-40'31,"0"27"-31,0-13 0,0-1 15,13-13-15,-13 1 0,13-14 16,-13 0-16,14 13 0,-14-13 16,13 14-16,-13-1 0,13 0 0,-13 14 15,0-1-15,13 14 0,-13-13 0,0 12 16,14 14-16,-14-13 0,13 13 16,0 0-16,14 27 15,-14-1-15,13 1 0,27 12 16,-40-12-16,14-1 0,-14 1 15,14-1-15,-14-13 0,0 0 16,0 1-16,-13-1 0,13 0 0,1 0 16,-14 1-16,0-1 15,-14 0-15,1-13 16,0 0-16,0 0 16,0 13-16,-14-13 0,1 0 0,-1 0 15,1 0-15,-27 14 0,13-14 0,-13 13 16,13-13-16,-12 13 0,12 0 0,13-13 15,1 0-15,0 13 16,12-13-16,1 0 0,0 0 0,0 0 0,-1 0 16,54-13-1,0-13 1,-1-1-16,14 1 0,53-27 16,-53 13-16,0 14 0,66-40 15,-66 26-15,0 14 0,40-14 16,-67 27-16,53-27 15,-65 40-15,-1 0 16,-13 13-16,0 0 16,-13 1-16,-14 12 0,14 1 0,-14 12 15,1 1-15,-14 0 0,1-1 16,12 1-16,-13 0 0,1-1 0,-1 1 16,0-14-16,1 14 0,12-13 0,1-1 15,-27 27-15,26-27 16,14-12-16,0-1 0,0 0 15,-1-13-15,1 13 0</inkml:trace>
  <inkml:trace contextRef="#ctx0" brushRef="#br0" timeOffset="11377.59">19764 5199 0,'0'-66'0,"0"39"16,0 14-16,0-26 15,0-1-15,0 0 0,0-13 0,-13-79 16,13 79-16,0 0 0,0-39 16,0 65-16,0-13 0,0 27 15,0 0-15,0-14 0,0 14 16,13 40-1,1-1-15,-14 14 16,13-14-16,13 14 0,-12 0 16,-1-1-16,0 1 0,13 0 0,-12-14 15,-1 14-15,0-14 0,0 14 16,1-27-16,-14 14 0,0-14 0,13 13 16,-26-12-16,13-1 0,0 0 0,-14-13 15,1 13-15,0 1 0,0-14 16,-14 13-16,-12-13 0,-1 0 15,13 0-15,-12 0 0,-1-13 16,0 13-16,1-14 0,12 1 0,1 0 16,12 0-16,1-1 0,13-12 0,-13 13 15,13-14-15,13-12 0,14-1 0,-1-13 16,14 13-16,52-39 16,-52 39-16,13 14 0,0-14 0,26 0 15,-39 27-15,-14 0 16,1 13-16,-14 0 0,0 0 0,1 0 15,-1 13-15,-13 0 0,0 1 16,-27 39-16,1-14 0,-1 1 16,-12 13-16,-54 39 0,54-52 15,-67 53-15,53-40 16,13-14-16,0 1 0,1 0 16,12-14-16,1 1 0,-14 12 0,27-25 15,0-1-15,-1-13 0,14-13 16,0-1-1</inkml:trace>
  <inkml:trace contextRef="#ctx0" brushRef="#br0" timeOffset="12286.95">19090 3268 0,'-14'0'0,"-12"-80"31,26 54-31,13-14 0,-13 0 16,0-52-16,13 26 15,-13 13-15,0 0 0,0 13 0,0 0 16,0 1-16,0 12 0,14 14 16,-14-13-16,0 12 0,0 1 15,0 40 1,13-1-16,-13 14 0,13-1 16,-13 1-16,13 0 0,1 0 0,-1-1 15,0 1-15,0-14 0,1 40 16,-14-52-16,13 12 0,-13 1 15,-13-14-15,13 0 0,-14 0 16,1-13-16,-13 14 0,-1-14 16,1 13-16,-14-13 0,14 0 0,-27-13 15,-53-1-15,66 1 0,0 0 16,1 0-16,-1-1 0,14-12 16,12 13-16,1-14 0,13 14 15,0 0-15,27-40 0,-1 26 0,14-12 16,13 12-16,0 1 0,13-1 0,0 1 15,0-1-15,0 1 16,-13 13-16,0-14 0,0 27 0,-27-13 16,1 13-16,-14-13 0,0 13 0,1 13 15,-1-13-15,-13 13 0,0 1 16,-13-1-16,-1 13 0,-12 1 0,13 12 16,-27-12-16,0 13 0,1-1 0,-1 1 15,0 0-15,0-1 0,1 14 16,12-26-16,14-14 0,13 0 15,-13 0-15,13 1 0,13-14 0,0 13 16,1-13-16,12 0 0,-13 0 16</inkml:trace>
  <inkml:trace contextRef="#ctx0" brushRef="#br0" timeOffset="12927.26">20095 3069 0,'-13'-66'0,"26"132"0,-39-172 0,12 1 15,14 52-15,0 0 0,0 13 16,0-13-16,0 13 0,0 14 16,0-1-16,0 1 0,0 13 0,0 0 15,0-1-15,0 1 0,27 26 16,-27 14-16,13-1 16,0 14-16,1 0 0,-1-1 15,0 1-15,0 0 0,0-1 16,1 1-16,-1 0 0,13 26 0,-12-40 15,-14-12-15,13-1 16,-13 13-16,0-13 0,13-13 0,-26 14 16,13-1-16,-13-13 15,-1 13-15,1-13 0,-13 0 0,-1 0 0,1 13 16,-27-13-16,0 0 0,0 0 16,0 0-16,0 14 0,0-14 0,14 0 15,-1 0-15,13 0 0,1 0 0,13-14 16,0 14-16,-1 0 0,14-13 15,14 0-15,12-14 0,67-39 16,-40 27-16,-1-1 0,120-66 16,-79 53-16,-14 0 15,14 14-15,-27-1 0,0 13 16,27-25-16,-53 38 0,-14 14 16,1 0-16,-14 14 15,-26 12-15,-1 14 0,-12 13 16,-14 0-16,-52 66 0,39-66 15,13-1-15,0 15 0,1-15 0,-1 1 16,0 0-16,-13 0 0,27 0 16,-14-13-16,-13 52 15,27-52-15</inkml:trace>
  <inkml:trace contextRef="#ctx0" brushRef="#br0" timeOffset="15498.91">1495 5384 0,'106'0'32,"-53"0"-32,13 0 15,13 14-15,14-14 0,-1 0 0,14 0 16,0 0-16,0 13 0,26-13 15,-26 0-15,0 13 0,0-13 0,-14 0 16,14 0-16,-13 0 0,-1 0 0,1 0 16,0 13-16,-14-13 0,-13 0 0,0 0 15,-13 0-15,0 0 0,0 0 16,-13 0-16,-14 0 0,1 0 0,-1 0 16,-13 0-16,14 0 15,-67 0 1,0 0-16</inkml:trace>
  <inkml:trace contextRef="#ctx0" brushRef="#br0" timeOffset="15803.11">1759 5583 0,'-39'0'15,"78"0"-15,-39 13 16,27-13-16,26 0 0,26 13 15,1-13-15,12 0 16,1 0-16,13 13 0,-1-13 0,28 0 16,-14 0-16,13 0 0,-26 0 0,0 0 15,0 0-15,-14 0 0,1 0 16,-1 0-16,-12 0 0,-14 0 0,-13 0 16,0 0-16,-14 0 0,-12 0 0,-1 0 15,-12 0-15,12 0 0,-13 0 16,1 0-16,-41 0 31,14 0-31,13-13 16,-13 13-16,13-26 15</inkml:trace>
  <inkml:trace contextRef="#ctx0" brushRef="#br0" timeOffset="17522.91">6906 5331 0,'39'14'47,"-12"-14"-47,-14 13 0,13-13 0,14 13 16,13-13-16,-13 13 0,13-13 0,0 14 15,-1-1-15,-12-13 0,13 13 0,13 0 16,0-13-16,1 13 0,-1-13 16,0 14-16,0-1 0,-13-13 0,13 0 15,-13 13-15,0-13 0,0 13 0,0-13 16,13 0-16,-13 0 0,13 14 15,0-14-15,-13 0 0,0 0 16,13 13-16,27-13 0,-40 0 16,-14 0-16,1 0 0,13 13 0,-27-13 15,14 0-15,-14 0 0,1 0 16,13 0-16,-14 0 0,1 0 16,-1 0-16,14 0 0,-14 0 0,1 0 15,12 0-15,-12 0 0,-1-13 0,1 13 16,-1-13-16,1 13 0,25-14 15,-25 1-15,-1 13 0,1-13 0,-1 0 16,-12-1-16,12 14 0,14-26 16,-14 13-16,1 0 0,-14-1 15,0 1-15,14 0 0,-14 0 16,0-1-16,13 1 0,-12 0 0,-1 0 16,0-1-16,-13-12 0,13 13 0,-13 0 15,14-14-15,-14 14 0,0 0 16,0-14-16,0 14 0,0-14 0,-14 14 15,14-13-15,-13 13 0,13-14 0,-13 14 16,0-27-16,-1 14 0,1 12 16,-13-12-16,13 0 0,-14-1 15,-13-13-15,14 14 16,-1 13-16,1-14 0,-14 14 0,1-13 16,12 12-16,-26-12 0,14-1 0,-14 1 15,0 0-15,-40-27 16,40 26-16,0 14 0,0-14 0,0 14 15,-13-13-15,0 13 0,-53-14 16,79 14-16,-13 0 0,1-1 16,12 14-16,-13-13 0,0 0 0,-53 0 15,67 13-15,-14-14 0,0 14 16,0 0-16,0-13 0,13 13 0,-13 0 16,0 0-16,14 0 0,-1 0 15,0 0-15,1 0 0,-1 0 0,0 0 16,1 0-16,-1 0 0,0 13 0,14-13 15,-14 0-15,14 0 16,-14 14-16,13-14 0,1 0 0,-1 13 16,1-13-16,-14 0 0,14 13 0,13-13 15,-14 13-15,-26 1 0,27-14 16,-1 13-16,14-13 0,-13 13 16,-1 0-16,-12 1 0,25-1 15,-12-13-15,13 13 0,-14 0 16,14-13-16,-14 13 0,14 1 15,-13-14-15,13 13 0,-14 0 0,1 14 16,-1-14-16,14 0 0,0 0 16,0 1-16,-14-1 0,14 0 0,-14 13 15,14-12-15,-13 12 16,12-13-16,1 14 16,0-14-16,0 0 0,0 14 0,-1-14 0,1 13 15,0 14-15,0-13 0,-1 12 16,1-12-16,13-1 15,-13 27-15,13-40 0,0 14 16,0-1-16,0-13 0,0 14 0,13-1 16,0 1-16,-13-14 0,14 14 15,-1-1-15,0-13 0,0 14 16,14-14-16,-14 0 0,13 0 0,-12 1 16,12-1-16,-13 0 0,40 0 15,-39 1-15,12-14 16,0 13-16,1-13 0,-1 0 0,1 13 0,12-13 15,14 13-15,-13-13 0,66 27 16,-53-27-16</inkml:trace>
  <inkml:trace contextRef="#ctx0" brushRef="#br0" timeOffset="24031.11">9790 5252 0,'66'0'32,"-40"0"-32,1 0 0,52 13 15,-53-13-15,14 0 0,13 0 16,-13 0-16,-1 0 0,1 0 16,0 0-16,-14 0 0,1 0 0,-1 0 15,1 0-15,-14 0 0,0 0 16,14 0-16,-14 0 15,0 0-15,0 0 0,1 0 16</inkml:trace>
  <inkml:trace contextRef="#ctx0" brushRef="#br0" timeOffset="24370.91">10266 5173 0,'26'13'31,"-12"-13"-31,-1 0 0,0 13 15,0-13-15,14 0 0,-14 0 0,13 13 16,1-13-16,-1 14 0,-12-14 16,12 13-16,-13-13 0,14 13 15,-14 0-15,0-13 0,-13 13 0,13 1 0,-13-1 16,0 0-16,-13 0 0,0 14 16,0-14-16,-14 14 0,14-14 15,-27 13-15,14 1 0,-1-14 0,-12 13 16,12-12-16,-12 12 0</inkml:trace>
  <inkml:trace contextRef="#ctx0" brushRef="#br0" timeOffset="31437.86">12885 794 0,'13'-13'0,"-26"-1"0,0-25 31,0 25-31,0 14 0,-1 0 16,1 0-16,0 0 0,-14 0 0,1 0 15,-14 14-15,14 12 0,-14-13 16,14 14-16,-14-14 0,13 13 0,1 1 16,0-14-16,12 14 0,1-14 0,0 0 15,0 0-15,13 0 0,-14-13 0,14 14 16,14-14-1,12-14 1,-13 14-16,14 0 0,-14-26 0,13 13 16,1 0-16,-1-14 0,-12 27 0,-1-13 15,13 0-15,-12-1 16,-1 14-16,0 0 0,-13 14 16,13-14-16,0 13 0,-13 0 0,14 0 15,-14 14-15,0-1 0,0-13 16,0 14-16,0-1 0,0 1 0,0-1 15,0 1-15,0-1 0,0 1 16,0-14-16,0 0 0,0 27 16,0-27-16,13 0 15,0-13-15</inkml:trace>
  <inkml:trace contextRef="#ctx0" brushRef="#br0" timeOffset="31805.86">13070 860 0,'-13'0'0,"26"0"0,-39 13 16,13-13-16,13 13 0,-13 1 16,-14 25-16,27-26 0,-13 1 15,13-1-15,0 13 0,0-12 0,0-1 16,0 0-16,0 0 15,0 1-15,13-1 0,0-13 0,1 13 16,-1-13-16,0 0 0,0 0 0,0 0 16,1-13-16,12 0 0,-13 13 0,1-14 15,-1 1-15,-13 0 0,13 0 16,-13-14-16,13 14 0,-13-14 0,0 14 16,0 0-16,-13-13 0,13 12 15,0 1-15,-13 0 0,13 0 16,0-1-16,-13 1 0,-1 0 15,1 0 1,0 13-16,39-13 31,-12 13-31</inkml:trace>
  <inkml:trace contextRef="#ctx0" brushRef="#br0" timeOffset="31974.06">13547 609 0,'0'0'0,"13"13"15,-13 0-15,0 0 16,0 0-16,0 1 0,0 12 0,-13 1 16,-1-1-16,14 14 0,-13-1 0,0-12 15,0-1-15,0 14 0,-1-14 16,1-12-16,0 12 0,0 1 16,-1-14-16,14 0 0,-13 0 0,0 1 0</inkml:trace>
  <inkml:trace contextRef="#ctx0" brushRef="#br0" timeOffset="32135.06">13229 833 0,'-26'-26'0,"52"52"0,-52-65 0,12 26 16,14-1-16,0 1 16,0 0-1,14 13-15,-1 0 0,13 13 16,-12-13-16,12 0 0,-13 13 0,27-13 15</inkml:trace>
  <inkml:trace contextRef="#ctx0" brushRef="#br0" timeOffset="32233.94">13586 847 0,'14'0'15,"-28"0"-15,41 13 0,-14-13 16,0-13 0,0 13-1</inkml:trace>
  <inkml:trace contextRef="#ctx0" brushRef="#br0" timeOffset="33154.26">14393 728 0,'-13'-14'0,"0"14"16,0 0-16,-1 14 0,-25 12 16,26-13-1,13 1-15,-14-1 0,1 0 0,13 0 16,-13 0-16,13 1 0,0-1 16,0 0-16,13-13 15,-13 13-15,13-13 0,1 0 0,-1 0 16,-13-13-16,26 13 0,-13-13 15,1 13-15,-1 0 0,0-13 16,0-1-16,1 14 16,-1-13-16,0 13 31,0 0-15,-13 13-16,13-13 15,1-13-15,-1 13 0,0 0 16,0 0-16,-13-13 0,14 13 15,-1 0-15,0 0 0,0-13 16,1 13-16,-1 0 16,0 0-1,0 0-15,0 0 16,1 0 0,12-13-16,-13 13 15,1 0 1,-1 0-16,-13-14 0,13 14 15,0 0-15,-13-13 16,14 13 0,-1 0-16,0 0 15,0 0 17,0 0-17,-13-13-15,14 13 0,-1 0 16,-13-13-16,13 13 15,0 0 1,1 0 15,-1 13-15,0-13 15,0 0-15,0 0-16,-13-13 15,14 13-15,-1 0 16</inkml:trace>
  <inkml:trace contextRef="#ctx0" brushRef="#br0" timeOffset="33642.44">14830 542 0,'-13'-13'0,"26"26"0,-40-26 31,14 0-31,0 26 16,0-13-16,13 13 16,-13-13-16,-1 14 0,14-1 15,-13 0-15,0 0 0,13 1 0,-13 12 16,-1-13-16,14 0 0,0 1 15,0-1-15,0 0 16,0 0-16,0 1 0,0-1 16,14 0-16,-1 0 15,0-13-15,0 0 0,1 0 16,-1 0-16,0 0 0,0 0 16,0 0-16,1-13 0,-1 13 0,0 0 15,0-13-15,1 13 0,-1-13 16,0 13-16,0 0 0,-13-14 15,13 14-15,1-13 0</inkml:trace>
  <inkml:trace contextRef="#ctx0" brushRef="#br0" timeOffset="34457.37">14949 569 0,'-13'0'16,"-1"0"-16,1 0 15,0 13-15,0 0 16,13 1-16,-13-14 0,13 13 15,0 0-15,-14-13 0,14 13 0,0 0 16,0 1-16,0-1 0,0 0 16,14-13-16,-14 13 0,0 1 15,13-14-15,0 13 16,0-13-16,0 0 0,1 0 16,12 0-16,-13-13 15,1 13-15,-1 0 0,0-14 16,-13 1-16,13 13 0,1-13 0,-1 0 15,0 13 1,-13-14-16,13 14 16,0 0-1,-13 14-15,14-14 16,-14 13-16,13 0 16,-13 0-16,13-13 0,-13 14 15,13-14-15,1 0 0,-14 13 16,13-13-16,0 0 15,0 0-15,1 0 0,-1 0 16,0-13-16,0-1 0,0 1 16,1 0-1,-1 0-15,0-1 16,14 14 31,-27 14-47,13-1 15,-13 0 1,13-13 0,-13 13-1,13-26 17,-13 0-17,14 13-15,-14-13 0,13-1 16,-13 1-16,13 0 15,40-27 48</inkml:trace>
  <inkml:trace contextRef="#ctx0" brushRef="#br0" timeOffset="35018.11">15531 556 0,'27'-14'94,"-54"28"-94,40-14 203,-13 13-203,-13 0 0,13 0 16,-13 1-16,13-1 15,0 0-15,-13-13 0,13 13 16,0 0-16,0 1 16,0-1-1,13-13-15,0 0 16,0-13-16,1 13 15,-14-14-15,13 14 0,0 0 16,-13-13-16,13 13 0,-13-13 0,13 13 16,-13-13-16,14 13 15,-1-13-15,-13 26 47,26-13-16</inkml:trace>
  <inkml:trace contextRef="#ctx0" brushRef="#br0" timeOffset="35448.35">15822 503 0,'0'0'15,"-26"13"1,12-13-1,14 13-15,0 0 16,-13-13 0,26 14-1,14-14 1,-27 13 0,13-13-16,0 0 15,1 0-15,-1 13 16,-13 0-1,13 1-15,-13-1 16,0 0-16,13 0 16,-13 0-1,13 1 17,1-28-32,-14 1 15,13 0-15,0 13 0,-13-13 16,27-14-16,-14 14 0,0 0 15,0 13-15,1-13 0,-1-1 16,0 14-16,-39 14 31,12-14-31,1 13 16,-13 0-16</inkml:trace>
  <inkml:trace contextRef="#ctx0" brushRef="#br0" timeOffset="37883.19">12898 1416 0,'186'-53'32,"-120"39"-32,0-12 0,0 13 15,0-1-15,14-12 0,-14 13 16,13 0-16,-13-14 0,14 14 0,-14 0 16,0-1-16,-13 1 0,0 13 0,-14-13 15,-12 13-15,13-13 0,-27 13 16,0 0-16,0 0 0,1 0 0</inkml:trace>
  <inkml:trace contextRef="#ctx0" brushRef="#br0" timeOffset="39995.17">13044 1614 0,'-13'0'0,"119"-53"31,-67 40-31,27-14 0,-13 14 16,13-13-16,-13 12 0,14 1 0,-15-13 16,15 13-16,-1-1 0,-13 1 0,0 0 15,-14 0-15,1-1 0,0 1 0,-14 13 16,1-13-16,-1 13 0,-13-13 16,0 13-16,1 0 0,-1 0 0,0-14 15,0 14-15,1 0 0,-1 0 16,0 0-1,-13-13-15,13 13 16,1 0 0,-1 0 31,0 0-1,-13-13 33,13 13 46,0-13-125,1 13 15,-1-13-15,0-1 0,14 1 16,-1-13-16,1 12 0</inkml:trace>
  <inkml:trace contextRef="#ctx0" brushRef="#br0" timeOffset="41014.08">15346 1402 0,'-13'0'15,"13"14"-15,13-14 16,0 13-16,0-13 16,14 0-16,-1 13 0,14 0 0,13-13 15,0 13-15,13-13 0,0 14 0,13-14 16,1 13-16,12-13 0,-12 0 16,12 0-16,1 0 0,0 13 0,79-13 15,-80 0-15,-12-13 0,92 13 16,-93 0-16,-13 0 15,0-13-15,-13 13 0,0 0 0,-13 0 16,-1 0-16,-12 0 0,-1 0 0,1-14 16,-14 14-16,13 0 0,-12 0 0,-1 0 15,0 0-15,0 0 0,1 0 16,-1 0-16,-13-13 16,13 13-16,-13-13 31</inkml:trace>
  <inkml:trace contextRef="#ctx0" brushRef="#br0" timeOffset="41865.06">17145 1204 0,'26'13'31,"-26"0"-15,14-13-1,-1 0-15,-13 14 0,13-14 0,0 0 16,1 13-16,-1-13 0,0 13 0,0-13 16,1 0-16,-1 13 0,13-13 15,-13 13-15,1-13 0,-1 0 0,13 14 16,-12-1-16,12-13 0,0 13 15,-12-13-15,-1 13 16,0-13-16,0 0 0,1 14 16,-1-14-16,0 0 0,-13 13 15,13-13-15,1 0 0,-1 13 16,0-13-16,0 13 16,-13 1 15,0-1-16,0 0-15,-13 0 16,13 0-16,-13-13 16,13 14-16,-13-1 0,-14 13 15,14-12-15,13-1 16,-13-13-16,13 13 0,-14 0 0,1 1 16,13-1-16,-13-13 0,0 13 15,13 0 1,-14-13-16,14 13 0,-13-13 15,13 14-15,-13-14 16,13 13-16,-13 0 31,13 0 1,-13-13 14,26-26 64</inkml:trace>
  <inkml:trace contextRef="#ctx0" brushRef="#br0" timeOffset="46107.07">18415 966 0,'-13'13'63,"13"0"-47,0 14-16,-13-14 0,13 13 0,0 1 15,0-1-15,-14 14 0,14-14 16,-13 14-16,13-13 0,0-1 0,-13 0 15,13 1-15,0-1 0,0-12 16,-13 12-16,13-13 0,0 14 0,0-14 16,0 0-16,0 0 0,0 1 0,0-1 15,0 0 1,0 0-16</inkml:trace>
  <inkml:trace contextRef="#ctx0" brushRef="#br0" timeOffset="46557.9">18190 1416 0,'-13'-14'0,"26"41"47,-13-14-31,13 0-16,-13 0 0,14 1 0,-14-1 15,0 0-15,13 14 0,0-1 16,-13-13-16,0 1 0,13 12 0,-13-13 15,13 0-15,-13 1 16,14-1-16,-14 0 16,13 0-16,0-13 15,0 0 1,1 0-16,-1-13 0,0 13 16,0-13-16,1 13 0,-1-13 15,0 13-15,0-14 0,0 1 16,1 13-16,-1-13 0,0 0 15,0 0-15,1-1 0,-1 1 0,0 0 16,0 0-16,1-1 0,-1 1 16,0 0-16,0 13 0,0-13 0,1-1 15,-1 1-15</inkml:trace>
  <inkml:trace contextRef="#ctx0" brushRef="#br0" timeOffset="46882.9">19129 966 0,'0'-14'0,"0"28"0,0-1 31,-13 0-31,13 14 15,-13-1-15,13 14 0,-13-14 0,13 14 16,-14 0-16,14-1 0,-13-12 16,13-1-16,0 1 0,0-1 0,-13 1 15,13-1-15,0 1 0,0-1 16,-13-13-16,13 14 0,0-14 0,0 0 16,0 0-16,0 1 0,-13-1 15,13 0-15,0 0 0,-14 1 16,14-1-16,-13-13 15</inkml:trace>
  <inkml:trace contextRef="#ctx0" brushRef="#br0" timeOffset="47878.16">18785 1389 0,'0'0'0,"-13"0"32,26 27-1,1-14-31,-14 0 0,0 0 16,13 0-16,-13 1 0,0 12 0,13-13 15,-13 14-15,13-14 0,-13 14 16,14-14-16,-14 0 0,13 0 0,-13 0 15,0 1-15,13-1 0,-13 0 0,13 0 16,0 1-16,1-14 16,-1 0-16,0 0 0,0 0 0,14-14 15,-14 14-15,27-13 0,-1 0 0,-12-14 16,13 14-16,-1 0 0,-12 0 0,-1 0 16,1-1-16,-1 1 0,-13 0 15,14 13-15,-14-13 0,0 13 0,1-14 16,-1 14-16,0 0 0,-13-13 0,13 13 15,0 0-15,-13-13 0,14 13 16,-1-13 0,0 13-16,0-14 15,-13 1 17,0 0 30,0 0-15,0 0 297,-13 13-313,0-14-15,0 14-1,13-13-15,-14 13 16,14-13-16,-13 13 0,0-13 15</inkml:trace>
  <inkml:trace contextRef="#ctx0" brushRef="#br0" timeOffset="50740.94">5808 6469 0,'26'0'0,"1"0"0,-1 0 0,14 0 16,13 0-16,26 0 0,0 0 15,1 0-15,12 0 0,1 0 0,0 0 16,-1 13-16,1-13 0,-1 0 16,14 0-16,0 14 0,-13-14 0,-1 0 15,1 0-15,-14 13 0,1-13 0,-1 0 16,-26 0-16,0 13 0,0-13 0,0 0 16,-27 0-16,14 0 0,-27 0 15,0 0-15,0 13 0,1-13 0</inkml:trace>
  <inkml:trace contextRef="#ctx0" brushRef="#br0" timeOffset="51093.97">5834 6773 0,'0'0'0,"-40"14"0,67-14 31,-1 0-31,14 0 16,13-14-16,26 14 0,-13-13 15,27 13-15,-14-13 0,14 13 0,0-13 16,-1-1-16,1 14 0,-1-13 0,1 13 16,13-13-16,-27 13 0,14 0 0,-14 0 15,1-13-15,-28 13 0,1 0 16,0 0-16,-13 0 0,0 0 0,-27 0 15,13 0-15,1 0 0,-14 13 16,0-13-16,1 0 0,-1 0 0,0 0 16,0 0-16,0 0 15,1 0-15,-14 13 16,13-13-16,0 0 16,0 13-16,1-13 0,-1 0 0</inkml:trace>
  <inkml:trace contextRef="#ctx0" brushRef="#br0" timeOffset="52804.79">12753 5728 0,'-13'40'32,"13"-14"-32,-14 1 0,14 26 15,-13-14-15,13 28 0,0-1 0,-13 0 16,13-13-16,0 13 0,0 0 0,13 0 16,-13 0-16,0-26 0,0 13 15,13-13-15,-13-1 0,0 1 0,14-13 16,-14-1-16,0 0 0,0-12 0,0-1 15,0 0-15,0 0 0,0 1 16,13-54 15</inkml:trace>
  <inkml:trace contextRef="#ctx0" brushRef="#br0" timeOffset="54062.08">12528 5662 0,'79'0'31,"-39"0"-31,0 0 0,13 0 16,13 0-16,-13 0 0,39 0 16,-12 0-16,-1 0 0,14 0 0,-1 0 15,14-13-15,13 13 0,-13-13 0,0 13 16,0 0-16,26-14 0,-26 14 16,158-13-16,-145 13 0,14-13 15,-1 13-15,0 0 0,-26-13 0,26 13 16,-12-14-16,12 14 0,-13-13 15,13 13-15,-26-13 0,13 13 16,-13-13-16,-13 13 0,12-13 0,-12 13 16,0 0-16,-1 0 0,-12 0 0,-1 0 15,-26 0-15,13 13 0,-13-13 16,0 0-16,-13 0 0,39 0 16,-53 0-16,14 13 0,-14-13 0,1 0 15,-1 0-15,14 0 0,-13 0 16,-1 0-16,0 0 0,1 0 15,-14 0-15,14 0 0,-1 0 0,1 0 0,-14 0 16,13 0-16,-13 0 0,14 0 16,-14 0-16,0 0 0,1 0 0,-1 0 15,0 0-15,0 0 0,-13 13 0,13-13 16,1 0-16,-1 0 16,0 13-16,0-13 15,-13 14-15,0-1 0,0 0 16,14 0-16,-14 1 0,0-1 0,0 0 15,0 14-15,-14-1 0,14 0 0,0 1 16,0 13-16,0-1 0,-13 1 16,13 0-16,-13 52 0,13-52 15,0 0-15,-13 13 0,13-14 16,0 14-16,0-13 0,0 0 0,0-1 16,0 14-16,0-13 0,0 26 15,0-40-15,0 14 0,0-13 16,0-1-16,0 1 0,-14-1 0,14 27 15,-13-27-15,13-12 16,-13 12-16,0 0 0,0-12 0,-1 12 16,1 1-16,-13-14 0,-1 0 0,1 14 15,-14-14-15,0-13 0,14 13 0,-27 0 16,13-13-16,-13 0 0,0 13 16,-79-26-16,40 13 0,12 0 15,-12-13-15,-1 13 0,-39-13 0,13 0 16,-146-1-16,133 1 15,-1 13-15,1-13 0,0 0 16,0 13-16,-1-14 0,1 1 0,13 13 16,13-13-16,0 13 0,0 0 0,14 0 15,-14-13-15,13 13 0,-12 0 16,12 0-16,14 0 0,-80 0 16,106 0-16,-13 0 0,-40 0 15,53 0-15,0 0 0,0 0 0,14 0 16,12 0-16,-13 0 0,14 0 15,13 0-15,-14 0 0,14 0 0,-13 0 16,12 0-16,1 0 0,0 0 16,-14 0-16,14 0 15,0 0 1,0 0 0,-1 0-1,1 0-15,0 0 31,0 0-15,13-14 0,-13 14-1,-1 0 48,1 0-32,13-13 0,0 0-31,0 0 0,0 0 0</inkml:trace>
  <inkml:trace contextRef="#ctx0" brushRef="#br0" timeOffset="56902.92">15372 5490 0,'0'-26'62,"0"12"-46,0 1-16,0-13 0,14 13 0,-14-1 16,0-12-16,0-1 0,13-12 0,-13-1 15,0 0-15,13 1 0,-13-1 16,13-39-16,-13 26 0,0 13 15,0 0-15,0 1 0,13-14 0,-13 13 16,0-13-16,0 13 0,-13 1 16,13-14-16,0 13 0,-13 0 0,13 1 15,-13-14-15,0-27 0,13 41 16,-14-1-16,14 0 0,-13-13 0,0 14 16,13-1-16,-13 0 0,13 1 15,-14-1-15,14 0 16,-13 1-16,13-1 0,0 0 0,-13 1 0,13 12 15,-13-13-15,13 1 0,-14-1 16,1 14-16,13-14 0,-13 13 0,0-39 16,0 40-16,-1-14 0,14 14 15,-13-1-15,0 1 0,0-14 0,13 14 16,-14-1-16,1-13 0,0-26 16,0 40-16,13-1 0,-14-12 15,1-1-15,13 14 0,-13-14 0,0 13 16,13-12-16,-13-1 0,-1 0 15,14 14-15,-13-14 0,13 1 16,-13-1-16,13 13 0,-13-12 0,13 12 16,-14-12-16,1-28 0,0 41 15,13-1-15,-13-12 0,-1 12 16,14 1-16,-13-1 0,0 1 0,0-14 16,0 14-16,-1-1 0,-12-12 15,13 12-15,-1-12 0,-12 12 0,13-13 16,-14 1-16,14 12 0,0-12 15,-14-1-15,14 13 0,0-12 0,-14-1 16,27 14-16,-13 12 0,13 1 0,-13 0 16,13 0-16,-13-1 15,13 1-15,-13 0 16,13 0-16,-14 0 31,1 26 0</inkml:trace>
  <inkml:trace contextRef="#ctx0" brushRef="#br0" timeOffset="57163.31">14579 1574 0,'0'0'0,"-14"0"16,1 14-16,0-1 0,0 0 15,13 0-15,-27 14 16,-13 39-16,27-27 0,0 1 0,-13 26 16,12-39-16,1 12 0,0-12 15,13-14-15,0 14 0,-13-14 16,13 0-16,0 14 0,-14-14 0,14 0 15,0 0-15,0 0 16,0 1-16</inkml:trace>
  <inkml:trace contextRef="#ctx0" brushRef="#br0" timeOffset="57380.6">14367 1654 0,'13'0'16,"-26"0"-16,39 0 0,-12 0 0,-1 0 0,13 13 16,-13-13-16,14 0 0,13 0 15,-1 13-15,1 0 0,0-13 0,13 14 16,-14-14-16,1 13 0,0-13 0,-1 13 16,1-13-16,-14 13 0,1-13 0,-1 13 15,1-13-15,-1 0 0,1 14 16,-14-1-16,13-13 0,-12 0 0,-1 13 15</inkml:trace>
  <inkml:trace contextRef="#ctx0" brushRef="#br0" timeOffset="71138.21">7302 10795 0,'80'0'0,"-27"0"0,13 0 0,13-13 16,14 13-16,0 0 0,12 0 0,1-13 15,26 13-15,146 0 0,-172 0 16,13 0-16,-13-14 0,0 14 15,0 0-15,0 0 0,-14 0 16,-12 0-16,-14 0 0,0 0 0,-40 0 16,14 0-16,-27 0 0,0 0 0,1 0 15,-54-13-15,-13 13 16,0 0-16,-39 0 0,-147 13 16,107-13-16,-13 0 0,-1 14 15,-13-14-15,14 13 0,-1-13 0,1 13 16,12-13-16,1 13 0,26-13 15,14 13-15,12-13 0,27 0 0,0 0 16,14 14-16,12-14 0,14 0 16,0 0-16,105 0 15,-25-14-15,12 1 16,14 13-16,39-13 0,0 0 0,14 0 16,12 13-16,-12-14 0,13 1 0,-14 13 15,14-13-15,-13 13 0,-1 0 0,-39-13 16,-13 13-16,-1 0 0,-13 0 15,-26 0-15,0 0 0,-13 0 0,-27 0 16,0 0-16,-13 13 0,-52-13 16,-1 0-16,-27 13 15,-12-13-15,-1 0 0,-39 13 16,-14-13-16,14 0 0,0 14 0,-1-14 16,1 0-16,26 13 0,0-13 0,-92 0 15,105 13-15,1-13 0,12 0 16,1 0-16,13 13 0,13-13 15,0 0-15,27 0 0,-1 0 0,1 0 16,12 0-16,1 0 0,40 13 31,-1-13-31,-13 0 0,27 0 16,-14 0-16,14 14 0,26-14 0,-13 0 16,13 0-16,14-14 0,-14 14 15,13 0-15,14 0 0,-14 0 0,1-13 16,12 13-16,-12 0 0,-1-13 15,0 13-15,-13-13 0,-13 13 0,0 0 16,-26 0-16,-1-13 0,-13 13 16,1 0-16,-14-14 0,-27 14 15,-26-13-15,0 13 0,-26 0 16,0 0-16,-14 0 0,-13 0 0,0 0 16,-26 0-16,0 13 0,-106-13 15,119 14-15,13-14 0,13 13 16,1-13-16,-1 13 0,14-13 0,12 13 15,15-13-15,12 0 0,13 13 16,1-13-16,13 0 0,66 14 16,0-14-1,26 0-15,0 0 0,14 0 16,13 0-16,13 13 0,26-13 16,-12 0-16,-1 0 0,0 13 0,14-13 15,-14 0-15,0 0 0,-26 13 0,0-13 16,0 0-16,-14 0 0,1 0 0,-14 14 15,-26-14-15,0 0 16,-13 0-16,-14 0 0,-12 0 0,-1 0 16,-66 0-16,13 0 15,-26 0-15,-13 0 0,-14 0 0,-13-14 16,0 14-16,-39 0 0,-1 14 16,1-14-16,13 0 0,-14 0 0,14 0 15,-1 13-15,1-13 0,26 0 0,14 13 16,-1-13-16,1 0 15,12 0-15,14 13 0,13-13 0,13 0 16,-13 0-16,27 0 0,26 14 16,66-14-1,-13 0-15,26 0 16,1-14-16,12 14 0,14 0 0,0 0 16,26 0-16,14 0 0,-14 0 0,14 0 15,-1-13-15,1 13 0,-1 0 0,-12 0 16,105-13-1,-132 13-15,-1 0 0,-12 0 0,-14-13 16,-12 13-16,-15 0 0,-25-14 0,-1 14 16,-12 0-16,-14-13 0,-27 13 15,-13-13-15,-12 0 0,-28 13 16,-12-14-16,-41 14 0,1-13 0,0 13 16,-14-13-16,1 13 0,-14 0 0,13 0 15,-12-13-15,12 26 0,1-13 16,-1 0-16,14 0 0,13 0 0,26 13 15,-13-13-15,14 13 0,12-13 0,1 0 16,0 14-16,26-14 0,13 0 0,13 13 16,1-13-16,13 0 0,52 13 31,1-13-31,0 0 0,26 0 16,27 0-16,-1 0 0,14 0 0,0 0 15,26 0-15,14 0 0,-14 0 16,13-13-16,-12 13 0,-1 0 15,14 0-15,-14 0 0,-26 0 0,-14 0 0,14 0 16,-13-13-16,-14 13 0,-13 0 16,-13 0-16,-13 0 0,0 0 15,-27 0-15,0-14 0,-39 1 16,-14 13-16,-13 0 0,-26-13 16,-14 13-16,0 0 0,-12 0 15,-28 0-15,1 0 0,-14 0 16,14 0-16,-13 13 0,-1-13 0,14 0 15,-1 13-15,41-13 0,-14 14 0,13-1 16,1-13-16,-1 13 0,14-13 16,13 13-16,13-13 0,13 0 0,0 14 15,14-14-15,13 0 0,0 0 0,13 13 16,39-13 0,-12 0-16,12 13 0,28-13 0,12 0 15,13 0-15,1 13 0,13-13 0,26 0 16,0 0-16,14 0 0,0 0 0,-1 0 15,1-13-15,-1 13 0,-13 0 16,14 0-16,-14 0 0,-26 0 16,-13 0-16,-1-13 0,1 13 0,-14 0 15,-26 0-15,0 0 0,-13 0 0,-14 0 16,-13-13-16,-39 13 16,0-14-16,-27 14 15,-27 0-15,1-13 0,-27 13 0,13 0 16,-12 0-16,-41 0 0,1 0 15,12 0-15,1 0 0,0 0 0,-1 0 16,1 13-16,26-13 0,0 0 0,14 0 16,-1 14-16,1-14 0,12 13 0,14-13 15,13 0-15,0 0 0,14 13 16,12-13-16,14 0 0,0 0 16,39 13-1,40-13-15,0 0 16,14 0-16,-1 0 0,14 0 15,-1 0-15,1 0 0,13-13 0,26 13 16,-26 0-16,-13 0 0,12-13 16,1 13-16,-13 0 0,13 0 0,-14-13 15,-12 13-15,12 0 0,-26 0 16,0-14-16,-13 14 0,-26 0 0,26 0 16,-27 0-16,-13 0 0,-13-13 0,14 13 15,-41-13 1,1 13-16,-1 0 15,-12-13-15,-1 13 0,-13 0 0,0 0 16,13 0-16,-12-14 0,-1 14 0,0 0 16,0 0-16,0 0 0,0 0 15,0 14-15,13-14 0,14 0 0,-14 0 16,14 0-16,-1 0 0,1 0 0,13 0 16,-1 0-16,1 0 0,0 13 0,0-13 15,-1 0 1,41 13-1</inkml:trace>
  <inkml:trace contextRef="#ctx0" brushRef="#br1" timeOffset="77336.99">6760 10874 0,'66'14'15,"-39"-14"-15,-1 0 0,27 0 0,0 0 16,13 0-16,14 0 0,-1 0 16,0 0-16,1 0 0,105 0 0,-93 0 15,1-14-15,0 14 0,-14 0 16,14 0-16,-14 0 0,0 0 15,-12 0-15,-1 0 0,-13 0 0,-14 0 16,1 0-16,0 0 0,-27 0 0,13 0 16,-12 0-16,-54 0 15,0 0 1,-13 0-16,-13-13 0,-26 13 0,-1 0 16,0 0-16,-12 13 0,-28-13 15,1 0-15,0 0 0,26 14 0,0-14 16,13 0-16,1 13 0,12-13 0,27 0 15,1 0-15,12 0 16,13 0-16,1 0 0,13 0 0,-1 0 16,81 0-1,-14 0-15,13-13 0,26 13 16,-12 0-16,12 0 0,14 0 16,0 0-16,0 0 0,0 0 0,-1 0 15,1 0-15,13 0 0,119 0 16,-145 0-16,13 0 0,-27 13 15,14-13-15,-27 0 0,0 0 0,-26 0 16,0 13-16,-14-13 0,0 0 0,-12 0 16,-67 0-1,0 0-15,-13 0 16,-27 0-16,14 0 0,-27 0 16,0 0-16,-39 0 0,12 0 15,27 0-15,-39 0 0,13 0 0,-1 13 16,41-13-16,-14 0 0,26 0 0,1 0 15,26 14-15,14-14 0,-1 0 0,13 0 16,14 0-16,66 0 16,0 0-16,13 0 15,27-14-15,-1 14 0,173-13 16,-120 13-16,-12-13 16,12 13-16,1 0 0,-1 0 0,-12 0 15,91 0-15,-25 0 16,-93 0-16,-14 0 0,-12 0 15,-14 0-15,-13 0 0,0 0 0,-27 0 16,1 0-16,-1 0 0,-79 0 31,0 0-31,-26 0 0,-14 0 0,1 0 16,-41 0-16,14 0 0,-13 0 0,0 0 16,-14 0-16,14 0 0,26 0 0,0 0 15,14 0-15,-1 13 0,14-13 16,-1 0-16,27 0 0,14 13 15,12-13-15,1 0 0,79 0 32,0 0-32,13 0 0,26 0 15,-12-13-15,12 13 0,14 0 0,0 0 16,0 0-16,13-13 0,-13 13 16,-14 0-16,14 0 0,0 0 15,-13 0-15,-1 0 0,-12 0 0,-14-13 16,-13 13-16,-14 0 0,1 0 0,-14 0 15,-12 0-15,-1 0 0,-66-14 16,0 14-16,0 0 16,-26 0-16,-14 0 0,1 0 0,-14 0 15,0 0-15,-26 14 16,-14-14-16,14 0 0,0 13 0,39 0 16,-13-13-16,14 13 0,12-13 0,1 14 15,26-14-15,0 13 0,26-13 16,-12 0-16,78 0 15,14 0 1,14 0-16,12 0 0,14 0 16,-1 0-16,14 0 0,39-13 0,-12 13 15,-27 0-15,26 0 0,0-14 0,0 14 16,-26 0-16,0 0 0,-13 0 16,-1-13-16,1 13 0,52 0 15,-78 0-15,-28 0 0,1 0 16,-14 0-16,-12-13 0,-1 13 0,0 0 15,-66 0 1,0 0-16,-13-13 0,-13 13 16,-14 13-16,1-13 0,-14 0 0,-13 0 15,-14 0-15,1 13 0,26 0 16,14-13-16,-1 0 0,0 14 0,14-1 16,13-13-16,13 0 0,0 13 0,27-13 15,-1 0-15,14 0 0,13 13 0,40-13 31,-14 0-31,27 0 0,13 13 16,14-13-16,-1 0 0,13 0 0,1 0 16,0 0-16,-1-13 0,14 26 15,-13-26-15,-1 13 0,1 0 0,0 0 16,-1 0-16,-12 0 0,-1-13 0,-26 13 16,0 0-16,0 0 0,-27-13 15,1 13-15,-14 0 0,0-13 16,-39 13-16,12 0 15,-25-14-15,-14 14 0,-27 0 0,-12 0 16,-1 0-16,1 0 0,-1 0 0,0 0 16,-12 0-16,12 0 0,0 14 0,1-14 15,12 13-15,14-13 0,-13 13 16,26-13-16,13 13 0,-13-13 16,27 0-16,-1 0 0</inkml:trace>
  <inkml:trace contextRef="#ctx0" brushRef="#br1" timeOffset="81817.86">3572 9260 0,'53'-26'0,"-40"13"0,172-14 31,-132 14-31,-13 13 0,13-13 0,-14 13 15,14-13-15,-13 13 0,0 0 0,-14 0 16,1-14-16,-1 14 16,1 0-16,-1 0 0,-13 14 0,0-14 0,1 0 15,-14 13-15</inkml:trace>
  <inkml:trace contextRef="#ctx0" brushRef="#br1" timeOffset="82066.86">3704 9327 0,'-53'0'0,"106"0"0,-119 0 0,53 13 16,0-13-16,39-13 31,-13 13-31,14 0 0,-1 0 16,1-14-16,12 14 0,1-13 16,13 13-16,-13 0 0,-1-13 15,1 13-15,-14 0 0,14-13 0,-13 13 16,-1 0-16,1 0 0,-14 0 0,13 0 15,-13 0-15,1 0 0,-1 0 0,0 0 16,-13-14-16,13 28 16,1-14-16,-1 0 15,0 0-15,0 0 0</inkml:trace>
  <inkml:trace contextRef="#ctx0" brushRef="#br1" timeOffset="83177.71">12105 10888 0,'92'0'32,"-65"0"-32,12 0 0,1 13 15,26-13-15,-13 0 0,13 0 16,0 0-16,1 0 0,-1 13 0,79-13 16,-92 0-16,13 13 0,-13-13 0,13 0 15,-13 0-15,0 14 0,0-14 16,-13 0-16,0 0 0,-14 13 0,0-13 15,1 0-15,-14 0 0,0 0 0,1 0 16,-1 0-16</inkml:trace>
  <inkml:trace contextRef="#ctx0" brushRef="#br1" timeOffset="83458.53">12065 11020 0,'0'0'0,"66"-13"31,-39 13-31,12 0 0,1 0 0,13 0 16,0 0-16,0 0 0,13 0 0,-13 0 16,0 0-16,0 0 0,13 0 15,-13 0-15,-14 13 0,14-13 0,-13 0 16,0 0-16,-14 0 0,1 0 0,-1 0 15,-13 13-15,14-13 0,-14 0 16,0 0-16,0 0 0,1 0 0,-1 0 16,0 0-16,0 0 0,1 0 15,-1 0-15,0 0 0,13 0 16,1 0-16,-1 0 0,1 0 0</inkml:trace>
  <inkml:trace contextRef="#ctx0" brushRef="#br1" timeOffset="84309.83">15227 10927 0,'26'-13'0,"120"0"32,-93 0-32,0 13 0,26 0 15,0-14-15,-13 14 0,14 0 0,-1 0 16,1 0-16,-14 0 0,13 0 0,0 0 15,-12 0-15,12 0 0,-26 14 16,0-14-16,0 0 0,-14 0 0,28 13 16,-28-13-16,-25 0 0,25 0 15,-12 0-15,-14 0 16,0 0-16,-39-13 16,-1 13-1,1 0-15,-27 0 0,0 0 16,-79 0-16,65 0 15,-25 0-15,12 0 0,-12 0 0,-1 13 16,14-13-16,0 0 0,-1 13 0,1-13 16,-1 13-16,14-13 0,13 14 15,0-14-15,1 0 0,25 0 0,1 13 16,12-13-16,1 0 0,0 0 16,66 0-1,-13 0-15,-1 0 0,27 0 16,14-13-16,-14 13 0,26 0 0,-12 0 15,-1 0-15,1 0 0,-1 13 16,0-13-16,1 0 0,-1 0 0,-26 0 16,13 0-16,-13 0 0,0 0 15,-13 0-15,-14 0 0,1 0 0,-1 0 16,1 0-16,-14 0 0,0 0 16,0 0-16,0 0 0,1 0 0,-1 0 15,0 0-15,0 0 16,-26-27 15,0 27-31,0 0 16,13-13-16,-14 13 15</inkml:trace>
</inkml:ink>
</file>

<file path=ppt/ink/ink27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2:38:13.093"/>
    </inkml:context>
    <inkml:brush xml:id="br0">
      <inkml:brushProperty name="width" value="0.05292" units="cm"/>
      <inkml:brushProperty name="height" value="0.05292" units="cm"/>
      <inkml:brushProperty name="color" value="#0070C0"/>
    </inkml:brush>
  </inkml:definitions>
  <inkml:trace contextRef="#ctx0" brushRef="#br0">1601 4498 0,'-13'0'47,"-54"0"109,14 0-156,-13-13 16,0-1-16,-13 1 15,39-13-15,-13 26 0,27 0 16,-14 0-16,14 0 15,12 0 1,1 0-16,-13 0 16,-1 0-16,-13 0 15,27 0-15,-26 0 16,12 0-16,14 0 16,-27 0-16,27 0 15,-13 0-15,12 0 16,1 0-16,0 0 15,0 0 1,-1 0-16,1 13 16,-13-13-1,12 0 1,-38 40-16,38-27 16,-12 0-1,26 0-15,-13 14 0,-14-14 16,14 14-1,-14-14-15,27 13 16,-26 1-16,13-1 16,13-13-16,0 14 15,0-14-15,-13 0 0,13 14 16,0-1-16,0-13 16,0 14-1,0 13 1,0-27-16,13 13 15,-13 1-15,13-1 16,0 1-16,0-14 16,-13 0-1,0 0-15,14-13 16,-1 27 0,0-27-1,-13 13-15,13-13 16,1 26-16,12-26 15,-13 14-15,1-1 16,12-13-16,-13 0 16,0 0-16,1 0 15,-1 13 1,13-13-16,1 0 16,-14 0-16,27 0 0,-1 0 15,14 13-15,-13 1 16,13-14-1,40 13-15,-27 0 16,13 0-16,14 1 16,-1-1-16,14 0 15,-13 0-15,-1 0 16,-12-13-16,52 0 16,0 14-16,-26-1 15,13-13-15,-13 0 16,40 0-16,-67 0 15,14 0-15,52 0 16,-39 0-16,-40 0 16,-13 0-16,-13 0 15,-1 0-15,14 0 16,-13 0-16,-14 0 16,14 0-16,0 0 15,-1 0 1,-12 0-16,39 0 15,-13 0-15,26 0 16,1 0-16,-1 0 16,27 0-1,0 0-15,39-13 0,-26-14 16,-26 1-16,39-14 16,-52 14-1,25-14-15,-65 13 16,-13 14-16,-14 0 15,-13 0 1,0 0-16,0-1 16,0 1-16,13-13 15,-13-1-15,0 14 16,0 0-16,0-1 16,0 1-16,0 0 15,0-13-15,13 12 16,-13 1-16,0-13 15,13-27-15,-13 13 16,0 14-16,0-14 16,0-13-16,0 27 15,0-27-15,-13 26 16,13 14-16,-13 0 16,0-1-1,13 1 1,-13 13-1,-1 0-15,1-13 16,-13 0 0,-1 0-1,-12-1-15,-28 1 16,1 0-16,-66-14 16,-40-12-16,40 25 15,39 1-15,14 0 0,-14 13 16,27-13-16,-13 13 15,-14-13 1,0-1-16,-26 14 16,-13 0-16,53 0 15,-14 0-15,0 0 16,-65 0-16,39 0 16,13 0-16,0 14 15,13-14-15,14 0 16,-67 26 15,120-26-31,0 0 0,12 0 16,1 0-16,-13 0 15,12 0 1,1 0 0,0 0-16,0 0 15,-40 13-15,13 0 16,0-13-1,14 0 1,13 14-16,-1-14 16,14 13-1,-13-13 1,13 13 0,-13 0-16,0 1 15,13-1-15,-13 0 16,-1 0-1,14 1-15,-13-1 16,0-13-16,13 13 16,-27-13-16,27 13 15,-26 0-15,13 1 16,-14-1-16,14 0 16,0-13-16,0 0 15,-1 0-15</inkml:trace>
  <inkml:trace contextRef="#ctx0" brushRef="#br0" timeOffset="23642.72">16285 847 0,'0'-14'0,"13"28"31,1-1-31,-1-13 16,-13 13-16,13 0 0,0 14 0,0-14 15,1 13-15,-1 1 0,-13-1 0,13 14 16,0-13-16,-13-1 0,0 0 16,0 1-16,0-1 0,0-12 0,-13 12 15,13 1-15,-13-1 0,13-13 16,-13 0-16,13 1 0,-14-1 0,14 0 15,-13 0-15,0-13 16,13-13 0,-13 0-16,13 0 0,0-1 0,0-12 15,0 0-15,13-1 0,-13-13 0,13 1 16,0-1-16,-13 0 0,14 14 16,-1-14-16,13 14 0,-12 12 15,-14 1-15,13 0 0,0-13 0,0 12 16,1 1-16,-1 13 0,-13-13 0,13 0 15,0 13-15,0 0 16,1 13-16,-1-13 16,-13 13-16</inkml:trace>
  <inkml:trace contextRef="#ctx0" brushRef="#br0" timeOffset="23999.56">16695 966 0,'-13'26'0,"0"14"31,13-27-31,0 0 16,0 1-16,0-1 0,0 0 0,0 0 0,0 0 16,13-13-16,-13 14 15,13-1-15,0-13 0,-13 13 0,14-13 16,-1 0-16,0 0 0,0 0 0,1 0 15,-1 0-15,0-13 16,0 13-16,-13-13 0,14-1 0,-14 1 16,0 0-16,0-13 0,0 12 15,0 1-15,0 0 0,0 0 0,-14-1 16,14 1-16,0 0 0,0 0 16,-13-1-16,0 14 0,0-13 15,-1 13-15,1 0 16,0-13-16,0 13 15,-1 0-15</inkml:trace>
  <inkml:trace contextRef="#ctx0" brushRef="#br0" timeOffset="24225.81">16947 556 0,'0'0'0,"0"13"31,0 13-31,-14-12 0,14 12 16,0 0-16,0 1 0,0-1 15,-13 1-15,13-1 0,0 1 0,0-1 16,0 1-16,-13-1 0,13 1 0,0-1 16,0 0-16,0-12 0,-13-1 15,13 27-15,0-27 0,0 0 16,0 0-16,0 1 0</inkml:trace>
  <inkml:trace contextRef="#ctx0" brushRef="#br0" timeOffset="24483.85">17079 595 0,'0'-26'0,"0"52"0,0-65 16,0 25-16,0 41 31,-13-1-31,13-12 0,0 12 16,0-13-16,0 14 0,-14-1 0,14 1 15,0 12-15,0-12 0,0-1 0,0 1 16,0-1-16,0-13 0,0 14 0,-13-1 16,13-13-16,0 1 15,0-1-15,0 0 0,0 14 0,0-14 0,13 0 16,-13 0-16</inkml:trace>
  <inkml:trace contextRef="#ctx0" brushRef="#br0" timeOffset="24674.03">17211 860 0,'0'0'0,"0"-13"16,0 39 15,0-13-31,0 1 15,0-1-15,-13 0 0,13 0 16,0 0-16,0 1 0,-13-1 16,13 0-16,0 0 0,0 1 15,0-1-15,0 0 16,13-13-16</inkml:trace>
  <inkml:trace contextRef="#ctx0" brushRef="#br0" timeOffset="24804.05">17238 767 0,'0'0'0,"-14"0"0,1 0 16,0 0-16</inkml:trace>
  <inkml:trace contextRef="#ctx0" brushRef="#br0" timeOffset="25152.75">17291 900 0,'0'26'16,"13"14"-1,-13-27 1,0 0 0,13-26 31,0 0-32,0 13 1,1 0-1,-1 0-15,0 0 16,0 0-16,1 0 16,-14-14-16,13 14 0,0 0 15</inkml:trace>
  <inkml:trace contextRef="#ctx0" brushRef="#br0" timeOffset="25431.07">17542 926 0,'0'26'0,"-13"14"32,13-13-32,0-14 15,-14 13-15,14 14 0,-13-14 0,0-12 16,13 12-16,-13 1 0,-1-14 16,14 0-16,-13 0 0,13 1 15,-13-1-15,13 0 0,-13 0 16,26-39 15,-13 13-31,13-1 16,0 1-16,-13 0 0,14 0 0,-1-1 15,0 14-15,0-26 0,1 26 16,-1-13-16,13-1 0,-12 1 16</inkml:trace>
  <inkml:trace contextRef="#ctx0" brushRef="#br0" timeOffset="25749.74">17965 873 0,'-39'0'0,"78"0"0,-92 0 0,40 0 16,0 0-16,0 13 0,-1-13 15,1 0-15,0 14 0,0-14 0,-1 13 16,1 0-16,13 0 15,13-13 1,1 0-16,-1 0 0,13 0 16,-12 13-16,-1-13 0,0 0 15,0 0-15,1 0 0,-1 0 0,0 0 16,0 14-16,0-14 16,1 13-16,-1 0 15,0-13-15,0 0 16,1 13-1,-1-26-15,0 13 16</inkml:trace>
  <inkml:trace contextRef="#ctx0" brushRef="#br0" timeOffset="26282.95">18918 476 0,'-53'172'32,"40"-132"-32,13-14 0,-14 14 15,14-13-15,0-1 0,0 0 16,0 1-16,0-1 0,0-12 0,0 12 15,0-13-15,0 0 0,14-13 16,-14 14-16,0-1 0,0 0 0,13 0 16,-40-39 15,14 13-31,0-1 16,0 14-16,-1 0 15,-12 0-15,-1 0 16,14 0-1,0 0-15,0 0 16,26 14 0,0-14-16,14 0 15,-1 0-15,-13 0 0,14 0 16,-1-14-16,14 14 0,-14 0 0,-12 0 16,12 0-16,1 0 0,-1 0 15,-13 0-15,1 0 0,-1 0 16,0 0-16,0 0 0,0 0 0,-13 14 15,14-14-15,-14 13 16,13 0-16,-13 0 31</inkml:trace>
  <inkml:trace contextRef="#ctx0" brushRef="#br0" timeOffset="26706.88">19301 794 0,'0'13'16,"-13"27"0,13-27-1,13 0 1,-13 0-16,14 1 16,-1-14-16,0 0 15,0 0-15,1 0 16,-1 0 15,0 0-15,-13 13-16,13 0 15,0-13 1,-13 13-16,14-13 0,-1 13 16,0-13-1</inkml:trace>
  <inkml:trace contextRef="#ctx0" brushRef="#br0" timeOffset="27430.82">19328 714 0,'-27'40'16,"27"-27"-16,-13 1 0,13-1 15,-13 0-15,13 0 0,0 0 0,0 1 16,0-1-16,0 0 0,0 0 16,0 1-16,13-14 0,0 13 0,1 0 15,-1 0-15,0 0 0,0-13 0,1 0 16,-1 0-16,0 0 0,13 0 0,-12 0 15,12 0-15,-13 0 0,14 0 16,-14-13-16,0 0 0,0 0 0,1 0 16,12-27-16,-26 27 0,13-1 15,-13 1-15,0 0 16,0 0-16,-26 26 16,13 0-1,-1 0-15,1 1 16,13-1-16,0 0 0,0 0 0,-13 1 15,26-1-15,-13 0 0,0 0 16,13 0-16,1-13 0,-14 14 0,13-1 16,0-13-16,0 0 0,-13 13 15,14-13-15,-1 0 0</inkml:trace>
  <inkml:trace contextRef="#ctx0" brushRef="#br0" timeOffset="27599.85">19050 807 0,'-26'-13'31</inkml:trace>
  <inkml:trace contextRef="#ctx0" brushRef="#br0" timeOffset="28720.66">16788 1773 0,'-13'26'16,"13"-13"-16,-14 1 15,14-1-15,0 13 16,0-12-16,0-1 0,0 0 0,0 0 16,0 0-16,0 1 0,0-1 15,14 0-15,-14 0 16,13-13-16,0 0 0,0 0 15,1 0 1,-14-13-16,13 13 0,-13-13 0,13 13 16,0-13-16,0 13 15,1 0 1,-1 0 0,-13 13-16,13-13 0,0 13 15,1-13-15,-1 0 16,0-13-16,0 13 15,0 0-15,-13-13 0,14 13 16,-14-14-16,13 14 0,-13-13 16,13 0-16,-13 0 0,0 0 0,0-1 15,0 1-15,13 0 0,-13 0 0,0-1 16,0 1-16,-13 0 16,0 13-1</inkml:trace>
  <inkml:trace contextRef="#ctx0" brushRef="#br0" timeOffset="28902.88">17105 1786 0,'0'0'0,"0"13"16,14 0-1,-14 1-15,13-1 16,-13 0-16,0 0 0,0 1 15,0-1-15,0 0 0,0 0 16,0 0 0,0 1-16</inkml:trace>
  <inkml:trace contextRef="#ctx0" brushRef="#br0" timeOffset="29070.74">17145 1707 0,'-13'-14'16,"26"28"-16,-39-28 15,12 14-15,1 0 16,0 14 0,13-1-16</inkml:trace>
  <inkml:trace contextRef="#ctx0" brushRef="#br0" timeOffset="29389.7">17211 1759 0,'0'14'0,"13"12"16,-13-13 0,0 1-16,0-1 0,0 0 15,0 0-15,0 1 16,0-1-1,14 0-15,-1-26 32,0 13-17,-13-13-15,13 13 16,1 0 0,-1 0-1,0 0-15,0 13 16,0-13-1,-13 13-15,14-13 0,-1 0 16,0 0 0</inkml:trace>
  <inkml:trace contextRef="#ctx0" brushRef="#br0" timeOffset="29615.77">17542 1759 0,'0'-13'0,"13"26"32,-13 1-17,13-1-15,-13 0 0,0 0 16,14 1-16,-14-1 16,0 0-16,13-13 0,-13 13 15,0 1 1,13-14-16</inkml:trace>
  <inkml:trace contextRef="#ctx0" brushRef="#br0" timeOffset="29793.67">17648 1654 0,'-14'-14'0,"14"1"0,-13 0 16,13 0 15,-13 26-15,13 0-1</inkml:trace>
  <inkml:trace contextRef="#ctx0" brushRef="#br0" timeOffset="30411.78">17820 1786 0,'0'13'16,"-14"0"-16,14 1 16,-13-14-16,13 13 15,13-26 48,-13-1-63,14 1 15,-1 13 1,0 0 0,0 0-16,1 0 0,-1 0 15,0 13 1,0-13-16,1 0 0,-1 0 15,0-13-15,0 13 16,0-13-16,1 13 16,-14-13-16,13 13 15,-13-14-15,13 1 16,0 26 15,-13 1-31,14-1 0,-14 0 16,0 0-16,0 1 0,0 12 15,-14-13-15,14 14 0,-13-1 16,0-13-16,13 1 0,-13-1 16,13 0-16,-14 0 0,14 1 15,-13-14-15,13 13 16,0-40 0,0 14-1,13 0-15,1 0 0,-14-14 16,13 14-16,13 0 0,-12 0 0,-1-14 15,0 14-15,14-14 0,-1 14 16,-13 0-16,0 0 0,1-1 16,-1 14-16,0-13 0,14 0 15,-27 0-15,13 13 0</inkml:trace>
  <inkml:trace contextRef="#ctx0" brushRef="#br0" timeOffset="31065.06">18957 1680 0,'-26'-13'16,"13"13"-1,-1 0-15,1 13 0,0-13 16,0 0-16,0 13 0,-1-13 0,-12 14 15,13-1-15,-1-13 0,14 13 0,-13-13 16,0 13-16,0 0 16,39-13-1,-13 0-15,1 0 0,12-13 0,-13 0 16,14 13-16,-1-13 0,14 0 16,-27 13-16,14-14 15,-14 14-15,0 0 0,0 0 16,1 14-16,-1-14 15,0 13-15,0 0 0,0 0 16,-13 0-16,14 1 16,-1-14-16,-13 13 15,13-13-15,-13 13 0,13-13 16,1 0 0,-1 0-16</inkml:trace>
  <inkml:trace contextRef="#ctx0" brushRef="#br0" timeOffset="33045.69">18918 1746 0,'-14'-13'16,"1"13"0,0 0-1,-13 0-15,26 13 16,-14-13-16,1 13 0,13 1 0,-13-1 15,0 0-15,-1 0 0,14 1 16,-13-1-16,0 0 0,13 0 16,0 1-16,0-1 0,0 0 15,0 0-15,13-13 16,0 13-16,1-13 16,-1-13-16,0 13 0,0 0 0,1-13 15,12 0-15,-13 13 0,0-13 16,14-1-16,-14 1 0,0 0 15,1 0-15,-14-1 0,13 1 0,0 13 16,-13-13-16,13 13 0,-13-13 0,14 13 16,-1 0-1,-13 13 1,13-13-16,-13 13 0,13 0 16,0 1-16,-13-1 15,14-13-15,-1 13 0,0 0 16,0-13-16,1 14 0,-1-14 15,0 0-15,0 0 0,1 0 0,-1 13 16,0-13-16,0 0 0,0 0 16,1 0-16,-1 0 15,0 0-15,0 0 16</inkml:trace>
  <inkml:trace contextRef="#ctx0" brushRef="#br0" timeOffset="35758.49">19063 1812 0,'13'-13'15,"1"0"1,-14 0 15,0-1-31,0 1 16,-14 0-1,14 0-15,-13 13 0,13-13 16,-13 13-16,0-14 16,0 14-16,13-13 0,-14 13 15,1 0-15,0-13 0,0 13 16,-1 0-16,1 0 15,-13-13-15,12 13 16,1 13-16,0-13 16,0 0-16,0 0 0,-1 0 15,14 13-15,-13-13 16,0 13-16,0-13 16,-1 14-16,1-1 15,0 0-15,0 0 16,13 0-16,-14-13 0,14 14 15,-13-14-15,13 13 0,0 0 0,-13-13 16,13 13-16,0 1 0,0-1 16,0 0-16,0 0 15,0 1-15,0-1 16,13 0-16,0-13 16,-13 13-16,14-13 15,-1 0-15,0 0 0,0 0 16,1 0-16,-1 0 15,0 0-15,0-13 0,1 13 0,-1-13 16,0 13-16,0-13 0,0 13 16,-13-14-16,14 1 0,-1 0 0,0 0 15,-13-1-15,13 1 0,1 0 16,-14 0-16,0-1 0,13 14 16,-13-13-16,13 0 15,0 26 16,-13 0-31,14 1 16,-14-1-16,13 0 0,-13 0 16,26 1-16,-26-1 0,13 0 15,1 0-15,-1 1 16,0-14-16,14 13 0,-14 0 16,0 0-16,0-13 0,1 0 15,-1 0-15,0 13 16,0-13-16,0 0 15,1 0-15,-14 14 16</inkml:trace>
  <inkml:trace contextRef="#ctx0" brushRef="#br0" timeOffset="39952.01">19950 1548 0,'0'0'0,"0"40"31,0-27-15,0 0-16,0 0 0,0 0 15,0 1-15,0-1 0,0 0 16,0 0-16,0 1 15,13-28 48,-13 1-63,13 0 0,0 0 16,0-1-1,1 14 1,-1 14-16,0-14 15,-13 13-15,13 0 16,-13 0-16,14-13 16,-14 14-16,0-1 15,26-26 17,-26-1-17,13 14-15,-13-13 16,14 0-16,-1 13 15,0 0 1,0 0-16,0 13 16,1 0-16,-1 1 15,0-1-15,0 0 16,1-13-16,-1 13 16,0-13-16,0 0 15</inkml:trace>
  <inkml:trace contextRef="#ctx0" brushRef="#br0" timeOffset="40989.6">20505 1627 0,'-26'-13'16,"13"26"-1,-1-13-15,1 13 16,0-13-16,13 14 0,-13-14 0,13 13 16,-14 0-16,14 0 15,-13-13 1,26 14 0,1-14-16,-1 0 15,0 0-15,0 0 16,1 0-16,-1 0 15,0 0 1,0 0-16,0 0 0,1-14 16,-1 14-16,0-13 15,0 0-15,1 13 0,-1-13 16,-13-1-16,13 1 0,0 0 0,-13 0 16,14-14-16,-1 14 0,-13-13 15,13-1-15,-13 14 0,13 0 0,-13-14 16,13 14-16,-13 0 0,0 0 15,14-1-15,-14 54 32,-14-40-32,14 26 0,0-12 15,0 12-15,0-13 0,-13 14 0,13-14 16,0 14-16,0-14 0,0 0 0,0 0 16,0 0-16,0 1 15,0-1-15,0 0 0,0 0 0,0 1 16,-13-1 15,13-40 0,13 14-31,-13 0 16,13 0-16,1-1 0,-1 1 16,0 0-16,0 0 0,1 0 15,-1 13-15,-13-14 0,13 14 16,-13-13-16,13 13 15,-13-13-15,0 39 32,0-12-32,0-1 15,0 0 1,0 0-16,0 0 0,0 1 16,0-1-16,13 0 15,1-13-15,-1 0 16,0 0-16,0 0 15,1-13-15,-14 0 16,13-1-16,0 1 0,-13 0 16,13 0-16,-13 0 0,14-14 0,-14 14 15,0 0-15,13-1 0,-13 1 16,0 0-16,13 0 0,-13-1 16,0 1-16,0 40 46,0-14-46,0 0 0,0 0 16,0 1-16,13-1 16,-13 0-16,0 0 0,13 1 15,-13-1-15,14-13 0,-14 13 0,13-13 16,-13 13-16,13-13 16,0 13-16,14-13 15,-14-13-15,0 13 0,1 0 16,-1 0-16,0 0 0,0 0 0,0-13 15,1 13-15</inkml:trace>
  <inkml:trace contextRef="#ctx0" brushRef="#br0" timeOffset="41323.96">21312 1535 0,'27'0'32,"-14"0"-32,0 0 0,0 0 15,14 0-15,-14 0 0,0 0 16,0-14-16,1 14 0,-1 0 16,0 0-16,0 0 0,1 0 0,-14-13 15</inkml:trace>
  <inkml:trace contextRef="#ctx0" brushRef="#br0" timeOffset="41561.87">21444 1363 0,'27'13'31,"-14"-13"-31,0 13 0,1 0 16,12 1-16,-13-1 15,1 0-15,-1 0 0,0 0 16,-13 1-16,13-1 0,-13 0 16,0 0-16,0 1 0,0-1 0,-13 0 15,13 0-15,-13 1 0,13-1 16,-13 0-16,-1 0 0,14 0 0,-13 1 16,0-14-16</inkml:trace>
  <inkml:trace contextRef="#ctx0" brushRef="#br0" timeOffset="43066.63">22291 1177 0,'0'-13'0,"-13"26"16,13 1-16,-13-1 16,-1 13-16,14-12 15,-13 12-15,13-13 0,-13 14 0,13-14 16,-13 13-16,13-12 0,-13-1 0,13 13 15,0-12-15,0-1 0,-14 0 16,14 0-16,0 0 0,0 1 16,-13-28 15,13 1-31,-13 0 16,13-13-16,0 12 0,0-12 15,13-1-15,-13-12 0,0-1 0,13 0 16,-13 14-16,14-1 0,-14 14 15,13 0-15,-13 0 0,13-1 0,-13 1 16,13 13-16,-13-13 0,13 26 16,-13 0-1,0 1-15,0-1 0,-13 13 0,13-12 16,-13 12-16,0 1 0,0-14 0,-1 13 16,14-13-16,-13 1 0,0-1 0,13 0 15,-13 0-15,13 1 0,-14-1 16,14 0-16,0 0 15,0 1-15,14-14 16,-1 13-16,0-13 16,0 0-16,1 0 0,-1 0 0,13 0 15,1 0-15,-14 0 0,27 0 0,-14 0 16,1-13-16,-1 13 0,0-14 0,-12 14 16</inkml:trace>
  <inkml:trace contextRef="#ctx0" brushRef="#br0" timeOffset="43487.18">22635 1111 0,'0'-13'16,"0"0"-16,-13 39 31,13-13-31,-13 14 0,13-14 16,0 14-16,-14-14 0,14 13 0,-13 1 15,13-14-15,-13 13 0,13-12 16,0-1-16,0 0 0,-13 0 0,13 1 15,0-1-15,-14-13 16,14-27 0,0 14-1,14 0-15,-14-14 0,13-12 0,0 12 16,14-26-16,-14 40 16,-13 0-16,13 0 0,-13-1 15,0 1-15,13 13 0,-26 27 31,0-14-31,0 0 0,-1 14 0,1-14 16,0 27-16,0-27 0,-1 0 16,14 0-16,0 0 0,-13 1 0,13-1 15,13-13-15,-13 13 0,0 0 16,14 1-16,-1-14 0,0 13 0,0 0 16,1-13-16,-1 0 0,13 13 15,-12-13-15,-1 14 0,0-14 0,0 0 16,0 13-16,1-13 0,-1 13 15</inkml:trace>
  <inkml:trace contextRef="#ctx0" brushRef="#br0" timeOffset="46081.02">22251 1786 0,'27'-13'16,"-14"13"-16,0-14 0,1 14 16,-1 0-16,0 0 0,0 0 0,1-13 15,-1 13-15,0 0 0,0 0 16,0 0-16,1 0 0,-1 0 16,0 0-16,-13 13 0,13-13 15,-13 14-15,0-1 16,14 13-16,-14-12 0,-14-1 15,14 0-15,0 14 0,0-14 0,-13 13 16,13-13-16,-13 1 0,13 12 16,0-13-16,-13 1 0,13-1 0,0 0 15,-14-13-15,14 13 0,0 1 0,0-1 16,-13 0 0,13 0-16,13 0 15</inkml:trace>
  <inkml:trace contextRef="#ctx0" brushRef="#br0" timeOffset="46599.6">22225 2011 0,'-13'-13'15,"26"13"1,0-14-16,0 14 0,1 0 15,-1 0-15,13-13 0,1 13 16,26-13-16,-14 13 0,-12 0 16,-1-13-16,1 13 0,-1-14 0,1 14 15,-14 0-15,13-13 0,-12 13 16,-1-13-16,0 13 0,0-13 16,1 13-16,-1-13 0,0 13 15,-26 13 16,0 0-15,-1 0-16,14 0 16,-13 1-16,13-1 0,0 0 15,0 0-15,0 1 16,13-1-16,1-13 16,-14 13-16,13-13 15,0 0-15,0 0 0,0-13 16,1 0-1,-1-1 1,-13 1-16,0 0 0,0 0 16,0-1-16,0 1 0,0 0 15,0 0-15,0 0 16,-13 13 0,-1 0-16,1 0 15,0 13-15,0 0 16</inkml:trace>
  <inkml:trace contextRef="#ctx0" brushRef="#br0" timeOffset="46821.6">22979 1799 0,'0'-13'15,"0"26"-15,-13 0 31,13 1-31,-13-1 16,-1 27-16,1-27 0,13 0 16,-13 0-16,13 0 0,-13 1 15,13-1-15,-14 0 0,14 0 16,-13 1-16,0-1 0,13 0 16,-13 0-16</inkml:trace>
  <inkml:trace contextRef="#ctx0" brushRef="#br0" timeOffset="46959.02">22794 1852 0</inkml:trace>
  <inkml:trace contextRef="#ctx0" brushRef="#br0" timeOffset="47105.72">23032 1918 0,'13'13'0</inkml:trace>
  <inkml:trace contextRef="#ctx0" brushRef="#br0" timeOffset="49570.68">23865 1191 0,'0'0'0,"0"-14"0,-13 41 47,0-27-47,13 13 0,0 0 15,-13 1-15,13-1 0,0 0 16,-14 0-16,14 0 0,0 1 0,0-1 16,-13 0-16,13 0 15,0 1-15,0-1 16,13-53 31,-13 27-47,0 0 0,0-1 0,14-12 15,-14 13 1,0 0-16,0-1 0,13 14 16,-13-13-16,0 0 0,0 39 46,0-12-30,13-1 0,0-13-1,14 0-15,-14-13 16,0 13-16,-13-14 0,14 14 16,-1-13-16,0 13 15,-13-13-15,13 13 0,0 0 16,-13 13-1,14-13-15,-14 13 16,0 1-16,0-1 16,0 0-16,13-13 0,-13 13 0,0 0 15,0 1-15,0-1 16,13 0-16,0-13 16,-13 13-16,14-13 0</inkml:trace>
  <inkml:trace contextRef="#ctx0" brushRef="#br0" timeOffset="50081.91">24143 1177 0,'0'0'0,"13"-13"15,1 13 1,-1 0-16,0 0 0,0 0 16,1 0-16,-1 0 0,-13-13 0,13 13 15,0 0-15,1 0 0,-1 0 16,0-13-1,-13 26 1,0 13 0,-13-12-1,0-1-15,13 13 16,-14-12-16,1-1 16,13 0-16,-13 0 0,0 0 15,13 1-15,-14-14 0,14 13 16,-13-13-1,40 0 32,-1 0-47,-13 0 16,1 0-16,-1 0 0,0 0 0,0 0 16,0 0-16,1 0 15</inkml:trace>
  <inkml:trace contextRef="#ctx0" brushRef="#br0" timeOffset="51723.65">23918 1773 0,'-13'13'0,"40"-26"93,-14 13-93,0 0 16,0 0 0,0 0-16,-13 13 15,14-13-15,-14 13 16,-14 0 0,14 1-16,-13-1 15,0 0 1,0-13-1,13 13 1,0 1 15,13-14-31,-13 13 16,13-13-16,0 13 16,1 0-16,-14 0 15,13-13-15,-13 14 16,0-1-1,0 0-15,-13 0 16,-1 1 0,1-14-1,0 0-15,0 0 0,0 13 16,-1-13 0,1 0-16,0 0 15</inkml:trace>
  <inkml:trace contextRef="#ctx0" brushRef="#br0" timeOffset="52192.65">24170 1826 0,'0'-14'0,"-27"28"32,27-1-32,-13 0 15,13 0-15,-13 1 0,0-1 16,13 0-16,0 0 0,0 0 15,0 1-15,0-1 16,0 0 0,13-13-16,0 0 0,-13 13 0,13-13 15,0 0-15,1 0 16,-1 0-16,0-13 0,0 13 16,1-13-16,-1 0 15,-13-1-15,13 1 16,-13 0-1,-13 0-15,13 0 0,-13-1 32,-1 14-32,1 0 15,0 0-15,13 14 16,-13-14-16,-1 0 16</inkml:trace>
  <inkml:trace contextRef="#ctx0" brushRef="#br0" timeOffset="52461.77">24474 1759 0,'0'0'0,"13"14"31,-13-1-15,-13 0-16,0 53 31,13-52-31,-13-14 0,13 13 0,-14 0 16,14 0-16,-13 0 15,13 1-15,-13-14 0,13 26 16,-13-26-16,13 13 0,-14 1 16,1-1-16</inkml:trace>
  <inkml:trace contextRef="#ctx0" brushRef="#br0" timeOffset="52681.99">24328 1865 0,'0'0'16,"0"-13"-1</inkml:trace>
  <inkml:trace contextRef="#ctx0" brushRef="#br0" timeOffset="53440.84">24672 1984 0,'0'14'16,"14"-14"46</inkml:trace>
  <inkml:trace contextRef="#ctx0" brushRef="#br0" timeOffset="60269.59">22529 4591 0,'-13'13'31,"13"0"-15,-13 0-16,0 14 0,13-1 0,-14 1 15,1-1-15,0 0 0,13 1 16,-13-1-16,13 1 0,-14-14 0,14 14 16,-13-14-16,13 0 0,0 13 0,-13-12 15,13-1-15,0 0 16,0 0-16,-13 1 16,26-54 15,-13 13-31,0 1 0,13 0 0,-13-14 15,13 0-15,-13 0 0,14 1 16,-1 12-16,0-12 0,0 25 16,-13-12-16,14 13 0,12-14 15,-13 14-15,0 0 0,1 0 16,-1 13-16,0 0 0,0 0 16,1 13-16,-14 0 15,0 0-15,-14 14 16,1-1-16,-40 40 15,27-39 1,26-14-16,-13 0 0,-1-13 16,14 13-16,-13 1 0,13-1 15,-13-13-15,13 13 0,0 0 16,13-13 0,-13 14-16,13-14 0,1 13 15,-1-13-15,0 0 16,0 0-16,0 0 0,1 0 0,12 0 15,-13-13-15,27-1 16,-27 14-16,14-13 0,-14 0 0,0 0 16,14-1-16</inkml:trace>
  <inkml:trace contextRef="#ctx0" brushRef="#br0" timeOffset="60726.56">22834 4604 0,'0'-13'16,"0"-1"-16,-14 41 31,14-14-16,-13 13-15,13-12 0,-13 12 0,13 1 16,-13-1-16,-1 0 0,14 1 0,-13 13 16,13-27-16,0 13 15,-13-12-15,13-1 0,0 0 16,0 0-16,-13 0 16,13-39-1,13 13 1,-13-14-16,0 1 0,13-14 0,0 14 15,1-14-15,-1 0 0,0 14 0,0-14 16,1 27-16,-1-13 0,0 12 16,0 1-16,-13 0 0,13 13 0,-13-13 15,14 13-15,-14 13 16,-14 13 0,1 1-16,0-1 0,0 1 15,0-1-15,-14-13 0,14 14 0,0-1 16,-1-13-16,14 1 0,-13-1 15,13 0-15,0 0 0,-13-13 16,13 14-16,13-1 0,0 0 16,1-13-16,-1 0 15,0 0-15,0 0 0,1 0 16,25 0-16,-26 0 0,14 0 16,-1 0-16,-12 0 0,-1 13 15,0-13-15,0 14 0,1-1 16,-14 0-16,0 0 0</inkml:trace>
  <inkml:trace contextRef="#ctx0" brushRef="#br0" timeOffset="61190.72">22423 5450 0,'27'-26'32,"-14"26"-32,0 0 15,1 13-15,-14 0 31,0 1-31,13-1 16,-13 0-16,0 0 0,13 1 16,0-1-1,0 0-15,1 0 0,-1-13 16,-13 13-16,13-13 0,0 14 16,1-1-16,-14 0 15,0 0 1,-14 1-16,14-1 15,-13-13-15,0 13 0,-14 0 16,14-13-16,-13 14 16,13-14-16,13-14 31,13 1-31,0 0 16,0 0-16,0-1 0</inkml:trace>
  <inkml:trace contextRef="#ctx0" brushRef="#br0" timeOffset="61458.89">22714 5503 0,'0'0'0,"14"0"0,-14 14 32,0-1-32,13 0 15,0 0 1,0-13-16,1 13 16,-1-26-1,0 13-15,0 0 0,1-13 0,12 0 16,-13 13-16,0-13 0,-13-1 15,14 14-15,-14-13 16,0 0-16,0 0 16,-14 13-16,1-14 0,0 14 15,0 0-15,0 0 16,-14 0-16,27-13 16,-13 13-16,0 0 15,13-13-15,-14 13 0</inkml:trace>
  <inkml:trace contextRef="#ctx0" brushRef="#br0" timeOffset="62024.86">23680 4842 0,'0'-13'31,"0"-1"-16,0 1 1,0 0-16,0 0 16,0-1-16,0 1 0,0 0 15,0 0-15,0 0 16,0-1 0,13 41 30,1-14-46,-1-13 16,0 0-16,0 0 16,1 0-16,-1 0 0,0-13 15,13 13 1,-12 0 0,-1 0-16,-13 13 0,13-13 15,-13 13-15,13-13 16,1 13-16,-14 1 15,13-14 1,0 0-16,0 0 0,1 0 16,12 0-1</inkml:trace>
  <inkml:trace contextRef="#ctx0" brushRef="#br0" timeOffset="62454.88">24037 4643 0,'14'-13'31,"-1"0"-15,0 13-16,0 0 15,1 0 1,-14 13 15,0 0-15,0 1-16,0-1 0,0 0 15,0 0-15,0 1 16,0-1-16,0 0 0,-14-13 16,14 13-16,0 0 0,-13 1 15,13-1 1,-13-13-1,39-13 32,-12 13-47,-1 0 16,0 0-16,0 0 0,0 0 16,14 0-16,-14 0 15</inkml:trace>
  <inkml:trace contextRef="#ctx0" brushRef="#br0" timeOffset="62902.77">23746 5358 0,'0'0'0,"0"-13"0,0-1 16,14 14-16,-1 0 16,0 0-16,0-13 15,0 13 1,1 13-16,-1-13 0,-13 14 16,13-14-16,-13 13 0,0 0 15,13 0-15,-13 1 0,0-1 16,0 0-16,0 0 0,0 0 15,0 1-15,0-1 0,0 0 0,0 0 16,-13 1-16,13-1 0,0 0 0,0 0 16,0 0-16,-13-13 0,13 14 15</inkml:trace>
  <inkml:trace contextRef="#ctx0" brushRef="#br0" timeOffset="63317.8">23786 5503 0,'40'-26'31,"-27"26"-31,0 0 0,14-13 16,-14 13-16,0 0 0,14-14 16,-14 14-16,0 0 0,0-13 0,0 13 15,1 0-15,-1-13 0,0 13 16,0 0-1,1 13-15,-1 0 32,0-13-32,0 0 15,1 0-15,-1 0 16,13 0 0,-26-13-16,13 0 15,-13 0 1,0 0-16,0-1 15,-13 14-15,0-13 16,0 13-16,0 0 16,-1 0-16,1 0 0,0 0 0,0 13 15,-1-13-15,1 14 16</inkml:trace>
  <inkml:trace contextRef="#ctx0" brushRef="#br0" timeOffset="63494.51">24395 5265 0,'13'0'0,"-13"13"31,0 1-31,0-1 16,0 0-16,-13 0 0,13 1 15,-14-1-15,14 0 0,-13 0 0,0 1 16,13-1-16,-13 0 0,-1 0 0,14 0 15,-13 1-15,0-1 16</inkml:trace>
  <inkml:trace contextRef="#ctx0" brushRef="#br0" timeOffset="63634.38">24196 5345 0,'0'-14'31,"27"14"-15</inkml:trace>
  <inkml:trace contextRef="#ctx0" brushRef="#br0" timeOffset="63745.55">24461 5398 0,'0'0'0,"0"-14"31</inkml:trace>
  <inkml:trace contextRef="#ctx0" brushRef="#br0" timeOffset="64237.61">23111 5398 0,'-13'0'0,"0"13"16,0-13-16,13 13 0,-14 0 0,1 0 15,0 1-15,0-1 0,0 0 0,-1 0 16,1 1-16,13-1 0,-13 0 15,0 13-15</inkml:trace>
  <inkml:trace contextRef="#ctx0" brushRef="#br0" timeOffset="64384.77">22926 5464 0,'0'0'0,"13"-14"0,-13 1 16,14 26-1,-1 1 1,0-14-16,-13 13 0,13 0 0</inkml:trace>
  <inkml:trace contextRef="#ctx0" brushRef="#br0" timeOffset="64481.78">23111 5569 0,'14'14'16,"-41"-28"-16,40 14 0,14 14 0,-27-1 0,13-13 16</inkml:trace>
  <inkml:trace contextRef="#ctx0" brushRef="#br0" timeOffset="70360.1">24051 4657 0,'13'-14'0,"0"14"16,40-13-1,-40 13 1,0-13-16,1 13 15</inkml:trace>
  <inkml:trace contextRef="#ctx0" brushRef="#br0" timeOffset="70559.81">24156 4643 0,'0'0'0,"-13"27"0,0-27 0,13 13 16,0 0-16,-13 1 0,13-1 15,-13 0-15,13 0 0,0 0 16,-14 1-16,14-1 0</inkml:trace>
  <inkml:trace contextRef="#ctx0" brushRef="#br0" timeOffset="70716.74">24037 4882 0</inkml:trace>
  <inkml:trace contextRef="#ctx0" brushRef="#br0" timeOffset="71849.83">15412 2183 0,'-13'0'16,"39"0"-1,-13 0-15,14-13 16,-14 13-16,14 0 0,-1-14 0,1 14 16,-1 0-16,0-13 0,14 13 15,-13 0-15,-1-13 0,-13 13 0,14 0 16,-1-13-16,-13 13 0</inkml:trace>
  <inkml:trace contextRef="#ctx0" brushRef="#br0" timeOffset="72058.97">15782 2051 0,'27'26'31,"-27"-13"-31,13 0 16,-13 1-16,13-1 0,-13 13 15,14-12-15,-14-1 16,0 0-16,0 0 0,0 0 0,-14 1 16,1-1-16,13 0 0,-13 0 0,0 1 15,-1-1-15,1 0 0,0 0 16,-14-13-16</inkml:trace>
  <inkml:trace contextRef="#ctx0" brushRef="#br0" timeOffset="72377.69">14962 1389 0,'27'-13'0,"78"-14"31,-78 27-31,-1 0 0,27-13 16,-26 13-16,12-13 0,1 13 0,13-13 15,-26 13-15,12-14 0,1 14 0,-14-13 16</inkml:trace>
  <inkml:trace contextRef="#ctx0" brushRef="#br0" timeOffset="72617.82">15518 1098 0,'40'13'16,"-80"-26"-16,106 39 0,-53-12 0,14-14 0,-14 13 15,13 0-15,1 0 0,-14 1 0,13-1 16,1 0-16,-14 0 0,0 1 16,1 12-16,-1-13 0,-13 0 0,0 1 15,-13 25-15,13-12 0,-27-1 16,14 1-16,-14-1 0,1 1 15,-14 12-15,14-12 0</inkml:trace>
  <inkml:trace contextRef="#ctx0" brushRef="#br0" timeOffset="74217.5">14883 5278 0,'0'0'0,"26"0"31,-13 0-31,1 0 0,12 0 16,-13 0-16,14 0 0,-1 0 15,-12 0-15,12 0 0,0 0 0,1 0 16,-1-13-16,1 13 0,-1 0 0,-12-13 16,12 13-16,-13-13 15,0 13-15,14-13 0,-14 13 0,0 0 16,-13-14-16,14 14 0</inkml:trace>
  <inkml:trace contextRef="#ctx0" brushRef="#br0" timeOffset="74462.28">15121 5054 0,'53'0'31,"-27"13"-31,-12 0 0,12-13 15,14 26-15,-27-12 0,13-1 16,-12 0-16,-1 0 0,0 1 16,0-1-16,-13 0 0,14 0 0,-14 1 15,0-1-15,0 13 0,0 1 16,-14-14-16,1 0 0,13 0 16,-26 14-16,12-14 0,1 0 15,-13 1-15,12-1 0,-12 0 0,13-13 16</inkml:trace>
  <inkml:trace contextRef="#ctx0" brushRef="#br0" timeOffset="78537.63">15822 4948 0,'0'-14'0,"-13"81"31,13-41-31,13 27 0,-13-27 16,0 1-16,0-1 0,0 1 0,0-1 15,0-12-15,0 12 0,13-13 0,-13 0 16,0 14-16,0-14 16,0 0-16,0 1 0,0-1 15,0 0 1,-13-39 0,13 12-16,-13 1 0,13-13 15,0 12-15,-13-12 0,13 0 16,0-14-16,-14 13 0,14 1 15,0-1-15,14 1 0,-14 13 0,0-14 16,0 14-16,13 0 0,-13-14 0,13 27 16,0-13-16,1 0 0,-1 13 15,0 0-15,0 0 0,0 0 16,-13 13-16,14-13 0,-1 13 0,-13 1 16,0-1-16,0 0 0,0 0 15,0 1-15,0 12 0,-13-13 16,13 0-16,-14 14 0,1-14 0,0 0 15,0 14-15,0-14 0,-14 0 16,14 1-16,13-1 0,-13-13 16,13 13-16,-14-13 0</inkml:trace>
  <inkml:trace contextRef="#ctx0" brushRef="#br0" timeOffset="79413.74">16140 5027 0,'-40'40'15,"27"-27"1,-1 0-16,-12 0 0,13 14 0,0-14 16,13 0-16,-14 1 0,14-1 15,-13 0-15,13 0 0,0 1 0,0-1 16,0 0-16,13-13 15,1 0 1,-1-13-16,0 13 16,0-13-16,0-1 0,1 1 0,-14 0 15,13 0-15,0-1 0,-13 1 0,13 0 16,1 0-16,-14-1 16,0 1-16,13 13 15,-26 27 1,13-14-1,0 0-15,0 14 0,0-14 16,13-13-16,-13 13 0,0 0 0,13 1 16,0-1-16,0-13 15,14 0 1,-14 0-16,0-13 0,1 13 16,-1-14-16,0-12 0,0 13 15,1 13-15,-14-14 0,13 1 0,-13 0 16,13 13-16,-13-13 15,13 13-15,-13 13 32,0 0-32,13-13 0,-13 13 15,0 1-15,14-1 0,-14 0 16,13-13-16,-13 13 16,13-13-16,0 0 15,1-13 1,-14 0-16,0 0 0,13-1 15,-13 1-15,0 0 16,0-27-16,0 14 0,0-1 16,0-12-16,0 12 0,0 1 15,0 12-15,13-12 0,-13 13 16,13-27-16,1 27 0,-1 13 16,0-13-16,0 13 0,-13-14 0,13 14 15,1 0-15,-1 14 0,-13-1 16,0 0-16,0 0 15,0 1-15,-13 12 0,-1-13 0,1 14 16,0-1-16,-13 27 16,12-40-16,1 1 0,13 12 15,-13-13-15,13 0 0,-13 1 0,13-1 16,0 0-16,0 14 16,13-27-16,0 13 15,0-13-15,1 0 16,-1 0-16,0 0 0,0 0 15,0 0-15,1-13 0,-1 13 0,0 0 16,0 0-16,1 0 0,-1 0 16,0-14-16,0 14 0,1 0 0,-1 0 15,13-13-15,-13 13 0</inkml:trace>
  <inkml:trace contextRef="#ctx0" brushRef="#br0" timeOffset="80203.59">17185 5001 0,'-14'0'16,"-12"-14"-1,13 28-15,0-14 16,13 13-16,-14-13 0,1 13 0,13 0 16,-13 1-16,13-1 0,0 0 15,0 0-15,0 0 0,0 1 16,0-1-16,0 0 0,13-13 0,-13 13 16,13-13-16,1 14 0,-1-14 0,13 0 15,-13-14-15,14 14 16,-14-13-16,0 13 0,1-13 0,-1 0 15,0-1-15,-13-12 0,13 13 0,-13 0 16,0-1-16,0 1 0,0-13 16,-13 12-16,0 1 0,13 0 0,-13 13 15,-14-13-15,14-1 0,0 14 16,-1 0-16,1 0 0,0 0 16,0 0-16,0 14 15,13-1-15,13 0 16,0 0-16,0-13 0,0 14 15,14-1-15,-14 13 0,0-12 16,14-1-16,-14 13 0,0-13 0,1 14 16,-1-14-16,0 14 0,-13-1 15,13-13-15,-13 14 0,-13 12 16,0-12-16,0-1 0,-1 1 0,1-14 16,0 0-16,0 1 0,-1-1 0,1 0 15,0-13-15,13 13 0,-13-13 16,-1 0-16,1 0 0,13-13 15,0 0 1,0-14-16,13 14 0,-13 0 0,27-14 16,-14 14-16,14-13 0,26-14 15,-40 27-15,13 0 16,-13-1-16,14 1 0,-14 0 0,0 13 16,1-13-16,-1 13 0,0 0 15,0-14-15</inkml:trace>
  <inkml:trace contextRef="#ctx0" brushRef="#br0" timeOffset="81290.81">18005 4762 0,'-66'40'0,"53"-27"0,-1 1 0,-52 105 32,66-106-32,0 13 0,0-12 15,0-1-15,0 13 0,13 1 16,1-14-1,-1-13-15,0 13 0,0-13 0,1 0 16,-1 0-16,0 0 0,0-13 0,0 13 16,14-13-16,-14 0 0,0-1 15,1 1-15,-1 0 0,13-27 16,-12 27-16,-14 0 0,0-1 0,13 14 16,-13-13-16,0 0 0,-27 26 31,14 0-16,0 1-15,13-1 16,-13 0 0,13 0-16,13 1 31,0-14-31,14 0 16,-14 0-1,0 0-15,0 0 0,0 0 16,1 13-16,-1-13 15,0 13-15,-13 0 16,13-13 0,-13 14-16,14-28 47,-14 1-32,0 0-15,13 13 0,0-27 16,0 14-16,0 0 15,1 0-15,-1-1 0,27-12 16,-27 13-16,13 0 0,14-14 16,0 14-16,-27 0 0,13-14 15,-12 14-15,-1 13 0,0-13 0,0-1 16,1 1-16,-1 13 16,-13-13-16,-13 39 31,-1-12-16,1-1-15,13 0 0,-13 0 0,13 1 16,-13-1-16,13 0 0,-14 0 0,14 1 16,0-1-16,0 0 0,0 0 0,0 0 15,-13 1 1,13-1 0,-26-13-1,12 0-15,1 0 16,0 13-16,0-13 0,0 0 15,-1 13-15,1 1 16,13-1-16,13 0 16,1-13-16,-1 0 15,0 0-15,0 0 0,14 0 16,-1-13-16,1 13 0,-1 0 0,1-13 16,25-1-16,-38 14 0,12 0 15,-13-13-15,14 13 0,-14 0 16,0-13-16,0 13 0,1 0 0,-1 0 15,-13-13-15,13 13 0,0 0 16,-13-14-16,14 14 0,-1 0 16,-13-13-1,13 13-15</inkml:trace>
  <inkml:trace contextRef="#ctx0" brushRef="#br0" timeOffset="81919.8">17648 5821 0,'0'26'32,"0"1"-17,0-14-15,-14 13 0,14-12 0,0 12 16,0 1-16,0-14 0,-13 13 16,13 14-16,0-27 0,0 0 15,0 1-15,0-1 0,0 0 0,0 0 16,-13-39 15,13-1-31,0 14 16,0-13-16,13-1 0,-13-12 15,0-1-15,13 0 0,-13 1 0,14 12 16,-14 1-16,13 12 0,-13 1 16,13 0-16,-13 0 0,13 13 0,1 0 15,-1 0-15,0 13 16,0 0-16,-13 0 0,27 27 15,-27-13-15,13-14 0,0 26 16,0-12-16,-13-14 0,14 27 16,-1-27-16,-13 0 0,13 0 15,0 1-15,-13-1 16</inkml:trace>
  <inkml:trace contextRef="#ctx0" brushRef="#br0" timeOffset="82117.81">17542 6072 0,'-13'0'0,"26"0"0,-13-13 31,13 0-31,14 13 16,-1-14-16,0 14 0,14-13 15,-13 0-15,12 0 0,41 0 16,-54-1-16,14 14 0,0-13 15,-14 0-15</inkml:trace>
  <inkml:trace contextRef="#ctx0" brushRef="#br0" timeOffset="82389.55">18164 5913 0,'0'0'0,"26"0"31,-13-13-31,27 13 15,-27 0-15,0-13 0,14 13 16,-14 0-16,0-13 0,14 13 0,-14-13 16</inkml:trace>
  <inkml:trace contextRef="#ctx0" brushRef="#br0" timeOffset="82639.17">18441 5649 0,'27'26'31,"-14"-12"-31,0-1 16,-13 0-16,14 0 0,-1 0 0,13 27 16,-26-27-16,14 1 0,-14 12 0,0-13 15,13 1-15,-13 12 0,-13-13 16,13 0-16,-14 14 0,1-14 0,13 14 15,-26-14-15,-1 13 0,1 1 16,12-27-16,14 13 0,-13 0 16</inkml:trace>
  <inkml:trace contextRef="#ctx0" brushRef="#br0" timeOffset="84459.49">19143 5543 0,'26'0'0,"-13"-13"31,14 13-31,-14-13 16,0 13-16,-39 13 62,13-13-62,-1 13 16,1-13-16,0 13 15,0 0 1,13 1-16,13-14 16,-13 13-16,13 0 0,0-13 15,1 13-15,-1 1 0,-13-1 16,13 0-16,0-13 0,0 13 15,1 1-15,-14-1 0,13 0 0,-13 0 16,0 0-16,0 1 0,0-1 16,-13 0-16,13 0 0,-14-13 15,1 14-15,13-1 0,-13 0 0,-13 0 16,12 1-16,-12-14 0,13 13 16,-1-13-16,1 0 15,0 0-15</inkml:trace>
  <inkml:trace contextRef="#ctx0" brushRef="#br0" timeOffset="85048.6">19381 5569 0,'13'0'0,"13"0"31,-12 14-31,-1-1 16,-26 0 0,13 0-1,13 1-15,-13-1 16,0 0-16,13-13 0,-13 13 16,13-13-16,-13 14 0,14-14 15,-1 13-15,0-13 16,-13 13-16,13-13 0,-13 13 15,0 0 1,0 1-16,-13-14 0,0 13 16,13 0-16,-13-13 0,-1 13 0,1-13 15,13 14-15,-13-1 0,0-13 16,13 13-16</inkml:trace>
  <inkml:trace contextRef="#ctx0" brushRef="#br0" timeOffset="85522.42">19262 6046 0,'13'0'0,"0"0"0,0-14 16,14 14-16,-14-13 0,14 0 0,12 0 15,1 0-15,0-1 0,-1-12 16,14-1-16,0 1 0,0 0 16,-13-1-16,-1 1 0,41-41 15,-54 28-15,1 12 0,-14-12 0,13 12 16,-26-13-16,14-52 15,-14 65-15,-14-12 0,-12-1 0,-1 0 16,-12 14-16,-1 13 0,-13-14 0,0 14 16,0 13-16,0 0 0,-13 0 15,0 13-15,-13 0 0,13 14 0,-1-1 16,1 1-16,0 13 0,0-1 0,13 1 16,13 13-16,1 0 0,-1 0 15,14 0-15,12-1 0,1 1 16,13-13-16,0 0 0,0 13 0,27-14 0,-14 1 15,26 0-15,-12-14 0,-1 1 0,14-14 16,0 13-16,-14-12 16,14-1-16,0-13 0,-14 0 0</inkml:trace>
  <inkml:trace contextRef="#ctx0" brushRef="#br0" timeOffset="86024.54">19394 5609 0,'13'-13'0,"27"13"31,-40 13-31,13 0 0,-13 1 16,13-1-16,-13 0 0,0 40 15,-13-27-15,13 1 0,0-1 16,-13-12-16,13 12 0,0-13 0,0 1 16,0-1-16,0 0 0,0 0 0,0 0 15,13-13-15,14 0 0,-14 0 16,13 0-16,1 0 0,12-13 16,1 0-16,13-13 0,0 12 0,0-12 15,0-1-15,0 1 0,0-1 0,-1 1 16,1 0-16,0-1 15,40 1 1</inkml:trace>
  <inkml:trace contextRef="#ctx0" brushRef="#br0" timeOffset="86138.61">20413 5596 0,'-40'-27'94</inkml:trace>
  <inkml:trace contextRef="#ctx0" brushRef="#br0" timeOffset="87982.62">17714 6773 0,'0'-13'0,"-27"26"31,27 1-31,-13-1 0,13 0 0,0 0 16,0 0-16,0 1 15,0-1-15,0 0 0,0 0 0,0 1 16,0-1-16,0 0 0,0 0 0,0 1 16,0-1-16,0 0 15,0 0-15,0 0 0,0 1 16,0-1-16,0 0 16,13-53 15,-13 27-31,14-13 15,-1-1-15,0 1 0,14-1 0,-14 1 16,13-1-16,-13 1 0,14 0 16,-1-1-16,-12 14 0,-1-14 15,0 27-15,0-13 0,-13 0 0,14 13 0,-28 26 47,1-12-47,0-1 0,0 0 0,-1 0 16,1 14-16,0-14 0,0 0 0,-1 0 15,1 1-15,0 12 16,0-13-16,0 1 0,13-1 0,0 0 16,0 0-16,0 1 0,13-14 15,-13 13-15,13-13 0,0 13 16,14-13-16,-14 13 0,0-13 16,0 0-16,1 0 0,12-13 15,-13 13-15,14 0 0,-1-13 0,-13 13 16,27-13-16,0-1 0,-14 1 15,1 0-15</inkml:trace>
  <inkml:trace contextRef="#ctx0" brushRef="#br0" timeOffset="88162.54">18349 6813 0,'26'-13'32,"-12"13"-32,-1-13 15,0 13-15,0 0 0,0 0 0</inkml:trace>
  <inkml:trace contextRef="#ctx0" brushRef="#br0" timeOffset="88393.7">18455 6654 0,'0'0'0,"26"0"0,-26 14 15,40-14-15,-27 13 0,0 0 16,1 0-16,-1 0 0,13 1 16,-13-1-16,1 0 0,-14 0 0,13 1 15,0-1-15,-13 0 0,0 0 16,0 0-16,0 1 0,0-1 0,0 13 15,-13-12-15,13-1 16,-13 0-16,13 0 0,-14-13 0,14 14 16,-13-1-16</inkml:trace>
  <inkml:trace contextRef="#ctx0" brushRef="#br0" timeOffset="89705.53">20479 6244 0,'0'0'16,"-13"-13"-16,13 0 0,0-1 15,13 1 1,13 13-1,-13 0-15,-13 13 16,14-13-16,-1 14 0,0-1 16,-13 0-16,13 0 0,1 1 0,-14-1 15,0 13-15,13-12 0,-13 12 0,0-13 16,0 14-16,0-1 0,0 1 16,0-1-16,-13 1 0,13-14 0,0 40 15,-14-40-15</inkml:trace>
  <inkml:trace contextRef="#ctx0" brushRef="#br0" timeOffset="89857.7">20545 6760 0,'-13'0'0,"-1"-13"47,28 0-31,-1 13-16</inkml:trace>
  <inkml:trace contextRef="#ctx0" brushRef="#br0" timeOffset="91818.48">16708 8493 0,'40'-13'0,"-80"26"0,107-26 0,-54 13 0,13-13 16,1 13-16,-1-14 0,14 1 15,-14 13-15,1-13 0,12 0 0,-12 13 16,-1-13-16,-12-1 0,12 14 16,-13-13-16,14 0 0,-14 13 0</inkml:trace>
  <inkml:trace contextRef="#ctx0" brushRef="#br0" timeOffset="92033.46">17119 8162 0,'0'0'16,"39"27"-16,-12-14 0,12 14 15,-12-14-15,-1 13 0,14 14 16,-27-14-16,0 1 0,1-1 0,-14 1 15,13-14-15,-26 13 16,13 1-16,-14 13 0,1-14 0,-13 0 16,-1 1-16,14 13 0,-27-14 0,14-13 15,-1 14-15,-12-1 0</inkml:trace>
  <inkml:trace contextRef="#ctx0" brushRef="#br0" timeOffset="102474.57">17820 8202 0,'0'-13'0,"0"26"0,0 0 63,0 1-63,0-1 0,0 0 0,0 0 15,0 0-15,0 1 0,0-1 16,0 0-16,0 0 0,0 1 0,0-1 15,0 0-15,0 0 0,0 1 0,0-1 16,0 0 0,0 0-16,-14-52 47,14 25-47,0 1 0,0 0 0,0 0 15,0-1-15,0 1 0,0 0 16,0 0-16,14 13 15,-1 13 1,-13 0 0,0 0-16,13 1 0,0 12 0,1-13 15,-14 1-15,13-1 0,0-13 16,-13 13-16,13 0 0,1-13 16,-1 13-16,0-13 15,0-13-15,-13 0 16,13 0-16,-13-14 15,0 1-15,0 13 0,0-27 16,0 13-16,0 14 0,0 0 16,-13-13-16,13 12 0,0 1 15,0 0-15,0 0 0,-13 13 16,13-14-16,13 41 31,0-14-15,1 0-16</inkml:trace>
  <inkml:trace contextRef="#ctx0" brushRef="#br0" timeOffset="102817.58">18574 8176 0,'-13'0'16,"26"0"-16,-26-14 15,-1 28 1,14-1-16,-13 0 16,13 0-16,0 1 0,-13-1 15,13 0-15,-13 0 0,13 0 0,0 14 16,-14-14-16,14 0 0,0 1 0,0-1 15,0 0-15,0 0 0,0 1 16,-13-1-16,13 0 16,0 0-16,0 0 15,13-13 1</inkml:trace>
  <inkml:trace contextRef="#ctx0" brushRef="#br0" timeOffset="103121.54">18455 8215 0,'0'-26'0,"0"52"0,13-65 0,-13 25 0,13 14 15,-13-13-15,13 13 0,-13-13 0,14 13 16,12 0-16,-13 0 15,1 0-15,12 0 0,-13 13 16,0-13-16,1 13 0,-1 1 0,0-1 16,0 13-16,1 1 0,-14-1 15,0-13-15,0 14 16,-14-1-16,14 1 0,-13-1 0,-13 1 16,12-1-16,-12-13 0,13 14 0,-14-1 15,1-12-15,13-1 0,-1 0 16,1-13-16,0 13 0,0 0 0</inkml:trace>
  <inkml:trace contextRef="#ctx0" brushRef="#br0" timeOffset="103437.65">19129 8255 0,'40'0'31,"-13"0"-15,-14 0-16,0 0 0,0 0 16,0-13-16,1 13 0,12 0 0,-13 0 15,1 0-15,-1-13 0,0 13 16,0 0-16,1-14 0,-1 14 0,0 0 16</inkml:trace>
  <inkml:trace contextRef="#ctx0" brushRef="#br0" timeOffset="103684.36">19341 8096 0,'27'13'0,"-54"-26"0,67 40 0,-27-27 16,-13 13-16,13 0 0,0 0 15,-13 1-15,14-1 0,-14 0 0,0 14 16,0-14-16,-14 13 0,14 1 16,-26-1-16,0 1 0,-1 12 0,-13 1 15,1-14-15,-14 14 0,13-13 16,-13-1-16,13 0 0,-12 1 0,12-1 16</inkml:trace>
  <inkml:trace contextRef="#ctx0" brushRef="#br0" timeOffset="111381.55">19209 8255 0,'13'0'15,"-26"-13"16,0 13-15,-1 0 0,1 0-16,0 0 0,0 0 15,-1 0-15,1 13 0,0-13 0,0 0 16,-1 0-16,1 0 0,0 0 16,0 0-16,0 0 0,-1 0 0,1 13 15,0-13-15,0 0 0,-1 0 16,1 0-16,0 0 15</inkml:trace>
  <inkml:trace contextRef="#ctx0" brushRef="#br0" timeOffset="112162.74">19262 8043 0,'-14'-13'32,"1"13"-17,0 0 1,26 27 62,0-27-62,1 0-16,-14 13 15,13-13-15,0 0 0,0 13 16,1-13-16,-1 0 0,0 0 16,0 13-16,1-13 0,-1 0 15,-13 13-15,13-13 0,0 14 16,-13-1-1,0 0 1,0 0-16,-13 1 0,13-1 16,-13 13-16,0-26 15,13 14-15,0-1 16</inkml:trace>
  <inkml:trace contextRef="#ctx0" brushRef="#br0" timeOffset="115330.34">20254 7911 0,'-13'-13'31,"-14"13"1,14 13-32,0 0 15,-1 1-15,1-14 0,0 13 16,0 0-16,0 0 0,-1 14 16,1-14-16,0 0 0,0 0 15,13 14-15,-27-1 0,27-13 0,0 14 16,0-14-16,0 0 0,0 1 15,0-1-15,0 0 0,13 0 16,1-13-16,-1 0 16,0 0-16,0 0 0,1 0 15,-1-13-15,0 13 16,-13-13-16,13 13 0,0-13 16,1 13-16,-14-14 0,13 14 0,-13-13 15,13 13-15,-13-13 0,0 0 16,0 39 46,0-13-62,13-13 16,-13 14-16,14-14 16,-1 0-16,0 0 15,0 0 1,1-14-16,12 28 15,-13-14 1,0 13-16,-13 0 0,14 0 16,-14 1-16,0-1 0,0 0 15,0 0-15,-14 0 0,14 1 16,0-1-16,-13 13 0,13-12 16,-13-1-16,0 0 0,13 0 0,-13 1 15,-1-14-15,14 13 0,-13-13 0,0 13 16,0 0-16,13-26 31,0-13-31,13 26 16,0-14-16,-13 1 0,27 0 15,-14-14-15,0 14 0,0 0 0,14-27 16,-14 27-16,0 0 0,14 0 16,-14-1-16,0 14 15,0-13-15,-13 0 0,14 0 16,-14 39 31,0-13-32,0 1-15,13-1 16,0-13 0,0 0-16,0 0 15,14 0 1,-14-13-16,0 13 15,1-14-15,-1 1 0,-13 0 16,13 0-16,0-1 0,-13 1 0,14 0 16,-14 0-16,13-14 0,-13 14 15,0 0-15,13-14 0,-13 14 0,0 0 16,0 0-16,13-1 0,-13 1 16,0 0-16,0 0 0,-13 39 31,13-13-16,-13 1-15,13-1 0,0 13 0,-13-12 16,13-1-16,0 13 0,0-13 16,0 1-16,0 12 0,0-13 15,13 1 1,-13-1-16,13-13 0,0 0 16,0 0-1,1-13-15,-1 13 0,0 0 16,-13-14-16,13 28 15,1-14 1,-1 13 0,0-13-1,-13 13-15,13-13 16,0 0-16,1 0 16,-14-13-16,13 13 0,-13-13 15,0-1-15,0 1 31,-13 0-31,13 0 0,-14-1 16,28 28 47,-1-1-63,0 0 15,0-13-15,1 13 16,-1-13-16,0 0 15,0 0-15,1 0 0,12 0 16,-13 0 0,0 0-16,1 0 15,-1 0-15,0 0 16,14 0 0,-14 0-1</inkml:trace>
  <inkml:trace contextRef="#ctx0" brushRef="#br0" timeOffset="116230.77">20174 8824 0,'14'-13'0,"-28"-1"78,1 14-63,13-13 17,-13 26-1,13 1-31,0-1 0,-13-13 15,13 26-15,0 1 0,0-14 16,-13 27-16,-1-14 16,14 1-16,0-1 0,-13 1 15,13-14-15,0 13 0,-13-13 0,13 14 16,0-14-16,0 14 16,0-14-16,0 0 0,0 0 0,0 1 15,0-1-15,13-13 16,-13 13-16,13-13 0</inkml:trace>
  <inkml:trace contextRef="#ctx0" brushRef="#br0" timeOffset="116446.45">20135 9102 0,'0'0'0,"0"-14"0,13 14 0,0-13 16,0 13-16,1-13 0,-1 13 16,13-13-16,-12 13 0,-1-13 15,13 13-15,-12-14 0,-1 14 0,0-13 16,0 13-16,0 0 0,-13-13 0,14 13 16</inkml:trace>
  <inkml:trace contextRef="#ctx0" brushRef="#br0" timeOffset="116623.45">20214 8930 0,'-26'-14'0,"52"28"0,-66-41 16,40 14-1,0 0 1,14 13-16,-1 0 0,13-13 16,-12 13-16,-1-14 0,13 1 15,-12 13-15,12-13 0,-13 13 16,14-13-16,-14 13 0,0-14 15,14 14-15</inkml:trace>
  <inkml:trace contextRef="#ctx0" brushRef="#br0" timeOffset="116841.29">20135 9181 0,'26'0'31,"-13"0"-15,1-13-16,-1 13 0,0-13 15,0 13-15,1 0 0,12-14 16,-13 14-16</inkml:trace>
  <inkml:trace contextRef="#ctx0" brushRef="#br0" timeOffset="117629.03">20743 8811 0,'-13'-27'16,"0"54"-1,0-14 1,-1 0-16,14 0 0,-13 1 16,0 12-16,13-13 0,-13 14 0,13-14 15,0 0-15,-13 14 0,13-14 16,13 0-16,-13 0 0,0 1 0,0-1 15,13-13-15,-13 13 0,13-13 16,0 0-16,-13 13 0,14-13 0,12-13 16,-13 13-16,1-13 0,-1 0 15,0-1-15,0 1 0,0-13 16,1 12-16,-14-12 0,0-1 0,13 1 16,-13 0-16,-13-1 0,13 1 0,0 12 15,-14-12-15,14 13 0,0-1 16,-13-12-16,0 13 15,13 0-15,-13 13 0,0 0 0,13 13 16,-14 0-16,14 0 16,-13 0-16,13 1 0,0-1 15,0 13-15,0 1 0,0-1 0,13 1 16,-13-1-16,0 14 0,14-14 16,-14 1-16,13-14 0,0 14 0,-13-1 15,13-13-15,0 14 0,-13-14 0,14 13 16,-1-12-16,-13-1 0,13-13 15,0 13-15,1-13 0,-1 0 16,0 0-16</inkml:trace>
  <inkml:trace contextRef="#ctx0" brushRef="#br0" timeOffset="117777.33">21299 9049 0,'0'-13'31,"-13"13"-15</inkml:trace>
  <inkml:trace contextRef="#ctx0" brushRef="#br0" timeOffset="118189.64">20188 9671 0,'39'-14'15,"-12"1"-15,118-27 16,-105 27-16,66-27 15,-53 27-15,13 0 0,-13 0 16,0 0-16,-14-1 0,14 1 0,-13 0 16,0 13-16,-1 0 0,-12-13 15,-1 13-15,1 0 0,-14 0 16,0 0-16,1 0 0,-1 0 0,-13 13 16,0 0-16</inkml:trace>
  <inkml:trace contextRef="#ctx0" brushRef="#br0" timeOffset="118374.48">20452 9763 0,'0'0'0,"-13"13"0,40-13 31,-14 0-31,13-13 0,-13 13 16,14 0-16,13-13 0,13 0 15,-14-1-15,1 1 0,0 0 16,-14-13-16,14 12 0,-14 1 15,1-13-15,-1 12 0,-13-12 0,1 13 16</inkml:trace>
  <inkml:trace contextRef="#ctx0" brushRef="#br0" timeOffset="118707.65">20545 8639 0,'40'-27'16,"-14"27"-16,1 0 15,-1-13-15,14 13 0,-1-13 0,1 13 16,0-14-16,-1 1 0,14 13 16,-26-13-16,-1 13 0,1 0 0,-1 0 15,-13-13-15,14 13 0</inkml:trace>
  <inkml:trace contextRef="#ctx0" brushRef="#br0" timeOffset="118919.4">20532 8692 0,'13'0'15,"13"0"-15,-12 0 0,-1 0 0,0 0 16,0 0-16,14 0 0,-14-14 16,27 14-16,-27 0 0,13 0 15,-12 0-15,-1 0 0,0 0 0,0-13 16</inkml:trace>
  <inkml:trace contextRef="#ctx0" brushRef="#br0" timeOffset="119442.75">20704 7845 0,'39'-13'16,"-12"13"-16</inkml:trace>
  <inkml:trace contextRef="#ctx0" brushRef="#br0" timeOffset="120269.67">17145 11271 0,'106'-26'15,"-80"26"-15,14-13 16,0 13-16,-1-14 0,1 1 15,0 0-15,39 0 0,-39-1 16,-14 14-16,27-13 0,-40 0 16,1 13-16</inkml:trace>
  <inkml:trace contextRef="#ctx0" brushRef="#br0" timeOffset="120513.42">17529 10914 0,'39'13'15,"-12"1"-15,-14-1 0,0 0 16,14 27-16,-14-14 0,0-13 16,14 27-16,-14-14 15,-13 1-15,13-14 0,-13 14 16,0-1-16,-13 27 0,0-27 15,-1 14-15,-12 13 0,13-13 16,-14-14-16,14-13 0,0 1 16,0-1-16</inkml:trace>
  <inkml:trace contextRef="#ctx0" brushRef="#br0" timeOffset="123434.01">18309 10861 0,'-13'27'31,"13"-14"-31,0 0 15,0 14-15,0-14 0,0 13 0,0 27 16,13-26-16,-13-1 16,0 0-16,13 1 0,-13-14 0,14 14 15,-14-1-15,13 1 0,-13-14 0,0 0 16,13 0-16,-13 0 0,0 1 0</inkml:trace>
  <inkml:trace contextRef="#ctx0" brushRef="#br0" timeOffset="123803.33">18296 10888 0,'0'0'0,"26"-27"0,-12 14 0,-1 0 16,0-1-16,0 14 0,1-13 16,-1 13-16,0 0 0,13 0 15,-12 0-15,-1 0 0,0 13 0,0-13 0,14 27 16,-14-14-16,-13 0 16,0 14-16,0-14 0,0 0 15,0 14-15,-13-14 0,13 0 16,-13 14-16,-1-14 0,1 13 0,0-12 0,0-1 15,-14 0-15,14 0 0,0-13 16,-27 13-16,27 1 0,0-14 16,-1 0-16,1 0 15,0-14-15,13 1 16</inkml:trace>
  <inkml:trace contextRef="#ctx0" brushRef="#br0" timeOffset="124033.53">18547 10663 0,'0'-14'0,"0"28"0,14-28 0,-14 28 31,0-1-31,13 0 0,-13 0 0,0 14 16,0-1-16,0 1 0,0 12 15,13 1-15,-13 0 0,0 0 16,0-14-16,13 14 0,-13-14 0,0 1 15,0-1-15,13 0 0,-13 1 0,14-1 16,-14 14-16,13-27 16,-13 1-16,13-1 0,-13 0 15,13-13-15</inkml:trace>
  <inkml:trace contextRef="#ctx0" brushRef="#br0" timeOffset="125431.38">18878 10941 0,'-13'-14'0,"26"28"0,-39-28 0,12 14 16,1 14 0,0-14-16,0 13 0,-1 0 0,1 0 15,0 27-15,0-27 0,-1 0 16,14 14-16,-13-1 0,13-13 15,0 1-15,0-1 0,0 0 16,0 0-16,13-13 0,-13 14 16,14-14-16,-1 0 15,0 0-15,0-14 16,1 1-16,-1 0 0,0 0 16,-13-1-16,13-12 0,-13 0 15,14 26-15,-14-14 0,0 1 16,13 13-16,-13-13 0,0 0 15,0 39 17,13-13-17,-13 1-15,13-14 0,-13 13 16,13-13-16,1 0 0,-1 0 16,0-13-16,14 13 15,-14-14-15,0 1 0,14 0 0,-14 0 16,0-1-16,0 14 0,0-13 0,1 0 15,-1 0-15,0 0 16,0 13-16,-13-14 16,0 41 15,0-14-31,0 0 16,0 0-16,14 1 15,-14-1-15,13-13 16,0 0-16,0 0 15,1 0-15,-1-13 0,0 13 16,0-14-16,0 1 16,-13 0-16,14 13 15,-1 0-15,0 13 47,-13 0-47,13-13 16,-13 14-16,14-14 15,-1 0 1,0 0-16,0-14 16,-13 1-1,14 0-15,-14 0 0,13 0 16,-13-1 0,0 1-16,13 13 15,-13-13-15,13 26 47,-13 0-31,13 1-1,-13-1 1,14-13 0,-1 0 30,0-13-30,0 13 0,1 0-16,-1 0 15,0-14-15,0 14 16,0-13-16,1 13 16,-14-13-16,13 13 15,0 0-15,-13-13 16,13 13-16,1 0 15,-14-14 1,13 14-16,0 0 31,0 0-15,-13 14-16,14-14 16,-1 0-16,0 0 15,0 0 1,0-14-16,1 1 15,-1 0-15,-13 0 0,13-1 16,0 1-16,-13 0 0,14 0 16,-14 0-16,13-1 0,-13 1 15,13 0-15,-13 0 0,13 13 16,-13-14-16,27 28 31,-14-1-15,0 0-1,0 0-15,1 1 16,-1-1-16,-13 0 16,0 0-16,0 0 15,0 1-15,0-1 0,0 0 16</inkml:trace>
  <inkml:trace contextRef="#ctx0" brushRef="#br0" timeOffset="125625.77">19764 10808 0,'14'-26'32,"-1"26"-17,0 0-15,-13-13 0,13 13 0,1 0 16,-1 0-16,0-14 0,0 14 0,0 0 15,1 0-15,-1 0 0,0 0 16</inkml:trace>
  <inkml:trace contextRef="#ctx0" brushRef="#br0" timeOffset="126353.45">19976 10689 0,'-26'13'16,"26"1"-1,0-1-15,-14 0 16,14 0-16,14 1 15,-14-1-15,13 0 0,-13 0 16,13-13-16,-13 13 0,13-13 16,0 14-16,1-14 15,-1 0-15,0-14 16,0 14-16,-13-13 0,14 0 16,-1 13-16,0-13 15,-13 0-15,13 13 0,-13-14 16,14 14-16,-1-13 15,0 13-15,0 13 16,0-13 0,1 14-16,-1-14 15,0 0-15,0 0 16,1 0 0,-1-14-16,0 14 0,-13-13 15,13 0-15,-13 0 16,14-1-16,-14 1 0,13-13 15,-13 12-15,0 1 0,13-13 16,-13 13-16,0-1 0,13 28 47,0-14-47,-13 13 0,0 0 0,0 13 16,0-12-16,0-1 0,0 0 0,0 14 15,0-14-15,0 0 0,0 0 0,0 1 16,-13-1-16,13 0 15,-13 0 1,13-39 0,0 13-1,13-1-15,-13 1 0,0 0 16,13 0-16,1-1 0,-14 1 0,26 0 16,-13 0-16,1-1 0,12 1 15,1-13-15,-1 26 0,0-27 16,1 27-16,-14-13 0,14 0 0,-1 0 15</inkml:trace>
  <inkml:trace contextRef="#ctx0" brushRef="#br0" timeOffset="127713.25">21603 10385 0,'0'0'15,"-13"0"-15,26-13 32,0 13-32,1 0 0,-1-14 15,0 14-15,0 0 0,14 0 16,-14-13-16,14 13 0,-14-13 0,13 13 16,-13 0-16,1-13 0,-1 13 15,0 0-15,0 0 0,1-13 0,-1 13 16</inkml:trace>
  <inkml:trace contextRef="#ctx0" brushRef="#br0" timeOffset="127968.43">21775 10147 0,'0'-13'0,"27"-1"15,-14 14 1,0 0-16,14 14 0,-14-14 15,13 13-15,1-13 0,-14 13 0,13 0 0,1 0 16,-14 1-16,14-1 0,-14 0 16,0 0-16,-13 1 0,13-1 0,-13 0 15,13 0-15,-13 1 0,-13-1 0,13 0 16,-13 0-16,13 14 0,-13-14 16,-14 0-16,14 14 0,0-14 0,-14 0 15,14 0-15,0-13 0,0 14 0,-14-1 16</inkml:trace>
  <inkml:trace contextRef="#ctx0" brushRef="#br0" timeOffset="146320.4">22000 833 0,'-13'-13'0,"0"13"15,-1 0 1,1 27-16,0-1 16,0 1-16,0 12 0,-1-12 15,1 26-15,0 0 0,-14-1 16,14 15-16,13-1 0,-13 0 0,0 0 15,-1 0-15,1 14 0,0-1 0,13 0 16,-13-13-16,13 1 0,-13 12 0,13-26 16,0 0-16,0 0 0,0 0 0,0 0 15,0-14-15,13 14 16,-13-13-16,0 0 0,13-1 0,-13 1 16,13-14-16,-13 1 0,13-1 0,-13 1 15,14-14-15,-14 0 0,0 0 16,13 1-16,-13-1 0,13 0 0,-13 0 15,13-13-15,1 0 0,-1 14 0,0-14 16,0 0-16,14 0 0,-1 0 16,-13 0-16,27-14 0,-13 14 0,12 0 15,14 0-15,-13-13 0,0 13 0,12 0 16,1-13-16,0 13 0,0 0 16,0 0-16,13-13 0,-13 13 15,13 0-15,0 0 0,80-14 16,-67 1-16,1 13 0,-14-13 15,13 13-15,-13-13 0,1 0 0,12 13 16,-13-14-16,0 1 0,14 0 0,-14 13 16,0-13-16,0-1 0,-13 1 0,13 0 15,0 0-15,-13-1 0,0 1 16,0 0-16,0 13 0,0-26 0,39-1 16,-39 14-16,-13 0 0,0-1 15,-1 1-15,1 0 16,39-14-16,-39 14 0,0 0 0,0 0 15,-14 0-15,14-1 0,-14 1 16,1 13-16,-1-13 0,1 13 16,-1-13-16,14-14 0,-14 27 15,1-26-15,-1 13 0,0-1 0,1-12 16,-1 13-16,14-40 0,-27 26 16,1 1-16,-1-14 0,0 14 15,0-1-15,0-39 16,-13 40-16,0-1 0,0 1 0,-13-14 15,13 0-15,0 1 0,-13-1 16,0 0-16,13 14 0,-13-14 0,-1 0 16,1 14-16,0-14 0,-14 1 0,-12-28 15,12 14-15,-12 14 16,12-1-16,-13 14 0,1-14 0,-14 13 16,13-12-16,-13-1 0,-13 14 0,0-14 15,0 0-15,0 14 0,-14-1 0,1 1 16,-14-14-16,14 27 0,0-13 15,-14 12-15,0 1 0,14 0 16,-14 13-16,-92 0 0,79 0 0,0 13 16,-13 0-16,14 1 0,-14 12 15,13 0-15,-13 14 0,26-13 0,-13 12 16,14 14-16,12-13 0,1 13 16,-1-14-16,1 14 0,0 14 0</inkml:trace>
  <inkml:trace contextRef="#ctx0" brushRef="#br0" timeOffset="147830.35">23151 4379 0,'13'-27'0,"-26"54"0,26-67 0,-13 27 0,-13 13 16,13-13-16,0-1 0,-13 1 0,13 0 15,-13 0-15,-1 0 0,-12-1 16,-1 1-16,-39-27 0,27 27 16,-1 0-16,0 13 0,1-13 15,-14 13-15,0 0 0,0 0 16,0 0-16,0 0 0,-13 13 0,0 0 0,13 0 15,-13 14-15,-1-14 0,15 27 16,-15-14-16,14 1 0,-66 39 16,67-26-16,12 12 0,-53 28 15,54-27-15,-1 0 0,0-14 16,14 14-16,-1 13 0,1-13 16,-1 0-16,14 13 0,0-13 0,0 13 15,13 1-15,0-28 0,13 27 0,0-13 16,0 0-16,1 13 0,12-13 15,0 0-15,14 0 0,0-13 16,0 13-16,-1 0 0,14-14 0,-13 14 0,13-13 16,-14 13-16,14-13 0,0-1 15,66 41-15,-53-54 16,1 14-16,65 13 0,-66-40 16,0 13-16,0-12 0,0-1 0,14-13 15,-14 13-15,0-13 0,0 0 16,14-13-16,-14 13 0,79-27 15,-79 27-15,14-26 0,-14 13 16,0-1-16,0 1 0,0-13 0,1 13 16,-15-14-16,15 1 0,-14-1 0,13 1 15,-13-1-15,0 1 0,13-14 16,-13 14-16,0-1 0,26-39 16,-26 40-16,-27-1 0,14 1 15,13-14-15,-27 14 0,1-1 0,-1 1 16,1 12-16,-1-12 0,1-1 15,-14 14-15,0-13 0,0-1 16,14 1-16,-14-1 0,0 1 0,0 0 16,1-41-16,-1 28 15,0 12-15,-13 1 0,13-1 0,-13 1 16,14-1-16,-14 1 0,0-1 0,0 1 16,0 13-16,0-40 0,0 40 15,0-14-15,-14 1 0,14-1 16,-13 14-16,0-27 0,0 14 15,-14-1-15,1-12 0,-40-41 16,26 41-16,0-1 0,-52-39 16,39 39-16,0 0 0,-13 14 15,13-14-15,13 14 0,-13-14 0,-53-13 16,53 27-16,0-1 0,1 14 16,12 0-16,0-1 0,-13 1 15,14 0-15,-14 0 0,13 0 0,-66-1 16,53 14-16,0 0 0,0-13 15,-13 26-15,13-13 0,-26 0 16,-40 14-16,66-14 0,-13 13 16,0 0-16,0-13 0,-1 13 0,1 0 15,0-13-15,13 14 0,-13-1 16,13 0-16,13 0 0,-12-13 16,-1 27-16,0-14 0,13 0 0,-13 0 15,0 1-15</inkml:trace>
  <inkml:trace contextRef="#ctx0" brushRef="#br0" timeOffset="183508.81">22860 10067 0,'-26'14'31,"12"12"-15,1-13-16,0 14 0,0-14 16,-1 13-16,1-12 0,0-1 15,0 13-15,-1 1 0,-12-14 0,13 14 16,-14-1-16,14 0 0,0-12 15,13-1-15,-13 0 0,-1-13 16,14 13-16,-13-13 0</inkml:trace>
  <inkml:trace contextRef="#ctx0" brushRef="#br0" timeOffset="183718.48">22609 10134 0,'0'-14'0,"0"28"0,13-28 15,0 14-15,0 14 16,1-14-16,-14 13 16,13 0-16,0 0 0,0 0 0,0 1 15,1-1-15,-1 13 0,13 1 16,-26-14-16,14 0 16,-1 1-16,0-1 0,-13 0 15,13-13-15,1 13 0,-14 0 0,13-13 16,-13 14-16</inkml:trace>
  <inkml:trace contextRef="#ctx0" brushRef="#br0" timeOffset="184102.21">22966 10186 0,'-13'-13'0,"26"40"31,0-14-31,-13 0 16,13-13-16,-13 13 0,14-13 0,-1 14 15,0-14-15,0 0 0,0 0 16,1 0-16,-1 0 0,0 0 16,0 0-16,1-14 0,-1 14 0,0-13 15,-13 0-15,13 13 0,-13-13 16,14-1-16,-1 14 0,-13-13 15,-13 26 17,13 1-32,-14-1 0,1 0 15,13 0-15,-13 1 0,0 12 0,-1-13 16,1 14-16,13-14 0,-13 13 0,0 1 16,13-14-16,-14 0 15,14 14-15,0-14 0,-13 0 0,13 14 16,0-14-16</inkml:trace>
  <inkml:trace contextRef="#ctx0" brushRef="#br0" timeOffset="184483.17">23389 10239 0,'0'0'0,"13"-13"16,1 13-16,-1 0 16,0 0-16,0 0 15,-13 13 1,-13 1-16,13-1 0,0 0 15,-13 0-15,13 14 16,-13-14-16,13 0 0,-14 14 16,14-14-16,0 0 0,0 0 15,0 1-15,14-1 0,-14 0 16,13 0-16,0 1 16,0-14-16,14 0 0,-14 0 15,0 0-15,0 0 0,1 0 16,-1 0-16,-13-14 0,13 14 15</inkml:trace>
  <inkml:trace contextRef="#ctx0" brushRef="#br0" timeOffset="184682.28">23244 10372 0,'26'-14'31,"-13"14"-31,1 0 0,12-13 0,0 13 16,-12 0-16,25 0 0,-25 0 16,12 0-16,1-13 0,-1 13 0,0 0 15,-12 13-15,12-13 0,-13 0 0,1 0 16,-1 13-16</inkml:trace>
  <inkml:trace contextRef="#ctx0" brushRef="#br0" timeOffset="185289.2">22701 10848 0,'13'13'0,"14"-13"16,-1 0-16,1 0 0,-1 0 15,27-13-15,0 13 0,0 0 0,13-13 16,0 13-16,14-14 0,-14 14 0,0-13 16,13 13-16,-12-13 0,-1 0 15,0 0-15,-13-1 0,0 14 0,-14-13 16,1 0-16,13 0 0,-27-1 0,14-12 16,-13 13-16,12-1 0,-26 1 0,14-13 15,-1 13-15,-12-14 0,-1 14 16,0-14-16,0 1 0,-13 0 15,0-14-15,0 13 0,0-12 0,-13-1 0,0 0 16,0 1-16,-14-14 16,-13 13-16,-52-39 0,52 39 15,-26 0-15,13 1 0,-13 12 0,0-13 16,0 14-16,-67-27 0,67 40 16,13 0-16,-13-14 15,13 27-15,14-13 0,-14 13 0,0-13 16,13 13-16,-13 13 0,0-13 0,-13 13 15,13 0-15,-13 14 0,0-1 0,13 1 16,0-1-16,0 14 0,0 0 16,0-1-16,14 1 0,-1 13 0,-26 26 15,39-26-15,1-13 16,13 0-16,-1-1 0,1 1 0,13-14 16,0 1-16,0-1 0,13 14 0,1-14 15,12 1-15,14 13 0,-1-14 0,14 0 16,0-12-16,13-1 0,-13 0 15,66-13-15,-52 0 0,-1 0 16,0 0-16,0 0 0,-13 0 0,0 0 16,0 0-16,-14 0 0,1 0 15,0 0-15,-14 0 0,1 0 0</inkml:trace>
  <inkml:trace contextRef="#ctx0" brushRef="#br0" timeOffset="185726.48">23191 11086 0,'-13'26'31,"-1"-12"-16,1-1-15,0 0 0,0 14 0,-14-1 0,14 1 16,-14 12-16,14-12 0,-13-1 16,13 1-16,-14-1 0,14 1 15,0-1-15,-1 0 0,1-12 0,0 12 16,13-13-16,-13 1 0,13-1 16,0 0-16,-14-13 0,14 13 15,14-26 1</inkml:trace>
  <inkml:trace contextRef="#ctx0" brushRef="#br0" timeOffset="185932.51">23217 11112 0,'-13'0'16,"0"0"-16,0 0 0,-1 0 0,1 14 15,0-1-15,-14 0 0,1 0 0,-1 1 16,-12 12-16,12-13 0,1 14 16,-1-14-16,1 13 0,13-12 0,-14-1 15,14 0-15,0 0 0,0 1 0,-1-1 16,1-13 0</inkml:trace>
  <inkml:trace contextRef="#ctx0" brushRef="#br0" timeOffset="186132.48">22992 11152 0,'14'0'0,"12"27"16,-13-27-16,-13 13 16,27-13-16,-14 13 15,0 0-15,14-13 0,-14 14 0,13-1 16,-12-13-16,12 13 0,-13-13 0,14 13 15,-14-13-15,13 0 0,-12 13 0,-1-13 16,13 0-16,-13 0 0</inkml:trace>
  <inkml:trace contextRef="#ctx0" brushRef="#br0" timeOffset="188005.12">22807 11946 0,'0'-13'0,"13"-1"0,1 14 16,-14-13-16,13 13 15,0 0-15,0 0 0,0 0 16,1 0-16,-1 0 0,0 13 0,0-13 16,1 14-16,-1-1 0,13 0 15,-26 0-15,14 1 0,-1 12 16,-13-13-16,0 1 0,0-1 15,13 0-15,-13 0 0,0 0 16,-13 1-16,13-1 0</inkml:trace>
  <inkml:trace contextRef="#ctx0" brushRef="#br0" timeOffset="188181.34">23032 12409 0,'0'13'63</inkml:trace>
  <inkml:trace contextRef="#ctx0" brushRef="#br0" timeOffset="195358.27">19526 11853 0,'13'-13'0,"-13"-13"31,-13 26-31,0 0 16,0 0-16,0 0 16,-14 13-16,14-13 0,0 13 0,-14 0 15,1 1-15,-1-1 0,14 13 16,-13 1-16,12-14 0,-12 13 0,26-12 16,-13 12-16,-1-13 0,14 1 0,-13 12 15,13-13-15,0 0 0,0 1 16,0-1-16,13 0 0,-13 0 15,14 1-15,-1 12 0,0-13 16,0 1-16,1-14 0,-1 13 16,0-13-16,0 0 0,1 0 0,-1 0 15,0 0-15,0 0 0,0 0 16,1-13-16,-1 13 16,-13-14-16,13 1 0,0 0 15,-13 0-15,0-1 0,0 1 16,0 0-16,0 0 0,14-1 15,-14 1-15,0 0 16,0 0-16,0 0 0,13 13 0,-13-14 16,13 14-16,0 0 15,0 0-15,1 14 16,-1-1-16,-13 0 0,13 0 16,-13 14-16,0-14 0,0 0 0,13 14 15,-13-14-15,0 0 0,0 0 0,0 1 16,0-1-16,0 0 0,0 0 15,0-39 17,14 26-17,-14-13-15,0-1 0,13 1 16,-13 0-16,13 0 0,14-14 16,-27 14-16,13 0 0,0-1 15,0 1-15,-13 0 0,27 0 16,-14 0-16,0 13 0,0 0 15,-13-14-15,14 14 0,12 14 16,-13-1 0,1 0-16,-1 0 15,-13 0-15,13 1 0,-13-1 16,13 0-16,-13 0 0,13 1 16,-13-1-16,0 0 0,14 0 15,-14 1-15</inkml:trace>
  <inkml:trace contextRef="#ctx0" brushRef="#br0" timeOffset="195461.11">19950 12012 0,'-14'-13'0,"1"13"16,0 0-1</inkml:trace>
  <inkml:trace contextRef="#ctx0" brushRef="#br0" timeOffset="195866.56">20108 11827 0,'-13'26'31,"13"-12"-31,13-1 16,-13 0-16,0 13 0,0-12 16,0 12-16,14-13 0,-1 1 15,-13-1-15,26 27 0,-13-27 16,1 0-16,-1 0 0,0-13 0,0 13 16,1-13-16,-1 0 0,0 14 15,0-14-15,-13-14 0,14 14 0,-1 0 16,-13-13-16,13 13 0,-13-13 0,13 13 15,-13-13-15,13 13 16,1 13 0,-14 0-1,13-13-15,-13 13 0,0 1 16,13-14-16,-13 13 0,27 0 16,-27 0-16,13-13 15,0 14-15,0-1 0,1-13 31</inkml:trace>
  <inkml:trace contextRef="#ctx0" brushRef="#br0" timeOffset="196417.28">20042 11999 0,'-13'0'0,"26"0"0,-13-13 31,0-1-31,13 14 16,1 0-16,-1-13 0,13 13 16,-12-13-16,12 13 0,0 0 15,-12-13-15,12 13 0,-13 0 0,14 0 16,-1 0-16,-12-14 0,-1 28 16,13-14-16,-13 0 0,14 0 0,-1 0 15,1 13-15,-14-13 0,0 13 16,1-13-16,-1 13 0,13-13 15,-13 14-15,1-1 0,-1-13 16,-13 13-16,13 0 0,0-13 16,-13 14-16,14-14 15,-1 13 1,0-26 0,-13-1-16,13 1 15,-13 0-15,14 0 16,-14-1-16,13 14 0,-13-13 0,0 0 15,13 13-15,-13-13 0,13-1 16,0 1 0,1 13-16,-1-13 15,0 13-15,0 0 16,1 0-16,-14 13 16,0 0-1,13 1-15,-13-1 16,0 0-16,0 0 15,0 1-15,13-14 16,-13 13-16,0 0 0,0 0 16,0 1-1</inkml:trace>
  <inkml:trace contextRef="#ctx0" brushRef="#br0" timeOffset="196526.05">20783 11814 0,'-13'-14'0</inkml:trace>
  <inkml:trace contextRef="#ctx0" brushRef="#br0" timeOffset="196786.06">20876 11827 0,'0'26'31,"13"-12"-31,-13-1 16,13-13-16,-13 13 15,13-13-15,1 0 16,-1 0-16,0 0 0,0 0 16,0-13-16,1 13 15,-1 0-15,0 0 16,0 0-16,1 0 15,-1 0-15,-13 13 16,-13 0 0,13 0-1,-14 1-15,1-14 0</inkml:trace>
  <inkml:trace contextRef="#ctx0" brushRef="#br0" timeOffset="197041.35">19791 12528 0,'0'0'0,"26"-26"16,1 26-16,12-14 16,1 1-16,13 0 0,13-14 15,14 14-15,-14-13 0,13 12 0,0 1 0,-12-13 16,12 13-16,67-14 15,-80 14-15,-27 0 0,14 13 16,-26 0-16,-1-14 0,1 14 0,-14 14 16,0-14-16,-26 26 15</inkml:trace>
  <inkml:trace contextRef="#ctx0" brushRef="#br0" timeOffset="197274.07">19659 12700 0,'0'0'16,"39"0"-16,-12-13 15,12 13-15,1-13 16,0-1-16,92-12 0,-66 13 16,0-1-16,0 1 0,14 0 0,-14 0 15,0-1-15,-13 1 0,-13 0 16,-1 13-16,-12-13 0,26 13 15,-40 0-15,0-13 0,1 13 0,-1 0 16,0-14-16</inkml:trace>
  <inkml:trace contextRef="#ctx0" brushRef="#br0" timeOffset="197726.16">18481 12356 0,'27'-13'16,"-14"0"-16,0 13 16,53-14-16,-26 1 0,-14 0 15,14 0-15,0 13 0,-1-14 16,1 1-16,-13 13 0,-1 0 16,0-13-16,-12 13 0,12 0 0,-13-13 15,1 13-15,-1 0 0,0 0 16,-13-13-16,13 13 0</inkml:trace>
  <inkml:trace contextRef="#ctx0" brushRef="#br0" timeOffset="197957.01">18825 12105 0,'0'0'15,"27"0"1,-1 0-16,-13 13 15,0 0-15,1-13 0,-1 13 0,0 1 16,27 25-16,-40-25 0,13-1 16,-13 0-16,13 13 0,-13-12 0,0-1 15,-13 0-15,13 14 0,-13-14 16,13 13-16,-13-13 0,-1 1 0,1 12 16,-13-13-16,12 1 0,-12-1 0,13 0 15</inkml:trace>
  <inkml:trace contextRef="#ctx0" brushRef="#br0" timeOffset="199545.33">7990 11007 0,'0'0'0,"53"0"46,-39 0-46,12 0 16,0 0-16,1 0 0,-14 0 0,14 0 16,-1 0-16,-13-14 0,14 14 15,-14 0-15,13 0 0,-12-13 0,-1 13 16,13 0-16</inkml:trace>
  <inkml:trace contextRef="#ctx0" brushRef="#br0" timeOffset="199844.28">8281 10795 0,'67'26'31,"-54"-26"-31,13 14 0,-12-1 15,12 0-15,-13 0 0,0 1 0,14-1 16,-14 0-16,0 0 0,-13 14 16,14-14-16,-14 0 0,13 14 15,-26-14-15,13 13 0,-14-12 0,-12 52 16,-1-40-16,14 1 0,0-14 16,0 13-16,0-12 0,-1-1 0,1 0 15,0-13-15,0 13 0,-1 0 16</inkml:trace>
  <inkml:trace contextRef="#ctx0" brushRef="#br0" timeOffset="200938.41">8864 10623 0,'0'0'0,"0"-13"0,-14 13 31,1 13-15,0 0-16,0 0 16,13 1-16,-14 12 0,1-13 0,13 14 15,-13-14-15,13 14 0,0-14 16,0 13-16,0-13 0,0 14 0,0-1 15,13 1-15,-13-14 0,13 0 16,1 1-16,-1-14 0,0 13 16,0 0-16,1-13 0,-1 0 0,-13 13 15,26-13-15,-13 0 0,1 0 16,-1 0-16,0 0 0,-13-13 16,13 13-16</inkml:trace>
  <inkml:trace contextRef="#ctx0" brushRef="#br0" timeOffset="201353.15">8996 10729 0,'26'53'32,"-12"-27"-17,-14-13-15,0 1 0,13-1 0,-13 0 16,0 0-16,0 1 0,0-1 0,0 0 16,0 0-16,0 1 0,0-1 15,0 0-15,-13-13 16,13-26 15,0 12-31,13 1 16,-13 0-16,0 0 15,13 13-15,-13-14 0,13 1 16,0 0-16,1 0 0,-14-1 0,26 1 16,-13 0-16,14 13 15,-27-13-15,13 13 0,0 0 16</inkml:trace>
  <inkml:trace contextRef="#ctx0" brushRef="#br0" timeOffset="201570.35">9419 10769 0,'-13'26'16,"13"-13"-16,-13 0 15,13 1-15,0-1 0,0 0 16,0 0-16,0 1 0,0-1 16,0 0-16</inkml:trace>
  <inkml:trace contextRef="#ctx0" brushRef="#br0" timeOffset="201749.39">9274 10610 0</inkml:trace>
  <inkml:trace contextRef="#ctx0" brushRef="#br0" timeOffset="202403.35">9618 10411 0,'-14'67'32,"14"-54"-32,0 13 0,0 1 15,0-1-15,14 14 0,-14-14 0,0 14 16,26 13-16,-26-40 0,13 14 16,1-14-16,-1 0 0,0 0 15,0 0-15,0 1 0,1-1 16,-1-13-16,0 0 0,0 0 0,1 0 15,-1-13-15,0-1 16,0 1-16,-13 0 0,0 0 16,0 0-16,0-1 0,0 1 15,-13 26 17,13 1-32,0-1 15,13 0-15,-13 0 16,13-13-16,-13 13 0,14-13 15,-1 14-15,0-14 0,0 0 0,27 13 16,-27-13-16,1 0 0,-1-13 16,0 13-16,0 0 0,0-14 15</inkml:trace>
  <inkml:trace contextRef="#ctx0" brushRef="#br0" timeOffset="202862.07">9565 10663 0,'53'-27'32,"-40"27"-32,0 0 0,14-13 15,-1 13-15,0 0 0,1 0 0,-1 0 16,1 13-16,-1-13 0,1 13 15,-1-13-15,1 14 0,-14-1 0,13-13 0,-12 13 16,-1 0-16,0 1 0,0-1 16,-13 0-16,13 0 0,-13 1 15,14-1-15,-14 0 0,0 0 16,0 0 0,0-52 30,13 39-46,-13-27 0,13 27 16,-13-13-16,13 13 0,-13-13 0,14 13 16,-1 0-1,0 0-15,0 0 0,1 13 16,-1-13-16,-13 13 16,13-13-16,-13 14 0,13-14 0,-13 13 15,13 0-15,-13 0 16,14 0-1</inkml:trace>
  <inkml:trace contextRef="#ctx0" brushRef="#br0" timeOffset="203001.03">10081 10583 0,'-14'0'0,"28"0"0</inkml:trace>
  <inkml:trace contextRef="#ctx0" brushRef="#br0" timeOffset="203318.09">10319 10623 0,'-40'13'32,"40"0"-32,-13-13 0,13 14 15,0-1-15,0 0 16,13-13 0,0 0-1,1 13-15,-1-13 16,0 0-1,0 0-15,0 0 16,1 0-16,-1 0 16,0 0-16,0 0 15,1 0-15,-14 14 32</inkml:trace>
  <inkml:trace contextRef="#ctx0" brushRef="#br0" timeOffset="203554.09">9128 11337 0,'0'14'0,"106"-54"31,-66 13-31,-1 14 0,14 0 15,0 0-15,13-14 0,-13 14 16,0 0-16,13-14 0,-13 14 0,0 0 16,0 0-16,-13-1 0,-1 1 15,1 0-15,-13 13 0,-14-13 0,0 13 16,0 0-16,0-13 0</inkml:trace>
  <inkml:trace contextRef="#ctx0" brushRef="#br0" timeOffset="203789.23">9115 11390 0,'53'-26'0,"-27"26"16,27-13-16,-26-1 0,145-39 31,-119 40-31,13 0 0,-13-13 0,0 12 15,-1 1-15,-12 0 0,13 0 0,-13 13 16,-1-14-16,-12 1 0,-1 13 0,1-13 16,12 0-16,-12 13 15,-14-14-15,27-12 16</inkml:trace>
  <inkml:trace contextRef="#ctx0" brushRef="#br0" timeOffset="204250.26">10848 10491 0,'40'-13'15,"-27"13"1,13 0-16,-12 0 0,12-14 16,14 14-16,-27 0 0,13 0 15,-12 0-15,12 0 0,-13 0 0,0 0 16,1-13-16,-1 13 0,0 0 15,0 0-15,1 0 0,-1 0 16</inkml:trace>
  <inkml:trace contextRef="#ctx0" brushRef="#br0" timeOffset="204585.2">11139 10332 0,'26'13'31,"-12"-13"-31,-1 0 15,13 13-15,-12-13 0,-1 0 16,0 14-16,0-14 0,0 13 16,1-13-16,-14 13 15,13-13-15,-13 13 0,0 1 0,-13-1 16,13 0-16,-14 0 16,14 14-16,-13-14 0,0 13 15,0-12-15,0-1 0,-1 0 16</inkml:trace>
  <inkml:trace contextRef="#ctx0" brushRef="#br0" timeOffset="207645.26">11827 10570 0,'26'0'31,"-12"-13"-31,-1 0 16,0 13-16,0-14 0,0 1 0,1 0 15,12 0-15,-26 0 0,13-1 0,1 1 16,-1 0-16,0 0 0,-13-1 15,0 1-15,13 0 0,-13 0 0,0-1 16,-13 1 0,-13 13-1,12 13-15,1-13 16,0 14-16,0-1 0,-1 0 0,1 0 16,13 1-16,-13-1 0,13 0 0,0 0 15,0 1-15,0-1 0,0 0 16,13 0-16,-13 0 0,13-13 15,1 14-15,-1-14 0,0 0 0,0 0 16,14 0-16,-14 0 0,14 0 16,-14-14-16,13 1 0,-13 13 0,14-13 15,-1-13-15,-12-1 0,-1 14 0,0-14 16,0 1-16,1-1 0,-1-12 16,0 12-16,0-52 15,-13 52-15,0 1 0,13-27 16,-13 27-16,0 12 0,0-25 15,0 25-15,0 1 0,-13 0 16,0 39 0,13-12-16,0-1 15,-13 13-15,13 1 0,-13-1 0,13 1 16,0-1-16,-14 1 0,14-1 16,0 1-16,0-14 0,0 13 0,14 14 15,-14-27-15,13 0 0,0 14 16,0-14-16,0 0 15,1-13-15,-1 0 0,0 0 16,0-13-16,1 13 0,-1-13 16,0 13-16,0-13 0,0 13 15,1 0-15,-14-14 16,26 28 0,-26-1-16,13 0 15,-13 0-15,14 1 16,-14-1-16,13-13 15,-13 13-15,0 0 0,13-13 0,-13 14 16</inkml:trace>
  <inkml:trace contextRef="#ctx0" brushRef="#br0" timeOffset="207759.04">12449 10319 0,'0'0'0,"0"-13"0,-14 13 16</inkml:trace>
  <inkml:trace contextRef="#ctx0" brushRef="#br0" timeOffset="208234.09">12621 10081 0,'-53'225'94,"53"-199"-79,53 27 1,-40-66 0,0-1-16,14 14 0,-14 0 0,0 0 15,0-13-15,0 26 0,1-13 16,-1 0-1,0 14-15,0-1 0,-13 0 16,0 0-16,0 1 16,-13-1-16,0 0 15,0 0-15,13 1 0,-14-1 0,1-13 16,0 13-16,0 0 0,0 0 16,-1-13-16,1 14 0,0-14 0,0 0 15,13 13-15</inkml:trace>
  <inkml:trace contextRef="#ctx0" brushRef="#br0" timeOffset="208422.15">12885 10279 0,'0'0'0,"0"-13"0,0 26 31,0 0-31,0 1 15,0-1-15,0 0 16,0 0-16,0 0 0,0 1 0,0-1 16,0 0-16,0 0 0,0 1 15,0-1 1</inkml:trace>
  <inkml:trace contextRef="#ctx0" brushRef="#br0" timeOffset="208571.02">12898 10200 0,'-13'0'0,"26"0"0,-39 0 16</inkml:trace>
  <inkml:trace contextRef="#ctx0" brushRef="#br0" timeOffset="209102.25">13110 9909 0,'0'0'0,"-13"26"16,13-13-16,0 1 0,-13-1 0,13 13 16,0 1-16,-14-1 0,14 14 0,-13-14 15,13 1-15,0-1 0,-13 1 16,13-14-16,13 0 0,-13 14 0,0-14 16,0 0-16,13 0 0,1 1 15,-1-1-15,13-13 16,-12-13-1,-1 13-15,0 0 16,0 0 0,0 0-1,-13 13 1,14-13-16,-14 13 0,13 0 16,-13 0-16,13 1 15,-13-1 1,13-13-16,-13 13 0</inkml:trace>
  <inkml:trace contextRef="#ctx0" brushRef="#br0" timeOffset="209221.23">13269 10239 0</inkml:trace>
  <inkml:trace contextRef="#ctx0" brushRef="#br0" timeOffset="209462.63">13467 9922 0,'-13'26'16,"13"1"0,0-14-16,0 13 0,0-12 0,0 12 15,0 1-15,0-1 0,0 1 16,0-1-16,13 0 0,-13-12 0,0 12 16,14 1-16,-14-14 0,13 0 0,-13 0 15,13 1-15,-13-1 0</inkml:trace>
  <inkml:trace contextRef="#ctx0" brushRef="#br0" timeOffset="210052.18">13441 10200 0,'40'13'47,"-27"-13"-31,0-13-16,0 13 0,0 0 0,1 0 15,-1 0-15,0-14 0,0 14 0,1 0 16,-1-13-16,0 13 15,0 0 1,-13 13 0,13-13-1,-13 14 1,14-14-16,12-14 16,-13 14-16,1 0 0,-1 0 15,0 0-15,0 0 16,1 0-16,-14 14 0,13-14 15,-13 13-15,13 0 0,-13 0 0,0 1 16,0-1-16,0 13 0,0-12 16,-13 12-16,0 0 0,-1 1 0,1-1 15,0-12-15,0 12 0,13-13 0,-14 1 16,1-1-16,0 0 16,13-39 15,13 12-31,-13 1 0,13 0 0,-13 0 15,14-14-15,-1 27 0,-13-13 16,13 0-16,0-1 0,-13 1 16,14 13-16,-28 27 31,1-27-31</inkml:trace>
  <inkml:trace contextRef="#ctx0" brushRef="#br0" timeOffset="210318.25">12039 10980 0,'-14'0'0,"54"-26"15,-14 13-15,54-14 16,-27 14-16,26-14 0,67 1 15,-80 13-15,13-14 0,1 14 16,-1 0-16,-13 0 0,0 13 16,0-14-16,-13 1 0,0 13 15,-13 0-15,-14 0 0,1 0 0,-14 0 0,0 0 16,0 0-16,1 13 16</inkml:trace>
  <inkml:trace contextRef="#ctx0" brushRef="#br0" timeOffset="210570.16">12131 11060 0,'-53'13'31,"93"-13"-31,-27-13 16,27 13-16,0-14 0,26 1 0,0 0 15,13 0-15,-13-1 0,14 1 16,-14 0-16,13 0 0,-13 0 15,1-1-15,-1 1 0,-13 0 0,-14 0 16,14 13-16,-26-14 0,12 1 16,1 13-16,-27-13 0,0 13 15,14 0-15,-27-13 0,13 13 16</inkml:trace>
  <inkml:trace contextRef="#ctx0" brushRef="#br0" timeOffset="212746.25">13176 11046 0,'0'-13'0,"13"40"31,1-14-31,-1 0 16,13 13-16,1 1 0,13 26 15,-14-27-15,0 1 0,27 26 16,-26-27-16,-1 1 0,1-1 16,-14-13-16,0 1 0,0-1 0,1 0 15,-1 0-15,0 0 0,0 1 0,1-1 16,-1-13-1,-13 13-15</inkml:trace>
  <inkml:trace contextRef="#ctx0" brushRef="#br0" timeOffset="213126.28">13229 11073 0,'0'-13'0,"0"26"0,-13-26 0,13-1 15,-13 41 17,13-14-32,-14 0 15,14 14-15,-13-14 0,13 13 0,-13 1 16,13-14-16,-13 14 0,13-1 0,-13-13 15,13 27-15,-14-14 16</inkml:trace>
  <inkml:trace contextRef="#ctx0" brushRef="#br0" timeOffset="213402.78">13163 11033 0,'13'0'15,"0"13"1,1 1-16,12-14 0,-13 13 16,14 0-16,-1 0 0,-12-13 15,12 13-15,0 1 0,1-1 0,-1-13 16,-12 13-16,12-13 0,-13 13 0,1-13 15,-1 14-15,0-14 0,-13 13 16,13-13-16,0 13 0,1 0 16,-14 1-1</inkml:trace>
  <inkml:trace contextRef="#ctx0" brushRef="#br0" timeOffset="-204912.94">14089 11099 0,'0'0'0,"0"-13"15,-13 39 32,13-12-31,0-1-16,0 0 0,-13 0 15,13 14-15,0-14 16,0 0-16,0 1 0,0-1 16,0 0-16,0 0 0,0 0 0,-14-13 15,14 14-15,0-1 0,0 0 0,0 0 16,0 1 0,14-14-16</inkml:trace>
  <inkml:trace contextRef="#ctx0" brushRef="#br0" timeOffset="-204574.47">14036 11099 0,'0'-26'16,"0"52"-16,13-65 0,1 25 0,-1 1 16,0 0-16,0 13 15,1-13-15,-1 13 0,0 0 0,0 0 16,0 0-16,14 0 16,-27 13-16,13 0 15,-26 0 1,13 1-16,-13-1 0,-1 0 15,1 0-15,13 0 0,-13-13 16,0 14-16,0-1 0,-1 0 16,1-13-16,13 13 0,-13-13 15,13 14-15,-13-1 16</inkml:trace>
  <inkml:trace contextRef="#ctx0" brushRef="#br0" timeOffset="-204055.53">14208 11298 0,'13'-14'0,"1"-12"31,-1 13-31,-13 0 16,0-1-16,0 1 15,0 0 1,-13 13 0,-1 13-1,1 0 1,13 1-16,0-1 16,0 0-1,13-13-15,-13 13 0,14-13 16,-1 0-16,0-13 15,0 13-15,1 0 0,-1 0 16,0 0-16,-13-13 16,13 13-16,0 0 15,1 13-15,-1-13 16,0 13-16,-13 0 31,13-26 16,-13 0-47,14 0 16,-14 0-16,13-1 15,-13 1-15,13 0 0,0 0 0,-13-1 16,13 1-16,1 0 0,-1 0 16,0-1-16,0-12 0</inkml:trace>
  <inkml:trace contextRef="#ctx0" brushRef="#br0" timeOffset="-203378.58">14645 10927 0,'0'27'31,"0"-14"-31,0 0 0,0 0 16,0 14-16,0-14 0,0 14 0,-14 12 16,14-12-16,0 12 15,0 1-15,-13-13 0,13-1 0,0 0 0,0 1 16,-13-1-16,13 1 0,-13-1 0,13-12 15,-13 12-15,-1 0 16,1-12-16,13-1 0,-13 0 0,13 0 16,-13-13-16,13 14 15,0-41 1,13 14 0,-13 0-16,0-1 0,13 1 15,0-13-15,1 13 16,-1-1-16,-13 1 0,13 0 0,0 0 15,0-14-15,1 14 16,-1 13 0,0 0-1,0 0-15,-13 13 16,14 0-16,-1-13 16,0 0-1,0 0-15,1 0 16,-14-13-1,13 0 1,-13 0-16,0-1 16,0 1-16,0 0 31,13 0-31,0 26 31,0-13-15,-13 13-16,14-13 31,-14 13-15,13-26 15,0 0-31,-13 0 16,13 13-16,-13-13 15,14-1-15,-14 1 16,13 13-16,-13-13 15,13 13-15,-13-13 0</inkml:trace>
  <inkml:trace contextRef="#ctx0" brushRef="#br0" timeOffset="-203248.42">15028 11126 0,'0'0'0,"0"-14"16,0 1 15</inkml:trace>
  <inkml:trace contextRef="#ctx0" brushRef="#br0" timeOffset="-201880.57">13375 11681 0,'39'53'16,"-25"-39"0,-1 12-16,0 0 0,0 1 0,1-14 15,-1 14-15,13-1 0,-26-13 16,13 14-16,14 12 0,-27-25 16,13-1-16,0 0 0,-13 0 0,0 1 15,14-14-15,-14 13 0,0 0 16,13-13-16,-13 13 0,0 0 15</inkml:trace>
  <inkml:trace contextRef="#ctx0" brushRef="#br0" timeOffset="-201616.35">13454 11708 0,'-40'13'15,"40"0"1,-13 1-16,0-1 0,0 13 0,13-13 16,-14 1-16,1 12 0,0-13 15,13 14-15,-13-14 0,0 0 16,13 0-16,-14 14 0,14-14 0,-13 0 15,13 1-15,0-1 0,-13 0 16</inkml:trace>
  <inkml:trace contextRef="#ctx0" brushRef="#br0" timeOffset="-201427.58">13295 11721 0,'0'0'0,"14"0"0,-14-13 0,13 13 16,0 0 0,0 0-16,0 13 0,1-13 0,12 0 15,-13 0-15,14 13 0,-14-13 16,14 14-16,-1-14 0,-13 13 16,14 0-16,-1-13 0,-13 13 0</inkml:trace>
  <inkml:trace contextRef="#ctx0" brushRef="#br0" timeOffset="-199798.45">14367 11562 0,'0'0'0,"0"27"47,0-14-32,-13 0-15,13 0 0,0 1 0,0 12 16,0-13-16,0 1 0,0-1 0,0 0 16,0 0-16,-14-13 0</inkml:trace>
  <inkml:trace contextRef="#ctx0" brushRef="#br0" timeOffset="-199474.59">14248 11721 0,'0'27'46,"0"-14"-46,0 0 16,13 0-16,-13 0 16,13 1-16,-13-1 0,14-13 15,-14 13-15,0 0 0,13-13 16,-13 14-16,13-14 16,0 0-1,-13-14-15,13 14 16,1-13-16,-1 26 31,-13 1-15,0-1-16</inkml:trace>
  <inkml:trace contextRef="#ctx0" brushRef="#br0" timeOffset="-199150.77">14142 12144 0,'0'-13'32,"0"40"-17,0-14 1,-13 0-16,13 0 0,0 1 0,0 12 16,0-13-16,-13 0 0,13 1 0,0-1 15,0 0-15,0 0 16,0 1-16</inkml:trace>
  <inkml:trace contextRef="#ctx0" brushRef="#br0" timeOffset="-198828">14407 12118 0,'-14'-13'16,"-12"26"-1,13 0-15,-1-13 16,1 13-16,0-13 0,0 14 16,0-1-16,-1-13 0,1 13 15,13 0-15,-13-13 0,13 14 16,-13-14-16,13 13 0,-14-13 0,14 13 16,0 0-16,0 0 15,0 1-15,0-1 16,14-13-16,-14 13 15,13-13-15,0 13 16,0-13-16,1 0 16,-1 0-1,13 0 1,-26-13-16</inkml:trace>
  <inkml:trace contextRef="#ctx0" brushRef="#br0" timeOffset="-196210.08">14473 12197 0,'-14'14'31,"14"-1"-15,-13 0-16,13 0 15,0 0-15,0 1 0,0-1 16,0 0-1,27-26 17,-27 0-32,13 13 15,-13-14-15,13 14 16,0-13-16,1 13 31,-1 13-15,0-13-16,-13 14 15,13-14-15,-13 13 16,14-13-16,-1 0 16,0 0-1,0 0-15,-13-13 16,13 13-16,1-14 16,-1 1-16,-13 0 31,-13 39 0,13-12-15,0-1-1,0 0-15,13 0 0,0 1 32,0-14-32,1-14 15,-1 14-15,0-13 0,0 0 16,1 0-16,-14-1 15,0 1-15,0 0 16,0 0-16,0 0 16,-14 13-16,1-14 0,0 14 15,0 0-15,-1 0 16,1 0 0,0 0-16,13 14 15,-13-14-15,13 13 0,13 0 31,0-13-15,0 0-16,1 0 0,-1 0 16,0 0-16,-13-13 0,13 13 15,1 0-15,-1-13 16,0 13-16,0 0 0,-13-14 16,13 14-16,1 0 15,-1 14 32,-13-1-31,13-13-1,0 0 1,1 13-16,-1-13 16,-13-13-1,13 13-15,0 0 16,0 0-1,1 0 1,-1 0 0,0 0-1,0 0 1,1 0 0,-14-13-1,13 13 32,0 13-47,0-13 16,1-13 15,-1 13-15,-13-14-1,13 14 1,-13-13-1,0 0 17,0 0-17,13-1 1,-13 1 0,0 0-16,0 0 31,0-1 16,0 1 0,0 0 15,0 0-62,13 13 16,-13-13-16,0-1 15,0 1-15,14 0 0,-14 0 16,0-1-16,0 1 16,13 0-1,-13 0-15,0 39 31,-13-13-15,13 1-16,0-1 0,0 0 16,0 14-16,0-14 0,0 0 0,0 0 15,0 14-15,0-14 0,0 0 0,0 0 16,0 1-16,13-14 0,-13 13 16,0 0-16,13 0 15,0-13-15,1 0 16,-1 0-16,0 0 0,0-13 15,1 13-15,-14-13 0,13 0 0,0 13 16,-13-14-16,13 1 0,0 13 16,-13-13-16,14 13 0,-14-13 15,-14 39 17,1-13-17,13 1 1,0-1-16,13-13 31,1 0-31,-1 0 0,13-13 16,-12-1-1,-1 14-15,0-13 0,0 13 0,1-13 16,-1 13-16,0-13 16,0 13-16,0 0 15,-13 13 1,0 0 15,0 0-31,14-13 16,-14 14-1,13-28-15,0 1 16,0 13 0,-13-13-16,14 0 0,-14-1 15,13 1-15,-13-13 0,0 13 0,0-1 16,13-12-16,-13 13 0,0-1 0,0 1 15,0 0-15,0 0 0,0-1 16,0 1-16,0 0 16,-13 39 15,13-12-31,0-1 0,0 13 16,13-12-16,-13-1 15,0 0-15,13 0 0,-13 1 16,14-14-1,-1 13-15,0-13 16,0 0-16,0 0 16,1 0-16,-1 0 0,0-13 15,0 13 1,1 0-16,-1 0 16,0 0-1,-13 13-15,0 0 16,13-13-1,-13 13-15,-13 0 0,13 1 16,0-1-16,-13 0 16,13 0-1,0-26 32,13 0-31,-13 0-16,13-1 15,-13 1-15,0 40 63,13-14-32,1-13-15,-1 0-1,0-13-15,-53 13 47,27 0-47</inkml:trace>
  <inkml:trace contextRef="#ctx0" brushRef="#br0" timeOffset="-194751.37">13467 12449 0,'27'13'31,"-14"0"-16,-13 0-15,13-13 0,-13 14 0,13-1 16,1 0-16,-14 13 0,13-12 16,0-1-16,-13 0 0,13 0 15,1 1-15,-14-1 0,13 0 0,0 0 16,-13 1-16,13-1 0,0 0 16,1 0-16,-14 0 15,13-13-15,-13 14 16</inkml:trace>
  <inkml:trace contextRef="#ctx0" brushRef="#br0" timeOffset="-194486.68">13586 12475 0,'-13'0'0,"13"-13"16,-13 13 0,0 0-16,13 13 15,-14-13-15,14 13 0,0 1 0,-13-14 16,13 13-16,-13 0 0,0 0 16,13 0-16,-13 1 0,13-1 15,-14 0-15,14 14 0,-13-27 0,13 13 16,-13 0-16,13 0 0,0 1 0,-13-1 15,13 0-15</inkml:trace>
  <inkml:trace contextRef="#ctx0" brushRef="#br0" timeOffset="-194231.78">13441 12409 0,'26'13'15,"-12"0"1,-1 1-16,0-14 0,0 13 16,0 0-16,1 0 0,-1-13 0,0 14 15,0-1-15,1 0 0,-1-13 16,0 13-16,0 0 0,14 1 15,-14-1-15,-13 0 0,13-13 0,0 13 16,1 1-16,-1-14 0,0 13 0,0-13 16</inkml:trace>
  <inkml:trace contextRef="#ctx0" brushRef="#br0" timeOffset="-192514.66">14420 12502 0,'0'-14'32,"-13"28"-17,13-1-15,0 0 16,0 0-16,0 0 0,0 1 16,0-1-16,0 0 0,0 0 15,0 1-15,0-1 16,0 0-16,0 0 0,0 1 0</inkml:trace>
  <inkml:trace contextRef="#ctx0" brushRef="#br0" timeOffset="-192238.53">14314 12607 0,'0'-13'0,"0"40"15,0-14 1,13 0-16,-13 0 16,13 1-16,1-1 15,-1 0-15,0-13 16,0 13-16,1-13 31,-1 0-31,0-13 0,0 13 16,0-13-16,1 13 15,-1 0 1,0 0-16</inkml:trace>
  <inkml:trace contextRef="#ctx0" brushRef="#br0" timeOffset="-191508.43">14235 12951 0,'0'-13'0,"-14"40"32,14-14-32,0 0 15,-13 0-15,13 1 0,0-1 16,0 0-16,-13 0 0,13 0 16,0 1-16,0-1 15,0 0 1,0 0-16,-13-13 0,13 14 15,0-1 1,13-13 0,-13 13-16,13-13 15,0 0-15,1 0 32,12 0-32,-13 0 15,1 0-15,-1-13 16,0 13-16,0 0 15</inkml:trace>
  <inkml:trace contextRef="#ctx0" brushRef="#br0" timeOffset="-190274.42">14248 13070 0,'-13'0'0,"26"0"0,0-13 47,0 13-31,1 0-16,-1 0 0,-13-13 0,13 13 15,0 0-15,-13-13 0,0 0 32,0-1-17,-13 1-15,0 0 16,0 0-1,-1-1 1,14 1-16,14 0 16,-1 13-16,0-13 15,0-1-15,0 14 0,1-13 16,-1 13-16,0-13 0,-13 0 0,13 13 16,1 0-16,-14-13 0,13 13 15,0-14-15,-13 41 31,0-14-15,0 0-16,0 14 16,0-14-16,0 0 0,0 14 0,-13-14 15,13 13-15,0-12 0,0 12 0,0 0 16,0-12-16,0 12 0,-13 1 0,13-14 16,0 13-16,0-13 0,0 1 15,-14-1-15,14 0 0,-13 0 0,13 1 16,0-1-16,-13-13 0,13 13 15,-13-13-15,-1 0 16,1-13 0,13 0-1,13-1-15,1 1 16,-14 0-16,13 0 0,0-14 16,0 14-16,1 0 0,-14-14 15,13 14-15,0-13 0,0-1 0,0 14 16,1-13-16,-1 12 0,0-12 0,-13 13 15,13-1-15,1 1 16,-14 0-16,13 0 0,-13-1 16,13 41 15,-13-14-31,0 0 0,0 1 0,0-1 16,0 13-16,0-12 0,0 12 15,0-13-15,0 14 0,-13-1 0,13 1 16,0-1-16,-13 0 15,13 1-15,-14-1 0,14-12 0,-13 12 16,13-13-16,-13 1 0,13-1 0,-13-13 16,-1-13 15,14-1-31,14 1 16,-14 0-16,13 13 0,-13-13 15,13-1-15,-13 1 0,13 0 16,1-14-16,-1 14 0,0 0 15,-13 0-15,13 0 0,1-1 0,-14 1 16,13 0-16,0 0 0,-13-1 16,13 14-16,-13-13 15,-13 40 48,26-14-63,0-13 15,-13 13 1,14-13 0,-1 0-16,0 13 15,0-13-15,-13 14 16,14-14-16,-14 13 16,0-26 30,13-1-30,-13 1-16,13 0 16,-13 0-16,13 13 15,1-14-15,-14 1 16,13 13-16,0 0 16,-13-13-16,13 13 0,0-13 15,1 13-15,-1-13 0,-13-1 16,13 14-16</inkml:trace>
  <inkml:trace contextRef="#ctx0" brushRef="#br0" timeOffset="-189790.68">14949 12832 0,'0'0'15,"-13"27"17,13-14-32,0 0 0,0 0 15,0 1-15,0-1 16,0 0-16,0 0 0,13 1 0,-13-1 15,0 0-15,0 14 0,0-14 0,0 0 16,0 0-16,0 0 0,-13 1 16,13-1-16,-14 0 15,1-13 1,-13 0 15,39-13-15,0 0-1,0-1-15,1 1 16,-1 0 0,0 13-16,-13-13 0,13 0 15,1-1 1,-14 1-16,13 13 16,0 0-16,0 0 15,1 0-15,-1 13 16,0-13-16,-13 14 15,13-14-15,-13 13 0,13-13 16,-13 13-16,0 0 0,0 0 16,0 1-16,0-1 15,-13-13-15,13 13 0,-13 0 16,0 1 0,0-14-1,-1 13-15</inkml:trace>
  <inkml:trace contextRef="#ctx0" brushRef="#br0" timeOffset="-189650.57">15174 13044 0,'-13'-13'15</inkml:trace>
  <inkml:trace contextRef="#ctx0" brushRef="#br0" timeOffset="-187138.56">13520 13150 0,'13'13'0,"-13"13"0,0-12 16,14-1-16,-14 0 0,13 0 16,-13 14-16,13-14 0,0 14 15,-13-14-15,14 0 0,-1 13 0,0-12 16,-13 12-16,13-13 0,0 1 0,-13-1 16,14 0-16,-14 0 0,13 1 15,-13-1-15,0 0 0,13-13 16,-26 13-1</inkml:trace>
  <inkml:trace contextRef="#ctx0" brushRef="#br0" timeOffset="-185526.76">13018 11046 0,'-27'0'0,"54"0"0,-67 0 16,27 14-16,-1-14 0,1 0 15,-13 13-15,12-13 0,-12 13 16,13-13-16,-14 13 0,14-13 16,0 13-16,0-13 0,13 14 0,-14-1 15,1-13-15,0 13 0,13 0 0,-13-13 16,-1 14-16,14-1 0,-13 13 15,13-12-15,-13-1 0,13 0 0,-13 13 16,13-12-16,-13 12 0,13 1 16,0-1-16,0 1 0,-14-1 0,14 14 15,0-1-15,0 1 0,0 13 16,14 53-16,-14-53 0,0 13 16,0 66-16,0-66 0,0 14 15,0-14-15,0 0 0,0 0 16,0 0-16,0 0 0,0 1 0,0-1 15,0 0-15,0-13 0,0 0 0,-14-14 16,14 14-16,0-13 0,0 0 16,-13-1-16,13 1 0,-13 0 0,13-1 15,-13-12-15,13-1 0,0-12 0,0 12 16,-14-13-16,14 0 0,0 1 16,0-1-16,0 0 15,0 0-15,0 1 16,14-14-16,-14 13 0,13-13 0,13 13 15,-12 0-15,12-13 0,14 14 16,-1-1-16,1 0 0,0 0 0,52 0 16,-52 1-16,13-14 0,0 13 15,-13-13-15,12 13 0,-12-13 16,0 0-16,-14 0 0,1 13 0,-1-13 16,1-13-16,-14 13 0,13 0 0,-12 0 15</inkml:trace>
  <inkml:trace contextRef="#ctx0" brushRef="#br0" timeOffset="-184661.37">10451 12158 0,'0'-14'0,"13"1"31,1 26-31,-1 1 15,0-1-15,0 0 0,-13 14 16,13-14-16,-13 13 0,14-13 16,-14 1-16,0 12 0,0-13 15,0 1-15,13-1 0,-13 0 0,0 0 16,0 0-16,0 1 16,0-41 15,0 14-31,13 0 0,-13 0 15,0-14-15,13 1 0,-13 12 0,14-12 16,-1 0-16,0-1 0,0 1 16,0 12-16,1-12 0,-1 13 15,0-1-15,0 1 16,1 13 0,-1 13-16,-13 1 15,13-1-15</inkml:trace>
  <inkml:trace contextRef="#ctx0" brushRef="#br0" timeOffset="-182872.72">10795 12303 0,'0'-26'0,"0"12"15,0 1-15,0-26 31,0 25-31,0 1 16,-13 40 0,0-14-1,13 0-15,0 0 0,0 0 16,0 1-16,13-1 0,-13 0 16,0 0-16,13 1 0,0-14 15,-13 13-15,13-13 0,1 0 16,-1-13-16,0 13 0,14-27 15,-14 14-15,0 0 0,-13-1 16,13 1-16,1-13 0,-14 13 0,13-14 16,-13 1-16,0-1 0,13-13 0,-13 14 15,0 0-15,0-14 16,0 27-16,0-14 0,0 14 0,0-14 16,0 1-16,0 13 0,-13 39 46,13-13-46,0 14 0,0-14 0,0 14 16,0-1-16,0 1 0,13-1 16,-13-13-16,0 14 0,13-14 0,-13 13 15,13-12-15,-13-1 0,14 0 16,-1 0-16,0 1 0,-13-1 0,13-13 16,1 0-16,-1 0 0,0 13 0,13-26 15,-12 13-15,-1 0 0,0 0 16,0-13-16,1 13 0,-1-14 15,0 1-15,0 0 0,-13 0 16,14 13-16,-14-14 0,0 1 16,-14 0-1,1 26 17,0 0-32,13 1 0,0-1 15,-13-13-15,13 13 0,0 0 16,0 1-1,0-1-15,13-13 16,13-13 0,-12-1-1,-1 1 1,0 0-16,0 0 16,-13-1-1,13 14 1,1 14-1,-1-14-15,0 13 16,0-13-16,-13 13 16,14-13-16,-14 13 15,13-13-15,0 0 16,-13 14 0,13-28-1,-13 1 1,14 0-16,-14 0 15,0-1-15,13 1 16,-13 0-16,13 0 16,0-1-1,0 14-15,-13-13 0,14 13 16,-1 0-16,0-13 16,0 13-16,1-13 0,-1 13 15,0 0-15,0-13 16,1 13-16,-1 0 31,0-14-31,-26 41 47,13-14-31,-13 0-16,13 0 15,0 1-15,0-1 31,0 0-31,13-13 16,0-13 0,0 13-1,-13-13-15,13-1 16,-13 1-16,14 13 16,-14-13-16,0 0 15,13 13-15,-13-13 16,13 26 15,0-13-15,-13 13-16,14-13 0,-14 13 15,0 0-15,13-13 0,-13 14 16,13-1 0,0-13-1,1 0 1,-1-13 15,0 13-31,0 0 16,0-14-1,1 14-15,-1-13 16,0 13 0,0-13-16,1 0 15,-1 13-15,-13-13 0,13 13 16,0-14-16,-13 1 0,13 13 15,1-13-15,-14 0 0,13-1 0,0 1 16,-13 0-16,0 0 16,13 13-16,-13-14 15,-13 41 32,13-14-31,13-13-16,-13 13 15,14 1-15,-1-14 0,0 0 16,0-14 0,1 14-16,-1-13 15,0 13-15,0-13 16,0 13 15,1 0-31,-1 0 16,0-13-1,0 13-15,1-14 16</inkml:trace>
  <inkml:trace contextRef="#ctx0" brushRef="#br0" timeOffset="-181956.83">12224 11681 0,'-13'40'16,"13"-27"-1,0 1-15,13-1 16,-13 0-16,13 0 16,-13 0-16,13-13 15,-13 14-15,13-14 0,1 0 16,-14-14-1,13 14-15,-13-13 16,0 0-16,0 0 0,0 0 16,0-1-16,0 1 15,-13 0-15,13 0 16,0-1-16,0 41 47,0-1-32,13-26-15,-13 14 0,0-1 16,0 0-16,13-13 0,-13 13 0,0 0 16,13-13-16,-13 14 15,0-1-15,14 0 16,-1 0 0,0-26 15,0 13-31,-13-13 15,13 0-15,-13-1 16,14 14-16,-14-13 0,0 0 16,13 0-16,-13 0 0,0-1 15,13 14-15,-13-13 0,0 0 0,0 0 0,0-1 16,13 1-16,-13 0 16,0 0-1,0 52 16,0-25-15,0-1-16,0 0 0,-13 0 0,13 14 16,-13-1-16,13-13 0,0 14 0,-13-1 15,13 1-15,-14-14 0,14 13 16,-13-12-16,13-1 0,0 0 16,0 0-16,13-26 31,1 0-31,-1 0 0,0-1 15,0 1-15,-13-13 0,14 13 16,-1-14-16,0 14 0,-13 0 0,13-1 16,-13 1-16</inkml:trace>
  <inkml:trace contextRef="#ctx0" brushRef="#br0" timeOffset="-181049.7">11112 12965 0,'0'-14'16,"27"-25"-1,-27 25-15,0-12 16,0 0-16,13 12 0,-13-12 15,0 13-15,0-14 0,0 1 16,0-1-16,0 14 0,0-13 16,0 12-16,0 1 0,0 0 0,0 0 15,0-1 1,0 41 0,0-14-1,0 0-15,0 14 0,0-14 16,0 0-16,13 0 0,-13 1 15,0-1-15,14 0 0,-14 0 0,13 1 16,-13-1-16,13-13 0,-13 13 0,13-13 0,1 13 16,-1-13-1,0-13-15,0 0 16,0 0-16,-13-1 0,14 1 16,-14 0-16,0 0 0,0-14 0,0 14 15,13 0-15,-13-14 0,0 14 16,0 0-16,-13 0 0,13-1 0,0 1 15,0 0-15,0 0 0,0-1 16,0 1 0,-14 40-1,14-14-15,0 0 16,0 0-16,0 1 16,0-1-16,14 0 0,-14 0 15,0 1-15,13-1 0,-13 0 16,13 0-16,0 0 15,1 1-15,-1-1 16,0-13 0,0 0-16,1 0 31,-54 0-15</inkml:trace>
  <inkml:trace contextRef="#ctx0" brushRef="#br0" timeOffset="-180883.76">11112 12740 0,'0'0'0,"-13"0"0,26-27 31,1 14-15,-1 13-16,0-13 0,0 13 0,14-13 16,-14 13-16,0-14 0,1 14 15,12-13-15,-13 13 0,0 0 16,1 0-16,-1 0 0,0 0 0,0 0 15,1 0-15</inkml:trace>
  <inkml:trace contextRef="#ctx0" brushRef="#br0" timeOffset="-180432.8">11377 12726 0,'0'-13'31,"13"26"16,1-13-47,-1 14 16,13-28-1,-13 14-15,1-13 16,-1 13-16,-13-13 0,26 0 16,-12 0-16,-1 13 0,0-14 0,-13 1 15,0 0-15,13 0 0,-13-1 16,0 1-16,0 0 16,-13 26 15,13 0-16,0 1-15,0-1 16,13-13-16,-13 13 0,14-13 16,-1 0-16,-13 13 15,13-13-15,0 0 0,0 0 16,1 0-16,-1 0 0,0 0 0,0 0 16,1 0-16</inkml:trace>
  <inkml:trace contextRef="#ctx0" brushRef="#br0" timeOffset="-179562.54">11311 13070 0,'13'0'0,"-13"-13"0,13 13 32,-39 13-1,13 1-31,13-1 15,0 0-15,0 0 16,0 1-16,13-1 0,-13 0 0,0 0 16,0 0-16,13 1 0,-13-1 15,13 0-15,1 0 16,-14 1-16,0-1 0,13 0 16,-13 0-16,-13 1 15,-1-1 1,1-13-16,13 13 15,-13-13-15,0 0 0,-1 0 16,1 0-16,13-13 31,13 0-31,-13-1 16,14 1-16,-14 0 0,13 13 16,-13-13-16,13 13 0,-13-14 15,13 14-15,-13-13 0,14 13 16,-1 13-1,0-13 1,0 0-16,-13 14 0,14-14 16,12 0-16,-13 0 15,0-14-15,1 14 16,-1-13-16,0 13 0,0-13 16,1 0-16,-14-1 0,13 1 15,-13 0-15,0 0 16,-13 13-16,13-13 15,-14 13-15,14-14 0,-13 14 16,0 0-16,0 0 0,-14 0 16,14 0-16,0 0 15,0 14-15</inkml:trace>
  <inkml:trace contextRef="#ctx0" brushRef="#br0" timeOffset="-179238.71">11576 12938 0,'13'13'31,"0"1"-31,0-14 0,-13 13 16,13 0-16,-13 0 0,0 1 15,14-14-15,-14 26 0,13-26 16,-13 13-1,13-13-15,0 0 16,1 0-16,-1 0 16,0 0-1,0 0 1,1 0-16,-14 13 16,13-13-16,0 14 15,-13-1 1,-13 0-16,0 0 15,-1-13-15,1 0 16,0 14-16</inkml:trace>
  <inkml:trace contextRef="#ctx0" brushRef="#br0" timeOffset="-179017.85">11258 13018 0,'26'-14'16,"-52"28"-16,66-28 0,-27 1 0,0 13 15,0-13-15,1 13 0,-1 0 16,0 0-16</inkml:trace>
  <inkml:trace contextRef="#ctx0" brushRef="#br0" timeOffset="-178515.84">11351 13004 0,'-14'0'0,"1"0"16,0 0-1,0 0-15,-1 14 0,1-14 16,0 0-16,0 13 0,0-13 0,-1 13 16,1-13-16,0 13 0,0-13 15,-14 13-15,14 1 0,0-14 0,-1 0 16,14 13-16,-13-13 0</inkml:trace>
  <inkml:trace contextRef="#ctx0" brushRef="#br0" timeOffset="-175038.34">14446 10081 0,'27'0'16,"-14"0"-16,0 0 0,0-14 16,14 14-16,-14 0 0,14-13 0,-14 13 15,13 0-15,-13-13 0</inkml:trace>
  <inkml:trace contextRef="#ctx0" brushRef="#br0" timeOffset="-174771.6">14618 9842 0,'13'0'0,"1"14"15,-1-14-15,-13 13 0,13 0 16,0 0-16,1 1 0,-1-1 0,13 40 16,-12-40-16,-14 13 15,13-12-15,-13-1 0,0 0 16,-13 14-16,13-14 0,0 0 0,-14 14 16,1-14-16,0 13 0,0-13 15,13 1-15,-14-14 0,1 13 0,0 0 16,0 0-16</inkml:trace>
  <inkml:trace contextRef="#ctx0" brushRef="#br0" timeOffset="-174106.82">15491 9551 0,'-13'14'32,"13"-1"-32,0 0 0,-13 14 15,13-14-15,0 13 0,-13 1 0,13 12 16,0-12-16,0-1 0,0 1 16,0-14-16,0 13 0,0 14 15,0-27-15,13 14 0,-13-14 0,13 0 16,0 1-16,1-1 15,-1-13-15,0 0 16,0-13-16,1-1 16,-14 1-16,13 0 0,-13 0 15,0-1-15,-13 1 16,13 0-16,0 0 16,-14 13-16,1-14 0,0 14 15,0 0 1,-1 0-1,14 14-15,-13-14 0</inkml:trace>
  <inkml:trace contextRef="#ctx0" brushRef="#br0" timeOffset="-173778.75">15729 9710 0,'14'-13'0,"-14"39"47,0-12-47,0-1 16,0 0-16,0 0 0,13 14 15,-13-14-15,13 0 16,0 0-16,1-13 0,-1 14 16,13-14-16,-12 0 0,-1 0 15,0 0-15,0 0 16,-13-14-16,13 14 0,1-13 15,-14 0-15,-14 0 0,14 0 16,0-1-16,-13 1 0,0 0 16,0 0-16,0 13 0,13-14 15,-14 1-15,1 13 0,0 0 0,0-13 0,-1 13 16,1 0-16,-13 13 16,12-13-16,1 0 0</inkml:trace>
  <inkml:trace contextRef="#ctx0" brushRef="#br0" timeOffset="-173564.62">16219 9512 0,'13'-13'0,"-26"26"0,39-26 0,-12 13 31,-14 13-31,0 0 0,0 0 16,-14 0-16,14 1 0,0 12 15,-13-13-15,0 14 0,13-1 0,-13 1 16,-1-1-16,1 1 0,13-1 0,-13-13 16,0 14-16,13-1 0,-13-13 15,-1 1-15,14-1 0,-13 13 0,0-26 16,13 14-16,-13-1 0</inkml:trace>
  <inkml:trace contextRef="#ctx0" brushRef="#br0" timeOffset="-173418.63">15954 9697 0,'0'0'15,"-13"-13"-15,13 0 0,13-1 32</inkml:trace>
  <inkml:trace contextRef="#ctx0" brushRef="#br0" timeOffset="-173274.81">16272 9750 0,'13'0'0,"-26"0"0,39 0 16,-12-13 0,-1 13-1,0-14-15,0 14 16</inkml:trace>
  <inkml:trace contextRef="#ctx0" brushRef="#br0" timeOffset="-172436.36">16722 9578 0,'0'0'0,"26"-13"16,54-14-1,-54 27 1,14-13-16,-14 13 0,14-13 0,-1 13 16,-12 0-16,-1 0 0,14-13 0,-13 13 15,-14 0-15,13 0 0,-13 0 16,1 0-16,-1-14 0,0 14 0,0 0 16</inkml:trace>
  <inkml:trace contextRef="#ctx0" brushRef="#br0" timeOffset="-172162.05">16947 9340 0,'39'0'16,"-26"0"-1,14 0-15,-14 13 0,14-13 0,-1 0 16,1 13-16,-14-13 0,13 13 0,1 1 15,-14-14-15,13 13 0,-12 0 16,-1 0-16,0 1 0,-13-1 0,13 0 16,-13 0-16,0 1 0,-13-1 0,13 0 15,-13 0-15,0 0 0,-14 14 0,1-14 16,-1 14-16,1-14 0,13 0 16,-14 0-16,14 1 0,-27-1 0,27 0 15,0-13-15,-14 13 0</inkml:trace>
  <inkml:trace contextRef="#ctx0" brushRef="#br0" timeOffset="-169505.81">11073 12475 0,'79'-26'0,"-158"52"0,198-79 0,-79 40 15,12-14-15,1 14 0,0-13 0,0 13 16,40-27-16,-53 13 16,-1 14-16,1 0 0,-14 13 0,1-13 15,-14 13-15,0-13 0,14 13 0,-14 0 16,0 0-16,0 0 15</inkml:trace>
  <inkml:trace contextRef="#ctx0" brushRef="#br0" timeOffset="-169267.57">10980 12515 0,'132'-40'32,"-79"27"-32,0 0 0,0-1 15,13 1-15,-13-13 0,0 12 0,-13 14 0,13-13 16,-13 0-16,-1 0 16,1 13-16,-14 0 0,1-13 0,-1 13 15,14 0-15,-27 0 0,0 0 16,1 13-16,-1-13 15</inkml:trace>
  <inkml:trace contextRef="#ctx0" brushRef="#br0" timeOffset="-168450.89">9512 12938 0,'-13'13'16,"26"-26"-16,-26 40 0,13-14 0,0 0 15,0 0 1,39 27-1,-12-40 1,-14 0-16,0 0 0,0 0 0,14 0 16,-14 0-16,14-13 0,-1 0 15,-13-1-15,14 1 0,-14 0 0,13 0 16,-12-14-16,-1 14 0,-13 0 16,0-1-16,0 1 0,0 0 15,-13 0-15,13 0 0,-14 13 0,1-14 16,0 14-16,0-13 0,-1 13 0,1 0 15,-13 0-15,13 13 0,-14-13 16,14 14-16,-14-14 0,14 13 16,0 0-16,0 0 0,-27 0 15,40 1-15,-13-14 0,13 13 16</inkml:trace>
  <inkml:trace contextRef="#ctx0" brushRef="#br0" timeOffset="-168193.66">10253 12594 0,'0'-13'15,"0"26"-15,0 0 16,0 1-1,-14 12-15,14-13 0,-13 14 16,13-1-16,-13 1 0,0 12 0,-1 1 16,1-13-16,13-1 0,-13 0 15,13 1-15,-13-14 0,0 27 16,-1-27-16</inkml:trace>
  <inkml:trace contextRef="#ctx0" brushRef="#br0" timeOffset="-168077.72">9909 12700 0,'13'-13'0</inkml:trace>
  <inkml:trace contextRef="#ctx0" brushRef="#br0" timeOffset="-167951.84">10372 12766 0,'13'0'31</inkml:trace>
  <inkml:trace contextRef="#ctx0" brushRef="#br0" timeOffset="-141142.87">2686 2474 0,'0'0'16,"-27"0"-16,14 0 16,39-13 15,-12 13-31,25 0 0,-12 0 15,26 0-15,0-14 0,26 14 0,0-13 16,1 13-16,12-13 0,-12 0 0,12 13 16,1-14-16,-1 14 0,1-13 15,0 13-15,-14-13 0,14 13 0,-27-13 16,13 13-16,-26 0 0,0 0 0,0-13 16,-13 13-16,-14 0 0,0 0 15,1 0-15,-14 0 0,14 0 16,-14 13-16</inkml:trace>
  <inkml:trace contextRef="#ctx0" brushRef="#br0" timeOffset="-140879.64">3307 2580 0,'-26'0'0,"52"0"0,1 0 31,-1 0-31,14-14 0,13 14 16,0-13-16,26 13 0,-13-13 16,14 13-16,-14-13 0,13 13 15,-13 0-15,67-13 0,-80 13 16,-1-14-16,15 14 0,-15 0 0,1 0 16,-13 0-16,13-13 0,-13 13 15,-1 0-15,14 0 0,-13 0 0,0-13 16,-1 13-16,14 0 0,-13-13 15,13 13-15,0 0 0,0-14 0</inkml:trace>
  <inkml:trace contextRef="#ctx0" brushRef="#br0" timeOffset="-140506.97">5728 2421 0,'0'0'0,"-13"0"0,39 0 31,1 0-31,13 0 0,-1 0 16,14 0-16,0 13 0,26-13 0,-12 0 15,12 0-15,-26 13 0,13-13 0,-13 0 16,13 0-16,-13 0 0,0 14 0,-13-14 16,13 0-16,-27 0 0,1 0 15,-1 0-15,0 0 0,1 0 0,-1 0 16,-12 0-16,-1 0 0,0 0 15</inkml:trace>
  <inkml:trace contextRef="#ctx0" brushRef="#br0" timeOffset="-140242.85">5649 2593 0,'26'0'0,"-12"0"0,25 0 16,14 0-16,13-13 0,14 13 0,-1 0 16,0-14-16,14 14 0,-14 0 15,1-13-15,-1 13 0,1 0 0,-14 0 0,0-13 16,-13 13-16,0 0 0,-14-13 16,1 13-16,0 0 0,-14 0 0,1 0 15,-14-13-15,13 13 0,-12 0 16,-1 0-16,0 0 15,-39 13 1</inkml:trace>
  <inkml:trace contextRef="#ctx0" brushRef="#br0" timeOffset="-136811.65">7395 4511 0,'0'0'0,"0"-13"16,-13 0-16,13-1 15,13 41 17,-13-14-17,13 0-15,-13 14 0,0-14 0,14 14 16,-14-14-16,0 13 0,0 1 0,0-14 15,0 27-15,13-14 16,-13-13-16,0 0 0,0 1 0,-13 12 16,13-13-16,0 1 0,0-1 0,0 0 15,0 0 1,0 1 0</inkml:trace>
  <inkml:trace contextRef="#ctx0" brushRef="#br0" timeOffset="-136527.84">7633 4445 0,'0'-13'31,"0"39"-15,0-13-1,0 1-15,0-1 0,13 13 16,-13-12-16,0 12 0,0-13 0,0 1 16,0 12-16,0-13 0,14 0 15,-14 1-15,0 12 0,0-13 0,0 1 16,0-1-16,0 0 0,0 0 16,0 0-16,13 1 15</inkml:trace>
  <inkml:trace contextRef="#ctx0" brushRef="#br0" timeOffset="-136285.98">7369 4776 0,'13'-14'31,"0"14"-31,0 0 16,1 0-16,-1-13 0,0 13 15,0 0-15,0 0 0,1-13 16,-1 13-16,13 0 0,-12 0 0,12-13 16,-13 13-16,1 0 0,-1 0 15,0 0-15</inkml:trace>
  <inkml:trace contextRef="#ctx0" brushRef="#br0" timeOffset="-135832.87">8215 4538 0,'-13'0'0,"40"-14"32,-14 14-32,0 0 15,0-13-15,0 13 0,14 0 16,-14 0-16,0-13 0,1 13 16,-1 0-16,0 0 0,14 0 0,-14-13 15,0 13-15,0 0 0,0 0 16,1 0-16,-1 0 15,0-14-15,0 14 16,1-13 15</inkml:trace>
  <inkml:trace contextRef="#ctx0" brushRef="#br0" timeOffset="-135434.75">8453 4339 0,'27'13'47,"-14"-13"-47,0 0 16,1 14-16,-1-14 15,0 0-15,13 0 0,-12 0 0,-1 0 0,0 13 16,0-13-16,1 0 0,-1 0 0,0 0 16,0 0-16,1 13 15,-1-13-15,0 13 16,0-13-16,-13 14 0,0-1 15,0 0 1,-13 0-16,0 0 16,13 1-16,-13-1 0,-1 0 0,1 0 15,0 14-15,0-14 0,-1 0 16,-12 14-16,13-14 0,13 0 16,-14 0-16</inkml:trace>
  <inkml:trace contextRef="#ctx0" brushRef="#br0" timeOffset="-134774">7435 5450 0,'26'0'31,"-13"-13"-31,1 13 16,-1 0-16,13 0 0,-12-13 15,12 13-15,1 0 0,-1-13 16,0 13-16,-12-13 0,12 13 0,1-14 16,-1 14-16,-13-13 0,14 13 0,-14-13 15,0 0-15,0 13 0,1-14 16,-1 14-16,-13-13 0</inkml:trace>
  <inkml:trace contextRef="#ctx0" brushRef="#br0" timeOffset="-134518.89">7713 5278 0,'-27'0'0,"54"0"0,-54 14 0,14-14 16,13 13-16,-13 0 15,13 0-15,0 1 0,-14 12 0,14-13 16,0 14-16,-13-1 0,13 1 15,0-14-15,0 27 0,0-14 0,-13-13 16,13 14-16,0-1 0,0 1 0,0-14 16,0 13-16,-13-12 0,13 12 15,0-13-15,0 0 0,0 1 0,0-1 16,0 0-16,0 0 0,0 1 16,0-1-1,26-26 1,-13-1-16</inkml:trace>
  <inkml:trace contextRef="#ctx0" brushRef="#br0" timeOffset="-134175.04">8295 5583 0,'-14'13'0,"41"-26"31,-14 13-16,14 0-15,-14 0 0,0-14 0,40 14 16,-27-13-16,-12 13 0,12 0 16,1-13-16,-1 13 0,-13 0 0,14-13 15,-14 13-15,0-13 0,14 13 16,-14-14-16,0 14 16,0-13-16,1 13 15</inkml:trace>
  <inkml:trace contextRef="#ctx0" brushRef="#br0" timeOffset="-133735.97">8493 5345 0,'27'0'47,"-14"0"-47,0 0 16,0 0-16,0 0 15,1 13-15,12-13 0,-13 0 0,14 0 16,-14 0-16,0 13 0,14-13 16,-14 0-1,0 0-15,-13 13 0,13-13 0,1 0 16,-1 0-16,0 14 15,0-14-15,1 0 16,-1 0-16,0 13 16,0-13-1,-13 13 1,-13 0 0,13 0-16,-13 1 15,0 12-15,-1-13 0,1 14 0,-13 12 16,-1-12-16,14-1 0,-27 27 15,14-13-15,-1 0 0,1-1 0,-27 41 16,27-41-16,12 1 0,-12-13 16</inkml:trace>
  <inkml:trace contextRef="#ctx0" brushRef="#br0" timeOffset="-129304.61">9287 4233 0,'0'27'47,"0"-14"-47,0 0 16,0 0-16,-13-13 0,13 14 0,0-1 15,0 0-15,0 0 16,0 14-16,0-14 0,0 0 16,0 1-16,0 12 15,0-13 1,0 0 0,13-13-16</inkml:trace>
  <inkml:trace contextRef="#ctx0" brushRef="#br0" timeOffset="-128798.08">9234 4286 0,'0'0'0,"0"-13"0,-13 13 16,13-13-16,0 0 15,0-1 1,0 1-16,13 13 0,-13-13 16,13 0-16,0-1 0,1 14 15,-1-13-15,0 13 0,14-13 16,-14 13-16,0 0 0,0 0 16,0 0-16,1 0 0,12 0 0,-13 13 15,1-13-15,-1 0 16,-13 13-16,13 1 15,-26-1 1,13 0-16,-13 0 0,-1-13 0,1 14 16,0-14-16,0 13 15,-1-13-15,1 0 0,0 13 16,0-13-16,13 13 0,-13-13 16</inkml:trace>
  <inkml:trace contextRef="#ctx0" brushRef="#br0" timeOffset="-128191.14">9049 4128 0,'0'0'0,"0"-14"16,-13 14-16,-1 14 0,14-1 16,-13 0-16,13 13 15,-13 1-15,13 13 0,0-14 16,0 0-16,0 27 15,0-26-15,13-1 0,0 14 16,1-27-16,-1 14 0,13-1 16,-13-26-16,27 13 15,-13-13-15,-14 0 0,40 0 16,-40-13-16,13 13 0</inkml:trace>
  <inkml:trace contextRef="#ctx0" brushRef="#br0" timeOffset="-127890.84">9419 3942 0,'27'40'31,"-14"-27"-31,0 14 16,0-1-16,1 14 0,25 52 15,-39-52-15,13-13 16,-13-1-16,0 0 0,0 1 0,0 13 16,0-27-16,0 13 0,-13 14 15,13-14-15,0-12 0,-13-1 16,13 13-16,-13-12 15</inkml:trace>
  <inkml:trace contextRef="#ctx0" brushRef="#br0" timeOffset="-127509.8">9393 5239 0,'-14'39'31,"14"-25"-31,0-1 0,0 13 0,0-12 16,0 12-16,0-13 0,0 14 16,0-1-16,0-13 15,0 1-15,0-1 0,0 0 0,0 0 16,0 1-16</inkml:trace>
  <inkml:trace contextRef="#ctx0" brushRef="#br0" timeOffset="-127256.52">9300 5226 0,'0'-14'15,"0"28"-15,13-41 0,1 14 16,12 13 0,-13 13-16,0-13 15,-13 13-15,14-13 0,-14 14 0,13-1 16,-13 0-16,0 0 0,0 0 0,-13 1 16,13-1-16,-14 13 0,14-12 15,-13-1-15,-13 27 0,13-27 16,-1 0-16,1 0 0,0 0 15,0-13-15</inkml:trace>
  <inkml:trace contextRef="#ctx0" brushRef="#br0" timeOffset="-127039.93">9088 5159 0,'-26'27'0,"13"-14"15,13 0-15,-13 1 0,13-1 0,-14 13 16,14 1-16,0-1 0,0 1 16,0-1-16,0 1 0,0 12 0,14 1 15,12 13-15,-13-14 0,0-25 16,1 12-16,-1-13 0,0 1 16,0-1-16,14 0 0,-14-13 0,14 0 15,-14 13-15,0-26 0</inkml:trace>
  <inkml:trace contextRef="#ctx0" brushRef="#br0" timeOffset="-126794.12">9591 5014 0,'13'0'0,"1"13"0,-1 0 0,-13 1 15,13 12-15,0-13 0,1 14 0,-1-1 16,0 1-16,-13-1 0,0 1 16,0-1-16,13 14 0,-13-14 15,-13-13-15,13 14 0,0-1 0,-13 1 16,13-14-16,0 0 0,0 0 0,0 1 16</inkml:trace>
  <inkml:trace contextRef="#ctx0" brushRef="#br0" timeOffset="-126539.91">10001 4326 0,'27'-13'0,"39"-1"31,-53 14-31,0 0 0</inkml:trace>
  <inkml:trace contextRef="#ctx0" brushRef="#br0" timeOffset="-126350.99">9922 4511 0,'26'0'16,"-12"0"-1,-1 0-15,0 0 0,0-13 0,0 13 16,14 0-16,-14 0 0,0 0 0,14 0 16</inkml:trace>
  <inkml:trace contextRef="#ctx0" brushRef="#br0" timeOffset="-126060.56">10200 5186 0,'26'-27'16,"-13"27"-16,1 0 15,-1-13-15,13 13 0,-12 0 16,-1 0-16,0 0 0,0 0 0,-13-13 16</inkml:trace>
  <inkml:trace contextRef="#ctx0" brushRef="#br0" timeOffset="-125884.06">10213 5318 0,'13'0'16,"14"0"-16,-14 0 0,0-13 15,0 13-15,1 0 0,12-13 16,-13 13-16,0-14 0,1 14 15,-1 0-15</inkml:trace>
  <inkml:trace contextRef="#ctx0" brushRef="#br0" timeOffset="-125051.83">9962 4313 0,'13'-14'16,"0"14"-16,0-13 0,0 13 15,1-13-15,-1 13 0,0 0 0,0-13 16,1 13-16,-1 0 0,0 0 16,0-13-16,1 13 0</inkml:trace>
  <inkml:trace contextRef="#ctx0" brushRef="#br0" timeOffset="-124806.87">9988 4458 0,'13'0'0,"27"-13"16,-27 13-16,0 0 15,1-13-15,-1 13 16,0 0-16,0 0 0</inkml:trace>
  <inkml:trace contextRef="#ctx0" brushRef="#br0" timeOffset="-122514.89">11112 3717 0,'-13'27'16,"13"-14"-16,0 0 15,0 1-15,-13-1 0,13 13 16,0 1-16,-13-14 0,13 13 16,-13-12-16,13 12 0,0-13 0,-14 1 15,14 12-15,-13-13 0,13 0 16,0 1-16,0-1 0</inkml:trace>
  <inkml:trace contextRef="#ctx0" brushRef="#br0" timeOffset="-122292.65">11324 3797 0,'-26'39'31,"12"-25"-31,-25 25 16,12-12-16,14-1 0,-13 14 15,-1-14-15,14 1 0,-14-1 16,14 1-16,-13-1 0,13 1 0,-27 12 16,40-25-16,-13-1 15,-1 0-15,14 0 0</inkml:trace>
  <inkml:trace contextRef="#ctx0" brushRef="#br0" timeOffset="-121922.87">11192 4194 0,'13'0'0,"0"0"15,-13 13-15,0 0 16,0 0-16,-13 1 0,13-1 16,-13 0-16,0 13 0,13-12 15,-27 12-15,27-13 0,-13 1 0,13-1 16,-13 0-16,13 0 15,0 1 1,13-14-16,13-14 16,-12 14-1,12-13-15,-13 13 0,14-13 0,-14 13 16,13-13-16,14-1 0,-27 14 16,14-13-16,-14 13 0,0-13 0</inkml:trace>
  <inkml:trace contextRef="#ctx0" brushRef="#br0" timeOffset="-121315.97">11073 4974 0,'0'27'15,"0"-14"-15,-13 13 16,13-12-16,0-1 0,0 13 0,0-13 16,0 14-16,0-14 0,0 0 15,13 14-15,-13-14 0,0 0 0,0 1 16,0-1-16</inkml:trace>
  <inkml:trace contextRef="#ctx0" brushRef="#br0" timeOffset="-121109.89">11324 5054 0,'-13'13'16,"0"0"-16,-1 0 0,1 0 16,0 14-16,-27 26 0,14-27 15,13 14-15,-14-14 0,14 1 16,-14 13-16,14-14 0,-26 40 15,12-26-15,14-14 0,0 1 16,-1 12-16,1-25 0,0 25 16</inkml:trace>
  <inkml:trace contextRef="#ctx0" brushRef="#br0" timeOffset="-120749.83">11298 5503 0,'0'0'0,"13"0"0,0 0 16,-13 27-1,-13-1 1,13-13-16,-13 1 0,13 12 15,-14 1-15,1-14 0,0 13 0,13-12 16,-13-1-16,0 0 0,13 13 0,-14-26 16,14 14-16,-13-1 0,13 0 15,0 0 1,0 1-16,13-14 16,1 0-16,-1 0 15,13 0-15,-13 0 0,1-14 16,-1 14-16,0-13 0,0 13 15,1-13-15</inkml:trace>
  <inkml:trace contextRef="#ctx0" brushRef="#br0" timeOffset="-120239.08">11893 4048 0,'26'0'0,"-26"-13"16,14 13-16,-1 0 0,0 0 15,0-13-15,1 13 0,-1 0 0,0 0 16,14-14-16,-14 14 0</inkml:trace>
  <inkml:trace contextRef="#ctx0" brushRef="#br0" timeOffset="-120064.02">11933 4194 0,'-14'13'15,"28"-26"-15,12 13 47,-13 0-47,1 0 16,-1-14-16,13 14 0,-12 0 0,12-13 16</inkml:trace>
  <inkml:trace contextRef="#ctx0" brushRef="#br0" timeOffset="-119622.89">12779 3823 0,'-13'0'0,"0"0"16,0 0-16,13 13 16,-14-13-16,1 14 0,0-1 0,13 0 15,0 0-15,-13 1 0,13-1 16,0 0-16,0 0 0,0 1 16,13-1-16,-13 0 0,13 0 15,0-13-15,1 13 0,-1-13 0,13 0 16,-12 14-16,-1-28 0,0 14 15,0 0-15,1 0 0,-1-13 16,0 13-16,0-13 0,0 0 16,-13 0-16,0-1 15,0 1-15,0 0 0,0 0 16,0-1-16,-13 1 0,13 0 0,-13 0 16,13-1-16,-13 1 15,13 0-15,-13 13 16,-1-13-16,1 26 15,0-13-15,0 13 16</inkml:trace>
  <inkml:trace contextRef="#ctx0" brushRef="#br0" timeOffset="-119466.77">13018 3863 0</inkml:trace>
  <inkml:trace contextRef="#ctx0" brushRef="#br0" timeOffset="-119059.77">13309 3757 0,'-14'0'16,"-39"13"15,40-13-31,0 14 0,0-1 16,26 0 0,-13 0-16,13 0 15,0-13-15,-13 14 0,14-14 0,-14 13 16,13-13-16,-13 13 0,13 0 15,-13 1-15,0-1 16,-13 0 0,0 0-16,-1 1 0,1-1 15,0-13-15,0 13 0,-1 0 0,1-13 16,0 13-16,0 1 0,0-14 16,-1 13-16</inkml:trace>
  <inkml:trace contextRef="#ctx0" brushRef="#br0" timeOffset="-118615.04">11893 4908 0,'66'-13'31,"-53"0"-31,14 13 0,-14 0 15,14 0-15,-14 0 0,0 0 0,0 0 16,0 0-16,1 0 0,-1 13 16</inkml:trace>
  <inkml:trace contextRef="#ctx0" brushRef="#br0" timeOffset="-118442.89">11972 5054 0,'-13'0'0,"13"13"16,27-26 15,-14 13-15,0 0-16,0 0 0,14-14 15,-14 14-15,13-13 0,1 13 0,-1-13 16,1 13-16,-14-13 0</inkml:trace>
  <inkml:trace contextRef="#ctx0" brushRef="#br0" timeOffset="-118099.62">12515 4842 0,'-27'0'31,"14"13"-31,13 0 16,0 1-16,-13-14 0,13 26 16,0-13-16,0 0 15,13 1-15,-13-1 0,13 0 16,1-13-16,-14 13 0,13-13 0,0 14 15,0-14-15,0 0 0,14 0 0,-14 0 16,0 0-16,1 0 0,-1-14 16,0 14-16,0-13 0,1 0 15,-14 0-15,0-1 16,0 1-16,-14 0 0,14 0 16,-13 0-16,0-1 0,0 1 15,-1 0-15,1 13 0,13-13 0,-13 13 16,-14 0-16,14 0 15,0 0-15,-27 13 16,27 0-16,0 0 0,0-13 16,13 14-16</inkml:trace>
  <inkml:trace contextRef="#ctx0" brushRef="#br0" timeOffset="-117951.89">12647 4868 0,'13'-13'31</inkml:trace>
  <inkml:trace contextRef="#ctx0" brushRef="#br0" timeOffset="-117599.14">13018 4776 0,'-27'13'16,"27"0"-1,0 0 1,13 1-16,-13-1 0,14-13 16,-14 13-16,13 0 0,0 1 15,0-1-15,-13 0 0,13-13 0,-13 13 16,14 0-16,-14 1 16,13-1-16,-13 0 0,-13 0 15,-1 1-15,1-1 0,0 0 16,0 0-16,-14 1 0,1-1 15,13 0-15,-14-13 0,14 13 16,-14-13-16,14 13 0,0-13 0,0 0 16,13-13-16,-13 0 0,-1 13 0</inkml:trace>
  <inkml:trace contextRef="#ctx0" brushRef="#br0" timeOffset="-117151.96">13573 3850 0,'13'-14'16,"14"14"-1,-14 0 1</inkml:trace>
  <inkml:trace contextRef="#ctx0" brushRef="#br0" timeOffset="-116931.84">13454 3982 0,'0'0'0,"27"0"47,-1 0-32,-26-13-15,13 13 0,0 0 16,1 0-16,-1-13 0,0 13 16,0-14-16</inkml:trace>
  <inkml:trace contextRef="#ctx0" brushRef="#br0" timeOffset="-116534.89">14129 3757 0,'-40'0'0,"27"0"0,-14 13 15,14-13-15,0 0 0,-14 14 0,14-14 16,0 13-16,0-13 0,0 0 16,-1 13-16,1-13 0,13 13 15,0 0 1,13 1-16,1-14 16,-14 13-16,13-13 0,0 13 15,0-13-15,0 13 16,1-13-16,-14 14 15,13-14-15,-13 13 16,-13-13-16,13 13 16,-14-13-16,1 13 0,-13 1 15,13-1-15,-27 0 16,27-13-16,-1 13 0,1 0 16,0-13-16,0 14 0,-1-1 15</inkml:trace>
  <inkml:trace contextRef="#ctx0" brushRef="#br0" timeOffset="-116050.7">14129 3836 0,'-13'27'31,"13"-14"-15,0 0-16,13-13 16,-13 14-16,13-1 15,0-13-15,0 0 0,1 0 16,-1 0-16,0 0 0,0 0 16,1-13-16,-1 13 0,0 0 0,0 0 15,1-14-15,-1 14 0,13-13 16,-26 0-16,13 13 0,1-13 15,-1-1-15,-13 1 16,13 13-16,-13-13 0,0 0 16,0 0-1,-13-1 1,0 14-16,-1 0 16,1 0-16,0 14 15,0-14-15,0 13 0,-1 0 16,1-13-16,13 13 15,-13-13-15,0 13 0,13 1 0,-14-14 16,1 13-16,13 0 16,-13-13-16,13 13 15,0 1 1,13-14 0</inkml:trace>
  <inkml:trace contextRef="#ctx0" brushRef="#br0" timeOffset="-115785.79">14764 3678 0,'0'-14'0,"-13"54"46,-1-40-46,14 13 0,-13 14 0,0-14 16,13 0-16,-13 14 0,-1-14 16,1 0-16,0 14 0,13-14 15,-13 0-15,13 0 0,-14 1 0,1-1 16,13 0-16,-13 0 0,13 1 0,-13-1 16,13 0-16,-13 0 15,13 0-15</inkml:trace>
  <inkml:trace contextRef="#ctx0" brushRef="#br0" timeOffset="-115628.36">14592 3823 0,'0'0'15,"0"-13"-15,0 0 31</inkml:trace>
  <inkml:trace contextRef="#ctx0" brushRef="#br0" timeOffset="-115484.95">14790 3850 0,'13'0'0</inkml:trace>
  <inkml:trace contextRef="#ctx0" brushRef="#br0" timeOffset="-114863.08">13335 4882 0,'40'-14'31,"-27"14"-31,0 0 0,0-13 15,1 13-15,-1 0 0,0 0 0,0 0 16,14-13-16,-14 26 0</inkml:trace>
  <inkml:trace contextRef="#ctx0" brushRef="#br0" timeOffset="-114666.39">13375 4974 0,'26'0'47,"-13"0"-47,1-13 16,-1 13-16,0 0 15</inkml:trace>
  <inkml:trace contextRef="#ctx0" brushRef="#br0" timeOffset="-114171.89">14102 4802 0,'-39'13'15,"25"-13"1,1 14-16,0-14 0,-14 13 15,1 0-15,13-13 0,0 13 16,-1-13-16,1 14 0,0-14 0,0 13 16,13 13-1,0-13 1,13-13-16,0 14 0,0-14 16,1 13-16,-1-13 0,0 0 15,0 13-15,0-13 16,-13 13-16,14-13 0,-14 14 15,13-1-15,-26 0 16,-1 0-16,1 1 16,0-1-16,0 0 0,0-13 0,-14 13 15,14 0-15,0-13 0,-1 14 0,1-1 16,0-13-16,0 13 16</inkml:trace>
  <inkml:trace contextRef="#ctx0" brushRef="#br0" timeOffset="-113799.09">14182 4895 0,'13'-13'16,"-40"39"15,27-13-15,-13 0-16,13 1 0,-13-1 15,13 0-15,0 0 0,0 1 16,0-1-16,13-13 16,-13 13-16,13-13 15,1 0-15,-1 0 0,0 0 16,0 0-16,1 0 0,-1-13 0,0 13 16,0-13-16,1 13 0,-1-14 15,0 14-15,-13-13 0,13 0 0,-13 0 16,0-1-16,0 1 0,0 0 15,0 0-15,-13 13 16,13-13-16,-13 13 0,0-14 16,-1 14-16,1 0 15,0 0-15,-14 14 16,14-14-16,0 13 0,0-13 0,13 13 16,-14-13-16,14 13 0,-13-13 15</inkml:trace>
  <inkml:trace contextRef="#ctx0" brushRef="#br0" timeOffset="-113536">14790 4710 0,'-13'26'31,"0"-13"-16,0 0-15,-14 27 0,14-13 16,-14-1-16,-12 27 0,12-27 16,14 1-16,-13-1 0,12 1 15,-12-1-15,13 1 0,-1-1 0,1-13 16,0 1-16,0 12 0,13-13 16,-14 1-16,14-1 15,-13-13-15</inkml:trace>
  <inkml:trace contextRef="#ctx0" brushRef="#br0" timeOffset="-113379.98">14407 4961 0,'13'-13'31</inkml:trace>
  <inkml:trace contextRef="#ctx0" brushRef="#br0" timeOffset="-113207.93">14658 4961 0</inkml:trace>
  <inkml:trace contextRef="#ctx0" brushRef="#br0" timeOffset="-112922.79">13573 5609 0,'212'-79'31,"-173"79"-31,14-13 0,0-1 16,-13 1-16,13 0 0,-13 0 16,-1 13-16,14-14 0,-13 1 15,0 0-15,-14 13 0,1-13 0,-1 0 16,-13 13-16,0 0 0,1 0 16</inkml:trace>
  <inkml:trace contextRef="#ctx0" brushRef="#br0" timeOffset="-112721.85">13454 5728 0,'40'-26'31,"-14"26"-31,54-27 16,-41 14-16,14 0 0,13 0 0,-13-14 15,13 14-15,-13-14 0,0 14 0,-13 0 16,0-13-16,-1 12 0,1-12 16,0 13-16,-14-14 0,1 1 0</inkml:trace>
  <inkml:trace contextRef="#ctx0" brushRef="#br0" timeOffset="-112311.64">14049 4313 0,'40'-14'16,"-13"1"-16,-1 0 0,120-27 31,-80 27-31,-53 13 16,13-13-16,-12 13 0,-1 0 16,0 0-16</inkml:trace>
  <inkml:trace contextRef="#ctx0" brushRef="#br0" timeOffset="-112073.86">14036 4405 0,'40'0'15,"-80"0"-15,106-13 0,-39 13 0,-14 0 0,13-13 16,27 0-16,-26 13 0,13 0 0,-14-14 15,0 14-15,1-13 16,-14 13-16,14 0 0,-14 0 0,0-13 16,0 13-16,0 0 0,1 0 0,-1 0 15</inkml:trace>
  <inkml:trace contextRef="#ctx0" brushRef="#br0" timeOffset="-109979.87">11404 5371 0,'0'-13'0,"-27"13"15,14-13 1,0 13-1,-1 0-15,1 0 0,0 0 16,0 0-16,-1 0 0,14 13 16,-13-13-16,0 0 0,-13 13 15,12 0-15,1-13 0,0 14 0,-14-1 16,14 0-16,0 13 0,0-12 0,-14 12 16,14 1-16,-13-1 0,12 0 0,1 1 15,0-1-15,0 1 0,-1 39 16,1-40-16,0 14 0,13-13 15,0-1-15,0 1 0,-13-1 0,26 0 16,-13 1-16,0-1 0,0-12 16,13 12-16,0 0 0,-13-12 15,14 12-15,-1-13 0,13 1 0,-12 12 16,-1-26-16,13 13 0,-13 1 16,14-14-16,-14 0 0,14 0 0,-14 0 15,13-14-15,1 14 0,-1-13 0,1 13 16,-14-13-16,13 0 0,1-1 15,-14 1-15,14 0 0,-14 0 0,0-1 16,0 1-16,0 0 0,1 0 0,-1 0 16,0-1-16,-13 1 0,13 0 15,1 0-15,-14-1 0,13 1 0,0 0 16,-13 0-16,13 0 0,-13-1 0,14 1 16,-14-13-16,13 12 0,-13 1 15,13 0-15,-13 0 0,0-1 0,13-12 16,-13 13-16,0 0 0,0-1 0,0 1 15,0-13-15,0 12 0,0 1 16,0-13-16,0 12 0,0 1 16,0-13-16,0 13 0,0-14 0,0 14 15,-13 0-15,13-14 0,-13 14 0,13-13 16,-13 12-16,-1 1 0,14-13 0,-13 12 16,0 1-16,0 0 0,-1 0 15,1 13-15,-13-27 0,-1 27 16,14 0-16,-13-13 0,12 13 15,-12 0-15,-1 0 0,14 0 0,-13 0 16,-1 0-16,14 0 0,-13 0 16,-1 13-16,1-13 0</inkml:trace>
  <inkml:trace contextRef="#ctx0" brushRef="#br0" timeOffset="-108992.64">11165 4564 0,'-13'0'0,"40"0"15,-1-13 1,-13 13-16,1 0 16,12-13-16,-13-1 0,14 14 0,-1-13 15,-13 0-15,14 0 0,-14-1 16,27-12-16,-27 26 16,0-13-16,14-14 0,-27 14 15,13 0-15,0 0 0,-13-1 0,13 1 16,-13-13-16,0 12 0,0 1 15,14 0-15,-14 0 0,0 0 16,-14-1-16,14 1 0,0 0 0,0 0 0,0-1 16,-13 1-16,13 0 0,-13 0 15,13 0-15,-13 13 0,13-14 0,-14 14 16,1-13-16,0 13 0,0 0 0,0-13 16,-1 13-16,-12 0 0,13 0 0,-1 0 15,-12 13-15,13-13 0,-14 0 16,14 0-16,-13 0 0,-1 13 15,-13 1-15,27-14 0,-13 0 16,12 13-16,1 0 0,-13-13 16,13 13-16,-1 0 0,1-13 0,0 14 15,-14 12-15,14-13 0,13 1 16,-13-14-16,0 13 0,0 0 16,13 0-16,-14-13 0,14 13 0,0 1 15,-13-14-15,13 13 0,0 0 16,0 0 15</inkml:trace>
  <inkml:trace contextRef="#ctx0" brushRef="#br0" timeOffset="-104244.37">9856 7541 0,'0'-14'31,"-14"28"-15,14-1-16,0 13 15,-13-12-15,13-1 0,-13 26 16,13-12-16,0-14 0,-13 0 16,13 14-16,0-14 0,-13 14 15,13-14-15,0 0 0,0 0 0,0 0 16,0 1-16,-14-1 0,28-13 15,-14 13-15,13-13 16</inkml:trace>
  <inkml:trace contextRef="#ctx0" brushRef="#br0" timeOffset="-104043.06">10028 7488 0,'0'-14'31,"-14"41"-15,14-14-16,0 0 0,0 1 0,0 12 16,0-13-16,-13 14 0,13-14 0,0 13 15,0 1-15,-13-1 0,13-12 16,0 12-16,0-13 0,0 1 0,-13-1 16,13 0-16,0 0 0,0 0 0,0 1 15</inkml:trace>
  <inkml:trace contextRef="#ctx0" brushRef="#br0" timeOffset="-103800.11">9737 7805 0,'0'0'16,"13"-26"0,0 26-16,0 0 0,1 0 15,-1 0-15,13-13 16,-13 13-16,1 0 0,-1 0 16,0 0-16,0-14 0,14 14 15</inkml:trace>
  <inkml:trace contextRef="#ctx0" brushRef="#br0" timeOffset="-103043.02">10332 7594 0,'-26'0'0,"-1"26"31,27-13-31,-13 0 0,0 1 0,13-1 16,0 0-16,0 0 0,0 1 15,0-1-15,0 0 0,0 0 16,13-13-16,-13 14 0,13-14 15,0 0-15,1 0 0,-1 0 16,0 0-16,0-14 0,0 1 16,1 0-16,-14 0 15,0-1-15,0-12 16,0 13-16,0-1 16,-14 1-1,14 0-15,0 0 16,14 26 15,-1 0-31,0 0 0,0 1 16,-13-1-16,0 0 0,14 0 15,-14 14-15,13-14 16,-13 0-16,0 1 16,0-1-16,0-26 46,13-1-30,-13 1-16,13 0 0,-13 0 16,0-1-16,14 14 0,-1-13 15,0 0-15,0 0 16,0 13-16,1 0 0,-1 0 16,0 0-16,-13-14 0,27 14 15</inkml:trace>
  <inkml:trace contextRef="#ctx0" brushRef="#br0" timeOffset="-102707.11">10782 7514 0,'39'0'31,"-25"13"-15,-14 1-16,0-1 15,0 0-15,0 0 16,0 1-16,0-1 0,0 13 0,0-13 15,0 1-15,0-1 0,0 0 0,0 0 16,0 1-16,0-1 16,0 0-16,13 0 15</inkml:trace>
  <inkml:trace contextRef="#ctx0" brushRef="#br0" timeOffset="-102418.99">10636 7541 0,'-13'39'0,"26"-78"0,-26 92 0,0-27 15,13-13-15,0 0 0,-13 1 0,13 12 16,0-13-16,0 1 0,0-1 16,13 0-16,-13 0 0,13-13 0,-13 14 15,13-1-15</inkml:trace>
  <inkml:trace contextRef="#ctx0" brushRef="#br0" timeOffset="-102196.09">10967 7369 0,'13'39'16,"0"-25"-16,-13 12 0,0-13 15,0 0-15,0 14 0,0-14 16,14 14-16,-28-1 0,14-13 0,0 14 16,0-14-16,-13 13 0,13-12 15,-13 12-15,0-13 0,0 14 0,-1-14 16,-12 0-16,13 1 0</inkml:trace>
  <inkml:trace contextRef="#ctx0" brushRef="#br0" timeOffset="-101848.09">9697 7435 0,'-13'39'0,"26"-78"0,-26 92 0,13-40 0,-13 13 15,13-12-15,0 12 0,0 1 16,-14 12-16,14 1 0,0 26 15,0-39-15,0-1 0,14 0 0,-14 1 16,13-14-16,-13 14 0,13-14 0,0 0 16</inkml:trace>
  <inkml:trace contextRef="#ctx0" brushRef="#br0" timeOffset="-101624.96">10014 7435 0,'14'26'16,"-1"-13"-16,0 54 16,-13-41-16,0 1 0,0-1 15,0 0-15,0 14 0,0 0 0,0-14 16,-13 14-16,13-14 0,0-12 15,0 12-15,-13-13 0,13 14 0,0-14 16</inkml:trace>
  <inkml:trace contextRef="#ctx0" brushRef="#br0" timeOffset="-100826.91">10861 7422 0,'13'-27'16,"14"-26"-1,-14 40-15,-13 0 0,13-1 16,1-12-16,-1 0 0,0-1 0,13-39 16,-12 40-16,-1-14 0,13-26 15,-12 26-15,-1 14 0,0-14 16,0 0-16,-13 14 15,13-1-15,-13 1 0,14-1 0,-14 1 16,0-1-16,13 1 0,-13 13 0,0-14 0,0 14 16,0 0-16,0 0 15,13-1-15,-13 1 0,0 0 0,0 0 16,0-1-16,0 1 0,0 0 16,0 0-16,13 0 15,-13-1 1,0 1-16,-13 26 78</inkml:trace>
  <inkml:trace contextRef="#ctx0" brushRef="#br0" timeOffset="-100607.06">11179 6429 0,'-53'27'31,"39"-14"-31,1-13 0,0 27 0,0-14 16,0 0-16,-1 0 0,1 0 15,0 1-15,13-1 0,-13 0 16,-1 0-16,14 1 0,-13 12 16</inkml:trace>
  <inkml:trace contextRef="#ctx0" brushRef="#br0" timeOffset="-100398.03">11060 6548 0,'0'0'16,"13"0"0,0 0-1,-13 14-15,13-14 0,0 13 16,1-13-16,-1 13 16,0-13-16,-13 13 15,13-13-15,1 14 16</inkml:trace>
  <inkml:trace contextRef="#ctx0" brushRef="#br0" timeOffset="-98990.77">11112 4961 0,'-26'-40'47,"13"40"-47,0-26 16,65 92-16,-104-145 0,38 65 15,14 1-15,-13 13 0,0-26 0,0 12 16,-1 14-16,1 0 16,0-13-16,-13 26 15,12-13-15,-12 14 16,13-14-16,-14 26 0,1-13 16,12 14-16,-12-1 0,0 14 15,-1-14-15,14 1 16,13-1-16,-13-12 0,-1 25 15,14 27 1,0-52-16,0 12 0,14-13 0,-14 1 16,13 12-16,-13-13 0,13 0 0,0 1 15,-13-1-15,14 0 0,-1 0 0,0-13 16,0 0-16,14 14 0,-1-14 16,1-14-16,-14 14 0,0 0 15,14-13-15,-1 0 0,-13 13 16,14-13-16,-1-1 0,-13-12 0,1 13 15,-1 0-15,13-14 0,-13 14 0,1-14 16,12-12-16,-13 25 16,-13 1-16,14-13 0,-14 13 0,13-1 15,-13 1-15,0-13 0,0 12 16,13 1-16,-13-13 0,0 12 0,0 1 16,-13 0-16,13 0 15,0 0-15,-13-1 0,13 1 16,-14 0-16,1 0 15,0 13 1,13-14-16,-13 14 0,-1-13 16,1 13-16,0-13 15,0 13 1,0-13-16,-1 13 16,1-14 15</inkml:trace>
  <inkml:trace contextRef="#ctx0" brushRef="#br0" timeOffset="-96642.21">7514 5437 0,'13'-26'15,"14"13"-15,-14 13 0,80-40 31</inkml:trace>
  <inkml:trace contextRef="#ctx0" brushRef="#br0" timeOffset="-96471.2">7620 5530 0,'-13'53'16,"26"-106"-16,-39 132 0,12-52 0,14 12 16,-13-12-16,0 12 0,0 1 15</inkml:trace>
  <inkml:trace contextRef="#ctx0" brushRef="#br0" timeOffset="-95791.8">11126 4961 0,'-27'53'31,"14"-40"-31,13 14 0,-13-14 0,0 13 16,13-13-16,-14 14 0,1-14 0,13 14 15,-13-14-15</inkml:trace>
  <inkml:trace contextRef="#ctx0" brushRef="#br0" timeOffset="-92022.97">11033 4974 0,'0'-13'15,"0"53"32,0-27-47,0 0 16,0 0-16,0 1 0,0-1 0,0 0 15,0 0-15,0 0 0,0 1 16,0-1-16,0 0 0,0 0 0,13 1 16,-13-1-16,0 0 15,0 0-15,0-52 47,0 25-47,0 1 0,0 0 16,0 0-16,0-1 0,-13 1 0,13 0 15,0-13-15,0 12 0,0 1 0,0 0 16,0 0-16,-13-14 0,13 14 16,0 0-16,13 13 15,0 13 1</inkml:trace>
  <inkml:trace contextRef="#ctx0" brushRef="#br0" timeOffset="-91679.96">11351 5027 0,'-40'13'0,"27"1"15,-1 12-15,1-13 0,-13 14 0,13-1 16,-14 1-16,1 12 0,-1 1 16,-13 0-16,27-1 0,-13-12 0,-1 13 15,1-14-15,-1 0 0,14 1 16,-13-1-16,13 1 0,-1-14 0,1 0 16,13 0-16,-13 1 0</inkml:trace>
  <inkml:trace contextRef="#ctx0" brushRef="#br0" timeOffset="-90773">11245 5543 0,'13'-13'0,"27"0"31,-27 13-31,0 0 0,0 0 16,1 0-16,-1 0 0,13 13 15,-12 0-15,-14 0 16,13 0-16,-13 1 0,0-1 16,0 13-16,-13-12 0,13 12 0,-27 14 15,14-14-15,0 1 0,-1-14 0,1 13 16,0-12-16,0-1 0,-1 0 15,1 0-15,13 1 0,0-1 16,0 0 0,13-13-16,14-13 15,-14 13-15,14-13 0,-1 13 16,-13-14-16,14 14 0,12-13 16,-12 0-16,-1 0 0,-12-1 0,12 14 15,1-13-15,-1 0 0,0 13 16,-12-13-16,12-1 0</inkml:trace>
</inkml:ink>
</file>

<file path=ppt/ink/ink27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2:44:06.371"/>
    </inkml:context>
    <inkml:brush xml:id="br0">
      <inkml:brushProperty name="width" value="0.05292" units="cm"/>
      <inkml:brushProperty name="height" value="0.05292" units="cm"/>
      <inkml:brushProperty name="color" value="#0070C0"/>
    </inkml:brush>
  </inkml:definitions>
  <inkml:trace contextRef="#ctx0" brushRef="#br0">12158 3268 0,'13'-14'0,"0"1"0,0 13 15,1 0-15,-1 0 0,0 0 16,27 13-16,-27-13 0,0 0 16,0 14-16,1-14 0,-1 26 15,-13-13-15,0 1 0,-13-1 16,13 0-16,-27 27 0,14-14 15,0-13-15,-1 14 0,-12-14 16,13 0-16,13 0 0,-13 1 0,-1-14 16,14 13-16,-13-13 0,13 13 15,-13 0-15,39-13 16,1-13 0,-14 13-16,13 0 0,-12-13 15,12 13-15,1 0 0,-1-13 16,0 13-16,1-14 0,-1 14 0,-12-13 15,-1 13-15,13 0 0,-12-13 0,-1 13 16,0 0-16,0 0 0,-13-13 0,13 13 16</inkml:trace>
  <inkml:trace contextRef="#ctx0" brushRef="#br0" timeOffset="827.38">11483 3334 0,'0'-13'15,"0"52"1,0-26-1,0 1-15,0 12 0,13 1 0,-13-14 16,0 13-16,0 1 0,0-1 16,0-13-16,13 27 0,-13-13 15,0-14-15,0 13 0,0-13 0,0 1 16,0-1-16,0 0 0,0 0 16,14 1-16,-14-1 15,0-40 16,-14 14-31,14-13 16,0 12-16,0-12 0,-13 0 16,13-14-16,-13 0 0,13 14 0,0-1 15,0 1-15,0-1 0,0-12 16,0 25-16,0 1 0,0 0 0,13 0 16,-13 0-16,13 13 0,-13-14 15,14 14-15,-1-13 0,0 13 0,14 0 16,-27 13-16,13-13 15,-13 14-15,13-1 16,-13 0-16,-13 0 16,13 0-16,-13 1 15,-1-1-15,14 0 0,-13 0 0,0 1 16,0-14-16,-1 13 0,1 0 16,0 0-16,0-13 15</inkml:trace>
  <inkml:trace contextRef="#ctx0" brushRef="#br0" timeOffset="1116.39">11853 3043 0,'-53'26'15,"40"-13"-15,0 14 16,-13 13-16,12-14 0,1 14 0,0-1 16,-14 14-16,27-13 0,-13 0 0,0-1 15,13 1-15,0 0 0,0-14 0,0 14 16,0-14-16,13 1 0,-13 12 16,27 14-16,-14-39 15,13 12-15,1-13 0,-14 1 0,13-1 0,-12 0 16,39 0-16,-27-13 15,0 0-15,-12 0 0,52-13 16,-26 13-16,-1-13 16,-12 0-16,12-14 0</inkml:trace>
  <inkml:trace contextRef="#ctx0" brushRef="#br0" timeOffset="1487.74">12330 2897 0,'39'0'0,"-78"0"0,105 0 0,-40 0 0,14 13 16,13 1-16,13 12 0,-13-13 0,0 27 16,53 26-16,-53-39 15,-14 12-15,1 1 0,-14 0 16,-12-1-16,12 1 0,-13 39 16,1-39-16,-28 0 0,14-1 0,-13 1 15,0 0-15,0 0 0,-27 12 16,13-12-16,14-27 0,-13 14 15,13-14-15,13 0 0,-14-13 16</inkml:trace>
  <inkml:trace contextRef="#ctx0" brushRef="#br0" timeOffset="1802.51">13626 3201 0,'0'0'15,"13"-26"1,0 26-16,1 0 0,-1-13 16,13 13-16,-12 0 0,12 0 15,1-13-15,-14 13 0,13 0 0,1 0 16,12 0-16,-25 0 0,-1 0 16,0 0-16,0 0 0,1 13 15</inkml:trace>
  <inkml:trace contextRef="#ctx0" brushRef="#br0" timeOffset="1990.59">13652 3373 0,'-13'0'16,"40"0"15,-1-13-31,14 13 16,-27 0-16,27-13 0,13 0 15,-14 13-15,-12-13 0,52-1 16,-52 1-16,12 0 0,-12 0 16,13-14-16</inkml:trace>
  <inkml:trace contextRef="#ctx0" brushRef="#br0" timeOffset="2448.02">14698 2566 0,'13'-39'0,"-26"78"0,26-91 0,0 38 16,0 1-16,1 13 0,12-13 15,0 0-15,1-1 0,-1 14 0,1-13 16,-1 13-16,1 0 0,-1 0 0,14 13 16,-14 1-16,14-1 0,-14 13 0,1 1 15,-14-1-15,0 1 0,1 12 16,-1 28-16,-13-28 0,-13 14 15,13-13-15,-14 0 0,1-1 0,13 1 16,-13 0-16,0-1 0,-1-12 0,1 12 16,-13 28-1,26-41-15,-13 0 0,-1-12 0,14 12 0,-13-13 16,13 14-16,-13-1 0,13-12 16,0-1-16,0 0 15,0 0-15,0 0 0,13-13 16,-13 14-16</inkml:trace>
  <inkml:trace contextRef="#ctx0" brushRef="#br0" timeOffset="2598.63">15200 3638 0,'0'13'0,"-13"-13"31,0-13-31,13 0 15,-13 13-15,13-27 16,0 1-16</inkml:trace>
  <inkml:trace contextRef="#ctx0" brushRef="#br0" timeOffset="6867.3">16179 2831 0,'27'-13'15,"-14"13"-15,0 0 0,0 0 0,14 0 16,-14-13-16,14 13 0,-1 0 0,-13 0 16,14-14-16,-14 14 0</inkml:trace>
  <inkml:trace contextRef="#ctx0" brushRef="#br0" timeOffset="7047.65">16179 2963 0,'0'0'0,"27"0"15,-14 0 1,0 0-16,0 0 0,14 0 16,-14 0-16,14-13 0,-1 13 0,0 0 15</inkml:trace>
  <inkml:trace contextRef="#ctx0" brushRef="#br0" timeOffset="7302.33">17489 2527 0,'0'26'32,"0"-13"-32,0 1 0,0-1 15,0 0-15,-13 0 0,13 14 16,0-14-16,-14 14 0,14-14 0,0 0 16,0 13-16,0-12 0,-13-1 0,13 0 15,13 0-15</inkml:trace>
  <inkml:trace contextRef="#ctx0" brushRef="#br0" timeOffset="7547.8">17886 2593 0,'0'0'0,"-13"26"31,13-12-31,-27 12 16,1 14-16,-1-1 0,1 1 15,-14 0-15,0 13 0,1 0 0,-1-14 16,0 14-16,1-13 0,-41 39 16,27-39-16,14 0 0,-27 26 15,39-40-15,-26 27 0,40-40 16,0 14-16,-14-1 16,14-12-16</inkml:trace>
  <inkml:trace contextRef="#ctx0" brushRef="#br0" timeOffset="7878.63">17582 3215 0,'-40'26'15,"27"-13"-15,-1 1 0,1-1 16,0 13-16,-27 27 0,27-26 15,0-1-15,0 14 16,13-27-16,0 0 0,0 0 0,0 14 16,13-14-16,0 0 0,0-13 15,0 14-15,14-1 0,-14-13 0,27 0 16,-27 0-16,14 0 0,-14 0 16,0 0-16,0-13 0,0-1 15,-13 1-15,0 0 0,14 0 16,-28-14-16,1 14 0,0 0 15,0 0-15,0-1 0,-1 1 16,1 13-16,-13-13 0,-1 13 16,14 0-16,-14 0 0,14 0 0,0 13 15,-13-13-15</inkml:trace>
  <inkml:trace contextRef="#ctx0" brushRef="#br0" timeOffset="8026.44">18058 3572 0,'-27'0'0,"14"0"16,0 0-16</inkml:trace>
  <inkml:trace contextRef="#ctx0" brushRef="#br0" timeOffset="13008.71">8348 900 0,'-14'-14'0,"1"41"32,13-14-17,0 0-15,-13 0 0,13 14 16,-13-1-16,13-12 15,0-1-15,0 0 0,-14 0 16,14 1-16,0-1 0,0 0 16,-13-13-16,13 13 0,0 0 0,0 1 15</inkml:trace>
  <inkml:trace contextRef="#ctx0" brushRef="#br0" timeOffset="13316.4">8440 1124 0,'13'0'16,"-13"14"0,-13 12-16,13-13 15,-13 1-15,0 12 16,0-13-16,13 1 0,-27 25 16,14-26-16,0 1 0,-1-14 0,14 13 15,-13 0-15</inkml:trace>
  <inkml:trace contextRef="#ctx0" brushRef="#br0" timeOffset="13883.68">8744 952 0,'0'-13'0,"14"13"16,-1 0-16,0 0 15,0 0-15,1 13 16,-14 27 15,-14-27-31,14 1 0,-66 65 31,66-66-15,-13-13-16,13 13 16,40-13 30,-27 0-46,0-13 0,14 13 16,-14 0-16,27 0 16,-14 13-1</inkml:trace>
  <inkml:trace contextRef="#ctx0" brushRef="#br0" timeOffset="14544.6">9088 1019 0,'0'26'46,"0"-13"-46,0 1 0,0-1 0,0 13 16,0-13-16,0 1 0,0-1 16,0 13-16,-13-12 15,13-1-15,0 0 0,-13-13 16,13 13-16,0 1 0,-13-1 16</inkml:trace>
  <inkml:trace contextRef="#ctx0" brushRef="#br0" timeOffset="15432.76">9446 886 0,'13'-13'16,"-26"26"-16,39-13 0,-13 0 15,1 14-15,-14-1 16,0 0-16,0 0 15,-14 0-15,1 1 32,26-1-17,1-13-15,-1 13 16,0-13-16,0 0 16,0 13-16,1 1 15,-1-14-15,-13 13 16,-93 93 31,80-106-32</inkml:trace>
  <inkml:trace contextRef="#ctx0" brushRef="#br0" timeOffset="15580.37">9697 1019 0,'40'0'16,"-27"0"-1,-13 13-15,13 13 16,-79-65-16,132 92 0,-79-40 16,13 0-16,-13 0 0,-14 27 15,14-14-15,0 1 16,0-14-1,13 0-15</inkml:trace>
  <inkml:trace contextRef="#ctx0" brushRef="#br0" timeOffset="16000.62">10226 900 0,'-13'13'31,"0"-13"-31,-1 13 0,1 13 16,-13-26-16,13 14 15,-1-1-15,1 0 16,0 0-16,0 1 16,13-1-16,0 0 15,13-13-15,0 0 16,0 0-16,1 13 0,-1-13 15,26-13-15,-12 13 16,-1 0-16,-12-13 16,-1 13-16,13 0 15,-12-13-15</inkml:trace>
  <inkml:trace contextRef="#ctx0" brushRef="#br0" timeOffset="16207.65">10239 873 0,'-13'0'0,"26"0"0,-26 13 0,13 1 16,-13-1-16,13 0 15,0 0-15,0 0 0,0 14 16,0-14-16,0 14 0,0-14 16,-13 40-16,13-40 15,0 0-15,0 14 0,0-14 0,-14 0 16,14 0-16,14 1 15</inkml:trace>
  <inkml:trace contextRef="#ctx0" brushRef="#br0" timeOffset="16423.05">10504 1005 0,'0'-13'0,"26"53"31,-26-27-31,0 27 16,0-27-16,0 13 15,0-12-15,0 25 16,0-12-16,0-14 16</inkml:trace>
  <inkml:trace contextRef="#ctx0" brushRef="#br0" timeOffset="16880.56">10888 886 0,'0'-13'0,"-27"26"47,14-13-47,13 14 16,-13-1-16,26 0 15,-13 0 1,13-13-16,0 13 16,14-13-16,-14 14 15,0-1 1,-13 0 0,0 0-1,-13-13-15,0 27 16,0-27-16,-14 13 15,27 0-15,-13-13 0,0 0 16,-1 0-16,1 0 16</inkml:trace>
  <inkml:trace contextRef="#ctx0" brushRef="#br0" timeOffset="17086.99">11139 966 0,'26'13'0,"-12"13"31,-1-12-31,-13-1 0,0 0 0,0 14 16,0-1 0,0-13-16,-13 14 0,13-14 0,-14 0 15,1 27-15,0-14 16,13-12-16,-13-1 0,13 0 15</inkml:trace>
  <inkml:trace contextRef="#ctx0" brushRef="#br0" timeOffset="17427.49">11562 860 0,'-26'26'31,"13"-12"-31,13-1 16,-14 0-16,1 27 16,0-27-16,13 13 15,0-12-15,13 12 0,-13-13 16,13-13-16,-13 14 0,14-1 15,-1-13-15,0 0 16,0 0 0,1-13-16,-28-1 31,1 14-15,0 0-16,-14 0 15,-12 0-15</inkml:trace>
  <inkml:trace contextRef="#ctx0" brushRef="#br0" timeOffset="18077.37">8004 833 0,'-27'40'0,"14"-27"0,-13 40 16,12-40-16,1 27 16,0 40-16,13-41 0,0 1 15,0 53-15,13-54 16,14-12-16,-14 12 0,26 1 0,-12-13 16,65 25-16,-52-25 0,26-14 15,159 0 1,-145-13-16,92-13 15</inkml:trace>
  <inkml:trace contextRef="#ctx0" brushRef="#br0" timeOffset="18523.59">11417 437 0,'39'13'16,"-78"-26"-16,105 39 0,-53-13 0,14 14 16,39 26-16,-27-14 0,28 41 15,-41-41-15,14 41 16,-27-1-16,0-26 15,-13-27-15,-13 67 0,-13-40 16,-27 40-16,26-40 16,-26-1-16,0 1 0,14-39 15,-41 25-15,54-39 16,-1 0-16</inkml:trace>
  <inkml:trace contextRef="#ctx0" brushRef="#br0" timeOffset="18859.39">11880 886 0,'0'0'0,"26"-13"31,1 13-31,-1 0 16,-13 0-16,1 0 0,-1 0 15,0 0-15,14 0 0,-14 0 16,0 0-16,0 13 16</inkml:trace>
  <inkml:trace contextRef="#ctx0" brushRef="#br0" timeOffset="19027.25">11880 1005 0,'26'0'31,"-13"0"-15,14 0-16,-14 0 0,0 0 15,14 0-15,-14-13 0,14 13 16,-14 0-16,13 0 0,-13-13 0,14 13 0</inkml:trace>
  <inkml:trace contextRef="#ctx0" brushRef="#br0" timeOffset="19386.84">12912 609 0,'-27'0'15,"14"0"-15,-13 13 0,-14 26 16,13-12-16,1-1 15,13 14-15,-14-13 0,14-1 16,-27 27-16,40 0 16,0-14-16,14-25 15,-1-1-15,0 13 0,0-12 16,0-1-16,1-13 0,-1 13 16,0-13-16,14 0 0,-1 0 15,-26-13-15,13 0 16,-13-14-1,-13 27-15,0-26 16,0 12-16,-1 14 0,-12-13 16,13 13-16,-1-13 0,1 0 15,0 13-15</inkml:trace>
  <inkml:trace contextRef="#ctx0" brushRef="#br0" timeOffset="19502.37">12991 992 0,'13'-13'0</inkml:trace>
  <inkml:trace contextRef="#ctx0" brushRef="#br0" timeOffset="22158.84">12211 3268 0,'0'0'0,"13"-14"16,0 14-16,0 0 0,0 0 0,1 0 16,-1 0-1,13 0-15,-12 0 0,-1 0 16,0 14-16,0-14 16,-13 13-1,0 0-15,-13 0 0,13 1 0,0-1 16,-13-13-16,13 13 0,-13 0 0,13 0 15,-14 1-15,1-1 0,13 0 0,-13 0 16,13 1-16,-13-14 0,13 13 16,-14 0-16,1 0 15,13 0-15,-13-13 16,13 14-16,13-14 31,0 0-31,14 0 16,-14-14-1,0 14-15,1 0 16,12-13-16,-13 13 0,0-13 16,1 13-1,-1 0-15,0 0 16,0-13-16,1 13 16</inkml:trace>
  <inkml:trace contextRef="#ctx0" brushRef="#br0" timeOffset="23521.68">17529 2580 0,'0'26'31,"0"-13"-31,0 1 16,0-1-16,0 0 15,0 0-15,0 1 0,0-1 16,0 0-16,0 0 0,0 0 0,-14-13 16,14 14-16,0-1 0,0 0 15,0 0 1,-13 1 0,26-41 15,-13 14-31,0 0 15,0-1-15,14 1 0,-14 0 0,0 0 16,0 0-16,0-1 0,0 1 16,0 0-16,0 0 15,13-1-15,-13 1 16,0 0 0,0 53 15,0-27-31,-13 0 0,13 14 15,0-14-15,0 0 0,0 0 0,-14 0 16,14 1-16,0-1 16,0 0-16,-13 0 0,13 1 15,0-1-15,0 0 16,0-53 15,0 27-15,0-13-16,0 12 0,0 1 15,0 0-15,0 0 0,13-14 16,-13 14-16,0 0 0,0 0 16,0-1-16,14 14 15</inkml:trace>
  <inkml:trace contextRef="#ctx0" brushRef="#br0" timeOffset="25178.98">17515 3321 0,'0'-14'32,"0"1"-17,14 13 1,-14-13-16,13 0 0,0-1 15,0 1-15,1 0 16,-1 0 0,0 13-16,-13-14 15,13 14 1,-13-13 0,-13 26 30,0-13-30,13 14-16,-13-1 0,-1-13 16,14 13-16,-13-13 0,13 13 15,-13-13-15,13 14 0,-13-1 16,13 0-16,-14-13 0,14 13 16,-13 1-16,13-1 0,-13 0 15,13 0-15,-13 0 16,13 1-16,0-1 0,-14 0 15,14 0-15,0 1 0,-13-1 16,13 0 0,0 0-16,0 0 0,0 1 15,0-1 1,0 0-16,0 0 16,0 1-1,13-14 1,1 13-16,-1-13 15,0 0 1,-13 13 0,13-13-16,1 0 15,-1 0 1,0 0 0,0 0-1,1 0 1,-1 0-16,0-13 15,0 13 1,0-13 0,1-1-1,-1 1 1,-13 0 0,0 0-1,0-1 1,0 1-16,-13 13 0,-1-13 15,1 0 1,0 13-16,0-13 16,0 13-16,-1 0 0,1-14 15,0 14 1,0 0-16,-1 0 0,1 0 16,0 0-1</inkml:trace>
  <inkml:trace contextRef="#ctx0" brushRef="#br0" timeOffset="25388.23">17780 3400 0</inkml:trace>
  <inkml:trace contextRef="#ctx0" brushRef="#br0" timeOffset="30699.34">15240 13018 0,'-13'0'31,"13"13"-16,13 0-15,0-13 0,0 13 16,1-13-16,-1 13 0,13-13 16,1 14-16,13-14 0,-1 13 0,14-13 15,0 13-15,0-13 0,0 0 16,0 13-16,13-13 0,13 0 16,-13 14-16,14-14 0,65 13 15,-65 0-15,-14 0 0,13-13 0,1 13 16,-1 1-16,0-1 0,-12 0 0,25 0 15,-12 1-15,-1-14 16,0 13-16,1 0 0,12 0 0,67 1 16,-80-1-16,14 0 0,79 0 15,-93 0-15,14-13 0,0 14 16,-14-14-16,14 13 0,-1-13 0,-13 13 16,1-13-16,-1 13 0,14-13 0,-14 14 15,1-14-15,-1 13 0,-13-13 16,13 13-16,1-13 0,-1 13 0,-13-13 15,1 0-15,-1 14 0,-13-14 16,13 0-16,-13 13 0,0-13 0,13 0 16,-13 13-16,0-13 0,13 0 0,-13 0 15,0 0-15,-1 0 0,1 0 16,0 0-16,0 0 0,0 0 0,0 0 16,0 0-16,-13 0 0,13 0 0,-1 0 15,-12 0-15,0 0 0,-14 0 16,14 0-16,-14 0 0,14 0 0,-13 0 15,12 0-15,-12 0 0,-1 0 16,14-13-16,-14 13 0,1 0 0,12 0 16,-12-13-16,13 13 0,-1 0 15,1-14-15,0 14 0,-1-13 0,1 13 16,-13-13-16,12 13 0,1-13 0,-14 13 16,14 0-16,0-14 0,-1 14 0,1-13 15,-13 13-15,-1 0 0,0 0 16,14-13-16,-13 13 0,-1 0 0,14 0 15,-14 0-15,1-13 0,12 13 0,-12 0 16,26-14-16,-14 14 0,-12 0 16,13 0-16,-14-13 0,1 13 0,12-13 15,1 13-15,-14 0 0,1-13 0,12 13 16,-12-13-16,-1 13 0,14-14 0,0 14 16,-14-13-16,1 13 15,-1 0-15,1-13 0,12 13 0,-12-13 16,12 13-16,1-14 0,-13 14 0,-1 0 15,0-13-15,1 13 0,13 0 0,-14-13 16,1 13-16,-1 0 0,0-13 16,-12 13-16,12 0 0,1-14 0,-14 14 15,13 0-15,1-13 0,-14 13 0,13-13 16,-12 13-16,12-13 0,1 13 16,-14-13-16,13-1 0,1 1 0,-1 13 15,1-13-15,-14 0 0,13 13 0,1-14 16,-14 1-16,14 0 0,-14 13 15,0-13-15,13 13 0,-12-13 16,-1-1-16,0 14 0,0-13 0,1 13 16,12-13-16,-13 13 0,0-13 0,1 13 15,-1-14-15,0 14 0,0 0 0,1-13 16,-1 13-16,0-13 0,0 13 16,1 0-16,-1-13 0,0 13 0,0-14 15,0 14-15,14-13 0,-14 13 0,0-13 16,1 0-16,-1 0 15,0 13-15,27-27 0,-27 27 16,0-13-16,0 13 0,1-13 16,-1-1-16,0 14 0,0-13 0,1 0 15,-1 13-15,0-13 16,0 13-16,0 0 0,-13-14 0,14 14 16,-1 0-16,-13-13 0,13 13 0,0-13 15,1 0-15,-1 13 16,-13-13-16,13 13 15,0-14-15,1 14 16,-14-13-16,0 0 16,13 13-16,0-13 15,-13-1-15,13 1 16,-13 0-16,0 0 16,0-1-16,13 1 15,-13 0-15,0 0 16,0 0-16,0-1 0,0 1 15,0 0-15,0 0 16,-13-1-16,13 1 16,-13 0-16,0 0 15,13-1-15,-13 1 0,13 0 0,-14 13 16,1-13-16,13 0 0,-13 13 0,0-14 16,-1 1-16,1 13 0,0-13 15,0 13-15,-1-13 0,14-1 0,-13 14 16,0-13-16,0 13 0,0-13 15,-1 13-15,1 0 0,0-13 0,0 13 16,-1 0-16,1-13 0,0 13 16,0-14-16,0 14 0,-1 0 0,1-13 15,0 13-15,0 0 0,-1-13 16,1 13-16,0 0 0,0 0 16,-1-13-16,1 13 0,0 0 0,0-14 15,0 14-15,-1 0 0,1 0 16,0-13-16,-14 13 0,14 0 15,0-13-15,0 13 0,-14 0 16,14 0-16,0-13 0,0 13 16,-14 0-16,14 0 0,-14 0 0,14-14 15,-13 14-15,13 0 0,-1 0 0,1-13 16,-13 13-16,12 0 0,1 0 16,-13-13-16,12 13 0,1 0 0,-13 0 15,-1 0-15,14 0 0,-13-13 16,12 13-16,1 0 15,0 0-15,0 0 0,-1 0 0,-12 0 16,13 0-16,0 0 0,-1 0 16,1 0-16,0-13 0,0 13 0,-1 0 15,1 0-15,0 0 0,0 0 16,-14 0-16,14 0 0,0 0 16,0 0-16,-1 0 0,-12 0 0,13 0 15,-1 0-15,-25 0 0,25 0 16,-12 0-16,13 0 0,-14 0 15,14 0-15,-13 0 0,-1 0 0,14 0 16,-13 0-16,-1 0 0,14 0 16,-14 0-16,1 0 0,13 0 0,-14 0 15,1 0-15,13 0 0,-27-14 16,13 14-16,1 0 0,-27 0 16,27 0-16,-1 0 0,-26 0 15,27 0-15,13 0 16,-14 0-16,1 0 0,-1 0 0,1-13 15,-1 13-15,1 0 0,-1 0 0,1 0 0,-1 0 16,1 0-16,-1 0 0,1-13 16,-14 13-16,27 0 0,-27 0 15,27 0-15,-13 0 0,-1-13 0,1 13 16,-1 0-16,1 0 0,-1 0 0,14 0 16,-13 0-16,-1 0 0,1 0 15,-1-14-15,14 14 0,-13 0 0,-1 0 16,14 0-16,-13 0 0,-1 0 0,14 0 15,0 0-15,-14 0 0,14 0 16,-14 0-16,-12-13 16,26 13-16,-1 0 0,-12 0 0,13 0 15,-1 0-15,-12 0 0,-1 0 16,1 13-16,13-13 0,-14 0 0,1 0 16,13 0-16,-14 0 0,-12 0 15,12 0-15,14 0 0,-14 0 16,14 14-16,-13-14 0,-1 0 0,14 0 15,-13 0-15,12 0 0,-12 0 16,13 0-16,-14 0 0,1 0 0,12 0 16,-12 0-16,13 0 0,-14 0 0,1 0 15,13 0-15,-14 0 0,1 0 0,-1 0 16,14 0-16,-13 0 0,-1 0 16,1 0-16,12 0 0,-12 0 15,-1 0-15,1 0 0,0 0 0,-1 0 16,1 0-16,-14 0 0,14 0 0,-1 0 15,1 0-15,-14 0 0,13 0 16,-12 0-16,12 0 0,1 0 16,-14 0-16,14 0 0,-14 0 0,14-14 15,-1 14-15,-13 0 0,14 0 0,-14 0 16,14 0-16,-14 0 0,0 0 0,14 0 16,-14 0-16,14-13 0,-14 13 0,14 0 15,-14 0-15,14 0 0,-1 0 0,-13-13 16,27 13-16,-27 0 15,14 0-15,0 0 0,12-13 0,-12 13 16,-1 0-16,1 0 0,-1 0 0,1 0 16,-14-14-16,14 14 15,-14 0-15,14 0 0,-1-13 16,1 13-16,13 0 0,-14 0 0,1 0 16,12 0-16,-12 0 0,0 0 0,12-13 15,-12 13-15,13 0 0,-14 0 16,-13 0-16,14 0 0,13 0 15,-14 0-15,14 0 0,-13 0 0,12 0 16,-12-13-16,13 13 0,-14 0 16,14 0-16,-13 0 0,12 0 15,-12 0-15,13 0 0,-1 0 0,-12 0 16,13 0-16,0 0 0,-1 0 0,-12 0 16,13 0-16,-1 0 0,1 0 15,-27-13-15,27 13 0,0 0 16,0 0-16,0 0 0,-1 0 0,-12 0 15,13 0-15,-1 0 16,1-14-16,0 14 0,0 0 0,-14 0 16,14 0-16,0 0 0,0 0 15,-1 0-15,1 0 0,-13 0 0,12 0 16,1 0-16,0 0 16,-14 0-16,14 0 0,-13 0 15,-1 0-15,14 0 16,-13 0-16,12 0 0,1 0 0,-13 0 15,13 0-15,-1 0 0,1-13 16,-13 13-16,12 0 0,1 0 16,-13 0-16,12 0 0,1 0 0,-13 0 15,13 0-15,-1 0 0,1 0 16,-13 0-16,12 0 0,1 0 0,-13 0 16,12 0-16,1 0 0,0 0 0,-27 0 15,27 0-15,0 0 0,0 0 16,-1 0-16,1 0 0,-13 0 15,13 0-15,-1 0 0,1 0 0,0 0 16,-14 0-16,14 13 0,-13-13 0,12 0 16,-12 0-16,13 0 0,0 0 15,-14 14-15,14-14 0,0 0 0,-14 0 16,1 13-16,12-13 0,1 0 16,0 0-16,0 0 0,0 13 0,-1-13 15,1 0-15,0 0 0,0 13 16,-1-13-16,1 0 0,0 13 15,0-13-15,-1 0 0,1 0 16,0 14-16,0-14 0,0 0 0,-1 0 16,1 13-16,-13-13 0,12 0 15,1 13-15,0-13 0,0 0 16,-1 0-16,1 13 0,0-13 0,0 0 16,0 0-16,-1 14 0,1-14 15,0 0-15,0 0 0,-1 0 0,1 13 16,0-13-16,0 0 0,-14 0 0,14 13 15,0-13-15,0 0 0,-27 13 16,27-13-16,-1 0 0,-12 14 16,13-14-16,0 0 0,-1 0 15,1 13-15,0-13 0,0 0 16,-1 13-16,1-13 0,0 0 16,-14 13-16,14 0 0,0-13 15,-13 14-15,12-1 16,1 0-16,0 0 0,13 1 15,-13-14-15,-1 26 0,1-13 0,0 1 16,0 12-16,-14 14 0,1-1 16,13-12-16,13-14 15,-14 13-15,1-12 0,0 12 16,13 1-16,-13-14 0,-1 13 0,1 27 16,0-26-16,13-1 0,-13 27 15,0-26-15,13-14 16,0 13-16,0 1 0,0-1 0,0 1 15,13 26-15,0-27 0,0 0 16,27 27-16,-14-39 0,41 25 16,-41-25-16,40 25 15,-39-39-15,-14 13 16,13-13-16,-13 14 0,1-14 0,12 0 16,-13 0-16,1 0 15,-1-14-15,0 1 16,-13 0-16</inkml:trace>
  <inkml:trace contextRef="#ctx0" brushRef="#br0" timeOffset="35158.56">15042 12039 0,'-14'0'0,"-25"0"32,25 0-32,1 0 0,-13 0 0,12 0 15,1-14-15,-13 14 0,-1 0 0,1-13 16,-14 13-16,1-13 0,-1 0 16,-53-14-16,54 14 0,-1 0 15,0-1-15,0 1 0,1-13 0,12 13 16,-12-14-16,-1 14 0,14-14 15,-14 14-15,13-13 0,1-1 0,-1 1 16,14 13-16,-26-40 16,25 39-16,1-12 0,0 13 15,13-14-15,-13 14 0,13-27 16,-14 27-16,14-13 0,0 12 0,14 1 16,-14 0-16,0-13 0,0 12 0,13 1 15,-13-13-15,13 12 0,0 1 16,1-13-16,-14 12 0,13 1 0,13 0 15,-13 0-15,1 0 0,-1-1 0,13 1 16,-12 0-16,12 0 0,27-14 16,-27 14-16,1 0 15,13-1-15,26 1 0,-27 0 0,1 0 16,0 0-16,-1 13 0,14-14 16,-13 14-16,13-13 0,-13 13 15,13-13-15,-14 0 0,14 13 0,0 0 16,0-14-16,-13 14 0,13-13 0,0 13 15,-1-13-15,1 13 0,0 0 16,0-13-16,13 13 0,1-13 0,12 13 16,-26-14-16,13 14 0,0 0 0,0-13 15,0 13-15,1 0 0,-1-13 16,0 13-16,13 0 0,-13-13 16,14 13-16,-27 0 0,13 0 0,0 0 0,13 0 15,-13 0-15,1 0 0,12-14 16,0 14-16,-13 0 0,14 0 15,-27 0-15,13 0 0,0 0 0,0 0 16,14 0-16,-28 0 0,15 0 0,-1 0 16,0 0-16,0 0 0,0 0 15,0 0-15,1 0 0,12 0 0,-13 0 16,0 0-16,0 0 0,0 0 0,1 0 16,-1 0-16,-13 0 0,13 0 15,79 0-15,-65 0 0,-14 0 16,0 14-16,0-14 0,0 0 0,0 0 15,-13 0-15,80 0 0,-67 13 16,13-13-16,-13 0 16,0 0-16,-13 0 0,93 0 15,-93 0-15,26 13 0,-13-13 0,14 0 16,-1 0-16,-13 0 0,14 0 16,-14 0-16,0 0 0,0 0 0,0 0 15,0 13-15,1-13 0,-15 0 0,15 0 16,-1 14-16,0-14 0,-13 13 0,13-13 15,0 13-15,-13-13 0,13 13 16,0-13-16,0 13 0,-13-13 0,13 14 16,-13-14-16,14 13 0,-1-13 0,0 13 15,-13 0-15,13-13 16,-13 0-16,0 14 0,0-14 0,0 13 16,-1-13-16,1 13 0,14-13 0,-15 13 15,1-13-15,66 13 0,-79-13 16,66 14-16,-53-14 15,0 0-15,0 0 0,0 0 0,0 13 16,-1-13-16,1 0 0,0 0 0,-13 0 16,13 0-16,0 0 0,-13 13 15,-1-13-15,14 0 0,-13 0 0,-14 0 16,14 0-16,-14 0 0,14 0 16,0 0-16,-1 13 0,1-13 0,-13 0 15,26 0-15,-14 0 0,14 14 16,-13-14-16,-14 0 0,27 13 15,-26-13-15,-1 0 0,1 0 16,-14 0-16,13 13 0,1-13 16,-1 0-16,-13 0 0,14 13 0,-1-13 15,1 0-15,-14 14 0,0-14 16,14 0-16,-14 0 0,0 0 0,0 13 16,1-13-16,-1 0 0,0 0 15,14 13-15,-14-13 0,0 13 16,0-13-16,0 0 0,1 0 15,-14 13-15,26-13 0,-13 14 16,1-1-16,-1-13 16,0 0-16,0 13 0,1 0 15,-1-13-15,0 14 0,0-1 0,0-13 16,-13 13-16,14-13 0,-1 13 16,0 1-16,0-14 0,1 26 15,-1-26-15,0 13 0,13 14 16,-26-14-16,14-13 0,-14 13 15,13-13-15,-13 13 0,13-13 16,-13 14-16,13-1 0,-13 0 16,14 0-1,-14 1-15,0-1 16,0 0 0,0 0-1,0 0 1,0 1-16,-14-14 15,14 13-15,0 0 16,0 0-16,-13-13 0,13 14 16,-13-1-16,13 0 15,-13-13-15,13 13 0,0 1 16,-14-14-16,14 13 0,-13 0 16,0 0-16,0-13 0,0 13 15,13 1-15,-14-14 0,1 13 16,0 0-16,0 0 15,-1-13-15,1 14 16,0-14-16,0 13 0,0-13 16,-1 13-16,1-13 0,0 0 0,13 13 15,-13-13-15,-1 0 0,1 0 16,0 13-16,0-13 0,-1 0 0,1 0 16,0 0-16,13 14 0,-13-14 0,0 0 15,-1 0-15,1 0 0,0 0 0,0 0 16,-1 0-16,1 0 0,0 0 15,-14 0-15,14 0 0,0 0 16,-13 0-16,12 0 16,1 0-16,0 0 0,0-14 0,-1 14 15,1 0-15,-13 0 0,12 0 16,1 0-16,0 0 0,-13-13 16,12 13-16,1 0 0,-27 0 15,27 0-15,-13 0 0,12 0 16,1 0-16,-13-13 0,13 13 0,-1 0 15,1 0-15,-13 0 0,12 0 0,1 0 16,0 0-16,-13-13 0,12 13 0,-12 0 16,13 0-16,-27 0 15,27-13-15,-14 13 0,14 0 16,0 0-16,0 0 0,-14 0 0,14-14 16,0 14-16,-1 0 0,-12 0 0,13 0 15,-1-13-15,1 13 16,0 0-16,0 0 0,0 0 0,-1 0 15,-12-13-15,-1 13 0,14 0 16,0 0-16,0 0 0,0 0 16,-1 0-16,1 0 0,0 0 0,0 0 15,-1 0-15,14-13 0,-13 13 0,0 0 16,0 0-16,-1 0 0,1 0 16,0 0-16,0 0 0,0 0 15,-1 0-15,1 0 0,0 0 0,0 0 16,-1 0-16,1 13 0,0-13 0,-14 0 15,14 0-15,0 0 16,0 0-16,0 0 0,-14 0 0,1 0 16,12 0-16,-12 0 0,13 13 15,-14-13-15,14 0 0,-13 0 0,12 0 16,-12 0-16,-1 0 0,14 0 16,-13 0-16,-1 0 0,14 0 0,-13 0 15,-1 0-15,14 0 0,-14 0 0,1 0 16,0 0-16,12 0 0,-12 0 15,-1 0-15,1 0 0,13 13 16,-14-13-16,1 0 0,13 0 0,-14 0 16,1 0-16,-1 0 0,14 0 0,-14 0 0,1 0 15,0 0-15,-1 0 16,14 0-16,-14 0 0,1 0 0,0 0 16,12 0-16,-12 0 0,13 0 0,-14 0 15,1 0-15,12 0 0,-12 0 16,0 0-16,12 0 0,-12 0 0,13 0 15,-14 0-15,1 0 0,12 0 0,-12 0 16,0 0-16,12 0 0,-12 0 0,13 0 16,-14 0-16,1 0 0,12 0 15,-12 0-15,0 0 0,-1 0 0,14 0 16,-14-13-16,1 13 0,-1 0 0,-25 13 16,25-13-1,1 0-15,-1 0 0,14 0 0,-13 0 16,-27 0-16,26 0 0,1 0 15,-1 0-15,1 0 0,-1 0 0,1 0 16,-1 0-16,1 0 0,-14 0 16,14 0-16,-27 0 0,13 0 15,14 0-15,-40-13 0,39 13 16,1 0-16,-1 0 0,1 0 16,-1 0-16,1 0 0,-1 0 15,1 0-15,13 0 0,-14 0 0,1 0 16,13-13-16,-14 13 0,14 0 0,0 0 15,-1 0-15,1-13 0,-27 13 16,27 0-16,0 0 0,0 0 16,0-14-16,-1 14 0,1 0 0,0 0 15,0 0-15,-1 0 16,1 0-16,0 0 0,0 0 16,-1 0-16,1 0 0,0 0 15,0 0-15,-14 0 16,14 0-16,-13 0 15,-1 0 1,1 0 0,-1 0-1,14 0-15,-13 0 16,12 0-16,1 0 16,0 0-16,0 0 0,-1 0 15,1 0-15,-79-13 16,78 13-1,-12 0-15,13 0 0,-14 0 0,14 0 16,-13 0-16,-1 0 0,1-13 16,-1 13-16,1 0 0,-1 0 0,1 0 15,-14 0-15,14 0 0,-1-13 16,-12 13-16,12 0 0,-13 0 0,14 0 16,-14 0-16,14 0 0,-14-13 0,14 13 15,-14 0-15,13 0 0,1 0 16,-14 0-16,14-14 0,-1 14 0,-12 0 15,12 0-15,1 0 0,-14 0 16,14-13-16,-1 13 0,1 0 0,-1 0 16,1 0-16,-1-13 0,14 13 0,-13 0 15,12 0-15,-12 0 0,13 0 16,0 0-16,-27-13 0,27 13 16,-1 0-16,1 0 0,0 0 0,0 0 15,-1 0-15,1 0 0,0 0 16,0 0-16,0 0 15,-1 0 1,1 0-16,0 13 16,0-13-1,-1 0-15,1 0 0,0 0 16,0 0 0,0 13-16,-1-13 0,1 0 15,0 0 1,0 13-16,-1-13 0,1 0 15,0 0-15,0 0 0,-1 0 16,1 0-16,13 14 0,-13-14 16,0 0-16,-14 0 0,14 0 15,0 0-15,0 0 0,-14 0 0,14 0 16,-14 13-16,14-13 0,-13 0 0,-1 0 16,1 0-16,-1 0 0,14 13 15,-13-13-15,-1 0 0,-26 0 16,40 0-16,-13 0 0,-1 0 0,1 0 15,-1 0-15,14 13 0,-13-13 16,-1 0-16,1 0 0,12 0 0,-12 0 16,0 0-16,12 0 0,-12 0 0,13 0 15,-1 0-15,-12 0 0,13 0 16,-14 0-16,14 0 0,0 0 16,-14 0-16,14 0 0,0 0 0,0 0 15,-27 0-15,27 13 0,-1-13 16,-12 0-16,13 0 0,0 14 15,-1-14-15,1 0 0,0 13 0,-14-13 16,14 0-16,0 0 0,0 13 0,0-13 16,-1 0-16,1 0 0,0 13 15,0-13-15,-1 0 0,1 0 0,0 0 16,0 14-16,-27-14 0,27 0 16,0 0-16,-1 13 0,-12-13 15,13 0-15,-14 0 0,14 0 16,-14 13-16,1-13 0,13 0 15,-14 0-15,14 0 0,0 13 0,0-13 16,-14 0-16,14 0 0,0 0 16,-14 0-16,14 0 0,0 0 0,-14 0 15,14 0-15,0 0 0,-14 0 16,14 13-16,0-13 16,0 0-16,-1 0 0,1 0 15,0 0-15,0 0 16,-14 0-16,27 14 15,-13-14-15,0 0 16,0 0-16,-1 13 16,1-13-1,0 0-15,13 13 16,-13-13-16,0 0 0,-1 0 16,1 13-16,-13-13 0,12 0 15,1 14-15,0-14 0,0 0 16,-1 0-16,1 0 0,0 13 0,0-13 15,0 0-15,-1 0 0,-12 0 16,13 13-16,-1-13 0,-25 0 16,25 0-16,1 0 0,0 0 15,-13 13-15,12-13 0,-12 0 16,-1 0-16,14 0 0,0 0 0,-13 14 16,12-14-1,-12 0-15,13 0 0,-1 0 16,-12 0-16,13 0 0,-1 0 15,1 13-15,0-13 0,0 0 16,0 0-16,-1 0 16,1 0-16,0 13 0,0-13 0,-1 0 15,1 0-15,0 0 0,0 0 16,-1 13-16,1-13 16,0 0-16,0 0 15,0 13-15,-1-13 16,1 0-16,0 0 15,0 14 1,-1-28 15,14 1-15,0 0 0</inkml:trace>
  <inkml:trace contextRef="#ctx0" brushRef="#br0" timeOffset="43415.67">11959 4934 0,'0'14'0,"0"65"16,0-66-1,-13 14-15,13-1 0,0-13 0,0 14 16,0-1-16,0-12 0,0 12 0,0-13 16,0 14-16,-13-14 0,13 0 15,0 0-15,0 1 0,0-1 16,0 0-16,0 0 0,0 1 16</inkml:trace>
  <inkml:trace contextRef="#ctx0" brushRef="#br0" timeOffset="43701.95">11933 4921 0,'13'-13'16,"0"13"-16,27 0 15,-27 0 1,0 13-16,1 0 0,-1 1 16,-13-1-16,13 13 0,-13-12 0,0-1 15,0 0-15,0 0 0,-13 1 16,13 12-16,-13-13 0,-1 0 16,1 1-16,0 12 0,0-26 0,-1 13 0,1 1 15,13-1-15,-13-13 16,0 0-16,13 13 0,-14-13 0</inkml:trace>
  <inkml:trace contextRef="#ctx0" brushRef="#br0" timeOffset="43957.38">12237 4855 0,'-26'53'31,"12"-40"-31,1 0 0,0 14 0,0-1 16,-1 14-16,14-13 0,0-1 0,-13 0 15,13-12-15,0 12 0,0 1 0,0-14 16,0 13-16,13 1 0,1-14 16,-14 0-16,26 14 15,-13-27-15,1 0 16,-1 0-16,0 0 0,0 0 0,0-14 15,14 14-15</inkml:trace>
  <inkml:trace contextRef="#ctx0" brushRef="#br0" timeOffset="44135.6">12422 5120 0,'-13'39'0,"26"-78"0,0 12 0,-13 14 15,0 0-15,0 39 47,0-13-47,0 1 16,0 12-16,0-13 15,0 1-15,0-1 16,0 0-16,0 0 0,0 1 0,0-1 16,0 0-16,0 0 15</inkml:trace>
  <inkml:trace contextRef="#ctx0" brushRef="#br0" timeOffset="44553.58">12634 4762 0,'0'0'0,"26"40"0,-12-27 15,-1 14-15,-13-14 0,13 27 16,0-14-16,-13 14 0,13 0 0,-13-14 16,0 14-16,0-14 0,0 14 0,-13 26 15,13-39-15,-13-1 16,0 0-16,13-12 0,-13 12 0,-1 1 16,14-14-16,0 0 0</inkml:trace>
  <inkml:trace contextRef="#ctx0" brushRef="#br0" timeOffset="44803.25">13679 4934 0,'13'-13'16,"-26"26"-16,39-26 0,-12 0 0,-1 13 0,0 0 15,0 0-15,14 0 0,-14-13 0,0 13 16,0 0-16,1 13 16,-1-13-16,-13 13 15</inkml:trace>
  <inkml:trace contextRef="#ctx0" brushRef="#br0" timeOffset="44958.07">13586 5146 0,'0'0'15,"14"13"1,-1-26 0,0 13-16,0 0 0,14 0 15,-1-13-15,-13 0 16,27-1-16,0 14 0,-14-13 0,14 0 15,0 0-15,-14 0 0</inkml:trace>
  <inkml:trace contextRef="#ctx0" brushRef="#br0" timeOffset="45286.31">14830 4643 0,'13'0'0,"40"14"31,-40-1-31,14 13 16,-27-12-16,13 12 0,0-13 0,-13 14 15,0-14-15,0 13 0,0 1 16,0-1-16,0 1 0,-13 12 16,0 1-16,-1-13 0</inkml:trace>
  <inkml:trace contextRef="#ctx0" brushRef="#br0" timeOffset="45439.19">14764 5345 0,'0'0'0,"26"-14"32,-13 14-17,-13-13-15,14 13 16,12-13-16</inkml:trace>
  <inkml:trace contextRef="#ctx0" brushRef="#br0" timeOffset="45834.42">16378 4948 0,'13'-27'16,"0"27"-16,0 0 0,1-13 16,-1 13-16,13 0 0,14-13 15,-27 13-15,14 0 0,39 0 16,-53 13-1,0-13-15</inkml:trace>
  <inkml:trace contextRef="#ctx0" brushRef="#br0" timeOffset="45983.24">16484 5067 0,'-14'0'0,"14"13"15,27-13 1,-14 0-1,0 0-15,0 0 0,1 0 0,12-13 16,1 13-16,-1-13 0,1 13 0,-1-14 16</inkml:trace>
  <inkml:trace contextRef="#ctx0" brushRef="#br0" timeOffset="46178.57">17092 4670 0,'13'-27'0,"-26"54"0,0-40 31,13 26-15,-13 0-16,-1 14 0,1-14 15,0 13-15,0 14 0,13-27 16,-14 0-16,14 14 0,0-14 16,0 0-16,0 1 15,14-1-15</inkml:trace>
  <inkml:trace contextRef="#ctx0" brushRef="#br0" timeOffset="46418.47">17542 4657 0,'-13'13'31,"-1"0"-31,1 0 0,-13 14 16,-1-1-16,1 1 0,-1 12 0,-52 41 15,39-41-15,1 1 16,12 0-16,-52 52 0,52-52 0,-12 0 16,12-14-16,14 1 0,-14-1 15,14 1-15,0-14 0,0 13 16,13-12-16,-13-1 0,26 0 0,0-13 16</inkml:trace>
  <inkml:trace contextRef="#ctx0" brushRef="#br0" timeOffset="46682.33">17291 5292 0,'-27'26'0,"54"-52"0,-54 65 0,14-25 16,13-1-16,0 0 15,13 0-15,0-13 16,1 0-16,-1 0 0,0 0 15,0 0-15,0 0 0,1 0 16,-1 0-16,0-13 0,-26 0 31,0 13-31,-1 0 16,-12 13-16,0-13 0,-1 0 0,1 13 16,-14 1-16,0-1 0,1-13 0,-1 13 15,0 0-15,0-13 0</inkml:trace>
  <inkml:trace contextRef="#ctx0" brushRef="#br0" timeOffset="47413.46">12250 6152 0,'-13'26'15,"0"-13"-15,13 0 16,0 14-16,-13-1 0,13 1 0,-14-14 15,14 27-15,0-14 0,0 1 0,0-1 16,0 1-16,0-1 0,0 1 16,0-1-16,0-13 0,0 14 0,0-14 15,14 0-15,-14 0 0,0 1 0,0-1 16,13 0-16,-13 0 0</inkml:trace>
  <inkml:trace contextRef="#ctx0" brushRef="#br0" timeOffset="47650.62">12118 6138 0,'13'-26'0,"-26"52"0,26-65 0,0 39 0,1-14 16,-1 14-16,13 14 15,-12-14-15,-14 13 0,13 0 16,0 0-16,0 1 0,0 12 0,-13-13 15,0 0-15,14 14 0,-14-14 16,0 14-16,-14-14 0,14 13 0,0-12 16,-13 12-16,13-13 0,-13 14 15,0-14-15,0 0 0,13 0 0,-14 1 16,1-14-16</inkml:trace>
  <inkml:trace contextRef="#ctx0" brushRef="#br0" timeOffset="47878.52">12356 6019 0,'-13'27'0,"-14"12"16,27-12-16,-13-1 16,13 14-16,0 0 0,0-14 0,-13 14 15,13 0-15,0-14 0,0 14 0,13 39 16,-13-52-16,13-1 0,-13 0 15,14-12-15,-1 12 16,-13-13-16,26 1 0,-26-1 0,13 0 0,14 0 16,-14-13-16,0 0 0,1 0 0,-1 0 15</inkml:trace>
  <inkml:trace contextRef="#ctx0" brushRef="#br0" timeOffset="48326.36">12594 6390 0,'13'-14'15,"1"14"1,-1 0 0,0 14-16,-13-1 15,13-13-15,-13 13 0,14-13 16,-1 13-16,0 1 0,0-1 15,0-13-15,-13 13 0,14 0 16,-1 1-16,0-14 0,-13 13 0,13 0 16,1 0-16,-14 0 0,0 14 31,-14-14-31,1-13 0,0 27 16,0-27-16,-14 0 0,1 13 15,13-13-15,-1 0 16,1 0-16,0-13 0,0 13 0</inkml:trace>
  <inkml:trace contextRef="#ctx0" brushRef="#br0" timeOffset="48542.48">12687 5993 0,'53'0'0,"-27"0"15,1 0-15,-14 13 0,27 13 0,-14-12 16,0 12-16,1 1 0,13 39 15,-27-27-15,0 1 0,0-13 16,1 12-16,-14 1 0,13 26 16,-13-26-16,0-14 0,-13 14 15,13-14-15,0-12 0,0 12 16,0-13-16,0 1 0,13-1 0,-13 0 16</inkml:trace>
  <inkml:trace contextRef="#ctx0" brushRef="#br0" timeOffset="48901.69">13692 6324 0,'27'0'0,"39"-14"31,-53 14-31,0 0 0,0 14 16,1-14-16,-14 13 16,0 0-16,-14 0 15,1 0-15,13 1 16,-13-14-16,0 13 0,0 0 16,-1 0-16,1 1 15,0-1 1,26-13-1,14 0 1,-14 0-16,13-13 0,-13 13 16,40-27-16,-26 27 15,-1-13-15,14 0 0,0-1 0,-14 14 16,54-26-16,-28 26 0</inkml:trace>
  <inkml:trace contextRef="#ctx0" brushRef="#br0" timeOffset="49262.15">15954 6363 0,'14'0'16,"-28"0"-16,41-13 0,-14 13 0,0 0 15,27 0-15,-27 0 0,0 0 16</inkml:trace>
  <inkml:trace contextRef="#ctx0" brushRef="#br0" timeOffset="49442.48">16060 6509 0,'13'0'31,"14"0"-15,-14-13-16,0 13 0,14 0 15,-14-14-15,0 14 0,0 0 16,1-13-16</inkml:trace>
  <inkml:trace contextRef="#ctx0" brushRef="#br0" timeOffset="49659.71">16616 6006 0,'0'-13'0,"0"26"0,0 0 31,0 0-31,0 1 0,-13-1 15,13 13-15,-14-12 0,14 12 16,-13 14-16,0-27 0,0 27 16,-1-1-16,1-12 0,13-14 15,-13 14-15,13-14 0,0 0 16,0 0-16,13-13 0,-13 13 16</inkml:trace>
  <inkml:trace contextRef="#ctx0" brushRef="#br0" timeOffset="49915.61">17105 6046 0,'14'-14'0,"-41"41"32,14-14-32,0 0 15,-1 14-15,-12-1 0,-1 1 16,1-1-16,-14 14 0,14 0 0,-53 39 15,52-39-15,-13-1 0,-26 41 16,27-54-16,25 14 0,-25-14 16,25 1-16,-12-1 0,13 1 15,-27 12-15,40-12 0,-13-14 16,0 0-16,13 1 16</inkml:trace>
  <inkml:trace contextRef="#ctx0" brushRef="#br0" timeOffset="50182.24">16894 6681 0,'-40'39'0,"14"-25"16,26-1-16,-14 0 0,1 14 15,0-14-15,13 0 0,0 0 16,13 0-16,-13 1 0,13-14 15,1 13-15,-1-13 16,0 0-16,0-13 0,0 13 0,1 0 16,-1-14-16,0 1 0,0 13 15,1-13-15,-14 0 0,0 0 16,-14 13-16,1-14 16,0 14-16,0 0 0,-14 0 15,14 0-15,-13 0 16</inkml:trace>
  <inkml:trace contextRef="#ctx0" brushRef="#br0" timeOffset="50681.85">12621 7752 0,'-14'0'0,"-12"66"31,26-39-31,-13-1 0,13 1 16,-14-1-16,14-12 0,-13 12 0,13 0 16,0 1-16,0-14 0,0 14 0,0-14 15,0 0-15,0 0 0</inkml:trace>
  <inkml:trace contextRef="#ctx0" brushRef="#br0" timeOffset="50957.58">12515 7739 0,'0'-40'16,"0"80"-16,13-80 0,-13 27 0,13 13 0,-13-13 15,13 13-15,1 0 16,-1 13-16,0-13 0,0 13 0,-13 1 16,14-1-16,-14 0 0,13 0 0,-13 1 15,0 12-15,-13-13 16,13 14-16,-14-14 0,14 13 0,-13-12 16,0 25-16,0-25 0,13-1 15,-14-13-15,1 26 0</inkml:trace>
  <inkml:trace contextRef="#ctx0" brushRef="#br0" timeOffset="51167.86">12846 7633 0,'-40'53'31,"40"-26"-31,-13-1 16,13 1-16,-14-1 0,1 0 0,13 14 16,-13-13-16,13-1 0,0-13 0,0 14 15,0-14-15,0 13 0,0-12 16,0 12-16,13-13 0,-13 1 16,13-14-16,1 13 0,-1-13 0</inkml:trace>
  <inkml:trace contextRef="#ctx0" brushRef="#br0" timeOffset="51540.15">13150 7832 0,'-27'0'32,"14"0"-32,13 13 15,-13 0-15,0-13 0,-1 13 0,1 14 16,0-14-16,13 0 0,-13 1 0,0 12 15,-1-13-15,14 0 16,0 1-16,-13-14 0,26 13 16,1-13-1,12 0-15,-26-13 16,13-1-16,0 1 0,1 0 16,-1 0-16,0 0 15,-13-1-15,13 1 0,1 0 16,-14 0-1,0 39 1,-14-13-16,14 1 16,0-1-16,0 0 0,0 0 15,0 0-15,0 1 16,0-1-16,0 0 0,14-13 16</inkml:trace>
  <inkml:trace contextRef="#ctx0" brushRef="#br0" timeOffset="51746.19">13256 7620 0,'0'-13'16,"0"26"-16,13-26 16,0 26-16,-13 0 15,13 0-15,-13 14 0,0-14 0,14 14 16,-14 26-16,13-14 15,-13-12-15,13-1 0,-13 1 16,0-1-16,13 1 0,0-1 0,-13 0 16,27-12-16,-14 12 0,27-13 15</inkml:trace>
  <inkml:trace contextRef="#ctx0" brushRef="#br0" timeOffset="51986.24">14473 7699 0,'26'-13'15,"-13"13"-15,1 0 0,-1 0 16,0 0-16,14 0 0,-14 0 16,0 0-16</inkml:trace>
  <inkml:trace contextRef="#ctx0" brushRef="#br0" timeOffset="52158.24">14473 7885 0,'-14'0'0,"41"-14"32,-1 14-32,-12-13 0,12 13 15,14-13-15,-14 0 0,14-1 0,0 1 16,-1 0-16,1 0 0,0 0 16,-1-1-16</inkml:trace>
  <inkml:trace contextRef="#ctx0" brushRef="#br0" timeOffset="52493.77">16708 7250 0,'0'39'15,"0"-26"-15,0 1 0,0-1 16,0 13-16,0-12 0,0 12 0,-13 1 15,13-14-15,0 13 0,0-13 16,-13 14-16,13-14 0,0 0 0,0 1 16,0-1-16,13 0 0</inkml:trace>
  <inkml:trace contextRef="#ctx0" brushRef="#br0" timeOffset="52746.57">17119 7276 0,'-40'26'31,"13"-12"-31,14-1 0,-13 13 0,12 1 16,-12-1-16,0 1 0,-1-1 0,1 14 16,-1 0-16,-12-1 0,25 1 0,-25 0 15,25-14-15,-12 1 0,-1 12 16,1-12-16,13-1 0,0 1 0,-1-14 15,-12 13-15,26-12 16,-13-1-16,13 0 0,0 0 16</inkml:trace>
  <inkml:trace contextRef="#ctx0" brushRef="#br0" timeOffset="53062.52">17224 7554 0,'-26'26'0,"13"-26"16,-1 14-16,1 12 0,-13 14 16,13-14-16,-1 1 15,1 12-15,0-25 0,13 12 16,0-13-16,0 0 0,13 1 15,-13-1-15,27 13 0,-14-12 16,0-14-16,0 0 0,0 0 16,1-14-16,-1 1 15,-40 0 1,14 13-16,0-13 16,0 13-16,0 0 0,-14 0 0,1 0 15,-1 0-15,1 0 0,-1 0 0,-12 13 16</inkml:trace>
  <inkml:trace contextRef="#ctx0" brushRef="#br0" timeOffset="53771.31">13309 8930 0,'0'-14'0,"-27"14"31,14 14-31,0-1 16,-1-13-16,14 13 0,-13-13 16,0 13-16,13 1 0,-13-1 0,13 0 15,-14 0-15,28 1 16,-14-1-16,13 0 16,0 0-16,0 0 0,1-13 0,-1 14 15,-13-1-15,13 0 0,0-13 0,-13 13 16,14 1-16,-14-1 15,0 0-15,0 0 16,0 1-16,-14-14 0,1 13 16,0-13-16,0 0 0,-1 0 15,14-13 1,-13-1-16</inkml:trace>
  <inkml:trace contextRef="#ctx0" brushRef="#br0" timeOffset="53950.21">13084 8850 0,'-27'0'16,"54"0"-16,-67 14 0,27-1 0,0 0 0,-14 0 16,14 14-16,-14-1 0,14 14 15,0-14-15,13 14 0,-13 0 0,13-14 16,0 14-16,13 0 0,-13-1 0,13 1 16,0 0-16,1-14 0,-1 14 15,0-14-15,14-13 0,-14 14 0,0-14 16,27 0-16,-27-13 0</inkml:trace>
  <inkml:trace contextRef="#ctx0" brushRef="#br0" timeOffset="54158.37">13520 8850 0,'0'0'0,"13"0"0,1 14 0,-1-1 15,0 0-15,0 27 16,1-14-16,-1 1 16,0 12-16,0-12 0,0-1 0,-13 14 15,14-14-15,-14 1 0,0-1 0,0 27 16,13-40-16,-13 14 0,13-14 16</inkml:trace>
  <inkml:trace contextRef="#ctx0" brushRef="#br0" timeOffset="54410.17">15028 8969 0,'27'0'15,"-14"-13"-15,0 13 0,0 0 16,1 0-16,-1 0 0,13 0 0,-12 0 16</inkml:trace>
  <inkml:trace contextRef="#ctx0" brushRef="#br0" timeOffset="54637.28">15015 9141 0,'-26'0'31,"52"0"-15,-13-13-1,14 13-15,-14-13 0,0 13 16,14 0-16,-14-13 0,13-1 0,-12 14 15,12-13-15,-13 0 0,14 13 16,-14-13-16,13 0 0,-12-1 0,12 14 16,-13-13-16,14 0 0,-14 0 0,14-1 15,-1 1-15,0 0 0</inkml:trace>
  <inkml:trace contextRef="#ctx0" brushRef="#br0" timeOffset="54904.95">16682 8268 0,'-40'53'15,"40"-40"-15,0 1 0,-13 12 16,13-13-16,-13 14 0,13 26 16,-13-40-16,13 13 0,-14 1 15,14-1-15,0 1 0,0-14 0,-13 0 16,13 14-16,13-14 0</inkml:trace>
  <inkml:trace contextRef="#ctx0" brushRef="#br0" timeOffset="55147.16">16920 8493 0,'-53'40'16,"40"-27"-16,-13 0 16,12 14-16,-12-1 15,-1 1-15,1-1 0,-40 53 16,39-39-16,1 0 0,-40 39 15,39-39-15,14-14 0,-27 41 16,27-41-16,0 0 0,0-12 16,-1-1-16,14 0 0,0 0 0,0 1 15,0-1-15,27-26 16,-14 13-16</inkml:trace>
  <inkml:trace contextRef="#ctx0" brushRef="#br0" timeOffset="55394.52">16775 8956 0,'-27'66'32,"14"-52"-32,0 12 0,13-13 15,-14 14-15,14-14 16,0 0-16,0 0 0,0 14 0,0-14 16,14 0-16,-1 1 0,0-14 15,0 13-15,1-13 0,-1 0 0,0 0 16,0 0-16,1 0 0,-1-13 0,0 13 15,0 0-15,-13-14 0,0 1 16,-13 0-16,-13 0 16,-1 13-16,-13-14 0,-13 28 15,14-14-15,-27 0 0,-1 13 16,1 0-16,0 0 0</inkml:trace>
  <inkml:trace contextRef="#ctx0" brushRef="#br0" timeOffset="55963.11">13692 10120 0,'-26'80'0,"26"-67"0,0 0 16,13 0-16,-13 14 0,13-14 0,-13 14 15,13-14-15,14 0 16,-14 13-16,0-12 0,14-14 0,26 26 15,-40-26-15,13 0 0,-12 0 0,12 0 16,-13 0-16,1-13 0,-1 13 16,-13-13-16,0-1 15,-27 14 1,27-13-16,-13 13 0,0 0 0,0 0 16,-1 0-16,1 0 0,0 0 15,0 0-15,-1 0 16</inkml:trace>
  <inkml:trace contextRef="#ctx0" brushRef="#br0" timeOffset="56126.14">14552 10081 0,'53'0'0,"-27"13"31</inkml:trace>
  <inkml:trace contextRef="#ctx0" brushRef="#br0" timeOffset="56287.43">14605 10226 0,'-13'13'0,"26"-26"0,-39 26 16,26 1-16,26-14 31,-13-14-15,0 14-16,1-13 0,12 13 15,1-13-15,-1 0 0,14-1 16,-1 1-16,-12 0 0,13 0 0,-14 0 16,14-1-16</inkml:trace>
  <inkml:trace contextRef="#ctx0" brushRef="#br0" timeOffset="56629.24">16417 9684 0,'0'26'31,"0"-13"-31,0 1 15,-13-1-15,13 40 16,0-40-16,0 0 16,0 0-16,13-13 0,-13 14 0,14-14 15,-1 0-15</inkml:trace>
  <inkml:trace contextRef="#ctx0" brushRef="#br0" timeOffset="56852.43">16960 9472 0,'-53'27'32,"40"-14"-32,-14 13 0,14 1 0,-13-1 15,-14 40-15,0-26 16,14 0-16,-1-1 0,1 1 0,-1 0 16,-12-1-16,-14 54 0,39-67 15,-12 14-15,13-13 0,-14-1 16,14 14-16,0-27 0,-14 27 15,14-27-15,13 0 0,-13 0 0,13 1 16</inkml:trace>
  <inkml:trace contextRef="#ctx0" brushRef="#br0" timeOffset="57151.37">16761 10107 0,'-53'106'31,"53"-80"-31,0-12 0,0-1 0,0 13 16,14-12-16,-14-1 0,13 0 0,0 0 16,0 0-16,14-13 0,-14 14 15,14-14-15,-14 0 0,0-14 16,0 14-16,14 0 0,-14-13 0,0 13 15,-13-13-15,-13 13 16,13-13 0,-13 13-16,-14 0 0,14 13 0,0-13 15,-14 0-15,14 0 0,-13 0 0,-1 13 16,14-13-16,-14 0 0</inkml:trace>
  <inkml:trace contextRef="#ctx0" brushRef="#br0" timeOffset="57890.18">18653 3122 0,'27'-13'16,"-1"13"-16,-13 0 0,14-13 15,-14 13-15,0 0 0,0 0 16</inkml:trace>
  <inkml:trace contextRef="#ctx0" brushRef="#br0" timeOffset="58039.09">18640 3321 0,'13'13'16,"0"-13"-16,1 0 0,-1 0 16,0 0-16</inkml:trace>
  <inkml:trace contextRef="#ctx0" brushRef="#br0" timeOffset="58455.58">18283 5080 0,'39'-13'0,"-78"26"0,92-26 16,-40 13-16,0-13 0,0 13 15</inkml:trace>
  <inkml:trace contextRef="#ctx0" brushRef="#br0" timeOffset="58624.11">18190 5358 0,'27'0'0,"-14"0"15,-13-13-15,26 13 0,-13-14 16,14 14-16,-1 0 0,1-13 16,-1 13-16,-12 0 0,12 0 0,0 0 15</inkml:trace>
  <inkml:trace contextRef="#ctx0" brushRef="#br0" timeOffset="59467.34">19698 2844 0,'13'0'0,"-26"27"31,0-14-15,13 0-1,13-13-15,-13 13 16,13-13-16,1 14 0,-1-1 16,0 0-16,-13 0 15,13-13-15,-13 14 0,14-1 0,-14 0 16,0 0-16,0 0 0,-14 14 16,1-14-16,0 0 15,0 1-15,-1-14 16,1 13-16,0-13 0,0 13 15,0-26-15</inkml:trace>
  <inkml:trace contextRef="#ctx0" brushRef="#br0" timeOffset="59859.46">19936 2752 0,'14'0'0,"-1"13"31,-13 0-31,0 0 15,0 1-15,13-1 0,-13 0 16,0 0-16,13-13 0,-13 14 0,13-1 16,-13 0-16,14 0 0,-1 0 15,-13 1-15,0-1 16,13-13-16,-13 13 0,0 0 0,0 1 16,0-1-1,13-13-15,-26 13 0,13 0 16,-13-13-1,0 0-15,13 13 16</inkml:trace>
  <inkml:trace contextRef="#ctx0" brushRef="#br0" timeOffset="63637.32">20611 2646 0,'-106'92'31,"80"-65"-31,-1-14 0,1 14 16,-1-1-16,-26 1 0,40-14 15,0 0-15,0 0 0,-14 0 0,14 1 16</inkml:trace>
  <inkml:trace contextRef="#ctx0" brushRef="#br0" timeOffset="63883.18">20360 2818 0,'13'13'16,"0"0"15</inkml:trace>
  <inkml:trace contextRef="#ctx0" brushRef="#br0" timeOffset="64437.47">20360 2434 0,'13'40'31,"0"-40"-31</inkml:trace>
  <inkml:trace contextRef="#ctx0" brushRef="#br0" timeOffset="64594.17">20664 2844 0,'-13'14'16</inkml:trace>
  <inkml:trace contextRef="#ctx0" brushRef="#br0" timeOffset="65297.07">19632 4683 0,'13'-13'0,"-26"26"0,40-26 15,-27 26-15,13-13 16,-13 13 0,0 1-16,-13-14 0,13 13 0,0 0 15,-14 0-15,14 0 0,0 1 16,0-1-16,0 0 0,14-13 16,-14 13-1,13-13-15,0 14 0,13-14 16,-26 13-16,14-13 0,-1 13 15,-13 0-15,13-13 0,-13 14 16,0-1-16,0 0 16,-13-13-16,13 13 0,-13 0 15,-1 1-15,1-1 0,0-13 16,13 13-16,-13-13 0,0 0 16,13 13-16,-14-13 0</inkml:trace>
  <inkml:trace contextRef="#ctx0" brushRef="#br0" timeOffset="65730.35">19897 4696 0,'13'-13'0,"0"13"31,0 0-31,1 0 0,-14 13 16,13-13-16,-13 14 15,0-1-15,-13 0 16,13 0 0,0 0-16,0 1 0,13-14 15,-13 13-15,0 0 16,0 0-16,13 1 0,-13-1 16,0 0-16,-13 0 15,13 1-15,-13-1 16,-1 0-16,1 0 0,13 0 15,-13-13-15,0 14 0,-1-14 16,14 13-16</inkml:trace>
  <inkml:trace contextRef="#ctx0" brushRef="#br0" timeOffset="65906.46">20241 4696 0,'13'0'0,"-26"0"0,26 27 31,-26-14-31,-1 0 16,14 0-16,-13 1 0,0 12 0,0-13 15,-1 14-15,1-14 0,0 0 16,0 1-16,-14 25 0,14-26 16</inkml:trace>
  <inkml:trace contextRef="#ctx0" brushRef="#br0" timeOffset="66061.21">19976 4749 0,'0'0'0,"0"-13"0,0 0 16,13 13-1,14 13-15</inkml:trace>
  <inkml:trace contextRef="#ctx0" brushRef="#br0" timeOffset="66198.5">20214 4882 0,'13'0'31,"1"-14"-15</inkml:trace>
  <inkml:trace contextRef="#ctx0" brushRef="#br0" timeOffset="67196.45">19778 6204 0,'13'0'0,"13"14"16,-26-1-1,-13 0-15,13 14 0,-13-14 0,0 0 16,13 0-16,-14-13 0,1 27 16,13-14-16,-13-13 0,13 13 15,13 0-15,0-13 16,-13 14-16,14-14 15,-1 0-15,-13 13 0,13-13 16,0 0-16,-13 13 0,14-13 0,-1 0 16,-13 13-16,0 1 15,0-1-15,-13 0 16,-1 0-16,1 1 0,0-1 16,-14-13-16,14 13 0,0-13 0,0 13 15,-1-13-15,1 0 16,0 0-16</inkml:trace>
  <inkml:trace contextRef="#ctx0" brushRef="#br0" timeOffset="67515.5">19989 6231 0,'0'26'31,"0"-12"-31,0-1 0,0 0 16,0 0-1,0 1-15,13-14 0,-13 13 16,14-13-16,-14 13 0,13 0 16,-13 0-16,13-13 0,-13 14 0,0-1 31,0 0-31,0 0 0,-13 1 15,13-1-15,-13-13 0,-1 13 16,1 0-16,0 1 0,0-14 16,0 13-16,13 0 0,-27 0 15,14-13-15</inkml:trace>
  <inkml:trace contextRef="#ctx0" brushRef="#br0" timeOffset="67747.2">20373 6244 0,'13'0'0,"-26"0"0,39-13 15,-26 26 1,14 0-16,-28 1 16,14-1-16,0 0 0,-13 14 15,13-14-15,-13 0 0,0 13 0,-1-12 16,1-1-16,0 0 0,0 0 15,13 1-15,-13-1 0,-1 0 16,1 0-16,0 1 0,0-1 16</inkml:trace>
  <inkml:trace contextRef="#ctx0" brushRef="#br0" timeOffset="67909.7">20201 6284 0,'13'-13'31,"0"26"-15,1-13-16,-1 0 16</inkml:trace>
  <inkml:trace contextRef="#ctx0" brushRef="#br0" timeOffset="68015.92">20466 6390 0,'13'0'0</inkml:trace>
  <inkml:trace contextRef="#ctx0" brushRef="#br0" timeOffset="69051.25">19989 7488 0,'13'-14'16,"1"14"-1,-14 14 1,0-1-16,0 0 16,13 0-1,-13 1 1,13-14-16,-13 13 0,13 0 15,-13 0-15,14 1 16,-14-1 0,0 0-16,-14 0 0,14 0 15,-13 1-15,13-1 0,-13 0 0,0 0 16,-1 1-16,14-1 0,-13-13 16,0 13-16,0 0 0,0 1 15</inkml:trace>
  <inkml:trace contextRef="#ctx0" brushRef="#br0" timeOffset="69358.47">20148 7448 0,'0'13'31,"13"0"-31,-13 1 15,13-14-15,-13 13 16,14-13-16,-1 13 16,0 0-16,0-13 0,1 14 15,-14-1-15,13-13 16,-13 13-16,0 0 16,0 1-16,0-1 15,-13 0-15,13 0 0,-14 0 16,1 1-16,0-1 15,0 0-15,-1 0 16,1-13-16,13 14 16</inkml:trace>
  <inkml:trace contextRef="#ctx0" brushRef="#br0" timeOffset="69547.61">20598 7488 0,'26'-14'15,"-12"28"1,-14-1 0,0 0-16,-14-13 0,14 27 0,-13-14 15,13 0-15,-13 14 0,-27 12 16,27-26-16,-14 14 0,14-1 16,0-12-16,0-1 0,0 0 0,-1 0 15</inkml:trace>
  <inkml:trace contextRef="#ctx0" brushRef="#br0" timeOffset="69694.53">20413 7474 0,'0'0'0,"13"0"31</inkml:trace>
  <inkml:trace contextRef="#ctx0" brushRef="#br0" timeOffset="69829.11">20704 7646 0,'13'0'31,"0"-13"-15</inkml:trace>
  <inkml:trace contextRef="#ctx0" brushRef="#br0" timeOffset="70670.53">20227 8520 0,'0'0'0,"0"-14"0,14 14 16,-1 0-16,0 14 15,-13-1 1,13 0-16,-13 0 16,0 0-16,14-13 0,-14 14 0,0-1 15,13 0-15,0 0 16,0 1-16,-13-1 0,13-13 0,-13 13 15,14 0-15,-14 1 0,0-1 16,0 0-16,0 0 16,-14 0-16,14 1 0,-13-1 0,13 0 15,-26 0-15,13 1 0,-1-14 16,1 13-16,0-13 16,0 0-1</inkml:trace>
  <inkml:trace contextRef="#ctx0" brushRef="#br0" timeOffset="70973.59">20413 8533 0,'0'0'15,"13"-13"-15,0 13 0,0 0 16,1 13 0,-1-13-16,-13 13 0,0 0 15,0 0-15,0 1 16,13-1-16,-13 0 15,0 0-15,13-13 0,-13 14 0,13-14 16,-13 13-16,14-13 0,-1 13 16,0 0-16,0-13 0,1 14 15,-1-1-15,-13 0 16,13 0-16,-26 14 16,0-14-1,-1 0-15,1 0 16,0 1-16,0-1 0,-1-13 0,1 13 15,0 0-15</inkml:trace>
  <inkml:trace contextRef="#ctx0" brushRef="#br0" timeOffset="71178.16">20902 8559 0,'0'13'32,"0"14"-32,-13-14 0,13 0 15,-13 1-15,-1 12 0,1 1 0,0-1 16,-27 27-16,27-40 0,0 14 16,13-14-16,-13 0 0,-1 0 15,14 1-15,-13-14 0</inkml:trace>
  <inkml:trace contextRef="#ctx0" brushRef="#br0" timeOffset="71295.5">20757 8665 0,'13'0'0</inkml:trace>
  <inkml:trace contextRef="#ctx0" brushRef="#br0" timeOffset="71415.45">20942 8784 0,'13'13'16,"-26"-26"-16,39 26 0,-26 1 0,13-14 15,1 0 1,-14 13-16,13-13 16</inkml:trace>
  <inkml:trace contextRef="#ctx0" brushRef="#br0" timeOffset="72575.61">20545 9723 0,'13'-13'0,"-26"26"0,39-26 0,-12 13 16,-1 13-1,-26 1 1,13-1-16,0 0 0,-14-13 16,14 13-16,-13-13 0,13 14 15,0-1-15,0 0 16,0 0-16,0 0 15,0 1 1,13-1-16,-13 0 0,14 0 16,-14 1-16,0-1 0,0 0 15,0 0-15,0 1 0,0-1 16,0 0 0,-14 0-16,1 0 0,0-13 15,0 14-15,-1-14 16</inkml:trace>
  <inkml:trace contextRef="#ctx0" brushRef="#br0" timeOffset="72872.16">20651 9803 0,'0'0'0,"0"-13"0,13 13 15,0 0 1,-13 13-16,13 0 15,1 0 1,-1-13-16,-13 13 0,13-13 16,-13 14-16,13-14 0,-13 13 15,14-13-15,-14 13 0,13 0 16,0 1-16,-13-1 0,0 0 16,13-13-16,-13 13 0,0 1 0,0-1 15,0 0-15,-26 66 31,13-65-31,13-1 16,-14-13-16,14 13 0</inkml:trace>
  <inkml:trace contextRef="#ctx0" brushRef="#br0" timeOffset="73043.05">21087 9790 0,'0'0'15,"0"13"1,0 0-16,-13 0 16,0 0-16,13 14 0,-13-14 0,-1 14 15,-12-1-15,13 14 0,-14-14 16,14 1-16,0-1 0,-14 1 16,14-1-16,0 1 0,-14-1 15</inkml:trace>
  <inkml:trace contextRef="#ctx0" brushRef="#br0" timeOffset="73135.84">20902 9988 0,'0'0'0,"13"-26"0</inkml:trace>
  <inkml:trace contextRef="#ctx0" brushRef="#br0" timeOffset="73256.41">21101 9962 0,'13'0'0,"-26"0"0,39 0 15,-26 13-15,0 0 32,-13-13-17,0 0-15</inkml:trace>
</inkml:ink>
</file>

<file path=ppt/ink/ink27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2:45:30.021"/>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7422 1733 0,'0'-13'15,"-14"13"32,1 13-15,13 0-32,0 0 0,0 1 15,0 12-15,-13-13 0,13 27 0,-13 0 16,13-1-16,-14 1 0,14 0 15,-13 26-15,13-26 16,-13-14-16,13 1 0,0-1 0,0-13 16,0 14-16,0-1 0,0-13 15,13 14-15,-13-14 0,0 14 0,0-14 16,0 0-16,0 0 0</inkml:trace>
  <inkml:trace contextRef="#ctx0" brushRef="#br0" timeOffset="872.54">7316 1720 0,'26'-13'16,"-52"26"-16,65-40 0,-25 27 0,12-13 16,-13 13-16,14-13 0,-1 13 15,1-13-15,12-1 0,1 14 0,0-13 16,-1 13-16,1-13 0,0 0 0,-14 13 15,14 0-15,-14-13 0,1 13 16,-1 0-16,1 0 0,-14-14 0,27 14 16,-27 0-16,0 0 0,0 0 15,1-13-15,-1 13 0,0 0 0,14 0 16,-14 0 0,0 0-1,0 0-15,-13-13 16,13 13-1,1 13 32,-28 0-15,14 1-32,0-1 15,0 0 1,0 0-16,0 0 0,0 1 15,0 12-15,0-13 0,0 1 0,0 12 16,0-13-16,0 14 16,0-1-16,0 1 0,0-1 0,0 1 0,0-14 15,0 13-15,0 1 0,0-1 16,14 1-16,-14-1 0,0 1 16,0-1-16,13 0 0,-13-12 0,0 12 15,0-13-15,13 14 0,-13-14 0,0 13 16,0-12-16,0-1 0,13 0 15,-13 0-15,0 1 0,0-1 0,0 0 16,0 0-16,0 1 0,0-1 16,0 0-16,-13 0 15,13 0 1,0 1-16,-13-1 16,0-13-1,-1 0-15,1 0 16,-13 0-16,13 0 0,-14 13 0,1-13 15,-27 0-15,13 13 0,-13-13 0,0 14 16,0-1-16,-13 0 0,0 0 16,0 1-16,13-1 0,-13 0 0,13 13 15,0-12-15,0 12 0,13-13 0,1 14 16,12-14-16</inkml:trace>
  <inkml:trace contextRef="#ctx0" brushRef="#br0" timeOffset="1607.32">9194 2990 0,'-13'79'31,"13"-52"-31,-13 12 16,13 1-16,0 0 0,-13-1 0,13 1 15,0 0-15,-14 39 16,14-39-16,-13-14 0,13 1 15,0-1-15,0 1 0,-13-14 0,13 27 16,0-27-16,0 0 0,0 0 16,0 0-16,0 1 0</inkml:trace>
  <inkml:trace contextRef="#ctx0" brushRef="#br0" timeOffset="1940.23">9075 3149 0,'13'-40'0,"-26"80"0,26-93 0,1 39 16,-1 1-16,0 0 0,14 13 0,-14-13 15,13-1-15,1 14 0,-1-13 16,1 13-16,-1 0 0,-13 13 0,14-13 15,-1 14-15,-13-1 0,1 0 0,-1 0 16,-13 1-16,13 12 0,-13-13 16,0 1-16,-13 12 0,13-13 0,-27 40 15,1-26-15,13-1 0,-14 1 16,14-14-16,-13 0 0,12 0 16,1 0-16,0 1 0,0-1 0,0-13 15,-1 13-15,1-13 0,0 0 16,0 0-1,13-13-15</inkml:trace>
  <inkml:trace contextRef="#ctx0" brushRef="#br0" timeOffset="2208.17">9618 3003 0,'-40'40'31,"40"-27"-31,-27 13 0,14 1 16,0 13-16,0-14 0,-14 14 0,14-1 0,0 1 15,13-13-15,-13 12 0,-1 1 0,14-14 16,-13 1-16,13-1 16,0-13-16,0 14 0,0 13 15,0-27-15,0 0 0,0 0 16,0 1-16,13 12 0,-13-13 0,14 0 15,-14 1 1,13-14-16,0 0 0,0 0 16</inkml:trace>
  <inkml:trace contextRef="#ctx0" brushRef="#br0" timeOffset="2530.3">10028 3294 0,'0'0'0,"-40"13"31,27-13-15,0 14-16,-14-1 0,1 0 0,-1 0 16,1 0-16,12 1 0,-25 12 15,26-26-15,-1 13 0,1 1 16,0-14-16,13 13 0,-13-13 0,-1 13 15,14 0 1,0 0 0,14-13-16,-1 0 0,0 0 15,27 0-15,-27 0 16,13 0-16,-12 0 0,12-13 16,-13 13-16,1-13 0,12 13 0,-13 0 15,1-13-15,-1 13 0</inkml:trace>
  <inkml:trace contextRef="#ctx0" brushRef="#br0" timeOffset="2721.45">10041 3294 0,'-13'0'0,"-14"27"32,14-27-32,13 26 0,-13-13 15,13 0-15,-13 14 0,13-14 0,-14 14 16,14-14-16,0 0 0,0 13 0,0-12 15,0-1-15,0 0 0,0 0 16,14 14-16,-14-14 0,0 0 16,13-13-16,-13 14 0</inkml:trace>
  <inkml:trace contextRef="#ctx0" brushRef="#br0" timeOffset="3005.7">10120 2950 0,'80'66'32,"-67"-26"-32,0-14 0,0 1 0,14 39 15,-14-26-15,-13-14 0,0 1 16,13-1-16,-13 1 0,0-1 0,-13 0 15,13 1-15,0-1 16,-13 1-16,0-1 0,13 1 0,-14-14 16,14 0-16,0 0 0,-13 1 0,13-1 15,-13 0-15</inkml:trace>
  <inkml:trace contextRef="#ctx0" brushRef="#br0" timeOffset="3183.23">10544 3241 0,'13'0'16,"-26"0"-16,39 0 0,-13 0 0,1-13 16,-1 13-16,0 0 0,0 0 0,14 13 15,-14-13 1,-13 13-16,0 1 15,0-1-15,-13 0 0</inkml:trace>
  <inkml:trace contextRef="#ctx0" brushRef="#br0" timeOffset="3357.27">10491 3440 0,'26'0'31,"-13"0"-31,1-14 15,-1 14-15,0 0 0,0-13 0,1 13 16,12 0-16,-13-13 0,0 13 0,1-13 16,-1 13-16,0 0 0,-13-14 15,13 14-15,1 0 0</inkml:trace>
  <inkml:trace contextRef="#ctx0" brushRef="#br0" timeOffset="3880.12">11483 3016 0,'-13'106'31,"13"-79"-31,-14-14 0,14 26 16,-13 1-16,13-13 0,-13-1 0,13-13 15,-13 14-15,13-1 0,-13-13 0,13 14 16,0-14-16,0 0 0,-14-13 16</inkml:trace>
  <inkml:trace contextRef="#ctx0" brushRef="#br0" timeOffset="4171.34">11840 3069 0,'0'0'0,"0"-13"0,-13 39 16,13-12-1,-27-1-15,14 13 0,-13 14 16,-1-14-16,-12 14 0,12 13 15,-13-13-15,1-1 0,12 1 0,-12 13 16,-1-13-16,0-1 0,14 1 16,-14 0-16,0-1 0,1 1 0,12-13 15,1 12-15,-1-12 0,-26 26 16,40-40-16,0 13 0,0-12 0,-1-1 16,1 0-16,13 0 15,-13-13-15,13 14 0,13-14 16</inkml:trace>
  <inkml:trace contextRef="#ctx0" brushRef="#br0" timeOffset="4543.1">11628 3651 0,'-66'53'31,"53"-40"-31,0 1 16,0 12-16,13 1 0,-14-1 0,1 0 15,0 1-15,13-14 0,0 14 0,0-14 16,0 0-16,0 14 0,13-14 0,0-13 16,1 13-16,-1 0 0,13-13 15,-12 0-15,12 0 0,0 0 16,-12 0-16,-1 0 0,0-13 15,0 13-15,-13-13 16,0 0-16,-13-1 16,0 14-1,0-13-15,-1 13 0,1 0 0,0 0 16,0 0-16,0 0 0,-1 0 16,1 0-16,0 0 0,0-13 0,-1 13 15,1-13-15,13-1 16</inkml:trace>
  <inkml:trace contextRef="#ctx0" brushRef="#br0" timeOffset="4811.43">12475 3109 0,'66'-13'31,"-39"13"-31,-14 0 16,0 0-16,0 0 0,14 0 15,-14 13-15,0-13 0</inkml:trace>
  <inkml:trace contextRef="#ctx0" brushRef="#br0" timeOffset="4984.02">12435 3334 0,'14'0'31,"12"0"-31,-13 0 0,1 0 16,12 0-16,-13-13 0,14 13 0,-14 0 16,13-14-16,1 14 0,-14 0 15,0 0-15,14-13 0</inkml:trace>
  <inkml:trace contextRef="#ctx0" brushRef="#br0" timeOffset="6485.36">13428 2897 0,'13'-13'0,"-26"26"0,39-26 0,1 13 16,-14 0 0,0 13-16,0 0 15,-13 1-15,0-1 16,0 0-16,0 0 15,-13 1-15,13-1 0,-13 0 16,13 0-16,0 0 16,0 1-1,13-1-15,0-13 16,-13 13-16,13-13 0,-13 13 16,14-13-16,-14 14 0,13-14 15,-13 13-15,13 27 31,-26-27-31,0 0 16,-1-13-16,1 13 16,-13 0-16,13-13 15,-1 0-15,1 14 0</inkml:trace>
  <inkml:trace contextRef="#ctx0" brushRef="#br0" timeOffset="6971.53">13639 2897 0,'0'-13'32,"-13"39"-17,13-12 1,0-1-1,0 0-15,0 0 16,13 1 0,0-1-16,1 0 15,-14 0-15,13 0 16,0-13-16,-13 14 16,13-1-16,-26 0 15,13 0-15,-13-13 0,0 14 16,-1-1-16,1 0 15,0-13-15,0 13 0,-14 1 16,14-14-16,13 13 16</inkml:trace>
  <inkml:trace contextRef="#ctx0" brushRef="#br0" timeOffset="7224.4">14142 2805 0,'0'26'47,"-13"-13"-47,0 1 0,-1 25 15,1-12-15,0-14 0,-14 40 16,14-40-16,0 13 15,-14-12-15,14-1 0,0 13 0,-13 1 16,26-14-16,-14 0 0,1 1 16,0-1-16</inkml:trace>
  <inkml:trace contextRef="#ctx0" brushRef="#br0" timeOffset="7388.45">13745 2950 0,'-13'-13'0</inkml:trace>
  <inkml:trace contextRef="#ctx0" brushRef="#br0" timeOffset="7540.43">14261 3029 0,'0'0'0,"13"0"31</inkml:trace>
  <inkml:trace contextRef="#ctx0" brushRef="#br0" timeOffset="7788.29">13229 3466 0,'53'-26'16,"-106"52"-16,133-66 0,-28 27 0,-12 0 0,79-14 15,-53 14-15,0 0 16,14 0-16,-14-14 0,13 27 0,-12-13 16,-1 0-16,-13 0 0,-14 13 0,1-14 15,13 14-15,-27 0 16,-26 14-16</inkml:trace>
  <inkml:trace contextRef="#ctx0" brushRef="#br0" timeOffset="7988.48">13229 3598 0,'0'0'15,"13"-13"-15,14 0 16,13 0-16,-1-1 0,27 1 0,-13 0 15,13 0-15,1-14 0,12 14 16,-13 0-16,0 0 0,0-1 0,1 1 16,-1 0-16,-13 0 0,-14 13 0,1-14 15,0 14-15,-14-13 0,1 13 16</inkml:trace>
  <inkml:trace contextRef="#ctx0" brushRef="#br0" timeOffset="8158.35">14724 3334 0,'13'0'15,"-26"-13"17,0 13-32,13-14 15,-13 14-15,-1 0 0,14-13 0</inkml:trace>
  <inkml:trace contextRef="#ctx0" brushRef="#br0" timeOffset="8931.79">13547 2858 0,'26'-14'16,"-13"14"-1,1 0-15,-1 0 16,0 0-16,0 0 16,-13 14-16,13-1 0,-13 0 15,0 0-15,-13 0 0,0 27 16,0 0-16,-14-14 0,14 1 15,-13-1-15</inkml:trace>
  <inkml:trace contextRef="#ctx0" brushRef="#br0" timeOffset="18798.08">9750 6760 0,'0'-13'32,"-13"39"14,13-12-46,0-1 0,0 0 16,-14 13-16,14 1 0,0-1 16,-13 14-16,13 0 0,0-1 0,-13 1 15,13 0-15,0 0 0,0 12 0,-13-12 16,13 13-16,0-13 0,0 13 16,-13 39-16,13-39 0,0-13 15,0 26-15,0-13 0,0 13 0,-14-13 16,14 0-16,0 13 0,0-13 15,0 0-15,0 0 0,0 0 16,0 0-16,0 0 0,0-1 0,0-12 16,0 13-16,0-13 0,-13 52 15,13-52-15,0 0 0,-13-1 16,13 1-16,0 0 0,-13 26 16,13-40-16,0-12 0,-14 39 15,14-40-15,0 13 0,0-13 0,0 1 16,0-1-16,0 0 0,0 0 15,-13 1-15,13-1 16,0 0-16,0 0 16,0 1 15,0-1-15,13-13-1,1 0-15,-14 13 16,13-13-16,13 0 0,-12 0 15,12 0-15,0 0 0,14-13 0,13 13 16,0 0-16,0 0 0,13-13 16,13 13-16,-12-14 0,12 14 15,14-13-15,-14 13 0,0-13 0,14 13 16,-1 0-16,-12-13 0,12 13 0,1 0 16,0-14-16,-1 14 0,-12 0 15,12 0-15,1 0 0,-14 0 0,93 0 16,-79 0-16,-1 0 0,-12 0 15,-1 0-15,1 0 0,-14 0 0,13-13 16,-13 13-16,-13 0 0,13 0 16,-13 0-16,0 0 0,0 0 0,-13 0 15,-14 0-15,1 0 0,-1 0 0,1 0 16,-14 0-16,0 0 0,0 0 16,14-13-16,-14 13 0,0 0 15,-13-13-15,13 13 16,-13-14-16,14 14 15,-14-13 1,0 0 0,0 0-16,0 0 15,0-1-15,0 1 16,0 0-16,0-14 0,13-12 16,-13-1-16,13 0 0,-13-13 0,13 0 15,1-13-15,-1 0 0,13-66 16,-13 66-16,1-14 0,-1 14 15,0 0-15,0-13 0,1 13 0,-14-1 16,13-12-16,0 13 0,-13 0 0,13 0 16,-13-1-16,0 15 0,14-15 0,-14 14 15,0 14-15,13-14 16,-13 0-16,0 13 0,0 1 0,13-1 16,-13-13-16,0 27 0,0-1 15,13 14-15,-13 0 0,0-1 0,0 1 16,0 0-16,0 0 0,0-1 15,0 1-15,0 0 16,-13 39 31,13-12-31,0-1-16,0 0 15,13-13-15,-13 13 16</inkml:trace>
  <inkml:trace contextRef="#ctx0" brushRef="#br0" timeOffset="21332.88">10041 6879 0,'0'-13'0,"0"26"0,-13-26 16,13 0 0,0 39 15,0-13-31,-14 14 16,14-1-16,-13-12 0,13-1 0,0 13 15,-13-13-15,13 14 0,0-14 16,0 0-16,0 1 0,-13 12 15,13-13-15,0 1 0,0-1 16</inkml:trace>
  <inkml:trace contextRef="#ctx0" brushRef="#br0" timeOffset="21897.36">10041 6906 0,'13'-14'15,"-13"1"1,13 13-16,1 0 16,-1 0-16,0 0 0,0 0 15,1 13-15,-14 1 16,13-1-16,-13 0 15,-13-13-15,13 13 0,0 1 0,-14-1 16,14 0-16,-13 0 16,13 0-1,0 1-15,13-14 16,1 0-16,-14 13 16,13-13-16,0 13 15,0-13-15,-13 13 0,13 1 16,-13-1-16,0 0 15,-13-13-15,13 13 0,-13-13 16,0 14-16,-14-1 0,1 0 16,13-13-16,-1 0 0,1 13 15,0-13-15,0 0 0,-1 0 16,41-13 0</inkml:trace>
  <inkml:trace contextRef="#ctx0" brushRef="#br0" timeOffset="22264.33">10808 6853 0,'-13'0'0,"0"13"15,13 0 1,0 0-16,0 1 0,0-1 15,-13 13-15,13-12 0,-14 12 16,14-13-16,0 0 0,-13 14 0,13-14 16,0 0-16,0 1 0,0-1 15,0 0-15,0 0 0,-13-13 0,13 14 16,13-14-16,-13 13 0,0 0 16</inkml:trace>
  <inkml:trace contextRef="#ctx0" brushRef="#br0" timeOffset="22880.28">10795 6906 0,'13'-14'16,"0"14"-16,1 0 16,-1 0-16,13 0 15,-12 0 1,-1 0-16,-13 14 0,0-1 15,-13 0-15,13 0 16,-14 1-16,14-1 16,-13-13-16,13 13 0,0 0 15,13 0 1,-13 1-16,14-14 16,-1 13-16,-13 0 0,13-13 0,0 13 15,1 1-15,-1-1 16,-13 0-1,-13 0-15,13 1 16,-14-14-16,14 13 0,-13-13 16,0 13-16,0-13 15,13 13-15,-14-13 0,1 0 0,0 13 16,0 1-16</inkml:trace>
  <inkml:trace contextRef="#ctx0" brushRef="#br0" timeOffset="23327.22">10226 7818 0,'0'0'0,"-13"-13"16,0 40 0,13-14-16,-14 0 15,14 14-15,-13-14 0,13 13 16,-13-12-16,13-1 0,-13 13 0,13-13 16,-13 14-16,13-14 0,0 0 15,0 14-15,-14-14 0,14 0 16,0 0-16,0 1 0,0-1 0,14 0 31</inkml:trace>
  <inkml:trace contextRef="#ctx0" brushRef="#br0" timeOffset="23911.05">10147 7871 0,'13'-13'16,"-13"0"-16,13 13 0,0 0 15,1 0-15,-1 0 16,0 0-16,-13 13 15,13-13-15,-13 13 16,0 1-16,14-1 16,-14 0-16,13-13 15,-13 13-15,13-13 0,-13 14 16,13-14-16,-13 13 0,14-13 16,-14 13-16,13-13 0,-13 13 15,0 0 1,0 1-16,0-1 0,-13 0 15,13 0-15,-14-13 0,1 14 0,13-1 16,-66 26 15,39-12 110</inkml:trace>
  <inkml:trace contextRef="#ctx0" brushRef="#br0" timeOffset="24027.19">10702 7818 0,'14'106'15,"-14"-92"1,0 12-16,0-13 0,-14-172 0,28 345 16,-28-173-16,14 0 15,0 0-15,0 14 0,0-14 16,14-13-16</inkml:trace>
  <inkml:trace contextRef="#ctx0" brushRef="#br0" timeOffset="24562.2">10755 7779 0,'0'-13'15,"0"26"-15,0-40 0,14 14 16,-1 13-16,0 0 16,-13-13-16,26 26 0,-12-13 15,-1 0-15,-13 13 0,13 1 16,-13-1 0,-13 0-16,13 0 0,0 0 15,-13 1-15,13-1 16,13-13-1,-13 13-15,13-13 0,0 13 16,1-13-16,-1 14 0,0-14 16,-13 13-16,13-13 0,1 13 15,-1 0-15,-13 1 16,0 12-16,-13-26 16,-1 13-16,1 0 0,-13 14 15,-14-1-15,13-12 16,1-14-16,-14 13 15,14 0-15,-1-13 0,1 13 0</inkml:trace>
  <inkml:trace contextRef="#ctx0" brushRef="#br0" timeOffset="25244.27">10186 7858 0,'0'-13'31,"-13"0"-31,13-1 15,13 1-15,-13 0 16,0 0-16,0 0 16,14-1-16,-14 1 0,13 0 0,0-14 15,0 27-15,-13-13 0,14 13 16,-1-13-16,0 13 0,14 0 16,-14 0-16,0 0 15,0 0-15,14 40 31,-27-27-31,0 0 0,-14 0 16,1 1-16,0-1 0,0 0 16,0 0-16,-14 0 0,1 14 0,12-14 15,1 0-15,0 1 0,0-1 0,-1 0 16</inkml:trace>
  <inkml:trace contextRef="#ctx0" brushRef="#br1" timeOffset="30805.72">11814 7369 0,'0'-14'0,"0"41"31,0-14-31,0 0 15,0 1-15,0-1 0,0 26 16,0-12-16,0-1 0,0 1 16,0-1-16,-14 1 0,14-1 0,0 27 15,-13-40-15,13 14 0,-13 13 16,13-14-16,-13-13 16,13 0-16,0 1 0,0-1 15</inkml:trace>
  <inkml:trace contextRef="#ctx0" brushRef="#br1" timeOffset="31224.14">11827 7461 0,'13'-13'0,"-26"26"0,39-26 16,-12 0-16,-1 13 0,0 0 16,0 0-16,14 13 0,-14-13 0,0 0 15,14 26-15,-14-26 16,-13 27-16,0-14 0,0 0 15,-13 14-15,-1-14 16,-12 0-16,13 14 0,-1-14 0,1 0 16,0-13-16,-13 13 0,26 1 0,-14-14 15,1 13-15,0 0 16,26 0 0,0-13-1,1 14-15,-1-14 0,26 0 16,-12 13-16,-14-13 0,14 0 0,12 13 15,-25-13-15,-1 0 0,0 0 16,0 0-16,0 0 0,14 13 16,-14-13-1</inkml:trace>
  <inkml:trace contextRef="#ctx0" brushRef="#br0" timeOffset="42733.02">16470 7144 0,'0'39'31,"0"-25"-31,0 12 0,0-13 16,0 1-16,-13 12 0,13 0 16,0-12-16,0 12 0,0 1 0,0-14 15,0 13-15,-13-12 0,13 12 16,0-13-16,0 0 0,0 1 0,0-1 15,0 0-15,-13 0 0,13 1 0,0-1 16</inkml:trace>
  <inkml:trace contextRef="#ctx0" brushRef="#br0" timeOffset="43157.22">16417 7131 0,'0'-27'0,"40"14"16,-27 13 0,1 0-16,-1 0 0,13 13 15,-13-13-15,1 13 0,-1-13 0,0 14 16,14-1-16,-14 0 0,0 0 15,0 0-15,-13 1 0,0-1 16,0 0-16,0 0 0,0 1 0,-26 12 16,13 0-16,-1-12 0,-12-1 15,-1 13-15,14-12 0,0-14 0,0 13 16,-14 0-16,14 0 16,0-13-16,0 0 0</inkml:trace>
  <inkml:trace contextRef="#ctx0" brushRef="#br0" timeOffset="43452.98">16920 7011 0,'-26'0'0,"12"14"16,14 12-16,-13-13 0,0 14 15,0 13-15,0-14 0,-1 14 16,1-1-16,0-12 0,13 12 0,-13-12 16,13-1-16,0 1 0,0-1 0,13 1 15,-13-1-15,13 1 0,0-1 16,1 1-16,-1-14 0,0 0 0,27 27 16,-27-40-16,0 13 0,0 0 15,1-13-15,-1 0 0,0 0 16,0 0-16,0 0 15,1 0-15,-1-13 0,0 0 0,0 13 16,1-13-16,-14-14 0</inkml:trace>
  <inkml:trace contextRef="#ctx0" brushRef="#br0" timeOffset="43697.11">17171 7170 0,'0'-13'0,"-13"13"31,0 26-15,13-12-16,0-1 0,0 0 16,0 14-16,0-14 0,0 13 0,0-13 15,0 14-15,0-1 0,0-12 0,0 12 16,0-13-16,0 1 0,0 12 16,-13-13-16,26 0 0,-13 1 15,0-1-15,0 0 0,0 0 16,0 1-1</inkml:trace>
  <inkml:trace contextRef="#ctx0" brushRef="#br0" timeOffset="44493.02">17145 7210 0,'13'-13'15,"0"13"-15,-13-14 0,14 14 16,-1 0-16,0 0 0,14 0 16,-14 0-16,-13 14 15,13-14-15,0 0 0,-13 13 16,14 0-16,-14 0 15,0 1-15,0-1 16,0 0-16,0 0 0,13 0 16,-13 1-16,0-1 15,13-13-15,-13 13 0,13 0 0,0 1 16,-13-1-16,14 0 16,-14 0-16,13 1 0,-13-1 15,0 0-15,-13 0 16,13 0-16,-14-13 0,14 14 15,-13-14-15,0 13 0,0-13 16,-27 13-16,27-13 0,-14 0 16,14 13-16,0-13 0,0 0 0,-14-13 15,14 13-15,0-13 16</inkml:trace>
  <inkml:trace contextRef="#ctx0" brushRef="#br0" timeOffset="44769.21">17317 6906 0,'26'0'16,"1"13"-16,-14 0 0,14 14 16,-1-1-16,0 0 0,-12 1 15,-1 13-15,0-14 0,14 1 16,-14-1-16,0 14 0,-13-14 0,13 1 15,-13-1-15,0 0 0,0 1 0,0-1 16,0-12-16,-13 12 0,13 1 0,-13-14 16,0 13-16,13-13 0,-14 1 15,1 12-15,0-13 0,13 1 16,-13-14-16</inkml:trace>
  <inkml:trace contextRef="#ctx0" brushRef="#br0" timeOffset="44968.3">17992 7183 0,'26'0'15,"-13"-13"-15,1 13 0,-1 0 16,0 0 0,0 0-16</inkml:trace>
  <inkml:trace contextRef="#ctx0" brushRef="#br0" timeOffset="45176.4">17859 7395 0,'40'0'31,"-27"0"-31,1 0 0,-1-13 0,0 13 16,0 0-16,0-13 0,1 13 16,-1 0-16,0-14 0,0 14 15,1-13-15</inkml:trace>
  <inkml:trace contextRef="#ctx0" brushRef="#br0" timeOffset="46313.21">19315 6906 0,'0'13'32,"0"0"-32,0 0 0,0 1 0,0 12 15,0 0-15,-14 14 0,1-13 16,0 12-16,-14 27 0,14-39 16,0-1-16,0 1 0,0-1 0,13-13 15,-14 14-15,1-14 0,13 0 16,-13 1-16,13-1 0</inkml:trace>
  <inkml:trace contextRef="#ctx0" brushRef="#br0" timeOffset="46555.89">19751 7104 0,'0'13'0,"-66"53"15,13 1 1,13-28-16,1 1 16,-1-14-16,-39 54 15,-14-1-15,53-39 0,1 0 16,-54 26-16,67-40 0,-1 1 16,1-14-16,-1 13 0,14-12 15,0-1-15,-14 13 0,27-13 16</inkml:trace>
  <inkml:trace contextRef="#ctx0" brushRef="#br0" timeOffset="47003.32">19592 7673 0,'14'-13'16,"-28"26"-16,41-26 0,-54 13 31,14 0-31,0 13 16,0-13-16,-14 13 0,14-13 15,0 0-15,0 13 0,-1-13 16,1 14-16,0-14 0,0 13 16,13 0-16,-14-13 0,14 13 15,0 1-15,14-1 0,-1 0 16,-13 0-16,13 0 0,0 1 16,1-1-16,-14 0 0,13 0 0,0 1 15,-13-1-15,0 0 0,0 0 16,-13 1-16,13-1 15,-13 0-15,-14 0 0,14 0 0,-27 14 16,14-27-16,-1 13 16,14-13-16,0 13 0,0-13 0,-1 0 15,1 0-15,13-13 16,0 0-16,13 0 0,-13-14 16</inkml:trace>
  <inkml:trace contextRef="#ctx0" brushRef="#br0" timeOffset="48305.95">20651 6813 0,'0'0'0,"13"-13"15,0 0 1,0 13 15,-13-14 0,14 14 1,-14-13 61,13 26 17,-13 1-110,0-1 15,0 13 1,13-26-16,-13 13 0,0 1 16,0-1-16,0 0 15,0 0 1,13 1 0,1-28-1,12 14-15,-13-13 16,0 0-16,27 0 0,0-1 15,0-12-15,12-14 0,1 14 16,0-1-16,0-12 0,0-1 0,13 14 16,0-14-16,1 0 0,25 1 15,-26-1-15,0 13 0,67-26 0,-67 27 16,-13 0-16,0-1 0,-14 14 16,1 0-16,-13-1 0,-1 1 0,0 0 15,-12 13-15,12-13 0,-13 13 16,1-14-16,-1 14 0,0 0 0,-13-13 15,13 13-15,1 0 0,-1-13 16,0 13 0,-26 13 46,13 0-46,-13-13-16,13 14 15,-14-14-15</inkml:trace>
  <inkml:trace contextRef="#ctx0" brushRef="#br0" timeOffset="48749.1">21603 7316 0,'-13'13'31,"0"0"-31,0 14 0,-14-1 16,14 1-16,-14 12 0,1-12 15,-1 12-15,1 1 0,-14 0 16,27-14-16,-27 14 0,14-14 0,13 14 0,-40 13 15,26-27-15,1 14 16,13-13-16,-1-14 0,-12 0 16,26 0-16,-13-13 0,0 14 15</inkml:trace>
  <inkml:trace contextRef="#ctx0" brushRef="#br0" timeOffset="49015.77">21101 7501 0,'13'0'0,"53"53"16,-53-40-16,14 14 15,-14-14-15,13 13 0,27 27 16,-26-40-16,-1 14 0,27 13 15,-40-27-15,14 0 0,-1 13 16,-13-26-16,1 14 16,-1-1-16,0-13 0,0 0 0,-13 13 15,14-13-15,-1-13 16,-13 0-16,-13-1 16,-1 1-16</inkml:trace>
  <inkml:trace contextRef="#ctx0" brushRef="#br0" timeOffset="49595.91">20082 7131 0,'66'-14'31,"-53"14"-31,0 0 16,1 0-16,-1 0 0,0 0 15,0 0-15,1 0 16,-1-13-16,0 13 16,0 0-16</inkml:trace>
  <inkml:trace contextRef="#ctx0" brushRef="#br0" timeOffset="50022.71">20214 6959 0,'0'0'0,"27"13"63,-14-13-63,0 13 15,0-13-15,1 13 0,-1 0 16,0-13-16,0 14 16,0-1-16,1-13 15,-1 13-15,0 0 16,0-13-16,-13 14 15,14-1 1,-14 0 0,-14 0-16,14 1 0,-13-1 15,0 0-15,0 0 0,-1 14 0,-12-1 16,13-13-16,-14 27 0,14-14 16,-13 1-16,12 13 0,-12-14 0,13 14 15</inkml:trace>
  <inkml:trace contextRef="#ctx0" brushRef="#br0" timeOffset="60912.87">17899 9274 0,'27'13'32,"-14"-13"-17,0 0-15,0 0 0,0 0 16,1 0-16,-1 0 0,0 0 0,0 0 16,1 0-16,-1 0 0,0 0 0,0 0 15</inkml:trace>
  <inkml:trace contextRef="#ctx0" brushRef="#br0" timeOffset="61184.95">17859 9446 0,'0'0'0,"27"13"15,-14-26 1,0 13-16,1 0 0,-1 0 0,0 0 16,0 0-16,0 0 0,1 0 15,12-14-15,-13 14 0,1 0 16,-1 0-16,0 0 0,0 0 0,1 0 16,-1 0-16,0 0 0,0 0 0,0 0 15,1 0 1,-1 0-16,0 0 15</inkml:trace>
  <inkml:trace contextRef="#ctx0" brushRef="#br0" timeOffset="67781.07">19209 9062 0,'13'0'15,"-26"13"1,0 0-16,-1 1 16,1-1-16,0 0 0,0-13 15,-1 13-15,-12 1 0,13-1 16,-1 0-16,-12 0 0,13 1 0,0-1 16,-1 0-16,1-13 0,0 13 0,0-13 15,-1 13-15,1 1 0,13-1 16,13 0-1,1-13 1,-1 0-16,13 0 0,-12 0 16,12 0-16,0 0 0,1-13 15,-1 13-15,1 0 0,-1-13 0,1 13 16,12-14-16,-25 14 0,-1 0 16,0-13-16,0 13 15,-13-13-15</inkml:trace>
  <inkml:trace contextRef="#ctx0" brushRef="#br0" timeOffset="67993.22">19169 9155 0,'-26'13'0,"52"-26"0,-66 39 0,27-26 15,13 13-15,0 1 0,-13-1 0,13 0 16,0 13-16,-13-12 15,13 12-15,0 1 0,-14-1 0,1 0 0,13 1 16,-13-1-16,13 1 0,-13-14 16,13 0-16,0 14 0,-13-14 0,13 0 15,-14 14-15,14-14 0,-13 0 16,13 0-16</inkml:trace>
  <inkml:trace contextRef="#ctx0" brushRef="#br0" timeOffset="68288.06">18653 9790 0,'0'0'0,"27"-14"16,-1 1-1,-13 13-15,14-13 0,-1 13 16,14-13-16,0-1 0,12 1 0,-12 0 16,0 13-16,13-13 0,-14 0 0,14-1 15,-13 14-15,0-13 0,-14 0 0,1 13 16,-1 0-16,1-13 0,-14 13 16,0 0-16,14 0 0,-14 0 15,0 0-15,0 0 0,0 0 16</inkml:trace>
  <inkml:trace contextRef="#ctx0" brushRef="#br0" timeOffset="68901.23">19196 10147 0,'-14'-13'16,"-12"13"-16,13 0 15,-1 13-15,-12-13 0,13 0 0,-1 13 16,-12-13-16,13 13 0,-14-13 16,14 0-16,0 13 0,0-13 0,13 14 15,-14-14-15,14 13 16,14 0-16,-1-13 0,0 13 16,0-13-16,14 14 0,-1-14 15,14 13-15,-27-13 0,0 13 16,1-13-16,-1 0 0,0 13 15,0-13-15,-13 14 0,-13-1 16,13 0-16,-13-13 16,0 13-16,-14 0 0,14-13 15,-14 14-15,1-1 0,13-13 0,-14 13 0,1-13 16,13 13-16,-27 1 16,27-14-16,-1 13 0,-25-13 15,26 13-15</inkml:trace>
  <inkml:trace contextRef="#ctx0" brushRef="#br0" timeOffset="69328.75">17846 11298 0,'0'0'0,"27"0"16,-14-14-16,0 14 15,0 0-15,1 0 0,-1-13 0,13 13 16,-13 0-16,1 0 0,-1 0 0,13-13 15,-12 26-15,-1-13 16</inkml:trace>
  <inkml:trace contextRef="#ctx0" brushRef="#br0" timeOffset="69506.09">17939 11430 0,'26'0'0,"14"-13"16,-27 13-16,0 0 15,1 0-15,-1 0 0,0 0 16,0 0-16,1 0 0</inkml:trace>
  <inkml:trace contextRef="#ctx0" brushRef="#br0" timeOffset="79484.73">19976 9565 0,'-13'-14'31,"13"1"-31,-13 13 16,-1 13 0,1 1-1,0-1-15,13 0 0,-13 0 16,-1 14-16,1-14 0,0 0 16,0 14-16,13-14 0,-13 0 0,-1 0 15,14 1-15,-13-1 0,13 0 16,0 0-16,-13-13 0,13 14 15,13-1-15,0-13 16,1 0-16,-1-13 0,13 13 16,1-14-16,12 1 15,1 0-15,26 0 0,-13-1 0,13-12 16,0 0-16,1 12 0,78-39 0,-66 27 16,1 13-16,-14-14 0,0 1 15,0 13-15,0-14 0,1 14 0,-15 0 16,1-1-16,-13-12 0,0 13 15,-1 13-15,-12-14 0,-14 1 0,14 13 16,-14-13-16,0 13 0,0 0 16,0-13-16,1 13 0,-1 0 15,0-13-15,0 13 16,1-14-16,-1 14 31</inkml:trace>
  <inkml:trace contextRef="#ctx0" brushRef="#br0" timeOffset="81216.78">20320 6906 0,'0'0'0,"0"-14"0,-26 14 16,12 0-16,1 14 0,-13-1 16,-14 0-16,-13 14 0,0 12 0,-13 1 15,0 13-15,-14-13 0,-52 52 16,79-39-16,0-13 0,0-1 16,0 1-16,14 0 0,-14-14 15,-13 40-15,39-39 0,1-1 16,-1 1-16,14-14 0,0 0 15,0 0-15,26-39 32</inkml:trace>
  <inkml:trace contextRef="#ctx0" brushRef="#br0" timeOffset="81595.98">19328 6813 0,'26'26'31,"-12"1"-31,-1-1 0,13 14 0,14 13 16,-14-13-16,27 13 0,-13 0 0,13-1 16,13 1-16,0 13 0,-13-26 15,26 13-15,-26-13 0,13-1 0,1 1 16,-14 0-16,13-14 0,-13 1 15,13-1-15,13 27 0,-39-40 16,-14 1-16,1-1 0,-1 0 16,-13-13-16,1 13 0,-1-13 0,-13 14 15,13-14-15,0 13 0,1-13 16,-1 0 0,-13 13-16,13-13 15,0 0 16,-13-13 1</inkml:trace>
  <inkml:trace contextRef="#ctx0" brushRef="#br0" timeOffset="85229">19037 10160 0,'13'0'32,"0"0"-17,0-13-15,1 13 16,-1 0-16,0 0 15,0 0-15,1 0 0,12-13 16,-13 13-16,1 0 0,-1 0 16,0-14-16,0 14 0,0 0 15,1 0 1,-1 0-16,0 0 31,-26 0 0,0 14-15,-1-14-16,1 0 0,13 13 16,-13-13-16,0 0 0,0 0 0,13 13 15,-14-13-15,1 0 0,0 0 16,0 13-16,-1-13 0,1 0 0,0 13 16,0-13-16,-1 0 15,1 0-15,0 0 16,0 0-16,13 14 15,-13-14-15,-1 0 0,1 0 16,0 0 0,0 0-1,-1 0 32,14 13 94,14-13 15,-1 0-140,0 13 46,0 0 32,1-13-47,-1 0-16,0 0 16,0 0-47,0 0 16,1 0-16,-1 0 15,0 0 1,-13 14-1,13-14-15,1 0 16,-1 0 0,-13 13-1,0 0 17,13-13-17,-13 13 1,0 1 31,0-1-16,0 0 0,0 0 0,-13-13-15,13 13 0,-13-13-1,13 14-15,-14-14 16,1 0-16,13 13 16,-13-13-16,0 0 15,13 13-15,-14-13 0,1 0 16,0 0-16,13 13 15,-13-13-15,0 0 16,-1 14 0,1-14-16,0 0 15,0 13-15,-1-13 16,1 0 0,0 13-1,0-13 1,-1 0-16,14 13 15,-13-13 1,0 0 0,0 0-1,0 14 17</inkml:trace>
  <inkml:trace contextRef="#ctx0" brushRef="#br0" timeOffset="91624.85">19778 7898 0,'-27'13'47,"14"0"-31,13 1 0,-13-14-1,13 13 1,39-26 46,-25 13-62,-1-14 0,0 14 16,14-13-16,-14 13 0,13-13 0,1 0 16,-1-1-16,-13 14 0,14-13 0,-1 0 15,1 13-15,-14-13 0,0-1 0,14 14 16,-14-13-16,0 13 0,0-13 15,1 13-15,-1 0 0,-13-13 0,13 13 16,0 0-16,0-13 16,1 13-16</inkml:trace>
  <inkml:trace contextRef="#ctx0" brushRef="#br0" timeOffset="92260.85">19738 7845 0,'0'40'47,"0"-27"-31,0 0-16,0 0 15,0 1 1,0-1 0,0 0-1,13-13 1,0 0 0,1 0-16,-1 0 15,-13-13-15,13 13 0,27 0 16,-27-13-16,0 13 0,0 0 15,14 0-15,-14-14 0,0 14 0,1 0 16,-1-13-16,0 13 0,0 0 0,0-13 16,1 13-16,-1 0 15,0-13-15,0 13 16,-13-14 0</inkml:trace>
  <inkml:trace contextRef="#ctx0" brushRef="#br0" timeOffset="93139.79">18957 7078 0,'-13'0'16,"0"0"-1,0 13-15,-1-13 0,14 13 0,-13 0 16,-13 1-16,13-1 0,-1 13 16,1-13-16,0 1 0,0 12 0,-1-13 15,1 1-15,0 12 0,0-13 16,-1 0-16,14 14 0,-13-14 0,0 0 16</inkml:trace>
  <inkml:trace contextRef="#ctx0" brushRef="#br0" timeOffset="93788.92">18732 7131 0,'14'13'31,"-1"-13"-31,0 0 15,0 13-15,1 0 16,-1-13-16,0 13 0,0 1 16,1-14-16,-14 13 0,13-13 0,0 0 15,-13 13-15,13-13 0,0 0 16,-13 13-16,14-13 16,-1 0-16,0 14 31,0-14 16,1 0 46</inkml:trace>
  <inkml:trace contextRef="#ctx0" brushRef="#br0" timeOffset="96968.13">9842 6773 0,'14'27'0,"-14"-1"0,0-13 16,0 14-16,0 26 0,0 0 0,0 13 16,-14 0-16,14 13 0,0-12 15,-13 12-15,13 0 0,-13 1 0,0-1 16,13 0-16,-13 1 0,13-14 0,-14 13 15,14-12-15,-13 38 16,13-65-16,-13 0 0,13-1 16,0-12-16,0-14 0,0 14 0</inkml:trace>
  <inkml:trace contextRef="#ctx0" brushRef="#br0" timeOffset="98315.16">9895 6720 0,'14'0'0,"-28"0"0,41 0 0,-14 0 15,0 0-15,14-13 0,-14 13 0,13 0 16,1 0-16,-1-13 0,1 13 16,26 0-16,-14-13 0,14 13 0,0-13 15,0-1-15,13 14 0,1-13 0,-15 0 16,15 13-16,-15-13 0,68-14 15,-68 27-15,1-13 0,-13 13 16,0 0-16,-1-13 0,-12 13 0,26 0 16,-27 0-16,-13-14 15,1 14-15,-1 0 0,0 0 0,0 0 16,1 0-16,12 0 16,-13 0-1,1 0 1,-1 0-16,-13 14 31,0-1-31,0 0 16,0 0-16,0 14 15,0 13-15,0-1 0,0 41 16,13-28-16,-13 41 16,13-27-16,-13 0 0,0-13 0,0 13 15,0 1-15,0-1 0,-13 0 0,13-26 16,0 12-16,0 1 0,0-13 15,0 0-15,0 13 0,0-14 16,0 1-16,0 0 0,0-14 0,0 1 16,0-1-16,0 1 0,0-1 0,0 1 15,0-14-15,0 13 0,0-13 16,13 27-16,-13-13 0,0-14 16,0 26-16,0-25 0,0-1 15,0 0-15,13 0 0,-13 1 16,0-1-16,0 0 0,0 0 15,0 1-15,0-1 16,0 0 0,0 0 15,-13-13-15,0 0 15,-13 0-31,12 0 0,1 0 15,0 0-15,0 0 0,-14 0 16,1 0-16,-1 0 0,-12 0 0,-1 0 16,-13 0-16,0 13 0,0-13 0,-26 0 15,13 14-15,-1-14 0,1 13 16,0-13-16,13 13 0,-13 0 16,-66 1-16,66-1 0,0 0 15,13-13-15,-40 13 0,53 1 16,1-14-16,12 0 0,1 0 15,-1 0-15,14 0 0,-13 13 0,12-13 16,1 0-16,0 0 0,0 0 0,-1 0 16,1 0-16,0 0 15,0 0-15,0 0 32,-1 0-17</inkml:trace>
  <inkml:trace contextRef="#ctx0" brushRef="#br0" timeOffset="105216.64">10147 10808 0,'-13'13'32,"13"1"-32,-14 25 15,14-12-15,0-1 0,-13 14 0,13 0 16,-13 13-16,13-14 0,-13 1 16,13 0-16,0-1 0,-14 1 15,14 0-15,0-14 0,0 1 0,0-1 16,0-13-16,0 14 0,0-14 0,0 13 15,0-12-15,0-1 0,0 0 16</inkml:trace>
  <inkml:trace contextRef="#ctx0" brushRef="#br0" timeOffset="105616.67">10067 10980 0,'14'-53'31,"-1"40"-31,0 13 16,14-13-16,-14 13 0,13-13 0,-13 13 15,14 0-15,-14 0 0,14 0 16,-1 0-16,14 13 0,-27 0 16,0-13-16,0 13 0,1 1 0,-14-1 15,0 0-15,0 0 0,0 0 16,-14 14-16,1-14 0,-13 14 0,13-1 15,-14 0-15,-26 1 16,40-14-16,0 0 0,-1 1 0,-12-1 16,0 0-1</inkml:trace>
  <inkml:trace contextRef="#ctx0" brushRef="#br0" timeOffset="106112.13">10808 10782 0,'-13'-13'16,"26"26"-16,-39-13 0,13 0 0,-1 13 16,1 0-16,-13 14 0,-1-1 15,14 14-15,-14-14 0,14 14 0,0 0 16,0-1-16,0 1 0,-1 0 0,14-1 16,0 41-16,0-54 15,0 1-15,0-1 0,14-13 0,-14 14 16,13-1-16,0-12 0,0 12 0,0-13 15,1 0-15,-1 1 16,0-14-16,0 13 0,1-13 0,-1 0 16,0 0-16,0 0 0,1-13 15,12-1-15,-13 14 0,0-13 16</inkml:trace>
  <inkml:trace contextRef="#ctx0" brushRef="#br0" timeOffset="106374.9">11073 10954 0,'-27'0'31,"14"13"-31,0 0 0,13 0 0,-13 14 16,-1-14-16,14 14 0,-13-1 15,13 0-15,-13-12 0,13 12 0,-13 1 16,13-1-16,-13 1 0,13-14 15,0 13-15,0-13 0,0 1 16,-14 12-16,14-13 0,0 1 0,14-1 16,-14 0-1,13-13-15,0 0 16,0-13-16</inkml:trace>
  <inkml:trace contextRef="#ctx0" brushRef="#br0" timeOffset="106824.89">10954 10993 0,'39'-52'15,"-25"52"-15,-1-14 0,27 14 0,-27 0 16,0-13-16,13 26 16,-12-13-16,12 0 0,-13 14 0,1-14 15,-1 13-15,-13 0 0,0 0 0,0 0 16,0 1-16,-13 12 0,-1-13 16,1 14-16,0-14 0,-14 13 0,1-12 15,13-1-15,-14 0 0,14 0 0,0-13 16,0 14-16,-1-14 0,1 13 0,0-13 15,0 0-15,13 13 0,-13-13 16,-1 13 0,28-13-1,-1 14-15,0-14 0,0 0 16,27 13-16,-14-13 0,-12 0 16,12 0-16,-13 13 0,14-13 0,-14 0 15,0 0-15,14 13 0,-14-13 16,0 0-16,0 0 0,1 0 15,-1 0-15,13 0 16,-26-13-16,13 13 0</inkml:trace>
  <inkml:trace contextRef="#ctx0" brushRef="#br0" timeOffset="107244.66">11179 10557 0,'26'0'0,"-13"0"0,67 26 31,-41 1-31,-12-1 0,13 14 0,-14-14 16,14 14-16,-14 0 0,14 13 0,-27-14 16,14 1-16,-14 0 0,0-1 15,-13 1-15,0 0 0,0 13 0,-13 53 16,0-67-1,-14 27-15,14-26 0,0-13 0,-14-1 16,14-13-16,0 14 0,-1-14 16,1 0-16,0 0 0</inkml:trace>
  <inkml:trace contextRef="#ctx0" brushRef="#br0" timeOffset="107552.82">11787 11020 0,'13'-13'0,"27"-1"16,-27 14 0,1 0-16,-1 0 0,0 0 15,0 0-15,0 0 16,1 0-16</inkml:trace>
  <inkml:trace contextRef="#ctx0" brushRef="#br0" timeOffset="107791.03">11814 11112 0,'13'14'16,"0"-14"-16,0 0 15,1 0-15,-1 0 0,0-14 16,0 14-16,0 0 0,1 0 0,-1 0 16,13 0-16,-12 0 0,-1 0 15,0 0-15,0 0 0,1 0 16,-1 0-16,0-13 16,0 13-16</inkml:trace>
  <inkml:trace contextRef="#ctx0" brushRef="#br0" timeOffset="114552.88">12740 10649 0,'-14'-26'0,"14"66"31,0-27-15,-13 0-16,13 0 0,0 1 16,0 12-16,0-13 0,0 14 0,0 12 15,0-12-15,-13-14 16,13 14-16,0-14 0,0 0 0,0 0 16,0 1-16,0-1 0,0 0 0,0 0 15,-13-13-15,13 13 0,0 1 16</inkml:trace>
  <inkml:trace contextRef="#ctx0" brushRef="#br0" timeOffset="114840.94">12449 11152 0,'-14'0'0,"54"-13"32,-27 13-32,1 0 15,12 0-15,-13 0 0,14 0 16,12-13-16,-12 13 0,-1 0 0,14 0 16,-14 0-16,1-14 0,13 14 0,-14 0 15,-13 0-15,14-13 0,-1 13 16,-13 0-16,1 0 0,-1 0 15,0 0-15,0 0 0,1 0 16,-1 0-16</inkml:trace>
  <inkml:trace contextRef="#ctx0" brushRef="#br0" timeOffset="115839.77">12409 11576 0,'-13'0'15,"39"-14"17,1 14-17,12-13 1,-25 13 0,-1 0-16,-40 13 31,14 1-16,0-14-15,-14 13 0,14 0 0,0-13 16,-14 13-16,1 0 0,13-13 0,0 14 16,-27 12-16,27-26 15,13 13-15,-14-13 0,1 14 0,13-1 16,0 0 0,13-13-16,1 13 15,-1-13-15,0 14 0,0-14 16,1 13-16,-1-13 0,0 13 0,0 0 15,14-13-15,-14 13 0,0-13 16,0 14-16,1-1 0,-1 0 16,0 0-16,-13 1 0,0-1 15,0 0-15,-13 0 0,0 0 16,-1 1-16,-12-1 0,13 0 16,-14-13-16,1 13 0,-1 1 15,14-14-15,-13 13 0,-1-13 16,1 0-16,-1 13 0,14-13 0,0 0 0,0 0 15,-1 0-15,1-13 0,13 0 32,13-1-32,1 1 0</inkml:trace>
  <inkml:trace contextRef="#ctx0" brushRef="#br0" timeOffset="116476.67">13428 10980 0,'-14'27'15,"14"-14"-15,-13 0 0,13 0 0,-13 1 16,13-1-16,-13 0 0,13 0 16,0 14-16,-14-14 0,14 0 0,0 0 15,0 1-15,0-1 0,14 0 16,-14 0-16,13-13 0,-13 14 15,26-14-15,-12 0 0,-1 0 16,13-14-16,1 14 0,12-13 0,1 0 16,53 0-16,-54-1 0,1 1 15,0 0-15,-1 0 0,-12 13 16,-1-14-16,1 14 0,-1-13 0,-12 13 16,12-13-16,-13 13 0,0 0 0,1-13 15,-1 13-15,0 0 16,0 0-16,-13-13 15,14 13-15,-14-14 16,0 1-16,-14 0 16,14 0-1</inkml:trace>
  <inkml:trace contextRef="#ctx0" brushRef="#br0" timeOffset="118007.37">11867 8043 0,'-14'27'63,"1"-1"-63,13-13 15,0 14-15,0 13 0,-13-1 16,13 1-16,-13 66 0,13-53 15,-14 0-15,1 79 16,0-66-16,13 0 0,-13 14 16,13-14-16,-13 13 0,13-13 0,0 14 15,0-1-15,0 0 0,0-12 0,0 12 16,0-13-16,0 0 0,0 0 0,0-13 16,-14 0-16,14 0 0,0-13 15,0-1-15,0 14 0,-13-13 0,13 26 16,0-39-16,0-1 0,0 1 15,-13-14-15,13 0 0,0 14 16,0-14-16,0 0 0,0 0 0,0 0 16,0 1-16,0-1 15,0 0-15,0 0 0,13-13 16,-13 14-16,0-1 16,13 0-16,-13 0 15,0 1-15,14-14 0,-14 13 0,0 0 16,13-13-16,-13 13 15,0 0-15,13 1 0,-13-1 16,13 0-16,-13 0 16,13-13-16,-13 14 0,0-1 0,14-13 15,-14 13-15,13-13 0,-13 13 16,13-13-16,-13 14 0,13-1 0,1-13 16,-14 13-16,13-13 0,-13 13 0,13-13 15,0 13-15,0 1 0,1-14 16,-1 13-16,0-13 0,0 0 15,1 0-15,-1 13 16,0-13-16,0 0 0,1 0 16,-1 0-16,-13 13 0,13-13 15,0 0-15,0 0 16,1 0 0,-1 0-16,0 0 15,0 0 1,1 0 15,-14-13 16,0 0-31</inkml:trace>
  <inkml:trace contextRef="#ctx0" brushRef="#br0" timeOffset="118455.82">12091 10398 0,'-13'-13'0,"26"39"47,1-26-47,-1 14 16,0-1-16,0 0 15,1-13-15,-14 13 0,13-13 16,0 0-16,0 14 0,1-1 16,-1-13-16,-13 13 0,13-13 15,0 26-15,-13-12 0,13-14 16,-13 26-16,0-13 16,0 14-16,-13-14 0,13 0 15,-26 27-15,13-14 0,-1-12 16,1 12-16,0-13 15,0 1-15,-14-1 0,1-26 16</inkml:trace>
  <inkml:trace contextRef="#ctx0" brushRef="#br0" timeOffset="120866.74">11337 6919 0,'14'-13'0,"25"-1"31,-25 1-31,-1 0 15,0 13-15,0 0 0,14-13 0,-14-1 16,13 14-16,1-13 0,52 0 16,-39 0-16,0 0 0,52-1 15,-52 1-15,13 13 16,0-13-16,0 13 0,0 0 16,-1-13-16,1 13 0,0 0 15,0 0-15,66-14 0,-66 14 0,13 0 16,0 0-16,-13 14 0,14-14 15,-1 0-15,-13 13 0,0-13 0,13 13 16,0-13-16,-13 13 0,13 1 0,-13-1 16,13-13-16,0 13 0,-13 13 15,0-12-15,0-1 0,-13 0 0,12 0 16,1 14-16,13-14 0,-26 14 16,13-14-16,0 0 0,-13 13 0,13 1 15,-14-14-15,1 14 0,39 12 16,-52-12-16,13-14 0,26 40 15,-27-40-15,-12 14 0,26-1 16,-14 14-16,1-27 0,0 13 16,13 1-16,-14-1 0,1 1 0,39 12 15,-39-12-15,0-1 16,0-12-16,-1 12 0,1 1 16,0-1-16,-14-13 0,14 14 0,-1-1 15,1 1-15,0-1 0,13 1 0,-14-1 16,67 53-16,-66-52 15,39 39-15,-39-40 0,0 1 16,13-1-16,-14 14 0,14-14 0,-13 1 16,66 39-16,-67-39 15,14 12-15,0-12 0,-13-1 16,0 1-16,-14-14 0,14 13 16,-1 1-16,-12-1 0,13-13 0,-14 14 0,14-1 15,-14-12-15,14 12 0,0-13 16,-14 14-16,14-14 0,13 13 0,-14 1 15,1-14-15,0 14 0,-1-1 0,1-13 16,0 0-16,-14 14 0,14-14 0,-14 0 16,14 1-16,-13-1 15,-1 0-15,0 0 0,1 1 0,-14-14 16,14 13-16,-14 0 0,0-13 0,0 0 16,14 13-16,-14 0 0,0-13 15,0 0-15,-13 14 16,14-14-16,-1 0 0,0 13 15,0-13 1,1 0 0,-1 13-1,0-13 1,0 0 15,0 0-15,1 0 15,-1 0-15,0 0-16,-13-13 15</inkml:trace>
  <inkml:trace contextRef="#ctx0" brushRef="#br0" timeOffset="121472.7">17066 8771 0,'0'13'31,"13"0"-31,0-13 16,-13 14-16,13-14 0,1 13 0,-1-13 16,0 13-16,0 0 0,0 1 15,1-1-15,-1 0 0,13 0 16,1 14-16,-1-14 0,-12-13 16,12 26-16,-13-12 0,0-14 15,14 26-15,-14-13 16,0-13-16,1 14 0,-1-1 15,0 0-15,0-13 16,-13 13-16,13-13 16,-13 13-1,14-13 1,-1 14 0,-26-1 46,-1-13-62,1 13 16,0-13-16,0 0 0,-14 13 0,14-13 15,-13 14-15,-1-14 0,1 13 0,-1-13 16,14 13-16,-13-13 0,-1 13 16,1 1-16,12-14 0,-12 13 0,13-13 15,0 0-15,-1 13 0,1-13 0,0 13 16,0-13-16,13 13 15,-14-13-15,41 0 16,-14 0-16,14 0 16,-1 0-16,0-13 0</inkml:trace>
  <inkml:trace contextRef="#ctx0" brushRef="#br0" timeOffset="146624.84">18984 9168 0,'-27'13'0,"14"-13"16,-13 27-1,12-14 1,1-13 0,0 13-1,0 0-15,0-13 16,13 13-16,-14-13 0,14 14 15,-13-14-15,0 13 16,0 0 15,39-13 1,-13 0-32,1 0 15,-1 0-15,0 0 0,0 0 16,14 0-16,-14 0 0,0 0 0,0 0 15,14 0-15,-1 0 0,-12 0 0,12-13 16,-13 13-16,14 0 0,-14 0 16,0 0-16,0-13 0,1 13 15,-1 0-15,0 0 0,0-14 0,1 14 16,-1 0-16,0-13 0</inkml:trace>
  <inkml:trace contextRef="#ctx0" brushRef="#br0" timeOffset="146895.88">19262 9075 0,'-40'27'31,"40"-14"-31,-13 0 0,13 0 16,-13 14-16,-1-14 0,1 27 16,13-14-16,-13 1 0,0-1 0,-1 1 15,1-1-15,13 0 0,-13-12 0,13 12 16,-13-13-16,13 1 0,0-1 0,-14 0 16,14 0-16</inkml:trace>
  <inkml:trace contextRef="#ctx0" brushRef="#br0" timeOffset="147528.6">19182 9036 0,'-26'13'31,"13"-13"-31,-1 13 0,1-13 16,0 13-16,0-13 0,-1 13 16,1 1-16,-13-1 0,13-13 0,-14 13 15,14 0-15,0 1 0,-1-1 0,-12 0 16,-1 0-16,14 1 16,-13-1-16,26 0 0,-13 0 15,-1-13-15,14 13 0,-13-13 16,13 14-16,-13-14 0,0 13 15,13 0 1,-14 0 0,14 1 15,0-1 0,14-13-15,-1 0-16,0 0 15,0 13-15,1-13 16,-1 0-16,0 0 0,13 0 0,-12 0 16,-1 0-16,13 0 0,-12-13 15,12 13-15,-13 0 0,14 0 16,-14 0-16,13-13 0,-12 13 0,-1 0 16,0 0-16,0 0 0,1-14 0,-1 14 15</inkml:trace>
  <inkml:trace contextRef="#ctx0" brushRef="#br0" timeOffset="147811.56">19235 8969 0,'-26'40'16,"26"-27"-16,-13 1 15,-1 52-15,1-40 16,0 14-16,13 0 0,-13-14 0,-1 14 0,1-1 16,-13 27-16,26-39 0,-14-14 15,1 14-15,13-1 16,0-13-16,-13 1 0,13-1 0,0 0 15,0 0-15,-13 0 0</inkml:trace>
  <inkml:trace contextRef="#ctx0" brushRef="#br0" timeOffset="155197.69">19262 9022 0,'-14'0'0,"1"0"15,0 0 1,0 14-16,0-14 16,-1 13-16,1-13 0,0 13 0,-27 13 15,27-12-15,0-1 16,-14 0-16,14 0 0,-13 1 0,12-1 16,-12 0-16,13 0 0,-1 1 0,-12-1 15,13-13-15,-1 13 0,1 0 0,0 0 16,0-13-16,13 14 0,-13-1 15,-1-13-15,14 13 0,-13-13 0,13 13 16,0 1-16,13-14 31,1 13-31,-1-13 0,0 0 0,13 0 16,-12 0-16,12 0 0,-13 0 16,14 0-16,-1 0 0,1-13 15,-1 13-15,-13 0 0,14 0 0,-14 0 16,14 0-16,-14 0 0,0-14 0,14 14 15,-14 0-15,0-13 0,0 13 16</inkml:trace>
  <inkml:trace contextRef="#ctx0" brushRef="#br0" timeOffset="155435.68">19301 9036 0,'-66'66'31,"66"-40"-31,-13-13 0,0 27 16,0 0-16,-1-14 0,1 14 0,0 0 16,13-1-16,-13 1 0,-1-14 15,1 14-15,13-13 0,-13-1 0,13 0 16,0-12-16,0 12 0,-13-13 15,13 1-15,0-1 0</inkml:trace>
  <inkml:trace contextRef="#ctx0" brushRef="#br0" timeOffset="157571.84">19222 9088 0,'-26'14'31,"12"-14"-15,14 13-16,-13-13 16,0 13-16,0-13 0,-1 13 0,1 1 15,-13-1-15,12 0 0,-12 0 16,13 1-16,-14-1 0,14 0 0,-13 0 15,12 0-15,1 1 0,0-1 0,0 0 16,-1 0-16,1 1 0,0-1 16,0 0-16,13 0 0,0 0 15,13 1 1,0-14-16,0 0 0,1 13 0,-1-13 16,0 0-16,0 0 0,14 0 0,-1 0 15,1 0-15,-14-13 0,13 13 16,1 0-16,-1-14 0,1 14 0,-14-13 15,14 13-15,-14 0 0,0-13 0,0 13 16,0-13-16</inkml:trace>
  <inkml:trace contextRef="#ctx0" brushRef="#br0" timeOffset="157767.38">19275 9181 0,'-27'40'16,"54"-80"-16,-54 93 0,27-27 0,-13 1 15,0-1-15,13 14 0,-13 0 0,0-1 16,13-12-16,-14 13 0,1-1 0,13-12 16,0-1-16,0-13 0</inkml:trace>
  <inkml:trace contextRef="#ctx0" brushRef="#br0" timeOffset="163096.97">19248 9036 0,'-39'13'47,"12"0"-32,1 0-15,-1 14 16,1-14-16,-1 0 0,1 14 0,0-14 16,-1 13-16,1-12 0,-1-1 0,14 0 15,0 0-15,-14 0 0,14 1 0,0-1 16,0-13-16,13 13 0,-14-13 15,1 13-15,0-13 16,13 14-16,13-1 16,0-13-1,1 0-15,-1 0 0,0 0 16,13 0-16,1 0 0,-1 0 0,1 0 16,-1-13-16,1 13 0,12-14 0,-12 14 15,-1 0-15,-12-13 0,12 13 16,-13-13-16,14 13 0,-1 0 15,-13-13-15,1 13 0,-1 0 16,-13-14-16,13 14 0</inkml:trace>
  <inkml:trace contextRef="#ctx0" brushRef="#br0" timeOffset="163359.99">19262 9088 0,'-14'40'0,"14"-27"15,0 1-15,0-1 0,-13 13 16,13 1-16,0-1 0,-13 14 15,13 0-15,-13-1 0,0 14 16,13-26-16,0-1 0,-14 1 0,14-1 16,0-13-16,0 14 0,0-1 15,-13-13-15,13 1 0</inkml:trace>
  <inkml:trace contextRef="#ctx0" brushRef="#br0" timeOffset="168376.59">10266 6879 0,'13'27'31,"-13"-14"-15,0 0-16,0 0 0,13 1 0,-13-1 15,0 0-15,0 0 0,0 0 16,0 1-16,0-1 0,0 0 16,0 0-16,0 1 15,14-1-15,-14 0 16</inkml:trace>
  <inkml:trace contextRef="#ctx0" brushRef="#br0" timeOffset="169015.72">11007 6892 0,'26'-13'0,"-13"26"15,1 1 1,-1-1-16,-13 0 16,0 0-16,0 1 0,-13 12 15,13-13-15,0 0 0,-14 1 0,14-1 16,-13 0-16,13 14 0,-13-27 15,13 13-15,0 0 0,-13 0 16,13 1 0,13-14-1,13-14-15,-12 14 16,-1 0-16,0-13 0,0 13 0,0-13 16,14 13-16,-14 0 0,0-13 0</inkml:trace>
  <inkml:trace contextRef="#ctx0" brushRef="#br0" timeOffset="170179.54">10358 7871 0,'27'0'63,"-27"14"-48,0-1 1,0 0-16,0 0 16,13-13-16,-13 14 15,13-14 1,1 13-16,-1-13 15,0 0-15,0 13 0,1-13 16,-14 13-16,13 0 16,-13 1-1,-13-1-15,13 0 16,-14 0-16,1 1 16,0-1-1</inkml:trace>
  <inkml:trace contextRef="#ctx0" brushRef="#br0" timeOffset="170775.63">11192 7739 0,'-27'13'31,"27"1"-15,-13-14-16,0 13 16,13 0-16,-13 0 0,13 0 15,-14-13-15,1 14 16,13-1-16,-13-13 15,13 13-15,0 0 16,13-13 0,0 0-16,14 0 15,-14 0-15,0 0 0,-13-13 16,27 13-16,-27-13 0,13 13 0,0 0 16,1-13-16,-1 13 0,-13-14 15,13 1-15</inkml:trace>
  <inkml:trace contextRef="#ctx0" brushRef="#br0" timeOffset="170927.36">11271 7699 0,'-13'14'15,"13"-1"1,-13 0-16,13 14 0,0-14 16,0 13-16,0 1 0,0-1 0,-13 27 15,13-13-15,0-1 0,0 1 16,0-13-16,0-1 0,0 0 0,-14 1 15</inkml:trace>
  <inkml:trace contextRef="#ctx0" brushRef="#br0" timeOffset="180307.86">10054 6853 0,'13'-14'0,"-13"1"16,0 0-16,14 0 16,-14 0-16,13-1 0,0 1 15,-13 0-15,13-14 0,1 14 0,-1-13 16,-13 13-16,13-14 0,0 14 0,-13 0 15,13-1-15,1-12 0,-1 13 16,-13-1-16,0 1 0,13 0 16,-13 0-16,13 13 15,-13-13-15,14-1 16,-14 1 0,0 0 15,0 0-16</inkml:trace>
  <inkml:trace contextRef="#ctx0" brushRef="#br0" timeOffset="180806.72">10332 6006 0,'0'-13'0,"-13"26"32,13 0-32,-13 0 0,13 1 15,0-1-15,0 0 0,-14 0 16,14 1-16,0-1 0,0 0 16,0 0-16,0 1 0,0-1 15,0 0-15,0 0 0,0 0 16</inkml:trace>
  <inkml:trace contextRef="#ctx0" brushRef="#br0" timeOffset="181273.02">10306 6019 0,'13'-13'16,"0"13"-1,0 0-15,0 13 16,1-13-16,-14 13 16,13-13-16,0 14 0,-13-1 0,13 0 15,1-13-15,-1 13 0,0 1 16,0-14-16,1 13 0,-1 0 15,0 0-15,0 1 0,-13-1 16,0 0-16,0 0 0,0 0 16,-13 1-16,0-1 15,13 0-15,-13-13 16,13 13-16,-14-13 0,14 14 0,-13-14 16,13 13-16,-13-13 0</inkml:trace>
  <inkml:trace contextRef="#ctx0" brushRef="#br0" timeOffset="182412.8">10914 6892 0,'0'-13'0,"0"0"16,0 0-1,0-1 1,0 1-16,0 0 16,0 0-1,-13 0-15,13-1 0,0 1 0,0 0 16,0 0-16,0-14 16,0 14-16,-13 0 0,13-14 15,0 14-15,-14 0 0,14-14 0,-13 14 0,13-13 16,0 12-16,-13 1 0,13-13 15,-13 13-15,13-1 0,0 1 0,-14-13 16,14 12-16,-13 1 0,13 0 0,0 0 16,0-1-16,-13-12 0,13 13 0,0 0 15,0-1-15,-13 14 16,13-13-16,0 0 0,0 0 0,-13-1 0,13 1 16,0 0-16,0 0 0,-14 13 15,14-27-15,-13 27 16,13-13-16,0 0 0,-13 13 15,13-13-15,0-1 16,-13 14-16,13-13 16,-14 13-16,14-13 15,-13 0 1,0-1 0,0 1 15,-1 13 0</inkml:trace>
  <inkml:trace contextRef="#ctx0" brushRef="#br0" timeOffset="184018.63">10186 7858 0,'-13'-13'16,"0"13"15,13-13-31,-13 13 16,0 0-16,13-14 15,-14 14-15,1-13 16,0 0-16,0 13 0,-1-13 16,1 13-16,0-13 0,0-1 0,-1 14 15,1-13-15,-26 0 0,25 0 16,-12-14-16,13 27 16,-1-13-16,1 0 0,0-1 0,0 1 15,-1 0-15,1 0 0,0 0 16,13-1-16,-13 1 0,0-13 15,-1 12-15,1 1 0,0 0 0,0-14 16,13 14-16,-14 0 0,1-13 0,0 12 16,0-12-16,13 13 0,-13-1 0,-1-12 15,1 13-15,13-14 0,-26-12 16,12 25-16,14-12 0,-13-1 16,0 1-16,0 0 0,13-1 0,-14 14 15,14-14-15,-13 1 0,13 13 16,-13-1-16,13-12 0,0 13 0,0-14 15,-13-12-15,13 25 0,0 1 16,0-13-16,0 12 0,0-12 16,0 13-16,0 0 0,0-14 0,0 14 15,0-14-15,0 14 0,0-13 16,0 13-16,0-1 0,0-12 0,0 13 16,13-14-16,-13 14 0,0 0 15,0-1-15,0 1 0,0 0 0,13 0 16,-13 0-16,0-1 0,0 1 0,0 0 15,13 0-15,-13-1 0,0 1 16,14 13-16,-14-13 0,13 0 0,-13-1 16,13 14-16,-13-13 0,27-13 15,-27 13-15,13-1 0,0 1 0,0 13 16,1-13-16,-1 0 0,0-1 16,0 14-16,0-13 0,1 0 15,-14 0-15,13 13 0,0-14 0,0 14 16,14-13-16,-14 0 0,0 13 15,0-13-15,1 13 0,-1-13 0,0 13 16,0-14-16,1 14 0,-1-13 0,0 13 16,0-13-16,1 13 0,-1-13 15,0 13-15,0 0 0,0-14 0,1 14 16,-1-13-16,0 13 0,0 0 0,1-13 16,-1 13-16,0 0 0,0-13 15,1 13 1,-1 0-16,0-14 15,0 14 1,0 0 0,1-13 31,-28 40 78,28-27-125,-1 0 15</inkml:trace>
  <inkml:trace contextRef="#ctx0" brushRef="#br0" timeOffset="185916.43">10808 7699 0,'13'-13'47,"1"0"-47,-1 13 16,-13-13-16,13 13 0,0-14 0,1 1 15,-1 0-15,0 13 16,0-13-16,1 0 0,-1-1 0,0 1 16,13 0-16,-12 0 0,-1-14 0,13 14 15,1-14-15,-14 14 0,13-13 0,-12 13 16,12-14-16,-13 14 0,14-14 16,-1 1-16,-12 13 0,-1-14 15,13 14-15,-13-13 0,1 12 0,-1 1 16,0-13-16,-13 12 0,13-12 15,1 13-15,-1 0 0,0-1 16,0-12-16,-13 13 0,14-1 0,-14 1 16,13 0-16,-13-14 0,13 14 0,-13 0 15,13-13-15,0 12 16,-13 1-16,0 0 0,14 0 0,-14-14 16,0 14-16,13 0 0,-13-14 15,13 14-15,-13 0 16,0 0-16,0-14 0,0 14 0,13 0 0,-13-1 15,0 1-15,0 0 0,0 0 16,0 0-16,0-1 0,0 1 0,0 0 16,0-14-16,0 14 0,0 0 0,-13 0 15,13-1-15,0 1 0,0 0 0,-13 0 16,13 0-16,0-1 0,-13 1 0,13-13 16,-14 12-16,14 1 15,-13 0-15,13 0 0,-13-1 0,13-12 16,-13 13-16,0 0 0,-1-14 0,14 14 15,-26-14-15,13 1 0,-1 13 16,14-1-16,-13 1 0,0 0 16,-14-13-16,14 12 0,13 1 15,-26 0-15,13 0 0,-1-1 16,1 14-16,0-13 0,0 0 16,-1 13-16,14-13 0,-13 13 0,0-14 15,0 14-15,-1-13 0,1 13 16,0-13-16,0 13 0,0 0 15,-1-13 1,1 13-16,0-13 16,0 13-16,-1 0 15,1-14-15,0 14 0,0 0 16,0-13 0,-1 13-16,-12 0 15,13-13-15,-1 13 16,1 0-16,0 0 15,0 0 1,-1 0-16,1-13 16,0 13-16,0 0 15,0 0-15,-1 0 32,1 0-17,0 0-15,0 0 16,-1 0-1,1 0 1,0 0-16,0 0 16,-1 0-1,1 0 17,0 0-17,13 13 1,-13-13-1,0 0 1,-1 0 15,1 0 1,0 0-1,13-13 78,0-1-93</inkml:trace>
  <inkml:trace contextRef="#ctx0" brushRef="#br0" timeOffset="187175.58">10398 5913 0,'-13'-13'31,"13"0"0,0 0-31,13 0 16,-13-1-16,13 14 0,-13-13 16,14 0-16,-1 13 0,0-13 15,0-1-15,1 14 0,-1-13 16,0 0-16,13 0 0,1 13 0,-14-14 15,14 1-15,-1 13 0,0-13 0,1 0 16,-1 13-16,14-13 0,0 13 16,-1-14-16,1 1 0,26 0 15,-26 13-15,-14 0 0,14-13 0,0 13 16,-1 0-16,1 0 0,119-14 31,-106 14-31,-13 0 0,-1 0 0,1 0 0,13 0 16,-13 0-16,-1 14 0,1-14 0,13 0 15,-13 0-15,-1 0 0,14 0 16,-13 13-16,-1-13 0,1 13 0,-13-13 16,12 0-16,1 13 0,-14-13 0,1 14 15,-1-14-15,1 13 16,-1-13-16,1 13 0,-1-13 0,1 0 16,-14 13-16,13-13 0,-12 13 0,-1-13 15,0 0-15,13 14 0,-12-14 16,-1 0-16,0 13 15,0-13-15,1 0 16,-1 13 15,0-26 16,-13 0-31</inkml:trace>
  <inkml:trace contextRef="#ctx0" brushRef="#br0" timeOffset="187564.49">12303 5649 0,'-13'-13'0,"26"39"47,0-13-47,1-13 16,-1 14-16,0-1 0,0-13 15,0 13-15,1 0 0,-1 0 0,0-13 16,0 14-16,14-1 0,-14-13 0,0 13 15,1-13-15,-1 13 0,0-13 16,0 14-16,0-1 0,1-13 16,-14 13-16,13-13 15,-13 13-15,-13 1 16,13-1-16,-14 0 0,1 0 0,0 0 16,-13 14-16,-1-1 0,1-12 0,-1 12 15,-26 14-15,40-27 16,0 0-16,-14 0 0,27 1 15</inkml:trace>
  <inkml:trace contextRef="#ctx0" brushRef="#br0" timeOffset="188092.76">13269 5662 0,'-27'40'31,"14"-40"-31,0 13 0,0 13 0,-14-12 16,14-1-16,0 0 0,-27 14 16,27-14-16,13 0 0,-13 0 0,-1 1 15,1-14-15,13 13 0,-13-13 16,13 13-16,-13-13 0,13 13 0,-13 0 15,26-13 1,0 0-16,0 14 16,0-14-16,1 0 15,12-14-15,-13 14 0,14 0 0,-1 0 16,1 0-16,-1 0 0,14-13 0,-14 13 16,1 0-16,-1 0 0,-13-13 0,14 13 15,-14 0-15,14 0 0,-14-13 16,0 13-16,0 0 0,1-13 15,-1 13-15,-13-14 0,13 1 16,-13 0-16,0 0 16,0-1-16</inkml:trace>
  <inkml:trace contextRef="#ctx0" brushRef="#br0" timeOffset="188352.47">13348 5609 0,'-13'0'0,"0"13"16,0 1-16,13-1 16,-14 0-16,14 14 0,-13-1 15,0 0-15,0 1 0,-1 13 0,1-14 16,0 40-16,0-53 0,13 14 16,-14 13-16,1-27 15,13 13-15,0-13 0,0 1 16,0-1-16,0 0 0,0 0 15,0 1-15,0-1 16,27-26 0,-27-1-1,0 1-15</inkml:trace>
  <inkml:trace contextRef="#ctx0" brushRef="#br0" timeOffset="188639.52">13057 5530 0,'-39'0'16,"-67"39"-1,79-12 1,1-1-16,-1 14 0,-12 0 0,12-1 16,-13 54-16,14-53 15,13-1-15,13 1 0,-13 0 0,13-1 16,0 1-16,0 40 0,13-54 15,0 14-15,27 13 0,-14-27 16,-13-13-16,14 1 0,-1-14 16,1 13-16,-14-13 0,13 0 15,14 0-15,0-13 0,0-1 0,-1 1 16,1 0-16,-14 0 0,1-1 0,-1 1 16,1 0-16,-14 0 0</inkml:trace>
  <inkml:trace contextRef="#ctx0" brushRef="#br0" timeOffset="188944.51">13533 5398 0,'27'0'0,"-54"0"0,67 0 0,-27 13 16,1-13-16,25 26 0,-26 1 15,14-1-15,-1 14 0,1-1 16,-1 1-16,-12 0 0,-1 0 0,0-1 16,0 1-16,0 0 0,-13-1 0,0 1 15,0 0-15,-13-1 0,0 1 16,0 0-16,0-1 0,-27 28 16,13-28-16,1-12 0,-1-1 0,1 1 15,0-1-15,-1 1 0,-13-1 16,27-13-16,0-13 0,13 13 15,-13-13-15</inkml:trace>
  <inkml:trace contextRef="#ctx0" brushRef="#br0" timeOffset="190028.48">13758 6019 0,'-13'0'15,"13"13"-15,0 1 16,13-1-16,-13 0 0,14 0 16,-1 14-16,0-14 0,13 14 0,-12-1 15,12 0-15,1 1 0,-1-1 0,1 1 16,12 13-16,-12-14 0,-1 0 15,14 1-15,-14-1 0,54 41 16,-54-41-16,14 14 0,0-14 16,-1 14-16,1 0 0,0-14 15,-1 14-15,1-1 0,0-12 0,-1 12 16,54 41-16,-53-54 0,13 14 16,39 39-16,-39-39 0,-13-13 15,13 12-15,13 1 0,-13-14 16,13 14-16,-13 0 0,13-14 0,0 1 15,66 39-15,-65-27 0,-1-12 16,13-1-16,53 41 0,-66-41 16,1 0-16,12 1 15,-13 13-15,0-14 0,80 40 0,-80-39 16,0-1-16,80 40 16,-80-39-16,13-1 0,53 27 15,-52-26-15,-1-14 0,-13 13 16,0 1-16,1-1 0,-1-13 0,53 40 15,-53-39-15,-13 12 0,13-13 16,-13 14-16,-13-14 0,13 13 0,26 1 16,-53-1-16,14-12 15,0 12-15,-1-13 0,-12 0 0,39 27 16,-39-27-16,-1 14 0,14-14 16,-14 0-16,1 0 0,-14 1 0,13-1 15,27 13-15,-40-12 0,14-1 16,-14 0-16,14 0 15,-14 1-15,26 12 0,-25-26 16,12 13-16,-13 0 0,1 1 0,-1-1 16,0-13-16,0 13 0,1 0 0,-1-13 15,0 14-15,-13-1 0,13-13 16,0 13-16,1-13 0,-14 13 16,13-13-16,0 14 0,0-14 15,-13 13-15,14-13 16,-1 0-16,-13 13 15,13-26 32,-13 0-31,0-1-16,0 1 16,0 0-16,0 0 15,13 13-15,-13-14 0</inkml:trace>
  <inkml:trace contextRef="#ctx0" brushRef="#br0" timeOffset="190403.5">18680 8467 0,'0'0'0,"-14"0"31,1 13-16,13 0 1,0 0-16,13-13 0,-13 14 16,0-1-16,14-13 15,-14 13-15,0 0 0,13 0 0,0 1 16,-13-1-16,13-13 0,-13 13 16,13 0-16,-13 1 0,14-14 15,-14 13-15,13-13 0,-13 13 16,13 0-16,-13 1 0,13-14 0,-13 13 15,14 0-15,-14 0 16,0 0-16,-14 14 0,14-14 16,-26 14-16,-1-1 0,-12 1 15,-1 12-15,-13 1 0,-26 13 0,-14-13 16,1 12-16,-14-12 0,13 13 16,-26 0-16,13-13 0,-26-1 0,0 14 15,-1-13-15,-12 0 0</inkml:trace>
  <inkml:trace contextRef="#ctx0" brushRef="#br0" timeOffset="193779.77">18812 10755 0,'13'27'15,"80"-1"1,-67-26 0,27 0-16,-13 13 0,-1-13 0,14 0 15,-13 0-15,0 0 0,-1-13 0,1 13 16,13 0-16,-13-13 0,-1 0 0,1 0 16,0-1-16,-1 1 0,-12 0 15,13-14-15,-1 14 0,-12-13 0,-1-1 16,14 1-16,-14-1 0,1 1 0,-1-1 15,1-12-15,-14 12 0,13-12 16,-12-1-16,-1 0 0,0 14 0,-13-14 16,0-53-16,0 54 0,0-1 15,-13 0-15,0 1 0,-14 12 0,14 1 16,-27-14-16,14 27 0,-14-14 16,14 1-16,-27 13 0,13-1 15,0 1-15,-13 0 0,1 13 0,-1 0 16,0 0-16,0 0 0,0 0 15,-13 13-15,13 14 0,-13-14 0,13 13 0,0 1 16,13-1-16,-13 1 0,14-1 16,12 1-16,-13-1 0,14 1 0,13-1 15,-14 1-15,1-1 0,13-13 0,13 14 16,-14-14-16,14 0 0,-13 14 16,13-14-16,0 0 0,0 0 15,0 1-15,0-1 0,-13 0 0</inkml:trace>
  <inkml:trace contextRef="#ctx0" brushRef="#br0" timeOffset="194552.34">18653 10398 0,'-13'0'0,"0"-13"0,-1 13 0,-12 0 0,13 0 16,-14-13-16,-12 13 0,-1-14 16,0 14-16,-13-13 0,-66-13 15,53 26-15,-13-13 0,13-14 16,-27 14-16,14 0 0,-80-40 15,53 26-15,0 1 0,14-14 16,-14 14-16,13-14 0,1 0 0,-1 14 16,-13-14-16,14 0 0,-14 1 0,13-1 15,0 0-15,1 1 0,-14-1 0,13 0 16,1 1-16,-1-1 0,-92-39 16,119 52-16,-14 1 0,-65-27 15,79 26-15,0 1 0,0-1 16,13 1-16,-14-1 0,15 14 15,-1-13-15,0-1 0,13 14 16,0-13-16,1 12 0,12 1 0,-13 0 16,14 0-16,13-1 0,-14 1 0,14 13 15,0-13-15,0 13 0,-1-13 16,1 13-16,0-13 0,0 13 0,0 0 16,13-14-16,-14 14 0,1 0 0,0-13 15,0 13-15,-1-13 16,1 13-16,0 0 0,0-13 0,-1 13 15,1-14-15,0 14 0,0-13 16,-14 13-16,14-13 0,0 13 0,0 0 0,-1-13 16,1 13-16,0-14 0,-14 14 0,14-13 15,0 13-15,0-13 16,0 13-16,-1 0 0,1-13 0,0 0 16,0 13-16,-1 0 0,14-14 15,-13 14-15,13-13 0,-13 13 0,13-13 16</inkml:trace>
  <inkml:trace contextRef="#ctx0" brushRef="#br0" timeOffset="194864.17">14631 8692 0,'14'-14'0,"-28"1"15,1 13-15,13-13 0,-13 13 16,0 0-16,0-13 0,-1 13 16,-12-14-16,13 14 0,-14-13 0,-26 13 15,27 0-15,-1 0 0,-12 0 16,12 0-16,-12 0 0,12 0 16,1 0-16,-14 13 0,13-13 0,-12 27 15,12-27-15,14 13 16,0 14-16,13-14 0,0 0 0,0 13 15,13 14-15,0 0 0,14 13 16,-1 0-16,1 0 0,12-14 0,1 14 16,53 53-16,-40-53 0,-14 0 15,1 0-15,13-14 0,-13 14 0</inkml:trace>
  <inkml:trace contextRef="#ctx0" brushRef="#br0" timeOffset="197676.41">12290 7435 0,'0'39'47,"13"-25"-31,-13-1-16,0 0 0,0 0 16,0 1-16,13 12 0,-13-13 0,0 1 15,0-1-15,0 0 0,0 0 0,14 0 16,-14 1-16,0-1 0,0 0 15,0 0 1,0 1-16,0-54 31,0 27-15,0-1-16,0-12 0,0 13 16,0 0-16,0-1 0,0-12 0,0 13 15,-14-1-15,14 1 0,0 0 0,0 0 16,0-1-16,0 1 15,0 53 17,0-27-32,0 0 0,0 1 15,0 12-15,0-13 0,-13 14 0,13-14 16,0 13-16,0 1 0,0-14 16,0 0-16,0 14 0,0-14 0,0 0 15,0 1-15,0-1 0,0 0 0,0 0 16,0 0-16,0-52 31,0 26-15,0-1-16,0-12 0,0 13 0,0-14 15,0 1-15,0-1 0,-13 1 16,13-27-16,0 40 0,0-1 16,-13 1-16,13 0 0,0 0 15,-14 26 16</inkml:trace>
  <inkml:trace contextRef="#ctx0" brushRef="#br0" timeOffset="199023.4">12951 10411 0,'-26'0'0,"52"0"0,-79 0 0,40 14 15,0-14-15,0 0 0,-14 13 0,14 0 16,-13 0-16,-1 14 0,1-1 16,-1 1-16,14-1 0,-13 14 0,-14 66 15,13-67-15,14 14 0,0-13 16,13 13-16,-13-13 0,26-1 15,-13 1-15,13 0 0,0-1 0,1 1 16,-1-14-16,13 14 0,14-13 0,-14-14 16,14 0-16,-13 0 0,26 0 0,-14-13 15,1-13-15,13 13 0,0-13 16,0-13-16,0-1 0,-1 1 0,-12-1 16,13-13-16,-13 14 0,-14-14 0,14 1 15,-14-14-15,1 13 0,-14-13 16,0 13-16,1 1 0,-14-14 0,0 0 15,-14 0-15,1 0 0,0 0 16,-14 0-16,1 14 0,-14 12 0,14 1 16,-14-1-16,0 14 0,1 13 0,-1 0 15,-13 0-15,-53 13 16,40 14-16,13-14 0,-13 13 0,13 1 16,0-1-16,14 14 0,-1-14 0,0 14 15</inkml:trace>
  <inkml:trace contextRef="#ctx0" brushRef="#br0" timeOffset="202836.5">16404 12396 0,'0'39'32,"0"-25"-32,0 12 0,0 1 15,0-1-15,0 14 0,-13-1 16,13 1-16,0 0 0,0-1 0,0-12 16,0 13-16,0-14 0,0 1 15,0-14-15,-13 13 0,13-13 0,0 1 16,0-1-16,0 0 0,0 0 0,0 1 31,13-41-15</inkml:trace>
  <inkml:trace contextRef="#ctx0" brushRef="#br0" timeOffset="203151.86">16338 12422 0,'0'0'15,"13"-26"-15,-13 12 0,13 14 0,1 0 0,-14-13 16,13 13-16,0 0 0,0 0 16,1 13-16,-1-13 0,13 0 0,-12 14 15,-1-1-15,0 0 0,0 0 16,0 1-16,-13-1 0,14 0 0,-14 14 15,0-14-15,-14 13 0,1 14 16,0-14-16,0 1 0,0-1 0,-1 1 16,1-14-16,-13 13 0,26-12 15,-14-14-15,1 13 0,0-13 0,0 13 16,-1-13-16,14-13 16,0 0-1</inkml:trace>
  <inkml:trace contextRef="#ctx0" brushRef="#br0" timeOffset="203488.36">16920 12237 0,'-13'-13'0,"-14"26"31,14 13-31,0-12 0,13 12 16,-13 1-16,0 12 0,-1-12 15,14 12-15,-13 1 0,0 0 0,13-1 16,-13-12-16,13 13 0,0-1 0,-14-12 16,14-1-16,0 1 0,0-14 0,14 13 15,-14 1-15,0-14 0,0 14 16,13-14-16,-13 0 0,0 0 0,13 0 15,-13 1-15,13-1 0,1-13 16,-1 13-16,0-26 16,0 13-16,0 0 15,1-13-15,-1 13 0,-13-14 0,13 1 16</inkml:trace>
  <inkml:trace contextRef="#ctx0" brushRef="#br0" timeOffset="203894.75">17158 12488 0,'0'0'15,"-26"-13"1,13 26-16,-1 1 0,1-14 16,13 13-16,-13 0 0,0 0 0,-1 14 15,14-14-15,-13 13 16,0-12-16,13 12 0,0-13 0,-13 1 15,13 12-15,0-13 0,0 0 0,0 1 16,0-1-16,0 0 0,13 0 16,13-13-1,-12 0-15,-1-13 16,0 13-16,0 0 0,1-13 16,-1 13-16,0 0 0,-13-13 0,13 13 15,0 0-15,1 13 0,-1-13 16,0 0-16,0 13 0,-13 0 15,14 1-15,-1-1 0,0 13 16,0-12-16,-13-1 0,14 0 0,-14 0 16,13 0-16,-13 1 0,0-1 15,13-13-15,-13 13 16</inkml:trace>
  <inkml:trace contextRef="#ctx0" brushRef="#br0" timeOffset="204228.8">17211 12171 0,'40'13'31,"-27"0"-31,0 1 16,1 12-16,12 0 0,-13 1 16,14 13-16,-14-1 0,0-12 0,0 26 0,1-14 15,-1 1-15,-13 0 0,13 13 16,-13-14-16,0 1 0,0 0 16,-13-1-16,13 1 0,0 0 0,-13-14 15,13 1-15,-14-1 0,14-13 0,-13 14 16,13-14-16,0 0 0,0 1 0,0-1 15,13-13 1,14-13-16,-1-1 0,27 1 16,-13-13-16,26 12 0,-13-12 0,0 13 15,13-14-15</inkml:trace>
  <inkml:trace contextRef="#ctx0" brushRef="#br0" timeOffset="204570.37">18521 12488 0,'26'0'16,"-12"0"-16,-1 0 0,0 0 16,0-13-16,14 13 0,-14 0 0,0 0 15,14 0-15,-14 0 0,0 0 0,0 0 16,0 0-16,1 0 0,-1 13 15</inkml:trace>
  <inkml:trace contextRef="#ctx0" brushRef="#br0" timeOffset="204777.33">18534 12700 0,'13'13'31,"14"-13"-16,-14 0-15,0 0 0,0 0 0,14 0 16,-14 0-16,14 0 0,-1 0 16,0-13-16,-12 13 0,12 0 0,1 0 15,-14 0-15,13 0 0,-12-13 0,-1 13 16,0 0-16,0 0 0,0 0 0,1 0 16,-1 0-16,0 0 15</inkml:trace>
  <inkml:trace contextRef="#ctx0" brushRef="#br0" timeOffset="208731.69">19619 12263 0,'-13'0'0,"-67"40"32,67-27-32,0 14 0,-14-1 15,14 1-15,0-1 0,0 14 16,-14 105 0,27-118-16,13-1 15,1-12-15,-1-1 0,-13 13 16,26-26-16,-12 13 0,-1-13 0,13 14 15,-13-28-15,14 14 0,13-13 0,-14 0 16,14 0-16,-14-14 0,1 1 16,-1-1-16,-13 1 0,1-1 0,-1 14 15,-13-13-15,0-1 0,0 1 16,-13 13-16,-1-14 0,1 1 0,-13-1 16,-1 1-16,1 13 0,13-1 15,-14 1-15,14 0 0,-14 0 0,-12-1 16,25 14-16,-12 0 0,-14 0 15,14 14-15,-1-14 0,14 13 16,0 0-16,-13 0 0,26 14 16,-14-14-16,14 0 0,-13 0 0,13 14 15,0-14-15,0 0 0</inkml:trace>
  <inkml:trace contextRef="#ctx0" brushRef="#br0" timeOffset="209071.58">20452 12422 0,'0'-13'0,"0"26"0,-13-26 0,0 13 16,0 0-16,-1 13 0,1 0 0,-13 14 16,-1-14-16,1 14 0,-14 12 15,0 1-15,1 0 0,-1 13 16,-53 39-16,40-39 0,14-13 16,-54 39-16,54-26 0,-1-26 15,13 12-15,14-26 0,-13 14 16,12-1-16,1-26 0,0 14 0,13-1 15,26-26 1</inkml:trace>
  <inkml:trace contextRef="#ctx0" brushRef="#br0" timeOffset="209283.42">20585 12422 0,'0'0'0,"26"-13"0,-13 0 16,-26 39-1,0-13-15,0 14 0,-14-1 16,-13 14-16,1 0 0,-1 13 0,-13 0 16,13-1-16,-26 1 0,0 14 0,26-15 15,-26 1-15,13 0 0,0 0 0,1-13 16,-1 13-16,13-14 0,0 14 16,-39 27-16,52-54 0,14 1 15,-26-1-15,39-13 16</inkml:trace>
  <inkml:trace contextRef="#ctx0" brushRef="#br0" timeOffset="-214145.11">23297 8718 0,'0'-13'0,"-14"13"31,-12 13-15,13-13-16,-1 13 15,1 0-15,0-13 0,0 14 0,-14-1 16,14 0-16,-13 0 0,12 1 0,-12-1 16,13 0-16,-1 0 0,1 1 0,0-1 15,13 0 1,-13-13-16,26 13 0,-13 0 16,13-13-16,0 0 0,1 14 0,-1-14 15,13 0-15,-12 0 0,12 0 16,1 0-16,-14 0 0,13 0 0,1 0 15,-14 0-15,13 0 0,-12-14 16,12 14-16,-13 0 0,0-13 16,1 0-16,-1 13 0,-13-13 15</inkml:trace>
  <inkml:trace contextRef="#ctx0" brushRef="#br0" timeOffset="-213961.33">23389 8639 0,'0'0'15,"-13"13"1,0-13-16,13 13 0,-14 0 16,14 14-16,-13-14 0,13 13 0,-13 1 15,13-1-15,-13 1 0,13-1 16,-13 1-16,13-1 0,0-13 0,-14 14 16,14-14-16,0 0 0,0 1 15,0-1-15,14 0 0,-14 0 0</inkml:trace>
  <inkml:trace contextRef="#ctx0" brushRef="#br0" timeOffset="-213673.27">23627 8692 0,'0'-14'16,"0"28"-16,-13-1 31,13 0-16,13 0-15,-13 0 0,14 1 16,-1-14-16,0 0 0,0 0 16,0 0-1,-13-14-15,14 14 0,-14-13 0,0 0 16,0 0-16,0 0 16,0-1-16,-14 1 0,1 13 15,0-13-15,0 13 0,0-13 0,-14 13 16,1 0-16,-1 0 0,1 0 0,-1 0 15,-12 0-15,-1 0 16,0 0-16,-13 0 0</inkml:trace>
  <inkml:trace contextRef="#ctx0" brushRef="#br0" timeOffset="-213476.23">22860 8678 0,'40'80'31,"-40"-54"-31,0 1 16,13 12-16,-26 1 0,13-14 0,0 14 15,-14-13-15,14 12 0,-13-12 16,0-1-16,13 1 0,-13-14 0,0 13 16,-1-12-16,1-1 0</inkml:trace>
  <inkml:trace contextRef="#ctx0" brushRef="#br0" timeOffset="-213250.02">22873 8546 0,'80'-26'0,"237"-54"31,-251 67-31,0 0 15,1 0-15,-1-1 0,-27 14 16,14-13-16,-13 0 0,0 13 0,-14 0 0,-13 0 16,1 0-16,-1 0 0,-40 13 15,1-13 1,-14 13-16,1 1 0</inkml:trace>
  <inkml:trace contextRef="#ctx0" brushRef="#br0" timeOffset="-212961.02">22423 8797 0,'27'0'16,"-14"0"-16,0 0 0,1 0 0,-1 0 15,0 14-15,0-14 0,0 13 16,1 0-16,-1 0 0,0 1 0,-13-1 15,13 0-15,-13 0 0,0 0 16,14 1-16,-14-1 0,0 13 16,0-12-16,-14-1 0,14 0 0,-13 0 15,13 1-15,-13-14 0,0 13 0,-14 0 16,1-13-16,-1 13 16,27-26-16,-13 13 0,0-26 15,13 12-15,0-12 0</inkml:trace>
  <inkml:trace contextRef="#ctx0" brushRef="#br0" timeOffset="-212468.99">23297 7898 0,'0'0'0,"-14"0"15,1 0-15,0 0 16,0 13-16,-1 0 16,14 1-16,0-1 15,0 0-15,0 0 16,0 0-16,14-13 0,-14 14 16,0-1-16,13-13 0,-13 13 0,13 0 15,-13 1-15,0-1 0,13 0 16,-13 0-16,14 14 15,-14-14-15,0 0 0,0 14 0,0-14 16,13 0-16,-26 0 0,13 1 0,0-1 16,0 0-16,0 0 0,-14-13 0,14 13 15,-13-13-15,-13-13 16,12 13-16,1-13 0,13 0 0,-13 0 16,0-1-16,0 1 0,13 0 0,0-14 15,0 14-15,0-13 0,0-1 16,13 1-16,0-14 0,0 14 0,0-14 15,14 14-15,-14-1 0,14 1 16,-14-1-16,0 14 0,-13-14 0,13 14 16,-13 0-16,0 0 15,0 0-15,-13 13 16,-66 26 0,65-13-16,-12 14 15,0-1-15,12 1 0</inkml:trace>
  <inkml:trace contextRef="#ctx0" brushRef="#br0" timeOffset="-211646.84">19923 10147 0,'27'0'0,"-1"13"0,0-13 0,14 13 16,0 0-16,26 1 0,13-1 0,-12 0 16,-1 0-16,79 14 15,-65-14-15,-14 0 0,79 14 16,-79-27-16,-13 13 0,0-13 0,0 13 16,0-13-16,-26 0 0,12 13 15,-26-13-15,14 0 0,-1 0 16,-12 0-16,-1 0 0,0 0 0,0 0 15,0 0 1,-13-13-16,14 13 0,-28-13 16,14 0-1</inkml:trace>
  <inkml:trace contextRef="#ctx0" brushRef="#br0" timeOffset="-211344.19">21193 10067 0,'0'-13'0,"27"13"47,-14 13-47,0-13 0,0 14 0,133 144 31,-133-144-15,0 12-16,-13-13 0,13 14 0,-13-14 15,14 13-15,-14-12 0,0 12 16,-14-13-16,14 1 0,-13 12 0,13-13 16,-13 1-16,-13 12 0,12-13 0,1 0 15,0 1-15,0-1 0,-1-13 16,1 13-16,0 0 0,0-13 16,-1 14-16,1-1 0,0 0 15</inkml:trace>
  <inkml:trace contextRef="#ctx0" brushRef="#br0" timeOffset="-210580.44">22199 10147 0,'-40'-13'0,"80"26"0,-93-26 0,39 13 0,1 0 15,0 0-15,0 0 0,-27 0 16,27 0-16,0 0 0,-1 0 15,1 13-15,0-13 0,13 13 0,0 0 16,0 0-16,0 1 16,13-1-16,-13 13 0,13-12 0,1-1 15,-1 13-15,0 1 0,0-1 16,0-13-16,-13 14 0,14-14 0,-14 14 16,13-1-16,-13-13 15,-13 1-15,13-1 0,-14 0 16,14 0-16,-13-13 0,0 0 15,0 0-15,0 0 16,-1-13-16,14 0 16,0 0-16,14-1 15,-14 1-15,13 0 0,0 0 16,0-1-16,0 1 0,1-13 0,12 12 16,-13 1-16,14-13 0,-14 13 0,0-1 15,1 1-15,-1 0 0,-13-14 0,13 14 16,-13 0-16,0 0 0,0-1 15,0 1-15,-13 0 0,13 0 16,-13 0-16,-1 13 0,1-14 0,0 14 16,0-13-16,-1 13 0,1 0 15,-13 0-15,12 0 0,1 13 16,0-13-16,0 14 0,-14-14 0,14 13 16,13 0-16,-13 0 0,0 0 15,13 1-15,13-14 16</inkml:trace>
  <inkml:trace contextRef="#ctx0" brushRef="#br0" timeOffset="-210136.48">22450 10081 0,'0'0'15,"-27"13"1,14 0-16,-13 14 15,13-14-15,-1 13 0,1 1 16,0-1-16,13 1 0,-13-14 0,13 13 16,-14 1-16,14-14 0,0 0 15,14 14-15,-14-14 0,0 0 16,13 0-16,0 1 0,0-1 0,1 0 0,12 0 16,0-13-16,1 14 15,-14-14-15,14 0 0,-1 0 0,-13 0 16,14 0-16,-14-14 0,13 14 0,-12-13 15,-1 13-15,0-13 0,0 0 0,1-1 16,-1 1-16,-13 0 0,0 0 16,0-1-16,0 1 0,0-13 15,-13 13-15,13-14 0,-14 14 16,14 0-16,-13-1 0,13 1 0,-13 0 16,0 0-16,-1-1 0,14 1 0,-13 13 15,0 0-15,0 0 0,-1 0 0,1 0 16,0 0-16,-13 0 0,12 13 15,1-13-15,0 14 0,0-1 16,-14-13-16,27 13 0,-13 0 0,0-13 16,13 14-16,0-1 15,0 0-15</inkml:trace>
  <inkml:trace contextRef="#ctx0" brushRef="#br0" timeOffset="-209860.42">23072 9988 0,'0'0'16,"26"-13"-16,-26 26 31,0 0-31,0 0 16,0 14-16,-13-14 0,13 14 0,-13-1 15,13 14-15,-14-14 0,1 1 0,0 39 16,0-40-16,0 1 15,-1-1-15,14-13 0,-13 14 0,-13 13 16,26-27-16,-14 13 0,1-12 16,13-1-16,-13 0 0,0 0 0,13 0 15,-14-13-15,14 14 16,-13-14-16,0 13 0,0-13 16</inkml:trace>
  <inkml:trace contextRef="#ctx0" brushRef="#br0" timeOffset="-209764.45">22754 10398 0,'-13'0'0,"26"0"0</inkml:trace>
  <inkml:trace contextRef="#ctx0" brushRef="#br0" timeOffset="-209531.36">23283 10345 0,'0'0'16,"14"0"-1,-1 0 16</inkml:trace>
  <inkml:trace contextRef="#ctx0" brushRef="#br0" timeOffset="-207757.38">22582 10861 0,'66'13'16,"-132"-26"-16,159 26 0,-54-13 0,1 0 15,13 14-15,0-14 0,0 0 0,13-14 16,0 14-16,14 0 0,-14-13 0,13 0 15,-13 13-15,0-13 0,1-14 16,-1 14-16,0 0 0,-13-14 0,0 14 16,-14 0-16,1-14 0,-14 14 0,14-13 15,-13-1-15,12 1 0,-12-1 16,-1 1-16,1-1 0,-14-12 0,0 12 16,14-12-16,-14 12 0,0-13 0,-13 1 15,13-1-15,-13 14 0,0-1 16,0 1-16,-13-14 0,0 0 0,0 14 15,-1-14-15,-12 14 0,13-14 16,-14 14-16,-12-14 0,12 13 0,-13-12 16,1 12-16,-14 1 0,13-1 15,0 1-15,-12 13 0,-1-14 0,0 1 16,13 13-16,-13-1 0,-13 1 0,26 0 16,-13 0-16,0 13 0,1-14 15,-1 14-15,0 0 0,0 0 0,-13 0 16,13 14-16,-13-1 0,-1 0 0,1 0 15,-13 1-15,13-1 0,13 13 16,-13 1-16,13-14 0,0 13 16,-40 14-16,40-14 0,27 1 0,-14-14 15,14 14-15,-14-1 0,-13 14 16,27-14-16,-1 1 0,1-1 16,-1 1-16,14-1 0,-13 1 15,-14 25-15,13-25 0,14-1 16,0 14-16,-13-13 0,12 12 15,1-12-15,0-1 0,0 14 0,-1-14 16,14 1-16,0-14 0,-13 13 0,13 1 16,0-1-16,0 1 0,0-1 15,13 1-15,-13-1 0,14-13 16,-1 14-16,-13-1 0,13-12 0,0 12 16,14-13-16,-14 14 0,13-14 0,-12 0 15,12 0-15,-13 1 0,40-1 16,-26-13-16,-1 13 0,-13-13 0,14 13 15,-14-13-15,14 0 0,-14 14 16,0-14-16,13 0 0,-12 0 16,-1 0-16,0 13 0,14-13 0,-14 0 15,0 0-15,0 0 0,1 0 0,-1 0 16,0 0-16,0 0 0,0 0 16,1 0-16,-1 0 0,0 0 0,0 0 15,1 0-15,-1-13 16,0 13-16,0 0 0,1 0 31,-1 0-15,0 0-1,0 0 17,0 0 296,1 0-156,-1 0-63,-13-14-62,-27 28 31</inkml:trace>
  <inkml:trace contextRef="#ctx0" brushRef="#br0" timeOffset="-206758.43">14340 10980 0,'27'-13'16,"-14"0"-16,0 13 15,1 0-15,-1 0 16</inkml:trace>
  <inkml:trace contextRef="#ctx0" brushRef="#br0" timeOffset="-206567.33">14261 11165 0,'40'-26'32,"-27"26"-32,0 0 0,0-13 0,14 13 15,-14-14-15,0 1 0,14 13 16,-14-13-16,0 13 0,14-13 0,-14 13 15</inkml:trace>
  <inkml:trace contextRef="#ctx0" brushRef="#br0" timeOffset="-205932.77">14817 10769 0,'13'-14'16,"-26"28"-16,39-28 0,-13 14 0,1 0 0,-1 0 0,0 14 15,0-1-15,-13 0 16,13 13-16,-13-12 0,-13 12 16,13-13-16,-13 14 0,13-1 15,-13 1-15,0-14 0,-1 13 0,14-12 16,-13 12-16,0-13 0,13 1 0,-13-14 15,13 13-15,-14 0 0,14 0 16,-13-13-16,13 13 0,13 1 16,1-14-1,-1 0-15,0 0 0,14 0 16,-14-14-16,13 14 0,1-13 16,-1 0-16,1 0 0,-1 0 15,14-14-15,-27 14 0,13-14 0,-12 14 16,-1 0-16,0 0 0,0 0 0,-13-1 15,0 1-15,14 0 0,-14 0 16,0-1-16,-14 41 47,28-14-47,-1 0 16,0-13-16,-13 14 0,13-14 15,1 13-15,-1-13 0,0 0 0,0 0 16,0 0-16,1 0 0,-1-13 0,0 13 15,0-14-15,1 1 16,-14 0-16,0 0 16,0-1-16,0 1 0,-14 0 15,14 0-15,-13-1 16,0 14-16,0 0 0,13-13 0,-14 13 16,1 0-16,0 0 0,0 13 15,0-13-15,-1 0 0,1 14 16,0-14-16,0 0 0,13 13 0,-14-13 15,14 13-15,-13-13 0</inkml:trace>
  <inkml:trace contextRef="#ctx0" brushRef="#br0" timeOffset="-205721.41">15544 10557 0,'0'-13'16,"0"39"15,0-13-31,0 14 0,0-14 0,0 13 16,0 1-16,-13 13 0,13-14 15,-13 14-15,13-14 0,-13 1 16,13-1-16,-14-13 0,14 14 16,-13-14-16,13 0 0,-13 14 0,13-14 15,0 0-15</inkml:trace>
  <inkml:trace contextRef="#ctx0" brushRef="#br0" timeOffset="-205562.37">15425 10729 0,'-13'-13'16,"13"-1"-16</inkml:trace>
  <inkml:trace contextRef="#ctx0" brushRef="#br0" timeOffset="-205416.38">15584 10769 0,'13'0'16,"0"13"30,1 0-30</inkml:trace>
  <inkml:trace contextRef="#ctx0" brushRef="#br0" timeOffset="-203601.18">14737 11404 0,'40'13'16,"-14"-13"-16,-12 0 0,12 0 0,1 0 16,-1 0-16,14 0 0,-1 0 15,14 0-15,0-13 0,0 13 0,-13-14 16,13 1-16,-14 13 0,14-13 0,-13 0 15,0-1-15,-1-12 0,1 13 0,0-1 16,0-12-16,-1 13 16,1-14-16,0 14 0,-14-13 0,14-1 15,-14 14-15,14-14 0,-14 1 0,1 13 16,-1-14-16,1 1 0,-1 13 16,-13-14-16,14 1 0,-14 13 0,0-14 15,1 14-15,-1 0 0,0-14 16,0 14-16,0-14 0,1 14 0,-14-13 15,13 13-15,-13-14 0,0 14 0,0-14 16,0 14-16,0-13 0,0-14 16,-13 14-16,13-1 0,-14 14 0,1-14 15,0 1-15,0 0 0,0-1 16,-14 1-16,14-1 0,-14 14 16,1-14-16,-1 14 0,1 0 0,13 0 15,-14-14-15,1 14 0,-1 13 0,1-13 16,-1 0-16,14 13 0,-13-14 15,-1 1-15,1 13 0,-1-13 0,1 13 16,0-13-16,-1 13 0,1 0 0,-1 0 16,1-14-16,-1 14 0,1 0 15,-1 0-15,1 0 0,-1 0 16,1 0-16,-1 0 0,1 0 0,0 0 0,-14 14 16,13-14-16,-12 0 0,-1 13 0,14-13 15,-14 13-15,0 0 16,0 1-16,14-1 0,-14 0 0,14 0 15,-1 1-15,1-1 0,-40 26 0,39-25 16,1 12-16,13-13 16,-14 14-16,1-14 0,-1 14 0,1-1 15,13 0-15,-14 1 0,14-1 0,0 14 16,-1-14-16,1 1 0,0-1 0,13 1 16,-13-1-16,13 1 0,-13 12 15,13-12-15,0 13 0,0-14 0,0 1 16,0-1-16,0 14 0,13-14 0,-13 1 15,0-1-15,0 0 0,13 1 16,0 26-16,-13-27 16,13 1-16,1 12 0,-14-12 0,13-14 15,0 27-15,0-27 16,1 0-16,-1 1 0,-13-1 16,13 0-16,0-13 0,1 13 0,-1 0 15,0-13-15,0 14 0,0-14 0,1 13 16,-1-13-16,0 13 0,0-13 0,1 0 15,-1 13-15,0-13 16,0 0-16,1 0 16,-1 0-16,-13 14 15,13-14-15,0 0 32,0 0-17,1 13 95,-1-26 249,0-1-328,0 14-15,1-13-1,-1 13 1,-13-13-16,13 13 0,0 0 16,0-13-16,1 13 15,-1-14 1,0 14-16,0 0 31,1-13 0,-14 0 32,13 13-47,0-13-16,0 13 15</inkml:trace>
  <inkml:trace contextRef="#ctx0" brushRef="#br0" timeOffset="-202846.23">20333 12065 0,'0'0'0,"-26"26"0,13-12 0,-1-1 15,1 0-15,0 0 0,13 14 0,-27-1 16,14 1-16,0-1 0,0 1 16,-1-1-16,1 1 0,0-14 0,0 13 15,0-13-15,13 14 0,-14-14 0,1 14 16,0-14-16,13 0 0,-13 0 16,-1 1-16,14-1 0,-13 0 0,0-13 15</inkml:trace>
  <inkml:trace contextRef="#ctx0" brushRef="#br0" timeOffset="-202667.94">20095 12211 0,'-13'0'15,"26"13"16,-13 0-15,13 0-16,14 0 0</inkml:trace>
  <inkml:trace contextRef="#ctx0" brushRef="#br0" timeOffset="-202520.3">20598 12356 0,'0'-13'0</inkml:trace>
</inkml:ink>
</file>

<file path=ppt/ink/ink27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2:49:24.526"/>
    </inkml:context>
    <inkml:brush xml:id="br0">
      <inkml:brushProperty name="width" value="0.05292" units="cm"/>
      <inkml:brushProperty name="height" value="0.05292" units="cm"/>
      <inkml:brushProperty name="color" value="#0070C0"/>
    </inkml:brush>
  </inkml:definitions>
  <inkml:trace contextRef="#ctx0" brushRef="#br0">1138 1389 0,'26'-13'0,"1"13"0,12-13 0,319-27 32,-253 27-32,-12 13 0,39-14 0,-39 14 15,39-13-15,-26 13 0,0 0 16,0 0-16,-1 0 0,-12 0 0,0 0 15,-14 0-15,0 0 0,-12 0 16,-15 0-16,1 0 0,-13 0 0,-13 0 0,-1 0 16,0 0-16,1 0 0,-14 0 15,0 0-15,-39 0 32</inkml:trace>
  <inkml:trace contextRef="#ctx0" brushRef="#br0" timeOffset="290.92">1283 1601 0,'-13'13'0,"92"-13"32,-39 0-32,26 0 0,14 0 15,-1-13-15,14 13 0,12 0 16,1-13-16,27 13 0,-1 0 0,0-14 15,-26 14-15,-13 0 0,12 0 0,-12-13 16,-14 13-16,1 0 0,-27 0 0,0 0 16,-14 0-16,1 0 0,-27 0 0,14 0 15,-14 0-15,0 0 0,0 0 16,1 0-16,-1 13 16,-26 1-1,13-1-15,-14-13 0,14 13 16,-13-13-16,0 13 0</inkml:trace>
  <inkml:trace contextRef="#ctx0" brushRef="#br0" timeOffset="4562.37">4419 10398 0,'0'-13'15,"-14"13"16,1 13-15,0 0-16,-14 1 0,14-1 16,-13 13-16,-14 14 0,0 0 0,1-1 15,-54 54-15,53-40 0,-26 13 16,-66 66-16,79-66 0,-13 1 16,0-1-16,0-13 0,13 0 15,0-1-15,13-12 0,-13 13 0,0-13 16,0-1-16,14 1 0,-14-13 0,13 12 15,0-12-15,1-1 0,12-13 16,1 14-16,-1-14 0,1 0 16,13 1-16,-14-1 0,14 0 0,0-13 15,-1 13-15,1 1 0,0-14 16,0 13-16,0-13 16,13-27 15,13 27-31,-13-26 15,13 13-15,0-14 0,14 1 0,-14-14 16</inkml:trace>
  <inkml:trace contextRef="#ctx0" brushRef="#br0" timeOffset="5241.59">3797 10517 0,'-40'0'16,"80"0"31,-14 0-47,1-13 0,12 13 15,1-13-15,26-14 0,0 14 16,-13 0-16,13 0 0,1-14 0,-1 14 16,-13 0-16,0-1 0,-1 14 0,-12-13 15,0 0-15,0 13 0,-14 0 0,0 0 16,-12-13-16,12 13 0,-13 0 15,1 0-15,-1 0 0,0 0 0,0 0 16,0 0-16,1 0 0,-1 0 16,0 0-16,-13 13 15,13-13-15,-13 13 0,14-13 0,-14 13 16,0 1-16,13 25 0,-13-12 16,13-1-16,-13 1 0,0 12 15,0 1-15,0 0 0,-13-1 16,13 1-16,0 0 0,-13-14 0,13 1 15,-14-1-15,1 14 0,0-14 16,0-12-16,13-1 0,-14 0 16,14 0-16,-13-13 0,13 14 15,13-1 1</inkml:trace>
  <inkml:trace contextRef="#ctx0" brushRef="#br0" timeOffset="6498.17">19553 11496 0,'0'-13'62,"-14"0"-62,14-1 16,-13 14-16,13-13 0,-13 13 0,0-13 16,13 0-16,-13 0 0,-1-1 15,-12 1-15,13 0 0,-14-14 16,1 14-16,-1-13 0,1-1 0,-1 14 16,-12-13-16,-1-1 0,0-13 0,1 14 15,-14-1-15,0-12 0,13 12 0,-13-12 16,0 12-16,0-12 0,0 12 0,0 1 15,-13-14-15,13 13 0,1 1 16,-1 0-16,0-1 0,0 14 16,0-14-16,13 1 0,0 13 0,1-1 15,-1-12-15,14 13 0,-14 0 0,27-1 16,-14 1-16,14 0 0,0 13 16,-14-13-16,14 13 0,0-14 0,0 1 15,-1 13-15,1 0 16,0-13-16,0 13 15,0 0 1,13 13 0,-14 0-1</inkml:trace>
  <inkml:trace contextRef="#ctx0" brushRef="#br0" timeOffset="7377.88">18111 10464 0,'0'-13'15,"0"0"1,-13 13-1,-1 0-15,1-13 16,0 13 0,0 0-16,-1-14 0,1 14 0,0 0 15,0-13-15,-1 13 0,1 0 0,0-13 16,0 13-16,0 0 0,-1 0 0,14-13 16,-13 13-16,0 0 0,0-14 15,-1 14-15,1 0 16,0 0-16,0 0 15,-1 14 1,14-1 0,0 0-1,0 0 1,0 1-16,0-1 16,14-13-16,-14 13 0,0 0 0,13 14 15,0-14-15,0 13 0,1 1 0,-1-1 16,0 1-16,0 12 0,14-12 15,-14-1-15,13 1 0,-12-1 0,-1 1 16,13 12-16,1-12 0,-14-1 0,0-12 16,1 12-16,-1-13 15,13 14-15,-13-14 0,1 0 0,-1 0 16,0 1-16,0-1 16,1 0-1,-1 0 1,-13 1-1,13-14 1,-13 13 15,13-13 1,-26-27 46,13 14-78,0 0 0,-13 0 15,26-14-15,-13 14 0,0-13 16,0 12-16,13-12 0,-13-1 0,13 1 16</inkml:trace>
  <inkml:trace contextRef="#ctx0" brushRef="#br0" timeOffset="9178.26">3717 9075 0,'-26'0'31,"66"-13"-15,-14 13-16,14-13 0,13 0 0,13-1 15,0 1-15,0 0 0,0 0 16,0-1-16,1 1 0,-1 0 0,13 0 16,-13 13-16,40-14 0,-66 1 15,13 13-15,-14-13 0,1 13 16,0 0-16,-27 0 0,13 0 16,-12 0-16,12-13 0,-13 13 0,1 0 15,-41 13 1,1 0-1,-1 0-15,-13 1 0,-79 12 16,53-13-16,0 14 0,-79 13 16,65-27-16,1 13 0,0-13 15,-1 14-15,1-14 0,-1 0 16,1 14-16,13-14 0,-14 0 0,-25 14 16,52-27-16,13 13 0,14-13 15,-14 13-15,27-13 16,-1 0-16,1 0 0,53 0 15,-14 0 1,27-13-16,0 0 0,13 0 16,0-1-16,1 1 0,12 0 0,-13 0 15,66-14-15,-65 27 16,-14-13-16,39 0 0,-39-1 16,-13 1-16,-14 13 0,27 0 15,-40-13-15,14 13 0,-14 0 16,0 0-16,0 0 0,1 0 15,-1 0-15,-53 0 47,27 0-47,0 13 0,0-13 16,-27 13-16,13-13 0,1 0 16,-53 14-16,52-14 15,1 13-15,-14-13 0,14 0 0,-1 0 16,1 0-16,-1-13 0,14 13 0,-14 0 15,14-14-15,0 14 0</inkml:trace>
  <inkml:trace contextRef="#ctx0" brushRef="#br0" timeOffset="10323.11">16947 8797 0,'0'0'0,"39"0"31,-12 0-31,-1 0 0,14 14 15,13-14-15,0 0 0,0 0 16,0 13-16,-1-13 0,1 0 0,13 0 16,-13 0-16,14 0 0,-15 0 0,1 0 15,0 0-15,0 0 0,-13 0 0,-14 0 16,1 0-16,-1 0 0,-12 0 16,-1 0-16,13 0 0,-13 0 15,-52 13 16,26-13-31,-14 0 0,-13 0 16,1 13-16,-14-13 0,0 0 0</inkml:trace>
  <inkml:trace contextRef="#ctx0" brushRef="#br0" timeOffset="10639.06">16788 8916 0,'0'0'0,"-40"0"0,27 0 0,66 0 31,-27 0-16,14 0-15,13 0 0,13 14 0,0-14 16,14 0-16,-14 0 0,13 0 16,67 13-16,-94-13 0,15 0 15,-14 0-15,13 0 0,-13 0 16,0 0-16,-14 0 0,-12 0 0,12 0 16,-12 0-16,-14 0 0,14 0 15,-14 0-15,0 0 0,0 0 16,0 0-16,1 0 0,-1 0 0,-13-13 94,13 13-94</inkml:trace>
  <inkml:trace contextRef="#ctx0" brushRef="#br0" timeOffset="11630.95">18441 8625 0,'0'0'15,"14"-13"1,-14 53-16,-14-40 15,14 26-15,0-12 0,0 12 16,0-13-16,-13 14 0,13 12 16,-13-25-16,13 12 0,0-13 0,-13 14 15,13-14-15,0 0 0,0 0 0,0 1 16,0-1-16</inkml:trace>
  <inkml:trace contextRef="#ctx0" brushRef="#br0" timeOffset="11961.97">18613 8665 0,'0'-13'0,"-13"0"31,0 39-31,0-13 16,13 1-16,0-1 15,0 13-15,0-13 0,0 1 16,0-1-16,13 0 0,-13 0 0,13 1 0,0-1 15,1 0-15,-1-13 16,0 0-16,0 13 0,1-13 16,-1-13-16,0 13 0,0-13 15,-13 0-15,13-1 16,-26-12 0,13 13-16,-13-1 0,0 1 15,0 13-15,13-13 0,-14 13 16,1-13-16,0 13 0,0 0 15</inkml:trace>
  <inkml:trace contextRef="#ctx0" brushRef="#br0" timeOffset="12257.22">18759 8639 0,'-13'26'31,"13"-13"-15,0 1-16,13-1 0,-13 0 16,13 0-16,0-13 15,1 13-15,-1 1 0,0-14 0,14 0 0,-14 0 16,13 0-16,-13 0 0,27 0 16,-27 0-16,-13-14 0,14 14 15,-1-13-15,-13 0 16,0 0-16,0 0 0,-13-1 15,-1 14-15,1-13 0,0 0 0,0 13 16,-1 0-16,-12 0 0,13 0 16,-14 0-16,1 0 0,13 13 15,-1-13-15,1 0 0,0 13 0,0-13 16,39 14 0</inkml:trace>
  <inkml:trace contextRef="#ctx0" brushRef="#br0" timeOffset="12470.97">19460 8453 0,'27'-26'15,"-27"39"1,0 0-16,-14 14 16,1-14-16,0 14 0,0-1 0,-1 0 15,-12 14-15,13-13 0,-14 12 0,14-12 16,0-1-16,-14 1 0,1 26 15,13-40-15,13 0 0,-14 0 16,14 1-16,-13-1 0,13 0 0,-13 0 16</inkml:trace>
  <inkml:trace contextRef="#ctx0" brushRef="#br0" timeOffset="12593.89">19037 8599 0,'0'0'0,"-13"-13"16,39 13-1</inkml:trace>
  <inkml:trace contextRef="#ctx0" brushRef="#br0" timeOffset="12758.31">19592 8731 0,'0'0'0,"-13"-13"47,-13 13-31,12 13-16,1-13 0,0 13 16,0 1-16,0-1 0</inkml:trace>
  <inkml:trace contextRef="#ctx0" brushRef="#br0" timeOffset="13377.37">18494 9221 0,'0'0'0,"186"53"31,-134-40-15,28-13-16,-27 0 0,26 0 0,1 0 15,-14 0-15,13 0 0,0-13 0,1-1 16,-1 14-16,1-13 0,-1-13 16,0 13-16,-13-1 0,1-12 0,-1-1 15,-13 1-15,0-1 0,-1-12 0,1 12 16,-13-12-16,13-1 0,-13 0 15,-14 1-15,14-14 0,-14 13 0,-12-13 16,12 0-16,-26-13 0,0 26 16,0-26-16,-26 0 0,-1 0 0,-66-66 15,27 65-15,-13 14 16,-14 1-16,1 12 0,-14 0 0,-13 14 0,0 13 16,-13-1-16,26 14 0,-159 27 15,133-1-15,-1 1 0,14 26 16,0-1-16,0 15 0,27-1 15,-1 13-15,14-13 0,13 14 0,13 12 16,13-12-16,27-14 0,0 13 0,13-13 16,13 0-16,0 1 0,27-1 0,-1 13 15,28-13-15,-15-13 0,28 0 16,-14-13-16,0-1 0,0-12 0,0-1 16,1-12-16,-1-1 0,0-13 0,0 13 15,-13-13-15,0 0 0,-14 0 16,14-13-16,-13 13 0,0 0 15,-14-13-15,1 13 0,-14-14 0,13 14 16,-12 0-16,-1-13 0,0 13 0,-13-13 16,13 13-16,1-13 0,-14-1 15,13 14 1,-13-13-16,13 13 16</inkml:trace>
  <inkml:trace contextRef="#ctx0" brushRef="#br0" timeOffset="46603.27">13758 10451 0,'-26'-13'16,"13"13"-16,-1 0 31,1 13-31,13 0 16,0 1-16,-13-14 0,13 26 16,-13-13-16,13 0 0,0 14 0,-14-1 15,14 14-15,0 0 0,-13-1 0,13 1 16,0 0-16,0 13 0,-13-14 15,13 1-15,0 0 0,0-1 0,-13 1 16,13 0-16,0-1 0,-13 1 0,13-13 16,0-1-16,-14 1 0,14-1 0,0 0 15,0 1-15,0-1 0,-13 1 16,13-14-16,0 14 0,0-14 16,0 0-16,0 0 0,0 0 0,0 1 0,0-1 15,0 13-15,0-12 16,-13-1-1,13 0-15,0 0 16,0 1 15,0-1-15,13 0 31,0 0 15,1-13-30,-14 13-17,13-13 1,-13 14-1,13-14-15,-13 13 16,13-13 0,0 13-1,1-13-15,-1 13 16,0-13 0,0 14-16,1-14 15,-1 13-15,0-13 0,0 0 0,27 13 16,-27-13-16,14 0 0,-14 0 15,13 0-15,1 0 0,-14 13 16,14-13-16,-14 0 0,13 0 0,-13 0 16,14 0-16,-1 0 0,-12 0 0,12 0 15,1 0-15,-14 14 0,13-14 0,1 0 16,-1 0-16,1 0 0,-1 0 16,1 0-16,12 0 0,-12 0 15,12 13-15,-12-13 0,12 0 0,1 0 16,0 0-16,13 0 0,198 13 31,-198 0-31,-13-13 0,13 0 16,-14 0-16,14 13 0,-13-13 0,0 0 15,-1 0-15,-12 0 0,12 14 16,-12-14-16,13 0 0,13 0 16,-14 13-16,-12-13 0,-1 0 0,14 13 15,-14-13-15,1 0 0,-1 0 0,1 0 16,-14 13-16,13-13 15,1 0-15,-14 0 0,13 0 0,1 0 0,-14 0 16,0 14-16,14-14 0,-14 0 16,0 0-16,1 0 0,-1 0 15,0 0-15,0 0 0,0 0 0,1 0 16,-1 0-16,0 0 0,0 0 16,1 0-16,12 0 15,1 0 1,-14 0-16,0 0 15,0 0-15,0 0 0,1 0 16,-1 0-16,0 0 0,0 0 16,1 0-16,-1 0 15,0-14-15,0 14 16,0 0-16,1 0 0,-1 0 16,0 0-16,0-13 15,1 13-15,-1 0 16,0 0-1,-13-13-15,13 13 16,1-13 0,-1-1-1,-13 1 1,0 0 0,0 0-1,0 0-15,-13-1 16,13 1-16,0 0 0,0 0 0,0-14 15,0 14-15,0-40 0,-14 27 16,14-1-16,0 1 0,0-14 16,0 13-16,14-25 0,-14 12 15,0 13-15,0 1 0,0-1 16,0 1-16,0 13 0,0-14 0,0 1 16,0 13-16,0-14 0,0 1 15,0-1-15,13 14 0,-13 0 0,0 0 16,0-1-16,0-12 0,0 13 0,0-1 15,0 1-15,0 0 16,0 0-16,0 0 0,0-1 0,0-12 16,0 13-16,0-1 0,0 1 15,0 0-15,0 0 16,0-1 0,0 1-16,0 0 15,0 0 1,0 0-1,0-1 17,0 1-17,0 0-15,-13 0 32,13-1-17,13 28 48,0-1-48,-13 0-15</inkml:trace>
  <inkml:trace contextRef="#ctx0" brushRef="#br0" timeOffset="51568.99">21749 2818 0,'-13'-13'0,"26"26"0,-26-40 0,13 14 16,-14 53 15,14-27-31,0 40 0,0-13 16,-13 26-16,13 0 0,-13 13 15,0 1-15,-1 26 0,1-1 16,0 1-16,0 13 0,-14-13 0,14-13 16,0-1-16,13-12 0,-13-1 15,-1 0-15,1 1 0,0-14 0,0 0 16,13 0-16,-14-13 0,14 0 15,-13-13-15,13-1 0,-13 1 0,13-13 0,0-1 16,0-13-16,-13 14 0,13-14 16,0 0-16,0 0 0,0 1 0,0-1 15,0 0-15,13-13 32,0 0-32,0 0 15,1-13-15,-1 13 0,13 0 16,1-13-16,-1 13 0,14 0 0,13-14 15,53 1-15,-27 13 16,80 0-16,-80-13 0,14 26 16,-14-13-16,14 0 0,-14 0 0,14 13 15,-1-13-15,-12 0 0,12 14 0,-12-14 16,-1 0-16,0 0 0,-12 13 16,-14-13-16,-1 0 0,1 0 0,0 0 15,-13 0-15,-14 0 0,14-13 16,-27 13-16,14 0 0,-1 0 0,-13 0 15,14 0-15,-14-14 0,0 14 16,1 0-16,-1 0 0,0-13 0,0 13 16,1 0-16,-1-13 0,0 0 15,0 13-15,-13-14 0,13 1 0,-13 0 16,14 13-16,-14-13 0,0-14 16,13 14-16,-13-13 0,13 12 0,-13-12 15,13-14-15,-13 1 0,14-1 0,-14 0 16,13 1-16,-13-14 0,13-14 15,-13 1-15,13 0 0,-13 0 0,13-13 16,-13 13-16,14-14 0,-1 1 16,-13-1-16,13 14 0,-13-13 0,13 13 15,-13 0-15,0-1 0,0 15 0,0 12 16,0-13-16,0 13 0,-13 1 16,13 12-16,0 1 0,0-1 0,0 14 15,-13-14-15,13 14 0,0 0 0,0 0 16,0 0-16,0-1 0,0 1 15,-13 0-15,13 0 16,-14 13-16</inkml:trace>
  <inkml:trace contextRef="#ctx0" brushRef="#br0" timeOffset="52207.08">22053 3228 0,'-26'26'15,"26"14"1,0 0-16,0-14 16,0 1-16,0-1 0,13 1 15,-13-14-15,13 13 0,0-13 0,0 1 16,1-1-16,-1 0 0,0 0 0,0-13 15,1 14-15,-1-14 16,0 0-16,0 0 0,1 0 0,-1 0 16,0-14-16,0 1 0,-13 0 0,0 0 15,0-1-15,0 1 0,0-13 16,-13 13-16,13-1 0,-13-12 16,0 13-16,-1-1 0,1 1 0,0 0 15,0 0-15,-1 0 0,1-1 0,0 14 16,0 0-16,-1 0 0,1 0 15,0 0-15,0 14 0,0-14 0,13 13 16,-14-13-16</inkml:trace>
  <inkml:trace contextRef="#ctx0" brushRef="#br0" timeOffset="52546.78">22516 3268 0,'-40'13'0,"27"0"0,0-13 16,13 13-16,-13 1 0,-1-1 0,14 0 15,-13 13-15,13-12 0,0-1 0,0 0 16,13 14-16,-13-14 0,14 0 16,-1 0-16,0-13 0,0 13 0,14-13 15,-14 14-15,13-28 0,1 14 0,-1 0 16,-12 0-16,12-13 0,-13 13 15,1-13-15,-1 0 0,0 13 0,-13-13 16,13-1-16,-13 1 0,0 0 0,0 0 16,0-1-16,-13-12 0,13 13 15,-13 0-15,0-1 0,13 1 16,-14 0-16,1 13 0,0-13 0,0-1 16,-1 14-16,1 0 0,0 0 15,0 0-15</inkml:trace>
  <inkml:trace contextRef="#ctx0" brushRef="#br0" timeOffset="52845.78">22979 3228 0,'-13'13'0,"0"14"16,-1-14-16,14 0 0,-13 14 15,13-14-15,0 0 0,0 0 0,0 14 16,13-14-16,-13 0 0,14 0 0,-1 1 16,0-14-16,14 13 0,-14-13 15,26 13-15,-12-13 0,-14-13 16,14 13-16,-14 0 0,0-13 0,0-1 16,1 14-16,-1-39 15,-13-14 1,0 40-16,0-1 0,-13-12 15,13 13-15,-14-1 0,1 1 16,0 13-16,-14 0 0,14 0 16,-27 13-16,14 14 0,-27-1 0,13 1 15,-13 12-15</inkml:trace>
  <inkml:trace contextRef="#ctx0" brushRef="#br0" timeOffset="53294.94">22119 4194 0,'-13'39'0,"0"-25"15,26 52 1,0-53-16,-13 0 0,13 0 16,1 1-16,-1-14 0,0 0 0,0 13 15,1-26-15,12 13 0,-13 0 16,14 0-16,-14-14 0,0 1 15,0 13-15,1-13 0,-1 0 0,-13-14 16,0 14-16,13 0 0,-26-14 0,13 14 16,0-13-16,-13 12 0,-1-12 15,14 13-15,-13 0 0,0-1 0,0 1 16,-14 0-16,14 13 16,-13 13-16,12 0 15,1 1-15,13-1 16,-13-13-16,26 13 0</inkml:trace>
  <inkml:trace contextRef="#ctx0" brushRef="#br0" timeOffset="53626.92">22450 4154 0,'-27'0'15,"27"13"1,0 0-16,0 1 15,0-1-15,0 0 0,0 0 0,0 1 16,14-1-16,-1 0 0,-13 0 0,13-13 16,14 13-16,-14-13 0,0 0 15,0 14-15,14-28 0,-14 14 16,0 0-16,14 0 0,-14-13 0,0 13 16,0-13-16,1 0 0,-1 0 15,-13-1-15,0 1 0,0 0 16,0 0-16,0-14 0,0 14 0,-13 0 15,13 0-15,-14 13 0,14-14 0,-13 1 16,0 13-16,0 0 16,-1 0-16,1 0 0,0 0 15,0 13-15,-1-13 16</inkml:trace>
  <inkml:trace contextRef="#ctx0" brushRef="#br0" timeOffset="53920.79">22820 4048 0,'0'40'31,"0"-27"-31,-13 0 0,13 1 16,0 12-16,13 0 0,-13-12 16,0-1-16,14 0 0,-1-13 0,0 13 15,0 1-15,0-14 16,1 0-16,12 0 0,1 0 0,-1 0 15,-13 0-15,1-14 0,-1 14 0,0-13 16,0 0-16,-13 0 0,0-1 16,0 1-16,0-13 0,-13 13 15,0-14-15,0 14 0,-1 0 0,1-1 16,-13 1-16,-1 0 0,14 0 0,0 13 16,-14 0-16,1 0 0,-1 13 15,-12 0-15,-1 14 0,0-14 0,-13 13 16,0 1-16,14-1 0,-14 1 0</inkml:trace>
  <inkml:trace contextRef="#ctx0" brushRef="#br0" timeOffset="55101.78">22794 2368 0,'0'-13'0,"0"26"0,0 13 31,0-12-31,0 12 0,-13 1 16,13-1-16,-14 14 0,14 13 0,-13-14 15,13 1-15,-13-13 0,13 12 0,-13 1 16,13-14-16,0 1 0,-14-1 16,14 1-16,0-14 0,-13 13 15,13-12-15,-13-1 0</inkml:trace>
  <inkml:trace contextRef="#ctx0" brushRef="#br0" timeOffset="55387.12">22582 2725 0,'-13'13'0,"-14"67"31,14-40-31,13-14 0,0-13 16,0 14-16,0-14 0,13 0 15,-13 14-15,14-14 0,-14 0 0,13-13 0,0 13 16,0-13 0,1 13-16,-1-13 0,0 0 0,0 0 0,1 0 15,-1-13-15,0 13 0,13-13 0,-12 0 16,12-27-16,1 27 0,-1-14 16,1 1-16,-14-14 0,0 14 0</inkml:trace>
  <inkml:trace contextRef="#ctx0" brushRef="#br0" timeOffset="55723.2">22926 1614 0,'0'0'15,"13"26"1,1-12 0,-14 12-16,0-13 0,0 40 15,0-26-15,0-1 0,0 1 16,0-1-16,0 1 0,0-1 0,0-13 15,0 14-15,0-1 0,0-13 0,0 14 16,0-14-16,0 14 0,0-14 16,13 0-16,-13 0 0,0 0 15</inkml:trace>
  <inkml:trace contextRef="#ctx0" brushRef="#br0" timeOffset="56621.11">22900 1733 0,'0'0'0,"39"-26"0,-12 12 0,-14 14 0,14-13 15,-14 13-15,13-13 0,1 13 16,-14 0-16,0-13 0,0 13 0,1 0 16,-1 0-16,0 0 0,0 13 15,-26 0-15,0 0 16,13 1-16,-13-14 0,-1 13 15,14 0-15,-13-13 0,0 13 0,13 0 16,0 1-16,-13-1 16,26 0-16,-13 0 0,13 1 15,0-1-15,1 0 0,-1-13 0,0 13 16,14 1-16,-14-1 0,0 0 16,0-13-16,0 13 0,-13 0 15,14-13-15,-1 14 0,-13-1 16,0 0-16,-13 0 0,13 1 15,-14-14-15,1 13 0,-13-13 16,13 13-16,-14 0 0,14-13 0,-14 14 16,14-14-16,-13 13 0,12-13 0,1 0 15,0 13-15,0-13 16</inkml:trace>
  <inkml:trace contextRef="#ctx0" brushRef="#br0" timeOffset="56819.85">23627 2064 0,'-13'-13'16,"0"13"-16</inkml:trace>
  <inkml:trace contextRef="#ctx0" brushRef="#br0" timeOffset="63763.73">21908 1667 0,'39'26'0,"-26"-12"0,-13-1 16,27 0-16,-14 13 0,14-12 0,-14 12 15,13 1-15,14-14 0,-14 13 0,1-12 16,13 12-16,-14-13 0,0 0 16,1 1-16,-1-1 0,-12 0 0,12-13 15,-13 13-15,1-13 0,12 14 16,-13-1-16,0-13 0,1 0 16,-1 0-16</inkml:trace>
  <inkml:trace contextRef="#ctx0" brushRef="#br0" timeOffset="64014.73">22476 1773 0,'27'13'0,"-54"-26"0,67 26 0,-27-13 16,0 13-16,1-13 0,-1 13 0,0 1 15,14-14-15,-14 13 0,0 0 16,-13 0-16,13 1 0,1-1 16,-1 0-16,-13 0 0,0 0 0,0 1 15,0-1-15,0 0 16,-13 0-16,-1 1 0,1-1 0,0 0 16,0-13-16,-14 13 0,1-13 0</inkml:trace>
  <inkml:trace contextRef="#ctx0" brushRef="#br0" timeOffset="64337.5">21127 1111 0,'0'13'0,"0"-26"0,13 40 0,-13-14 16,0 0-16,0 0 15,13 1-15,-13 12 0,0-13 0,0 14 16,14-14-16,-14 13 0,0-12 0,0-1 15,0 13-15,0-12 0,0 12 16,0 1-16,0-14 16,0 0-16,0 0 0</inkml:trace>
  <inkml:trace contextRef="#ctx0" brushRef="#br0" timeOffset="64730.72">21339 1217 0,'-14'40'16,"14"-27"-1,0 0-15,0 0 16,14 1-16,-1-1 0,0 0 15,0-13-15,1 0 0,-1 0 16,0 0-16,0 0 0,0 0 0,1 0 16,-1 0-16,0-13 15,0 13-15,-13-13 0,14-1 0,-1 1 16,-13 0-16,0 0 0,0 0 16,-13-1-16,13 1 15,0 0-15,-14 0 0,1 13 16,13-14-16,-13 14 0,0-13 0,-27 0 31,14 13-15,26 13-16,-14-13 0</inkml:trace>
  <inkml:trace contextRef="#ctx0" brushRef="#br0" timeOffset="65063.33">21603 1072 0,'-13'26'0,"13"-13"16,0 0-16,0 1 16,0-1-16,13 0 0,-13 0 15,13-13-15,-13 14 0,14-14 0,-1 13 16,0-13-16,0 0 0,14 13 15,-14-13-15,0 0 0,14 0 0,-14-13 16,0 13-16,14-13 0,-14 13 16,0-14-16,-13 1 15,13 13-15,-13-13 0,0 0 0,-13-1 16,13 1-16,0 0 0,-13 13 16,0-13-16,-1 0 0,1 13 15,0 0-15,13-14 0,-13 14 0,-14 0 16,14 0-16,0 0 15,0 0-15</inkml:trace>
  <inkml:trace contextRef="#ctx0" brushRef="#br0" timeOffset="65377.75">22212 1005 0,'-40'40'0,"-39"39"16,52-39-1,-12-13-15,-1 12 0,0 1 0,1-14 0,-41 27 16,54-26-16,-1-1 16,1-12-16,13 12 0,-14-13 15,14 0-15,0-13 0,-1 14 0,14-1 16,-13-13-16,13 13 0</inkml:trace>
  <inkml:trace contextRef="#ctx0" brushRef="#br0" timeOffset="65595.75">22357 1058 0,'-13'27'0,"0"-27"15,-14 26-15,1-13 0,-1 14 0,1-1 16,0 1-16,-1-1 0,1 1 15,-1-1-15,-13-13 0,27 14 0,-26-1 16,25-12-16,1-1 0,0 0 16,0-13-16,-1 0 0</inkml:trace>
  <inkml:trace contextRef="#ctx0" brushRef="#br0" timeOffset="65810.96">22119 781 0,'0'0'0,"-26"13"15,12-13-15,1 13 16,0-13-16,0 13 0,0 0 0,-1-13 15,1 14-15,0-1 0,0-13 0</inkml:trace>
  <inkml:trace contextRef="#ctx0" brushRef="#br0" timeOffset="65927">21921 860 0</inkml:trace>
  <inkml:trace contextRef="#ctx0" brushRef="#br0" timeOffset="66046.84">22132 952 0,'0'0'0,"14"0"15,-1 0 1</inkml:trace>
  <inkml:trace contextRef="#ctx0" brushRef="#br0" timeOffset="66497.85">24064 873 0,'-53'0'0,"106"0"0,-119 13 0,52-13 15,1 0-15,0 14 0,0-14 0,13 13 16,0 0-16,13 0 16,0-13-16,14 13 0,-14-13 0,13 14 15,-12-1-15,12 0 0,-13 0 16,14 1-16,-14-1 0,0-13 0,0 13 15,-13 0-15,14-13 0,-14 14 0,0-1 16,-14 0-16,1 0 0,0 0 16,-27 1-1,27-1-15,-13 0 0,12-13 0,-12 13 16,13-13-16,-1 0 0</inkml:trace>
  <inkml:trace contextRef="#ctx0" brushRef="#br0" timeOffset="66666.08">24567 913 0,'-146'92'32,"106"-52"-32,1-13 0,-1 12 15,0 1-15,1 0 0,12-1 0,1-12 16,-1-1-16,14 1 0</inkml:trace>
  <inkml:trace contextRef="#ctx0" brushRef="#br0" timeOffset="66946.62">24408 1270 0,'-13'26'0,"-1"27"31,14-39-31,0-1 0,14 0 16,-14 0-16,0 1 0,13-1 0,-13 0 16,0 0-16,13 0 0,-26 1 15,13-1-15,0 0 0,-13 0 0,-1 1 16,-12-1-16,13 0 0,-14 0 0,1-13 15,-1 14-15,14-1 16,-13-13-16,-14 0 0</inkml:trace>
  <inkml:trace contextRef="#ctx0" brushRef="#br0" timeOffset="67129.67">23998 1640 0,'0'0'16,"53"0"-16,-27-13 0,1 13 0,-1 0 0,0-13 15,14 13-15,13 0 0,-13-13 0,-1 13 16,1 0-16,-13-13 0,-1 13 16,-13 0-16</inkml:trace>
  <inkml:trace contextRef="#ctx0" brushRef="#br0" timeOffset="67283.53">23852 1839 0,'40'0'0,"66"-27"31,-67 14-31,14 0 0,0 0 16,13-14-16</inkml:trace>
  <inkml:trace contextRef="#ctx0" brushRef="#br0" timeOffset="67533.96">25241 913 0,'0'0'16,"-13"26"0,13-13-16,-13-13 15,0 14-15,-1-1 0,14 13 16,-13-12-16,13-1 0,-13 0 0,13 14 16,-13-14-16,13 0 0,0 0 15,-14 0-15,14 1 0,0-1 0,0 0 16,-13 0-16</inkml:trace>
  <inkml:trace contextRef="#ctx0" brushRef="#br0" timeOffset="67745.66">24699 1177 0,'13'-13'15,"0"13"1,1 0-16,-1 0 16</inkml:trace>
  <inkml:trace contextRef="#ctx0" brushRef="#br0" timeOffset="68212.84">24686 1111 0,'0'0'15,"-14"0"-15,41 0 32,-14 0-32,0 0 0</inkml:trace>
  <inkml:trace contextRef="#ctx0" brushRef="#br0" timeOffset="68438.77">25254 1072 0,'-13'39'16,"26"-78"-16</inkml:trace>
  <inkml:trace contextRef="#ctx0" brushRef="#br0" timeOffset="69890.77">22542 5741 0,'0'0'0,"-26"0"0,13 0 15,0 14-15,-1-14 0,1 13 0,0 0 16,0 0-16,-1 14 0,1-14 16,0 14-16,0-14 0,13 13 15,-13-13-15,13 1 0,0-1 0,0 13 16,13-12-16,0-1 0,0 0 15,14 0-15,-14 0 0,13-13 0,1 14 16,-1-14-16,14 0 0,-14 0 0,14 0 16,13-14-16,-13 1 0,-1 13 0,14-13 15,-13 0-15,0 0 0,-14-1 16,14-12-16,0-1 0,-27 14 16,0 0-16,0 0 0,-13-14 0,0 14 15,0 0-15,0-14 16,-13 14-16,13-13 0,-26-1 0,12 1 15,-12 13-15,-1-14 0,1 14 0,-1 0 16,1 13-16,0-14 0,-1 14 0,1 0 16,-14 0-16,13 0 0,-52 14 15,39-1-15,14 0 0,-40 27 16,53-14-16,-14 1 0,14-14 16,0 13-16,-1-12 0</inkml:trace>
  <inkml:trace contextRef="#ctx0" brushRef="#br0" timeOffset="70646.75">22635 5834 0,'0'-13'31,"0"39"0,0-12-31,0-1 16,0 0-16,0 0 16,0 0-16,13 1 15,-13-1-15</inkml:trace>
  <inkml:trace contextRef="#ctx0" brushRef="#br0" timeOffset="70824.7">22794 5821 0,'0'0'0,"0"-13"0,0 39 47,-13-13-47,13 1 15,0-1-15,0 0 16,0 0-16</inkml:trace>
  <inkml:trace contextRef="#ctx0" brushRef="#br0" timeOffset="70998.05">22675 5887 0,'0'0'0,"-13"0"16,39 0 0,-13 0-1,0-13-15,1 13 0,-1 0 16,0 0-16,0 0 0,14 0 16</inkml:trace>
  <inkml:trace contextRef="#ctx0" brushRef="#br0" timeOffset="71453.91">23680 5622 0,'-13'-13'0,"0"26"16,0-13 0,-1 14-16,1-1 0,13 0 15,-13 0-15,0 1 0,13 12 0,-14-13 16,1 14-16,13-14 0,0 0 0,0 0 16,0 1-16,13 12 0,-13-13 0,14 1 15,12-1-15,-13 0 0,14 0 16,-1-13-16,1 13 0,-1-13 15,1 0-15,-1 0 0,0 0 0,1 0 16,-1-13-16,-12 13 0,12-13 16,-13 0-16,1 0 0,-1-14 0,0 14 15,-13 0-15,0-1 0,0-12 0,0-14 16,-13 27-16,0-13 16,13 12-16,-14 1 0,-12-13 0,13 26 15,-1-14-15,-12 14 0,13-13 0,-1 13 16,-12 0-16,13 0 0,-14 13 15,1-13-15,13 0 0,-1 14 0,-12-14 16,13 13-16,0-13 0,-1 13 0,1-13 16</inkml:trace>
  <inkml:trace contextRef="#ctx0" brushRef="#br0" timeOffset="71666.64">23693 5702 0,'0'-13'0,"0"26"0,0 0 31,0 0-15,0 0-16,0 1 16,0-1-16,0 0 0,0 0 15,0 1-15,0-1 0,0 0 16,0 0-16</inkml:trace>
  <inkml:trace contextRef="#ctx0" brushRef="#br0" timeOffset="71846.83">23839 5755 0,'0'-14'0,"0"41"31,-13-14-15,13 0-16,0 1 16,0-1-16,-14 0 15,14 0-15</inkml:trace>
  <inkml:trace contextRef="#ctx0" brushRef="#br0" timeOffset="72024.03">23720 5794 0,'0'0'0,"-13"0"16,26-13-1,0 13-15,0 0 16,1 0-16,-1 0 0,0 0 16,0 0-16,0 0 0,1 0 0,-1 0 15,0 0-15</inkml:trace>
  <inkml:trace contextRef="#ctx0" brushRef="#br0" timeOffset="72929.87">23045 6191 0,'27'13'31,"-14"1"-31,-13-1 0,13 0 16,0 0-16,1 14 0,-1-14 0,0 0 15,0 14-15,1-14 0,-1 0 0,13 14 16,-13-14-16,14 0 0,-1 0 15,-12 1-15,-1-14 0</inkml:trace>
  <inkml:trace contextRef="#ctx0" brushRef="#br0" timeOffset="73147.05">23826 6112 0,'-66'26'31,"39"1"-31,1-14 0,-1 13 0,1 1 16,-1-1-16,1 1 0,-14 13 0,14-1 15,-1-12-15,1-1 0,13 1 16,-14-1-16,14 1 0,0-1 0,-1 0 16,1-12-16,0-1 0,13 13 0,-13-12 15</inkml:trace>
  <inkml:trace contextRef="#ctx0" brushRef="#br0" timeOffset="73613.96">23058 6575 0,'27'13'31,"-14"0"-31,0 1 0,1-1 0,-1 0 16,13 14-16,-12-1 0,-1 0 16,13 1-16,-13-14 0,1 0 15,-1 1-15,0-1 0,0 0 0,1 0 16,-1-13-16,0 13 0,0-13 0,0 0 16,27-13-16,-13 0 15,-14 0-15,13 0 0,1-14 0,-1 1 16,1-1-16,39-39 0,-40 40 15,1-1-15,-1 1 0,-13-1 16,14 14-16,-14-13 16,0 12-16,1 14 0,-28 14 15,1-1 1</inkml:trace>
  <inkml:trace contextRef="#ctx0" brushRef="#br0" timeOffset="74026.85">23283 7488 0,'0'-14'0,"0"41"31,0-14-31,0 0 0,0 1 0,0 12 16,0-13-16,0 14 0,0-1 15,0 1-15,0-1 0,0-13 16,-13 14-16,13-14 0,0 14 0,0-14 16,0 0-16,13 0 0,-13 0 15</inkml:trace>
  <inkml:trace contextRef="#ctx0" brushRef="#br0" timeOffset="74219.98">23469 7527 0,'0'0'0,"0"-26"0,13 13 15,-13-1-15,0 1 16,-13 53 15,13-27-31,0 14 0,0-14 16,-14 13-16,14 1 0,0-1 15,0 1-15,0-14 0,0 13 0,14 1 16,-14 13-16,0-27 0,0 0 16,13 0-16,-13 0 0,0 1 0</inkml:trace>
  <inkml:trace contextRef="#ctx0" brushRef="#br0" timeOffset="74420.96">23270 7713 0,'-13'-14'0,"26"14"15,0-13-15,1 13 16,-1 0-16,13 0 0,-13-13 16,14 13-16,-1 0 0,1 0 0,-1-13 15,1 13-15,-1 0 0,14-14 0,0 14 16,-14-13-16,1 13 0,12-13 15</inkml:trace>
  <inkml:trace contextRef="#ctx0" brushRef="#br0" timeOffset="74857.88">23879 7223 0,'-252'-145'31,"213"145"-31,-14 13 0,13-13 16,-26 26-16,0-12 0,-67 52 15,67-13-15,-13-1 0,13 15 16,13-1-16,0 13 0,0-13 0,27 0 16,-1 1-16,14 12 0,13 53 15,13-66-15,0 1 0,27-15 16,0 1-16,-1 0 0,14-13 0,66 26 15,-66-39-15,13-14 16,-13-13-16,13 0 0,1 0 0,-1-27 16,66-12-16,-66 12 0,-13-12 15,53-41-15,-53 27 0,0 0 16,-14 0-16,1-13 0,-13 0 16,-14 13-16,0-13 0,0 13 0,-13 0 15,-13 14-15,0-1 0,-14-13 0,-12 26 16,-1-12-16,0 12 0,-13 14 15,0 0-15,1 0 0,-1 13 16,-13 0-16,-1 0 0,-78 13 16,79 13-16,0-12 0,-1 12 0,1-13 15,13 14-15,14-14 16</inkml:trace>
  <inkml:trace contextRef="#ctx0" brushRef="#br0" timeOffset="77387">22886 9723 0,'27'0'31,"-14"0"-31,27-13 0,0 13 0,-1-13 16,14 0-16,13 0 0,0-1 0,1 1 16,-1 0-16,13 0 0,0-1 0,1-12 15,-1 13-15,1-1 0,-14 1 16,13 13-16,-13-13 0,-13 0 0,0 13 15,26-13-15,-52 13 0,-1 0 16,-12-14-16,-1 14 0,0 0 16,0 0-16,1 14 0,-14-1 15,-14 0-15,1 0 16,0 0-16,-14 1 0,-26 25 16,27-12-16,-14-14 15</inkml:trace>
  <inkml:trace contextRef="#ctx0" brushRef="#br0" timeOffset="77866.19">23495 9922 0,'26'-27'0,"67"14"31,-80 13-31,1 13 0,-1-13 16,-13 14-16,0-1 0,-13 0 15,-1 0-15,1 14 0,-13-1 0,-1 1 16,1-1-16,-1 1 0,1-14 0,-1 13 16,14-12-16,0-1 0,0 0 15,-1 0-15,1 0 0,0-13 16,39 14 0,-12-14-1,12 0-15,-13 0 0,27 0 0,-14-14 16,14 14-16,13-13 0,-13 13 15,-14-13-15,1 13 0,-1 0 0,-13-13 16,14 13-16,-14 0 0,0 0 0,0 0 16,-13-13-16,14 13 0</inkml:trace>
  <inkml:trace contextRef="#ctx0" brushRef="#br0" timeOffset="81649.67">23455 9948 0,'-13'0'0,"26"-13"94,1 13-79,-1-13-15,0 13 16,0-13-1,0 13-15,1 0 0,-1 0 16,0 0 0,0 0-16,1 0 15,-1 0 1,0 0-16,0 13 16,1-13 15,-14 13-16,-14 0-15,14 1 16,-13-14 0,13 13-16,-13-13 0,13 13 15,-13-13-15,13 13 0,-14-13 0,1 13 16,0 1-16,0-1 16,-1 0-16,1 0 15,0-13-15,13 14 0,-13-1 0,0-13 16,13 13-16,-14 0 0,1-13 0,13 14 15,-13-14-15,13 13 0,-13 0 16,-1-13-16,14 13 0,-13-13 0,13 13 16,-13-13-16,13 14 0,-13-14 15,-1 13 1,1 0 15,0-13 0,13 13 1,13-13 46,0 0-63,1 0 1,-1 0-16,0 0 16,-13-13-16,27 13 0,-14 0 15,0 0-15,0-13 16,1 13-16,-1 0 0,13 0 0,-13-13 16,1 13-16,-1 0 0,0 0 15,0 0-15,1-14 0,-1 14 0,0 0 16,0 0-16,1 0 15,-1-13-15,0 13 0,0 0 0,0 0 16,1 0 0,-1 0-16,0-13 15,0 13 32,1 0-16,-28 13 907,14-39-282,0 13-656</inkml:trace>
  <inkml:trace contextRef="#ctx0" brushRef="#br0" timeOffset="84170.78">23336 9168 0,'13'-13'0,"-26"26"0,40-40 0,-14 27 16,0-13-16,0 13 16,1 0-16,-1 0 0,13 0 15,-12 0-15,-1 13 16,-13 1-16,13-14 0,-13 13 0,0 0 15,-13 0-15,13 1 0,-13 12 32,13-13-32,-27 27 0,14-27 0,0 0 0,13 1 0,-14-1 15,1 0-15,13 0 0,-13 0 16,0 1-16,13-1 16,13 0-1,0-13 1,0 0-16,1 0 0,12 0 15,-13-13-15,14 13 0,-14 0 0,13 0 16,-12 0-16,12-13 0,1 13 0,-14 0 16,0 0-16,0-14 0,1 14 0,-1 0 15,0 0-15,0 0 0,0 0 16,1 0 0</inkml:trace>
  <inkml:trace contextRef="#ctx0" brushRef="#br0" timeOffset="84630.75">23773 8824 0,'-80'40'15,"54"-14"-15,-14 14 16,14-1-16,-14 14 0,0-13 0,1 13 16,-1 0-16,0 0 0,1 0 0,-1 0 15,0 13-15,1-13 0,-1 0 16,0-1-16,14-12 0,-1 0 16,1 0-16,13-14 0</inkml:trace>
  <inkml:trace contextRef="#ctx0" brushRef="#br0" timeOffset="85085.77">23733 9869 0,'-40'40'0,"80"-80"0,-106 106 0,26-26 0,1-14 15,-1 27-15,-13-13 0,-66 92 16,53-66-16,0 0 0,-53 67 15,79-80-15,0 13 0,1-13 16,-1-14-16,0 14 0,14-26 16,-1 12-16,14-25 0</inkml:trace>
  <inkml:trace contextRef="#ctx0" brushRef="#br0" timeOffset="85529.65">24527 9181 0,'40'-13'32,"-27"13"-32,0 0 0,0 0 15,0 0-15,1 13 0</inkml:trace>
  <inkml:trace contextRef="#ctx0" brushRef="#br0" timeOffset="85657.53">24580 9379 0,'-13'14'16,"39"-14"15,-13-14-15</inkml:trace>
  <inkml:trace contextRef="#ctx0" brushRef="#br0" timeOffset="85818.21">24950 8969 0,'0'0'0,"-26"27"15,26-14-15,-13 14 16,-1-1-16,1 0 0,-13 14 0,12-13 15,1 12-15,0-12 0,0 12 16,13-12-16</inkml:trace>
  <inkml:trace contextRef="#ctx0" brushRef="#br0" timeOffset="85975.7">25082 9340 0,'-119'106'31,"93"-67"-31,0-12 16,-1 12-16,-13 1 0,14 0 15,-1 0-15,-12-1 0</inkml:trace>
  <inkml:trace contextRef="#ctx0" brushRef="#br0" timeOffset="86194.79">24818 9869 0,'-13'26'0,"26"-52"0,-40 66 15,27-27-15,-13-13 0,13 13 16,-13 0-16,13 1 0,-13-14 0,13 13 15,-13 0-15,13 0 0,0 0 16</inkml:trace>
  <inkml:trace contextRef="#ctx0" brushRef="#br0" timeOffset="86448.83">24937 9935 0,'0'40'31,"0"-27"-31,0 0 16,0 0-16</inkml:trace>
  <inkml:trace contextRef="#ctx0" brushRef="#br0" timeOffset="87100.85">23680 10901 0,'13'26'31,"-13"-12"-31,0-1 0,0 0 0,0 0 0,0 0 15,0 14-15,0-14 0,0 14 16,0-14-16,14 0 16,-1-13-1,0 0-15</inkml:trace>
  <inkml:trace contextRef="#ctx0" brushRef="#br0" timeOffset="87526.91">23932 10874 0,'13'-13'0,"-13"40"31,0-14-15,0 0-16,0 0 0,13-13 15,-13 14-15,13-14 0,0 0 16,1 0 0,-1 0-16,-13-14 15,13 14-15,-13-13 0,0 0 0,0 0 16,0-1-1,0 1-15,0 0 0,0 0 32,0-1-17,13 28 1,1-1 0,-1-13-16,0 0 15,-13 13-15,13-13 0,1 0 16,-1 0-16,0 0 15,0 0-15,0-13 16,1 13-16,-14-13 16,13 13-16,-13-14 0,13 1 15,-13 0-15,0 0 0,0 0 16,0-1 0,0 1-16,0 0 0,13 0 15,-13-1-15,14 1 0</inkml:trace>
  <inkml:trace contextRef="#ctx0" brushRef="#br0" timeOffset="87658.86">24553 10610 0,'0'13'0,"0"-26"0,-13 26 16,13 0-16,-13 0 0,0 1 15,-1-14-15,-12 13 0,13 0 0,0 0 0,-14 1 16</inkml:trace>
  <inkml:trace contextRef="#ctx0" brushRef="#br0" timeOffset="87808.81">24461 10636 0,'26'0'0,"-52"0"0,65 0 0,-25 0 15,-14-13-15,13 13 0</inkml:trace>
  <inkml:trace contextRef="#ctx0" brushRef="#br0" timeOffset="90716.82">20545 4128 0,'40'0'31,"-27"0"-31,0 0 0,14 0 16,12-14-16,1 14 0,0-13 0,-1 0 15,1 13-15,0-13 0,-1-1 16,1 14-16,13-13 0,-13 0 15,-1 0-15,-12-1 0,12 1 0,-12 0 16,-1 13-16,1-13 0,-14 0 0,0-1 16,0 1-16,1 13 0,-14-13 15</inkml:trace>
  <inkml:trace contextRef="#ctx0" brushRef="#br0" timeOffset="90988.99">21206 3691 0,'0'0'0,"14"-13"32,-1 13-32,0 13 0,0-13 15,0 13-15,1-13 0,-1 13 16,0-13-16,0 14 0,1-1 0,12 0 16,-13 0-16,1 1 0,-14-1 15,13 0-15,-13 0 0,0 0 0,-13 1 16,13-1-16,0 0 0,-14 0 15,1 1-15,13-1 0,-13 0 0,0 0 16,13 1-16,-14-1 0,14 0 16,0 0-16,14-13 15,-1 0-15,0 0 0,14 0 16</inkml:trace>
  <inkml:trace contextRef="#ctx0" brushRef="#br0" timeOffset="91846.69">19672 4154 0,'-13'40'16,"-1"-14"-1,1 1-15,13 12 0,-13 1 0,13 0 16,-13-1-16,-1 1 0,14-14 15,0 14-15,-13 0 0,13-14 0,0 1 16,0-14-16,0 13 0,0 1 16,13-14-16,-13 14 0,0-14 0,0 0 15,0 0-15</inkml:trace>
  <inkml:trace contextRef="#ctx0" brushRef="#br0" timeOffset="92446.7">19751 4141 0,'53'-40'0,"-106"80"16,133-106-16,-41 52 0,-12 1 16,-14 13-16,0 0 0,0 0 0,1 13 15,-14 1-15,0-1 0,-14 13 16,1 14-16,-13 0 0,-14-1 0,14 14 15,-14-13-15,0 0 0,14-14 16,-1 1-16,14-14 0,-13 13 0,12-13 16,1 1-16,0-1 15,13 0-15,13-13 16,0 0-16,14-13 16,-14 13-16,27 0 0,-14-13 0,1 13 15,12-14-15,-12 14 0,-1-13 16,54 0-16,-54 0 0,-13 13 15,14 0-15,-1 0 0,-13-13 16,1 13-16,-1 0 0,0 0 0,0 0 16,1 0-16,-1 0 0,0 0 15,0 0-15,0-14 16,1 14 0,-1 0-1,-13-13 1,13 0 15,-13 0 32,-26 26-17,12 0-46</inkml:trace>
  <inkml:trace contextRef="#ctx0" brushRef="#br0" timeOffset="94862.74">5913 12581 0,'53'0'16,"-13"0"-16,13-13 16,13 13-16,13-14 0,1 14 0,-1-13 15,1 0-15,-1 13 0,0-13 0,1 0 16,-1-1-16,0 1 0,1 13 15,-1-13-15,-13 0 0,1 13 16,-15-14-16,-12 14 0,0-13 0,-14 13 16,1 0-16,-14 0 0,0-13 0,0 13 15</inkml:trace>
  <inkml:trace contextRef="#ctx0" brushRef="#br0" timeOffset="95062.57">6099 12753 0,'53'0'0,"105"-27"16,-105 27-16,0-13 16,-13 13-16,13-13 0,-14 0 15,1 13-15,0-13 0,-14 13 0,1 0 16,-1-14-16,-13 14 0,1 14 0,-1-14 15,0 13-15</inkml:trace>
  <inkml:trace contextRef="#ctx0" brushRef="#br0" timeOffset="95440.79">6496 13004 0,'39'-13'32,"-26"26"-32,1-13 15,-14 14-15,13-1 0,-13 0 16,-13 0-16,13 0 15,0 1-15,0-1 0,0 0 0,0 0 16,0 1-16,13-1 16,-13 0-16,13-13 15,-13 13-15,13-13 0,-13 13 0,14-13 16,-14 14-16,13-1 16,-13 0-16,0 0 15,0 1-15,-13-1 0,-1 0 16,14 0-16,-13-13 0,13 14 15,-13-14-15,0 0 0,13 13 16</inkml:trace>
  <inkml:trace contextRef="#ctx0" brushRef="#br0" timeOffset="95719.84">6668 13044 0,'13'0'0,"-26"0"0,39 0 47,-13 13-47,0-13 0,-13 13 15,14-13-15,-1 14 0,0-1 16,0-13-16,1 13 16,-1 0-16,-13 1 0,13-14 15,-13 13-15,0 0 0,13 0 0,-13 0 16,0 1-16,-13-14 0,13 13 15,0 0-15,-13 0 16</inkml:trace>
  <inkml:trace contextRef="#ctx0" brushRef="#br0" timeOffset="95868.63">6932 12991 0,'0'0'16,"13"-13"-16,1 26 15,-14 0 1,0 1 0,0-1-16,0 0 0,0 0 0,0 14 15,0-14-15,-14 13 0,14 1 0,-13-14 16,0 13-16,13-12 0</inkml:trace>
  <inkml:trace contextRef="#ctx0" brushRef="#br0" timeOffset="96103.08">7157 13123 0,'13'0'31,"-13"14"0</inkml:trace>
  <inkml:trace contextRef="#ctx0" brushRef="#br0" timeOffset="98126.54">5305 13203 0,'-13'-14'15,"13"1"16,0 0 1,13 13-32,-13-13 15,13 13-15,0 0 0,-13-13 16,14 13-16,-1 0 0,0 0 31,0 0-31,1-14 31,-1 14 1,0 0 15,-26 27 15,0-14-62,13 0 0,-14 14 0,1-14 16,0 27-16,0-14 0,-1 1 15,14-14-15,-13 13 0,0 1 0,13-14 16,0 0-16,-13 0 0,13 1 16,0-1-16,0 0 0,0 0 0,13 1 15,0-14 1,0 13-16,1-26 0,-1 13 0,13 0 15,-12-14-15,12 14 0,0-13 0,-12 0 16,12 13-16,-13-13 0,14-1 16,-14 14-16,0-13 0,0 0 15,1 0-15,-1-1 0,-13 1 16,13 0-16,-13 0 16</inkml:trace>
  <inkml:trace contextRef="#ctx0" brushRef="#br0" timeOffset="98317.9">5490 13097 0,'-13'0'0,"26"0"0,-39 13 16,26 0-16,-14 1 15,14-1-15,0 13 0,0-13 0,0 14 16,0-14-16,0 14 0,14-1 0,-14 1 16,0-1-16,13 0 0,-13-12 15,0 12-15,13 1 0,-13-1 0,13-13 16,1 14-16,-14-14 0,13 0 15,-13 0-15,13 1 0,-13-1 0,13 0 16,-13 0-16</inkml:trace>
  <inkml:trace contextRef="#ctx0" brushRef="#br0" timeOffset="99598.6">5556 13877 0,'13'-13'15,"-26"26"-15,40-39 0,-14 26 16,-13-13-16,13 13 16,0-14-1,-26 41 17,13-14-32,-13-13 0,0 13 15,13 1-15,-14-1 0,1 0 0,0 0 16,13 1-16,-13-1 0,13 0 15,-13-13-15,13 13 0,0 0 16,13 1-16,0-14 16,0 13-1,0-13-15,1 0 0,-1 0 0,0 13 0,0-13 16,1 13-16,-1-13 16,0 14-16,-13-1 15,13 0-15,-13 0 16,-13 1-16,13-1 0,-13 0 15,0 0-15,-1-13 16,14 13-16,-13-13 0,0 14 16</inkml:trace>
  <inkml:trace contextRef="#ctx0" brushRef="#br0" timeOffset="100957.73">5966 13097 0,'0'-13'0,"0"26"0,0-40 15,0 54 17,-13-14-32,26 14 15,-13-1-15,0 14 0,14-14 16,-14 14-16,13 0 0,0-1 0,-13 1 15,13 0-15,14-1 0,-14-12 0,0-1 16,0 1-16,14-1 16,-14-13-16,14 1 0,-14-1 15,0-13-15,0 0 0,0 0 0,1 0 16,-14-13-16,13 13 16,-13-14-16,0 1 15,0 0-15,-13 0 0,-1-1 16,1 14-16,0-13 0,0 13 15,0 0-15,-1 0 0,1 0 16,0 0-16,-14 13 0,14-13 0,0 14 0,0-1 16,-1 0-16</inkml:trace>
  <inkml:trace contextRef="#ctx0" brushRef="#br0" timeOffset="102254.54">4419 13031 0,'26'-13'0,"-52"26"0,78-26 0,-38 13 0,-1 0 16,0 0-16,0 0 16,1 13-16,-1 0 0,-13 0 15,0 14-15,0-14 0,0 13 0,0-12 16,0 12-16,-13 0 0,13 1 16,0-14-16,-14 14 0,14-14 15,-13 0-15,13 0 0,0 1 0,-13-1 16,13 0-1,13-13-15,14-13 16,-14 13-16,0-13 0,14-1 16,-14 1-16,13 0 0,-13 0 0,14-1 15,-14 14-15,14-13 0,-14 0 16,13 0-16,-13 13 0,14-14 16</inkml:trace>
  <inkml:trace contextRef="#ctx0" brushRef="#br0" timeOffset="105830.37">10901 10054 0,'13'-26'16,"0"26"-1,1 0-15,-14-14 0,13 14 0,0-13 16,-39 40 15,12-27-31,1 13 0,-13 13 16,-1-12-16,14-1 15,0 0-15,-1 0 0,1 1 0,13-1 16,-13 0-16,26 13 16,0-26-1,1 14-15,-1-14 0,0 13 0,0 0 16,1-13-16,-1 0 15,-13 13-15,13-13 0,0 14 16,-13-1-16,-13 0 16,0-13-16,13 13 0,-13 1 15,-1-14-15,-12 13 0,13-13 16,-1 13-16,1 0 0,0-13 0,0 0 16,0 13-16,-1-13 0,1 0 15,26-26 1,1 13-1,-1 0-15,13-1 0,1-12 0,-14-1 16,13 14-16,-12 0 0,-1 0 16,0-1-16,0 1 0,1 13 0,-1-13 15,0 13-15,0-13 16,-13 26 0,13 0-16,-13 0 15,14 1-15,-1-14 0,0 0 16,0 13-16,14-13 15,-14 0-15,0 0 0,0 0 16,14 0-16,-14-13 0,0 13 0,1-14 16,-1 14-16,0-13 0,0 0 15,-13 0-15,-13-14 16,0 27-16,0-13 16,-1 13-16,1-13 0,-13 13 0,12 0 15,1 0-15,-13-13 0,13 13 0,-1 13 16,1-13-16,0 0 0,0 0 0,-1 0 15,14 13-15,27-13 32,-14 0-32</inkml:trace>
  <inkml:trace contextRef="#ctx0" brushRef="#br0" timeOffset="105995.73">11483 9948 0,'13'0'0,"-26"0"0,26 14 46,-26-1-46,13 0 0,-13 0 0,-1 0 16,14 1-16,-13 12 0,0 1 0,-13-1 16,12 1-16,1-1 0,0-13 15,13 0-15,-13 1 0,-1 12 16,14-13-16</inkml:trace>
  <inkml:trace contextRef="#ctx0" brushRef="#br0" timeOffset="106082.17">11165 10134 0,'-26'-40'32,"105"132"-32,-145-184 0,79 132 0</inkml:trace>
  <inkml:trace contextRef="#ctx0" brushRef="#br0" timeOffset="106229.57">11576 10054 0,'13'0'0,"-13"13"62</inkml:trace>
  <inkml:trace contextRef="#ctx0" brushRef="#br0" timeOffset="109466.82">14803 12793 0,'-13'0'16,"0"0"0,0 0-16,0 13 15,13 0-15,0 0 0,0 1 16,0-1-16,0 13 0,13 1 15,-13-14-15,13 27 0,0-1 16,0-12-16,-13-1 0,14 1 0,-1-1 16,-13 1-16,0-14 0,13 13 0,-13-13 15,0 14-15,0-14 0,0 0 0,-13 1 16,13-1-16,0 0 0,-13-13 16,13 13-16,-14-13 0,1-13 15,0 13 1,13-13-16,0 0 0,0-1 15,0 1-15,0 0 0,0 0 0,13-27 16,-13 27-16,13-14 0,-13 14 0,14-13 16,-14 12-16,13-12 15,-13 0-15,0 12 0,0-12 0,0 13 16,-13-1-16,13-12 0,0 13 0,-14-1 16,14 1-16,-13 0 0,0 13 0,13-13 15,-13 0-15,0 13 0,-1 0 16,1 0-16,0 0 0,0 0 0,-1 13 15,1-13-15,0 13 0,0-13 0,13 13 16,-14 0-16,14 1 16,14-14-16</inkml:trace>
  <inkml:trace contextRef="#ctx0" brushRef="#br0" timeOffset="109878.65">14856 12859 0,'14'13'16,"-14"0"-16,0 0 15,0 1-15,0-1 0,-14 0 16,14 14-16,0-14 0,0 13 0,0-12 16,0 12-16,14-13 0,-14 27 15,13-27-15,0 0 0,-13 1 16,13-1-16,0-13 0,1 13 0,-1-13 16,0 0-16,27-13 15,-27 13-15,14-13 16,-14-1-16,13-12 0,1 13 0,-14-14 15,13 1-15,-12-1 0,-1 1 0,0-1 16,0 1-16,-13 13 0,14-14 16,-14 14-16,0-13 0,0 12 0,0 1 15,0 0-15,0 0 0,-14 13 16,1-14-16,0 28 16,0-1-1,-1 0-15,14 0 0,-13 1 0,0-1 16,0 13-16,13 1 0,-14-14 0,1 13 15,13 1-15,-13-1 0,0 27 16,13-40-16,-13 14 0,-1-1 16,14-12-16,0 12 0,-13-13 0,13 0 15,-13 1-15,13-1 0,-13 0 16,13 0-16,0 1 0,-14-14 16</inkml:trace>
  <inkml:trace contextRef="#ctx0" brushRef="#br0" timeOffset="110626.52">15094 12726 0,'0'0'15,"-26"0"-15,13 0 0,0 0 0,-1 0 16,1 14-16,0-1 0,0 0 0,-14 14 16,14-1-16,0 1 0,-1 12 0,1-12 15,0-1-15,13 1 0,0-1 16,0 1-16,0-1 0,0-13 0,13 14 15,0-1-15,1-13 0,-1 14 0,0-14 16,0 0-16,14-13 0,-1 13 16,-12-13-16,12 0 0,0-13 0,1 13 15,-1-13-15,1 0 0,13 0 16,-27-1-16,26-25 0,-39 25 16,14-12-16,-1 13 0,-13-14 15,0 14-15,0-13 0,-13 12 0,13 1 16,-14 0-16,1 0 0,-13-14 15,13 27-15,-14-13 0,14 13 16,0 0-16,-14 0 0,14 13 0,-14-13 16,14 13-16,0-13 0,-13 14 0,12-1 15,14 0-15,-13-13 0,13 13 0,0 1 16</inkml:trace>
  <inkml:trace contextRef="#ctx0" brushRef="#br0" timeOffset="110817.78">15597 12621 0,'27'-14'15,"-27"54"1,0-27-16,0 14 16,-14 12-16,1 1 0,13 0 15,-13 0-15,0-1 0,0 1 0,-1 0 16,1-1-16,0 1 0,-14-14 15,14 14-15,0-13 0,0-1 0,13-13 16,-14 0-16</inkml:trace>
  <inkml:trace contextRef="#ctx0" brushRef="#br0" timeOffset="111074.61">15650 12951 0,'0'0'0</inkml:trace>
  <inkml:trace contextRef="#ctx0" brushRef="#br0" timeOffset="112073.71">17952 11787 0,'0'0'16,"0"-13"-16,0 39 15,0 1 1,-13-14-16,13 40 0,0-27 16,0 14-16,-13 0 0,13 0 0,0-1 15,0-12-15,0-1 0,-14 1 16,14-1-16,0 1 0,0-14 0,0 0 15,0 0-15,14 0 0,-14 1 16,13-14-16,0 0 0</inkml:trace>
  <inkml:trace contextRef="#ctx0" brushRef="#br0" timeOffset="112555.93">17952 12277 0,'106'-106'15,"-80"66"1,-26 14-16,14-1 0,-14 14 16,13 0-16,-13 0 0,0-1 15,0 1-15,0 0 16,0 39 15,13-12-31,0-1 0,0 0 16,1-13-1,-1 0-15,0 0 0,0 0 16,-13-13-16,14 13 0,-14-13 16,0-1-16,0 1 15,0 0-15,-14 0 16,14-1-16,-13 14 15,13-13-15,-13 13 0,0-13 16,39 13 15,-13 13-15,1-13-16,-1 0 0,0 13 16,0-13-16,0 14 15,1-14-15,-1 13 0,0-13 0,0 13 16,1-13-16,-1 0 0,0 13 0,0-13 15,14 14-15,-14-14 0,13 0 0,-12 0 16,-1 0-16,13 0 0,-12 0 16,-1 0-16,0-14 0,0 14 15,1 0-15,-14-13 0,13 0 16,-26 0 0,13-1-16,-14 1 15,14 0-15,0 0 16,14-1-16,-1 1 15</inkml:trace>
  <inkml:trace contextRef="#ctx0" brushRef="#br0" timeOffset="112687.18">18812 11867 0,'0'13'0,"-13"40"16,-1-40-1,1 0-15,-13 0 16,-1 14-16,1-14 0,-1 14 0,1-14 15,-40 26-15,53-25 0,-14-14 16</inkml:trace>
  <inkml:trace contextRef="#ctx0" brushRef="#br0" timeOffset="112887.8">18759 12025 0,'26'0'31,"-12"0"-31</inkml:trace>
</inkml:ink>
</file>

<file path=ppt/ink/ink27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2:51:33.434"/>
    </inkml:context>
    <inkml:brush xml:id="br0">
      <inkml:brushProperty name="width" value="0.05292" units="cm"/>
      <inkml:brushProperty name="height" value="0.05292" units="cm"/>
      <inkml:brushProperty name="color" value="#0070C0"/>
    </inkml:brush>
  </inkml:definitions>
  <inkml:trace contextRef="#ctx0" brushRef="#br0">1574 2805 0,'27'-27'0,"-1"27"15,1-13-15,-1 0 0,27-1 0,-13 14 0,26-13 16,0 0-16,0 0 0,-13 13 0,0 0 16,13-13-16,-13 13 0,0 0 15,13 0-15,-13 0 0,-13 0 16,13 0-16,-14 0 0,-12 0 0,-1 0 16,1 0-16,-1 13 0,-13-13 0,1 13 15</inkml:trace>
  <inkml:trace contextRef="#ctx0" brushRef="#br0" timeOffset="262.27">1773 2831 0,'13'-13'15,"0"13"-15,14-13 0,-1 13 16,14-14-16,13 1 0,0 13 15,13-13-15,0 13 0,0-13 0,0-1 16,14 14-16,-28 0 0,1-13 0,66 13 16,-79 0-16,13 0 15,-13 0-15,-14 0 0,14 0 0,-14 0 16,-12 0-16,12-13 0,-13 13 0,1 0 16,-1 0-16,0 0 15,0 13 1</inkml:trace>
  <inkml:trace contextRef="#ctx0" brushRef="#br0" timeOffset="937.83">1535 2051 0,'26'-14'0,"1"14"0,-1 0 16,93-13-1,-66 13-15,0-13 0,0 13 16,13 0-16,-13 0 0,13 0 0,-13-13 0,13 13 15,0 0-15,-13 0 0,0-14 0,0 14 16,-13 0-16,-1 0 0,-12 0 16,-1 0-16,1 0 0,-14 0 15,0 0-15</inkml:trace>
  <inkml:trace contextRef="#ctx0" brushRef="#br0" timeOffset="1174.83">1667 2183 0,'0'0'0,"40"0"31,-14-13-31,14 13 0,-1 0 16,28 0-16,-1-14 0,0 14 0,13-13 16,-13 13-16,14 0 15,-14-13-15,0 13 0,0-13 0,-13 13 16,0 0-16,0 0 0,-13-14 0,-1 14 0,-12 0 15,-1 0-15,14 0 16,-27-13-16,0 13 0,1 0 0,-1 0 16</inkml:trace>
  <inkml:trace contextRef="#ctx0" brushRef="#br0" timeOffset="11710.28">13983 2818 0,'-79'-27'0,"39"27"32,27-13-32,26 13 15,53-13 1,-26 0-16,26 13 16,14-14-16,-1 14 0,14-13 15,-1 13-15,1 0 0,13-13 0,-14 13 16,14 0-16,0-13 0,-14 13 0,1 0 15,0 0-15,-14 0 0,0 0 0,1 0 16,-27 13-16,0-13 0,0 0 16,-27 13-16,14-13 0,-27 0 0,0 13 15,0-13-15,-26 27 16</inkml:trace>
  <inkml:trace contextRef="#ctx0" brushRef="#br0" timeOffset="11927.05">14142 2937 0,'132'-13'31,"-66"-1"-31,14 14 0,79-13 16,-67 13-16,-12-13 0,12 13 15,1 0-15,-14 0 0,0 0 16,1 0-16,-27-13 0,13 13 15,-13 0-15,-13 0 0,12 0 0,-12-13 0,-13 13 16,-1 0-16,-13-14 16,1 14-16,-1-13 0</inkml:trace>
  <inkml:trace contextRef="#ctx0" brushRef="#br0" timeOffset="12315.03">13996 1971 0,'80'-13'0,"-160"26"0,186-26 0,-53 13 0,0 0 16,27 0-16,-1 0 0,0 0 16,14 0-16,79-13 0,-80 13 15,1-14-15,0 14 0,-1 0 16,-12 0-16,12-13 0,-12 13 15,-14 0-15,0 0 0,-13 0 0,0-13 16,-14 13-16,-12 0 0,-1 0 0,-12 0 16,12 0-16,-13 0 0</inkml:trace>
  <inkml:trace contextRef="#ctx0" brushRef="#br0" timeOffset="12598.02">14023 2156 0,'53'0'0,"-106"0"0,146 0 16,-67 0-16,27 0 0,13 0 0,0 0 16,14 0-16,12 0 0,-12-13 15,12 13-15,1 0 0,-1 0 16,1 0-16,0 0 0,-14 0 0,0 13 15,1-13-15,-1 0 0,-26 0 0,13 0 16,-13 0-16,-13 0 0,39 0 16,-52 0-16,-14 0 0,13 0 0,-13 0 15,1 0-15,-1 0 0,0 0 16</inkml:trace>
  <inkml:trace contextRef="#ctx0" brushRef="#br0" timeOffset="13494.14">20942 2011 0,'39'-13'16,"-12"13"-1,-14 0-15,14 0 0,-1-14 0,1 14 16,-1 0-16,0-13 0,14 13 0,-27 0 16,14 0-16,-1 0 0,-13 0 15,1 0-15,-1 0 0,0 0 0</inkml:trace>
  <inkml:trace contextRef="#ctx0" brushRef="#br0" timeOffset="13674.97">21101 2103 0,'13'0'15,"0"0"-15,0 0 16,0 14-16,14-14 0,-14 0 0,0 0 15,14 0-15,-14 0 0,13 0 0,1 0 16,-1 0-16,-12 0 0,12 13 16,-13-13-16</inkml:trace>
  <inkml:trace contextRef="#ctx0" brushRef="#br0" timeOffset="13877.88">21206 2262 0,'0'0'16,"-13"0"-16,53 0 15,-27 0 1,0 0-16,0 0 0,14 0 0,13 13 16,-14-13-16,1 0 15,-14 0-15,13 0 0,-13 14 0,1-14 16,-1 13-16</inkml:trace>
  <inkml:trace contextRef="#ctx0" brushRef="#br0" timeOffset="14069.09">21259 2461 0,'0'0'0,"40"0"46,-27 0-46,0 0 0,1 0 16,-1 0-16,0 0 0,0 0 16,14 0-16,-14 13 0,0-13 0,0 0 0,1 13 15,-1-13-15</inkml:trace>
  <inkml:trace contextRef="#ctx0" brushRef="#br0" timeOffset="14254.98">21233 2659 0,'0'0'16,"39"-13"15,-25 13-15,12 0-16,-13 0 0,1 0 0,12 0 16,-13 0-16,1 13 15,-1-13-15,13 0 0,-26 13 0,13-13 16</inkml:trace>
  <inkml:trace contextRef="#ctx0" brushRef="#br0" timeOffset="14440.38">21206 2858 0,'0'0'16,"-13"0"-16,40 13 31,-14-13-31,0 0 15,0 0-15,0 0 0,1 0 0,-1 0 16,0 0-16,14 0 0,-1-13 16,-13 13-16,14 0 0,-1 0 15,1 0-15</inkml:trace>
  <inkml:trace contextRef="#ctx0" brushRef="#br0" timeOffset="14861.27">21630 1759 0,'-14'27'0,"1"66"31,13-41-31,0-12 0,0 13 15,0 13-15,13 14 0,-13-14 16,0 13-16,0 0 0,0 1 0,0 65 16,0-78-16,0-1 0,0-13 15,0-14-15,0 14 0,0-13 0,0 0 16,-13-14-16,13 0 0,0 1 0,-26-1 16,26-12-16,-13-1 0,-1-13 15</inkml:trace>
  <inkml:trace contextRef="#ctx0" brushRef="#br0" timeOffset="15190.74">20862 1905 0,'-39'40'0,"-27"79"31,66-80-31,-14 1 0,1 53 16,13-40-16,0 0 0,0 13 0,0 0 16,0 0-16,-13-13 0,13 13 15,-13 0-15,13-13 0,0 0 0,-14 0 16,14-13-16,0-1 0,0 14 15,0-26-15,0-1 0,0 1 0,14-1 16,-14 1-16,13-1 0,-13-13 0,13 0 16,14 1-16,-14-14 0,13 13 15,1-13-15</inkml:trace>
  <inkml:trace contextRef="#ctx0" brushRef="#br0" timeOffset="15487.22">22053 2752 0,'0'-14'0,"0"28"0,13-28 16,0 14-1,14-13-15,-14 13 0,27 0 16,-14 0-16,27 0 0,0 0 0,0 0 16,-13 0-16,13 0 0,-27 0 15,14 0-15,-14 0 0,14 0 0,-14 0 16,14-13-16,-13 13 0,-1 0 16,-13 0-16,0 0 0,1-13 0</inkml:trace>
  <inkml:trace contextRef="#ctx0" brushRef="#br0" timeOffset="15701.01">22371 2514 0,'0'0'0,"52"26"32,-25 0-17,-1 1-15,1-14 0,-1 14 0,14 39 16,-14-40-16,-12 1 0,-1-1 15,-13-13-15,0 14 0,0-1 16,0 1-16,-27-1 0,14 1 0,-13-1 16,-1 1-16,1 12 0,13-26 0,-14 14 15,14-14-15,0 0 0</inkml:trace>
  <inkml:trace contextRef="#ctx0" brushRef="#br0" timeOffset="16315.01">23336 2487 0,'0'0'0,"13"-13"16,1 26-16,-1 0 15,-13 14-15,13-14 0,-13 0 16,0 14-16,0-1 0,0 1 0,-13-1 15,13 1-15,0-14 0,-13 0 16,13 13-16,0-12 0,-14-1 0,14 0 16,0 0-16,-13-13 0,13 14 15,0-41 17,0 1-32,13 12 0,-13-12 0,14 0 15,-1-1-15,13 1 0,-12-1 0,-1 14 16,0 0-16,0-1 15,1 1-15,-1 0 0,0 0 0,0 13 16,0 0-16,1 0 0,-1 13 16,-13 0-16,0 0 15</inkml:trace>
  <inkml:trace contextRef="#ctx0" brushRef="#br0" timeOffset="16789.14">23601 2765 0,'13'-13'15,"14"-40"17,-14 40-32,-13-1 0,13 1 15,-13 0-15,0 0 16,-26 26 15,12 0-31,14 0 0,-13 1 0,0-1 16,13 13-16,0-13 15,0 1-15,13-14 16,-13 13-16,13-13 16,1 0-16,12 0 15,-26-13-15,13 13 0,14-27 16,-14 14-16,13 0 16,-12 0-16,-1-1 0,0-12 15,0 26-15,-13-13 0,13 13 16,-13-14-16,14 14 0,-14-13 15,13 26-15,0-13 16,-13 14-16,13-14 16,-13 13-16,0 0 0,0 0 15,0 1-15,0-1 16,0 0-16,0 0 0,-13 0 16,0 1-16,0-1 0,-1 0 15,-12 0-15,13 1 16,0-14-1,39-14 1,-13 14-16</inkml:trace>
  <inkml:trace contextRef="#ctx0" brushRef="#br0" timeOffset="17457.99">23998 2659 0,'0'0'0,"13"-26"0,0 26 16,-13-14-16,13 14 15,-26 27 32,13-14-47,0 0 16,0 1-1,0-1 1,13-13-16,1-13 16,-1 13-1,0 0-15,0 0 31,1 0-31,-14 13 16,13-13-16,0 13 0,0-13 16,0 0-16,14 0 15,-14 0 1,0-13-16,14 13 0,-14-13 0,0-1 16,14 1-16,-14-13 0,13-1 0,-12 1 15,12-1-15,-13 1 0,1-14 0,-1 14 16,13-14-16,-12 13 0,-1 1 15,13-40 32,-26 53-47,13 171 94,1-105-78,65 106 31,-66-159-47,106-251 15,-119 211-15,14 14 16,-28 39-1,14 0 1,0 0-16,-13 0 0,26 1 0,-13-1 16,0 13-16,0-12 15,0-1-15,0 0 0,0 0 0,0 14 16,0-1-16</inkml:trace>
  <inkml:trace contextRef="#ctx0" brushRef="#br0" timeOffset="17642.99">24553 2474 0,'14'-27'31,"-1"27"-31,0 0 0,13-13 16,1 13-16,-1 0 0,1 0 0,-1 0 15,14 0-15,-14 0 0,14 0 0,-13 0 16,-1 13-16,-13-13 0,14 0 15,-14 0-15</inkml:trace>
  <inkml:trace contextRef="#ctx0" brushRef="#br0" timeOffset="17909.8">23402 2977 0,'53'0'15,"-13"-14"-15,370-39 32,-331 53-32,14-13 0,79 0 15,-93 0-15,1 13 0,-27 0 0,0-13 16,0 13-16,-14 13 0,-12-13 0,-14 0 15,-13 13-15,13-13 16,-26 13-16</inkml:trace>
  <inkml:trace contextRef="#ctx0" brushRef="#br0" timeOffset="18147.2">23389 3135 0,'53'-13'0,"-106"26"0,133-39 0,-41 13 0,14 13 16,0-14-16,13 14 0,-13-13 16,13 13-16,0-13 0,1 13 0,-1 0 15,-13 0-15,66-13 16,-66 13-16,0 0 0,-14 0 16,-12 0-16,-1 0 0,1 0 0,-1 0 15,-13 0-15,1 0 0,-1 0 0,0 0 16,0 0-16</inkml:trace>
  <inkml:trace contextRef="#ctx0" brushRef="#br0" timeOffset="22066.92">19592 1865 0,'119'27'31,"-92"-27"-31,-1 13 0,14-13 15,13 13-15,-13-13 0,-14 13 0,1-13 16,12 0-16,-12 0 0,-1 14 16,1-14-16,-1 0 0,-13 0 0,14 0 15,-14-14-15</inkml:trace>
  <inkml:trace contextRef="#ctx0" brushRef="#br0" timeOffset="22315.21">20148 1786 0,'53'40'31,"-40"-40"-15,0 13-16,1 0 0,-1 0 0,0 1 0,-13-1 0,13 0 16,1 0-16,-1 0 0,0 1 0,-13-1 15,13 0-15,-13 0 0,0 1 16,0-1-16,-13 0 15,0 0-15,0 1 0,-1-1 0,1 0 16,0 0-16,-14 0 0,14-13 16,0 14-16,-14-14 0,14 13 0,0-13 15</inkml:trace>
  <inkml:trace contextRef="#ctx0" brushRef="#br0" timeOffset="36610.06">21802 3334 0,'13'13'0,"0"-13"0,67 53 31,-41-40-31,1 0 0,0-13 15,26 14-15,0-14 0,13 0 0,1 13 16,-14-13-16,13 0 0,-13 0 16,-13 0-16,27 0 0,-28 0 15,15-13-15,-14 13 0,-1 0 0,1-14 16,0 14-16,0-13 0,-13 13 0,0-13 16,-14 13-16,1-13 0,-1 13 15,0-14-15</inkml:trace>
  <inkml:trace contextRef="#ctx0" brushRef="#br0" timeOffset="36869.16">22847 3201 0,'26'-13'0,"107"26"31,-67 1-31,-27-1 16,-12-13-16,-14 13 0,14 0 16,-1 1-16,-13-1 0,0 0 0,1 0 15,-1 1-15,-13-1 0,0 0 0,0 13 16,0-12-16,-13 12 0,-1-13 16,1 14-16,-13-1 0,-1 1 0,1-1 15,-14 1-15,14-14 0</inkml:trace>
  <inkml:trace contextRef="#ctx0" brushRef="#br0" timeOffset="42699.38">5741 2818 0,'67'-13'0,"210"-27"32,-197 40-32,-1-13 0,14 13 0,-1-14 15,1 14-15,0 0 0,39-13 0,0 13 16,-39-13-16,13 13 0,-1 0 0,-12 0 15,13-13-15,-14 13 0,1 0 0,0-13 16,-14 13-16,0 0 0,-26-14 16,0 14-16,-13 0 0,0 0 0,-14 0 15,1 0-15,-14-13 0,0 13 0</inkml:trace>
  <inkml:trace contextRef="#ctx0" brushRef="#br0" timeOffset="43058.98">5900 3029 0,'53'0'0,"13"-13"0,199-26 15,-186 25 1,1 1-16,-1 13 15,0-13-15,14 0 0,0 13 0,-1-14 16,1 1-16,-1 13 0,-12-13 0,92 0 16,-93 13-16,0-13 0,-12 13 15,-14 0-15,13-14 0,-13 14 16,-14 0-16,1 0 0,-14 0 0,1 0 16,-1 0-16,-12 0 0,-1 0 0,0 0 15,0 0-15,1 0 0,-1 0 16,-40 14 15,14-14-15,0 0-16</inkml:trace>
  <inkml:trace contextRef="#ctx0" brushRef="#br0" timeOffset="48464">9816 7845 0,'40'0'0,"-80"0"0,106-13 16,-39 13-16,-14 0 0,13 0 0,1 0 16,26-14-16,-27 14 0,1 0 15,-1 0-15,14 0 0,-27 0 16,13 0-16,1-13 0,-1 13 0,-12 0 15,12 0-15,-13 0 0,1 0 16,12 0-16,-13-13 0,0 13 16,1 0-16,-1 0 15,0 0-15,-13-13 0,13 13 0,1-13 16,-14-1-16</inkml:trace>
  <inkml:trace contextRef="#ctx0" brushRef="#br0" timeOffset="48797.62">10319 7554 0,'26'13'46,"-13"-13"-46,1 13 16,12-13-16,-13 14 0,14-1 0,-14-13 16,14 13-16,-14 0 0,13 0 15,-13 1-15,14-1 0,-14 0 0,14 0 16,-14 1-16,0-1 0,-13 0 16,13 0-16,-13 1 0,0-1 0,0 0 15,-13 0-15,0 0 0,-14 27 16,1-27-16,-1 14 0,-25-1 15,25 1-15,14-14 0,-14-13 16,14 13-16,0 0 0,0 1 16,-1-14-16</inkml:trace>
  <inkml:trace contextRef="#ctx0" brushRef="#br0" timeOffset="49964.98">11298 7210 0,'0'0'0,"13"0"0,0 0 15,-39 13 17,12 0-17,1-13-15,0 14 0,-13-1 16,12 0-16,1 0 0,-13 14 0,-14-1 15,27-13-15,-14 14 16,1-14-16,13 0 0,13 1 16,-14-1-16,1-13 0,13 13 0,0 0 15,-13-13-15,13 13 0,13-13 16,-13 14-16,13-14 0,1 0 16,-1 13-16,0-13 0,13 0 0,1 0 15,-1 0-15,1 0 0,-1 0 0,1 0 16,-1-13-16,1 13 15,-1 0-15,27 0 0,-40-14 0,14 14 16,-14 0-16,0 0 0,0 0 0,1-13 16,-1 13-16,0 0 15,-13-13-15,13 13 0,-13-13 16,0 0 0</inkml:trace>
  <inkml:trace contextRef="#ctx0" brushRef="#br0" timeOffset="50214.14">11377 7183 0,'0'-13'16,"-26"66"15,12-26-31,14-14 0,0 13 16,-13 1-16,13 12 0,-13-12 15,13-1-15,-13 1 0,13-1 0,0 1 16,-14-14-16,14 13 0,0-12 0,0 12 16,0 1-16,0-14 0,0 0 15,14 0-15,-1-13 16,0 0-16</inkml:trace>
  <inkml:trace contextRef="#ctx0" brushRef="#br0" timeOffset="50583.28">11589 7250 0,'0'-14'15,"0"28"-15,-13-14 32,13 13-32,-14 0 0,14 0 0,0 14 15,0-14-15,0 0 0,0 14 0,0-14 16,14 0-16,-14 0 0,13 1 0,0-1 15,13 0-15,-12 0 16,12-13-16,1 13 0,-14-13 0,13 0 16,1 0-16,-1 0 0,-13 0 0,14-13 15,-14 0-15,14 13 0,-14-26 16,0 12-16,0 1 0,-13 0 0,0-14 16,0 14-16,0-13 0,-26-27 15,13 13-15,-14 14 0,14-1 0,-14 14 16,14 0-16,-13 0 0,-1-1 15,14 14-15,-13 0 0,12 0 0,-12 0 16,13 0-16,-1 0 0,1 0 0,0 14 16,0-1-16,0 0 15,26 0-15,13 14 16</inkml:trace>
  <inkml:trace contextRef="#ctx0" brushRef="#br0" timeOffset="53910.73">15094 4789 0,'0'-13'16,"0"52"0,0-25-1,-13-1-15,13 0 0,0 0 0,0 1 16,0-1-16,0 0 0,0 13 16,-13-12-16,13-1 0,0 13 15,0-12-15,0-1 16,-13 0-16,13 0 15,0 1 1</inkml:trace>
  <inkml:trace contextRef="#ctx0" brushRef="#br0" timeOffset="54373.01">15055 5398 0,'26'-14'0,"-52"28"0,65-28 0,-25 14 16,12 0-16,-13 0 15,-13 14-15,0-1 16,0 0-16,0 0 16,-13 0-16,0 14 0,-14-14 15,14 14-15,0-14 0,0 0 0,0 0 16,-1 0-16,1 14 0,0-27 15,13 13-15,-13-13 0,13 13 16,13-13 15,0 0-31,0-13 0,14 13 16,-14 0-16,13-13 0,-12 13 0,12 0 16,-13 0-16,14-13 0,-14 13 0,0 0 15,1 0-15,-1 0 0</inkml:trace>
  <inkml:trace contextRef="#ctx0" brushRef="#br0" timeOffset="54925.77">15055 6046 0,'13'0'0,"0"0"0,0 13 16,-26 0-1,13 0-15,0 1 16,-13-1-16,13 0 0,0 0 0,-13 1 16,13-1-16,-13 0 0,13 0 15,13 0-15,-13 1 0,0-1 16,13-13-16,-13 13 16,13 0-16,-13 1 15,-13-1 1,0 0-1,0-13-15,-1 13 0,1 1 16,0-1-16,0 0 0,-1 0 16,1 14-16,0-14 0</inkml:trace>
  <inkml:trace contextRef="#ctx0" brushRef="#br0" timeOffset="55455.01">15081 6760 0,'-66'40'15,"53"-40"1,0 13-16,13 0 0,-14-13 0,1 13 15,13 1-15,-13-1 0,0-13 16,13 13-16,-14 0 0,14 1 16,-13-1-16,13 0 15,13-13-15,-13 13 16,14-13-16,-1 0 16,0 0-16,0-13 0,1 13 0,-1 0 15,0-13-15,0 13 0,1-13 16,-1-1-16,0 14 0,0-13 15,0 0-15,-13 0 0,14-1 0,-1 1 16,-13 0-16,13 0 16,-13 0-16,0 26 47,-13 0-47,13 0 0,0 14 0,0-14 15,-13 0-15,13 14 0,-14 26 16,14-27-16,0-13 0,-13 14 15,13-14-15,0 0 0,0 0 0,0 1 16,0-1-16,0 0 0,13 0 16,1-39-1,-1 13 1,-13-14-16</inkml:trace>
  <inkml:trace contextRef="#ctx0" brushRef="#br0" timeOffset="59581.59">14459 4260 0</inkml:trace>
  <inkml:trace contextRef="#ctx0" brushRef="#br0" timeOffset="61922.71">14393 4233 0,'-13'0'31,"53"0"31,-27 0-62,0 0 0,0 0 16,1 0-16,12-13 0,-13 13 0,1 0 16,-1 0-16,13-13 0,-12 13 15,12 0-15,-13-13 0,0 13 16,1 0-16,-1-14 0,0 14 16,0-13-16,1 13 0,-14-13 0,13 13 0,0-13 15,-13 0-15,13 13 16,-13-14-16,0 1 0,0 0 15,0 0-15,-13 13 0,13-14 16,0 1-16,-13 0 16,0 0-16,-1 13 31,1 13-31,0 0 0,0-13 16,13 13-16,-14 1 0,1 12 0,0-13 15,13 14-15,-13-14 0,0 13 16,-1 1-16,14-14 0,-13 14 0,13-1 15,-13-13-15,13 14 0,0-14 16,-13 0-16,13 14 0,0-14 0,0 0 16,-14 0-16,14 1 0,0-1 15,0 0-15,0 0 0,0 0 0,0 1 16,-13-1-16,13 0 16,0 0-1</inkml:trace>
  <inkml:trace contextRef="#ctx0" brushRef="#br0" timeOffset="62416.33">14698 4326 0,'0'13'32,"0"0"-32,0 1 15,0-1 1,0 0-16,0 0 0,0 1 15,0-1-15,0 0 16</inkml:trace>
  <inkml:trace contextRef="#ctx0" brushRef="#br0" timeOffset="62672.93">14698 4233 0,'0'-13'0</inkml:trace>
  <inkml:trace contextRef="#ctx0" brushRef="#br0" timeOffset="63448.83">14883 4286 0,'-13'0'32,"13"13"-32,0 1 15,0-1 1,0 0-16,0 0 15,0 1-15,0-1 16,0 0 0,0 0-1,13-39 32,0 13-31,0-1-1,0 14 1,1-13 0,-14 26-1,13-13-15,-13 14 16,0-1 0,13 0-1,-13 0 16,13-26 16,1 0-47,-1 13 16,-13-13 0,13 13-16,0 13 15,1-13 1,-1 0-16,0 13 15,0-13 1,-13 13 0,13-13-1,1 0-15,-14 14 0</inkml:trace>
  <inkml:trace contextRef="#ctx0" brushRef="#br0" timeOffset="63781.64">15266 4352 0,'0'0'0,"14"-13"0,-14 0 0,13 0 31,-40 26 0,14 0-15,13 0-16,-13 1 16,13-1-16,-13 0 15,13 0-15,0 1 16,13-1-16,0 0 16,0 0-1,1-13 1,-1 0-16,0 0 15,0-13 1</inkml:trace>
  <inkml:trace contextRef="#ctx0" brushRef="#br0" timeOffset="68167.5">14737 4352 0,'0'0'0,"185"-13"15,-132 0-15,40 0 16,-53 13-16,-1-14 0,41 14 16,-54-13-16,-13 13 0,14 0 15,-14 0-15,0-13 0,-52 13 32,12 0-32,1 0 0,-27 0 15,0 0-15,0 13 0,-13-13 16,-66 13-16,65-13 0,15 14 15,-1-14-15,0 13 0,13-13 0,14 13 16,-1-13-16,14 13 0,0-13 16,13 14-16,13-14 15,13 0-15,1 0 0,-1 0 0,27 0 16,0 0-16,26-14 0,-26 14 16,27-13-16,-14 0 0,-13 13 0,-14-13 15,14-1-15,-26 1 0,13 0 16,-27 13-16,0-13 0,0 0 0,0-1 15,-13 1-15,-13 0 16,0 13-16,-13-13 0,-1-1 0,1 1 16,-14 13-16,0 0 0,-13 0 0,0 0 15,-13 0-15,0 13 0,-40 1 16,53-1-16,14 0 0,-27 27 16,39-27-16,14 0 0,0 0 15,13 1-15,0-1 0,0 0 16,13 0-16,13 1 0,1-1 0,12 0 15,1 0-15,13-13 0,-13 0 0,-14 0 16,27 0-16,0-13 0,-13 0 0,13 13 16,-14-27-16,1 14 0,0 0 15,-1-27-15,-25 27 0,-1 0 16,-13 0-16,-13-1 16,-1 1-16,1 0 0,-13 13 0,-1-13 15,-26 13-15,0 0 0,0 0 16,1 0-16,-1 13 0,-13 0 0,13 0 15,13 1-15,-13-1 0,27 0 16,-14 0-16,13 0 0,1 14 0,13-14 16,13 0-16,0 1 0,0-1 0,13-13 15,0 13-15,14 0 0,-1 1 0,14-1 16,-14-13-16,14 13 0,0-13 16,-1-13-16,1 13 0,13-13 15,-13 13-15,-1-14 0,1 1 0,-14 0 16,1-14-16,-14 14 0,0 0 0,-13 0 15,14-1-15,-14 1 0,-14 0 16,14 0-16,-13 0 0,-13-1 0,12 1 16,-65-13-16,39 26 0,14 0 15,-27 0-15,13 0 0,-13 13 16,14 0-16,-14 0 0,26 1 0,-12 12 16,12-13-16,1 14 0,12-1 15,1-13-15,13 14 0,13-14 0,1 0 0,-1 14 16,13-14-16,14 13 0,0-12 15,-1-14-15,1 13 0,0-13 16,-14 0-16,27-13 0,-13 13 0,13-14 16,-14 1-16,1 0 0,0-13 0,0 12 15,-14-12-15,-13-1 0,14 14 16,-27-13-16,13 12 0,-13 1 0,0-13 16,-13 13-16,-1-1 0,1 1 0,0 0 15,-13 0-15,-1 13 0,1 0 16,-14 0-16,0 0 0,1 13 0,-14 0 15,13 0-15,0 14 0,14-14 0,-14 13 16,27 1-16,-14-14 0,27 0 16,-13 14-16,26-1 15,1-12-15,-1-1 0,0 0 0,0-13 16,14 13-16,-1-13 0,-12 0 0,25 0 0,-12-13 16,12 13-16,-12-13 15,12 0-15,-25-1 0,12 1 0,-13 0 16,1 0-16,-14-14 0,0 14 0,0 0 15,0-1-15,-14 1 0,1 0 16,0 0-16,0 13 0,-27-13 16,14 13-16,-1 13 0,-39 0 15,26 0-15,14 14 0,-14-1 16,27-13-16,0 1 0,13-1 16,0 0-16,13 0 0,-13 1 0,13-1 15,14-13-15,-14 13 0,13-13 0,1 0 16,12 0-16,1-13 0,0 13 15,-1-13-15,14-1 0,-13 1 16,0 0-16,-14-14 0,1 14 0,-1 0 16,-13-14-16,1 14 0,-14 0 15,-14 13 1,1 0-16,0 0 0,-14 0 16,14 13-16,0 0 0,-13 1 15,12-1-15,1 0 0,0 0 0,0 1 16,-1-1-16,14 0 0,14 0 15,-1 1-15,0-14 0,0 0 16,1 0-16,-1 0 0,13 0 0,1 0 16,-1 0-16,1-14 15,-14 14-15,13-13 0,-12 0 0,-1 0 16,0-1-16,0 1 0,0 13 0,-13-13 16,0 0-16,-13-1 15,0 14-15,0 0 16,0 0-16,-14 14 0,14-1 0,0-13 15,-1 13-15,1 0 0,0 1 0,13-1 16,0 0 0,13 0-16,0-13 15,14 0-15,-14 0 0,0-13 16,1 13-16,-1 0 0,0 0 16,0-13-16,0 13 15,-26 26 1,0-26-1,0 14-15,13-1 0,-13-13 16,13 13-16,0 0 0,-14-13 0,14 13 16,14-13-1,-1 0 1,0-13-16,0 13 0,0-26 16,-13 13-16,14-1 15,-28 1-15,14-13 0,-13 12 0,0-12 16,-13 13-16,-1-14 0,-39 1 15,26 13-15,1 13 0,-14 0 16,0 0-16,-13 0 0,-14 13 0,-26 13 16,53-13-16,14-13 15,-27 27-15,39-27 0,14 13 16,0-13-16,13 13 0,13-13 16,13 0-16,1 0 15,13-13-15,52-13 16,-26 12-16,-26 1 0,0 0 0,-1 0 15,-12 0-15,12-1 0,-25 14 16,-1 0-16,-13-13 16,-13 40-1,-14-27-15,-12 26 16,25-13-16,1 0 0,-13 1 16,12-14-16,1 13 0,0 0 15,53-26 16,-27 0-31,13-1 0,-12 1 16,-1-13-16,0 13 0,0-1 0,0-12 16,-13-1-16,0 14 0,14 0 15,-28-27-15,1 27 0,0 0 16,-13 13-16,12-13 0,-12 13 16,-14 13-16,1 0 0,-1 0 0,0 14 15,-39 12-15,52-12 0,1-1 16,13 1-16,-14 12 0,27-25 15,0 12-15,0-13 16,13-13-16,1 14 0,-1-1 0,13-13 16,1 0-16,-14 0 0,27-13 15,-1 13-15,-12-14 0,13-12 0,-1 13 16,-12-14-16,-1 14 0,14-40 16,-27 27-16,-13-40 15,0 39-15,-13 14 0,13-14 16,-27 27-16,14-13 0,0 13 15,-14 0-15,-12 0 0,-1 13 0,-39 14 16,39-1-16,0 1 0,-26 26 16,53-27-16,-14 1 15,27-14-15,-13 0 0,13 13 0,0-12 16,13 12-16,1-13 0,-1 1 16,27-1-16,-27-13 0,13-13 15,1 13-15,12-14 0,-12 1 16,13-13-16,-14-1 0,1 14 15,-1-27-15,14-13 0,-40 27 0,0 0 16,0-1-16,0 1 0,-14-1 16,1 14-16,-26-27 0,12 27 15,1 13-15,-41 13 16,28 0-16,12 1 0,-12 12 0,-1 1 16,0 12-16,14-12 0,13-1 15,-1 14-15,1-14 0,0-12 0,13 12 16,13-13-16,0 14 0,1-14 0,-1 0 15,13 0-15,14 1 0,-14-14 16,1 13-16,26-26 0,-14 13 0,54-27 16,-53 1-16,13-1 15,13-12-15,-40 12 0,14-65 16,-27 78 0,-13 1-16,0 0 0,0 0 0,-13-1 15,13 1-15,-13 13 0,-1 0 0,1 13 16,-13 1-16,-54 39 0,41-27 15,-27 40-15,39-39 16,14-1-16,-14 27 0,27-40 16,0 14-16,14-14 15,-14 0-15,13 0 0,0 1 16,0-14-16,1 0 0,12 13 0,-13-13 16,14-13-16,-1 13 0,1-14 0,-1 1 0,14 0 15,-14-14-15,1 14 0,-1-13 16,-13 12-16,1-12 0,12 0 15,-26 12-15,13 1 0,-13-13 16,-13 26-16,0 0 16,0 0-16,-1 13 15,-25 13-15,25-12 0,1-1 16,-13 13-16,26-13 0,-13 1 16,13-1-16,0 0 15,13 0-15,0-13 16,0 0-16,0 0 15,1 0-15,-1-13 0,13 0 0,-12 13 16,-1-13-16,0-1 0,0 1 16,1 0-16,-28 39 31,14-12-15,0-1-16,0 0 0,0 0 15,0 1-15,0-1 0,14-13 16,-14 13-16,13-13 0,13 0 15,-13 0-15,1 0 0,12 0 0,-13-13 16,1 13-16,-1-13 0,13-1 16,-12 14-16,-14-13 15,13 0-15,0 0 16,-26 39 15,0-13-31,-1 1 0,14-1 16,0 0-16,0 0 0,0 1 15,14-14-15,-14 13 0,13-13 16,0 0-16</inkml:trace>
  <inkml:trace contextRef="#ctx0" brushRef="#br0" timeOffset="69751.6">14340 3519 0,'-13'0'0,"-13"0"32,26 13-17,26-13 1,-13 0-16,1 0 0,-1 0 0,0-13 15,14 13-15,-14 0 0,13-13 16,1 13-16,-1-14 0,14-12 16,-27 13-16,0 0 0,1-1 15,-14 1-15,0 0 16,0 0-16,-14-1 0,1 1 16,13 0-16,-13 13 15,0 0-15,-1 0 0,1 0 16,-13 26-16,12-12 15,1-1-15,0 13 0,0-12 0,0 12 16,13 0-16,-27 27 0,27-39 16,-13 12-16,13 1 0,0-1 15,-13-13-15,13 0 0,0 14 16,0-14-16,0 0 0,0 1 0,0-1 16,0 0-16,13 0 0,0 1 15,0-14 1</inkml:trace>
  <inkml:trace contextRef="#ctx0" brushRef="#br0" timeOffset="70102.84">14579 3664 0,'-14'14'15,"14"-1"1,-13 0-16,26 0 15,-13 1-15,0-1 0,14 0 16,-1-13-16,-13 13 0,13-13 16,0 0-16,0 14 0,14-14 15,-14 0-15,0-14 0,1 14 0,-1 0 16,0-13-16,0 13 0,1-13 16,-1 0-16,-13-1 0,0 1 15,0 0-15,0 0 0,-13 13 16,13-14-16,-14 1 0,1 0 15,0 0-15,0 13 16,-1 0-16,1 0 0,0 0 16,0 0-16,-1 0 0,14 13 15,-13-13-15,13 13 0,0 0 16,13-13-16,1 14 0,-1-14 16,0 13-16</inkml:trace>
  <inkml:trace contextRef="#ctx0" brushRef="#br0" timeOffset="70425.46">15015 3598 0,'0'-13'15,"0"26"-15,-13-39 0,0 26 16,-1 0 0,1 0-16,0 0 15,13 13-15,-13-13 0,13 13 16,0 1-16,13-14 15,-13 13-15,0 0 0,0 0 16,13-13-16,-13 13 0,13 1 0,-13-1 16,14 0-16,-14 0 0,0 1 15,13-14-15,-13 13 16,-13 0-16,13 0 16,-14 1-16,1-14 0,0 13 15,0-13-15,-1 0 16,1 13-16,0-13 0,0 0 15,13-26 17</inkml:trace>
  <inkml:trace contextRef="#ctx0" brushRef="#br0" timeOffset="70693.33">15094 3545 0,'-26'0'0,"13"53"32,13-39-17,13-1-15,0 0 16,0 0-16,-13 0 0,14-13 0,-1 14 16,0-1-16,0 0 0,1 0 15,-14 1-15,13-14 16,-13 13-16,0 0 0,0 0 15,-13 1-15,-1-1 0,1 0 16,0-13-16,0 13 0,-1 0 16,-12 1-16,-14-1 0,27 0 15,0-13-15,-14 13 0</inkml:trace>
  <inkml:trace contextRef="#ctx0" brushRef="#br0" timeOffset="74140.57">16656 3506 0,'26'13'0,"-13"0"16,0 0-16,-13 1 0,14-1 16,-14 0-16,13 0 0,-13 1 15,0-1-15,0 0 0,0 0 16,0 0-16,0 1 0,0-1 16,-13 0-16,13 0 0,-14 1 15,14-1-15,-13-13 16,0-13-1,13-1 1,0 1-16,13 0 16,-13 0-16,0-1 0,13 1 15,-13-13-15,14 13 0,-14-1 0,13 1 16,0 0-16,0 0 0,-13-1 16,14 1-16,-1 0 0,-13 0 0,13 13 15,-13-14-15,13 14 0,1 0 16</inkml:trace>
  <inkml:trace contextRef="#ctx0" brushRef="#br0" timeOffset="74488.83">16933 3638 0,'0'0'0,"0"-13"0,14 0 15,-14-1 1,-27 28 15,14-1-15,13 0-16,0 0 15,0 0 1,0 1-16,13-1 16,-13 0-1,13-13-15,-13 13 0,14-13 16,-1 14-16,0-14 16,0 0-16,0 0 0,1 0 15</inkml:trace>
  <inkml:trace contextRef="#ctx0" brushRef="#br0" timeOffset="74766.78">17185 3598 0,'-14'0'16,"28"0"-16,-41 0 0,14-13 0,0 26 31,13 1-31,13-1 16,-13 0-1,0 0-15,13-13 0,-13 13 16,0 1-16,0-1 0,0 0 16,0 0-16,0 1 15,-13-14-15,0 13 16,0-13-16,-1 13 0,1-13 16,0 13-16,0-13 0,-1 0 15,-12 14 1</inkml:trace>
  <inkml:trace contextRef="#ctx0" brushRef="#br0" timeOffset="75573.05">17238 3691 0,'0'0'0,"13"0"0,-13-13 16,13 26 46,-13 0-46,13-13 0,1 0-1,-1 0 1,0-13-16,0 13 15,-13-13 1,13 13-16,1 0 31,-1 13-15,0 0 0,0-13-1,1 0-15,-1 0 16,0 0-16,0-13 15,0 13-15,-13-13 0,14 13 16,-1-14-16,-13 1 0,13 0 16,0 0-16,-13 0 0,0-1 15,0-12-15,14 13 0,-14-1 16,0 1-16,0 0 16,0 0-1,-14 39 1,14-13-16,0 1 15,0-1-15,0 0 16,0 0-16,0 1 0,14-1 16,-14 0-16,13 0 0,0 0 15,-13 1-15,13-14 0,1 0 16,-1 0-16,0 0 0,0 0 16,0 0-16,1-14 0,-1 1 15,0 0-15,0 0 0,-13-27 16,14 27-16,-14-14 15,13 1-15,-13 13 0,0-14 16,13 1-16,-13 13 0,0-1 16,0 1-16,-13 40 31,13-14-31,0 0 16,0 0-16,0 0 0,0 14 0,0-14 15,13 0-15,-13 14 0,0-14 16,13 0-16,-13 1 0,0-1 15,14 0-15,-14 0 0,13-13 16,-13 13-16,13-13 0,-13 14 0,13-14 16,0 0-16,1 0 15</inkml:trace>
  <inkml:trace contextRef="#ctx0" brushRef="#br0" timeOffset="75788.73">17608 3585 0,'26'-13'15,"-12"0"-15,12 13 16,-13 0-16,1 0 0,12-14 16,1 14-16,-1 0 0,0-13 15,1 13-15,-1 0 0,14-13 16,-27 13-16,1-13 0,-1 13 15,0 0-15,0 0 0,0 0 0</inkml:trace>
  <inkml:trace contextRef="#ctx0" brushRef="#br0" timeOffset="77774.61">16947 4670 0,'26'0'31,"-13"0"-31,0 0 16,1 0-16,-1 13 0,0-13 0,0 0 16,1 13-16,-1-13 15,-13 14-15,13-14 0,-13 13 0,0 0 16,0 0-16,-13 0 0,0 14 16,-1-14-16,-25 0 15,25 1-15,1-1 0,0 0 16,0 0-16,0 1 15,39-14 17,-13 0-32,0 0 0,14 0 0,-14 0 15,14-14-15,-1 14 0,1 0 0,12-13 16,-26 13-16,14 0 0,-1 0 16,1-13-16,-1 13 0,-12 0 15,-1 0-15,13 0 16,-13 0-16,-13 13 15</inkml:trace>
  <inkml:trace contextRef="#ctx0" brushRef="#br0" timeOffset="78464.89">15187 5543 0,'13'13'63</inkml:trace>
  <inkml:trace contextRef="#ctx0" brushRef="#br0" timeOffset="79490.83">17185 5093 0,'0'-13'16,"-27"39"0,14-12-1,13-1-15,-13 0 0,13 0 0,-13 14 16,-1-1-16,14-12 0,-13 12 15,13-13-15,0 14 0,0-14 16,0 0-16,0 14 0,0-14 0,0 0 16,0 0-16,13 1 0,-13-1 15,14 0-15,-1-13 16,-13 13-16,13-13 0,0 0 16,0 0-16,14 0 15,-27-13-15,13 13 0,-13-13 16,13 13-16,-13-13 0,0-1 15,0 1-15,0 0 16,0 0 0,-13 13-16,13-14 0,-13 14 15,0 0 1,-14 14-16,14-14 16,13 13-16,-13-13 0,0 13 15,-1-13-15</inkml:trace>
  <inkml:trace contextRef="#ctx0" brushRef="#br0" timeOffset="80094.95">14790 6350 0</inkml:trace>
  <inkml:trace contextRef="#ctx0" brushRef="#br0" timeOffset="81025.5">17317 5940 0,'0'0'16,"0"-13"-16,-26 39 31,12-26-31,1 13 16,0 1-16,0-1 0,-1 0 16,-12 0-16,13 0 0,-14 1 15,14-1-15,0 0 0,-14 14 0,14-14 16,0-13-16,0 13 0,-1 0 0,1-13 15,13 14-15,-13-14 0,13 13 0,-13-13 16,26 13 0,-13 0-16,13-13 15,0 0-15,1 0 0,-1 0 16,13 0-16,-12 0 0,12 0 0,0 0 16,1-13-16,-1 13 0,1 0 0,-1 0 15,-12 0-15,12-13 0,-13 13 16,14 0-16,-14-13 0,0 13 15,0 0-15,-13-14 0,14 14 0</inkml:trace>
  <inkml:trace contextRef="#ctx0" brushRef="#br0" timeOffset="81222.7">17304 5913 0,'0'0'0,"-13"14"0,-1-14 0,14 13 15,-13 0-15,0 0 0,13 1 0,-13-1 16,-1 13-16,14 1 0,-13-1 0,0 1 16,13-1-16,-13 1 0,13-1 0,-14 0 15,14-12-15,-13 12 0,13 1 16,-13-1-16,13-13 0,0 1 0,-13-1 16,13 13-16</inkml:trace>
  <inkml:trace contextRef="#ctx0" brushRef="#br0" timeOffset="81690.5">14790 6972 0,'13'13'16,"-13"0"31,0 0-32</inkml:trace>
  <inkml:trace contextRef="#ctx0" brushRef="#br0" timeOffset="82465.59">17317 6800 0,'-13'13'31,"0"0"-31,13 14 0,-14 12 16,1-25-16,13 12 0,-13-13 15,13 14-15,0-14 0,0 0 0,0 0 16,0 1-16,0-1 0,0 0 16</inkml:trace>
  <inkml:trace contextRef="#ctx0" brushRef="#br0" timeOffset="83953.85">14962 7541 0,'40'-14'15,"-80"28"-15,93-28 0,-40 14 0,1 0 16,-1-13-16,-53 26 47,27-13-47,0 0 0,-1 14 15,1-14-15,0 0 16,0 13-16,13 0 0,0 0 16,13 1-1,-13-1-15,13 0 0,0-13 16,1 13-16,-1 0 0,0 1 0,0-1 0,1 0 16,-14 0-16,13-13 15,-26 14-15,13-1 0,0 0 16,-14-13-16,1 13 0,-13 1 0,-1-1 15,1 13-15,-14-13 0,0 1 16,1-1-16,-1 0 0,14-13 0,-14 13 16,27-13-16,-1 0 0,1 14 0,0-14 15</inkml:trace>
  <inkml:trace contextRef="#ctx0" brushRef="#br0" timeOffset="85789.77">17304 7541 0,'0'-14'16,"0"28"-16,13-28 15,-39 28 1,12-1 0,1-13-16,0 13 15,0-13-15,-1 13 0,1-13 16,13 14-16,-13-14 0,0 13 15,13 0 1,0 0-16,13-13 16,0 13-16,14-13 15,-14 14-15,0-1 16,0-13-16,1 13 0,-1-13 16,-13 13-16,0 1 15,-13-1-15,-1-13 0,1 13 16,0-13-16,0 13 0,-1-13 15,-12 14-15,13-1 0,-1-13 16,-12 0-16,13 13 0,0-13 0</inkml:trace>
  <inkml:trace contextRef="#ctx0" brushRef="#br0" timeOffset="86385.01">15055 8414 0,'0'53'15,"-13"-40"1,13 0-16,0 14 0</inkml:trace>
  <inkml:trace contextRef="#ctx0" brushRef="#br0" timeOffset="86538.62">15042 8877 0,'0'13'0,"-14"40"31,1-53-31,13 13 0</inkml:trace>
  <inkml:trace contextRef="#ctx0" brushRef="#br0" timeOffset="86668.54">15015 9181 0,'-13'0'15,"26"0"-15,-26 13 0,0 1 16,13-1-16,-14-13 16</inkml:trace>
  <inkml:trace contextRef="#ctx0" brushRef="#br0" timeOffset="86802.53">15015 9459 0,'-13'13'15,"26"-26"-15,-26 39 16,0-26-16,13 14 0,0-1 16,-14 0-16</inkml:trace>
  <inkml:trace contextRef="#ctx0" brushRef="#br0" timeOffset="86931.53">15081 9909 0,'-13'13'0,"13"0"0,0 0 16</inkml:trace>
  <inkml:trace contextRef="#ctx0" brushRef="#br0" timeOffset="88776.98">14751 10570 0,'13'-13'16,"0"0"-16,0 26 31,-13 0-31,0 0 0,-13 1 16,0-1-16,0 0 16,-1 0-16,1 0 0,13 1 15,-13-14-15,13 13 0,-13-13 0,13 13 16,13 0-1,0-13-15,-13 14 16,13-14-16,1 13 0,-1-13 16,-13 13-16,13-13 0,-13 13 15,13 1-15,-13-1 16,-13 0-16,13 0 16,-13-13-16,13 13 0,-27-13 15,27 14-15,-26-14 16,13 13-1</inkml:trace>
  <inkml:trace contextRef="#ctx0" brushRef="#br0" timeOffset="89070.1">15028 10610 0,'-26'0'0,"13"13"0,-1-13 16,1 0-16,0 13 16,0 0-16,-1-13 0,14 14 15,0-1-15,0 0 16,14 0-16,-14 1 16,13-1-16,0 0 0,-13 0 15,0 1-15,0-1 16,0 0-16,-13-13 0,13 13 15,-13 0-15,-1 1 0,-12-14 0,13 13 16,0 0-16,-1-13 0,1 13 16,0-13-16,0 0 15</inkml:trace>
  <inkml:trace contextRef="#ctx0" brushRef="#br0" timeOffset="89817.92">17595 10530 0,'-13'67'31,"-1"-54"-31,14 0 15,0 0-15,0 0 16,0 1-16,0-1 0,0 0 16,-13 0-16,13 1 15,0-1-15</inkml:trace>
  <inkml:trace contextRef="#ctx0" brushRef="#br0" timeOffset="90773.58">15028 11840 0</inkml:trace>
  <inkml:trace contextRef="#ctx0" brushRef="#br0" timeOffset="91108.68">15081 11364 0,'-13'0'0,"26"0"0,-39 0 16,13 0-16,13 13 0</inkml:trace>
  <inkml:trace contextRef="#ctx0" brushRef="#br0" timeOffset="91373.69">15121 11668 0,'0'0'0,"0"13"0,-13-13 16,-1 14-1,1-14-15,13 13 16,-13-13-16,13 13 15,0 0-15,0 1 16,0-1-16,13 0 0,-13 0 16,0 0-16,13-13 15,-13 14-15,0-1 16,0 0 0,0 0-1,0 1-15</inkml:trace>
  <inkml:trace contextRef="#ctx0" brushRef="#br0" timeOffset="91892.74">14883 12779 0,'0'0'0,"0"-13"16,-27 26-1,27 1-15,-13-1 0,0-13 16,0 13-16,-1 0 0,14 1 16,-13-1-16,-13 13 0,-14 14 31,40-27-31,0 0 15,0 1 1,13-14-16,1 0 0,-1 13 16,0-13-16,0 0 0,0 13 15,1-13-15,-1 0 0,0 0 16,14 0-16,-14 0 0,0 13 16,0-13-16,0 0 0,-13-13 15,14 13-15,-1-13 31</inkml:trace>
  <inkml:trace contextRef="#ctx0" brushRef="#br0" timeOffset="92407.71">14962 12753 0,'0'-13'15,"-13"39"1,13-13-16,0 1 15,-13 12-15,13-13 0,0 1 16,0 12-16,-14-13 0,14 14 0,0-14 16,-13 13-16,13-12 0,0-1 0,0 13 15,-13-12-15,13-1 0,0 0 16,0 0-16,0 0 0,13-13 16,0 0-1,14 0-15,-27-13 16,13 13-16,0-13 0,1 0 15,-1 0-15,0-1 16,0 28 15,-13-1-15,0 0-16,14-13 16,-14 13-16,13-13 0,0 13 0,0-13 15,0 14-15,14-14 16,-14 0-16,0 0 0,14 0 0,-1 0 15,-12 0-15,12-14 0,-13 14 0,14-13 16,-14 0-16,-13 0 16,13 0-16,-13-1 0,0-12 15,-13 26-15,13-13 0,-27-1 16,14 14-16,0-13 0,-13 13 0,12 0 16,-12 0-16,-1 0 0,14 0 15,-13 0-15,12 0 0,-12 13 0,13-13 16,0 0-16,-1 14 0,1-14 0,0 0 15</inkml:trace>
  <inkml:trace contextRef="#ctx0" brushRef="#br0" timeOffset="94082.36">17542 12303 0,'-27'53'31,"27"-40"-31,-13 14 16,0-1-16,13 1 0,-13 12 0,13 1 15,-14-14-15,14 14 0,0-13 16,-13-1-16,13-13 0,0 14 0,13-1 15,-13-13-15,0 14 0,14-14 0,-1 0 16,-13 14-16,13-27 16,0 13-16,1 0 0,-1-13 0,0 14 0,0-14 15,1 0-15,12-14 0,-13 14 16,0 0-16,1-13 0,-1 0 0,0 13 16,-13-13-16,0-1 0,13 1 15,-13 0-15,-13 0 0,13-1 16,0 1-16,-13 13 0,0-13 15,-1 0-15,1 13 0,0 0 16,-13-13-16,12 13 0,1 0 16,0 0-16,0 13 0,-1-13 0,-12 13 15,13-13-15,-1 0 0,14 13 0,-13-13 16</inkml:trace>
  <inkml:trace contextRef="#ctx0" brushRef="#br0" timeOffset="96792.74">18203 3228 0,'14'-13'16,"-1"13"-16,0 0 0,0 0 16,0 0-16,1-14 0,-1 14 15,0 0-15,0 14 0,1-14 16,-1 0-16,0 13 0,0 0 16,-13 0-16,0 1 15,14-14-15,-14 26 0,0-13 16,0 1-16,0 12 0,0 0 0,0 1 15,0-1-15,0 1 0,0 12 0,0 1 16,13 0-16,-13 0 0,0-1 0,0 1 16,0 13-16,0-13 0,0 12 15,0-12-15,0 13 0,13-13 0,-13 13 16,0 0-16,0-14 0,0 14 16,13 0-16,-13-13 0,0 13 0,13 0 15,-13-14-15,0 14 0,0 0 16,0 0-16,0-13 0,0 66 15,0-67-15,0 14 0,0-13 16,0 13-16,0 0 0,0-14 0,0 1 16,0 13-16,0-13 0,0 13 0,0-14 15,14 1-15,-14 0 0,0-1 0,0 14 16,0-13-16,0 0 0,0-1 16,0 1-16,0 0 0,0 13 0,0-14 15,0 1-15,0 0 0,0-1 0,13 1 16,-13 13-16,0-13 0,13 39 15,0-39-15,-13 13 0,14-14 16,-14 1-16,13 0 0,-13 13 0,13-14 16,-13 1-16,13 0 0,-13 13 0,14-14 15,-14 1-15,13 13 16,-13-13-16,0 13 0,0-14 0,13 14 16,-13-13-16,0 52 0,13-39 15,-13-13-15,0 13 0,0 0 16,0 0-16,0-14 0,0 28 0,13-15 15,-13 1-15,0 14 0,0-15 16,0-12-16,0 26 0,0-13 0,-13 13 16,13 1-16,0-15 0,-13 54 15,13-40-15,0-13 0,-13 13 16,13 1-16,0-1 0,-13-13 0,13 79 16,0-66-16,-14-13 0,14 13 15,0-13-15,0 0 0,0 13 16,0-13-16,0 13 0,0 0 0,0-26 15,0 13-15,0 0 0,0 13 0,0-13 16,-13 0-16,13 13 0,0-13 16,0-13-16,-13 13 0,13-1 0,0 15 15,-13 25-15,13-39 0,-14 0 16,14 13-16,-13-26 0,13 13 0,0-14 16,-13 14-16,13 0 0,0-13 15,-13 13-15,13-13 0,0 13 16,0-1-16,0-12 0,0 13 0,13-13 0,-13 13 15,0-14-15,0 14 0,13 0 16,-13-13-16,0 0 0,0 12 16,13-12-16,-13 0 0,0 0 0,0-1 15,14 1-15,-14 0 0,0-1 0,0 1 16,0-14-16,13 14 0,-13 0 16,0-1-16,0 1 0,0-13 0,0 52 15,0-39-15,0-1 0,0-12 16,0-1-16,0 14 0,13-14 0,-13 41 15,0-41-15,0 14 16,0-14-16,0 1 0,0-1 0,0 1 16,0-1-16,0 0 0,0-12 15,0 12-15,0 1 0,0-1 0,0 1 16,0-1-16,0 0 0,-13 1 16,13 13-16,0-1 0,-13-12 0,13-1 15,0 1-15,0 26 0,-14-27 16,14 0-16,0 1 0,0-1 0,-13 1 15,13-14-15,0 14 0,0-1 16,0-13-16,-13 14 0,13-14 16,0 0-16,0 14 0,0-14 0,0 13 15,0-12-15,0-1 0,0 13 0,-13 14 16,13-27-16,0 27 16,0-27-16,0 0 0,0 1 15,0-1-15,0 0 0,0 0 0,0 0 16,0 1-16,0 12 0,0-13 15,0 1-15,-14-1 0,14 0 16,0 0-16,0 1 16,0-1-16,0 0 15,0 0 1,-13 0 15,0-13-31,0 0 16,0 0-16,-1 14 0,-12-14 15,13 0-15,-14 0 0,1-14 16,-27 14-16,13 0 0,0-13 0,-26 0 16</inkml:trace>
  <inkml:trace contextRef="#ctx0" brushRef="#br0" timeOffset="97710.89">19976 5080 0,'0'0'16,"-13"13"0,13 0-16,0 1 15,0-1-15,0 13 0,0-12 16,13 12-16,-13-13 0,0 14 0,0-14 15,0 13-15,0-12 0,0 12 16,0-13-16,0 1 0,13-1 0,-13 0 16,0 0-16,0 1 0,0-1 15,13 0-15,-13 0 16,14-13-16,-14 13 0</inkml:trace>
  <inkml:trace contextRef="#ctx0" brushRef="#br0" timeOffset="98219.93">19804 5847 0,'40'-26'16,"-27"26"-16,0 0 15,0 0-15,14 0 0,-14 0 0,0 0 16,1 0-16,-1 13 0,-13 0 0,13 1 16,-13-1-16,0 0 0,0 13 15,0 1-15,-13-1 0,-14 14 16,14-14-16,-13 1 0,12 13 0,-12-14 16,13-13-16,0 14 0,-1-27 0,14 13 15,-13 0-15,13 0 0,-13 1 16,26-1-1,0-13-15,1 0 16,-1 0-16,13 0 0,-13-13 16,14 13-16,-14 0 0,14-14 0,-1 14 15,-13-13-15,0 13 0,14 0 16,-14 0-16,0 0 0,1 0 0</inkml:trace>
  <inkml:trace contextRef="#ctx0" brushRef="#br0" timeOffset="98765.95">19778 6720 0,'26'0'16,"27"0"-1,-53 14-15,13-14 16,-13 13-16,0 0 0,-13 0 16,13 1-16,0-1 15,-13 0-15,13 0 0,0 0 16,0 1-16,0-1 0,13-13 0,-13 26 15,13-26-15,-13 27 0,13-14 16,1 0-16,-14 1 0,13-14 0,-13 13 16,13 0-16,-13 0 0,0 0 15,0 1-15,0-1 0,-13-13 16,13 13-16,-13 0 0,-1-13 0,1 14 16,0-1-16,0-13 0,0 13 0,-1-13 15,1 13-15,0-13 0,0 14 16,-1-14-16,14 13 0,-13-13 15,0 13-15</inkml:trace>
  <inkml:trace contextRef="#ctx0" brushRef="#br0" timeOffset="99236.21">19897 7766 0,'-14'26'32,"1"-26"-32,-13 13 15,13 0-15,-1 14 0,-12-14 0,-1 14 16,14-14-16,0 0 0,0 0 0,-1 1 16,1-1-16,0 0 0,0 0 15,13 0-15,0 1 16,0-1-16,13 0 15,0-13-15,0 0 16,1 0-16,-1 0 0,13 0 0,-12 0 16,-1 0-16,13 0 0,-12 0 0,12-13 15,-13 13-15,0-13 0,1 13 16,-1 0-16,0-14 0,0 14 0,-13-13 16,14 0-16,-14 0 0,0 0 15</inkml:trace>
  <inkml:trace contextRef="#ctx0" brushRef="#br0" timeOffset="99421.49">19923 7792 0,'-13'-13'0,"-14"13"16,27 13-1,-13 0-15,13 0 16,0 1-16,0-1 0,0 0 0,-13 14 16,13-1-16,0-13 0,0 14 15,0-1-15,0 1 0,0-1 0,0 1 16,0-1-16,0 0 0,13 1 0,-13-1 15,0 1-15,0-14 0,13 0 16,-13 14-16,0-14 0,0 0 0,14 0 16</inkml:trace>
  <inkml:trace contextRef="#ctx0" brushRef="#br0" timeOffset="99972.97">19725 8996 0,'0'0'0,"26"-13"16,-13-1-16,1 14 0,-14-13 0,13 13 16,0-13-16,-39 26 31,-1 0-31,14 1 15,0-14-15,-1 13 0,1 0 16,0 0-16,0-13 0,0 14 0,13-1 16,-14-13-16,14 13 0,0 0 15,14 0-15,-14 1 16,13-14-16,-13 13 0,13 0 16,0-13-16,0 13 0,1-13 0,-1 14 15,0-14-15,0 0 0,-13 13 0,14-13 16,-14 13-16,13-13 0,-13 13 15,-13 1-15,13-1 16,-14 0-16,1 0 16,0 0-16,0 1 0,-1-1 15,-12 13-15,13-12 0,0 12 16,-14 14-16,14-14 0,-14 1 16,14-1-16</inkml:trace>
  <inkml:trace contextRef="#ctx0" brushRef="#br0" timeOffset="100393.63">19659 9829 0,'-14'27'15,"14"-14"-15,0 0 0,0 14 0,0-14 16,0 0-16,0 14 0,0-14 16,14 13-16,-14 1 0,13-14 0,0 13 15,0-12-15,0-1 0,1 0 0,-1 0 16,0-13-16,0 14 0,1-14 0,-1 0 15,0 0 1,0 0-16,-13-14 0,14 14 0,-1 0 16,-13-13-16,0 0 15,-13 13 1,-1 0 0,1 0-16,0 13 0,-14 0 15,14 1-15,0-14 0,-27 26 16,27-13-16,0 0 0,0 1 15,-1-1-15</inkml:trace>
  <inkml:trace contextRef="#ctx0" brushRef="#br0" timeOffset="102169.42">21233 5014 0,'26'-13'31,"-13"-1"-31,1 14 0,12 0 15,-13 0-15,1-13 0,-1 13 0,13 0 16,-12-13-16,-1 13 0,0 0 16,-39 13 15,12 0-31,-12-13 0,-1 14 0,1-1 16,-1 0-16,1 0 0,0 1 15,-1-1-15,1 0 0,12-13 16,14 13-16,-13-13 0,13 13 0,-13-13 15,26 14-15,0-14 16,1 13-16,-1-13 0,0 13 16,0-13-16,1 13 0,-1-13 0,0 14 15,0-14-15,0 13 0,1-13 16,-14 13-16,13-13 0,-13 13 0,0 1 16,0-1-1,-13-13-15,-1 13 0,1 0 0,0 0 16,-13 1-16,12-1 0,-12-13 0,-1 13 15,14 0-15,-13 1 0,13-1 16,-1-13-16,1 13 0,-13-13 0,12 13 16</inkml:trace>
  <inkml:trace contextRef="#ctx0" brushRef="#br0" timeOffset="103582.11">21153 5781 0,'0'0'0,"14"-13"15,-1 13 1,13-13-16,-12 13 16,-1 0-16,0 0 0,0 0 15,14 0-15,-14 0 0,0 0 16,0 0-16,1 0 0,-1 13 16,-13 0-16,13-13 0,-13 13 15,0 1-15,0-1 0,0 0 0,0 14 16,0-14-16,13 13 0,-13-13 0,0 14 15,0-14-15,0 0 0,0 1 16,0 25-16,0-26 0,0 1 16,0-1-16,0 0 0,0 0 0,14 1 15,-14-1 1</inkml:trace>
  <inkml:trace contextRef="#ctx0" brushRef="#br0" timeOffset="103762">21167 6059 0,'39'-27'15,"-25"27"-15,12 0 16,0-13-16,1 13 0,-1 0 0,1-13 16,13 13-16,-14 0 0,0-13 15,1 13-15,-1 0 0,-12 0 0,-1 0 16,13 0-16,-12 0 0,-1 0 15</inkml:trace>
  <inkml:trace contextRef="#ctx0" brushRef="#br0" timeOffset="104869.71">21220 6668 0,'0'13'31,"-14"0"-31,14 0 0,0 14 16,0-14-16,0 13 0,-13 1 15,13-1-15,0 1 0,0-1 0,-13 1 16,13-1-16,0-13 0,0 14 16,0-14-16,-13 0 0,13 0 15,13 1-15,-13-1 0,0 0 0</inkml:trace>
  <inkml:trace contextRef="#ctx0" brushRef="#br0" timeOffset="105167.12">21378 6800 0,'0'-13'16,"-13"39"0,26-13-1,-13 0-15,0 1 0,0-1 16,14 0-16,-1 0 0,0 1 0,0-14 15,0 13-15,1-13 0,-1 13 0,0-13 16,0 0-16,1 0 0,12-13 16,-13 13-16,-13-13 0,14-1 0,-1 14 15,-13-13-15,13 0 0,-13 0 16,0-1-16,-13 1 0,0 0 16,-1 0-16,-12 13 0,13-13 15,-1 13-15,-12 0 0,13-14 0,-14 14 16,14 14-16,-13-14 0,12 0 0,-12 13 15,13-13-15,-1 13 0,-12-13 16,13 13-16,-1-13 0,1 13 0</inkml:trace>
  <inkml:trace contextRef="#ctx0" brushRef="#br0" timeOffset="106245.48">21325 7739 0,'0'-13'31,"14"26"-15,-14 0-16,0 1 16,0 12-16,0-13 0,0 27 15,0-27-15,0 14 0,-14-14 0,14 13 16,0-12-16,0-1 0,0 0 0,-13 0 16,13 0-16,0 1 0,0-1 15</inkml:trace>
  <inkml:trace contextRef="#ctx0" brushRef="#br0" timeOffset="106441.86">21524 7699 0,'0'-13'0,"13"13"0,-13 27 31,0-14-31,0 0 0,0 0 0,-13 1 0,13 12 16,0 0-16,0-12 0,-13 12 15,13 1-15,0-14 0,0 13 16,0-12-16,0 12 0,0-13 0,0 0 16,0 1-16,0-1 0,0 13 15,13-26-15,-13 14 0</inkml:trace>
  <inkml:trace contextRef="#ctx0" brushRef="#br0" timeOffset="113749.49">21325 8903 0,'0'-26'0,"0"52"0,14-52 0,-14 13 15,13 13-15,0 0 16,-13-14-16,13 28 0,1-14 16,-14 13-16,0 0 15,-14 0-15,1 14 16,13-14-16,-13-13 0,13 13 0,-13 0 16,13 1-16,0-1 15,0 0-15,13 0 0,0 1 16,0-1-16,1 0 15,-1-13-15,-13 13 0,13-13 16,-13 13-16,13-13 0,-13 14 0,-13-1 31,13 0-31,-13 0 0,0-13 16,-14 14-16,14-1 0,-14-13 0,1 13 0,13 0 16,-14-13-16,1 27 0,-1-27 15,14 13 1,0 0-16</inkml:trace>
  <inkml:trace contextRef="#ctx0" brushRef="#br0" timeOffset="114939.23">21444 9723 0,'-13'0'0,"-66"40"32,66-27-32,-14 14 0,1-14 15,-1 13-15,-39 14 16,53-27-16,-14 14 0,14-14 0,-13 0 15,13 1-15,-1-1 0,1 0 16,0-13-16,0 13 0,13 0 0,-14-13 16,14 14-16,0-1 0,0 0 15,14-13-15,-1 13 16,0-13-16,0 0 0,1 0 16,12 14-16,-13-14 0,14 0 0,-1 0 15,1 0-15,-14 0 0,13 0 0,1-14 16,-1 14-16,-13 0 0,14 0 15,-1-13-15,-12 13 0,-1-13 0,0 13 16,0-13-16,14-1 0,-14 1 16,0 0-16</inkml:trace>
  <inkml:trace contextRef="#ctx0" brushRef="#br0" timeOffset="115138.54">21458 9723 0,'0'0'0,"-14"-13"0,1 26 15,13 1 1,0-1-16,-13 0 0,13 14 16,0-1-16,-13 0 0,13 14 0,0 26 15,-13-26-15,13 0 0,0 26 16,0-40-16,0 14 0,0-14 16,0 1-16,0-1 0,0 1 15,0-1-15,0 1 0,0-14 0,0 13 16,0-12-16,0-1 0,0 0 15</inkml:trace>
  <inkml:trace contextRef="#ctx0" brushRef="#br0" timeOffset="117182.51">22066 4683 0,'27'-13'16,"-14"13"-16,0 0 0,0 0 16,1 0-16,12 0 0,1 13 0,-14-13 15,13 0-15,1 13 0,-1 1 0,1-1 16,12 0-16,-12 13 0,-1-12 16,1 12-16,-1 14 0,1-14 0,-14 27 15,13 0-15,-13 0 0,1 13 0,-1 0 16,-13 1-16,0 12 0,0 14 15,0-14-15,-13 40 0,13-13 0,-14 0 16,14 13-16,0-27 0,0 14 0,0 13 16,0-13-16,0 13 0,14-13 0,-1 13 15,0 0-15,0 13 16,1-13-16,-1 14 0,0-14 0,0 13 16,1 0-16,-1 1 0,0-14 0,-13 13 15,13 0-15,-13-13 0,0-13 16,13 13-16,-13-26 0,0-1 0,0-12 15,-13 12-15,13 80 0,0-92 16,0 12-16,0-12 0,0-1 0,0-13 16,0 14-16,0-14 15,0 0-15,13 0 0,-13 0 0,14-13 16,-14 0-16,0-13 0,13 13 0,-13-14 16,13-12-16,-13 12 0,0-25 0,0 12 15,0-13-15,13 1 0,-13-1 16,0 0-16,0 0 15,-13 1-15,0-28 16,0 14-16,-14-13 0,1 0 16,-14-14-16,0 1 0,-13-14 0</inkml:trace>
  <inkml:trace contextRef="#ctx0" brushRef="#br0" timeOffset="118109.54">19883 4710 0,'-13'-14'0,"-26"1"16,-1 13 0,13 13-16,1-13 0,-1 0 15,-12 0-15,-1 14 0,0-1 0,1-13 16,-1 13-16,0 0 16,14 0-16,-53 14 0,39-1 15,13-12-15,1-1 0,-1 13 0,1 1 16,13-1-16,-14 1 0,14-1 15,0 14-15,0 0 0,-1-1 0,1 1 16,0 0-16,13-1 0,-13 14 16,13 13-16,0-13 0,-14 13 0,14 1 15,-13-1-15,13 13 0,0-13 0,-13 14 16,13 12-16,-13-12 0,0 144 16,-1-118-16,14 0 0,-13 13 0,13-26 15,0 13-15,13 13 0,-13 0 16,0 0-16,14 0 0,-1-13 0,-13 13 15,13 0-15,0-13 0,0 0 0,-13 13 16,14-14-16,-1 1 0,-13-26 16,13 25-16,-13-12 0,13-14 15,1 27-15,-14-13 0,13 13 0,0-27 16,-13 14-16,13-14 0,-13 27 0,14-13 16,-14-1-16,0-13 0,0 14 15,-14 0-15,14-14 0,0 14 0,-13-14 16,13 0-16,0 1 0,-13-1 0,13-13 15,0 14-15,0-14 0,0 0 16,13 0-16,-13 0 0,13-13 0,-13 0 16,14 0-16,-1-13 0,13-1 15,-13 1-15,14-13 0,-1-14 0,14 13 16,0-13-16,13 1 0,0-14 16,-1 13-16,1-13 0,14 0 0,38-13 15</inkml:trace>
</inkml:ink>
</file>

<file path=ppt/ink/ink27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2:53:46.608"/>
    </inkml:context>
    <inkml:brush xml:id="br0">
      <inkml:brushProperty name="width" value="0.05292" units="cm"/>
      <inkml:brushProperty name="height" value="0.05292" units="cm"/>
      <inkml:brushProperty name="color" value="#0070C0"/>
    </inkml:brush>
  </inkml:definitions>
  <inkml:trace contextRef="#ctx0" brushRef="#br0">4630 3664 0,'-79'0'0,"52"0"31,14 0-31,0 0 0,39 14 31,1-14-31,-1 0 0,1 0 16,26-14-16,-14 14 0,14 0 16,0 0-16,0-13 0,0 13 15,40-13-15,-40 13 0,-14 0 16,-12 0-16,-1 0 0,1 0 15,-1 0-15,-13 0 0,1 0 0,-1 0 16,-40 26 0</inkml:trace>
  <inkml:trace contextRef="#ctx0" brushRef="#br0" timeOffset="251.41">4498 3836 0,'-106'14'31,"133"-28"-15,-1 14-16,40-13 16,-26 0-16,13 13 0,-14-13 15,14 13-15,-13-13 0,13 13 0,-13-14 16,-1 14-16,14-13 0,-26 13 16,-1 0-16,1-13 0,-1 13 0,-13 0 15,1 0-15,-1 0 0,0 0 0,-13-13 16,13 13-16</inkml:trace>
  <inkml:trace contextRef="#ctx0" brushRef="#br0" timeOffset="891.27">9062 4128 0,'106'26'15,"-40"-26"1,13 13-16,1 0 0,12-13 16,41 14-16,-1-1 0,0 0 0,14 0 15,12 1-15,1-1 0,13 0 0,0 13 16,13-12-16,14-1 0,52 13 15,-52-12-15,65 12 0,-12 1 16,12-14-16,-13 13 0,1 1 0,-54-14 16,54 27-16,184-1 0,-184-12 0,-67-1 15,0 1-15,13-1 16,-12 1-16,-1-1 0,-13 0 0,0-12 16,-13 12-16,-14 1 0,-26-14 0,0 13 15,-26-12-15,-27-1 0,0 0 0,-26-13 16,-1 13-16,-12 0 0,-1-13 15,-12 0-15,-1 0 0,0 0 16,-39-13 0</inkml:trace>
  <inkml:trace contextRef="#ctx0" brushRef="#br0" timeOffset="1274.99">15703 4577 0,'0'0'15,"26"14"1,-12-14-16,12 13 0,1-13 15,-1 13-15,14 13 0,-1-12 16,1-1-16,0 13 0,0-12 0,-1-1 16,1 13-16,0-13 0,-1 1 0,-12-1 15,12 13-15,-12-12 0,13 12 16,-27-13-16,0-13 0,0 14 16,0-1-16,-13 0 0,0 0 0,0 14 15,0-14-15,-13 27 0,-13-14 16,-1 14-16,-12-1 0,-14 1 0,13 13 15,-13-13-15,-13-1 0,0 14 0,13 0 16,-13-13-16,13 0 0,0-1 16,0 1-16,0-14 0,13 14 15,-12-13-15,-28 26 0,54-40 16</inkml:trace>
  <inkml:trace contextRef="#ctx0" brushRef="#br0" timeOffset="2014.95">4326 4749 0,'0'0'0,"0"27"31,0-14-31,0 13 0,0-12 0,0 12 15,0 1-15,0 12 0,0 1 16,0-14-16,0 14 0,0-13 0,0-1 16,0 0-16,0 1 0,0-14 0,0 0 15,0 1-15</inkml:trace>
  <inkml:trace contextRef="#ctx0" brushRef="#br0" timeOffset="2247.14">4564 4683 0,'0'0'0,"13"27"31,-13-14-31,0 13 0,0 1 0,14-1 16,-14 14-16,0 0 0,0-1 0,0 1 15,0 0-15,13-1 0,-13 14 16,0-26-16,0-1 15,0 14-15,13-27 0,-13 0 0,0 1 16,0-1-16,0 0 16</inkml:trace>
  <inkml:trace contextRef="#ctx0" brushRef="#br0" timeOffset="2460.71">4286 5040 0,'-13'0'0,"26"14"47,0-1-47,14 0 0,-14-13 16,14 13-16,-1 0 0,1-13 0,-1 14 15,14-14-15,-1 0 0,1 13 16,-13-13-16,12 0 0,-12 0 0</inkml:trace>
  <inkml:trace contextRef="#ctx0" brushRef="#br0" timeOffset="3092.02">5411 4987 0,'26'14'47,"-13"-14"-47,14 13 0,-1-13 0,67 26 15,-40-26-15,26 14 16,-13-1-16,27 0 0,-14 0 0,146 14 15,-106-14-15,0 13 0,0-12 16,1-1-16,12 0 0,13 0 16,-12 14-16,-1-14 0,0 0 15,14 0-15,-1 1 0,1-1 0,13 0 16,-1 0-16,14 1 0,0-1 0,13 0 16,1 0-16,184 14 0,-172-14 15,-12-13-15,-1 13 0,13 0 16,-12 1-16,-1-1 0,0 0 0,0-13 15,-26 13-15,13 1 0,-13-1 16,-14 0-16,1 0 0,-14-13 0,-13 13 16,-26 1-16,-14-14 0,53 13 15,-92 0-15,0-13 0,13 13 16,-40-13-16,13 0 0,-12 0 16,-1 0-16,0 0 15,-13-13-15,13 13 16,-26-13 15,0 0-31,0 13 16,-1-14-1,1 14 17,0 0-17</inkml:trace>
  <inkml:trace contextRef="#ctx0" brushRef="#br0" timeOffset="3479.32">12065 5345 0,'26'13'32,"-12"0"-32,-1-13 15,13 13-15,-12 1 0,-1-14 16,13 13-16,14 13 0,-27-13 15,14-13-15,-14 14 0,0-1 16,0 0-16,1 0 0,-1 1 0,-13-1 16,13 0-16,-13 0 0,0 14 15,-13-14-15,13 13 0,-13-12 0,-14 12 16,1 1-16,-1-1 0,1-13 16,-14 14-16,0-1 0,-26 1 15,40-1-15,-1-13 0,-12 14 16,25-14-16,1-13 0,0 13 15</inkml:trace>
  <inkml:trace contextRef="#ctx0" brushRef="#br0" timeOffset="8103.97">4207 6548 0,'-13'27'32,"13"-14"-32,0 0 15,0 14-15,-14-1 0,1 1 0,13 12 16,-13 1-16,0-13 0,0 12 16,13-12-16,-14-1 0,1-13 0,13 14 15,-13-1-15,13-12 0,-13-1 16,13 0-16,-14 0 0,14 0 0,0 1 15</inkml:trace>
  <inkml:trace contextRef="#ctx0" brushRef="#br0" timeOffset="8406.31">4352 6773 0,'-66'40'31,"53"-27"-31,0 0 0,-14 1 0,14 12 16,0-13-16,0 1 0,13-1 0,-14 0 15,1-13-15,13 13 0,-13 1 16,13-1-16,0 0 16,0 0-16,13-13 15,-13 13-15,13-13 0,1 0 0,-1 14 16,0-14-16,0 0 0,1 0 15,-14 13-15,13-13 0,0 0 0,0 0 16,0 0-16,1 0 16,-1 0-16,0 0 15,-13 13-15,13-26 16</inkml:trace>
  <inkml:trace contextRef="#ctx0" brushRef="#br0" timeOffset="9048.23">4882 6866 0,'26'0'32,"0"0"-32,-12 0 0,12 0 15,-13 0-15,27 0 0,-13 13 16,25-13-16,1 0 0,-13 0 0,13 13 0,-13-13 16,13 0-16,-14 0 0,1 14 15,-14-14-15,14 0 0,-13 0 16,-1 0-16,0 13 0,-12-13 0,12 0 15,-13 0-15,14 0 0,-14 0 0,0 0 16,1 0-16,-1 0 16,0 0-16,0 0 0,-13-13 15,0-1 1</inkml:trace>
  <inkml:trace contextRef="#ctx0" brushRef="#br0" timeOffset="9299.21">5583 6694 0,'53'26'16,"-40"-26"-1,0 14-15,0-1 16,1 0-16,12 0 0,-13 1 0,27 12 15,-27 0-15,0 1 0,14-1 16,-27-12-16,13 12 0,-13-13 16,-13 1-16,13 12 0,-13-13 15,-1 27-15,-12-14 0,13-12 0,-14 12 16,1 1-16,-1-14 0,14 0 0,-13 0 16,-1 0-16</inkml:trace>
  <inkml:trace contextRef="#ctx0" brushRef="#br0" timeOffset="12356.95">4048 7038 0,'0'0'16,"-13"26"-16,0-12 0,-1-1 0,14 0 0,-13 0 15,0 14-15,13-14 0,-13 13 16</inkml:trace>
  <inkml:trace contextRef="#ctx0" brushRef="#br0" timeOffset="14980.3">4008 8004 0,'-13'0'0,"0"13"32,13 0-32,-13 14 0,13-14 15,0 13-15,-13 1 0,13 26 16,-14-40-16,14 13 0,0 1 15,0-1-15,-13 1 0,13-14 0,0 13 16,0-12-16,0 12 0,0-13 16,0 1-16,-13-1 0,13 0 0,0 0 15,0 0-15,0 1 16,0-1 0,0 0-16,-13 0 31,-1-26 156,14 0-171,0 0-16,0-1 16,0 1-16,14-13 15,-14 13-15,0-1 0,13-12 0,-13-1 16,0 1-16,13-1 0,0 1 0,1-14 15,-1 27-15,0-13 0,0 12 16,0 1-16,14-13 16,-14 12-16,0 1 0,1 13 15,-1 0-15,0 0 0,-13 13 16,0 1 0,0-1-16,0 0 0,0 0 0,0 1 15,0-1-15,-13-13 0,13 13 0,0 0 16,0 1-16,0-1 0,13-13 15,-13 13-15,0 0 0,13 0 0,-13 1 16,14-1-16,-14 0 0,13 0 0,0 1 16,-13-1-16,13 0 0,-13 0 15,13 1-15,-13-1 0,0 0 16,-13 0-16,13 0 0,0 1 0,-13-1 16,0 0-16,0-13 0,-1 13 15,1 1-15,0-1 0,0-13 16,-1 13-16,1-13 0,0 0 0,0 0 15,-1 0-15,1 0 16</inkml:trace>
  <inkml:trace contextRef="#ctx0" brushRef="#br0" timeOffset="15404.18">4379 8480 0,'-13'-27'15,"13"14"-15,0 0 16,0 0-16,0 0 0,13-1 16,-13 1-16,0-13 0,0 12 0,13 1 15,-13 0-15,0 0 0,13-1 16,1 14-1,-1 14 1,-13-1-16,13 0 16,-13 0-16,13 1 0,-13-1 0,13 0 15,1-13-15,-1 13 16,0-13-16,0 0 16,1 0-16,-1-13 0,0 13 15,14 0-15,-14 0 16,0 0-1,0 13-15,0-13 0,1 14 16,-1-14-16,0 0 0,-13 13 16,13-13-16,1 0 0,12 13 15,-13-13-15,0 0 0,1 0 0,-1 0 16</inkml:trace>
  <inkml:trace contextRef="#ctx0" brushRef="#br0" timeOffset="15639.22">5292 8255 0,'13'-13'15,"13"13"-15,-12 0 0,-1-13 16,13 13-16,-12 0 0,12-14 0,0 14 15,-12 0-15,12 0 16,1-13-16,-1 13 0,-13 0 0,14-13 16,-14 13-16,13 0 0,-12-13 0,12 13 15,-13-14-15</inkml:trace>
  <inkml:trace contextRef="#ctx0" brushRef="#br0" timeOffset="15860.1">5702 8017 0,'-13'13'16,"13"0"-16,0 1 0,13-1 16,13 53-1,-13-40 1,1-12-16,-14-1 0,13 13 0,-13-12 16,0-1-16,0 0 0,0 0 0,0 0 15,0 1-15,-13-1 0,-1 13 16,14-12-16,-13-1 0,-13 13 15,13-12-15,-1-1 0,1 0 0,0-13 16</inkml:trace>
  <inkml:trace contextRef="#ctx0" brushRef="#br0" timeOffset="21590.06">3889 2117 0,'0'39'109,"0"27"-93,0 1-16,0-1 15,0 26-15,0-39 16,0 40-16,0-27 16,0 40-16,0-40 15,0-13-15,0-13 16,0-27-16,-13 13 15,13-12-15,0-1 16,0 0-16,0 0 16,0 0 15,27-13 141,39 0-157,40 0-15,-14 0 16,27 0-16,40 14 16,-13-14-16,39 13 15,-40-13-15,-12 0 16,12 0-16,-39 0 16,13 0-16,66 0 15,-66 13-15,40-13 16,-53 0-16,-14 13 15,1-13-15,-14 14 16,40-14-16,-39 0 16,52 26-1,-105-13-15,65 1 16,-12-14-16,-28 0 16,-12 13-16,-27-13 15,1 0-15,12 0 0,-13 0 16,1 0 15</inkml:trace>
</inkml:ink>
</file>

<file path=ppt/ink/ink27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2:54:21.907"/>
    </inkml:context>
    <inkml:brush xml:id="br0">
      <inkml:brushProperty name="width" value="0.05292" units="cm"/>
      <inkml:brushProperty name="height" value="0.05292" units="cm"/>
      <inkml:brushProperty name="color" value="#0070C0"/>
    </inkml:brush>
  </inkml:definitions>
  <inkml:trace contextRef="#ctx0" brushRef="#br0">8797 2884 0,'27'0'140,"39"0"-140,13 0 16,80 0-16,40 0 16,277 0-16,-13 0 15,159-26-15,26-1 16,212 1-16,-133-27 15,-78 39 1,-67-12-16,-66-27 16,66 27-16,-225 12 15,-13-12-15,-133 26 16,-39-13-16,106 13 16,-93 0-16,-39 0 15,13-14-15,-27 14 0,66 0 16,-78-13-16,-28 13 15,-52 0 1,0-13-16,-27 13 16,0 0 140,13 0-156,-12-40 16,-14 1-1,0-14-15,0-13 16,0-40-16,0 0 15,-14 27-15,-12-1 16,-14-12-16,14 39 0,-1 0 16,14 26-16,13 14 31,-13 13 47,-27 0-62,-66 0-16,-92 0 15,13 0-15,-93 0 16,66 0-16,-185 13 16,-251-13-1,106 0-15,-1 0 0,-25-13 16,65 13-16,-159-26 15,199 26-15,106 0 16,26 0-16,40-27 16,-39 27-1,78 0-15,67 0 16,0 27-16,53-27 0,-67 26 16,1-26-1,79 13-15,-14-13 16,14 0-16,27 0 15,-14 0-15,40 0 16,-40 0-16,-26 0 16,26 0-16,26 0 15,-25 0-15,12 0 16,14 0-16,39 0 16,27 0-16,13 13 156,0 1-156,-14-1 15,1 27-15,0 26 16,0 13-16,13 53 0,0-13 16,0-39-1,0-1-15,0 14 16,0-27-16,0 27 16,0-14-16,0-26 15,0-40-15,0 0 16,0 1 203</inkml:trace>
  <inkml:trace contextRef="#ctx0" brushRef="#br0" timeOffset="1735.77">2977 6535 0,'-106'40'0,"53"-14"31,40-12-31,-1-1 0,14 0 16,0 0-16,14 1 15,-1-1-15,0 0 0,27 13 16,-14-12-16,1-1 0,-1 0 16,-13 0-16,14 1 0,-1-1 0,-13 0 15,1-13-15,-1 13 0,0 0 16,0-13-16,1 14 0,-14-1 0,0 0 16,0 0-16,-14 1 15,-12-1-15,13 0 0,-27 0 16,14 1-16,-14-1 0,0 0 15,14 0-15,-27 0 0,26-13 16,14 0-16,-13 0 0,12 0 0,1 0 16,0 0-16,26-13 31,0 0-31</inkml:trace>
  <inkml:trace contextRef="#ctx0" brushRef="#br0" timeOffset="2040.94">3321 6628 0,'-67'0'31,"54"0"-31,13 13 16,-13 0-16,13 1 0,0-1 15,0 0-15,0 0 0,13 0 0,-13 14 16,13-14-16,-13 0 0,14 1 0,-1-1 15,-13 0-15,13 0 0,-13 0 16,13 1-16,-13-1 0,0 0 16,0 0-16,0 1 0,0-1 0,-13-13 0,13 13 15,-13 0-15,0 1 0,13-1 16,-27 0-16,14-13 0,0 13 16,-1 0-16,1-13 0,0 0 0,0 14 15,0-14-15,-1 0 0,14 13 0,-13-13 16</inkml:trace>
  <inkml:trace contextRef="#ctx0" brushRef="#br0" timeOffset="2291.73">3625 6773 0,'13'0'0,"0"-13"31,0 13-31,1 0 0,12 0 16,-13 0-16,1 0 0,12 0 15,-13-13-15,1 13 0,-1 0 0,0 0 0,0 0 16,0 13-1</inkml:trace>
  <inkml:trace contextRef="#ctx0" brushRef="#br0" timeOffset="2491.79">3585 6919 0,'27'0'47,"-14"0"-32,0-13-15,13 13 0,-12 0 0,-1 0 16,0-14-16,0 14 16,1 0-16,-1 0 0,0-13 0,0 13 15,1 0-15,-1 0 0,0 0 16,0 0-16,0 0 16</inkml:trace>
  <inkml:trace contextRef="#ctx0" brushRef="#br0" timeOffset="3388.82">5040 6337 0,'-13'-13'0,"0"13"16,13-14-16,-13 14 0,-1-13 15,1 13-15,0 0 16,0 0-16,-1-13 0,1 13 15,13 13-15,-13 0 16,13 1-16,0-1 16,0 0-16,0 0 0,0 0 0,0 14 15,0-14-15,0 0 0,0 14 0,0-14 16,0 14-16,-13-14 16,13 13-16,0-13 0,-13 14 0,-1-14 0,1 27 15,0-27-15,13 0 16,-13 1-16,13-1 0,-14-13 15,41-13 17,-14-1-32,0 14 15,1 14-15,-1-14 0,0 13 16,0 13 0,0-13-16,-13 14 0,0-1 0,0 1 15,0-1-15,0 14 0,-13 0 0,13-1 16,0-12-16,-13-1 0,13 1 0,0-14 15,0 13-15,0-12 0,13 25 16,-13-25-16,0-1 0,13 0 16,-13 0-16,14-13 0,-1 13 0,0-13 15,0 0-15,1 14 0,-1-14 16,0 0-16,0 0 0,1 0 0,-1 0 16,13-14-16,-13 14 0,1 0 0,-1 0 15,0 0-15</inkml:trace>
  <inkml:trace contextRef="#ctx0" brushRef="#br0" timeOffset="4523.02">2765 8559 0,'-40'13'32,"27"-13"-17,0 0-15,0 14 0,-1-14 0,1 0 16,0 13-16,-27 13 31,40-12-31,0-1 16,0 0-16,13-13 0,1 13 15,-1 1-15,0-1 16,0-13-16,1 13 0,-14 0 0,13-13 16,0 13-16,0-13 0,-13 14 0,13-14 15,-13 13-15,14-13 16,-28 13-16,14 0 15,-13-13-15,0 14 0,0-14 16,0 13-16,-1-13 0,-12 13 0,13-13 0,-1 13 16,-12-13-16,13 0 0,-1 14 15,1-14-15,0 0 0,0 13 16,0-13-16,39-13 31,-13-1-15,0 14-16</inkml:trace>
  <inkml:trace contextRef="#ctx0" brushRef="#br0" timeOffset="4851.81">2871 8625 0,'-13'0'0,"26"0"0,-40 0 15,14 0-15,0 14 0,0-14 16,13 13-1,0 0-15,13 0 16,-13 1-16,13-1 0,0 0 16,-13 0-16,14-13 15,-1 13-15,0 1 0,-13-1 16,13-13-16,-13 13 0,13-13 0,-13 13 16,0 1-16,0-1 15,-13 0-15,0 0 16,0-13-16,13 14 0,-13-14 15,-1 13-15,-12 0 0,13-13 0,-1 13 16,1-13-16,-13 0 16,12 0-1</inkml:trace>
  <inkml:trace contextRef="#ctx0" brushRef="#br0" timeOffset="5952.91">847 6945 0,'0'0'16,"0"27"0,0-14-1,13 0-15,-13 0 0,0 14 0,0-14 16,0 0-16,13 1 0,-13-1 0,0 0 15,0 0-15,0 1 0,0-1 16,13 0-16,-13 0 0,0 0 16,0 1-16</inkml:trace>
  <inkml:trace contextRef="#ctx0" brushRef="#br0" timeOffset="6240.84">794 6879 0,'13'-13'0,"-26"26"0,39-39 15,-13 26-15,1 0 0,-1 0 16,13 0-16,-12 13 0,12-13 16,0 13-16,1 0 0,-1 14 0,1-1 15,-14-12-15,0 12 16,-13-13-16,14 0 0,-14 14 0,0-14 15,0 0-15,-14 14 0,14-14 16,-13 27-16,0-14 0,0-13 16,-1 1-16,1-1 0,0 0 0,13 0 15,-13-13-15,-1 14 0</inkml:trace>
  <inkml:trace contextRef="#ctx0" brushRef="#br0" timeOffset="6423.82">1191 6959 0,'0'0'0,"13"0"15,-13 13 1,13 0-16,-13 0 0,0 0 0,0 1 16,0-1-16,0 0 0,0 14 15,0-14-15,-13 0 0,13 0 0,0 1 16,0 12-16,0-13 0,-13-13 0,13 13 15,0 1-15</inkml:trace>
  <inkml:trace contextRef="#ctx0" brushRef="#br0" timeOffset="6555.81">1124 6839 0,'-13'0'0,"26"0"0</inkml:trace>
  <inkml:trace contextRef="#ctx0" brushRef="#br0" timeOffset="6850.97">1442 7011 0,'13'-13'0,"-26"26"0,26-39 0,-13 13 15,0 0-15,-26 13 32,26 13-32,-13-13 0,-1 13 15,1 0-15,13 0 0,-13 1 0,13-1 16,-13 0-16,13 0 15,0 1-15,13-1 0,0 0 16,0 0-16,1-13 0,-1 0 0,13 0 16,1 0-16,-1 0 0,1 0 0,-1-13 15,14 13-15,-14 0 0</inkml:trace>
  <inkml:trace contextRef="#ctx0" brushRef="#br0" timeOffset="8532.9">847 8784 0,'-14'13'16,"-12"1"-16,26-1 0,-13 13 0,0-12 15,-1 12-15,1-13 0,13 14 16,-13-1-16,13-13 0,-13 14 16,13-14-16,0 0 0,0 1 0,0-1 15,13 0-15,-13 0 0,13 0 0,0 1 16,1-1-16,-1 0 0,0-13 15,13 0-15,-12 13 0,-1-13 16,0 0-16,14 0 0,-14-13 0,26 0 16,-12 13-16,-14-13 0,14-1 15,-14 1-15,13 0 0,-12 0 0,-1 0 16,0-1-16,-13 1 0,13 0 16,-13 0-16,0-1 0,13 14 0,-13-13 15,0 0-15,-13 13 16,0 13-1,13 0 1,0 1 0,13-1-16,-13 0 0,13-13 15,1 13-15,-1-13 0,0 0 16,0 0-16,1 0 0,-1 0 16,0 0-16,0 0 0,-13-13 15,14 13-15,-14-13 0,-14-14 16,1 14-1,0 0 1,0 13-16,-1-13 0,1 13 0,0 0 16,0-14-16,-1 14 0,1 0 15,0 0 1,39 0 0,-12-13-16,-1 13 15,0 0-15,0-13 0,1 13 16,-1 0-16,0 0 0,0 0 15,14 0-15,-14 0 16,0 13-16,0-13 0,1 0 16,-14 13-16,13-13 0,0 14 15,-13-1-15,13-13 0,-13 13 16,14 0-16,-14 1 0,0-1 16,13 0-16,-13 0 0,0 1 15,0-1-15</inkml:trace>
  <inkml:trace contextRef="#ctx0" brushRef="#br0" timeOffset="8640.96">1270 8744 0,'0'0'15,"-13"-13"-15</inkml:trace>
  <inkml:trace contextRef="#ctx0" brushRef="#br0" timeOffset="8932.89">1468 8850 0,'0'14'16,"0"12"-1,0-13-15,14 0 16,-14 1-1,13-1 1,0-26 0,0 13-1,1 0-15,-1-14 16,0 14-16,0 0 16,1 0-16,-1 0 31</inkml:trace>
  <inkml:trace contextRef="#ctx0" brushRef="#br0" timeOffset="9963.26">5331 6443 0,'14'26'16,"-14"-13"0,0 1-16,0-1 0,0 0 0,0 0 15,0 0-15,0 14 0,0-1 16,0-12-16,0-1 0,0 0 15,0 0-15,0 1 0,0-1 0,0 0 16,0 0-16,0 0 16,13-13-16</inkml:trace>
  <inkml:trace contextRef="#ctx0" brushRef="#br0" timeOffset="10204.45">5675 6641 0,'14'13'0,"-14"27"31,0-27-31,0 0 16,-14 1-16,14-1 0,0 13 15,-13-12-15,13-1 0,-13 0 0,13 0 16,-13 0-16,13 1 0,-14-14 0,14 13 16</inkml:trace>
  <inkml:trace contextRef="#ctx0" brushRef="#br0" timeOffset="10832.21">6204 6403 0,'27'-13'0,"-54"26"0,67-26 0,-27 13 0,14 13 16,-14-13-16,-13 13 16,13-13-16,-13 13 0,0 1 0,14-1 15,-28 0-15,14 14 0,-13-14 16,13 13-16,-13-13 0,0 14 0,-1-14 15,1 14-15,0-14 0,13 0 0,-13 0 16,-1-13-16,14 14 0,0-1 16,-13-13-16,13 13 0,13 0 31,40-26-15,-39 13-1,12 0-15,-13-13 0,14 13 0,12-13 16,-25-1-16,12 14 0,-13-13 15,1 13-15,-1-13 0,0 0 0,0 13 16,1-14-16,-1 14 0,0-13 16,0 13-16,0-13 0,14 13 15,-14 0 1,-13 13-16,13-13 0,-13 13 16,14 1-16,-1-1 0,-13 0 15,0 0-15,13 1 0,-13-1 0,0 0 16,0 0-16,0 0 0,0 1 15,0-1-15,0 0 0,0 0 16,0 1-16,13-1 16</inkml:trace>
  <inkml:trace contextRef="#ctx0" brushRef="#br0" timeOffset="11268.41">7091 6284 0,'13'0'16,"-26"0"-16,39 0 0,-12 13 0,-14 0 15,-14 1 1,14-1-16,-13 13 16,13-13-16,0 1 0,0-1 15,13 0-15,-13 0 16,14-13-16,-14 14 0,13-1 0,0 0 15,0 0-15,0-13 0,-13 14 0,14-1 16,-1 0-16,-13 0 16,-13 0-16,13 1 15,-14-1-15,1 0 0,0-13 16,0 13-16,0-13 0,13 14 0,-14-14 16</inkml:trace>
  <inkml:trace contextRef="#ctx0" brushRef="#br0" timeOffset="11435.71">7355 6482 0,'0'0'0,"14"0"15,-1 0-15,-13 14 0,13-14 0,-13 13 16,13 0-16,-13 0 16,0 0-16,0 1 0,0-1 0,-13 13 15,13-12-15,-13-1 0,0 40 16,-14-27-16,14-13 0,13 1 15,-13-1-15,13 0 0,-14 0 0,14 1 16</inkml:trace>
  <inkml:trace contextRef="#ctx0" brushRef="#br0" timeOffset="11899.77">8096 6324 0,'0'13'31,"-13"0"-31,0 0 0,13 0 16,-13 1-16,-1-1 0,-12 0 15,13 0-15,-1 1 0,1-1 16,0 0-16,13 0 0,-13 1 15,13-1-15,0 0 16,13 0-16,0 0 16,0-13-16,1 0 0,-1 0 15,0 0-15,14 0 0,-14 0 0,0 0 16,13 0-16,-12-13 0,-1 13 16,13-13-16,-12 13 0,-1-13 0,0 13 15,0-13-15,-13-1 0,14 14 16</inkml:trace>
  <inkml:trace contextRef="#ctx0" brushRef="#br0" timeOffset="12079.88">8162 6310 0,'0'-13'0,"0"26"0,-13-13 16,0 0-16,13 14 0,0-1 0,0 0 16,0 13-16,0-12 0,0-1 15,0 13-15,0-12 0,0 12 16,0-13-16,0 14 0,0-14 0,0 0 15,13 14-15,-13-14 0,0 13 0,0-12 16,0-1-16,0 0 0,0 0 16,13 1-16</inkml:trace>
  <inkml:trace contextRef="#ctx0" brushRef="#br0" timeOffset="12304.92">8440 6456 0,'0'0'0,"13"0"0,1 0 16,-14 13-16,13 0 0,-13 1 15,0-1-15,0 0 0,0 0 16,0 14-16,0-14 0,-13 13 0,13 1 16,-14-14-16,14 14 0,-13-14 0,0 0 15,13 13-15,0-12 0,-13-14 16,13 26-16,13-26 15</inkml:trace>
  <inkml:trace contextRef="#ctx0" brushRef="#br0" timeOffset="12710.66">8903 6324 0,'-26'13'31,"13"0"-31,13 0 0,-27-13 0,14 13 16,13 1-16,-13-1 0,-1-13 0,14 13 15,-13 0-15,13 1 16,0-1-16,13 0 16,1 0-16,-1 1 15,0-1 1,0 0 0,-13 0-16,-13 0 15,13 1-15,-13-14 16,13 13-16,-13-13 0,-1 13 0,1-13 15,0 13-15,0-13 16,-1 14 0</inkml:trace>
  <inkml:trace contextRef="#ctx0" brushRef="#br0" timeOffset="12923.87">9062 6429 0,'13'0'0,"14"0"0,-1 27 32,-26-14-32,13 0 0,-13 1 0,0 12 15,0-13-15,0 14 16,0-14-16,-13 13 0,13 1 0,-13-14 16,0 14-16,-1-14 0,14 13 0,-13-13 15,0 1-15,13-1 0,-13 0 16,13 0-16</inkml:trace>
  <inkml:trace contextRef="#ctx0" brushRef="#br0" timeOffset="13254.92">9472 6350 0,'-26'13'15,"12"0"1,-12 14-16,13-14 0,-14 14 0,1 12 16,-1-12-16,14-1 0,-13 1 0,26-1 15,-14 1-15,14-14 0,0 0 16,0 0-16,14 27 0,-1-27 16,0 0-16,0-13 0,1 14 15,12-1-15,-13-13 0,0 0 16,14 0-16,-14 0 0,0 0 0,1 0 15,-1 0-15,0-13 0,0-1 16,1 1-16,-14 0 16,0 0-1,-14 0-15,1-1 16,0 1-16,0 13 0,-1-13 16,1 0-16</inkml:trace>
  <inkml:trace contextRef="#ctx0" brushRef="#br0" timeOffset="13655.86">9631 6152 0,'26'0'0,"-12"0"0,-1 0 16,0 13-16,13 79 31,-26-65-31,0-1 0,-13-12 0,13 12 16,-13-13-16,13 14 0,0-14 15,0 0-15,-13 0 0,26-13 0,-13 14 16,0-1-16,13-13 16,0 13-16,14-13 15,-14 0-15,0 0 16,1 0-16,-14 13 0,13 1 15,-13-1-15,0 0 0,0 0 16,13 0-16,-13 14 0,-13-1 0,13-12 16,0 12-16,0 1 0,-13-1 0,13 0 15,0 1-15,-14-1 0,14-12 0,0 12 16,-13-13-16,0 14 16,13-14-16,-13 0 0,-1 0 0,14 1 15,-13-1-15,-13 0 0,13 0 0,-27 1 16,0-1-16,-26 13 0</inkml:trace>
  <inkml:trace contextRef="#ctx0" brushRef="#br0" timeOffset="14142.83">4167 8692 0,'27'0'16,"-14"0"-16,0 0 0,14-14 0,-14 14 15,13 0-15,27-13 0,-26 13 16,-14 0-16,13 0 0,-12-13 16,12 13-16,0 13 0,-12-13 15</inkml:trace>
  <inkml:trace contextRef="#ctx0" brushRef="#br0" timeOffset="14326.81">4260 8930 0,'13'13'16,"0"-13"-16,0 0 15,1 0-15,-1 0 0,0 0 16,0-13-16,1 13 0,12 0 15,-13 0-15,27-14 0,-27 14 16,40-13 0</inkml:trace>
  <inkml:trace contextRef="#ctx0" brushRef="#br0" timeOffset="15655.68">5980 8149 0,'-27'0'0,"14"-13"15,0 13-15,-14 0 16,14 0-16,0 0 0,13 13 16,-13-13-16,-1 13 0,1 1 15,13-1-15,-13 0 0,13 14 16,0-14-16,0 13 0,0-13 0,0 14 15,0-14-15,0 14 0,0 12 16,0-12-16,0-1 0,0 1 16,0-14-16,-13 0 15,13 0-15,0 14 0,0-14 16,0 0 31,13-13-47,-13 13 0,13 1 15,-13-1-15,13 13 0,-13-12 16,0-1-16,0 0 0,0 0 0,0 14 16,0-14-16,0 0 0,0 0 15,0 1-15,0-1 0,0 0 0,14-13 16,-14 13-16,0 1 0,0-1 16,26-13 15,-13-13-31</inkml:trace>
  <inkml:trace contextRef="#ctx0" brushRef="#br0" timeOffset="15907.87">6231 8361 0,'0'-13'0,"0"-1"16,-13 41-1,13-14 1,0 0-16,0 1 0,0 12 16,-14-13-16,14 14 0,0-14 0,-13 13 15,13-12-15,0 12 0,0-13 0,-13 0 16,13 1-16,0-1 0,0 0 16,0 0-16,13 1 15,0-28 1</inkml:trace>
  <inkml:trace contextRef="#ctx0" brushRef="#br0" timeOffset="16099.85">6390 8321 0,'13'-13'0,"-26"26"0,26-39 0,-13 12 16,0 41 15,0-14-31,0 0 0,0 14 16,0-1-16,0 1 0,-13-14 15,26 0-15,-13 0 0,0 14 0,0-14 16,0 14-16,0-14 16,0 0-16,0 0 0,13 0 15,-13 1-15</inkml:trace>
  <inkml:trace contextRef="#ctx0" brushRef="#br0" timeOffset="16305.56">6204 8546 0,'0'0'0,"-13"0"15,0 0-15,39 0 32,-12 0-17,-1 0-15,13 0 0,-12-13 16,-1 13-16,0 0 0,14 0 0,-14 0 15,0 0-15,0 0 0,14 0 0</inkml:trace>
  <inkml:trace contextRef="#ctx0" brushRef="#br0" timeOffset="16549.27">6734 8467 0,'13'13'0,"0"-13"16,-13 13-16,0 0 0,13-13 16,-13 14-16,0-1 0,0 0 0,14 27 15,-14-27-15,0 0 16,-14 14-16,14-14 0,0 0 0,0 14 16,0-14-16,-13 0 0,13 0 0,0 0 15,-13-13-15,13 14 0,0-1 16</inkml:trace>
  <inkml:trace contextRef="#ctx0" brushRef="#br0" timeOffset="16992.25">7131 8308 0,'-14'0'0,"41"-13"32,-14 13-32,27-14 15,-14 1-15,1 13 0,-14-13 16,13 13-16,1-13 0,-14 13 15,13-13-15,-12 13 0,-1-14 16,0 14-16,-26 14 31,0-14-15,13 13-16,-27 13 0,27 1 16,-13-14-16,13 0 0,-13 14 0,13-14 15,-14 13-15,14-12 16,0 12-16,0-13 0,-13 14 0,13-14 15,0 0-15,0 0 0,0 1 0,0-1 16,0 0-16,13 0 0,-13 0 0,14 1 31,12-28-15,-13 1-16,1 0 16</inkml:trace>
  <inkml:trace contextRef="#ctx0" brushRef="#br0" timeOffset="17499.61">7594 7898 0,'13'0'0,"0"0"16,0 0-16,67 79 31,-80-52-31,0-14 15,13 13-15,-13-12 0,0-1 0,0 0 16,0 13-16,0-12 0,0-1 16,13 0-16,-13 0 0,13-13 15,1 0-15,-14 14 0,13-14 16,0 0-16,0 0 0,0 13 16,1-13-16,-1 13 0,0-13 15,0 13-15,1 1 0,-1 12 16,-13-13-16,13 14 0,-13 26 0,0-40 15,0 13-15,0 1 0,-13-1 16,13 1-16,-13-1 0,-1 1 16,-12 12-16,13-26 0,-14 14 0,14-1 15,-13-12-15,12 12 0,-12-26 0,13 13 16,-1 1-16,1-14 16,0 0-16,0-14 0</inkml:trace>
  <inkml:trace contextRef="#ctx0" brushRef="#br0" timeOffset="25719.46">12660 10372 0,'-26'0'15,"13"0"-15,-14 13 16,14-13-16,-14 13 0,-12 0 0,12 1 16,1-1-16,-1-13 0,1 13 15,13 0-15,-1 1 0,1-14 0,0 13 16,0 0-16,0 0 0,13 0 16,0 1-16,13-1 0,0-13 15,0 13-15,14 14 16,-1-14-16,-13-13 0,14 13 0,-1 0 15,-12 0-15,12 1 0,-13-14 0,14 13 16,-14 0-16,0-13 0,-13 13 16,13 1-16,-26-1 0,13 0 15,-13 0-15,0 1 0,-1-1 0,-12 0 16,0 0-16,-1 0 0,14-13 0,-14 14 16,14-1-16,-13-13 0,12 13 15,1-13-15,0 0 0,0 0 16,39-26-1,-13 12-15,14-12 16,-1 0-16,14-14 0,-13 13 16,12-12-16,41-14 0,-54 26 15,1 1-15,-1-1 0,-13 1 0,0 13 16,1 0-16,-14-1 16,0 1-16,-14 0 0,1 13 15,0 0-15,0 0 16,0 0-16,-1 0 0,14 13 0,-13-13 15,13 13-15,13 14 16,-13-14-16,14 13 0,-1 1 0,0-1 16,0 1-16,14-14 0,-14 13 0,-13-12 15,13 12-15,0-13 0,-13 1 16,0-1-16,14 0 0,-14 0 0,-14 1 16,14-1-16,-13 0 0,0 13 15,-27 1-15,14-14 0,-1-13 0,1 13 16,13 1-16,-14-14 15,1 0-15,12 13 0,1-13 0,0 0 16,13-13-16,0-1 16,13 1-16,0 13 15,14-13-15</inkml:trace>
  <inkml:trace contextRef="#ctx0" brushRef="#br0" timeOffset="26035.7">13137 10557 0,'79'-13'31,"-26"13"-31,0-14 0,13 1 0,0 13 0,13-13 16,67-13-16,-67 12 0,-13 1 16,14 13-16,-27-13 0,0 0 15,39-14-15,-52 27 16,0-13-16,13-14 0,-40 27 16,0-13-16,14 0 0,-14 0 15,0 13-15,-13-13 16,0-1-16,0 1 0,-13 0 15</inkml:trace>
  <inkml:trace contextRef="#ctx0" brushRef="#br0" timeOffset="26328.09">13758 10014 0,'53'0'0,"-13"0"0,-14 0 0,14 14 15,13-1-15,0-13 0,-13 13 16,79 27-16,-66-27 0,-14 0 16,1 14-16,39-1 0,-52 1 15,-14-14-15,13 27 0,-12-27 16,-14 27-16,-14-27 16,-12 26-16,-27 28 15,13-41-15,-12 14 0,-54 26 16,53-40-16,-13 1 0,-53 26 15,52-27-15,14 1 0,-39 12 16,65-25-16,1-1 0,-14 0 16</inkml:trace>
  <inkml:trace contextRef="#ctx0" brushRef="#br0" timeOffset="27643.91">14063 11046 0,'-14'-13'0,"28"26"0,-41-39 15,14 39 1,0-13-16,-1 13 0,1-13 0,13 14 15,-13-1-15,0 0 0,0 0 0,-1 0 16,14 1-16,-13-1 0,13 0 16,0 0-16,0 1 15,13-14-15,1 0 0,12 0 16,-13 0-16,-13-14 16,13 14-16,1-13 0,-1 13 0,0 0 15,14-13 1,-27 0-16,13 26 15,0-13-15,-13 13 16,13-13-16,1 13 16,-1-13-16,13 0 15,-13 0-15,1-13 16,-1 0-16,0 13 0,0-13 16,1-1-16,-1-12 0,0 13 0,0-14 15,1 1-15,-1 13 0,0-1 16,-13 1-16,0 0 15,0 53 17,0-27-32,0 0 15,0 0-15,0 1 16,13-1-16,0-13 0,1 0 16,-1 0-16,0-13 0,-13-1 15,13 1-15,1 0 0,-1 0 16,0-1-16,0 1 0,-13 0 15,13 0-15,-13 0 0,14 13 0,-14-14 16,13 41 0,-13-14-16,-13 13 0,13-12 15,0 12-15,0 1 0,-14-1 0,14 0 16,0-12-16,0 12 0,0-13 0,14 14 16,-14-14-16,0 0 0,13 1 15,-13-1-15,0 0 0</inkml:trace>
  <inkml:trace contextRef="#ctx0" brushRef="#br0" timeOffset="28256.02">14168 11708 0,'-26'0'0,"52"0"0,-65 13 0,26-13 0,-1 0 16,1 0-16,13 13 0,-13-13 0,13 14 15,-13-1-15,26 13 16,-13-13-16,13 1 15,-13-1-15,13 0 16,-13 0-16,14 1 0,-14-1 0,0 0 16,0 0-16,0 0 15,-14 14-15,1-14 16,0-13-16,13 13 0,-13-13 16,-1 14-16,1-14 0,0 0 15,13-14 1,0-12-1,13 13-15,-13-1 0,13 1 0,1 0 16,-1 0-16,13-14 16,-12 14-16,-1 0 0,26 0 15,-25 13-15,-1-14 0,0 14 0,0 14 16,1-14 0,-14 13-16,0 0 0,0 0 15,0 1-15,0-1 0,0 0 16,0 0-16,13 0 15,-13 1-15,13-1 16,0-13-16,1 0 16,12 0-16,-13-13 0,14 13 15,-14 0-15,0 0 0,0-14 16,1 14-16,-1 0 0,0 0 0,0 0 16,0 0-16</inkml:trace>
  <inkml:trace contextRef="#ctx0" brushRef="#br0" timeOffset="28750.02">14010 12330 0,'26'13'15,"120"-66"1,-107 40-16,1-14 15,13 1-15,0-1 0,39-39 16,-39 40-16,-13-14 16,53-53-16,-54 40 0,14 1 15,-13-1-15,-14-13 0,1-1 0,-1 1 16,1-13-16,-14 13 0,0-14 16,0-12-16,1 12 0,-14 1 0,0-14 15,0 14-15,-14 13 0,14-14 0,-13 14 16,0 0-16,0 13 0,-14 0 15,1 14-15,-27 12 0,13 1 16,-13-1-16,-13 14 0,13 13 0,-105 0 16,78 13-16,-39 14 0,-79 39 15,92-13-15,-79 53 16,92-40-16,14 13 0,-80 80 16,106-67-16,0 1 0,-40 119 15,67-106-15,13-1 0,13 54 16,26-53-16,67 66 15,-40-93-15,13 1 0,13-27 16,80 52-16,-66-65 0,-14-13 16,0-1-16,1-13 0,-1 1 15,80-14-15,-80-14 0,-13 14 16,14-13-16,-14 0 0,13 0 16,-26-14-16,13 14 0</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6:54.037"/>
    </inkml:context>
    <inkml:brush xml:id="br0">
      <inkml:brushProperty name="width" value="0.025" units="cm"/>
      <inkml:brushProperty name="height" value="0.025" units="cm"/>
      <inkml:brushProperty name="ignorePressure" value="1"/>
    </inkml:brush>
  </inkml:definitions>
  <inkml:trace contextRef="#ctx0" brushRef="#br0">21 1,'2'0,"1"0,0-1,0 1,0 1,0-1,-1 0,1 1,0-1,0 1,-1 0,1 0,0 0,-1 0,1 0,-1 1,1-1,-1 1,0 0,0-1,0 1,0 0,0 0,3 4,-4-3,-1 0,1 0,-1 0,1 0,-1 0,0 0,0 0,0 0,-1 0,1 0,-1 0,0 0,1-1,-1 1,-1 0,1 0,0-1,-1 1,1 0,-1-1,0 1,-2 1,-25 27,24-27,0 0,1 1,0-1,0 1,0-1,1 1,-6 10,9-15,0 0,0 1,0-1,0 0,0 0,0 1,0-1,0 0,0 0,0 1,0-1,0 0,0 0,0 0,0 1,0-1,0 0,0 0,0 1,0-1,1 0,-1 0,0 0,0 1,0-1,0 0,1 0,-1 0,0 0,0 1,0-1,1 0,-1 0,0 0,0 0,1 0,-1 0,0 0,0 0,1 0,-1 0,17 1,15-5,29-11,-43 12</inkml:trace>
</inkml:ink>
</file>

<file path=ppt/ink/ink28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2:55:00.224"/>
    </inkml:context>
    <inkml:brush xml:id="br0">
      <inkml:brushProperty name="width" value="0.05292" units="cm"/>
      <inkml:brushProperty name="height" value="0.05292" units="cm"/>
      <inkml:brushProperty name="color" value="#0070C0"/>
    </inkml:brush>
  </inkml:definitions>
  <inkml:trace contextRef="#ctx0" brushRef="#br0">17608 1045 0,'0'27'31,"0"-14"-31,0 0 0,0 0 0,-13 14 16,13-14-16,0 13 0,0 41 16,-13-54-16,13 79 31,0-78-31,0-1 15,13 0-15,-13 0 16</inkml:trace>
  <inkml:trace contextRef="#ctx0" brushRef="#br0" timeOffset="257.89">17846 1376 0,'13'-13'0,"14"26"31,-27 0-31,13 0 0,0 1 16,-13-1-16,0 0 0,0 13 15,0-12-15,0 12 16,0-13-16,0 1 0,0-1 15,-13 13-15,0-12 0,13-1 16,-13 0-16,-1 0 0</inkml:trace>
  <inkml:trace contextRef="#ctx0" brushRef="#br0" timeOffset="607.14">18349 1085 0,'26'0'0,"1"0"32,-40 13-17,13 0-15,-14 0 0,14 1 0,-13-1 16,0 13-16,0-12 0,-1 12 0,1-13 15,0 1-15,13-1 0,-13 0 16,-1 13-16,14-12 16,0-1-16,-13-13 0,26 13 15,1 0 1,-1-13-16,0 0 0,0 0 16,1 0-16,-1-13 0,0 13 15,0 0-15,14 0 0,-14 0 16,0 0-16,0 0 0,1 0 15</inkml:trace>
  <inkml:trace contextRef="#ctx0" brushRef="#br0" timeOffset="807.6">18680 1230 0,'13'0'0,"-26"0"0,39 14 16,-26-1-1,13 0-15,-13 0 16,0 0-16,0 1 0,0-1 16,0 0-16,0 0 15,0 14-15,-13-1 0,13-12 0,-13-1 16,13 13-16</inkml:trace>
  <inkml:trace contextRef="#ctx0" brushRef="#br0" timeOffset="1327.7">19076 1058 0,'0'0'0,"14"-13"16,-1 0-16,0 13 0,14 0 15,-27 13-15,13-13 0,0 0 16,-13 13-16,13 1 16,-13-1-16,0 0 15,0 0-15,14 0 16,-14 1-16,0-1 15,13 0-15,-13 0 0,13 1 16,-13-1-16,0 0 0,0 0 16,0 1-16,0-1 15,0 0-15,-13-13 16,0 26-16,-1-26 16,1 14-16,0-14 0,13 13 15,-13-13-15</inkml:trace>
  <inkml:trace contextRef="#ctx0" brushRef="#br0" timeOffset="1511.95">19368 1204 0,'39'13'16,"-39"0"-16,13 1 15,-13-1 1,0 0-16,0 0 0,0 0 0,0 1 15,-13-14-15,13 13 0,0 0 0,0 0 16,0 1-16,0-1 16</inkml:trace>
  <inkml:trace contextRef="#ctx0" brushRef="#br0" timeOffset="1834.71">20055 1085 0,'-26'13'32,"13"-13"-32,-1 13 0,-12 0 0,13 14 15,-14-14-15,14 0 0,0 1 0,-14-1 16,27 0-16,-13 0 0,0 1 15,13-1-15,-13-13 0,13 13 0,0 0 16,0 0-16,13 1 16,0-1-16,0-13 15,1 0-15,12 0 0,-13 0 16,14 0-16,-14 0 0,0 0 16,0-13-16,1 13 0,-1 0 15,-13-14-15,13 14 0,0-13 16,-13 0-16</inkml:trace>
  <inkml:trace contextRef="#ctx0" brushRef="#br0" timeOffset="2039.7">20082 1058 0,'-13'-13'16,"-1"40"0,14-14-16,0 0 15,0 0-15,0 0 0,0 159 31,0-158-15,0 12-16,0 1 0,0-14 0,0 13 16,0-12-16,0-1 0,0 0 15,0 0-15,0 0 0,0 1 16</inkml:trace>
  <inkml:trace contextRef="#ctx0" brushRef="#br0" timeOffset="2302.98">20532 1230 0,'13'27'15,"0"-14"1,-13 0-16,0 0 0,0 1 0,0 12 15,0-13-15,0 1 0,0-1 16,0 13-16,0-12 0,-13 12 0,13-13 16,0 0-16,-13 1 0,13-1 0,-14 0 15,14 0-15,-13 1 0,0-14 16</inkml:trace>
  <inkml:trace contextRef="#ctx0" brushRef="#br0" timeOffset="2669.97">20770 1045 0,'-66'0'16,"66"13"-16,-14-13 0,1 14 16,13-1-1,13 0-15,-13 0 16,14-13-16,-1 13 0,-13 1 0,13-1 16,0 0-16,1 0 0,-14 1 0,13-1 15,0 0-15,-13 0 0,13 14 16,-13-14-16,13 0 0,-13 0 15,0 1-15,-13-1 0,13 0 16,-13-13-16,0 27 0,0-27 16,-1 13-16,1-13 15,0 13-15,0 0 0,-1-13 16</inkml:trace>
  <inkml:trace contextRef="#ctx0" brushRef="#br0" timeOffset="2920.76">21034 1230 0,'14'-13'0,"-14"40"31,0-14-31,0 0 0,-14 13 16,1-12-16,0 12 0,0 14 15,-14-14-15,1 1 0,13-1 0,-14 1 16,1-1-16,-1 1 0,14-1 0,0-13 16,-1 1-16,1-1 0,0 0 15,13 0-15,-13-13 0,13 13 0</inkml:trace>
  <inkml:trace contextRef="#ctx0" brushRef="#br0" timeOffset="3244.05">21497 992 0,'-26'0'0,"-67"80"31,80-54-31,-13 0 0,12 1 0,1-14 16,0 14-16,13-14 0,-13 13 0,13-12 15,0-1-15,13 0 0,-13 0 16,0 0-16,13 14 0,0-27 16,1 13-16,-1-13 0,0 0 15,0 0 1,-13-13-16,0 0 16,0-1-16,-13 14 15,0-13-15,0 13 0,-14-13 16,1 13-16,-1 0 0,-39 0 15,26 0-15,-26 0 0,13 0 16,-26 0-16</inkml:trace>
  <inkml:trace contextRef="#ctx0" brushRef="#br0" timeOffset="4035.09">17608 794 0,'-13'-13'15,"0"26"1,13 0-16,-14 0 16,14 0-16,0 1 15,-13-1-15,0 0 0,0 14 16,-1-1-16,-12 0 0,13-12 0,-14 12 15,1-13-15,13 14 0,-14-14 0,14 0 16,0 1-16,13-1 0,-14 0 0,1 0 16,13 0-1,0 1 1,13-1-16,-13 0 16,14 0-16,-14 14 0,0-1 0,0 14 15,0 0-15,-14-1 0,1 94 16,-26 39 15,39-159-31,13 0 0,-13 0 16,13 1-16,0-1 0,14 0 15,-14-13-15,27-13 0,-1 13 0</inkml:trace>
  <inkml:trace contextRef="#ctx0" brushRef="#br0" timeOffset="4846.91">21034 635 0,'67'-26'31,"-54"26"-31,-13 13 0,13-13 16,-13 13-16,0 0 0,0 0 0,0 1 15,0 12-15,0-13 0,0 1 16,0-1-16,0 0 16,13 0-16,-13 1 0,0-1 15,13 0-15,-13 0 0,14-13 16,-1 13-16,0-13 15,0 14 1,1-14-16,-1 0 0,0 0 16,0 0-16,-13 13 15,13-13-15,1 0 16,-14 13 0,0 0-1,0 1-15,0-1 0,13-13 16,-13 13-16,0 0 0,0 0 15,13 1 1,-13-1-16,0 0 0,13 0 16,-13 1-1,14-1-15,-14 0 32,13-13-32,0 13 0,0-13 15,1 14-15,-14-1 0,13-13 16,0 13-16,0 0 0,0 0 15,1 14-15,-1-14 0,0 14 16,0-1-16,1 14 0,-1-14 0,-13 1 16,13-1-16,-13 14 0,13-14 0,-13 1 15,0 12-15,14-12 0,-28-1 16,14 1-16,0 13 0,-13-14 0,0 14 16,-14-1-16,1-12 0,-1 12 0,-52 14 15,53-26-15,-14-14 16,0 0-16,1 1 0,-1-1 15</inkml:trace>
  <inkml:trace contextRef="#ctx0" brushRef="#br0" timeOffset="5599.86">16245 1363 0,'-26'26'0,"26"-13"16,13 53-1,0-52 1,-13-1-16,14 0 0,-1 0 0,0 1 16,-13-1-16,0 0 15,0 0-15,0 1 0,0-1 16,0 0-16,0 0 0,-13 0 0,0 1 16,-1-14-16,14 13 15,-13-13-15,0 13 0,0-26 16</inkml:trace>
  <inkml:trace contextRef="#ctx0" brushRef="#br0" timeOffset="5723.04">16669 1376 0</inkml:trace>
  <inkml:trace contextRef="#ctx0" brushRef="#br0" timeOffset="5885.36">16510 1588 0,'13'0'0,"27"0"16,-27 0-16,0 0 15,1 0-15,-1 0 16,0 0-16,0 0 0,1-14 0,-1 14 16</inkml:trace>
  <inkml:trace contextRef="#ctx0" brushRef="#br0" timeOffset="6459.46">15981 1416 0,'-27'13'0,"14"-13"0,0 13 16,-14 0-16,14 0 0,-13 14 15,13-14-15,-1 0 0,1 27 16,13-27-16,0 1 0,0 12 16,13-13-16,-13 0 0,14 14 15,-1-1-15,0-12 0,0-1 16,0 13-16,1-13 0,-1 1 0,0-1 15,-13 0-15,13 0 0,-13 1 16,14-1-16,-28 0 16,14 0-16,-13-13 0,0 14 15,0-14-15,-1 13 0,1-13 0,0 0 16,0 0-16,0 0 16,-1 0-16,1 0 0,0 0 15,13-13-15</inkml:trace>
  <inkml:trace contextRef="#ctx0" brushRef="#br0" timeOffset="6833.33">16589 1416 0,'40'0'32,"-27"-14"-32,1 14 0,-1 0 0,0 0 15,0 0-15,0 0 0</inkml:trace>
  <inkml:trace contextRef="#ctx0" brushRef="#br0" timeOffset="7019.92">16497 1588 0,'13'0'31,"0"0"-15,0 0-16,1 0 0,12 0 0,-13 0 16,1 0-16,-1 0 0,0 0 0</inkml:trace>
  <inkml:trace contextRef="#ctx0" brushRef="#br0" timeOffset="8150.05">19116 1416 0,'-13'0'0,"26"13"47,0-13-31,1 0-16,-1 0 15,0 0-15,0-13 0,1 13 16,-1 0-16,0-14 0,0 1 0,0 0 16,1 13-16,-1-13 0,-13-1 15,13 1-15,0 0 0,1-14 0,-14 14 16,13 0-16,-13-13 0,13 12 15,-13-12-15,13 13 0,-13-14 0,0 14 16,0-14-16,14 1 0,-14 13 0,0-14 16,0 14-16,-14-13 0,14-1 15,0 14-15,0-14 0,-13 27 0,13-26 16,-13 0-16,-14-1 0,14 1 16,0 12-16,0 1 0,-14 0 15,14 13-15,-13-13 0,-1 13 16,1 0-16,12 0 0,-12 0 0,-1 13 15,1-13-15,0 13 0,-1-13 0,14 13 16,-27 14-16,14-14 0,12 14 16,-12-1-16,13 0 0,0-12 0,-1-1 15,1 13-15,13 1 0,0-1 0,-13 1 16,13-14-16,0 13 0,13 1 16,-13-1-16,0-12 0,13 12 0,-13 1 15,14-14-15,-1 13 0,0-13 0,-13 1 16,13-1-16,0 0 0,1-13 15,-1 13-15,-13 1 0,13-1 0,0-13 16,1 13-16,-1-13 0,-13 13 0,13-13 16,0 0-16,-13 14 0,14-14 15,-1 13-15</inkml:trace>
  <inkml:trace contextRef="#ctx0" brushRef="#br0" timeOffset="8591.79">19182 1508 0,'0'-13'16,"0"53"-1,0-27-15,-13 27 0,0-1 16,0 14-16,-1 0 0,1 13 15,0-13-15,0 13 0,-1 0 0,-12 1 16,13-1-16,0 13 0,-14-13 16,14 14-16,0-1 0,-1-13 0,1 13 15,0-12-15,-14 78 0,14-92 16,0 13-16,0-13 0,13-13 16,0-1-16,-13-12 0,13-1 15,0 1-15,0-14 0,0 14 0,0-14 0,-14 0 16,14 0-16,0 0 15,0 1-15,0-1 16,0 0-16,0 0 16,0 1-1,14-41 17,-1 27-32,0-13 15,0 0-15,0-1 16</inkml:trace>
  <inkml:trace contextRef="#ctx0" brushRef="#br0" timeOffset="9064.87">18759 3175 0,'0'-13'0,"-13"39"31,13-13-31,0 1 0,0-1 16,0 0-16,-14 27 0,14-27 16,0 0-16,14 1 0,-14 12 15,0-13-15,0 0 0,13 1 16,13-1-1,14-26 1,-13-1-16,-14 1 0,13 13 16,14-26-16,-14 13 0,1 13 0,-1-14 15,-12 1-15,12 0 0,-13 0 0,0 13 16,1-14-16,-1 14 0,0 0 16,0 0-16</inkml:trace>
  <inkml:trace contextRef="#ctx0" brushRef="#br0" timeOffset="9555.59">18852 3823 0,'-40'0'0,"80"0"0,-107 13 0,54-13 15,0 14-15,0-14 0,-1 13 16,1 0-16,0 0 0,13 1 0,-13-1 16,13 0-16,0 0 0,13 1 0,-13-1 15,13 13-15,0-13 0,14 14 16,-1-14-16,1 14 0,-1-1 16,-12-13-16,12 1 0,-13-1 0,0 0 0,1 0 15,-1 0-15,-13 1 0,0-1 16,0 0-16,-13 0 15,13 1-15,-14-14 0,-12 13 16,13 0-16,0-13 0,-1 13 0,-12-13 16,13 0-16,-1 13 0,1-13 15,0 0-15,0-13 0,-1 13 16,14-26-16,14-1 16</inkml:trace>
  <inkml:trace contextRef="#ctx0" brushRef="#br0" timeOffset="9764.82">19103 3916 0,'13'0'0,"0"26"31,1-12-31,-14-1 0,0 13 0,0-13 16,0 14-16,0-14 16,0 14-16,0-1 0,0 1 0,0-14 15,0 13-15,0-13 0,0 14 0,0-14 16,0 0-16,0 1 0,0-1 15,0 0-15,13-13 0,-13 13 0,13-13 16,0-13 0</inkml:trace>
  <inkml:trace contextRef="#ctx0" brushRef="#br0" timeOffset="10016.87">19129 3850 0,'14'-27'16,"-14"14"-16,13 13 0,66-13 31,-66 13-31,1 13 0,-1-13 16,0 13-16,0 0 0,1 1 0,-14-1 16,0 0-16,0 14 15,0-14-15,-27 27 0,14-27 16,0 13-16,13-13 0,-27 27 15,14-27-15,0 14 0,0-14 16,-1 14-16,1-14 0,-13 26 16,12-12-16,1-14 0,0 0 0</inkml:trace>
  <inkml:trace contextRef="#ctx0" brushRef="#br0" timeOffset="10518.7">18865 4670 0,'26'13'0,"-52"-26"0,65 39 0,-12-26 15,-14 0-15,0 0 0,14 0 0,-1 0 16,27-13-16,0 13 15,0-13-15,0 0 0,13-14 0,14 14 0,-14-13 16,0 12-16,0-12 0,-13-1 16,13 1-16,-13-1 0,0 1 15,0 0-15,-14-14 0,1 13 0,13-39 16,-27 27-16,-12-1 0,12-53 16,-26 54-16,0-14 0,-13-13 0,0-1 15,-1 14-15,-25-13 16,12 0-16,-26 0 0,1 13 0,-28 0 15,14 27-15,-13-1 0,-27 1 0,-93 13 16,67 26-16,13 13 16,-13 1-16,-1 12 0,14 1 0,0 0 15,-79 66-15,105-40 0,1 0 16,-27 79-16,79-92 16,13 14-16,1-15 0,26 1 0,0 0 15,13 0-15,67 40 0,-1-40 16,14 0-16,12-14 0,14-12 15,1-1-15,12 1 0,-13-14 16,0 0-16,-13-13 0,66 0 16,-93-13-16,1 0 0,-14 13 0,-27-14 15</inkml:trace>
  <inkml:trace contextRef="#ctx0" brushRef="#br0" timeOffset="18840.96">15954 2103 0,'-13'0'31,"-13"0"-15,12 0-16,1 0 0,0 0 0,0 0 15,0 0-15,-1 0 0,1 0 16,-13 0 0,39-13-1,0 0-15,14 13 16,-1-13-16,14 13 0,-1-13 15,1-1-15,0 1 0,13 0 0,-14 13 16,1-13-16,13-1 0,-13 14 0,-14-13 16,1 13-16,-1 0 0,0-13 15,-12 13-15,-1 0 0,0 0 0,0 0 16,1 0-16,-41 13 16,14 0-1,0 1-15,-27-14 16,14 13-16,-14 0 0,0 0 0</inkml:trace>
  <inkml:trace contextRef="#ctx0" brushRef="#br0" timeOffset="19127.79">15809 2156 0,'-66'14'16,"132"-28"-16,-146 41 0,54-27 0,13 0 0,0 13 15,39-13 17,0-13-32,1 13 0,13 0 0,-1-13 15,1 13-15,13-14 0,-13 1 16,-1 13-16,1-13 0,-14 13 15,1 0-15,-1-13 0,1 13 0,-1 0 0,1 0 16,-14-14-16,0 14 0,0 0 16,1 0-16,-1 0 0,0 0 15,0-13-15,1 13 0,12 0 32,-13 0-17,0 0-15,-13-13 16</inkml:trace>
  <inkml:trace contextRef="#ctx0" brushRef="#br0" timeOffset="21086.42">19169 4247 0,'0'-14'16,"-13"14"0,13-13-1,-13 26 48,13 1-48,0-1-15,0 0 16,0 0-16,0 0 0,0 1 0,0-1 16,0 0-16,0 0 0,0 1 15,0-1-15,0 0 16,0 0-16,0 1 0</inkml:trace>
  <inkml:trace contextRef="#ctx0" brushRef="#br0" timeOffset="21927.56">19076 3942 0,'0'-26'78,"14"13"-63,-14-1 1,13 14-16,0-13 0,0 0 16,1 13-16,-1-13 15,0-1-15,0 14 0,1-13 16,-1 13-16,0-13 0,0 13 0,0 0 15,1-13-15,-1 13 0,0 0 16,0 0-16,1 0 0,-1 0 0,0 0 16,0 0-16,1 0 0,-1 13 15,0 0 1,-13 0-16,0 1 16,0-1-16,0 0 0,0 0 0,-13 1 15,13-1-15,-13 0 0,13 0 16,-14 1-16,1-1 0,0 0 15,13 13-15,-13-26 0,-1 14 0,1-1 16,0 0-16,0 0 0,13 1 16,-14-14-16,1 13 0,13 0 15,-13-13-15,13 13 0,-13-13 16,13 14-16</inkml:trace>
  <inkml:trace contextRef="#ctx0" brushRef="#br0" timeOffset="25163.51">2924 5173 0,'0'0'0,"-14"0"0,1 0 16,0 0 0,13-14 15,26 28 31,-12-14-62,-1 0 0,13 0 16,-12 0-16,12 13 0,0-13 0,14 0 16,0 13-16,0-13 0,12 0 0,1 13 15,0-13-15,-13 0 0,13 14 16,0-14-16,0 0 0,-14 13 0,14-13 16,13 0-16,-13 0 0,0 0 15,0 0-15,0 0 0,0 0 0,0 0 16,0 0-16,-13 0 0,13 0 15,-14 0-15,-12 0 0,12 0 0,-12 0 16,12-13-16,-12 13 0,-1 0 0,1 0 16,-1 0-16,-12 0 0,12 0 15,-13 0-15,14 0 0,-14 0 0,0 0 16,0 0-16,-13-14 0,27 14 16,-14 0-1,0 0-15,1 0 16,-1 0-16,0 0 31,0 0 16,0 0 31,1 0-47,-1 0 1,0 0-17,0-13-15,1 13 16,-1 0-16,0-13 15,0 13 1,0 0-16,1-13 16,-1 13-16,0-14 15,0 14-15,1 0 16,-1-13-16,0 13 16,0 0-16,-13-13 15,14 13-15,-1 0 0,-13-13 0,13 13 16,0 0-1,0-14-15,1 14 0,-1-13 16,0 0-16,0 13 0,-13-13 16,14 13-16,-1 0 0,-13-13 0,13 13 15,0-14 1,-13 1-16,14 13 16,-14-13-16,13 13 0,-13-13 15,0-1-15,13 1 16,-13 0-16,13 0 15,-13-14 1,13 14 0,-13 0-16,14 0 15,-14-1-15,13 14 16,-13-13-16,13 0 16,0 0-1,-13-1-15,14 14 16,-14-13-16,13 13 15,-13-13-15,0 0 16,13-1-16,-13 1 16,0 0-16,0 0 15,13 0-15,-13-1 16,-13 14-16,13-13 0,0 0 16,-13 0-16,13-1 0,-13 1 15,-1 13-15,14-13 0,-13 0 0,-13 13 16,12-13-16,1-1 0,-13 14 15,-1-13-15,1 0 0,13 13 0,-14-13 16,1 13-16,-1-14 0,-12 1 0,-1 13 16,0-13-16,14 13 0,-14-13 0,0-1 15,-13 14-15,27-13 0,-14 13 16,1-13-16,-14 13 0,26 0 0,-12-13 16,-14 13-16,13-13 0,0 13 0,1 0 15,-1-14-15,0 14 16,-13 0-16,-39 0 0,52 0 15,14 0-15,-54 0 0,40 0 16,1 14-16,-14-14 0,13 0 0,0 13 16,1 0-16,-14-13 0,26 13 15,-12-13-15,12 13 0,1-13 0,-1 14 16,1-1-16,-1-13 0,1 13 0,13 0 16,-14-13-16,1 14 0,-1-1 15,1 0-15,-1 0 0,14 1 16,-13-1-16,13 0 0,-14 0 0,14 0 15,-14 1-15,14-1 0,0 13 0,-14-12 0,1 12 16,0-13-16,12 14 16,-12-1-16,13-13 0,-14 14 0,14-1 15,-13 1-15,12-14 0,1 13 0,0-12 16,0-1-16,-14 13 0,14 1 16,-27 26-16,27-40 0,0 13 15,0-12-15,-1-1 0,1 13 0,0-12 16,13-1-16,-13 0 0,-1 0 0,14 1 15,-13-1-15,13 0 0,0 0 16,0 0-16,0 1 0,0-1 16,13 0-16,-13 0 0,14-13 0,-1 14 15,0-1-15,0-13 0,14 13 0,-14-13 16</inkml:trace>
  <inkml:trace contextRef="#ctx0" brushRef="#br0" timeOffset="26743.83">6866 4882 0,'304'0'31,"-185"0"-31,-53 0 16,-13 0-16,27-14 0,-27 14 0,13 0 15,-13 0-15,13 0 0,-13 0 16,0 0-16,0 0 0,-14-13 0,1 13 16,-14 0-16,27 0 15,-26 0-15,-14 0 0,27 0 16,-27 0-16,0 0 0,0 0 15</inkml:trace>
  <inkml:trace contextRef="#ctx0" brushRef="#br0" timeOffset="26999.97">7316 5001 0,'0'0'0,"13"13"16,0-13-16,0 0 15,1 0-15,-1 0 0,13 0 0,-12 0 16,12 0-16,0 0 0,1 0 16,-1 0-16,27-13 0,-13 13 15,-14 0-15,1 0 0,-14 0 16,14 0-16,-1-14 0,-13 14 0,1 0 15,-1 0-15,0 0 0</inkml:trace>
  <inkml:trace contextRef="#ctx0" brushRef="#br0" timeOffset="27717.2">3149 5834 0,'79'-26'32,"-26"12"-32,0 14 0,13-13 15,0 0-15,13 0 0,-12-1 16,12 14-16,14-13 0,-27 0 0,13 13 15,0-13-15,-12 13 0,-14 0 0,13 0 16,-13-13-16,-14 13 0,14 0 16,40 0-16,-54 0 0,-12 0 15,-1 0-15,1 0 0,-1 0 16,-12 0-16,25 0 0,-26 0 16,1 0-16,-41 26 31,14-26-31</inkml:trace>
  <inkml:trace contextRef="#ctx0" brushRef="#br0" timeOffset="28099.66">3585 5927 0,'53'-14'15,"-27"14"-15,1 0 16,26 0-16,0-13 0,0 13 16,0 0-16,0 0 0,13 0 0,-13-13 15,0 13-15,-1 0 0,54 0 16,-53 0-16,0 0 0,0 0 16,-27-13-16,41 13 15,-41 0-15,1 0 0,-14 0 0,13 0 16,-13 0-16,1 0 0,-1 0 0,0 0 15,0 0-15,1 0 0,-1 0 16,0 0-16,0 0 0,0 0 31,1 0-15,-1 0 0,0 0-1,14 0 1,-1-13-16,-13 13 0,40 0 0</inkml:trace>
  <inkml:trace contextRef="#ctx0" brushRef="#br0" timeOffset="29161.83">9221 5781 0,'106'0'16,"-80"0"-16,27-13 15,0 13-15,0 0 0,0-13 16,0 13-16,13 0 0,-13-14 0,0 14 16,-1 0-16,-12 0 0,0-13 15,-14 13-15,1 0 0,-1 0 0,-13 0 16</inkml:trace>
  <inkml:trace contextRef="#ctx0" brushRef="#br0" timeOffset="29403.77">9485 5755 0,'-13'-14'32,"40"14"-17,-14-13-15,0 13 0,0 0 16,14 0-16,-1-13 0,1 13 15,-1 0-15,1 0 0,-1 0 0,14-13 16,13 13-16,-27 0 0,0-13 16,1 13-16,-1 0 0,-12 0 15,12 0-15,1-14 0</inkml:trace>
  <inkml:trace contextRef="#ctx0" brushRef="#br0" timeOffset="36675.67">12435 13269 0,'106'-13'0,"-212"26"0,265-26 0,-106-1 0,0 14 16,13-13-16,-13 13 0,0 0 0,0-13 16,0 13-16,-13-13 15,12 13-15,1 0 0,-13-14 0,0 14 0,13-13 16,-14 0-16,1 13 0,-14-13 16,14 0-16,-13 13 0,-1-14 15,-13 1-15,14 13 0,-1-13 0,-13 0 16,14-1-16,-14 1 0,14 0 0,-14 0 15,0 0-15,0-1 0,14 1 16,-27 0-16,13 0 0,0-1 0,0 1 16,1 0-16,-1 0 0,0-1 0,-13 1 15,13 0-15,1 13 0,-1-13 16,0 0-16,0-1 0,0 1 16,1 0-16,-1 13 0,0-13 0,0-1 15,1 14-15,-1-13 16,0 13-16,0-13 0,1 13 0,-1-13 15,0 13-15,0-14 0,0 14 0,1-13 16,-1 0-16,0 13 0,14-13 16,-27 0-16,13-1 0,0 14 0,0-13 15,1 0-15,-1-14 0,-13 14 0,13 0 16,0 0-16,-13-14 0,13 1 16,-13 13-16,14-14 0,-14 1 0,0-1 15,0 14-15,0-14 0,0 1 0,0 0 16,-14 12-16,14-12 15,-13-1-15,0 1 0,0 0 0,0-1 0,-14 1 16,-13-27-16,14 39 16,-1-12-16,1 0 0,-14-1 15,14 14-15,-1-14 0,-12 14 0,12-13 16,1 12-16,-1-12 0,-12 13 0,12-14 16,-13 14-16,14 0 0,-14 0 15,1-1-15,12 1 0,-52 0 16,39 0-16,0 0 0,-12 13 0,12-14 15,-13 14-15,0-13 0,13 13 16,-13-13-16,1 0 0,-1 13 0,-14-14 16,15 1-16,-1 13 0,0-13 0,-13 0 15,-1 13-15,1-14 0,13 1 16,-13 13-16,0-13 0,0 0 16,-13 0-16,12 13 0,1-14 0,-13 1 15,13 0-15,-14 13 0,14-13 0,-13-1 16,13 14-16,-14-13 0,14 13 15,-13-13-15,-1 0 0,14 13 0,-13 0 16,13-14-16,-14 14 0,1-13 0,0 13 16,-1 0-16,1-13 0,-1 13 0,14 0 15,-13 0-15,0 0 0,-1 0 16,1 0-16,-1 0 0,1 0 16,0 0-16,-1 0 0,1 0 0,0 0 0,12 13 15,-25-13-15,12 0 16,1 0-16,13 0 0,-13 0 0,12 0 15,1 13-15,0-13 0,-13 0 0,13 14 16,-1-1-16,-12 0 0,13 0 0,13 1 16,-13 12-16,0-13 0,13 14 15,0-1-15,0 1 0,0-1 0,0 14 16,13-14-16,-12 14 0,12 0 0,0-14 16,0 14-16,1-1 0,12-12 15,-12 13-15,12-14 0,14 14 0,-13-1 16,12-12-16,1 13 0,13-1 15,-13 1-15,13 13 0,13-13 0,-13 12 16,27 1-16,-14 0 0,13 13 0,1-13 16,39 66-16,-13-66 15,-14 0-15,41 0 0,-14 0 0,27 0 16,-1 0-16,1-13 0,13-1 16,13 1-16,0 0 0,13-14 0,0 14 15,14-14-15,-1 1 0,14-1 16,0 1-16,13-1 0,0-13 0,0 14 15,0-14-15,0 0 0,0 1 0,0-14 16,0 0-16,-14 13 0,1-26 0,-13 13 16,-1-14-16,-13 1 0,1 13 15,-14-26-15,-27 12 0,-12 1 0,-1 0 16,1-14-16,-28 14 0,1-26 16</inkml:trace>
  <inkml:trace contextRef="#ctx0" brushRef="#br0" timeOffset="37524.55">9803 12052 0,'-27'0'47,"14"0"47,13-13-94,0-1 15</inkml:trace>
</inkml:ink>
</file>

<file path=ppt/ink/ink28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2:55:56.384"/>
    </inkml:context>
    <inkml:brush xml:id="br0">
      <inkml:brushProperty name="width" value="0.05292" units="cm"/>
      <inkml:brushProperty name="height" value="0.05292" units="cm"/>
      <inkml:brushProperty name="color" value="#0070C0"/>
    </inkml:brush>
  </inkml:definitions>
  <inkml:trace contextRef="#ctx0" brushRef="#br0">9234 2937 0,'0'0'0,"40"0"31,-14 0-31,1 0 0,25 0 16,15 0-16,12 0 0,14 13 0,-1-13 16,14 0-16,-13 0 0,12 0 15,1 0-15,-13 13 0,13-13 0,-14 0 16,-12 0-16,12 0 0,-26-13 0,14 13 15,-27 0-15,13 0 0,-26-13 0,13 13 16,-14 0-16,-12 0 0,-1 0 0,-13-13 16,14 13-16,-14 0 0,0 0 15</inkml:trace>
  <inkml:trace contextRef="#ctx0" brushRef="#br0" timeOffset="283.35">9459 3109 0,'-13'0'0,"26"0"0,13 0 15,-12 0-15,25 0 0,14 0 16,27 0-16,-1 0 0,0 0 16,14 0-16,-1 0 0,1 0 15,0 0-15,-1 0 0,1 0 0,0 0 16,-14 0-16,-13 0 0,-13 0 0,0 0 15,0 0-15,0 0 0,-14 0 16,-12 0-16,-1 0 0,-12 0 0,25 0 16,-26 0-16,1 0 15,-1 0-15,-40-27 32,14 14-32</inkml:trace>
  <inkml:trace contextRef="#ctx0" brushRef="#br0" timeOffset="3234.44">6588 5689 0,'13'0'0,"1"0"31,-1-14-15,0 14-1,-13-13 1,13 0 0,-13 0-1,0-1 1,0 1 0,0 0-1,-13 13 1,0 0-1,0 0 1,-1 0-16,1 13 16,0 0-16,0-13 0,-14 27 15,14-1-15,-13-12 0,12-1 16,1 0-16,-13 13 0,12 1 16,14-14-16,-13 0 0,0 1 0,13-1 15,-13 0-15,13 0 0,0 1 0,0-1 16,13-13-16,-13 13 15,13-13-15,0 0 0,1 0 16,12 0-16,-13 0 0,1 0 0,12 0 16,-13 0-16,0-13 0,1 13 15,12 0-15,-13 13 0,1-13 16,-1 0-16,0 13 0,0-13 0,-13 13 16,14 1-16,-1-1 0,-13 0 0,0 0 15,0 1-15,13-1 0,-13 0 16,0 0-16,0 0 0,0 14 15,0-14-15,0 0 0,0 1 16,13-14-16,0 13 16,1-26-16,-1 13 15</inkml:trace>
  <inkml:trace contextRef="#ctx0" brushRef="#br0" timeOffset="3894.85">6945 6046 0,'14'-27'0,"-1"14"16,-13 0-16,13 13 0,0-27 16,-13 14-16,13 0 0,-13 0 0,0-1 15,0 1-15,0 0 16,0 0 0,-13 26-1,0 0-15,0 0 0,0 1 16,13-1-16,0 0 15,-14 0-15,14 1 0,14-1 0,-1 13 16,0-13 0,0-13-16,0 0 0,14 0 0,-14 0 15,14 0-15,-1 0 16,1-13-16,12 0 0,-12 0 0,-1 0 0,1-1 16,-1-12-16,14-14 15,-14 14-15,-13-1 0,1 1 16,-1-14-16,0 27 0,0-40 15,-13 40-15,0 0 0,14-14 0,-14 14 16,0 0-16,0-1 0,-14 28 31,1-1-15,13 0-16,-13 14 0,13-1 0,-13-13 16,13 14-16,-14 12 15,1 14-15,0-26 0,13-1 0,0-13 16,0 14-16,0-14 0,0 0 15,0 1-15,13-1 0,-13 0 0,13 0 16,-13 0-16,14 1 0,-14-1 16,13-13-16,0 13 0,0-13 15,1 0-15,-1 0 0,0 0 16,0 0-16,0 0 0,1-13 16</inkml:trace>
  <inkml:trace contextRef="#ctx0" brushRef="#br0" timeOffset="4928.81">7276 5861 0,'13'-14'0,"0"1"0,1 13 15,-1 0-15,27-13 0,-27 13 16,13-13-16,1 13 15,-1-14-15,1 14 0,52-26 0,-52 13 16,12-14-16,14 1 16,-13-1-16,-27 1 0,27-14 15,-40 27-15,13 0 0,0-27 16,-13 27-16,0 0 0,0-1 16,0 1-16,-13 0 15,-13 26 1,26 0-16,-27 14 0,14-1 15,-14 40-15,14-26 16,-13 26-16,12-26 0,14-14 16,0 1-16,0 13 0,0-27 15,0 13-15,14 1 0,-14-1 0,13-13 16,0 14-16,-13-14 0,13 0 0,1 0 16,-14 1-16,13-14 15,-13 13-15,-13-40 31,13 14-31,-14 0 0,1 0 16,13 0-16,-13-1 0,0 1 16,-1 0-16,14 0 0,-13 13 15,13-14-15,13 1 16,1 13 0,-1-13-16,0 13 0,27-13 15,-14 13-15,1-13 0,-14 13 16,93-27-1,-93 27 1,0 0-16,1 0 0,-1 13 0,0 1 16,0-14-16,-13 13 0,13 0 15,-13 0-15,0 0 16,0 1-16,0-1 0,14-13 0,-14 13 16,0 0-16,0 1 0,0-1 15,0 0-15</inkml:trace>
  <inkml:trace contextRef="#ctx0" brushRef="#br0" timeOffset="5045.85">7871 5741 0,'0'0'0,"-13"-13"15</inkml:trace>
  <inkml:trace contextRef="#ctx0" brushRef="#br0" timeOffset="5337.93">8096 5861 0,'0'13'15,"0"0"-15,0 0 16,0 0-16,0 14 15,0-14 1,0 0 0,13-13-16,1-13 15,-1 13-15,0 0 0,0-13 16,1 13 0,-1 0-16,0 0 0,0 0 15,1 0-15,-1 0 16,13 13-1,-13-13-15,-13 13 0,14-13 16,-1 14-16</inkml:trace>
  <inkml:trace contextRef="#ctx0" brushRef="#br0" timeOffset="6351.93">9022 5808 0,'-13'-14'0,"0"-12"31,0 13-31,-1 13 16,14-14 0,-13 14-16,-13 0 15,12 0-15,1 0 16,13 14-16,-13-14 0,0 0 16,-14 13-16,14-13 0,0 13 0,0-13 15,-1 13-15,1-13 0,0 14 0,0-1 16,-1-13-16,14 13 15,-13-13-15,13 13 16,0 1-16,13-14 16,1 0-16,-1 0 15,0 0-15,0 0 0,14 0 16,-14 0-16,0 0 0,1 13 16,-1-13-16,13 13 0,-13-13 0,1 13 0,-1 0 15,0 1-15,0-1 16,-13 0-16,0 0 0,0 14 0,0-14 15,-13 13-15,0 1 0,0-1 0,-14 1 16,1-1-16,13-12 0,-1-1 16,-12 0-16,13 0 0,-1 0 15,1-13-15,26-26 16,-13 13-16,14 0 16,12-14-16,1 1 0,-1-1 15,0 1-15,14-1 0,0 1 0,-14-1 16,14 1-16,-14 13 0,1-1 0,-14 1 15,0 0-15,1 13 0</inkml:trace>
  <inkml:trace contextRef="#ctx0" brushRef="#br0" timeOffset="7410.85">10345 5662 0,'-13'-13'15,"26"26"-15,-39-39 0,13 26 0,-1 0 16,-12 13-16,13-13 0,-1 13 16,-12-13-16,13 13 15,-1-13-15,1 14 0,0-14 0,0 13 0,0 0 16,-1 0-16,1-13 0,13 13 16,0 1-16,13-14 15,1 0 1,12-14-16,-13 14 0,0 0 15,1 0-15,-1 0 16,0 0-16,0 14 0,1-14 16,-1 13-16,0-13 0,0 13 15,1-13-15,-1 13 0,0-13 16,0 0-16,0 0 0,14 0 16,-1 0-16,1 0 0,13-13 0,-1 0 15</inkml:trace>
  <inkml:trace contextRef="#ctx0" brushRef="#br0" timeOffset="7599.08">10993 5292 0,'14'-40'0,"-1"27"15,-13 39 1,0-13 0,0 14-16,-13-1 0,13 14 0,-14 0 15,14-1-15,-13 1 0,0 53 16,13-54-16,-13 1 0,13 0 15,0-14-15,0 1 0,0-14 0,0 13 16,0-12-16,0-1 0,0 0 16,0 0-16</inkml:trace>
  <inkml:trace contextRef="#ctx0" brushRef="#br0" timeOffset="8120.36">10716 5715 0,'0'0'0,"0"-13"0,13 13 16,-13-13-16,13 13 0,0 0 0,14-14 15,-14 14-15,13-13 0,14 13 16,0-13-16,0 13 0,-1-13 0,1-1 16,0 14-16,-1-13 0,-12 13 0,-14-13 15,13 13-15,-12 0 16,-1 0-16,0-13 0,0 13 0,-26 26 31,0-13-31,0 1 16,-1-1-16,14 0 15,-13-13-15,0 13 0,13 1 0,-13-14 16,13 13-16,0 0 0,0 0 16,13-13-1,0 0-15,14-13 16,-14 13-16,0-13 0,0 13 15,1 0-15,-14-13 0,13 13 16,0 0-16,0-14 16,0 14-16,-13 14 15,14-14-15,-14 13 16,13-13-16,0 13 16,0-13-16,-13 13 15,14-13-15,-1 0 16,0 0-16,0-13 15,1 13-15,-1 13 16</inkml:trace>
  <inkml:trace contextRef="#ctx0" brushRef="#br0" timeOffset="8313.96">11483 5583 0,'-13'0'16,"-1"39"0,1-25-16,13-1 15,0 0-15,0 0 0,-13 1 0,13-1 16,0 0-16,-13 0 15</inkml:trace>
  <inkml:trace contextRef="#ctx0" brushRef="#br0" timeOffset="8584.01">11615 5001 0,'0'-14'0,"-26"28"31,26-1-31,0 0 0,0 0 16</inkml:trace>
  <inkml:trace contextRef="#ctx0" brushRef="#br0" timeOffset="8950.87">11906 5226 0,'13'0'0,"-26"0"0,13 26 16,-13-13-1,0 0-15,0 27 0,-1-13 0,-12 26 16,-1-14-16,14 14 0,-13-13 0,-1 13 16,1 26-16,13-52 15,13-1-15,0 0 0,0 1 0,0-14 16,0 14-16,0-14 0,0 0 0,0 0 15,13 1-15,0-1 0</inkml:trace>
  <inkml:trace contextRef="#ctx0" brushRef="#br0" timeOffset="10624.97">12422 5503 0,'0'0'0,"-13"14"31,13-1-31,0 0 15,0 0-15,0 0 0,0 1 16,0-1-16,13 0 0,-13 0 16,0 1-16,13-1 0,1 0 15,-14 0-15,13-13 0,0 14 16,14-14 0,-27-14-16,13 14 0,0 0 15,0-13-15,0 13 0,1-13 16,-1 0-16,0-1 15,0 14 1,1 0 0,-1 14-1,0-14 1,0 0-16,1-14 16,-1 14-16,-13-13 15,13 13-15,-13-13 0,13 13 16,-13-13-16,13-1 0,-13 1 15,14 0-15,-14 0 16,13 0 0,0 26 15,-13 0-15,13-13-16,1 0 15,12 0-15,-13 0 16,1 0-16,-14-13 15,13 13-15,0-13 0,0 13 0,-13-14 16,13 14-16,-13-13 0,14 0 0,-1 0 16,0-1-16,-13 1 15,13 13-15,-13-13 16,0 39 15,0-12-31,0-1 0,0 0 16,0 0-16,0 1 15,0-1-15,0 0 16,0 0-16,0 0 0,14 1 16</inkml:trace>
  <inkml:trace contextRef="#ctx0" brushRef="#br0" timeOffset="10892.07">13018 5239 0,'-14'0'16</inkml:trace>
  <inkml:trace contextRef="#ctx0" brushRef="#br0" timeOffset="11592.18">13031 5014 0,'0'-13'31,"-13"39"-31,13-13 0,0 1 16,-14-1-16,14 13 0,0 1 0,0-14 16,0 27-16,-13-14 15,13 14-15,0-14 0,-13 14 0,13 0 16,0-14-16,-13 1 0,13-1 0,-14 0 0,14 1 15,-13-1-15,13-12 16,0 12-16,-13-13 0,13 0 0,-13 14 16,13-14-16,0 0 0,-14 1 0,14-1 15,0 0-15,-13 0 0,13 1 16,-13-1 0,13-40 30,13 14-46,0 0 0,1 0 16,-14-1-16,13 14 0,0-13 16,-13 0-16,13 13 0,1-13 0,-1 13 15,0 0 1,0 0-16,1 13 0,-1 0 16,0 0-1,0-13-15,0 14 16,1-14-16,-1-14 15,0 14-15,0 0 0,1-13 16,12 0-16,-13 13 0,0-13 0,1-1 16,-1 14-16,0-13 15,0 0-15,1 13 0,-14-13 0,13 13 16,0 0-16,-13 13 16,13 0-1,-26 0-15,13 1 16,0-1-16,0 0 0,0 0 15,0 1-15,0-1 16</inkml:trace>
  <inkml:trace contextRef="#ctx0" brushRef="#br0" timeOffset="11739.33">13401 5199 0,'0'-13'0,"0"26"0,-13-26 0,13 0 16,-13 13-16</inkml:trace>
  <inkml:trace contextRef="#ctx0" brushRef="#br0" timeOffset="12132.4">13600 5054 0,'-14'52'15,"14"-38"-15,-13 39 16,0-14-16,0 1 0,13 0 16,-14-14-16,14 1 0,0-1 0,0-13 15,0 14-15,0-14 0,14 0 16,-14 14-16,13-14 0,0 0 15,0 0-15,1-13 0,-1 0 16,0 0-16,0 0 0,0 0 16,-13-13-16,14 0 0,-1 0 15,0-1 1,-26 41 15,13-14-15,0 0-16,0 1 15,13-1-15,0 0 16,1-13-16,-1 13 0,0-13 16,0 0-16,1 13 0,12-13 0,-13 0 15,14 0-15,-14 0 0,0 0 16,0 0-16</inkml:trace>
  <inkml:trace contextRef="#ctx0" brushRef="#br0" timeOffset="12623.1">14843 4961 0,'0'0'16,"0"26"-1,0-12-15,0-1 0,0 13 0,0 14 16,0 0-16,0-1 0,-13 1 15,13 0-15,0-1 0,0-12 0,13 13 16,-13-14-16,0 1 0,0-1 0,0 0 16,0-12-16,0 12 0,13-13 0,-13 1 15,0-1-15,0 0 0</inkml:trace>
  <inkml:trace contextRef="#ctx0" brushRef="#br0" timeOffset="13058.45">14698 5411 0,'13'-27'0,"-26"54"0,39-67 0,-13 40 15,1-13-15,-1 0 0,0 13 0,13-14 16,1 1-16,-1 0 0,1 0 16,-1 13-16,1-14 0,-14 1 15,13 13-15,-12-13 0,-1 13 0,0 0 16,0 0-16,1 0 15,-14 13-15,0 14 16,0-14 0,0 0-16,0 0 0,0 1 0,13-1 15,-13 0-15,13 0 0,13 14 16,-12-14-16,-1-13 0,13 13 16,-12-13-16,-1 0 0,13 0 0,-12 0 15,-1 0-15,13-13 0,-13 13 16,1-13-16,-1 13 0,-13-13 0,13-1 15,-13 1-15,0 0 0,0 0 16,0-1-16,0 1 0,-13 0 0,0 0 0,13-1 16,-27 14-16,14-13 15,0 13-15,0-13 0,-1 13 0,1 0 16,-13 0-16,12 13 0,1-13 0,0 13 16,0 1-1,26-1-15,0-13 16,0 0-16,1 13 0</inkml:trace>
  <inkml:trace contextRef="#ctx0" brushRef="#br0" timeOffset="13362.05">15452 5226 0,'-14'-14'0,"28"28"0,-41-41 16,14 40 15,13 1-31,13-1 15,-13 0-15,0 0 0,13 0 16,-13 1-16,14-1 0,-14 0 0,0 0 16,13 1-16,-13 12 0,13-13 15,-13 1-15,0-1 0,13 0 16,-26 0-16,13 0 0,0 1 16,-13-1-16,0-13 15,13 13-15,-14-13 0,1 13 0,0-13 16,0 14-16,0-14 15,-1 0 1,28-27 0,-1 14-16,0 13 15</inkml:trace>
  <inkml:trace contextRef="#ctx0" brushRef="#br0" timeOffset="13815.61">15597 5212 0,'0'-13'16,"0"40"15,0-14-15,0 0-16,13 0 15,-13 0-15,0 14 0,14-14 16,-14 0-16,13 1 0,-13-1 0,13 0 16,0 14-16,1-1 0,-1-13 15,-13 0-15,13-13 0,-13 14 16,0-1-16,0 0 0,13-13 0,-13 13 15,-13 1-15,0-1 16,0 0-16,-1-13 16,1 13-16,0-13 0,0 0 15,-1 0-15,1 0 0,0-13 16,13 0 0,13 0-1,0-1-15,1-12 0,-1-1 0,40-12 16,-27 26-16,1-14 0,-14 14 15,13 0-15,-12-1 0,-1 14 0,0-13 16,0 13-16,1 0 0,-14-13 16,13 13-16,0 13 0,0-13 15,-13 13-15,0 1 0,13-14 16,-13 13-16,0 0 0,0 0 16,-13 1-16,13-1 0,0 0 15,0 0-15,-13-13 0,13 27 16,-13-14-16,13 0 0,0 0 15</inkml:trace>
  <inkml:trace contextRef="#ctx0" brushRef="#br0" timeOffset="13962.51">15875 5212 0,'-13'0'16,"13"-13"-16</inkml:trace>
  <inkml:trace contextRef="#ctx0" brushRef="#br0" timeOffset="14260.15">16073 5265 0,'0'13'0,"0"1"0,0-1 0,-26 40 31,26-40-15,0 0-16,0 14 16,13-14-16,0-13 15,1 13-15,12-26 16,-13 13-16,14-13 16,-1 0-16,-13-1 15,1 14-15,-1-13 0,0 13 16,-13-13-16,-13 26 31,0 0-15,13 1-16,-14-14 0,14 13 15,14 0 1</inkml:trace>
  <inkml:trace contextRef="#ctx0" brushRef="#br0" timeOffset="14380.02">16536 5450 0,'14'0'16,"-28"0"-16,41 0 0,-27-13 16,-13 0 15</inkml:trace>
  <inkml:trace contextRef="#ctx0" brushRef="#br0" timeOffset="17502.08">7117 7395 0,'-13'53'16,"13"-27"-1,0 1-15,0 13 0,-13-1 0,13 1 16,0 0-16,-13-1 0,13 1 16,-14 0-16,14-1 0,-13 1 0,13-27 15,0 14-15,0-1 0,0-12 0,-13-1 16,13 0-16,0 0 0,0 14 15,-13-14 1,13-40 0,0 14-16,0-13 15,0-1-15,0-12 0,0-1 0,13 0 16,-13-13-16,13 14 0,0-14 16,1 13-16,12 0 0,1 1 0,-14 12 15,13 1-15,1-1 0,-14 14 16,0 0-16,0 0 0,1 13 0,-1 0 15,0 0-15,0 0 0,-13 13 0,13-13 16,-26 13-16,13 13 0,0-12 16,-26 25-16,13-12 0,-14-1 15,1 1-15,12 12 0,-12-25 0,0 12 16,12 1-16,1-14 0,0 0 0,-14 27 16,14-27-16,0 0 15,13 0-15,0 1 0,0-1 16,13-13-16,-13 13 15,13-13-15,1 0 0,12 0 0,-13 0 16,14-13-16,12 13 0,-12-13 16,13-1-16,-1 14 0,-26-13 0,14 0 15,-1 13-15,1-13 0,-14 13 0,0-13 16,1 13-16,-1 0 0,0-14 16,0 28-16,0-14 15,1 13-15,-1 0 16,0 0-16,-13 0 15,13-13-15,1 14 0,-1-14 16,0 13-16,0-13 0,1 0 16,12-13-1,-26-1-15,0 1 16,13 13-16,-26-26 16,0 13-16,13-1 0,-13 14 15,-1-13-15,1 0 0,0 13 16,0 0-16,-1 0 0,1 0 15,0 0-15,0 13 0,-1 0 16,1 1-16,26-1 16,1-13-1,-1-13-15</inkml:trace>
  <inkml:trace contextRef="#ctx0" brushRef="#br0" timeOffset="17878.82">7686 7620 0,'13'-26'0,"14"-67"31,-14 66-31,-13 14 0,0 0 0,13 0 16,-13 0-16,0-1 0,0 1 16,14 13-16,-1 13 15,-13 1 1,0 12-16,0-13 0,13 14 16,-13-1-16,0 1 0,0-1 0,13 14 15,0 26 1,1-53-16,-14 0 0,13-13 15,0 14-15,0-14 16,1-14-16,-1 14 0,0-13 0,0 0 16,1-14-16,-1 1 0,0 0 0,0-14 15,0 13-15,1 1 0,-1-1 16,-13 14-16,13 0 0,-13 0 0,0 0 16,13 13-16,-13 26 15,0-13 1,0 0-16,-13 14 0,13-1 0,-13 1 15,13 13-15,-13-1 0,13 1 16,-14-14-16,14 1 0,0-1 0,-13 1 16,13-1-16,0 1 15,13-14-15,-13 0 0,14-13 0,-1 0 16</inkml:trace>
  <inkml:trace contextRef="#ctx0" brushRef="#br0" timeOffset="18043.18">8374 7607 0,'0'-13'0,"-13"39"31,13-13-15,0 0-16,0 1 0,-13-1 16,13 0-16,-14 0 0,1 14 0,13-14 15,0 0-15,-13 1 0,13-1 0</inkml:trace>
  <inkml:trace contextRef="#ctx0" brushRef="#br0" timeOffset="18235.03">8308 7541 0,'0'-14'16,"-13"1"-1,-1 26 1,1-13 0,13 14-16,0-1 0</inkml:trace>
  <inkml:trace contextRef="#ctx0" brushRef="#br0" timeOffset="18902.91">8520 7607 0,'13'13'31,"-13"0"-15,0 0-16,0 1 16,0-1-16,0 0 0,0 0 15,-13-13-15,13 14 16,0-1-16,26-26 62,-13-1-46,0 14-16,1 0 31,-1 0-31,0-13 16,0 13-16,1 0 15,-1 13 1,0-13-16,0 14 16,1-1-1,-14 0 1,13-13 0,0 0-1,0 0 1,-13-13-16,13 13 0,1-13 15,-1-1 1,0 14-16,0 0 16,-13 14-1,14-1-15,-14 0 16,0 0-16,0 1 0,0-1 16,0 0-16,-14 27 0,14-14 15,-26 14-15,26-14 0,-13 1 16,-27 26-1,14-40-15,12 0 16,1-13-16,0 13 0,0-26 16,-1 13-16,14-13 15,0 0-15,0-1 0,0 1 16,14 0-16,-14 0 0,26-27 16,1 14-16,-1 12 0</inkml:trace>
  <inkml:trace contextRef="#ctx0" brushRef="#br0" timeOffset="19294.62">9644 7448 0,'-13'0'0,"-40"13"31,40 0-31,-1-13 0,14 14 0,-13-14 16,0 13-16,13 0 0,0 0 31,13 1-15,0-14-16,1 0 15,-1 0 1,0 0-16,-13 13 15,13 0-15,1-13 16,-1 13-16,0-13 0,0 14 16,1-14-1,-14 13-15,13-13 0,0 0 16,13 0-16,-12 0 16,-1 0-16,0 0 0,0 0 15,1 0-15</inkml:trace>
  <inkml:trace contextRef="#ctx0" brushRef="#br0" timeOffset="20274.9">10927 7329 0,'40'0'47,"-27"0"-47,14 0 15,-14 0 1,0 0-16,-39 0 31,12 0-15,1 13-16,0-13 0,-13 0 0,12 13 15,1-13-15,0 0 0,0 14 0,-1-14 16,14 13-16,-13-13 0,13 13 16,0 0-16,13 1 15,1-14-15,-1 13 0,0 0 16,14-13-16,-14 13 0,13 0 16,1-13-16,-14 14 0,13-1 15,-12-13-15,-1 13 0,0-13 0,0 13 16,0-13-16,-13 14 0,14-14 0,-14 13 15,-14 0-15,1 0 16,0-13-16,-13 14 0,-41 12 16,28-13-16,-1 0 0,-39 14 15,26-14-15,13 0 16,0 1-16,-13-14 0,27 13 0,-14-13 16,14 13-16,-1-13 0</inkml:trace>
  <inkml:trace contextRef="#ctx0" brushRef="#br0" timeOffset="20999.4">17251 4088 0,'13'106'15,"-26"621"1,0-555-16,-1 53 16,14-40-16,0 40 0,0-40 0,0 54 15,0-67-15,0 13 16,0 53-16,-13-66 0,0 0 0,0 53 0,-1-67 15,-12 1-15,13 13 0,-14-26 0,14 12 16,-13-25-16,12 12 0,-12-12 0,13-14 16,-14-14-16,14-25 0,0-1 15,13-13-15,-13 1 0,-1-28 16</inkml:trace>
  <inkml:trace contextRef="#ctx0" brushRef="#br0" timeOffset="22714.87">18455 5106 0,'0'-13'15,"0"0"-15,-14 13 16,-12 0-1,13 13-15,0 14 0,-14-1 16,1 1-16,12 12 0,-12-12 0,13 12 16,-1-12-16,-12 13 0,13-14 0,13 14 15,-13-14-15,13 1 0,0-14 0,0 13 16,0-12-16,0 12 0,13 0 16,-13-12-16,13-1 0,0 0 15,0 0-15,1 1 0,-1-14 0,0 13 16,0-13-16,1 0 0,12 0 15,-13-13-15,1 13 0,12-14 0,0-12 16,-12 13-16,12-14 0,1 1 0,-14-1 16,13 1-16,-12-1 0,-1 1 0,0-14 15,0 14-15,0-1 0,1 14 16,-14-13-16,13-1 0,-13 1 16,0-1-16,13 14 0,-13 0 0,0-14 15,0 14-15,0 0 0,0 0 16,0-1-16,0 1 0,0 0 0,0 0 15,-13 39 17,13-13-32,0 14 15,-13-1-15,13 1 0,-14 13 0,14-14 16,-13 14-16,13-14 0,-13 1 0,13-1 16,-13-13-16,13 14 0,0-14 15,0 0-15,0 0 0,-13 1 0,13-1 16,0 0-16,13 0 15,0-13 1,0-13 0,0 13-1,1 0-15,-1 0 16,0 0-16,0 13 16,1-13-16,-14 14 0,13-14 15,0 0-15,-13 13 0,13-13 0,0 0 16,1 0-16,-1 0 0,0-13 15,0 13-15,1 0 0,-1-14 16,0 1-16,0 0 0,1 13 0,12-27 16,-13 14-16,0 0 0,1-13 15,-14 12-15,0 1 0,0 0 16,-14 26 15,1 0-31,13 1 16,0-1-16,-13 0 0,26 0 15,-13 0-15,0 1 0,0-1 16,13-13-16,1 13 0,-1 0 16,0-13-16,0 0 0,1 0 15,12 0-15,-13 0 0,1 0 0,-1 0 16,13-13-16,-13 0 0,1 0 0,-1-1 16,0 1-16,0-13 0,-13 13 15,14-14-15,-14 14 16,-14 0-16,14-14 0,-13 1 15,0 12-15,0 1 0,-1 0 0,1 13 16,0-13-16,0 13 0,0 0 16,-14 0-16,27 13 15,-13-13-15,13 13 0,0 0 16,0 1-16,0-1 0,13-13 0,-13 13 16,13 0-16,1-13 0,-1 14 15,0-14-15,13 13 0,-12-13 0,12 0 16,-13 0-16,14 0 0,-14 0 0,14 0 15,-14 0-15,0-13 0,0 13 16,0-14-16,1 14 0,-1-13 16,0 0-16,0 0 0,-13-1 15,14 1-15,-28 0 16,1 13 0,0 13-1,0-13-15,13 13 0,0 1 16,0-1-1,13-13 1,0 0 0,0 0-16,1 0 15,-1 0-15,0 0 16,0 0-16,1 0 0,-1 0 16,0 13-1,0-13-15,0 13 0,1-13 16,-1 14-16,-13-1 0,13-13 15,-13 13-15,13-13 0,-13 13 16,0 1-16,0-1 0,0 0 16,0 0-16,-13 0 0,0 1 15,0-1-15,-1 0 16,1-13-16,13 13 0,-13-13 16,0 14-16,0-14 15,-1 0 1</inkml:trace>
  <inkml:trace contextRef="#ctx0" brushRef="#br0" timeOffset="22991.94">19659 5292 0,'0'26'15,"0"-13"1,0 1-16,0-1 15,-14 0-15,14 0 0,0 14 16,-13-27-16,13 13 0,0 0 16,0 0-16,-13-13 0,13 14 15</inkml:trace>
  <inkml:trace contextRef="#ctx0" brushRef="#br0" timeOffset="23150.08">19619 5146 0,'0'0'0,"-13"-13"0,-1 13 16,14 13 0</inkml:trace>
  <inkml:trace contextRef="#ctx0" brushRef="#br0" timeOffset="23998.09">19751 5278 0,'0'0'0,"0"14"15,0-1 1,0 0-16,0 0 15,0 1 17,0-1-17,0 0 1,13 0 0,-13 1 46,14-28-31,-1 1-31,0 0 16,0 13-16,-13-13 0,14 13 0,-1-14 16,0 14-1,-13-13-15,13 13 0,0 0 16,1 0-16,-1 0 15,0 13 1,0-13-16,-13 14 16,14-14-16,-14 13 15,13-13-15,0 13 16,0-13 0,14 0-1,-14-13 1,0 13-1,0-13-15,-13-1 16,14 14-16,-14-13 0,0 0 16,0 0-1,13 13-15,-13 13 47,0 0-31,0 0-16,0 1 0,0-1 15,0 13-15,-13-12 0,13-1 16,-14 0-16,14 0 0,-13 0 16,13 1-16,-13-14 0,13 13 0,0 0 15,-13-13-15,-1 13 16,28-39 15,-14 13-31,13 13 16,0-14-16,0 1 0,1 0 15,-1 13-15,0-13 0,0 0 16,1 13-16,-1-14 0,0 14 0,0-13 16,0 13-16,1 0 0,-1-13 0,0 13 15,0 0-15</inkml:trace>
  <inkml:trace contextRef="#ctx0" brushRef="#br0" timeOffset="24804.99">21048 5146 0,'-27'0'0,"14"0"15,0 0-15,-1 13 16,1-13-16,0 14 0,-13-14 0,12 13 16,1-13-16,-13 13 0,26 0 15,-14-13-15,1 14 0,40-1 32,-14-13-32,13-13 0,-12 13 15,-1 0-15,0-14 0,0 14 16,0-13-16,1 13 0,-1 0 15,0 0-15,-13-13 0,13 13 16,1 13-16,-1 0 16,-13 1-16,13-14 15,-13 13-15,0 0 0,0 0 16,13 0-16,-13 1 0,14-1 16,-14 0-16,13-13 0,-13 13 15,13-13-15,-13 14 0,13-14 0,0 0 16</inkml:trace>
  <inkml:trace contextRef="#ctx0" brushRef="#br0" timeOffset="25018.96">21696 4776 0,'-13'13'31,"13"0"-31,-14 0 16,14 14-16,-13-14 0,0 27 0,-14-14 16,1 14-16,13-14 15,-14 14-15,1-13 0,-1-1 0,-12 27 16,39-40-16,-14 0 0,14 1 16,-13-1-16</inkml:trace>
  <inkml:trace contextRef="#ctx0" brushRef="#br0" timeOffset="25342.78">21974 4895 0,'-53'13'0,"106"-26"0,-133 26 0,41 0 0,-1-13 15,-39 27-15,26-14 16,13 13-16,13-12 0,1-14 15,0 13-15,-1 0 0,14 0 0,0 1 16,-1-14-16,1 13 0,0 0 0,13 0 16,-13 0-16,26 14 15,0-14 1,0 0-16,1-13 0,-1 14 16,0-14-16,0 0 0,1 0 15,12 0-15,-13 13 0,0-13 0,27 0 16,-27 0-16,14 0 0,-1 0 15,-12 0-15,12 0 16,-13 0-16,0 0 0</inkml:trace>
  <inkml:trace contextRef="#ctx0" brushRef="#br0" timeOffset="26595.3">22066 5080 0,'13'13'31,"-13"0"-31,0 1 0,0-1 16,-13 0-16,13 0 15,0 1-15,0-1 0,-13 0 0,13 0 16,0 1-16,0-1 0,0 0 16</inkml:trace>
  <inkml:trace contextRef="#ctx0" brushRef="#br0" timeOffset="26718.98">22079 5027 0</inkml:trace>
  <inkml:trace contextRef="#ctx0" brushRef="#br0" timeOffset="27306.81">22265 5054 0,'0'26'0,"0"0"15,0-12 1,0-1-16,0 0 16,-14-13-16,14 13 15,0 1-15,0-1 47,14-13-31,-1 0-16,0 0 15,0 0-15,1 0 16,-1 0-16,0 0 0,14 0 16,-14 0-16,0-13 0,0 13 0,0 0 15,1 0-15,-1 0 0,0-14 16,0 14-16,1-13 0,-1 13 0,0-13 15,-26 26 32,0 0-47,-1 1 16,14-1-16,-13 0 0,0 0 16,0 1-16,-1-1 15,1 0-15,0 0 16,0 0-1,39-39 17,-13 26-32,14-13 15,-1 0-15,1-1 0,-1 1 0,1 0 16,-1 0-16,1-1 0,12 1 0,-12 0 16,12 0-16,-12 13 0,26-14 15,-27 1-15,-12 13 0,12 0 0,-13-13 16,14 13-16</inkml:trace>
  <inkml:trace contextRef="#ctx0" brushRef="#br0" timeOffset="29363.23">18812 7620 0,'0'26'0,"-40"120"31,27-106-31,0-1 0,13 1 0,-14-13 16,1 12-16,0 1 0,0 0 16,0-14-16,-1 0 0,14 1 0,-13 13 15,0-27-15,13 0 0,0 0 16,-13 1-16,13-1 0,-14-13 15,14 13-15,-13-26 32,13 0-32,0-1 0,0 1 0,13-13 15,-13 12-15,14-25 0,-14-1 0,13 0 16,13-13-16,-12 1 0,12-1 16,-13 13-16,14 0 0,-1 14 0,-13-1 15,40-26-15,-26 40 0,-14 0 16,13 13-16,-12-13 0,-1 13 15,0 13-15,-26 0 16,13 0-16,-13 1 0,-1 12 16,-12 14-16,0-14 0,-14 14 0,13 0 15,1-14-15,-14 27 0,14-27 16,13 1-16,-1-1 0,1-12 16,0-1-16,13 0 0,0 0 0,-13 0 15,13 1-15,13-1 16,-13 0-16,13-13 0,0 0 15,1 0-15,-1 0 0,0-13 0,13 13 16,14-13-16,0-1 0,-14-12 0,14 13 16,0 0-16,-14-1 0,14-12 0,-14 13 15,-12 13-15,12-14 0,-13 1 16,0 13-16,1 0 0,-14-13 0,13 13 16,0 13-16,0-13 0,1 13 15,-1 1-15,0-1 16,0-13-1,1 0-15,-1 13 0,0-13 16,0 0-16,0 0 0,1 0 16,-1-13-16,0 13 0,-13-13 15,0-1 1,-13 1-16,0 0 16,-1 13-16,1 0 0,-13-13 15,13 13-15,-1 13 0,1-13 16,-13 0-16,12 13 0,1-13 0,0 13 15,0 1-15,13-1 16,13 0 0,0-13-16,0 0 15,1 0-15</inkml:trace>
  <inkml:trace contextRef="#ctx0" brushRef="#br0" timeOffset="29925.8">19447 7858 0,'13'-53'16,"-26"106"-16,39-132 0,-26 52 0,14 1 0,-1-1 15,0-26-15,-13 27 0,13 13 16,-13 0-16,0-1 0,13 1 16,-13 0-16,-13 26 15,0 14 1,0-1-16,0 0 16,-1 14-16,-12 0 0,-1 39 15,14-52-15,13 12 0,-13 14 16,13-39-16,13 12 0,-13-13 0,0 0 15,0 1-15,13-1 0,1 0 16,-1-13-16,13-13 16,-12 13-16,-1-13 0,0-14 15,13 14-15,-12-13 0,12-1 16,-13-13-16,14 14 0,-14-1 16,0-12-16,1 12 0,-1 1 0,0 13 15,0-1-15,-13 1 0,13 0 0,-26 53 31,0-14-15,0-13-16,13 27 0,-13-14 0,-1-12 16,14 12-16,-13 1 0,13-14 0,0 13 15,0-12-15,0-1 0,0 0 16,0 0-16,13-13 0,-13 13 0,14 1 16,-1-1-16,13-13 15,-13 0-15,1-13 16,-1 13-16,0-14 0,14 1 15,-14 13-15,0 0 0,0-13 16,1 13 0,-1 13-1,-13 0-15,0 1 16,0-1-16,0 0 16,0 0-1</inkml:trace>
  <inkml:trace contextRef="#ctx0" brushRef="#br0" timeOffset="30618.76">20016 7951 0,'-14'26'31,"14"-13"-31,0 1 16,0-1-1,14-13 17,-1 0-17,0-13-15,0 13 31,1 0-31,-1 0 16,0 0 0,0 0-1,1-14-15,-1 14 16,0-13-16,0 13 31,0 0-15,-13 13-16,0 1 15,0-1-15,0 0 16,0 0-16,0 14 0,-13-14 0,13 13 16,-13 1-16,13-14 0,-13 14 15,13-1-15,-13-13 0,13 1 0,-14-1 16,14 0-16,-13 0 0,0 0 16,26-39 15,0 13-31,14 0 0,-14-14 15,27 1-15,-14-1 0,1 14 16,12-14-16,1 14 0,66-40 16,-66 40-16,-14 0 0,0 0 15,-12-1-15</inkml:trace>
  <inkml:trace contextRef="#ctx0" brushRef="#br0" timeOffset="31692.67">21153 7938 0,'40'-27'0,"-80"54"0,93-67 16,-39 27-16,-1-1 0,0 1 16,-13 0-16,13 0 0,-13-1 0,13 1 15,-13 0-15,14 0 0,-14 0 16,-14 13-1,1 13 1,0-13-16,13 13 0,-13 0 16,0 0-16,13 1 0,0-1 15,-14 0-15,14 0 0,0 1 16,14-1-16,-14 0 0,13 0 0,0 1 16,0-1-16,0-13 15,1 0-15,-1 0 0,0 0 16,0 0-16,1-13 0,-1 13 15,0-14-15,0 14 0,1-13 0,-1 0 16,0 0-16,0-1 0,0 1 16,1 0-16,-1 0 15,0 13 1,0 0 0,-13 13-16,0 0 15,14-13-15,-14 13 0,0 1 16,13-1-1,-13 0-15,0 0 16,13-13 0,0 0-1,-13-13 1,14 13-16,-14-13 0,13 13 16,-13-13-16,13 13 0,-13-14 15,13 1-15,0 13 0,-13-13 16,14 13-16,-1-13 0,0-1 15,0 14-15,-13-13 0,14 0 0,-1 13 16,0-13-16,-13 0 16,13 13-16,-26 13 62,0 0-46,13 0-1,13 0 1,0-13 0,1 0-1,-1 14 1,0-14 0,0 0-16,-13 13 15,13-13 1,-13 13-16,14-13 15,-1 0 17,0 0-17,0 0-15,1-13 16,-1 13-16,0 0 0,0 0 16,1-13-16,-1 13 0,0 0 15,0 0-15,0 0 16,1 0-16,-1 13 0,0-13 0,0 0 0,1 0 15</inkml:trace>
  <inkml:trace contextRef="#ctx0" brushRef="#br0" timeOffset="33008.5">22728 7699 0,'-14'27'0,"-12"26"32,26-40-32,-13 0 0,13 0 15,0 1-15,-13-1 0,13 0 16,0 0-16,0 1 16,13-28 15,0 1-31,0 0 15,-13 0-15,13-1 0,1 1 0,-1 0 16,0 0-16,0 0 0,1 13 0,-14-14 16,13 14-16,0 0 0,0 0 15,1 14 1,-1-1-16,-13 0 16,0 0-16,13-13 0,-13 13 0,0 1 15,13-1-15,0 0 16,1-13-1,-1 0-15,0 0 16,0 0-16,1-13 16,-1 0-16,0-1 15,0 1-15,1 13 16,-14-13-16,13 0 0,0 0 31,-26 39 0,13-13-31,0 0 16,0 1-16,0-1 0,0 0 16,13-13-16,-13 13 15,13-13-15,-13 14 0,13-14 16,1 0-16,-1 0 16,0-14-16,0 14 0,1-13 15,-1 13-15,-13-13 0,13 13 16,-13-13-16,13 13 0,1-14 15,-1 1 1,-13 26 15,0 1-15,0-1 0,13-13-1,0 0 1,0 0-1,1 0-15,-1 0 16,0-13-16,0 26 16,1-13-1,-1 13 1,0-13-16,-13 13 16,0 1-1,13-14-15,-13 13 16,13-13 31,1 0-32,-1-13-15,0 13 16,-13-14-16,13 14 16,1 0-1,-1 0 1,0 14 15,0-14-31,1 0 31,-1 0-15,0 0-16,0 0 16,0 0-1,1-14-15,-1 28 16,0-14-1,0 0 1,1-14 0,-1 14-1,0-13-15,0 13 16</inkml:trace>
  <inkml:trace contextRef="#ctx0" brushRef="#br0" timeOffset="33422.1">23879 7527 0,'0'-13'16,"0"26"-16,0-39 0,-14 52 31,14-12-31,0-1 16,-13 13-16,13-12 0,-13 12 0,13 0 15,-13-12-15,-1 12 0,14 1 16,-13-14-16,0 13 0,0-12 15,13-1-15,-13 0 0,13 0 0,0 0 16,-14-13-16,14 14 0,0-1 16,14-26 15,-1 13-31,0-14 0,0 14 0,0-13 16,1 0-16,-1 0 0,0 13 15,14-13-15,-14 13 0,0 0 0,0 0 16,1 0-16,-1 0 15,0 13-15,-13 0 16,-13-13 0,0 13-16,-1 0 0,1-13 0,-13 14 15,12-1-15,1 0 0,-13-13 16,12 13-16,1-13 0,0 14 0,0-14 16,13 13-1</inkml:trace>
  <inkml:trace contextRef="#ctx0" brushRef="#br0" timeOffset="33910.71">24117 7818 0,'0'0'0,"13"-13"16,0 13-16,-13-13 15,13 13-15,-13-13 16,14 0 0,-28 13 15,28 13 47,-14 0-78,13-13 16,-13 13-16,0 0 15,0 1 1,0-1 0,0 0 15,26-26-31,-12 0 15,-1 13 1,0-14-16,0 14 0,1-13 0,-1 13 16,0-13-16,0 0 0,0 13 0,1-13 15,-1 13-15,-13-14 0,13 14 0,-13-13 16,-26 13 0,12 0-1,1 13-15</inkml:trace>
  <inkml:trace contextRef="#ctx0" brushRef="#br0" timeOffset="38411.73">10993 3823 0,'-26'13'16,"13"-13"-16,13 14 0,-13-1 15,13 0-15,-14 0 0,1 1 0,0-1 16,0 0-16,13 0 0,-14 14 0,1-14 16,13 0-16,-13 0 0,13 1 0,-13-1 15,13 0-15,-14 0 0,14 1 16,0-1-16,0 0 0,14 0 15,-14 1-15,13-14 0,-13 13 0,13-13 16,0 13-16,1-13 0,-1 0 16,13 13-16,-12-13 15,12 0-15,-13 0 0,0 0 0,14 0 16,-14 0-16,0 0 0,1-13 0,12 13 16,-13 0-16,0-13 0,1 13 0,-1-13 15,0-1-15</inkml:trace>
  <inkml:trace contextRef="#ctx0" brushRef="#br0" timeOffset="38577.76">11271 3889 0,'-13'0'15,"0"14"1,13-1-16,-13-13 16,13 13-16,0 14 0,0-14 15,-14 0-15,14 13 0,0-12 0,-13 12 16,13 1-16,0-14 0,0 0 15,-13 0-15,13 1 0,13-1 0</inkml:trace>
  <inkml:trace contextRef="#ctx0" brushRef="#br0" timeOffset="38791.97">11430 3876 0,'0'-13'0,"0"39"31,0-12-31,-13-1 16,13 0-16,0 0 0,0 14 0,13-14 15,-13 13-15,0-12 0,0-1 0,0 0 16,0 0-16,0 1 0,0-1 16,13 13-16,-13-12 15</inkml:trace>
  <inkml:trace contextRef="#ctx0" brushRef="#br0" timeOffset="39190.79">11139 4048 0,'0'-13'0,"0"26"0,13-26 15,0 0 1,1 13-16,12 0 0,1-14 0,-1 14 15,0 0-15,1-13 0,13 13 16,-1-13-16,14 0 0,-13 13 0,-14-13 16,14-1-16,-13 1 0,-1 13 0,14-13 15,-40 0-15,13 13 16,0 0-16,-13-14 0,0 28 62,0-1-62,13 13 0,-13 1 16,0-14-16,14 13 0,-14 1 16,0-14-16,0 0 0,0 1 15,0-1-15,0 0 0,-14 0 16,14 1-16,-13-14 0,0 13 0,0 0 0,-14 0 16,14-13-16,-13 13 0,12-13 15,-12 14-15,-1-14 0,14 0 0,0 0 16,-14 0-16,14 0 0,0 0 15</inkml:trace>
  <inkml:trace contextRef="#ctx0" brushRef="#br0" timeOffset="39909.9">21921 3797 0,'0'0'0,"0"26"31,0-13-31,-13 14 0,13-1 16,-14 14-16,1-13 0,13 12 15,-13 1-15,0-14 0,-1 14 0,1-13 16,0-1-16,0 0 0,13 1 0,-14-14 16,1 14-16,13-14 0,-13 0 15,13 0-15</inkml:trace>
  <inkml:trace contextRef="#ctx0" brushRef="#br0" timeOffset="40236.1">21987 3810 0,'26'-13'0,"27"13"31,-53 13-31,0 0 0,0 0 0,0 1 16,-13-1-16,0 13 0,-14 1 0,-12-1 16,12 14-16,-12-14 0,12-12 15,1 12-15,12-13 0,1 1 0,-13-14 16,12 26-16,1-26 16,13 13-16,-13-13 0,13 14 15,13-1-15,0-13 16,1 13-16,25-13 15,-12 0-15,-1 13 0,-12-13 16,12 0-16,0 0 0,14 0 16,-13-13-16,-14 13 0,0-13 15</inkml:trace>
  <inkml:trace contextRef="#ctx0" brushRef="#br0" timeOffset="40379.33">22251 3850 0,'0'0'0,"-13"26"15,0-13-15,13 1 16,-13 12-16,13 1 16,-13-14-16,-1 13 0,14 1 15,-13-14-15,13 13 0,-13 1 0,13-14 16,0 0-16</inkml:trace>
  <inkml:trace contextRef="#ctx0" brushRef="#br0" timeOffset="40591.68">22476 3850 0,'27'-40'0,"-54"80"0,67-93 0,-40 26 15,13 27-15,-13 14 32,0-1-32,-13 13 0,13-13 15,-13 14-15,13-1 0,-13 1 0,-1-1 16,14 14-16,-13-14 0,0 1 15,0-1-15,13-12 0,-14 12 0,1-13 16,0 14-16,13-14 0</inkml:trace>
  <inkml:trace contextRef="#ctx0" brushRef="#br0" timeOffset="40920.49">22318 4022 0,'13'-14'16,"79"-25"0,-52 39-16,0-27 0,-14 14 15,14 0-15,-14 0 0,1-1 16,-1 1-16,-12 0 0,12 0 0,-13-1 16,0 1-16,1 0 0,-1 0 15,0 26 16,-13 0-15,13 0-16,-13 14 0,0-14 16,0 14-16,0-14 0,0 0 15,14 14-15,-14-14 0,0 0 0,0 13 16,-14-12-16,14-1 0,-13 0 16,13 0-16,-26 1 0,-1 12 15,1-13-15,13 1 0,-1-14 16</inkml:trace>
  <inkml:trace contextRef="#ctx0" brushRef="#br0" timeOffset="41047.69">22688 4101 0,'0'-13'16</inkml:trace>
  <inkml:trace contextRef="#ctx0" brushRef="#br0" timeOffset="46867.03">11139 6032 0,'93'0'31,"-67"0"-31,-13 0 15,14 0-15,-1 0 0,1 0 0,-1 0 16,1 0-16,-1 0 0,0 0 0,14-13 16,-27 13-16,14 0 15,-1 0-15</inkml:trace>
  <inkml:trace contextRef="#ctx0" brushRef="#br0" timeOffset="47111.78">11126 6152 0,'0'0'0,"26"-14"16,-13 14-1,1 0-15,-1 0 0,13 0 0,-12 0 16,12-13-16,0 13 0,-12 0 0,12 0 15,-13 0-15,1 0 0,12 0 16,-13-13-16,1 13 0,-1 0 0,0 0 16,0 0-16,0 0 0</inkml:trace>
  <inkml:trace contextRef="#ctx0" brushRef="#br0" timeOffset="47951.62">3929 6019 0,'0'27'31,"0"-14"-31,0 0 0,0 0 16,0 1-16,0-1 15,0 13-15,0-12 0,0-1 0,0 0 16,0 0-16,0 0 0,0 1 15,0-1-15</inkml:trace>
  <inkml:trace contextRef="#ctx0" brushRef="#br0" timeOffset="48482">3625 5755 0,'-53'26'0,"26"-13"0,1 14 16,-1-1-16,1 1 0,0 26 15,-1-14-15,14 14 0,-14 0 0,14 0 16,0 26-16,13-39 15,0 13-15,0-13 0,13-1 0,-13 1 16,13-13-16,1 12 0,12-12 0,-13 12 16,14-12-16,-1-1 0,1-12 15,-1 12-15,1-13 0,-1-13 16,14 14-16,-14-14 0,1 0 0,26 0 16,-14-14-16,14 1 0,0 0 0,0-14 15,0 1-15,0-1 0,40-39 16,-54 40-16,1-14 0,39-52 15,-52 52-15,-1-13 0,1 13 16,-1-13-16,-13 14 0,1-1 16,-14 13-16,13-12 0,-26-1 0,13 0 15,-14 1-15,-12-1 0,-1 14 0,-12-14 16,-1 13-16,-13-12 0,13 26 16,-26-14-16,13 14 0,-13 0 0,13-1 15,0 1-15,0 13 0,-13-13 0,13 13 16,0 0-16,-13 13 0,27-13 15,-14 0-15,13 13 0,0 1 16,1-1-16,25 0 0,1 0 0,0 1 0,13-1 16,13 0-16</inkml:trace>
  <inkml:trace contextRef="#ctx0" brushRef="#br0" timeOffset="49947.94">10980 7408 0,'0'-13'16,"-13"13"-1,13-13-15,0 0 16,13-1-1,0 14 1,1 0-16,-1-13 0,0 13 16,0 0-16,1 0 0,-1 0 15,0-13-15,0 13 0,0 0 0,1 0 16,-1 0-16,0 0 0,0 0 16,1-13-16,-1 13 0,0 0 15,0 0-15,1 0 16,-41-14 15,14 14-15,0 0-16,-1 0 15,1 0-15,0 0 0,0 14 16,-1-14-16,1 0 0,0 0 0,-13 0 0,12 0 16,1 0-16,0 0 0,13 13 15,-13-13-15,-1 0 0,1 0 16,0 0-16,0 0 15,0 0-15,-1 0 16,1 0 0,13 13-1,-13-13 1,0 0 15,-1 13 63,14 1-78,0-1-1,-13 0-15,13 0 16,-13 1-1,13-1 1,0 0 0,-13-13-1,26 13 32,0-13-47,0 0 16,1 0-1</inkml:trace>
  <inkml:trace contextRef="#ctx0" brushRef="#br0" timeOffset="50583.03">4987 8043 0,'0'27'15,"0"-14"1,0 0-16,0 0 16,-13 14-16,13-14 0,0 14 15,0-14-15,0 0 0,0 0 0,0 1 16,0-1-16,0 0 0,0 0 15,0 0-15,0 1 16</inkml:trace>
  <inkml:trace contextRef="#ctx0" brushRef="#br0" timeOffset="51176.29">4736 7832 0,'-40'26'0,"80"-52"0,-93 65 0,40-12 16,-14-14-16,14 14 0,0-1 16,-13 14-16,12-14 0,14 14 0,-13-1 15,0 1-15,13 0 0,0 13 16,13-14-16,-13 1 0,27 40 15,-1-54-15,-13 14 0,40 13 16,-26-27-16,-1 0 0,14 1 16,-14-14-16,1 0 15,-1-13-15,1 14 0,-14-14 0,13 0 16,1 0-16,-14 0 0,13 0 0,1-14 16,-1 1-16,1 0 0,-1-14 15,14 14-15,-14-13 0,1-1 0,-1-12 16,14-1-16,-14 0 0,1 1 0,-1-1 15,14-39-15,-13 39 0,-14 0 16,0 0-16,0 14 0,-13-14 16,0 1-16,0 12 0,0-12 15,-13 12-15,0 1 0,0-1 0,-1-13 16,-12 27-16,-1-13 0,1-1 0,-14 14 16,14 0-16,-14 0 0,0-1 15,14 1-15,-14 0 0,14 13 0,-1 0 16,-12-13-16,12 13 0,-13 0 0,1 13 15,-1-13-15,-13 13 0,13-13 16,1 13-16,-1 1 0,0 12 0,1-13 16,-1 1-16,14 12 0,-1 0 0,-13-12 15,14 12-15,0 1 0,12-14 16,-12 13-16,13-12 0,-1 12 0,1 0 16,0 1-16,13-14 0,0 14 15,0-14 1,13-13-16</inkml:trace>
  <inkml:trace contextRef="#ctx0" brushRef="#br0" timeOffset="54407.54">11245 8017 0,'13'53'0,"0"-40"16,-13 0-16,53 120 16,-40-94-16,1 14 0,12 0 15,-13-13-15,14 13 0,-1-14 16,-13 14-16,14-13 0,-1 13 0,14-13 16,-13 12-16,12-12 0,1 13 0,0 0 15,-1-13-15,1 13 0,13-14 16,-13 14-16,12-13 0,1 0 0,0-1 15,13 14-15,-13-13 0,14 0 0,-1 12 16,13-12-16,-13 0 0,0 0 16,0-1-16,14-12 0,-14-1 0,13 14 15,-12-14-15,12 1 0,0-14 0,14 13 16,-14 1-16,1-14 0,12 0 16,-12 1-16,25-14 0,-12 13 15,0-13-15,-1 13 0,1-13 0,13 0 16,0 0-16,-1 0 0,1 0 0,13 0 15,-13-13-15,0 13 0,26 0 16,-39-13-16,13 13 0,-1-14 0,15 1 16,-28 13-16,1-13 0,26 0 0,-27-1 15,1 1-15,26 0 0,-26-13 0,-14 12 16,40-12-16,-13-1 0,-27 14 16,14-13-16,-14-1 0,1 1 0,-14-1 15,13 14-15,-13-13 0,14-1 0,52-26 16,-79 40-16,13-13 15,-26 12-15,13-12 0,-14 13 16,-12-1-16,13-12 0,-14 13 0,0 0 16,14-14-16,0 14 0,-27 0 15,13-1-15,-12 1 0,12 0 16,1 0-16,-14-1 0,0 1 16,14 13-16,-14-13 0,0 13 0,0-13 0,0 13 15,1-13-15,-1 13 0,-13-14 0,13 14 16,0 0-16,-13-13 15,14 13-15,-1-13 16,0 0 15,-26-1-15,13 1 0,0 0-1</inkml:trace>
  <inkml:trace contextRef="#ctx0" brushRef="#br0" timeOffset="54723.77">17542 8758 0,'-13'0'0,"26"0"0,0 0 31,0 13-15,14-13-16,-14 0 0,53 13 16,-26 0-16,0 1 0,-1-1 15,1 13-15,-14-12 0,14 12 0,-13 0 16,-1-12-16,0 12 0,14 40 16,-27-52-16,1 12 0,-14 0 15,0-12-15,-14 25 0,1-12 0,-13-1 16,-1 14-16,-12-14 0,-1 1 15,0-1-15,0 1 0,1-14 0,12 13 16,1-26-16,-1 14 0,14-14 0,0 0 16,0 0-16</inkml:trace>
  <inkml:trace contextRef="#ctx0" brushRef="#br0" timeOffset="56494.93">20267 8837 0,'-13'0'15,"13"-13"1,26 13 15,-12 0-31,-14 13 16,13-13-16,0 13 0,0-13 0,-13 14 16,13-1-16,-13 0 0,0 0 15,0 0-15,0 1 0,0 12 0,-13-13 16,0 14-16,-13-14 0,-1 14 15,14-14-15,-14 0 0,14 13 0,0-12 16,-14-14-16,14 13 0,0 0 16,0-13-16,13 13 0,-27 1 15,14-1-15,26 0 32,1-13-32,-1 0 15,0 0-15,0-13 0,14 13 0,12 0 16,-12 0-16,-1 0 15,-12 0-15,12 0 0,0-13 16,14 13-16,-27 0 0,1 0 0,-1-14 16,13 14-16,-12 0 0,-1 0 0,0 0 15</inkml:trace>
  <inkml:trace contextRef="#ctx0" brushRef="#br0" timeOffset="57470.34">20730 9115 0,'40'13'15,"-40"0"1,13-13-16,-13 14 0,13-1 16,-13 0-16,13 0 0,-13 1 0,0-1 15,0 0-15,0 0 0,0 0 0,-13 1 16,13-1-16,-13 0 0,0 0 15,0 1-15,-1-1 0,14 0 0,-13 0 16,0-13-16,13 13 0,-13-13 0</inkml:trace>
  <inkml:trace contextRef="#ctx0" brushRef="#br0" timeOffset="57832.75">21286 8956 0,'0'0'0,"-14"27"32,1-14-32,-13 13 15,13-12-15,-14-1 0,1 13 16,-1-13-16,14 1 0,-13-1 15,12 0-15,1 0 0,0 1 0,0-14 16,13 13-16,-14 0 0,1 0 16,26 1-1,1-14-15,12 13 16,1-13-16,-1 0 0,-13 0 16,14 0-16,-1-13 0,-13 13 15,14 0-15,-1 0 0,-13 0 16,1 0-16,12-14 0,-13 14 0,1 0 0,12-13 31</inkml:trace>
  <inkml:trace contextRef="#ctx0" brushRef="#br0" timeOffset="58043.62">21352 8996 0,'-13'0'0,"13"13"31,-14 0-31,14 1 0,0 12 16,0-13-16,0 0 0,-13 14 16,13-14-16,-13 0 0,13 14 15,0-14-15,-13 0 0,13 1 0,-14 12 16,14-13-16,-13 0 0,13 1 0,0-1 16,-13 0-16,13 0 0,0 1 15</inkml:trace>
  <inkml:trace contextRef="#ctx0" brushRef="#br0" timeOffset="58278.8">21564 9141 0,'13'0'15,"-26"0"-15,39 0 16,-26 14-1,0-1-15,13-13 0,-26 13 16,13 0-16,0 14 0,-13-14 0,13 13 16,-13-12-16,-1 25 0,1-25 0,0 12 15,0-13-15,-1 0 0,1 1 16,13-1-16,-13 0 0,13 0 0,-13-13 16,13 14-16,-14-14 0</inkml:trace>
  <inkml:trace contextRef="#ctx0" brushRef="#br0" timeOffset="58652">21960 8903 0,'-13'0'0,"26"0"0,-39 0 15,0 13-15,12-13 0,1 14 16,-13 12-16,-1-13 0,1 14 0,-14 26 16,27-27-16,0 1 15,-1-14-15,14 0 0,0 14 0,-13-14 16,26 0-16,-13 0 0,0 1 0,14-1 16,-1-13-16,0 13 0,0-13 15,0 0-15,1 0 0,-1 0 16,0 0-16,0 0 0,14-13 0,-14 13 15,0-13-15,1-1 0,-14 1 16,0 0 0,-14 0-16,-12 13 15,13-14-15,-14 14 0,14 0 0,-27 0 16,14 0-16,-27 0 0,13 0 0,-52 0 16</inkml:trace>
  <inkml:trace contextRef="#ctx0" brushRef="#br0" timeOffset="59391.12">19936 8692 0,'0'0'0,"-13"13"32,0 0-32,0 0 15,-1 0-15,-12 1 0,13 12 0,-40 27 16,26-40-16,1 14 0,-14-1 15,14-13-15,13 14 0,-1-14 16,1 0-16,0-13 0,0 14 0,-1-1 16,41-13 15,-1 0-31,-12-13 0,-1 13 16,13 13-16,1 0 0,-14 0 15,0 1-15,0 12 0,1-13 0,-14 14 16,0 12-16,0 1 15,0 0-15,-14 39 0,14-52 0,0 12 16,-13-12-16,13-14 0,0 13 16,13-12-16,-13 12 0,14-13 15,-14 1-15,26-14 0,14 13 16,-1-13-16,1 0 0,13-13 16,13-1-16</inkml:trace>
  <inkml:trace contextRef="#ctx0" brushRef="#br0" timeOffset="60282.73">22000 8625 0,'13'0'16,"1"0"-16,12 0 16,-13 14-16,-13-1 15,13-13-15,-13 13 0,14 0 16,-14 1-16,0 12 0,0-13 16,-14 0-16,14 14 0,0-14 0,-13 0 15,13 1-15,0-1 0,0 0 16,0 0-16,0 1 0,0-1 15,0 0-15,13-13 16,1 0-16,-1 0 16,0 0-16,0-13 0,1 13 15,-1 0-15,0 0 0,0 0 0,1 0 16,-1 0-16,0 13 0,0 0 16,-13 14-16,13-14 0,-13 13 15,0 1-15,0-1 0,-13 1 0,13 12 16,-13-12-16,0 13 0,-14 26 15,14-40-15,0 14 0,0-14 16,-14 1-16,14-1 0,-27 27 16,27-40-16,0 1 0,-14-1 15,14 0-15,-13 0 0,12-13 0,1 14 16,-13-14-16,13 0 16,-1-14-16,1 14 0</inkml:trace>
  <inkml:trace contextRef="#ctx0" brushRef="#br0" timeOffset="63442.01">19354 5966 0,'0'-13'0,"-13"79"16,0-39-1,13-1-15,-13 14 0,-1-14 0,1 14 16,0-14-16,0 41 0,-1-28 16,1-25-16,0 12 0,13 0 15,-13-12-15,13-1 0,-13 0 0,13 0 16,0 1-16,-14-1 0</inkml:trace>
  <inkml:trace contextRef="#ctx0" brushRef="#br0" timeOffset="63721.98">19500 6099 0,'0'-14'0,"-40"14"16,27 0-1,-27 27-15,14-1 0,-1-12 16,1 12-16,13-13 0,-14 0 0,14 1 16,0-1-16,-1 0 0,1 0 15,13 1-15,-13-1 0,13 0 0,-13 0 16,13 1-16,0-1 0,13 0 16,0 0-1,0-13-15,1 13 0,12-13 16,-13 0-16,14-13 0,-14 13 15,14 0-15,-1 0 0,0-13 0,1 13 16,-1 0-16,1 0 0,-14-13 16,13 13-16</inkml:trace>
  <inkml:trace contextRef="#ctx0" brushRef="#br0" timeOffset="64446.78">19950 6363 0,'-14'0'0,"1"-13"16,0 13-1,13-13 1,-13 13-16,-1-13 16,1-1-16,0 1 15,0 0-15,13 0 16,-13-1-16,13 1 0,-14 0 0,14 0 16,-13-14-16,13 14 0,0 0 15,0 0-15,-13-1 0,13 1 16,0 0-16,0 0 0,0-1 15,13 1-15,0 0 16,1 13 0,-1 0-16,0 0 15,-13 13-15,13-13 0,0 13 16,1 1-16,-1-14 16,-13 13-16,13-13 15,-13-13 32,0-1-31,13 1-16,-13 0 15,0 0-15,14 13 0,-14-14 0,13 1 16,0 13 0,0-13-16,0 26 15,1-13-15,-1 13 0,0 1 16,-13-1-16,0 0 15,13 0-15,-13 1 0,0 12 16,-13-13-16,13 1 0,0-1 16,-13 13-16,13-13 0,-13 1 15,-1 12-15,1-13 0,0 14 0,0-14 16,0 0-16,-14 14 0,14-14 16,0 0-16,13 0 0,-14 1 0,1-14 15,13 13-15,-13-13 0,13 13 16,0 0-1</inkml:trace>
  <inkml:trace contextRef="#ctx0" brushRef="#br0" timeOffset="64931.8">20532 6006 0,'0'-13'15,"13"39"1,-13-13-16,0 1 16,0-1-16,0 13 0,0-12 15,-13 12-15,13-13 0,0 14 16,0-14-16,-14 13 0,14-12 0,0-1 16,0 0-16,-13 14 0,13-14 15,0 0-15,13-13 0,-13 13 16,14 1-16</inkml:trace>
  <inkml:trace contextRef="#ctx0" brushRef="#br0" timeOffset="65229.8">20902 6085 0,'0'-13'0,"0"26"0,-13-26 15,0 13-15,-14 13 16,14-13-16,0 14 0,-14-1 15,1 0-15,-1 0 0,1 1 0,-14 12 16,27-13-16,0-13 0,0 13 16,-14 1-16,27-1 15,-13 0-15,13 0 0,0 1 16,0-1-16,13 0 16,0-13-16,1 13 15,-1-13 1,0 0-16,0 14 0,0-14 0,1 0 15,-1 0-15,0 0 0,0 0 0,14 0 16,-14 0-16,0 0 16,0 0-16,-13-14 0</inkml:trace>
  <inkml:trace contextRef="#ctx0" brushRef="#br0" timeOffset="66596.09">21087 6178 0,'40'0'15,"-27"13"1,0 0-16,1-13 15,-1 14-15,0-1 0,0 0 16,1-13-16,-1 13 0,-13 1 16,13-14-16,0 13 0,0-13 15,-13 13-15,14 0 16,-1-13 0,0 0-16,0 0 15,-13-13-15,14 13 16,-14-13-16,13 13 0,-13-13 15,13-1-15,-13 1 16,13 13-16,1-13 0,-14 0 0,13-1 16,0 1-16,-13 0 15,13 0-15,-13 0 0,13 13 16,-13-14-16,14 1 16,-14 0-1,13 13 1,-13-13 15,0-1 32,-13 14-48,13-13-15,-14 13 16,1-13-16,0 0 15,0-1-15,0 1 16,13 0-16,-14 13 0,14-13 16,-13 0-16,13-1 0,-13 1 15,13 0-15,-13 13 16,13-13-16,-14-1 16,1 1-16,13 0 15,-13 13 1,13-13-1,-13 13 48,-1 0-47,1 13-16,0-13 0,0 13 15,0 0-15,-1 1 16,1-1-16,0-13 0,0 13 0,-1 0 15,1 1-15,0-1 0,0 0 16,0 0-16,-1-13 0,1 13 16,13 1-16,-13-1 0,0 0 0,-1 0 15,1 1-15,0-1 0,0 0 16,13 0-16,-14-13 0,14 14 16,-13-14-16,13 13 15,-13-13-15,13 13 16,13-13 15,14-13-31</inkml:trace>
  <inkml:trace contextRef="#ctx0" brushRef="#br0" timeOffset="67009.77">22172 5966 0,'0'0'0,"0"-13"16,13 26 15,-13 1-31,0-1 0,0 0 16,0 0-16,-13 27 0,13-27 15,-13 14-15,0 12 0,13-25 16,-14-1-16,1 13 0,13-13 16,0 1-16,0-1 15,-13 0-15,26-13 0,-13 13 16,13-13-16</inkml:trace>
  <inkml:trace contextRef="#ctx0" brushRef="#br0" timeOffset="67346.02">22595 6006 0,'14'-13'0,"-28"26"0,14-39 31,-26 26-31,13 13 0,-1-13 16,1 0-16,-13 13 0,-1 0 0,1 0 15,-1-13-15,14 14 0,-13-1 16,-1 0-16,1-13 0,13 13 15,-1 1-15,1-14 0,0 13 0,0 0 16,-1-13-16,1 13 0,0-13 16,13 14-16,-13-1 15,26-13-15,-13 13 16,13-13-16,0 0 0,-13 13 16,14-13-16,-1 0 0,0 0 15,0 13-15,1-13 0,12 0 0,-13 0 16,1 0-16,-1 0 0,0 0 0,0 0 15,14 0-15,-14 0 16,0 0-16,0 0 0,1 0 0,12 0 16</inkml:trace>
  <inkml:trace contextRef="#ctx0" brushRef="#br0" timeOffset="69327.86">23058 6046 0,'0'-14'0,"-13"14"78,0 14-62,0-1-16,0 0 15,13 0-15,-14-13 0,14 14 0,-13-14 16,0 13-16,0-13 16,-1 13-16,1 0 15,0-13-15,0 14 16,-1-14-1,1 0-15,0 0 16,0-14-16,0 14 16,13-13-1,-14 13-15,14-13 16,0 0-16,-13 13 0,13-14 16,-13 1-16,13 0 15,0 0 1,-13-1-1,26 1 1,-13 0-16,0 0 16,0 0-16,0-1 15,0 1-15,13 13 16,-13-13-16,0 0 0,0-1 16,13 1-1,-13 0-15,0 0 16,0 0-16,14 13 15,-14-14-15,0 1 16,13 0 0,0 0-1,-13-1 1,13 14-16,-13-13 16,13 13-16,-13-13 0,14 13 15,-1-13 1,0 13-16,0-14 15,1 14 1,-1 0-16,0 0 16,0 0-1,1 0 1,-1 0 0,-13 14-16,13-14 15,0 0 1,-13 13-1,13 0 1,-13 0 0,14 1-1,-14-1 1,13-13-16,-13 13 16,13 0-1,-13 1-15,13-1 16,-13 0-1,0 0-15,14-13 0,-14 13 0,13 1 16,-13-1 0,13 0-16,-13 0 15,13 1 1,-13-1-16,0 0 16,14 0-1,-14 0 1,0 1-1,-14-14-15,14 13 16,-13 0 15,0-13-15,0 0-16,-1 0 16,1 0-1,0 0-15,0 0 16,-1 0-16,1 0 0,13-13 15,-13 13-15,0 0 16,0-13 0,-1 13-1,14-14 1,-13 14 0,0 0 46,0 14-62,13-1 16,0 0-16,0 0 0,-14 1 15,14-1-15,0 0 16,0 14-16,0-14 0,0 0 16,0 0-16,0 14 0,-13-14 15,13 0-15,0 0 0,0 1 0,0-1 16,-13 0-16,13 0 0,0 14 15,-13-14-15,13 0 16</inkml:trace>
  <inkml:trace contextRef="#ctx0" brushRef="#br0" timeOffset="71243.92">23746 5755 0,'14'-14'0,"-14"1"15,0 40 1,0-14-16,0 0 16,0 0-16,0 1 0,-14 12 0,14 1 15,0-1-15,-13-13 0,13 14 16,-13-1-16,13-13 0,-13 14 15,13-14-15,0 0 0,-14 0 0,14 1 16,0-1-16,-13 0 0,13 0 0,0 1 16,13-1-1</inkml:trace>
  <inkml:trace contextRef="#ctx0" brushRef="#br0" timeOffset="71534.2">24051 5861 0,'0'-14'0,"-53"28"31,39-14-31,1 0 16,-13 13-16,13-13 0,-14 13 0,14-13 16,0 13-16,-14 0 0,14-13 0,0 14 15,-1-14-15,14 13 0,-13 0 16,0-13-16,13 13 0,0 1 0,-13-1 15,26 0-15,0 0 16,0-13 0,1 13-16,-1-13 0,0 0 15,0 0-15,1 14 0,-1-14 0,0 0 16,0 0-16,1 0 0,-1 0 16,13 0-16,-13 0 0,14-14 0,-1 14 15,-12 0-15</inkml:trace>
  <inkml:trace contextRef="#ctx0" brushRef="#br0" timeOffset="73672.11">24619 5953 0,'-26'13'47,"13"-13"-47,0 0 16,-1 14-16,1-14 15,0 0-15,0 0 0,-1 0 16,14 13-16,-26-13 15,13 0 1,-14 0-16,27-13 0,-13 13 16,0 0-16,0-14 15,-1 14-15,14-13 16,-13 13-16,13-13 0,0 0 16,0-1-1,0 1-15,0 0 16,0 0-16,13 13 0,-13-13 15,14 13-15,-14-14 0,13 1 0,0 13 16,-13-13-16,13 13 16,1-13-16,-1 13 0,0 0 15,0-14-15,0 14 16,1 14 0,-1-14-1,0 0 1,0 0-16,-26-14 62,13 1-46,-13 13-16,13-13 16,0 0-16,0-1 0,0 1 15,0 0-15,0 0 0,0 0 16,0-1-16,0 1 0,13 0 15,-13 0-15,0-1 0,13 1 0,-13 0 16,14 0-16,-14-1 0,13 14 16,-13-13-16,0 0 0,13 0 0,0 0 15,0 13-15,-13-14 0,14 14 16,-14-13-16,13 13 0,0 0 16,0 0-16,1-13 0,-1 13 15,13 0-15,-26 13 16,14-13-16,-1 0 0,0 13 15,0-13 1,0 14-16,-13-1 0,14-13 16,-14 13-16,13 0 0,-13 0 15,13 1 1,-13 12-16,0-13 16,0 1-1,0-1 1,13-13-16,-13 13 15,0 0 1,0 1 31,0-1 31,-13-13-47,13 13 1,13-26 77,1 0-93,-1 13-16,0-14 0,0 14 15,1 0 1,-1 0-16,0 0 0,0 0 15,0 0-15,1 0 16,-1 0-16,-13 14 0,13-14 16,0 13-16,1-13 0,-1 13 0,0-13 15,-13 13-15,13-13 0,14 27 16,-14-27-16,-13 13 0,13-13 16,-13 13-16,13 0 0,1 1 15,-14-1-15,13-13 16,-13 13-16,0 0 15,0 1-15,0-1 16,-13 0 0,-1 0-16,1 0 15,0-13 1,13 14-16,-13-14 0,-1 13 16,1-13-16,0 0 15,0 13-15,0-13 0,-14 0 16,27 13-1,-13-13-15,0 0 0,-1 0 16,-12 0-16,0 0 16,-1 0-1,14 0 1,0 0-16,-1 0 16,1 0-16,0 0 15,0 0-15,-1 0 0,1 0 0,0 0 16,0 0-16,0 0 15,-14 0-15,14 0 0,0 0 16,-1 0 0,-12 0-16,13-13 15,-1 26-15,1-13 16,0 0 0,13 14-1</inkml:trace>
  <inkml:trace contextRef="#ctx0" brushRef="#br0" timeOffset="73895.75">24659 5980 0,'13'0'16,"-13"13"0,0 13-1,0-13-15,-13 14 16,13-14-16,-13 14 0,13-1 0,-13 1 15,13-1-15,-14 0 0,14 1 0,0-14 16,0 14-16,0-14 0,0 13 16,0 1-16,-13-14 0,13 0 0,0 27 15,0-27-15,0 0 0,0 1 16,0-1-16,0 0 16</inkml:trace>
  <inkml:trace contextRef="#ctx0" brushRef="#br0" timeOffset="75263">19407 6681 0,'53'-13'0,"-106"26"0,146-40 0,-54 27 16,14 0-16,0-13 0,27 13 0,-14-13 15,13 13-15,14 0 0,-1 0 16,1-13-16,13 13 0,0 0 0,0 0 16,39 0-16,-13 0 0,14 0 0,-14 0 15,146 13-15,-133-13 16,1 0-16,0 13 0,-14-13 16,13 0-16,-12 13 0,-28-13 15,1 0-15,0 0 0,106 14 0,-120-14 16,14 0-16,-13 0 15,-14 0-15,14 0 0,-14 0 0,1 0 0,-1 0 16,0 0-16,1 0 0,-27-14 0,0 14 16,13 0-16,-13 0 0,-1 0 0,1 0 15,0 0-15,0 0 16,-13-13-16,13 13 0,0 0 0,26 0 16,-39 0-16,0-13 0,-1 13 0,1 0 15,0-13-15,-14 13 0,14 0 16,-1-14-16,-12 14 0,13-13 15,12 13-15,-25-13 0,13 13 0,-1-13 16,1 13-16,0-14 0,13 14 0,0-13 16,-14 0-16,14 0 0,0 13 15,0-13-15,0-1 0,0 1 0,-14 0 16,14 0-16,-13-1 0,0 1 0</inkml:trace>
  <inkml:trace contextRef="#ctx0" brushRef="#br0" timeOffset="76215.78">25387 6416 0,'-66'-1045'0,"26"1032"0,-26 0 0,13-14 16,0 14-16,0 0 0,0-1 15,0 1-15,0 13 0,0-13 16,0 13-16,-52 0 0,38 0 0,15 0 16,-1 0-16,-13 13 0,13-13 15,-14 13-15,15 1 0,-15-1 16,1 0-16,-53 14 0,66-14 15,-13 0-15,0 0 0,-40 1 16,40-1-16,13 0 0,0 0 16,-13 0-16,0-13 0,0 14 0,26-1 15,-13 0-15,-13 0 0,13-13 0,13 14 16,-13-1-16,14 0 0,-14-13 0,13 13 16,0 0-16,-12-13 15,12 14-15,0-1 0,0-13 0,-12 13 0,12-13 16,0 13-16,-13-13 0,14 14 15,-41-1-15,41-13 0,-28 0 16,14 13-16,14-13 16,-1 0-16,-13 13 0,13-13 0,-12 0 15,12 0-15,-13 0 0,13 0 0,1 14 16,-14-14-16,0 0 0,13 0 16,-66 0-16,53 0 0,14 13 15,-14-13-15,-53 0 16,53 0-16,0 0 0,0 0 15,0-13-15,0 13 0,-39 0 16,39-14-16,13 14 0,-53-13 16,41 13-16,-28-13 0,27 0 15,14 13-15,-94-14 16,107 1-16,-14 13 0,-26 0 16,26 0-16,14-13 0,-40 13 15,13 0-15,13 0 0,0 0 16,14 0-16,-14 0 0,-13 0 15,14 0-15,12 0 0,-39 13 16,40-13-16,-1 13 16,1-13-16,-14 14 0,14-14 15,-1 0-15,1 13 0,-1 0 0,1-13 0,-1 13 16,-12 1-16,12-1 0,-13 13 16,14-13-16,0 1 0,-14 12 0,13-13 15,-39 27-15,27 0 16,-1-14-16,-26 40 0,39-26 15,-12-14-15,-14 54 0,39-54 16,-12 14-16,13-14 0,-1 14 16,1-13-16,-13 39 15,26-27-15,0-25 0,0 12 0,0 27 16,13-13-16,0-14 0,27 40 16,-14-39-16,1-14 15,39 40-15,0-13 0,-13-27 16,-13 0-16,13 0 0,-14-13 15,14 14-15,0-1 0,13-13 16,0 0-16,-13 0 0,0 0 0</inkml:trace>
  <inkml:trace contextRef="#ctx0" brushRef="#br0" timeOffset="78869.03">6006 4564 0,'79'13'16,"-52"-13"-16,13 0 16,-1 0-16,54 14 15,-40-14-15,0 0 0,-14 13 0,14-13 16,-13 0-16,13 13 0,-13-13 15,13 0-15,-14 13 0,14-13 16,-13 0-16,13 0 0,-14 13 0,14-13 16,0 0-16,0-13 0,0 13 0,0 0 15,0 0-15,0-13 0,0 13 0,0 0 16,0-13-16,-1 13 0,1-13 16,0 13-16,13-14 0,-13 14 0,0 0 15,13 0-15,-13-13 0,0 13 0,0 0 16,0 0-16,0 0 0,0-13 15,0 13-15,0 0 0,0 0 0,0-13 16,0 13-16,-1-14 0,1 1 16,0 13-16,0-13 0,-13 0 15,13-1-15,-14 1 0,14 0 16,-13 0-16,0-14 0,-1 14 0,41-40 16,-54 27-16,1-1 0,26-26 15,-27 27-15,-13-1 0,1-12 16,-1 12-16,-13 1 0,0-1 0,0 1 15,-13-14-15,13 1 0,-14 12 0,-12-13 16,-1 1-16,1 12 0,-14-12 16,1-1-16,-14 13 0,-13 1 0,-67-27 15,54 27-15,-1-1 0,-91-13 16,65 14-16,13 13 16,14-14-16,-14 14 0,1 13 15,-1-13-15,-92 0 0,79 13 16,13 0-16,-13 0 0,14 13 0,-1-13 15,-26 26-15,27-13 0,-14 14 16,0-1-16,0 1 0,0-1 0,14 14 16,-1 0-16,0-1 0,1 1 15,26-13-15,-1 12 0,-38 54 16,52-53-16,13 12 0,0-12 16,1 0-16,-1 0 0,14-1 0,-1 1 15,14 0-15,0-1 0,-1-12 0,1 12 16,0 1-16,0-13 0,-1-1 15,14 0-15,0 1 0,0-14 0,0 14 16,0-14-16,14 13 0,-14 1 0,13-14 16,-13 13-16,13-12 0,0 12 0,1-13 15,-1 1-15,13-1 0,1 13 16,-1-13-16,1 1 0,12-1 0,-12-13 16,-1 13-16,14-13 0,13 0 15,-27 0-15,14 0 0,-14-13 16,14 13-16,0 0 0,0-13 15,-1 13-15,-12-14 0,-1 14 0,1 0 0,12-13 16,14 13-16,-26 0 16,-14-13-16,53 13 15,-39 0-15,12-13 0</inkml:trace>
  <inkml:trace contextRef="#ctx0" brushRef="#br0" timeOffset="80100.75">8705 3969 0,'39'-13'31,"-25"13"-31,-1-14 16,0 14-16,14-13 0,-1 0 0,1 13 16,-1-13-16,14-1 15,-1-12-15,14 13 0,0-14 0,0 14 16,0-13-16,0-1 0,13 1 0,-13-1 15,0 1-15,0-1 0,13 1 16,0-1-16,14-12 0,12-1 16,-26 13-16,27-12 0,92-41 0,-79 54 15,0-14-15,0 1 16,-1 12-16,1-13 0,119-39 16,-106 53-16,0-14 0,14 0 0,-14 14 15,13-14-15,0 14 0,1-1 0,-1 1 16,13-1-16,1 1 0,145-14 15,-146 14-15,14 12 0,172-25 16,-172 26-16,13-1 0,-14 1 16,14 0-16,-13 0 0,26-1 15,-13 14-15,0-13 0,0 13 0,13 0 16,-13 0-16,0 0 0,14 0 0,-1 0 16,0 13-16,0 1 0,0-14 15,-13 13-15,199 27 16,-186-27-16,172 40 0,-185-27 0,0 1 15,13-1-15,-13 14 16,0-1-16,159 41 0,-172-41 16,13 14-16,132 40 0,-158-40 15,12 0-15,-12 13 0,132 40 16,396 198 0,-555-238-16,1 0 15,-15-13-15,14 13 0,-13-13 0,-13 0 16,-1 0-16,1 0 0,0 0 15,-40-13-15,13-14 0,-13 14 0,0 0 16,-1-14-16,-12 14 0,40 13 16,-54-27-16,0-13 0,-12 1 15,12-1-15,-26 0 0,13 0 16,1 0-16,-1-13 0,-13 14 0,13-14 16,-13 13-16,13-13 0,-39-13 46,13 13-46,-1-14 0,1 14 16,13-13-16,-26 0 0</inkml:trace>
  <inkml:trace contextRef="#ctx0" brushRef="#br0" timeOffset="80486.85">21405 4128 0,'0'13'0,"26"13"31,-13-13-31,1 1 0,12 12 16,1 1-16,-1-14 0,14 13 0,-14 1 16,14-1-16,0 1 0,-1 12 0,-12-25 0,12 25 15,1-12-15,-13-1 0,12 1 16,-12-1-16,-1 1 0,1-1 16,-14-13-16,13 14 0,-12-1 15,-1-13-15,0 1 0,0-1 0,-13 13 16,0-13-16,-13 1 0,-13 12 15,-27 1-15,-13-1 0,-173 27 16,94-27-16,-27 14 0,-53 0 16,-26 0-16,-1-14 0,-26 14 0,1-14 15</inkml:trace>
  <inkml:trace contextRef="#ctx0" brushRef="#br0" timeOffset="125546.52">3268 11311 0,'26'-13'78,"1"13"-78,-14 0 16,0-14-1,-53 28 17,14-14-32,-1 13 0,1 0 0,-53 14 15,39-27-15,0 13 0,0 0 16,14 0-16,0-13 0,-1 14 15,1-1-15,12-13 0,1 0 0,0 13 16,0 0-16,13 0 16,13-13-16,-13 14 15,26-1-15,-12-13 0,12 13 16,1 0-16,-1-13 0,0 14 0,1-1 16,-1 0-16,-12 0 0,-1-13 15,0 14-15,0-1 0,1-13 0,-1 13 16,-13 0-16,13-13 0,-13 13 0,-13 1 15,13-1-15,-13 0 0,-1 0 16,1 1-16,-13-1 0,-41 27 16,41-27-16,0 0 0,-1 0 15,14-13-15,-14 13 0,14 1 0,-13-14 0,13 0 16,-1 13-16,1-13 0,0 0 16,13-13-1</inkml:trace>
  <inkml:trace contextRef="#ctx0" brushRef="#br0" timeOffset="125923.51">3294 11523 0,'27'-14'0,"39"28"31,-53-14-31,0 13 16,-13 0-16,13 0 0,-26 1 15,13 12-15,-13-13 0,0 14 16,13-14-16,-27 13 0,14 1 16,0-14-16,0 0 0,-1 1 0,-12 12 15,13-13-15,-1 14 31,1-27-31,13 13 0,13-13 16,1 0-16,-1 0 16,0 0-16,0 0 0,14 0 0,-14 0 15,13-13-15,1 13 16,-1 0-16,1-14 0,-14 14 0,27 0 16,-27-13-16,13 13 0,1-13 0,-14 13 15,14 0-15,-14-13 0,13 13 16</inkml:trace>
  <inkml:trace contextRef="#ctx0" brushRef="#br0" timeOffset="127171.58">4154 11470 0,'0'0'0,"-26"-14"0,12 14 0,1 0 0,0 0 16,0 0-16,-1 14 0,1-14 0,0 0 15,0 13-15,-1 0 0,-12 0 0,13 1 16,-14 25-1,14-25-15,0 12 0,0-13 0,13 0 16,-14 14-16,14-14 0,0 0 0,0 1 16,14 12-16,-14-13 0,13 1 15,-13-1-15,13 0 0,14-13 0,-14 13 16,0 0-16,13-13 0,1 0 0,-14 0 16,14 0-16,-14 0 0,13 0 15,-12-13-15,-1 13 0,13 0 0,1-26 16,-14 13-16,0-1 15,-13 1-15,0 0 16,0 0 0,-13-1-1,0 14-15,-1 14 16,1-14 0,13 13-16,13-13 15,1 13 1,-1-13-16,0 0 15,-13 13-15,13-13 16,1 0-16,-1 0 0,-13 14 0,13-14 0,0 0 16,-13 13-16,13-13 0,-13 13 15,14-13-15,-14 13 0,0 0 16,0 1-16,0-1 0,0 0 16,-14 0-16,14 1 15,-13-1 1,0-13-1,13-13 1,13-14 0,0 14-16,-13 0 0,14 13 15,-1-14-15,-13 1 0,13 13 0,0-13 16,1 0-16,-1 13 16,0-13-16,0 13 0,1-14 0,-1 1 15,0 13-15,0-13 0,0 0 16,14 13-16,-14-14 0,14-12 0,-1 13 15,1-14-15,-14 14 0,13 0 16,-13 0-16,1-1 0,-1 1 0,0 0 16,0 0-16,1-1 0,-14 1 0,13 13 15,-13-13-15,13 13 0,-13 13 32,0 0-32,-13 1 15,13-1-15,-13 13 0,13-12 16,-14 12-16,14-13 0,0 0 0,0 14 15,-13-14-15,13 0 0,0 1 0,0-1 16,13 0-16,-13 0 0,0 1 16,0-1-1,-13-13-15,0-13 16,0 13 0,-1 0-16,1 0 15,0 0-15,0 0 0,0 13 0,-1-13 16,1 0-16,13 13 0,-13-13 0,0 13 15,13 0-15,-14-13 16,41 14 0,-14-14-16,0 0 15,14 0-15,-14 0 0,0-14 0,14 14 16,-14-13-16,13 13 0,-12-13 0,12 0 16,-13 13-16,14 0 0,-14-13 15,0 13-15,0 0 0,1 0 0,-1 0 16,0 0-16,0 0 0,1 13 15,-1-13-15,0 13 0,0-13 16,-13 13-16,13-13 0,-13 13 0,14 1 16,-14-1-1,-14 0-15,1 0 16,0 1-16,0-14 16,13 13-16</inkml:trace>
  <inkml:trace contextRef="#ctx0" brushRef="#br0" timeOffset="128062.64">6734 11496 0,'26'-13'0,"-52"26"0,65-26 0,-25 13 16,-1 0-16,0 0 16,0 13-16,0-13 0,1 13 0,-1 1 15,-13-1-15,0 0 16,0 0-16,0 1 0,0-1 16,-13 13-16,-27 27 0,27-26 15,-14-14-15,14 13 0,-13-12 0,12-1 16,1 0-16,0-13 0,0 13 15,0 0-15,-1-13 0,14 14 16,-13-14-16,40 0 16,-1 0-1,-13 0-15,0 0 16,14-14-16,-1 14 0,1-13 0,-1 13 16,1-13-16,-1 13 0,1-13 0,-14 13 15,13-13-15,1 13 0,-14 0 16,13-14-16,-12 14 0,12 0 0,-13 0 15</inkml:trace>
  <inkml:trace contextRef="#ctx0" brushRef="#br0" timeOffset="129431.82">7342 11708 0,'-13'0'15,"0"0"1,-1 0 0,14-13-1,-13 13-15,0-14 16,0 14-16,13-13 16,-13 13-16,13-13 0,-14 0 0,1-1 15,13 1-15,0 0 16,-13 0-16,13 0 0,0-1 15,0 1-15,0 0 0,13 0 16,-13-1-16,13 1 16,-13 0-16,14 13 0,-14-13 0,13 13 15,0-14-15,0 1 0,0 13 16,1 0-16,-14-13 0,13 13 0,0 0 16,0 0-16,1 0 0,-1 0 15,0 0-15,0 13 16,1 0-16,-1 1 15,-13-1-15,0 0 16,13 0 0,-13 1-1,0-1-15,13 0 32,-13-39-17,13 26 1,-13-14-16,14 14 0,-14-13 15,13 13-15,-13-13 16,13 13-16,-13-13 0,13 13 0,1-14 16,-1 14-1,0 0 1,0 14-16,1-1 16,-14 0-16,0 0 15,0 1 1,0-1-16,-14 0 0,14 0 0,-13 1 15,13-1-15,-13 0 0,0 0 0,-1 0 16,-12 1-16,13-1 0,-1 0 0,-12-13 16,13 13-16,0 1 15,-27-1-15,27 0 0,-1-13 16,1 13-16,0-13 0,0 0 0,13 14 16,-27-14-16,27 13 15</inkml:trace>
  <inkml:trace contextRef="#ctx0" brushRef="#br0" timeOffset="130128.47">6985 11986 0,'26'13'16,"14"-13"-16,-13 0 15,158-13 1,-146-1-16,14 14 16,-13-13-16,0 13 0,-1-13 0,-12 13 15,13-13-15,-14-1 0,14 1 16,-27 13-16,27-13 0,-1-13 16,-12-1-16,-1 1 0,1 12 0,-1-12 15,-13 0-15,1 12 0,-1-12 16,-13 13-16,13-14 0,-13 1 0,0-1 15,13 14-15,-26-13 0,13-1 0,-13 1 16,13-1-16,-13 1 0,-14-1 16,14 1-16,0-1 0,-53-65 15,39 65-15,1 14 16,-1-13-16,-12-1 0,12 1 0,-13 12 16,14-12-16,-14 13 0,1-14 15,-41 1-15,40 13 0,14 13 16,-40 0-16,39 0 0,-25 0 15,12 13-15,-13 0 0,0 13 16,0-12-16,13 12 0,-13 14 0,1-14 16,-1 1-16,-40 52 15,53-39-15,-13 13 0,14-14 16,-1 14-16,0 0 0,-26 53 16,40-66-16,-1 13 0,14-14 0,0 1 15,0 0-15,13-14 0,13 40 16,0-39-16,14-1 0,25 14 15,-12-14-15,0-12 0,0-1 16,12-13-16,-12 0 0,13 0 0,53-27 16,-66 14-16,12 0 15,1-13-15,0-1 0,-13 1 0,13-14 16</inkml:trace>
  <inkml:trace contextRef="#ctx0" brushRef="#br0" timeOffset="130678.58">7620 10702 0,'0'-13'15,"-13"13"-15,0 0 0,-107 0 31,94 13-31,0-13 0,12 14 16,-12-1-16,13-13 0,-1 13 16,1-13-16,0 13 0,26 1 15,-13-1-15,13-13 16,14 13-16,-14-13 0,14 13 16,-14 0-16,13-13 0,-13 0 0,14 14 15,-14-14-15,0 0 0,1 13 0,-1-13 16,0 0-16,0 0 0,-13 13 0,14-13 15,-28 27 1,1-27-16,-27 13 16,14 0-16,-1 0 0,-12 1 15,12-14-15,1 13 0,-1-13 16,14 0-16,-13 13 0,12-13 0,1 0 16,0 0-16,0 0 0,39-13 31</inkml:trace>
  <inkml:trace contextRef="#ctx0" brushRef="#br0" timeOffset="131160.35">7885 10689 0,'0'0'0,"-14"27"31,14-14-31,0 0 16,-13 0-16,13 1 0,0-1 0,-13 13 16,13-13-16,0 1 0,0 12 15,0-13-15,-13 1 0,13-1 16,0 0-16,0 0 0,0 1 16,0-1-16,0 0 15,-14-13-15,1-13 31,13 0-31,0-1 0,0 1 0,0-13 16,0 12-16,0-39 0,13 27 16,-13 0-16,14-1 0,-14 1 15,13 12-15,13-25 0,-12 25 16,-1 14-16,0-13 0,0 13 0,1-13 16,-1 13-16,0 13 15,0-13-15,0 13 16,-13 1-16,0-1 0,0 0 15,-13 0-15,0 1 0,0-1 16,-14 0-16,14 0 16,0 1-16,0-14 0,-1 13 0,1-13 15,0 13-15,0 0 0,26 0 32,0 1-32,0-14 15</inkml:trace>
  <inkml:trace contextRef="#ctx0" brushRef="#br0" timeOffset="132742.68">6641 11999 0,'-13'26'32,"13"-12"-32,0-1 0,-13 13 0,13 1 15,-14-1-15,1 14 0,13 0 16,-13-14-16,13 14 0,-13-1 15,13 1-15,0 0 0,0-14 0,0 14 16,13 0-16,-13-14 0,13 14 0,14-14 16,-14 1-16,13-1 0,1-13 15,12 1-15,-12-1 0,13 0 0,12 0 16,-12-13-16,13 13 0,13-13 0,0 0 16,1 0-16,12 0 0,-26-13 0,13 13 15,-13 0-15,0 0 0,0-13 16,-14 13-16,14 0 0,-26-13 0,-1 13 15,1 0-15,-1-13 0,-13 13 16,1 0-16,12 0 0,-26-14 16,13 14-16,-13-13 15</inkml:trace>
  <inkml:trace contextRef="#ctx0" brushRef="#br0" timeOffset="133031.64">7646 12449 0,'27'0'31,"-14"13"-15,0 0-16,1 0 0,-1 1 15,0-1-15,0 0 0,1 13 16,-1-12-16,0-1 0,-13 0 0,0 14 15,0-14-15,0 13 0,0 1 0,-13-1 16,0 1-16,-14 12 0,14-12 16,-14-1-16,1 1 0,-1-1 0,14 1 15,-13-14-15,13 0 0,13 0 16,-14 1-16,14-1 0</inkml:trace>
  <inkml:trace contextRef="#ctx0" brushRef="#br0" timeOffset="133475.14">8215 12647 0,'14'-26'0,"25"26"16,-26 13 0,1 0-1,-14 0-15,0 1 0,0-1 16,0 0-16,0 0 0,-14 14 0,14-1 15,-26 1-15,13-1 0,0 1 0,-1-14 16,1 0-16,0 0 0,13 0 0,-13 1 16,-1-1-16,1 0 15,13 0-15,0 1 16,27-14 0,-14 0-1,0 0-15,14 0 0,-14-14 0,0 14 16,13 0-16,-12-13 0,12 13 0,-13 0 15,14-13-15,-1 13 0,1-13 16,-1 13-16,-13 0 0,14-14 0,-14 14 16,0-13-16</inkml:trace>
  <inkml:trace contextRef="#ctx0" brushRef="#br0" timeOffset="134406.41">8784 12898 0,'-13'-13'0,"-14"13"15,27-13-15,-13 13 16,0 0-16,0-13 0,0 0 16,-1-1-16,1 14 15,0-13-15,0 0 0,13 0 0,-14-1 16,14 1-16,0 0 0,0-14 15,0 14-15,14 0 0,-14 0 16,13 0-16,0-1 0,0 14 16,1 0-16,-1 0 0,0 0 0,0 0 15,0 0-15,-13 14 16,14-14-16,-14 13 0,13 0 16,-13 0-1,-13 0-15,-1-26 47,28-13-31,-1 26-16,0-13 0,0 13 15,1-14-15,-1 14 0,0 0 16,0 0-16,1 14 0,-1-14 16,0 0-16,-13 13 0,13-13 15,-13 13-15,0 0 0,0 0 16,0 1-16,0-1 0,-13 0 0,0 0 15,0 1-15,-1-1 0,1 0 16,0 0-16,-14 1 0,14-1 16,0-13-16,0 13 0,-1 0 0,1-13 0,40 0 47,-1-13-47,1 13 0,-14-13 0</inkml:trace>
  <inkml:trace contextRef="#ctx0" brushRef="#br0" timeOffset="134935.07">9684 12647 0,'0'0'0,"13"0"0,0 0 16,0 0-16,-13 13 15,14 1-15,-14-1 16,0 0-16,-14 0 0,14 14 16,-13-14-16,0 13 0,-13 14 15,12-27-15,14 1 0,-13-1 0,0 0 16,-14 13-1,27-12 1,14-14 0,12 0-1,-13 0-15,1-14 0,12 14 16,0 0-16,-12-13 0,12 13 0,1-13 16,-1 13-16,0-13 0,14 13 0,-13 0 15,-14 0-15,13-13 0,-12 13 0,12 0 16,-13 0-16,0-14 0</inkml:trace>
  <inkml:trace contextRef="#ctx0" brushRef="#br0" timeOffset="136423.46">10292 12740 0,'-13'13'32,"0"0"-17,0 0-15,-1-13 16,1 14-16,0-14 0,13 13 16,-13-13-16,-1 0 0,1 0 15,13 13-15,-13-13 0,0 0 0,0 0 16,-1-13-16,-12 13 15,13-13 1,-1-1-16,1 1 16,13 0-1,0 0-15,0-1 16,0 1-16,13 0 16,1 0-1,-1 0 1,0 13-16,0 0 15,-13-14 1,14 14 0,-14-26 62,0 13-63,0-1 1,0 1-16,0 0 0,13 0 16,-13-1-16,13 1 0,-13 0 15,13 13-15,0-13 0,1 0 16,-1 13-16,-13-14 16,13 14-16,0 0 0,1 0 15,-1 0-15,0 0 16,0 14-16,1-14 15,-1 0-15,-13 13 16,13-13-16,-13 13 0,13-13 0,-13 13 16,0 0-16,13-13 15,-13 14-15,0-1 16,14-26 31,-1-1-32,0 14 1,-13-13-16,13 13 0,14 0 16,-1 0-1,-12 13-15,-1 1 16,-13-1-16,13-13 16,-13 13-16,13 0 0,-13 1 0,0-1 15,0 0-15,-13 0 0,13 1 16,-13-1-16,13 0 0,-13-13 15,13 13-15,-14-13 0,1 13 16,0-13-16,0 0 0,-1 14 0,-12-14 16,13 0-16,-1 0 0,1 0 0,0 0 15,0 0-15,0-14 0,-1 14 16,1 0-16,0 0 16</inkml:trace>
  <inkml:trace contextRef="#ctx0" brushRef="#br0" timeOffset="136721.87">10279 12766 0,'0'27'16,"0"-14"-16,-13 13 0,13-12 16,0 12-16,-13 0 0,13 1 0,-14-1 15,14 14-15,0-13 0,-13-1 0,13 0 16,0 1-16,0-1 0,0-12 15,0-1-15,0 13 0,13-13 16,-13 1-16,14-14 0,-1 13 16,0-13-16</inkml:trace>
  <inkml:trace contextRef="#ctx0" brushRef="#br0" timeOffset="137274.72">11377 12488 0,'0'14'0,"27"25"32,-27-26-32,-14 1 0,14-1 15,-13 13-15,0 1 0,-14-1 0,14 1 16,0-14-16,0 0 0,-1 0 0,1 1 16,0-1-16,13 0 0,-13-13 0,13 13 15,-13-13-15,52 0 47,-26-13-47,1 13 0,-1-13 16,13 13-16,1-13 0,-14-1 0,14 14 15,12-13-15,-12 13 0,-14 0 16,13-13-16,-12 13 0,12 0 16,-13 0-16,1 0 0</inkml:trace>
  <inkml:trace contextRef="#ctx0" brushRef="#br0" timeOffset="138466.54">11946 12541 0,'-13'13'47,"13"1"-47,0-1 15,-14-13-15,14 13 0,0 0 16,-13-13-16,13 14 0,-13-14 16,0 13-16,13 0 0,-13-13 15,13 13-15,-14-13 16,1 0-16,0 0 15,0 0-15,-1-13 16,1 13-16,13-13 16,-13 0-16,0-1 15,13 1-15,0 0 16,0 0-16,-13 13 0,13-14 0,0 1 16,0 0-16,0 0 15,13 0-15,-13-1 0,0 1 0,13-13 16,-13 12-16,13 1 15,-13 0-15,13 0 0,1-1 16,-1 1-16,0 0 16,0 13-16,-13-13 0,14 13 0,-1 0 15,13 0 1,-13 0-16,1 13 16,-1-13-16,0 13 0,-13 0 0,13-13 15,1 14-15,-1-1 16,-13 0-16,13-13 0,-13 13 15,13 1-15,-13-1 0,14 0 16,-14 0-16,0 1 0,13-14 16,-13 13-16,0 0 15,0 0-15,0 0 0,0 1 16,0-1 0,-13-13-1,-1 0 1,1 0-1,13-13 1,-13 13-16,0-14 16,-1 14-16,1 0 0,13-13 15,-13 13-15,0-13 16,-1 26 31,28 0-32,-14 1-15,0-1 16,0 0-16,13 14 16,-13-1-16,0-13 0,13 1 0,-13 12 15,0-13-15,0 0 0,0 14 16,13-14-16,-13 0 0,0 1 0,0-1 16,0 0-16,0 0 0,0 1 15,0-1-15,0 0 16,14-13-1,-1 0-15,0-13 0,0 13 16,1-13-16,-1-1 0</inkml:trace>
  <inkml:trace contextRef="#ctx0" brushRef="#br0" timeOffset="139209.34">12581 12277 0,'79'0'31,"-65"13"-31,-1-13 16,0 13-16,0 0 0,0 1 16,-13-1-16,14 0 0,-28 13 0,14-12 15,0 12-15,-13-13 0,-13 14 0,13-1 16,-1 1-16,-12-14 0,13 0 15,-1 0-15,1 1 0,13-1 0,-13-13 16,0 13-16,-1 0 0,54-13 47,-27 0-47,27-13 16,-13 0-16,-1 13 0,0 0 15,1-13-15,-1 13 0,1-14 0,13 14 16,-14 0-16,0 0 0,1-13 0,-14 13 15,14 0-15,-14 0 0,13 0 16,-12 0-16</inkml:trace>
  <inkml:trace contextRef="#ctx0" brushRef="#br0" timeOffset="140407.09">13176 12409 0,'185'119'0,"-370"-238"0,384 225 16,-186-106-16,0-13 0,0 13 16,-13-14-16,14 1 0,-1 0 0,0 0 15,-13-14-15,13 14 0,1 0 16,-1-14-16,0 14 0,0-13 0,0 12 15,1 1-15,-14 0 0,13 0 0,-13-1 16,13 1-16,0 0 16,-13 0-16,14 0 15,-14-1 1,13 1 0,-40 13 30,14 0-30,0 0-16,0 0 16,-1 0-16,1 0 0,0 0 15,0 0-15,0 0 16,-1 0-16,1 0 0,0-13 0,-14 13 16,14 0-16,0 0 0,0-13 0,-1 13 15,1 0-15,0-14 0,0 14 0,0 0 16,-1-13-16,1 13 15,0 0-15,13-13 0,-13 13 16,-1 0 0,1 0-1,0-13 1,0 26 15,13 0-31,-14 0 16,14 1-16,-13-1 0,13 0 15,-13 0-15,13 14 0,-13-14 16,0 13-16,-1-12 0,14 12 16,-13-13-16,0 1 0,0 25 15,13-26-15,-14 1 0,14-1 16,-13 0-16,13 0 16</inkml:trace>
</inkml:ink>
</file>

<file path=ppt/ink/ink28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2:58:31.063"/>
    </inkml:context>
    <inkml:brush xml:id="br0">
      <inkml:brushProperty name="width" value="0.05292" units="cm"/>
      <inkml:brushProperty name="height" value="0.05292" units="cm"/>
      <inkml:brushProperty name="color" value="#0070C0"/>
    </inkml:brush>
  </inkml:definitions>
  <inkml:trace contextRef="#ctx0" brushRef="#br0">12872 3043 0,'-13'0'0,"79"13"16,-26-13-1,-1 0-15,27 0 0,14-13 0,-1 13 16,1 0-16,12 0 0,14 0 0,13 0 16,13 0-16,1 0 0,-1 0 15,0 0-15,1 13 0,-1-13 16,-26 0-16,-14 13 0,14-13 0,-13 0 15,-1 13-15,1-13 0,-14 0 0,1 14 16,-27-14-16,-1 0 0,-12 0 16,0 13-16,-14-13 0,1 0 0,-14 0 15,0 0-15,0 0 0,1 0 0,-1 0 16,0 0-16</inkml:trace>
  <inkml:trace contextRef="#ctx0" brushRef="#br0" timeOffset="1744.08">21352 3016 0,'26'13'16,"1"-13"-16,277 27 15,-238-14-15,0 0 16,14-13-16,-1 14 0,-13-1 16,14-13-16,-14 13 0,0-13 0,0 13 15,0 1-15,-13-14 0,0 13 0,0-13 16,-13 0-16,13 13 0,-1-13 16,-12 0-16,0 0 0,-14 0 15,14 0-15,-14 0 0,14 0 0,-13 0 16,12 0-16,-12-13 0,-1 13 0,14-13 15,-14 13-15,1-14 0,-14 14 16,14-13-16,-1 0 0,-13 0 0,14-1 16,-14 1-16,13 0 0,-12 0 0,-1-1 15,0-12-15,0 13 0,-13-14 16,13 14-16,1-13 0,-14 12 0,13-12 16,-13 0-16,0-1 0,0 14 0,0-14 15,0 1-15,0-14 0,-13 14 16,13-14-16,-14 0 0,1 14 0,0-14 15,0 14-15,-14-14 0,14 14 16,-40-27-16,40 26 0,-27 1 16,14-1-16,-1 1 0,-12-1 15,12 1-15,-12 13 0,12-14 0,-13 14 16,1-13-16,-1 12 0,0 1 0,-13 0 16,0-14-16,1 14 0,-1 0 15,0 13-15,0-13 0,13 0 16,-13 13-16,0-14 0,0 14 0,0 0 0,-13 0 15,0 14-15,13-14 0,-13 13 0,0 0 16,26-13-16,-13 13 16,0 0-16,14 1 0,-14-1 0,13 0 15,0 0-15,1 1 0,-1 12 0,0-13 16,1 0-16,12 1 0,-26 25 16,27-12-16,-1-14 0,1 14 15,-1-1-15,1-13 0,13 0 0,-14 1 16</inkml:trace>
  <inkml:trace contextRef="#ctx0" brushRef="#br0" timeOffset="2483.4">14327 2236 0,'40'-14'0,"-80"28"0,106-41 0,-52 14 15,-1 13-15,13-13 0,-13 0 0,14-1 0,-1 1 16,-12 0-16,12 0 0,-13-1 0,1 1 16,-1 0-16,13 0 0,-13 13 15,-13-13-15</inkml:trace>
  <inkml:trace contextRef="#ctx0" brushRef="#br0" timeOffset="2744.1">14645 1905 0,'53'0'0,"-40"0"15,13 0-15,-12 13 0,12-13 16,-13 13-16,14-13 0,-14 14 0,13-1 16,-12 0-16,-1-13 0,0 13 15,0 1-15,0-1 0,-13 13 0,0-12 16,0-1-16,0 0 0,-13 0 0,13 14 16,-13-14-16,0 13 0,13-12 15,0 12-15,-13-13 0,13 0 0</inkml:trace>
  <inkml:trace contextRef="#ctx0" brushRef="#br0" timeOffset="3295.1">15333 847 0,'26'39'16,"-26"-25"-16,0-1 0,0 0 15,13 0-15,-13 0 0,0 1 0,0-1 16,0 0-16,0 0 0,0 1 16,14-1-16</inkml:trace>
  <inkml:trace contextRef="#ctx0" brushRef="#br0" timeOffset="3494.14">15544 754 0,'0'-26'0,"14"39"47,-14 0-47,0 0 0,0 1 16,13-1-16,-13 0 0,0 0 0,0 0 16,13 14-16,-13-14 0,0 0 0,0 14 15,13-14-15,-13 0 0,13 0 16</inkml:trace>
  <inkml:trace contextRef="#ctx0" brushRef="#br0" timeOffset="4064.06">15491 1257 0,'14'-13'0,"39"13"16,-40 13 0,-13 0-16,0 0 0,0 0 15,0 1-15,0-1 16,0 0-16,0 0 0,0 1 16,0-1-16,0 0 0,0 0 15,0 1 1,13-14-16,0 0 15,0 13-15,1-13 0,-1-13 16,0 13-16,0 0 16,1 0-16,-1-14 0,0 1 15</inkml:trace>
  <inkml:trace contextRef="#ctx0" brushRef="#br0" timeOffset="4303.38">15743 1217 0,'0'-26'0,"0"52"0,13-66 16,-13 27-16,13 13 0,0-13 15,1 13 1,-1 0-16,-13 13 16,13-13-16,-13 13 0,0 1 15,0-1-15,0 0 0,-13 0 16,13 1-16,0-1 0,0 0 16,0 0-16,13-13 15,0 0 1,1 0-16,-1 0 0,13 0 15,-13-13-15,14 13 0,-14 0 0,0-13 16,14 13-16,-14 0 0,0 0 16,1 0-16,-1 13 0,0-13 0</inkml:trace>
  <inkml:trace contextRef="#ctx0" brushRef="#br0" timeOffset="4876.33">15650 1614 0,'13'-13'15,"1"0"1,-1 13-16,0 13 16,-13 0-1,0 0 1,0 0-16,0 1 15,13-14-15,-13 13 0,13 0 16,-13 0-16,14-13 16,-14 14-16,13-14 15,-13 13-15,13-13 0,-13 13 16,0 0 0,0 0-1</inkml:trace>
  <inkml:trace contextRef="#ctx0" brushRef="#br0" timeOffset="5164.24">15862 1535 0,'0'0'16,"13"-27"-16,0 27 0,0-13 16,1 13-1,-1 0 1,0 0-1,0 13 1,1-13-16,-14 13 0,13-13 16,0 0-16,-13 14 0,13-14 15,1 0-15,-14 13 0,13-13 0,0 0 16,0 13-16,0-13 16,-13 13-1,14-13 16,-14 14-31,0-1 0,0 0 16,0 0-16</inkml:trace>
  <inkml:trace contextRef="#ctx0" brushRef="#br0" timeOffset="5735">15994 1931 0,'0'-13'0,"-26"40"32,12-14-32,1 0 0,0 0 15,0 1-15,-1-14 0,14 13 0,-13 0 0,0 0 16,13 1-16,-13-1 15,0 0-15,13 0 16,0 0 0,13-13-16,0 0 15,0 0-15,0-13 0,1 13 16,-1-13-16,13 13 0,-12-13 0,-1 0 16,-13-1-16,13 1 0,0 0 0,1 0 15,-14-1-15,13 1 16,-13 0-16,13 0 0,-26 39 47,13-13-32,-13 1-15,13-1 16,0 0-16,13 0 16,0 1-1,0-14-15</inkml:trace>
  <inkml:trace contextRef="#ctx0" brushRef="#br0" timeOffset="6056.21">16312 1879 0,'13'-27'31,"-26"54"-15,13-14-16,0 0 15,-14-13-15,14 13 0,-13 0 16,13 1-16,0-1 0,-13 0 0,13 0 15,13 1-15,0-14 16,1 0 0,-1-14-16,0 1 15,0 13-15,0-13 0,-13 0 0,14 13 16,-1-14-16,0 1 16,-13 0-16,13 13 15,-13 13 1,14 0-16,-14 1 15,0-1-15,13-13 16,-13 13-16,13 0 16,0 1-16</inkml:trace>
  <inkml:trace contextRef="#ctx0" brushRef="#br0" timeOffset="6512.33">16232 2209 0,'0'0'0,"0"-13"0,-13 39 31,13-12-16,0-1-15,0 0 16,13 0-16,-13 1 16,0-1-16,0 0 15,0 0-15,0 1 16,0-1-16,-13-13 16,13 13-16,-13-13 0,13 13 15,-14-13-15</inkml:trace>
  <inkml:trace contextRef="#ctx0" brushRef="#br0" timeOffset="6746.27">16338 2222 0,'13'14'46,"0"-14"-46,1 13 0,-1-13 16,-13 13-16,13-13 16,-13 13-16,13-13 0,-13 14 15,14-1-15,-28 0 16,14 0 0,-13 1-1,0-1-15</inkml:trace>
  <inkml:trace contextRef="#ctx0" brushRef="#br0" timeOffset="7144.17">17132 979 0,'-80'93'16,"67"-54"0,0 1-16,0 0 0,-1-14 15,1 14-15,13-14 0,0 1 16,0-1-16,0-13 0,0 14 0,13-14 15,-13 0-15,14 1 0,-14-1 0,0 0 0,13-13 16,-13 13-16,13 0 16,-39-13 31,12 0-32,1-13-15,0 13 0,0 0 31</inkml:trace>
  <inkml:trace contextRef="#ctx0" brushRef="#br0" timeOffset="7403.14">17251 1204 0,'-13'53'31,"13"-40"-15,0 13-16,0-12 15,0-1-15,13 0 0,-13 0 0,13 1 16,-13-1 0,13-13-16,1 0 15,-14-13 1,0-1 0,-14 14-1,1 0 1,0 0-16,0 14 15,-1-1-15,1-13 16</inkml:trace>
  <inkml:trace contextRef="#ctx0" brushRef="#br0" timeOffset="15911.88">16391 2222 0,'0'-13'78,"13"0"-62,0 13-1,1-13 1,-1 13 0</inkml:trace>
  <inkml:trace contextRef="#ctx0" brushRef="#br0" timeOffset="16587.08">17013 1349 0,'13'-13'0,"0"13"15,0 0-15,1 13 16,-1-13-16,0 14 0,0-14 15,-13 13-15,14-13 16,-1 13-16,-13 0 0,13 1 16,-13-1-16,-13 0 15,13 0-15,-13 0 0,13 1 16,-14-1-16,1 0 0,0-13 16</inkml:trace>
  <inkml:trace contextRef="#ctx0" brushRef="#br0" timeOffset="19160.03">2421 4167 0,'79'0'31,"-26"-13"-31,0 13 0,13 0 16,14 0-16,-1-13 0,14 13 0,-1-13 16,93 13-16,-92-14 15,0 14-15,12-13 0,-12 13 0,13 0 16,-13-13-16,-14 13 0,0-13 0,1 13 16,-27 0-16,0-14 0,-1 14 15,-12 0-15,-13 0 0,-1 0 16,-13 0-16,0 0 0,1 0 0,-54 14 31,0-1-31</inkml:trace>
  <inkml:trace contextRef="#ctx0" brushRef="#br0" timeOffset="19502.14">2514 4366 0,'158'-14'32,"-92"1"-32,14 13 0,-1-13 0,14 13 15,92-13-15,-92-1 0,12 14 16,-12-13-16,0 13 0,-1-13 16,1 13-16,-14 0 0,1-13 15,-1 13-15,-26 0 0,0 0 0,-13 0 16,-1 0-16,-12 0 0,-1 0 15,-13 0-15,14 0 0,-14 0 0,0 0 16,0 0-16,1 0 0,-1 0 0,0 0 31,-39 0 1,12 0-32,1 13 15</inkml:trace>
  <inkml:trace contextRef="#ctx0" brushRef="#br0" timeOffset="20708.97">9472 3995 0,'318'-26'31,"-239"26"-31,0 0 0,1 0 16,12-13-16,1 13 0,13 0 16,-14 0-16,14 0 0,-13 0 15,-1 0-15,1 13 0,-14-13 0,14 0 0,-14 0 16,1 0-16,-27 0 0,0 13 15,-1-13-15,1 0 0,-26 0 16,-1 0-16,1 0 0,-14 0 0,13 0 16,-12 0-16,-54 0 31,27 13-31,-27-13 0,0 0 0</inkml:trace>
  <inkml:trace contextRef="#ctx0" brushRef="#br0" timeOffset="21012.17">9459 4022 0,'26'13'16,"1"-13"-16,-1 0 0,27 0 15,13 0-15,14-13 0,-1 13 0,14 0 16,-1 0-16,-12 0 0,25 0 15,-12 0-15,0 0 0,92 0 16,-93 0-16,-12 13 0,65-13 16,-78 0-16,-15 0 0,1 13 15,-13-13-15,0 0 0,-14 0 0,-13 0 16,14 0-16,-14 0 0,0 0 0,1 0 16,-1 0-16,0 13 0,0-13 15</inkml:trace>
  <inkml:trace contextRef="#ctx0" brushRef="#br0" timeOffset="21907.95">12462 3956 0,'40'0'0,"-27"0"0,13 0 16,1 0-16,12-14 0,-12 14 0,26 0 15,0 0-15,0 0 0,0 0 16,13 0-16,-13 0 0,13 0 16,13 0-16,40 0 0,-66 0 15,0 0-15,0 0 0,0 0 16,-27 0-16,14 0 0,-27 0 0,14 14 15,-14-14-15,0 0 0,0 0 0</inkml:trace>
  <inkml:trace contextRef="#ctx0" brushRef="#br0" timeOffset="22276.02">12343 4088 0,'66'0'31,"27"0"-31,-41 0 0,1 0 16,14 0-16,12 0 0,-13 0 15,13-13-15,1 13 0,-14 0 16,13 0-16,-13 0 0,186-14 31,-212 14-31,-1 0 0,-26 0 0,14 0 0,-1 0 16,-12 0-16,-1 0 0,0 0 15,0 0-15,0 0 0,1 0 0,-1 0 16,0 0-16,0 0 16,1 0-16,-1 0 15,0 0 1,-13 14-16,27-14 15,-14 0-15,0 0 16</inkml:trace>
  <inkml:trace contextRef="#ctx0" brushRef="#br0" timeOffset="32919.8">20889 3492 0,'0'-13'31,"13"13"-31,-13-13 16,-26 26 15,26 0-31,-27 14 15,27-14-15,-13 0 0,0 1 16,-1 12-16,1-13 0,0 1 16,13 12-16,-13-13 0,0 14 0,13-14 15,0 0-15,-14 0 0,14 14 16,0-14-16,0 0 0,0 1 16,14-1-16,-14 0 0,13-13 15,-13 13-15,13-13 0,0 0 0,0 13 16,1-13-16,-1 0 0,0-13 15,0 13-15,1 0 0,-1 0 16,0-13-16,0 13 0,1-13 16,-14 0-16,0-1 15,0 1 1,0 0-16,-14 13 0,14-13 0,-13-1 16,0 14-16,13-13 15,-13 13-15,-1-13 16,1 13-1,0 0-15,0 0 16,13-13-16,-14 13 16</inkml:trace>
  <inkml:trace contextRef="#ctx0" brushRef="#br0" timeOffset="33268.12">20452 3506 0,'-26'53'0,"52"-106"0,-65 119 0,25-40 16,1 1-16,0-1 16,13 1-16,0-1 0,-13 1 0,13-14 0,13 13 15,-13 1-15,13 12 0,0-12 16,1-1-16,-1 1 0,0-1 16,14-12-16,-1 12 0,-13-13 0,14-13 15,-14 13-15,13-13 0,1 14 0,-14-14 16,14 0-16,12-14 0,1 14 15,0-13-15,-14 0 0</inkml:trace>
  <inkml:trace contextRef="#ctx0" brushRef="#br0" timeOffset="33753.94">20902 3373 0,'13'-13'15,"1"26"1,-1-13-16,0 0 0,0 14 0,40 12 15,-26 1-15,-1-1 16,1 0-16,-1 1 0,0-1 16,27 41-16,-39-41 0,-1 0 15,0 14-15,0-13 0,0-1 0,1 1 16,-14-14-16,0 13 0,-14 1 16,1-1-16,0 1 0,-13-1 0,-14 14 15,13-14-15,1 1 0,-14-1 0,1 1 16,-1-1-16,-13 1 0</inkml:trace>
  <inkml:trace contextRef="#ctx0" brushRef="#br0" timeOffset="35665.93">21934 3598 0,'-26'14'16,"12"-1"-1,1 13-15,0-13 0,0 1 0,-14 12 16,14 1-16,0-1 0,-14 1 15,14-1-15,0 0 0,0-12 0,-1 12 16,1-13-16,0 1 0,13-1 0</inkml:trace>
  <inkml:trace contextRef="#ctx0" brushRef="#br0" timeOffset="35914.81">21630 3717 0,'13'0'0,"27"14"31,-14 12-15,1-13-16,-14 1 0,26 12 15,-12 0-15,-14-12 0,14-1 16,-1 0-16,-13 0 0,14 1 0,-14-14 15,0 13-15,14 0 0,-14-13 0,27 13 16,-14-13-16,-13 0 16</inkml:trace>
  <inkml:trace contextRef="#ctx0" brushRef="#br0" timeOffset="36383.91">22834 3426 0,'-14'0'0,"-12"14"15,13-1-15,-1 0 16,-12 0-16,13 14 0,-1-1 16,-12 1-16,13-1 0,0 1 0,-1-1 0,14 0 15,-13-12-15,13 12 16,0-13-16,0 14 0,0-14 0,0 14 16,0-14-16,13 0 0,-13 0 0,14 0 15,-1 1-15,0-1 0,0 0 16,0-13-16,1 13 0,-1-13 15,0 0-15,0-13 16,-13 0-16,0 0 16,0-14-1,-13 27-15,13-13 0,-13 13 0,13-13 16,-13 13-16,13-13 0,-14 13 16,1 0-16,0 0 15,0 0-15,0 0 0,-1 13 0,1-13 16,0 13-16</inkml:trace>
  <inkml:trace contextRef="#ctx0" brushRef="#br0" timeOffset="36596.44">23297 3757 0,'0'0'0,"13"0"0,0 0 31,0 0-15</inkml:trace>
  <inkml:trace contextRef="#ctx0" brushRef="#br0" timeOffset="38891.01">19222 9975 0,'0'13'31,"13"0"-31,-13 0 16,0 1-16,0 12 0,0-13 0,0 14 16,0-14-16,0 0 15,0 14-15,0-14 0,13 0 0,-13 0 16,0 1-16,0-1 0,14 0 0,-1 0 15</inkml:trace>
  <inkml:trace contextRef="#ctx0" brushRef="#br0" timeOffset="39118.39">19632 9909 0,'-13'13'47,"13"0"-47,-13 0 0,13 1 0,0-1 16,-14 0-16,14 0 0,0 14 0,-13-14 16,13 13-16,0-12 0,0-1 15,-13 13-15,0 14 0,13-27 16</inkml:trace>
  <inkml:trace contextRef="#ctx0" brushRef="#br0" timeOffset="39527.93">19368 10478 0,'0'0'15,"-14"26"17,14-13-17,0 0-15,0 1 0,0-1 16,0 0-16,0 0 0,0 1 0,0-1 15,0 0-15,0 0 16</inkml:trace>
  <inkml:trace contextRef="#ctx0" brushRef="#br0" timeOffset="39831.26">19659 10385 0,'26'13'31,"-26"0"-15,-13 1-16,13-1 0,-13 13 15,-1-12-15,-12 12 0,13 0 0,-1-12 16,14-1-16,-13 0 0,0 0 0,13 1 15,0-1-15,0 0 16,13-13 0,0 0-16,1 0 0,12 0 15,-13-13-15,1 13 0,12 0 0,-13-13 16,0 13-16</inkml:trace>
  <inkml:trace contextRef="#ctx0" brushRef="#br0" timeOffset="40135.87">19275 10874 0,'-13'14'0,"13"-1"0,-27 40 32,27-40-32,0 0 0,-13 0 15,13 1-15,0-1 16,0 0-16,13 0 15</inkml:trace>
  <inkml:trace contextRef="#ctx0" brushRef="#br0" timeOffset="40559.01">19579 10795 0,'0'26'32,"-13"-12"-32,13-1 15,0 0 1,0 0-16,0 1 16,0-1-16,13-13 0,-13 26 15,0-12 1,0-1-16,-13 0 15,13 0-15,-13 0 16,13 1-16,-14-14 16,14 13-16,-13-13 15</inkml:trace>
  <inkml:trace contextRef="#ctx0" brushRef="#br0" timeOffset="40944.19">19248 11298 0,'14'0'15,"-14"13"-15,-14 0 16,14 0-16,0 1 16,-13-1-16,13 0 0,-13 0 0,13 1 15,-13-1-15,13 0 0,-13 0 0</inkml:trace>
  <inkml:trace contextRef="#ctx0" brushRef="#br0" timeOffset="41393.42">19606 11232 0,'13'0'0,"-26"13"32,-1 0-17,-12 13 1,13-12-16,-1-14 0,1 13 0,13 0 15,-13-13-15,13 13 0,0 1 16,-13-14-16,13 13 0,0 0 16,13 0-1,0-13 1,0 0-16,1 0 0,-14-13 16,13 13-16,0 0 0,0 0 15,-13-13-15,14 13 0,-1-13 0,0-1 16,-13 1-16,13 13 0,-13-13 15,14 0-15,-14-1 0,13 1 16,-13 0 0,-13 39 15,13-12-31,-14-1 0,14 0 16,0 0-16,-13 1 0,13-1 15,0 0-15,0 0 0,0 1 16,0-1-16,0 0 0,0 0 15,0 0-15,0 1 0</inkml:trace>
  <inkml:trace contextRef="#ctx0" brushRef="#br0" timeOffset="41883.01">19328 11734 0,'-13'40'31,"13"-27"-31,0 0 0,-14 1 16,14-1-16,0 0 0,0 0 16,-13 1-16,13-1 0,0 0 15,-13 0-15,13 0 16,0 1-16</inkml:trace>
  <inkml:trace contextRef="#ctx0" brushRef="#br0" timeOffset="42291.9">19566 11734 0,'-27'0'15,"27"14"1,0-1 0,14 0-16,-14 0 15,0 0-15,13-13 16,-13 14-16,13-14 0,-13 13 0,0 0 16,13 0-16,-13 1 15,-13-1-15,0-13 16,13 13-16,-13-13 0,-1 13 0,1-13 15,0 0-15,0 13 0,0-13 16,-1 0-16,14 14 0,-13-14 0</inkml:trace>
  <inkml:trace contextRef="#ctx0" brushRef="#br0" timeOffset="43125.26">20174 9922 0,'0'0'0,"14"0"0,-1 0 15,0 13-15,-13 0 16,0 1-16,-13-1 0,13 0 16,-13 0-16,-1 0 0,14 1 0,-13-1 15,0 0-15,0 0 0,13 1 16,-13-1-16,-1 0 0,1 0 15,13 1-15,-13-14 16,26 13 0,0-13-1,1 0-15,-1 0 16,0 0-16,0-13 0,14 13 0,-14 0 16,0 0-16,0 0 0,1-14 0,-1 14 15,0 0-15,0 0 16,1 0-16,-1 0 0</inkml:trace>
  <inkml:trace contextRef="#ctx0" brushRef="#br0" timeOffset="43408.45">20624 9895 0,'-13'27'31,"13"-14"-31,-13 0 16,13 1-16,0-1 0,0 0 0,-13 0 15,13 0-15,13 1 0,-13-1 0,0 13 16,0-12-16</inkml:trace>
  <inkml:trace contextRef="#ctx0" brushRef="#br0" timeOffset="43879.53">20320 10438 0,'26'-13'32,"-12"26"-32,-14 0 15,-14 14 1,1-14-16,0 0 15,13 0-15,-13 0 16,13 1 0,13-1-1,0-13 1,0 13-16,1-13 0,-1 0 16,0-13-16,0 13 0,1 0 15,12 0-15,1 0 16,-14 0-16,0-13 0</inkml:trace>
  <inkml:trace contextRef="#ctx0" brushRef="#br0" timeOffset="44157.05">20638 10358 0,'0'0'0,"13"-13"0,0 13 15,13 0 1,-26 13-1,0 14-15,-13-14 16,13 0-16,-13 1 16,13-1-16,0 0 15,-13-13-15,13 13 16,0 1-16,13-1 16,0-13-1,0 0-15,1 0 16,-1 0-16,0 0 0,14 0 15</inkml:trace>
  <inkml:trace contextRef="#ctx0" brushRef="#br0" timeOffset="44610.59">20227 10888 0,'14'0'0,"12"26"32,-26-13-32,-13 1 15,13-1-15,-13 0 0,-1 0 16,14 0-16,-13 1 15,13-1 1,13-13 0,-13 13-16,14-13 0,-1 0 15,0 0-15,0 0 0,14 0 16,-14 0-16,0 0 0,0 0 16,1-13-16,-1 13 0,0 0 0,14 0 15,-14 0-15</inkml:trace>
  <inkml:trace contextRef="#ctx0" brushRef="#br0" timeOffset="44960.93">20624 10835 0,'14'0'16,"-28"0"-16,28 13 31,-14 0-31,-14-13 16,14 13-16,-13-13 0,13 14 15,-13-1-15,26 0 16,-13 0 0,13-13-16,-13 14 15,14-14-15,-14 13 16,13 0-1,-13 0-15,0 0 16,0 1 0,-13-1-1,13 0 1,-14-13-16,14 13 16</inkml:trace>
  <inkml:trace contextRef="#ctx0" brushRef="#br0" timeOffset="45439.84">20241 11456 0,'0'0'0,"13"0"0,0 0 16,0 0-16,-13 14 16,-13 12-1,13-13-15,-13-13 16,13 14-16,-13-1 0,13 0 16,-14-13-16,14 13 0,0 1 15,0-1 1,14-13-1,-1 0-15,0 0 16,0 0-16,1 0 0,-1 0 16,0-13-16,0 13 0,14-14 0,-14 14 15,13-13-15,1 0 0</inkml:trace>
  <inkml:trace contextRef="#ctx0" brushRef="#br0" timeOffset="45846.02">20664 11404 0,'13'-14'15,"-39"41"17,13-14-17,-1-13-15,14 13 0,-13-13 16,13 13-16,-13 1 0,0-14 0,13 13 16,-14 0-16,14 0 15,-13 1-15,26-1 16,1 0-1,-1-13 1,0 0 0,0-13-16,1 13 0,-1 0 15,-13-13-15,13 13 16,-13-14-16,13 1 0,0 0 16,-13 0-16,14 13 15,-14-14-15,-14 41 47,14-14-47,0 0 0,0 1 16,0-1-16,0 0 15,0 0-15,0 1 0,0-1 16,0 0-16,14 0 0,-14 0 16,0 1-16</inkml:trace>
  <inkml:trace contextRef="#ctx0" brushRef="#br0" timeOffset="46375.22">20294 11946 0,'0'0'0,"13"-13"16,26 26-1,-25-13 1,-14 13-16,13-13 0,-13 13 16,0 1-16,0-1 15,-13 0-15,13 0 16,0 1-16,-14-1 15,28 0 17,-1-13-17,0 0-15,0 0 16,1 0-16,-1 0 0,0 0 16,14-13-16,-14 13 0,0 0 0,0-13 15,14-1-15,-14 14 0,0-13 16,14 0-16</inkml:trace>
  <inkml:trace contextRef="#ctx0" brushRef="#br0" timeOffset="46574.15">20717 11933 0,'0'-14'16,"-13"1"-1,13 40 17,0-14-32,0 0 15,0 0-15,13 1 16,-13-1-16,-13 0 0,13 0 15,-14 1-15,14-1 16,-13 0-16,0 0 0,0-13 16,0 13-16,-1 1 0,1-14 0,0-14 15,0 14-15,13-13 16</inkml:trace>
  <inkml:trace contextRef="#ctx0" brushRef="#br0" timeOffset="47795.95">21167 9935 0,'13'0'32,"0"0"-32,0 0 15,-13 13-15,0 1 0,14-1 16,-14 0-1,0 0 1,0 0-16,13 1 16,-13-1-1,13 0 1,-13 0-16,0 1 16,0-1-1,-13 0 1,0 0-16,-1-13 15,1 14-15,0-14 16</inkml:trace>
  <inkml:trace contextRef="#ctx0" brushRef="#br0" timeOffset="47987.85">21471 9948 0,'13'0'0,"-13"14"16,0-1-16,0 0 0,13 0 16,-13 0-16,0 1 15,0-1-15,0 0 0,0 0 0,0 1 16,0-1-16,14 0 0,-14 0 0,0 1 16,13-1-16,-13 0 0,13 0 15,-13 0-15,0 1 0</inkml:trace>
  <inkml:trace contextRef="#ctx0" brushRef="#br0" timeOffset="48671.73">21233 11827 0,'0'-13'16,"13"26"15,-13 0-16,0 0-15,0 1 16,0-1-16,-13 0 16,13 0-16,0 0 15,0 1 1,0-1 0,0 0-1,0 0 1,-13 1-1,-1-1-15,1-13 16,0 13-16</inkml:trace>
  <inkml:trace contextRef="#ctx0" brushRef="#br0" timeOffset="49006.83">21405 11800 0,'0'0'0,"0"-13"31,-27 26-15,27 1 15,0-1 0,14-13-31,-14 13 16,13-13-16,-13 13 16,0 1-16,0-1 15,0 13 1,-13-13-16,13 1 16,-14-14-16,1 26 15,0-26-15,0 13 0,-1 1 16,1-14-16</inkml:trace>
  <inkml:trace contextRef="#ctx0" brushRef="#br0" timeOffset="50886.78">19513 12277 0,'-13'13'16,"13"0"-1,0 0-15,-13 1 0,13-1 0,-14 13 16,14-13-16,-13 1 0,13-1 16,-13 13-16,13-12 0,0-1 0,-13 0 15,13 0-15,0 1 0,-14-1 0,14 0 16,-13 0-16,13 0 15</inkml:trace>
  <inkml:trace contextRef="#ctx0" brushRef="#br0" timeOffset="51184.15">19698 12303 0,'-13'13'15,"0"1"-15,13-1 0,-13 0 16,13 0-16,0 0 0,-14 1 16,14-1-16,0 0 0,0 0 0,14 1 15,-14-1-15,0 0 0,13 0 16,-13 1-16,13-14 16,-26 0 15,-14 0-16,27 13-15,-13-13 16,0 0-16,0 0 16</inkml:trace>
  <inkml:trace contextRef="#ctx0" brushRef="#br0" timeOffset="52655.11">20426 12435 0,'0'0'16,"13"14"-16,-13-1 0,-13 0 15,13 0-15,-13 1 16,-1-1-16,14 0 16,-13-13-16,13 13 0,-13 0 0,13 1 15,-13-14 1,13 13 0,26-13-1,1-13 1,-14 13-16,0 0 0,0 0 15,14-14-15,-14 14 0,0-13 0,14 13 16,-1-13-16,-13 0 0,14 0 0,-14-1 16,14 1-16,-14 0 0,0 0 15,13-1-15,-12 1 0,-1 0 16,0 0-16,0-1 16,-26 41 15,13-14-31,0 0 15,0 1-15,0-1 16,0 0-16,13 0 16,1 1-16,-1-14 15,0 13-15,0-13 16,-52 0 31,25 13-47,1-13 31</inkml:trace>
  <inkml:trace contextRef="#ctx0" brushRef="#br0" timeOffset="53587.87">21286 12330 0,'13'0'15,"-13"13"1,0 0 0,0 0-16,-13 0 15,13 1-15,0-1 16,13-13-16,-13 13 0,13 0 16,0-13-16,-13 14 0,14-14 15,-1 13-15,0 0 0,0 0 16,-13 1-1,14-14-15,-28 13 0,14 0 16,-13 0-16,0-13 16,13 13-16,-13-13 0,-1 14 15,1-14-15,13-14 32</inkml:trace>
  <inkml:trace contextRef="#ctx0" brushRef="#br0" timeOffset="53837.93">21550 12330 0,'14'-14'0,"-28"28"0,28-1 31,-14 0-15,0 0-16,0 0 16,13 1-16,-13-1 0,13-13 15,-13 13-15,13-13 0,0 13 16,-39-26 31,13 13-47,0 0 15,-1 0-15,1 0 0,0 13 16</inkml:trace>
  <inkml:trace contextRef="#ctx0" brushRef="#br0" timeOffset="54638.72">22212 10001 0,'-27'13'16,"14"14"-1,0-27-15,0 13 0,-14 14 16,14-14-16,13 0 0,-13-13 15,-1 13-15,14 1 0,-13-1 16,13 0 0,13 0-1,1-13-15,-1 0 16,0 0-16,0-13 0,1 13 16,-1 0-16,0-13 0,0 13 0,1 0 15,-1-13-15,0-1 0,0 1 16,-13 0-16,13 0 15,-13-1-15,14 1 0,-14 0 0,0 0 16,0-1-16,0 1 16,0 0-1,-27 26 1,27 0-16,0 1 16,-13-1-16,13 0 0,0 0 0,-13 1 15,13-1-15,0 0 0,0 0 0,-13 1 16,13-1-16,0 0 0,0 0 0,13-13 15</inkml:trace>
  <inkml:trace contextRef="#ctx0" brushRef="#br0" timeOffset="54823.31">22516 9962 0,'13'-27'0,"-26"54"0,13-14 31,-13 13-15,13-13-16,0 1 0,-13-1 16,13 13-16,-14-12 0,14-1 0,0 0 15,0 0-15,0 1 0,0-1 16,0 0-16</inkml:trace>
  <inkml:trace contextRef="#ctx0" brushRef="#br0" timeOffset="55517.97">22476 12211 0,'0'0'0,"-26"0"31,13 13-31,-1 0 0,1 0 16,0-13-16,0 27 0,0-14 15,-1 0-15,1 0 0,0 1 0,0-14 16,-1 13-16,14 0 0,-13-13 0,13 13 16,0 0-16,-13-13 0,13 14 0,13-1 31,0 0-31,1-13 16,-1 13-16,0-13 0,0 0 0,1 0 15,-1 0-15,0 0 16,0 0-16,0 0 0,1-13 15,-1 13-15</inkml:trace>
  <inkml:trace contextRef="#ctx0" brushRef="#br0" timeOffset="55971.09">22542 12224 0,'0'0'0,"-13"0"15,13-13-15,-13 26 31,13 0-31,-13 0 0,13 0 0,-13 1 16,13-1-16,-14 0 0,14 14 0,-13-14 16,0 13-16,13-13 0,-13 1 15,13 12-15,-14-13 0,14 1 16,0-1-16,-13 0 0,26 0 16,1-13-1,-1 0-15,0 0 0,0-13 16,1 13-16,-1-13 0,13 0 15,-13-1-15,1 1 0,-1 13 0,0-13 16,0 0-16,1-1 0,-1 28 47,-13-1-47,0 0 16,0 0-16,0 1 0,13-14 15,-13 13-15,13 0 16,1-13-16,-1 0 31,-40 0 0,14-13-15,0 0-16,13-1 16</inkml:trace>
  <inkml:trace contextRef="#ctx0" brushRef="#br0" timeOffset="56763.08">23521 10001 0,'0'-13'31,"-13"13"-31,-13 0 16,13 0-16,-1 13 0,1-13 0,-13 13 15,12-13-15,1 14 0,0-14 16,0 13-16,-1 0 0,1 0 15,26 1-15,-13-1 16,0 0-16,14-13 0,-1 13 16,0 1-16,0-1 0,1-13 15,-14 13-15,0 0 16,0 0 0,-14 1-16,1-14 15,0 13-15,0-13 0,-1 0 16,1 0-1</inkml:trace>
  <inkml:trace contextRef="#ctx0" brushRef="#br0" timeOffset="56924">23707 9909 0,'13'53'31,"-26"-14"-15,13-12-16,-14-1 0,14-13 0,-13 14 15,13-1-15,0 1 0,0-1 16,0 1-16,0-1 0,0 1 0,0-1 16,0 1-16,0-1 0</inkml:trace>
  <inkml:trace contextRef="#ctx0" brushRef="#br0" timeOffset="57683.87">23482 12250 0,'0'-13'0,"0"26"0,-13-26 31,-1 13-31,1 0 0,0 0 16,-14 13-16,14-13 0,0 13 0,-14-13 15,14 14-15,0-14 16,0 13-16,0 0 0,-1 0 0,14 1 15,0-1-15,14 0 16,-14 0 0,13-13-16,0 13 0,0-13 0,0 14 15,-13-1-15,14-13 0,-1 13 0,0 0 16,0 1 0,-13-1-16,0 0 15,-13 0-15,13 1 0,-13-14 0,0 13 16,-1 0-16,1-13 0,0 13 15,0-13-15,0 0 0,-1 13 0,1-13 16,0-13 0,26 0-1</inkml:trace>
  <inkml:trace contextRef="#ctx0" brushRef="#br0" timeOffset="57983.92">23680 12105 0,'13'-14'0,"-26"28"0,0-1 32,13 0-32,-13 0 15,0 1-15,-1 39 0,14-27 16,-13 0-16,13-12 0,0 12 0,0-13 16,0 14-16,0-14 0,13 0 15,-13 14-15,14-27 0,-14 13 16,13 0-16,-13 0 0,13-13 0,-13 14 15,13-14-15,-52-14 47,25 14-31,1 0-16,0 0 0,0 0 16,-1 0-16,1-13 15</inkml:trace>
  <inkml:trace contextRef="#ctx0" brushRef="#br0" timeOffset="58674.15">24381 9909 0,'-53'53'15,"40"-40"-15,0 13 16,-13 1-16,12 12 0,14-12 0,-13-14 15,0 14-15,13-1 0,0 0 16,0-12-16,0 12 0,0-13 16,13 1-16,-13 12 0,13-13 0,1 1 15,-1-1-15,0-13 0,-13 13 0,13-13 16,0 0-16,1 0 0,-1 0 16,0-13-1,-26 0 1,13-1-16,-13 14 0,-1-13 15,1 0-15,0 13 0,0-13 16,0 13-16,-1 0 0,14-14 0,-13 14 16</inkml:trace>
  <inkml:trace contextRef="#ctx0" brushRef="#br0" timeOffset="58854.94">24514 9975 0,'0'13'16,"0"0"0,0 0-16,0 1 0,0 12 15,0-13-15,0 1 0,0 12 16,0-13-16,0 14 0,13-14 0,-13 13 16,0-12-16,13-1 0,-13 13 15,0-12-15</inkml:trace>
  <inkml:trace contextRef="#ctx0" brushRef="#br0" timeOffset="59593.7">24262 12171 0,'-13'26'31,"0"-12"-15,13-1-16,0 13 0,-13-13 0,13 1 16,0-1-16,0 0 0,0 0 15,0 1-15,0-1 0,13 0 0,-13 0 16,13 0-16,-13 1 0,13-14 0,1 13 16,-1-13-16,0 0 0,13 0 15,-12-13 1,-1-1-1,-13 1 1,-13 0 0,-1 0-16,1 13 0,0 0 15,0-13-15,0 13 16</inkml:trace>
  <inkml:trace contextRef="#ctx0" brushRef="#br0" timeOffset="59794.94">24500 12118 0,'14'0'0,"-28"0"0,28 13 31,-14 0-31,0 1 0,0-1 0,0 0 16,0 0-16,0 14 0,0-14 15,-14 0-15,14 14 0,0-14 0,0 13 16,-13-12-16,13 12 0,0-13 0,0 14 15,-13-14-15,13 13 0,0-12 16,0-1-16,-13 0 0,13 0 16</inkml:trace>
  <inkml:trace contextRef="#ctx0" brushRef="#br0" timeOffset="61219.91">18918 9829 0,'-27'-13'0,"54"26"0,-67-26 0,27 13 15,0 13-15,-1 0 16,1 14-16,13-14 0,-13 27 0,13 13 16,-13 0-16,-1 0 0,1 13 15,0 0-15,0 0 0,-1 13 0,-12 1 16,0 12-16,-1 1 0,-13-14 0,1 1 16,-1-1-16,0-13 0,-39 40 15,39-66-15,1 13 0,-1-27 16,13 1-16,1-14 0,0 13 15,12-26-15,1 14 0,13-41 16,13 14 0,1 0-16,-1-1 0,13 1 0,1 0 15,-14 0-15,13 13 0,-12 0 0,12 13 16,1 0-16,-14 27 0,0-14 16,0 27-16,0 13 0,-13 1 0,0 12 15,0 0-15,-13 80 0,0-80 16,13 1-16,-13-1 0,13-13 15,13 14-15,-13-27 0,13 13 0,0-13 16,1-14-16,12-12 0,1 12 16,-1-12-16,1-14 0,12 0 0,1 1 15,0-14-15,26 0 0,0-14 16,13 14-16,1-13 0,12 0 0,-12 0 16,12-1-16,1 1 0</inkml:trace>
  <inkml:trace contextRef="#ctx0" brushRef="#br0" timeOffset="61818.73">19764 13110 0,'106'0'0,"-212"0"0,265 0 0,-80 0 0,14 0 16,0 0-16,-1 0 16,1 0-16,13 13 0,26 1 0,0-14 15,1 13-15,-1 0 0,13 0 0,1 0 16,-1 1-16,1-1 0,13 0 16,0 14-16,-1-14 0,-12 0 0,13 0 15,-1 1-15,1 12 0,0-13 0,0 0 16,-14 1-16,14-1 0,-27 0 15,0 0-15,1 1 0,-14-1 16,-13-13-16,-14 13 0,1-13 0,-14 13 16,14-13-16,-27 14 0,13-14 0,-13 0 15,-13 0-15,0 0 0,0 0 16,0-14-16,0 14 0,-13 0 0,13-13 16,-14 0-16,1 0 0,0 13 0,26-40 15,-40 27-15,1-1 16,-1-12-16,-13 13 0,14-14 0,-14 1 15,0 13-15,1-27 0,-1 13 0,0 1 16,0-14-16,0 14 0,14-14 16,-14-13-16,0 0 0,1 0 0,12 1 15,-13-15-15,1 1 0,-1 13 0</inkml:trace>
  <inkml:trace contextRef="#ctx0" brushRef="#br0" timeOffset="62430.46">25387 12660 0,'-146'-2209'15,"67"2209"-15,-80-13 0,80 13 16,-1 0-16,1-13 0,0 13 0,-252-14 31,252 1-31,-14 13 0,14 0 16,-1-13-16,-12 13 0,-67 0 15,79-13-15,1 13 0,-14 0 0,14 0 16,0 0-16,-1 0 0,-92 0 16,106 0-16,-26 0 0,12 0 15,-12 0-15,12 0 0,1 0 0,-14 0 16,27 0-16,-13 0 0,-1 0 15,27 0-15,-13 0 0,0 0 0,13 0 16,0 0-16,-13-14 0,13 14 0,0 0 16,0 0-16,1 0 0,-1-13 0,0 13 15,13 0-15,0 0 16,14-13-16,-14 13 0,14 0 0,-1 0 16,1 0-16,-14-13 0,14 13 0,12 0 15,-12 0-15,13 0 16,-1 0-16,1-13 15,0 13-15,0 0 16</inkml:trace>
  <inkml:trace contextRef="#ctx0" brushRef="#br0" timeOffset="64518.88">6152 4908 0,'66'-13'32,"-53"13"-32,13 0 0,27 0 15,-26-13-15,-1 13 0,1 0 0,-1 0 16,1 0-16,-1 0 0,1 0 0,-14 0 15,13 0-15,1 0 0</inkml:trace>
  <inkml:trace contextRef="#ctx0" brushRef="#br0" timeOffset="64874.71">8004 5040 0,'-14'0'0,"54"0"31,-27 0-31,1 0 0,-1 0 16,13-13-16,1 13 0,-1 0 15,-13 0-15,27 0 0,-13 0 0,12 0 16,14 0-16</inkml:trace>
  <inkml:trace contextRef="#ctx0" brushRef="#br0" timeOffset="65146.9">9697 5159 0,'0'0'0,"40"0"46,-27 0-46,0 0 0,0 0 16</inkml:trace>
  <inkml:trace contextRef="#ctx0" brushRef="#br0" timeOffset="65722.53">12277 5014 0,'39'0'0,"-25"0"0,-1 0 16,0 0-16,13 0 0,-12 0 16,-1 0-16</inkml:trace>
  <inkml:trace contextRef="#ctx0" brushRef="#br0" timeOffset="65891.06">12422 5133 0,'13'0'0,"93"-13"31,-66 13-31,-14 0 0,27 0 15,0 0-15,-13 0 0</inkml:trace>
  <inkml:trace contextRef="#ctx0" brushRef="#br0" timeOffset="66492.8">18018 4921 0,'40'0'31,"-27"0"-31,27 0 0,-14 0 16,27 0-16,0-13 0,13 13 0,0 0 15,14 0-15,-1-13 0,0 0 0</inkml:trace>
  <inkml:trace contextRef="#ctx0" brushRef="#br0" timeOffset="70734.74">2818 6350 0,'-13'0'16,"52"0"0,-12 0-1,-1 0-15,27 0 0,-13 13 16,13-13-16,13 0 0,-13 0 0,26 13 15,-13-13-15,-13 0 0,27 14 0,-28-14 16,1 0-16,14 0 16,-15 0-16,1 0 0,-13 0 0,0 0 15,-14 0-15,1 0 0,-1 13 0,-13-13 16,1 0-16,-1 0 0,0 0 16</inkml:trace>
  <inkml:trace contextRef="#ctx0" brushRef="#br0" timeOffset="71219.75">2963 6456 0,'-13'0'0,"53"13"31,-27-13-31,13 13 0,14-13 0,0 0 16,13 14-16,0-14 0,0 0 0,0 0 15,13 0-15,-13 0 0,13 0 16,-13 0-16,0 0 0,-1 0 0,1 0 16,0 0-16,-13 0 0,-14 0 0,14 0 15,0 0-15,-14 0 0,-12 0 16,12 0-16,-13 0 0,0 0 16,1-14-16,-1 14 15,0 0 1,-26-13 171,26 0-155</inkml:trace>
  <inkml:trace contextRef="#ctx0" brushRef="#br0" timeOffset="72523.02">10385 6284 0,'0'0'0,"40"0"31,-14 0-31,1 0 0,12 0 0,-12 0 16,26 0-16,-1 0 0,1 0 15,-13 0-15,13 0 0,0 0 0,-13 0 16,-14 0-16,14 0 0,-14 0 15,-13 0-15,1 0 0,12 0 0</inkml:trace>
  <inkml:trace contextRef="#ctx0" brushRef="#br0" timeOffset="72691.39">10544 6403 0,'0'0'15,"-40"13"-15,27-13 0,52-13 31,-12 13-31,13 0 16,-1 0-16,14 0 0,-13-13 0,13 13 16,0 0-16,-14 0 0,1 0 15,0 13-15,-14-13 0</inkml:trace>
  <inkml:trace contextRef="#ctx0" brushRef="#br0" timeOffset="73558.71">5226 8268 0,'0'0'0,"39"0"15,-26 0-15,1 0 16,12 0-16,-13 0 0,14 0 15,-1 0-15,-12 0 0,12 0 0,0 0 16,-12 0-16,-1 0 0,0 0 16,14 0-16,-14 0 0,0 0 15,0 0-15,0 0 0,1 0 16,-1 0-16,0 0 16,0 0-1,1 0 32,-1 13-31,0-13-1</inkml:trace>
  <inkml:trace contextRef="#ctx0" brushRef="#br0" timeOffset="74083.71">7263 8321 0,'13'0'0,"80"0"32,-67 13-32,-13-13 0,14 0 15,-1 0-15,-13 0 0,14 0 0,-14 14 16,27-14-16,-27 0 0,14 0 16,-14 0-16,0 0 0,-13 13 15,13-13-15,0 0 0,1 0 0,-1 0 16,0 0-1,0 0-15,1 0 16,-1 13 15,0-13-15</inkml:trace>
  <inkml:trace contextRef="#ctx0" brushRef="#br0" timeOffset="74598.77">9247 8229 0,'132'0'31,"-105"0"-31,-1 0 0,-12 0 0,12 0 16,1 0-16,-1 0 0,-13 0 0,14 0 15,-1 0-15,1 0 0,-14 0 16,0 0-16,0 13 15,1-13-15,-1 0 0,0 0 16,0 0 0,0 0 31</inkml:trace>
  <inkml:trace contextRef="#ctx0" brushRef="#br0" timeOffset="75102.85">10914 8229 0,'53'0'0,"26"0"15,-52 0 1,-1 0-16,-13 0 0,14 0 0,-1 0 16,1 0-16,-14 0 0,14 0 15,-14 0-15,13 0 0,-13 0 16,1 0-16,-1 0 0,0 0 15,0 0-15,1 0 16,-14 13 47,13-13-63,0 0 15</inkml:trace>
  <inkml:trace contextRef="#ctx0" brushRef="#br0" timeOffset="75648.67">12184 8176 0,'13'-14'15,"1"14"-15,-1 0 16,0 0-16,0 0 0,14 0 0,-14 0 15,13-13-15,1 13 0,-1 0 16,1 0-16,-1 0 0,1 0 0,-14 0 16,13 0-16,1 0 0,-14 0 15,13 0-15,-12 0 0,-1 0 16,0 0-16,0 0 0,1 0 0,-1 0 16,0 0-1,0 13-15,1-13 0,-1 0 16,0 0-16,0 0 15,0 0-15,14 0 0,-1 0 0</inkml:trace>
  <inkml:trace contextRef="#ctx0" brushRef="#br0" timeOffset="76531.88">14459 8229 0,'0'0'15,"53"0"-15,-26 0 0,-1 0 16,-12 13-16,12-13 0,0 0 0,1 0 16,-1 0-16,1 0 0,-1 0 0,14 0 15,-14 0-15,1 0 0,-1 0 0,-12 0 16,12 0-16,0 13 0,14-13 15,-27 0-15,1 0 0,12 0 16,-13 0-16,1 0 16,-1 0-16,0 0 15,0 0-15,0 13 32,1-13-1</inkml:trace>
  <inkml:trace contextRef="#ctx0" brushRef="#br0" timeOffset="77661.94">16523 7832 0,'-13'-14'0,"-40"41"16,27-14-1,12 14-15,-12-14 0,13 13 0,-1 1 16,1-14-16,0 13 0,0-12 0,13 12 16,-13 1-16,13-14 0,0 0 15,13 13-15,-13-12 0,13-1 0,0 0 16,0 0-16,1 1 0,-1-1 15,0-13-15,0 0 0,1 13 0,-1-13 16,0 0-16,0 0 0,1-13 16,-1 0-16,0-1 15,-13 1-15,0 0 0,0 0 16,0-1-16,0 1 16,-13 13-16,13-13 0,-13 13 15,-1-13-15,1 13 0,0 0 16,0-13-16,-1 13 15,1 0-15,0 0 16</inkml:trace>
  <inkml:trace contextRef="#ctx0" brushRef="#br0" timeOffset="78105.78">16338 7527 0,'-53'0'0,"106"0"0,-132 0 16,52 14-16,-13-1 0,1 0 0,-1 14 16,-13-1-16,14 0 0,-14 27 0,13-13 15,0 13-15,1 0 0,12 13 16,1-13-16,-1 92 0,14-78 16,26-14-16,0 13 0,1-13 15,12 0-15,14-1 0,-1-12 16,1 0-16,0-1 0,0 1 0,12-13 15,1-1-15,-13-13 0,0 1 0,13-14 16,-14 13-16,14-13 0,0-13 0,0 13 16,-13-14-16,13-12 0,0 13 15,0-14-15,-14 1 0,14-14 0,27-39 16,-54 26-16,14 0 0,13-53 16,-40 40-16,13 13 0,-26-13 15,0 26-15,0-13 0,-13 14 16,0-14-16,-14 13 0,1 0 15,-14-13-15,1 27 0,-1-14 0,-13 14 16,0-1-16,-66-12 0,53 25 16,26 1-16,0 0 0,-13 13 15,27 0-15,-14 0 0,14 0 0,-1 0 16,1 0-16,-1 13 0,1 0 16,13 1-16,0-1 0,-1 0 0,14 0 0,0 0 15</inkml:trace>
  <inkml:trace contextRef="#ctx0" brushRef="#br0" timeOffset="103104.72">15134 10557 0,'53'0'31,"-40"0"-31,-13 13 0,14-13 15,-14 13-15,0 1 16,-14-1-16,14 0 0,-13 0 16,0 0-16,0 1 0,-1-14 15,14 13-15,14 0 16,-1 0 0,0 1-16,0-14 0,1 13 0,-1-13 15,0 13-15,0 0 0,0-13 16,1 14-16,-1-1 0,-13 0 15,0 0-15,0 0 16,-13 1-16,-1-1 16,1 0-16,0-13 0,0 13 0,0-13 15,-1 14-15,1-1 0,-13-13 0,12 0 16,14 13-16,-13-13 0,0 0 16,0 0-16</inkml:trace>
  <inkml:trace contextRef="#ctx0" brushRef="#br0" timeOffset="103456.94">15399 10544 0,'0'-14'16,"13"28"31,-13-1-47,0 0 0,13 0 15,-13 1-15,0-1 0,13 0 0,-13 0 16,14 0-16,-14 1 16,0-1-16,0 0 0,0 0 15,0 1-15,-14-1 0,14 0 16,0 0-16,-13-13 0,13 14 15,-13-1-15,0 0 16,0-13-16,13 13 0,-14-13 16,14 13-16,-13-13 0,13 14 0,27-28 31,-14 1-31</inkml:trace>
  <inkml:trace contextRef="#ctx0" brushRef="#br0" timeOffset="103660.64">15809 10530 0,'0'-13'16,"0"26"-16,13-26 16,-13 40-1,-13-27 1,13 13-16,0 0 0,-13 14 0,13-14 16,-14 0-16,14 13 0,-13-12 15,13 12-15,-13-13 0,0 14 0,-1-14 16,14 0-16,-13 1 0,0-1 15,13 13-15,-13-13 0,0-13 0,13 14 16,-14-14-16,14 13 0</inkml:trace>
  <inkml:trace contextRef="#ctx0" brushRef="#br0" timeOffset="103911.58">15558 10663 0,'0'-14'0,"0"28"0,0-41 15,13 14 1,13 26 0,-26 0-1,27-13-15,-14 14 0,0-14 0,0 13 16,1-13-16,12 0 0,-26 13 16,13-13-16,0 13 0,1-13 15,-1 0-15,0 14 0,0-14 16,1 0-16,-1 13 15,-13 0 1,13-13-16</inkml:trace>
  <inkml:trace contextRef="#ctx0" brushRef="#br0" timeOffset="104363.66">15094 11311 0,'0'13'0,"0"-26"16,14 39-16,-1-12 0,0-14 15,14 0-15,-1 0 0,1 0 0,25-14 16,-12 14-16,26-13 0,0 0 0,1 0 16,-1-1-16,0-12 0,13 0 15,-13 12-15,1-25 0,-1 12 0,0 1 16,0-14-16,-13 0 0,13 1 0,-13-1 15,0 0-15,13-26 0,-13 13 0,-13 0 16,13-26-16,-14 13 0,1 0 16,-14 0-16,-12-1 0,-1 1 0,-26 0 15,-14 13-15,-13 0 0,-26-13 16,-13 26-16,-14 1 0,-26-1 16,0 27-16,-13 0 0,0 13 0,-27 13 15,13 13-15,1 1 0,-1 12 0,1 14 16,12 0-16,14 0 0,14 27 0,-81 65 15,120-66-15,13 1 0,0-1 16,40-26-16,0 13 0,26 67 16,14-81-16,12 15 0,27-15 15,14 15-15,-1-28 0,14 14 0,13-26 16,-1-1-16,-25 1 0,12-27 16,-12 13-16,12-13 0,-12 0 0,-1-13 15,14-1-15,-14 1 0</inkml:trace>
  <inkml:trace contextRef="#ctx0" brushRef="#br0" timeOffset="104757.97">15968 10649 0,'0'0'0,"-27"14"15,14-14-15,0 26 0,-14-13 16,14 14-16,-13-1 0,-1 1 0,1-1 16,12 14-16,-12-14 0,-1 1 15,1-1-15,0 1 0,12-1 0,-25 14 16,25-27-16,1 0 0</inkml:trace>
  <inkml:trace contextRef="#ctx0" brushRef="#br0" timeOffset="104911.8">15610 10702 0,'0'-13'15,"14"40"1</inkml:trace>
  <inkml:trace contextRef="#ctx0" brushRef="#br0" timeOffset="104991.8">15743 10808 0,'53'27'0,"-106"-54"0,145 67 16,-78-27-16,-1-13 0,0 13 16,0 1-16,0-1 0,1 0 15,-14 0-15</inkml:trace>
</inkml:ink>
</file>

<file path=ppt/ink/ink28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3:00:31.986"/>
    </inkml:context>
    <inkml:brush xml:id="br0">
      <inkml:brushProperty name="width" value="0.05292" units="cm"/>
      <inkml:brushProperty name="height" value="0.05292" units="cm"/>
      <inkml:brushProperty name="color" value="#0070C0"/>
    </inkml:brush>
  </inkml:definitions>
  <inkml:trace contextRef="#ctx0" brushRef="#br0">4035 2553 0,'-13'0'15,"119"13"1,-67-13-1,14-13-15,26 13 16,1 0-16,12 0 0,1 0 0,158-13 16,-105 13-16,-1-13 0,147 13 15,-134 0-15,1-13 16,-13 13-16,-1 0 0,1 0 0,-1 0 16,-39 0-16,26 0 0,-26 0 0,0 0 15,0 0-15,0 0 0,-14 0 0,1-14 16,-1 14-16,-26 0 0,1 0 15,38 0-15,-52 0 0,-26 0 16,39 0-16,-53 0 16,14 0-16,-14 0 0,0 0 0,0 0 15,14 0-15,-14 0 0,0 0 16,1 0-16,-1 0 16,0 0 15</inkml:trace>
  <inkml:trace contextRef="#ctx0" brushRef="#br0" timeOffset="1553.03">10993 2434 0,'-13'13'16,"40"1"0,-14-14-1,0 13-15,0-13 16,1 0-16,-1 0 0,13 0 0,-13 13 16,27-13-16,-13 0 0,12 0 0,1 0 15,13 0-15,0 0 0,0 0 0,0 0 16,13 0-16,0 0 15,13 0-15,1 0 0,-1 0 0,0 0 16,14 0-16,-14 0 0,1 0 0,12 0 16,1 0-16,-14 0 0,14 0 15,-14 0-15,14 0 0,-14 13 0,14-13 16,-14 0-16,14 0 0,-14 0 0,1 0 16,-1 0-16,0 0 0,-26 0 15,0 0-15,13 0 0,-13 0 0,0 14 16,0-14-16,0 0 0,0 0 0,-13 0 15,-14 0-15,14 0 0,-14 0 16,1 0-16,-1 0 0,-13 0 16,14 0-16,-14 0 0,14 0 0,-14 0 15,0 0-15,0 0 0,1 0 0,-1 0 16,0 0-16,0 0 16,0 0-16,1 0 15,-1 0-15,0 0 16,0 0-1,1 0 17,-1 0-1,-13-14 94,-13-12-109,13 13-16</inkml:trace>
  <inkml:trace contextRef="#ctx0" brushRef="#br0" timeOffset="4310.62">18904 2434 0,'53'0'31,"-26"0"-31,-14 0 0,14 13 16,-14-13-16,13 0 0,1 14 0,-1-14 16,1 13-16,12-13 0,-12 0 15,-1 13-15,1-13 0,12 0 0,-12 0 16,13 13-16,-14-13 0,14 0 16,-14 0-16,14 0 0,-14 0 0,14-13 15,-14 13-15,1 0 0,-1 0 0,1-13 16,-1 13-16,1 0 0,-14-13 15,0 13-15,14-14 0,-14 14 0,0 0 16,0-13-16,1 13 0,-1-13 16,0 0-16,-13-1 15,13 14-15,0-13 0,-13 0 0,14 0 16,-14 0-16,13 13 16,-13-14-16,0 1 15,13 0-15,-13 0 0,13-1 16,-13 1-16,0 0 15,14 0-15,-14-1 0,0 1 16,0 0-16,13 0 0,-13 0 16,0-1-16,0 1 0,0 0 15,0 0-15,0-1 0,0 1 0,0 0 16,0 0-16,-13 0 0,13-1 16,-14-12-16,14 13 0,-13-1 15,0 1-15,-14-27 0,1 14 16,0 13-16,-1-14 0,14 14 15,-14-13-15,-39-1 0,40 1 16,-1 12-16,1 1 0,-1 13 0,1-13 16,-1 0-16,1 13 0,-14-13 0,14-1 15,-1 14-15,-39-13 16,40 13-16,-14 0 0,-26 0 16,40 0-16,-14 0 0,0 13 15,0-13-15,1 0 0,12 14 0,1-14 16,-1 13-16,1 0 0,-14 0 15,14 0-15,-14 1 0,14-1 0,-1 0 16,1 14-16,-1-14 0,-12 13 16,12-12-16,1 12 0,-1-13 0,1 14 15,-1-14-15,14 0 0,0 14 0,0-14 16,-14 0-16,14 14 0,0-14 0,-1 0 16,1 13-16,13-12 0,-13-1 15,13 13-15,-13-12 0,13-1 0,0 13 16,13-13-16,-13 14 0,13-1 0,0 1 15,14-1-15,-1 1 0,1-14 16,-1 13-16,54 14 0,-41-27 16,1 14-16,0-14 0,13 0 0,-14-13 15,14 14-15,0-1 0,0-13 16,13 13-16,-13-13 0,0 0 16,0 13-16,0-13 0,13 0 0,-13 0 15,0 0-15</inkml:trace>
  <inkml:trace contextRef="#ctx0" brushRef="#br0" timeOffset="4817.17">20915 2421 0,'27'0'15,"65"13"1,-39-13-16,0 0 0,13 0 15,0 13-15,1-13 0,-1 0 0,13 0 0,1 0 16,-1 14-16,-26-14 0,13 0 16,0 0-16,-13 0 0,0 0 15,0 0-15,-13 0 0,-1 0 0,-12 0 16,-1 0-16,-13 0 0,14-14 0,-14 14 16,0 0-1</inkml:trace>
  <inkml:trace contextRef="#ctx0" brushRef="#br0" timeOffset="5034.04">21537 2394 0,'-93'0'16,"186"0"-16,-212 0 0,93 0 0,12 0 0,1 0 15,0 0-15,13 14 0,13-1 16,14-13-16,-1 13 16,14 0-16,13 1 0,-14-1 15,94 0-15,-67 0 0,-13-13 16,53 14-16,-54-14 15,1 0-15,-13 0 0,0 0 0,-1 0 16,-12 0-16,-1 0 0,1 0 16,-1 0-16,1 0 0,-14 0 0,13-14 15,-12 14-15</inkml:trace>
  <inkml:trace contextRef="#ctx0" brushRef="#br0" timeOffset="6008.1">1177 3029 0,'14'-13'0,"-1"13"16,0 0-16,14 0 0,-1-13 15,14 13-15,13-13 0,-14 0 0,14 13 16,0-14-16,0 14 0,185-26 31,-198 13-31,0 13 0,-1 0 0,-12 0 16,-14 0-16,13 0 0,-12 0 0</inkml:trace>
  <inkml:trace contextRef="#ctx0" brushRef="#br0" timeOffset="6289.26">1072 3162 0,'39'0'31,"-12"0"-31,-1 0 0,1 0 0,26-13 16,-1 13-16,1-14 0,-13 14 0,13 0 15,0-13-15,0 13 0,-13 0 0,-1-13 16,1 13-16,0 0 0,-14 0 15,0-13-15,1 13 0,-14 0 0,14 0 16,-14 0-16,0-14 0,0 14 0,1 0 16,-1 0-1,0 0-15,-13 14 16</inkml:trace>
  <inkml:trace contextRef="#ctx0" brushRef="#br0" timeOffset="7531.27">6443 3929 0,'0'0'16,"39"0"-1,-12 0-15,-1 0 0,14-13 16,13 13-16,0 0 0,0 0 0,0 0 16,-1 0-16,15 0 0,-14 0 15,13 0-15,-13 0 0,0 0 0,-1 0 16,1 0-16,-13 0 0,0-13 15,-14 13-15,1 0 0,-1 0 16,-13 0-16,1 0 0,-1 0 0,0 0 16,0 0-16,-52 13 31,12-13-31</inkml:trace>
  <inkml:trace contextRef="#ctx0" brushRef="#br0" timeOffset="7803.37">6416 4008 0,'40'0'16,"-14"0"-1,1 0-15,12-13 0,14 13 0,0 0 16,0-13-16,0 13 0,0 0 0,13 0 16,-13 0-16,0-13 0,13 13 15,-13 0-15,-13 0 0,13 0 0,-14 0 16,27 0-16,-39 0 0,-14 0 15,14 0-15,-14 0 0,0 0 16,0 0-16,1 0 0,-1 0 16,0 0-16,0 0 0,0 0 15,1 0-15,-1 0 32,-13 13-32,26-13 15</inkml:trace>
  <inkml:trace contextRef="#ctx0" brushRef="#br0" timeOffset="8400.2">9618 3929 0,'119'-13'32,"-66"13"-32,-1-13 0,54 13 15,-40 13-15,-13-26 0,14 26 0,-15-13 16,15 0-16,-1 0 0,0 0 0,-13 0 15,0 13-15,0-13 0,-14 0 16,1 0-16,-14 0 0,1 13 0,-14-13 16,0 0-16,1 0 0,-1 0 0,0 0 15,-13 14-15</inkml:trace>
  <inkml:trace contextRef="#ctx0" brushRef="#br0" timeOffset="8772.94">9525 4088 0,'119'13'16,"-66"-13"-16,13 0 15,0-13-15,14 13 0,-1 0 0,0 0 16,1 0-16,-14 0 0,13 0 15,-13 0-15,-13 0 0,0 0 16,13 13-16,-26-13 0,13 0 0,-13 0 16,-14 0-16,14 0 0,-14 0 0,-12 0 15,12 0-15,-13 0 0,0 0 16,1 13-16,-1-13 0,0 0 0,0 0 16,1 0-16,-1 0 0,0 0 15,0 0 1,1 0-1,-54 0 32,13 0-47</inkml:trace>
  <inkml:trace contextRef="#ctx0" brushRef="#br0" timeOffset="11788.97">4604 4670 0,'0'13'78,"13"-13"-78,-13 13 0,13-13 16,0 14-16,1-14 0,-1 13 15,0-13-15,14 13 0,-1 0 16,0-13-16,1 13 0,-1-13 0,1 14 16,52-1-16,-26-13 0,-13 13 15,13-13-15,-14 13 0,14-13 16,-13 0-16,53 0 0,-67 0 16,14 14-16,-14-14 0,14 0 0,-14 0 15,1 0-15,-1 0 0,1 0 16,-1 0-16,1 0 0,-1 0 15,1 0-15,-14 0 0,13 0 0,-12 0 0,12 0 16,-13-14-16,14 14 0,-14 0 16,0 0-16,0 0 0,1-13 15,-1 13-15,0 0 0,0 0 0,1-13 16,-1 13-16,0 0 0,0-13 0,0 13 16,1-14-16,-1 14 15,0 0-15,-13-13 0,13 13 0,1 0 16,-14-13-16,13 13 0,0 0 0,0 0 15,0-13-15,1 13 0,-1 0 16,-13-13-16,13 13 0,0 0 0,1-14 16,-1 14-16,0-13 0,0 13 15,1 0-15,-1-13 0,0 0 16,0 13-16,0 0 0,1-14 16,-1 14-16,-13-13 0,13 13 0,0-13 15,1 13-15,-1-13 0,0 13 16,-13-13-16,13-1 15,1 14-15,-14-13 16,26-13 0,-13 12-16,0 1 15,-13 0 1,14 13-16,-14-13 0,13-1 16,-13 1-16,13 0 15,-13 0 1,13 13-16,-13-13 0,0-1 15,0 1-15,0 0 16,0 0-16,0-1 0,0 1 16,-13 0-16,13 0 15,-13-1-15,13 1 0,-13 13 16,13-13-16,-14 0 0,1 0 16,0-1-16,0 14 15,13-13-15,-13 0 0,-1 13 0,1-13 16,0-1-16,0 14 15,13-13-15,-14 13 0,1-13 0,0 13 16,13-13-16,-13 0 0,-1 13 16,1-14-16,0 14 0,0-13 0,0 0 15,-1 13-15,-12-13 0,13-1 0,-1 14 16,-12-13-16,13 0 0,-40 0 16,40-1-16,-14 14 0,-13-13 15,-52-13 1,79 26-16,-14 0 0,14-13 15,-14 13-15,14 0 0,-13 0 16,13 0-16,-14-14 0,1 14 0,12 0 16,-12 0-16,-1 0 0,1 0 15,0 0-15,-1 0 0,1 0 16,-1 0-16,1 0 0,-1 0 0,-12 0 16,12 0-16,1 0 0,-1 0 0,1 0 15,-1 0-15,1 0 0,-1 0 0,1 0 16,-1 14-16,1-14 0,13 0 15,-14 0-15,1 0 0,13 0 16,-14 13-16,14-13 0,-14 0 0,1 0 16,0 13-16,12-13 0,-12 0 15,13 13-15,-1-13 0,-25 13 16,25-13-16,-12 0 0,13 14 0,0-14 16,-14 13-16,14-13 0,0 13 15,-14-13-15,14 0 0,0 13 16,-14-13-16,14 14 0,-13-14 0,12 13 15,1-13-15,0 13 0,-14-13 0,14 0 16,0 13-16,0-13 0,-14 14 0,14-14 16,0 0-16,0 13 0,-1-13 15,14 13-15,-13-13 0,0 13 0,0-13 16,-14 13-16,27 1 0,-13-14 16,0 13-16,0 0 15,-1 0-15,14 1 0,-13-14 16,13 13-16,-13 0 0,13 0 15,0 0-15,-13 1 0,13-1 16,0 13-16,0-12 0,0-1 16,0 0-16,0 0 0,0 1 0,0 12 15,0-13-15,13 14 0,-13-14 0,13 0 16,-13 14-16,13-14 0,1 13 16,-1-12-16,13 12 0,1-13 0,26 27 15,-14-27-15,-12 14 0,12-14 16,-12 0-16,-1-13 0,1 13 0,-1 0 15,1-13-15,-1 14 0,1-14 16,-14 0-16,13 13 0,-12-13 16,-1 0-16,13 0 0,-13 13 0,14-13 15,-14 0-15,0 0 16,14 0-16</inkml:trace>
  <inkml:trace contextRef="#ctx0" brushRef="#br0" timeOffset="14943.91">16073 3016 0,'-13'27'16,"13"-14"0,0 0-16,-13 14 0,13-14 15,0 0-15,0 14 0,-13-14 16,13 13-16,0-13 0,-13 1 0,13 12 16,0-13-16,0 1 0,0-1 15,-14 0-15,14 0 0,0 1 0</inkml:trace>
  <inkml:trace contextRef="#ctx0" brushRef="#br0" timeOffset="15492.07">16126 3003 0,'14'0'16,"25"0"0,-39 13-1,13-13-15,-13 13 0,0 1 16,0-1-16,-13 0 0,13 0 15,-13 1-15,0-1 0,0 0 0,13 0 16,-14 1-16,1-1 0,0 0 0,13 0 16,-13 0-16,-1 1 15,1-14-15,13 13 16,13 0 0,1-13-1,-1 0-15,0 0 0,14 0 16,-14 13-16,0-13 0,0 0 15,0 0-15,1 14 0,-1-14 16,0 0-16,-13 13 0,13-13 16</inkml:trace>
  <inkml:trace contextRef="#ctx0" brushRef="#br0" timeOffset="15897.04">15994 3638 0,'0'0'0,"0"-13"0,-13 39 32,13-13-32,-13 1 15,13-1-15,-14 0 0,14 14 16,0-14-16,-13 0 0,13 0 0,0 14 15,-13-14-15,13 0 0,-13 0 0,13 1 16,0-1-16,0 0 0,0 0 0,-14-13 16,14 14-16,0-1 15</inkml:trace>
  <inkml:trace contextRef="#ctx0" brushRef="#br0" timeOffset="16478.34">16034 3598 0,'0'0'0,"26"0"0,-13 0 15,1 0-15,-14 14 16,0-1-16,0 0 16,0 0-16,-14 0 15,14 1-15,-13-1 0,0-13 16,13 13-16,-13 0 0,13 1 15,-13-1-15,26-13 16,-13 13-16,13-13 0,-13 13 16,13-13-16,0 14 0,1-1 15,-1-13-15,-13 13 0,13-13 0,-13 13 16,13 0-16,-26 1 16,13-1-16,-13-13 15,0 13-15,-1 0 0,-12 1 0,13-14 16,-14 13-16,1 0 0,-1 0 15,14-13-15,-13 14 0,12-14 0,1 0 16</inkml:trace>
  <inkml:trace contextRef="#ctx0" brushRef="#br0" timeOffset="17201.25">15875 4299 0,'-13'14'47,"13"-1"-31,0 0-16,0 0 0,0 1 16,0-1-16,0 0 15,13-13-15,-13 13 16,13 1-16,0-14 15,1 13-15,-1-13 0,13-13 16,-12 13-16,-1 0 0,0-14 16,0 14-16,1-13 15,-1 13-15,0 0 0,13 0 16,-12 0-16,-14 13 16,13-13-16,0 0 0,-13 14 15,13-1-15,1-13 0,-1 0 16,0 0-16,0 0 15,0-13-15,1-1 16,-14 1-16,13 13 16,-13-13-16,0 0 0,13 13 0,-13-14 15,0 1-15,0 0 0,13 0 16,-13-1-16,0 1 0</inkml:trace>
  <inkml:trace contextRef="#ctx0" brushRef="#br0" timeOffset="19105.02">17634 3056 0,'14'-13'0,"-14"26"31,0 0-15,0 0-16,0 1 0,0-1 16,0 0-16,0 0 0,0 1 15,-14-1-15,14 0 0,0 0 16,0 0-16,0 1 0,0-1 15</inkml:trace>
  <inkml:trace contextRef="#ctx0" brushRef="#br0" timeOffset="20097.22">17621 3069 0,'0'-13'16,"13"0"-16,1 13 15,-1-14-15,0 14 16,0 0-16,1 0 16,-1 0-16,0 0 0,0 14 15,-13-1 1,-13 0 0,13 0-16,-13 1 0,13-1 15,-13 0 1,26 0-1,0-13-15,0 0 16,-13 14-16,14-14 0,-1 13 16,0-13-16,0 13 0,0 0 15,1 0-15,-14 1 16,0-1-16,-14-13 0,1 13 16,0 0-16,0-13 0,0 14 15,-1-1-15,-12 0 0,13-13 0,-1 13 16,1-13-16,0 14 0,0-14 15</inkml:trace>
  <inkml:trace contextRef="#ctx0" brushRef="#br0" timeOffset="21086.27">17674 3612 0,'-40'13'31,"27"-13"-31,13 13 15,-13 0-15,0 0 0,13 1 16,-13-1-16,13 0 0,-14 14 0,1-14 16,13 0-16,-13 14 0,13-14 0,0 0 15,0 0-15,0 0 0,0 1 16,0-1-16,13 0 16,0-13-16,1 13 15,-1-13 1,0-13-16,0 13 0,0-13 15,-13 0 1,14 13-16,-14-14 0,0 1 16,13 0-16,-13 0 15,0 0 1,13-1 0,0 14-16,1-13 15,-1 13-15,0 0 16,0 0-16,1 0 15,-1 0-15,0 0 0,0 13 16,0-13-16,-13 14 0,14-14 0,-14 13 16,13-13-16,-13 13 0,0 0 15,0 0-15,13 1 0,-13-1 16,0 0-16,0 0 0,0 1 16,0-1-16,0 0 0,0 0 15,0 1 1,0-1-16</inkml:trace>
  <inkml:trace contextRef="#ctx0" brushRef="#br0" timeOffset="23269.1">17701 4339 0,'0'0'16,"13"0"-16,-13 27 47,0-14-47,-13 0 0,13 0 15,0 1-15,0-1 0,0 0 16,-14 0-16,14 0 0,0 1 0,0-1 15,-13 0-15,13 0 0,0 1 16,-13-1-16,13 0 16,0 0-1</inkml:trace>
  <inkml:trace contextRef="#ctx0" brushRef="#br0" timeOffset="24171.35">17674 4352 0,'66'-39'31,"-52"39"-31,-1 0 0,0 0 16,0 0-16,0-14 15,1 28-15,-1-14 0,0 0 16,-13 13-16,0 0 15,0 0-15,-13 1 16,13-1-16,-13-13 0,-1 13 0,14 0 16,-13-13-16,13 14 0,-13-14 15,13 13-15,0 0 16,13 0-16,0 0 16,1-13-16,-1 14 0,0-1 15,0-13-15,-13 13 16,14-13-16,-14 13 0,0 1 15,0-1-15,-14-13 16,14 13-16,-13-13 0,0 13 16,0-13-16,-1 14 0,1-14 15,0 0-15,0 13 0,0-13 0,-1 0 16,1 0-16,0 0 16,0 0-16</inkml:trace>
  <inkml:trace contextRef="#ctx0" brushRef="#br0" timeOffset="24501">17978 4299 0,'0'-13'31,"0"53"-15,0-27-16,0 0 16,0 14-16,0-14 0,-13 0 15,13 14-15,-13-14 16,13 0-16,0 0 0,-13 1 15,13-1-15,-13 13 0,13-12 16,-14-14-16,14 13 0,0 0 0</inkml:trace>
  <inkml:trace contextRef="#ctx0" brushRef="#br0" timeOffset="25448.37">17926 3069 0,'0'-13'16,"0"39"15,0-12-31,0-1 0,0 13 16,-14-12-16,14-1 0,0 0 16,0 0-16,0 0 0,-13 1 0,13 12 15,0-13-15,0 1 16,0-1-16</inkml:trace>
  <inkml:trace contextRef="#ctx0" brushRef="#br0" timeOffset="25850.15">18058 3175 0,'-13'0'16,"-1"0"-16,1 0 15,0 0-15,13 13 16,-13-13-16,13 13 15,13-13 17,0 0-17,0 0 1,1 0 15,-1 14-15</inkml:trace>
  <inkml:trace contextRef="#ctx0" brushRef="#br0" timeOffset="26080.08">18256 3122 0,'-39'13'32,"39"1"-32,-14-1 0,14 0 15,0 0 1,0 0-16,0 1 16,14-1-16,-1 0 15,0-13-15,0 13 0,0-13 16,-13 14-16</inkml:trace>
  <inkml:trace contextRef="#ctx0" brushRef="#br0" timeOffset="27038.14">18071 4405 0,'0'0'16,"0"14"31,0-1-31,0 0-1,0 0-15,13-13 16,1 0-16,-1 0 15,0 0-15,-13-13 0,13 13 16,0-13-16,1 0 16,-14-1-16,13 14 15,-13-13-15,13 0 16,0 26 31,-13 0-32,14 1-15,-1-14 16,13 13 0,-13-13-16,14-13 15,-14 13-15,0-14 16,1 14-16,-14-13 0,13 13 16,0-13-16,-13 0 0,13 13 15,-13-14-15,-13 28 47,13-1-47,-13 0 0,26 0 16,-13 1-16,13-14 15,1 13-15,-1-13 0,0 13 0,0-13 16,0 0-16,1 0 0</inkml:trace>
  <inkml:trace contextRef="#ctx0" brushRef="#br0" timeOffset="33244">17780 4908 0,'13'0'63,"-13"26"2405,0-12-2452,-13-1-16,13 0 16,0 0-16,0 1 15,13-1-15,-13 0 16,13-13-16,1 13 15,12-13-15,-13-13 16,1 13-16,-1 0 0,-13-13 16,13 13-16,0-13 15,1-1-15,-14 1 0,13 13 16,-13-13-16,0 0 0,0-1 16,0 1-1,-13 13-15,13-13 0,-14 0 16,1 13-16,0 0 0,0 0 15,-1 0-15,1 13 16,0-13-16,0 0 16</inkml:trace>
  <inkml:trace contextRef="#ctx0" brushRef="#br0" timeOffset="33468">18031 4882 0,'14'-14'16,"-14"28"-1,0-1 1,0 0-16,0 0 0,0 0 16,0 1-16,0-1 0,0 0 15,-14 0-15,14 1 0,0-1 0,-13 0 16,13 0-16,0 1 0,-13-1 15,13 0-15</inkml:trace>
  <inkml:trace contextRef="#ctx0" brushRef="#br0" timeOffset="33864.68">18084 4829 0,'14'-14'0,"-28"28"0,54-41 16,-27 27-16,0 13 16,1-13-16,-14 14 15,0-1-15,-14 13 16,14-12-16,-13-1 0,0 13 15,0-13-15,0 1 0,-1-1 0,1-13 16,13 13-16,-13 0 0,0 1 16,13-1-16,-14-13 15,14 13-15,14-13 16,-14 13 0,13-13-16,0 0 15,0 0-15,1 0 0,-1 0 16,0 0-16,0 0 0,0 0 15,1 0-15,-1 0 0,0 0 0,0 0 16,1 0-16</inkml:trace>
  <inkml:trace contextRef="#ctx0" brushRef="#br0" timeOffset="34912.58">18415 4895 0,'-13'0'0,"0"0"0,-27 39 31,27-39-15,13 14-16,-14-14 0,14 13 0,0 0 16,0 0-1,14-13 1,-1 0-1,0 0-15,-13-13 0,13 13 16,-13-13-16,14 13 0,-1-13 16,0-1-1,0 14 1,0 14 0,-13-1-1,0 0 1,14-13-1,-14 13-15,13-26 47,0 13-31,-13-13-16,13 13 16,1 13-1,-1-13 1,0 0-1,0 13-15,1-13 16,-1 0-16,0 0 16,0 0-16,0 0 0,1-13 15,-1 13-15,0 0 0,-13-13 16,13 13-16,-13-13 16,14 13-16,-1-14 15,0 28 16,-13-1-31,0 0 16,0 0-16,0 1 16,0-1-16,-13 13 15,0-12-15,-1-1 0,1 0 16,13 0-16,-13-13 0,13 13 16,-13-13-16,26-13 31,0 0-16,0 0-15,1 13 0,-1-13 0,13-14 16,-13 14-16,1 0 0,12-1 16,-13 14-16,1-13 15,-14 26 17,13 1-17,0-14-15,0 13 16,1-13-16,-1 0 15,0 0-15,0 0 0,0 0 0,14 0 16,-14-13-16,0 13 0,1 0 16,-1 0-16,0 0 15,0 0-15,-13-14 16</inkml:trace>
  <inkml:trace contextRef="#ctx0" brushRef="#br0" timeOffset="37596.81">16285 3188 0,'-13'0'0,"39"0"31,1 0-31,-1 0 16,1 0-16,26-13 0,0 13 0,-1 0 16,1-13-16,0 13 0,0-13 15,0 13-15,0 0 0,0-14 0,0 14 16,-13 0-16,-1 0 0,-12 0 0,-1 0 16,1-13-16,-1 13 0,-13 0 15,1 0-15,-1 0 0,0 0 16</inkml:trace>
  <inkml:trace contextRef="#ctx0" brushRef="#br0" timeOffset="39427.99">16312 3228 0,'26'13'0,"-52"-26"0,78 39 15,-38-12-15,12-14 0,1 26 0,-1-13 16,14 14-16,-14-14 0,14 13 0,0 1 16,-1-1-16,1 1 0,0-1 15,-14 1-15,14-1 0,-14-13 16,14 14-16,-14-14 0,14 14 0,-13-14 16,-1 0-16,-13 0 0,14 0 0,-14-13 15,0 14-15,0-1 0,1-13 16,-14 13-16,13-13 0,0 0 0,-13 13 15,13-13-15,1 14 16,-1-14 0,-13 13-1,-13-40 17,-1 14-32</inkml:trace>
  <inkml:trace contextRef="#ctx0" brushRef="#br0" timeOffset="40137.33">16391 3215 0,'13'26'16,"-13"-13"-1,13 14-15,1-14 0,-1 27 0,0-1 16,0 1-16,14 13 0,-1-13 16,27 52-16,-26-39 0,-1-13 15,1 0-15,12-1 0,-12 14 0,-1-13 16,1 0-16,-1-1 0,1-12 16,-1-1-16,0 14 0,1-14 15,-1 1-15,1-1 0,-1 1 0,1-14 16,-1 13-16,-13 1 0,27-1 15,-27-12-15,1-1 0,-1 0 16,-13 0-16,13 0 0,0 1 0,0-1 16,1 0-16,-14 0 0,13-13 15,-13 14-15,13-14 16,-13 13-16,13-13 0,-13 13 16,14-13-1,-14 13-15,-14-39 47,1 13-31,13-1-16,-13 14 15</inkml:trace>
  <inkml:trace contextRef="#ctx0" brushRef="#br0" timeOffset="41068.08">16378 3281 0,'0'13'0,"13"27"15,0 26 1,-13-40-16,13 14 0,14 26 15,-14-26-15,14 13 0,-14 0 16,13-14-16,1 14 0,-1-13 16,-13 13-16,14-13 0,-1-1 15,-12-12-15,12 12 0,-13-12 0,14 13 16,-1-14-16,-13 1 0,14 12 0,-1-12 16,1-1-16,-14 1 0,13 12 15,1-12-15,-1-1 0,-12 1 0,12-1 16,0 1-16,-12-1 0,12 0 15,-13 1-15,14-1 0,-14 1 16,14-1-16,-14 1 0,13-14 0,14 27 16,-27-27-16,0 0 0,1 0 0,12 1 15,-13-1-15,1 0 0,12 0 16,-13 0-16,14 1 0,-14-1 16,0 0-16,14 0 0,-14 1 0,13-14 15,-13 13-15,1 0 0,12-13 0,-13 13 16,1 1-16,12-1 0,-13-13 15,1 13-15,-1 0 0,0-13 0,13 13 16,-12-13-16,-1 14 0,0-14 0,-13 13 16,27 0-16,-14-13 0,0 13 15,0-13-15,1 14 0,-1-14 16,0 13-16,0-13 16,0 13-16,1-13 0,-1 0 15,0 13 1,0-13-1,-13 14 1,14-14 0,-28-14 46,1 1-62</inkml:trace>
  <inkml:trace contextRef="#ctx0" brushRef="#br0" timeOffset="43123.88">21339 3175 0,'13'0'15,"-40"13"1,27 0-16,-13 1 0,-13-1 0,12 0 15,1 0-15,-13 14 0,-1-14 16,14 0-16,-13 14 0,12-14 0,1 0 16,0 0-16,0 1 0,0-1 15,13 0-15,-14 0 0,14 1 16,0-1-16,0 0 0,14-13 16,-1 13-16,0-13 15,13 0-15,-12 13 0,12-13 0,1 0 16,-14 0-16,13 0 0,1 0 0,26-13 15,-27 13-15,1 0 16,-14 0-16,13-13 0,1 13 0,-14-13 16,0 0-16</inkml:trace>
  <inkml:trace contextRef="#ctx0" brushRef="#br0" timeOffset="43344.89">21431 3281 0,'-13'40'0,"-13"79"31,12-93-31,14 40 16,0-39-16,-13-1 0,13 27 16,0-27-16,0 14 15,0-13-15,0-14 0,0 13 0,0 1 16,0-14-16,0 13 0,0-12 0,0 12 15,0-13-15</inkml:trace>
  <inkml:trace contextRef="#ctx0" brushRef="#br0" timeOffset="45816.16">21484 3426 0,'0'-13'31,"0"0"-16,0 0-15,0-1 16,0 1-16,0 0 16,0 0-16,0 0 0,13-1 15,-13 1-15,0-13 0,0 12 16,0 1-16,14 13 0,-14-13 0,0 0 16,-14-1-1,14 1-15,-13 13 0</inkml:trace>
  <inkml:trace contextRef="#ctx0" brushRef="#br0" timeOffset="48424.05">16232 3717 0,'40'-26'0,"-27"13"16,14-1-16,-1 1 0,14-13 15,-1-1-15,1 1 0,13-14 0,-13 14 16,13-14-16,-14 14 0,1-1 15,0 1-15,-1-1 0,1 1 0,0 13 16,-14-14-16,14 14 0,-14-14 0,14 14 16,-14-13-16,1 12 0,-1 1 15,1 0-15,-14 0 0,14 0 0,-14 13 16,0-14-16,0 1 0,0 13 0,1-13 16,-1 13-16,0-13 0,0 13 15,-13-14-15,14 14 0,-1 0 0,0-13 16,0 0-1,1 13 1,-1-13 31,-26 26 47,-1 0-79,1-13 1,13 13 0</inkml:trace>
  <inkml:trace contextRef="#ctx0" brushRef="#br0" timeOffset="49848.95">16298 3717 0,'14'0'47,"-1"0"-47,0 0 0,0 0 16,0 0-16,1 14 0,12-28 0,-13 14 15,27 0-15,-13 0 0,12 0 16,41 0-16,-27 0 0,-14 0 15,14 0-15,0 0 0,0 0 0,-13 0 16,13 0-16,-14 0 0,1 0 16,-14 0-16,14 0 0,-13 0 0,12 0 15,-12 0-15,-1 0 0,-13 0 16,14 0-16,-14 0 0,14 0 0,-14 0 16,0 0-16,0 0 15,0 0-15,1 0 0,-1 0 0,0 0 0,0 0 16,1 0-16,-1 0 0,0 0 15,0 0 1,0 0-16,1 0 16,-1 0-1,0 0-15,0 0 32,1 0-1,-1 0 16</inkml:trace>
  <inkml:trace contextRef="#ctx0" brushRef="#br0" timeOffset="50844.94">16259 3744 0,'26'13'47,"-13"-13"-47,27 13 16,-27 1-16,14-14 15,-14 13-15,13 0 0,14 0 0,-13 0 16,12 1-16,1-1 0,0 0 16,-1 14-16,1-14 0,-14 0 0,14 14 15,0-14-15,0 0 0,-14 13 0,14-12 16,-1-1-16,1 0 0,0 14 0,-1-14 16,1 0-16,0 0 0,-1 1 15,1-1-15,13 0 0,-26 0 16,-14-13-16,26 13 15,-12 1-15,-14-14 0,0 0 16,1 13-16,-1-13 0,0 0 0,0 13 16,0-13-16,1 0 0,-1 0 0,-13 13 15,13-13-15,0 0 0,1 0 16,-1 14 0,0-14-1,0 0 16,-26-14 63,13 1-78,-13 13-16,0-13 15</inkml:trace>
  <inkml:trace contextRef="#ctx0" brushRef="#br0" timeOffset="51836.79">16364 3770 0,'0'14'0,"14"-1"15,-14 0-15,13-13 16,-13 13-16,13-13 0,-13 13 0,27 14 16,-14-14-16,0 0 0,0 1 0,1-1 15,-1 0-15,13 14 0,1-1 16,-1-13-16,-13 14 0,40 12 16,-26-25-16,-1 12 0,1-13 0,-1 14 15,-13-14-15,27 0 0,-13 14 16,-1-14-16,0 0 0,1 14 15,26-1-15,-27-13 0,-13 0 16,14 1-16,-1-1 0,-12-13 16,39 40-16,-27-27 0,-13 0 15,14 0-15,-14 1 0,13-1 0,-12 0 16,12 13-16,1-12 0,-14-1 16,0-13-16,0 13 0,0 0 15,1 1-15,-1-1 0,0 0 16,-13 0-16,13 1 0,14 12 0,-14-26 15,0 13-15,0 0 16,1 1-16,-1-1 0,0 13 0,0-12 16,1-1-16,-1 0 0,13 13 15,1-12-15,-14-1 0,0 0 0,-13 0 16,13 1-16,1-14 0,12 26 16,-26-13-16,13-13 0,1 14 15,-14-1-15,13-13 0,-13 13 0,13 0 16,0-13-16,-13 13 15,14-13-15,-14 14 16,13-14-16,-13 13 16,13-13-1,-13-13 48,0-1-63,13 1 0,-13 0 15</inkml:trace>
  <inkml:trace contextRef="#ctx0" brushRef="#br0" timeOffset="52571.91">21418 4035 0,'-13'13'32,"-14"0"-17,27 1-15,-26-1 0,13 0 16,-1 14-16,1-14 0,-13 0 0,-1 13 16,14-12-16,0-1 0,-27 27 15,40-27-15,-13 0 0,0-13 0,-1 13 16,14 0-16,-13 1 0,0-1 15,13 0 1,0 0-16,13-13 16,0 14-16,1-14 15,-1 0-15,0 0 0,0 0 16,1 0-16,-1 0 0,13 0 0,-13 0 16,1 0-16,-1-14 0,0 14 0,0 0 15,1 0-15,-1-13 0,0 13 16</inkml:trace>
  <inkml:trace contextRef="#ctx0" brushRef="#br0" timeOffset="52799.86">21405 4154 0,'0'0'0,"-40"26"31,27 1-16,13-1-15,-13-12 0,13 12 16,-14-13-16,14 14 0,0-1 0,-13-13 16,13 14-16,0-14 0,0 14 0,0-14 15,0 13-15,0-13 16,0 1-16,0-1 0,0 0 0,0 14 16,0-1-16</inkml:trace>
  <inkml:trace contextRef="#ctx0" brushRef="#br0" timeOffset="54882.83">16338 4379 0,'13'-13'110,"0"-1"-110,-13 1 15,14 0-15,-1 0 0,0-1 16,0 1-16,14-13 0,-14-14 15,27 14-15,-14-27 0,14 13 16,-14 0-16,14 1 0,-13-14 0,12 13 16,1 0-16,-14-13 0,14 14 15,0-14-15,-1 13 0,1 0 0,0 1 16,13-1-16,-14 0 0,41-26 16,-54 40-16,1-1 0,-1 1 15,1 13-15,-14-14 0,13 14 0,-12 0 16,-1 0-16,0-1 0,0 14 0,-13-13 15,13 0-15,1 13 0,-14-13 16,13 13-16,-13-14 0,13 14 0,-13-13 16,13 13-16,1-13 15,-14 0 1,-27 26 62,27 0-78,-13-13 16,13 13-16,-13 1 15</inkml:trace>
  <inkml:trace contextRef="#ctx0" brushRef="#br0" timeOffset="55675.17">16325 4405 0,'26'-13'32,"-13"0"-17,1 0-15,12-1 0,27-25 16,-26 25-16,12-12 0,-12 0 15,12-1-15,1 1 0,13-1 16,-13-12-16,-1 12 0,1 1 0,13-1 16,-13 1-16,13-1 0,-27 1 0,67-14 15,-54 14-15,-12 12 16,39-25-16,-26 25 0,-14-12 16,14 13-16,-14 0 0,-13-1 15,27 1-15,-40 0 16,13 13-16,1-13 0,-1 13 0,0-14 15,0 14-15,-13-13 16,13 13-16,-26 13 63,0 1-63</inkml:trace>
  <inkml:trace contextRef="#ctx0" brushRef="#br0" timeOffset="56340.92">16391 4432 0,'53'-13'32,"-40"13"-32,14-14 0,-1 14 0,14 0 15,-1-13-15,1 13 0,13-13 16,-13 13-16,-1-13 0,14 13 0,40-14 16,-40 14-16,-14 0 0,1-13 15,-13 13-15,12 0 0,27 0 16,-39-13-16,-1 13 0,1 0 0,-1 0 15,-12 0-15,65-13 32,-66 13-32,0 0 0,1 0 15,-1 0-15,0 0 0,0-14 16,0 14 15</inkml:trace>
  <inkml:trace contextRef="#ctx0" brushRef="#br0" timeOffset="57164.96">16272 4458 0,'13'13'0,"0"1"16,1-14-16,-1 13 0,0-13 16,0 13-16,14 0 0,-14 1 15,27-1-15,-14 0 0,14 14 16,-1-14-16,-12 0 0,13 13 0,-1-12 16,54 39-16,-53-40 0,-1 13 15,14-13-15,0 14 0,0-14 16,-13 0-16,-1 14 0,14-14 0,-13 0 15,0 1-15,-1-1 0,1-13 0,0 13 16,26 13-16,-40-26 16,1 0-16,-1 14 0,1-14 0,-1 13 15,1-13-15,12 0 16,-25 13-16,12-13 0,0 13 16,-12-13-16,-1 0 0,0 0 15,0 0-15,1 0 0,-1 0 0,0 14 16,0-14-16,1 0 15,-1 0 1,0 0 0,-13 13-1,13-13 1,0 0 15,-26-27 63,13 14-78</inkml:trace>
  <inkml:trace contextRef="#ctx0" brushRef="#br0" timeOffset="58442.06">21352 4789 0,'0'-13'0,"0"26"0,-13-13 47,-1 0-31,1 13-16,0 0 0,13 1 15,-27 12-15,14-13 0,0-13 16,0 14-16,0-1 0,13 0 16,-14 0-16,14 0 0,-13 1 0,13-1 15,-13-13-15,13 13 16,0 0-16,13-13 0,-13 14 16,13-14-16,1 13 0,-1-13 15,0 0-15,0 0 0,0 0 16,1 0-16,-1 0 0,13-13 15,1 13-15,-14 0 0,0-14 0,1 14 16,-1-13-16,0 0 0,0 13 16,0-13-16,1-1 0,-14 1 15,0 0-15,13 0 0,-13 0 0,0-1 0,0 1 16,0 0-16,0 0 16,0-1-1,0 1-15,-13 40 31,-1-14-31,14 0 16,0 0-16,0 1 0,0-1 16,-13 13-16,13-13 0,0 1 0,0-1 15,0 0-15,0 0 0,0 1 16,0-1-16,0 13 0,-13-12 0,13-1 16,0 0-16,0 13 0,-13-12 15,13-1-15,0 0 0</inkml:trace>
  <inkml:trace contextRef="#ctx0" brushRef="#br0" timeOffset="58772.32">20889 5384 0,'-13'0'0,"39"-13"15,-13 13 1,1 0-16,12-13 16,14 13-16,-1-13 0,1 13 0,13-14 15,-13 14-15,92-13 0,-79 0 16,13 13-16,0-13 0,0 13 16,14-14-16,-27 14 0,0 0 0,-1-13 15,1 13-15,0 0 0,-13-13 16,0 13-16,-14 0 0,1 0 0,-1 0 15,-13-13-15,14 13 0,-14 0 0,0 0 16,0 0-16,1 0 16,-28 13-1,14 0-15</inkml:trace>
  <inkml:trace contextRef="#ctx0" brushRef="#br0" timeOffset="59162.83">21418 5728 0,'0'-13'0,"0"53"46,-13-27-46,13 0 0,0 14 16,-13-1-16,13-13 0,0 14 16,-14-1-16,14 1 0,0-1 0,0-13 15,0 14-15,-13-14 0,13 0 16,0 0-16,0 14 0,0-14 16</inkml:trace>
  <inkml:trace contextRef="#ctx0" brushRef="#br0" timeOffset="59547.47">21656 5768 0,'13'0'15,"-26"0"-15,40-13 0,-14 26 16,-13 0-16,0 0 16,-13 1-16,-1-1 0,1 0 15,0 0-15,0 14 0,-1-14 16,1 0-16,0 0 0,0 1 0,0-1 0,-1 0 16,1 0-16,13 1 15,-13-14-15,13 13 0,13 0 16,0-13-1,1 0-15,-1 0 0,0 0 16,0 0-16,0-13 0,14 13 16,-1 0-16,-12 0 0,12 0 0,-13 0 15,14 0-15,-14-13 0,13 13 0,-12 0 16,-1 0-16,0 13 0,0-13 16</inkml:trace>
  <inkml:trace contextRef="#ctx0" brushRef="#br0" timeOffset="60151.83">21061 6350 0,'0'0'0,"40"0"15,-27 0 1,13 0-16,1 0 0,12 0 0,1-13 0,13 13 15,0 0-15,0 0 0,13-13 16,0 13-16,0 0 0,14-14 0,-14 14 16,-13 0-16,0-13 0,52 0 15,-65 0-15,13-1 0,-13 1 16,13 13-16,-14-26 0,1 12 0,-14 1 16,14 0-16,-13 0 0,12 0 15,-12-14-15,-1 14 0,1-14 0,-14 1 16,13-1-16,-12 14 0,-1-13 0,0-1 15,0 1-15,0 13 0,-13-14 16,0 1-16,14 13 0,-14-14 0,-14 1 16,14 12-16,-13-25 0,-13 12 0,13 1 15,-14-1-15,1 1 0,-27-1 16,13 1-16,0-1 0,1 1 16,-14 13-16,13-14 0,-13 1 15,-66-1-15,53 1 0,-13 13 0,12 13 16,-12-13-16,13 13 0,-13-14 15,-1 14-15,1 14 0,-67-1 16,80 0-16,-13 0 0,-54 14 16,81-1-16,-15 1 0,1-1 0,13 0 15,0 14-15,1-13 0,12 12 16,0 1-16,0-14 0,14 14 0,-14 26 16,27-26-16,13-14 0,0 41 15,0-41-15,13 14 0,14-14 16,-1 1-16,1 12 0,12-12 15,14-1-15,-13 1 0,13-1 16,26 1-16,-26-14 0,0-13 0,-13 13 16,52 0-16,-39-13 0,-13 0 15,13 0-15,-13-13 16,12 13-16</inkml:trace>
  <inkml:trace contextRef="#ctx0" brushRef="#br0" timeOffset="60604.98">22304 6337 0,'-13'0'0,"40"-13"31,-14-1-31,66-39 16,-26 27-16,-13-14 0,13 14 0,0-14 16,13 0-16,0-13 0,13 14 0,1-14 15,-14 0-15,0 13 0,40-26 16,-53 40-16,0-1 0,-27 14 16,27-13-16,-40 26 0,0-14 15,-39 54 1,13-27-16,-14 14 15,-12 12-15,-14-12 0,13 13 0,-13-1 16</inkml:trace>
  <inkml:trace contextRef="#ctx0" brushRef="#br0" timeOffset="60771.24">22728 6191 0,'53'-39'0,"-27"12"15,14 1-15,13-1 0,-14-13 0,28 1 16,-15-1-16,1 0 0,0 14 0,13-14 15,-13 1-15,-13 12 0,0-13 16,-1 27-16,-12-13 0,-1 13 16,-12 13-16,-1-14 0,0 1 0</inkml:trace>
  <inkml:trace contextRef="#ctx0" brushRef="#br0" timeOffset="69909.02">13600 6310 0,'26'0'94,"14"0"-94,39 0 15,67 0-15,-14-13 16,66 0-16,14 0 16,26-14-16,159 27 15,-106 0-15,13-26 16,-39 12-16,-80 1 16,66-26-16,-92 39 15,0-14 1,-13 1-16,-27 13 15,-67 0-15,-38 0 16</inkml:trace>
  <inkml:trace contextRef="#ctx0" brushRef="#br0" timeOffset="78195.7">6575 7395 0,'-27'13'0,"27"1"16,-52 78-1,38-52-15,1-14 0,-13 40 16,12-26-16,14-13 0,0-1 16,-13 1-16,13-1 0,0-13 15,13 14-15,-13-14 0,0 0 0,14 14 16,-14-14-16,13 0 0,0 0 0,0 1 16,1-14-16,-1 0 0,0 0 15,0 0-15,0 0 16,-13-14-16,14 14 0,-14-13 15,13 0-15,-13 0 0,0-1 16,0 1-16,-13 0 0,13 0 16,-14-1-16,1 1 0,0 0 0,0 13 15,0-13-15,-27 0 0,27 13 16,-1 0-16,-12 0 0,13 0 16,-14 0-16</inkml:trace>
  <inkml:trace contextRef="#ctx0" brushRef="#br0" timeOffset="79007.71">8705 7501 0,'0'0'0,"13"0"0,0 0 16,0 0-1,-13 13-15,14-13 16,-14 13-16,0 1 0,0-1 15,0 0 1,0 0-16,13 1 0,-13-1 16,0 0-16,26 0 0,-26 0 15,14 1-15,-1-1 0,0-13 16,-13 13-16,27 0 16,-27 1-16,13-1 0,-13 0 15,13-13-15,-13 13 0,-13 1 0,13-1 16,-13-13-16,-14 26 15,14-13-15,-14-13 0,1 14 16,13-1-16,-14 0 0,1-13 0,-27 13 16,13 1-16,14-14 15</inkml:trace>
  <inkml:trace contextRef="#ctx0" brushRef="#br0" timeOffset="79263.82">7924 7567 0,'0'27'16,"-13"-1"-1,-13 0-15,12 14 0,-25 13 16,12-26-16,14-1 0,-13 14 0,12-27 16,1 13-16,0-12 0,0-1 15,-14 0-15</inkml:trace>
  <inkml:trace contextRef="#ctx0" brushRef="#br0" timeOffset="79444.89">7395 7633 0,'40'27'0,"-27"-14"0,13 13 15,14-12-15,-13 12 0,12 1 0,14-1 16,-13 0-16,13 1 0,0-14 0,0 14 16,0-1-16,0 1 15,-14-14-15,14 0 0,40 13 16</inkml:trace>
  <inkml:trace contextRef="#ctx0" brushRef="#br0" timeOffset="79795.7">10081 7514 0,'105'-13'31,"-91"13"-31,12 0 0,27 0 16,-40 0-16,14 0 16,-14 0-16,13 13 0</inkml:trace>
  <inkml:trace contextRef="#ctx0" brushRef="#br0" timeOffset="79992.71">10120 7752 0,'0'0'0,"14"14"0,-1-14 16,0 0-16,13 0 15,-12 0-15,12 0 0,-13 0 16,14-14-16,-1 14 0,1 0 0,-1 0 15,1 0-15,12 0 0,-25 0 0,12-13 16,1 13-16,-14 0 0,0 0 16</inkml:trace>
  <inkml:trace contextRef="#ctx0" brushRef="#br0" timeOffset="81274.87">11258 7501 0,'-13'26'15,"13"-12"-15,0-1 0,-13 0 16,13 0-16,-14 14 15,14-14-15,-13 13 0,13 1 0,-13-14 16,13 14-16,0-14 0,0 13 0,-13-12 0,13-1 16,0 0-16,0 13 0,0-12 15,0-1-15,0 0 0</inkml:trace>
  <inkml:trace contextRef="#ctx0" brushRef="#br0" timeOffset="81914.71">11628 7474 0,'14'27'32,"-1"-14"-32,0 27 15,-13-27-15,0 14 0,0-14 16,0 13-16,0-13 15,-13 40-15,0-39 0,13-1 16,-14 0-16,1 0 0,13 1 0,-13-1 16,0 0-16,0-39 31,26 12-31,0-12 0,0 13 16,14-14-16,12-26 0,-12 27 15,-14 13-15,14-14 0,-14 14 16,-13 0-16,13-1 0,-13 1 0,13 0 15,-13 0-15,-13-1 16,13 1-16,-13 13 0,0 0 16,-1-13-16,-12 13 15,13 0 1,-40 13-16,-13 0 47</inkml:trace>
  <inkml:trace contextRef="#ctx0" brushRef="#br0" timeOffset="89081.24">6337 3334 0,'-27'13'0,"14"-13"15,0 0 1,0 0-16,-1 0 16,1 0-1,13-13-15,0 0 0,0-1 16,13 1-16,-13 0 0,14-14 15,12 1-15,1-1 0,12 1 0,-12 0 16,26-1-16,-14 1 16,14-14-16,66 0 0,-66 14 0,13-1 15,14 14-15,-1-13 0,0 12 16,1 1-16,12 13 0,-12-13 0,12 13 16,1 0-16,0-13 0,-1 26 15,1-13-15,-1 0 0,-12 13 0,12 0 16,-12 1-16,-1-1 0,1 0 0,-14 0 15,0 1-15,0 12 0,0-13 16,-26 0-16,-1 1 0,1 12 0,-13-13 16,-1 1-16,1-14 0,-14 13 0,0 0 15,0-13-15,0 13 0,1-13 16,-14 14-16,13-14 0,-13 13 0,13-13 16,0 13-16,1-13 15,-14 13 1,13-13-1,0 0 79,0-13-78</inkml:trace>
  <inkml:trace contextRef="#ctx0" brushRef="#br0" timeOffset="91012.56">6787 5569 0,'0'0'0,"79"0"0,-26 0 0,0-13 16,0 13-16,13 0 0,0 0 0,0 0 15,0 0-15,-13 0 0,27 0 16,-28-13-16,15 13 0,-14 0 0,-1 0 16,1 0-16,-13 0 0,-13 0 0,-1 0 15,0 0-15,1 0 0,-14 0 16,0 0-16,1 0 0,-1 0 0,13 0 16,-12 0-16,-1 0 15,-13 13 16,0 0-15,0 1-16,13-1 16</inkml:trace>
  <inkml:trace contextRef="#ctx0" brushRef="#br0" timeOffset="92612.43">7038 4048 0,'53'-13'31,"-27"13"-31,1 0 16,-1 0-16,1 0 0,12 0 0,-12 0 16,-1 13-16,14-13 0,-14 0 0,1 0 15,13 0-15,-14 0 0,-13 0 16,14 0-16,-1 13 0,-13-13 0,1 0 16,12 0-16,-13 0 0,1 0 15,-1 0-15,0 0 0,0 0 16,0 0-16,1 0 15,-1 0 1</inkml:trace>
  <inkml:trace contextRef="#ctx0" brushRef="#br0" timeOffset="93292.1">10279 3969 0,'27'0'31,"-14"0"-31,0 13 0,13-13 16,1 0-16,-1 13 0,1-13 0,-1 0 16,1 13-16,-1-13 0,27 14 15,-26-14-15,-14 0 0,13 13 16,-13-13-16,1 0 0,-1 0 0,0 0 16,0 13-16,1-13 0,-1 0 15,0 0 1,0 0 15,-13-13-15,14 0 15</inkml:trace>
  <inkml:trace contextRef="#ctx0" brushRef="#br0" timeOffset="94859.43">13176 10094 0,'0'13'31,"-13"0"-31,13 1 0,0-1 0,-13 13 16,13-13-16,-13 1 0,13-1 0,0 13 15,-14-12-15,14-1 0,-13 0 16,13 0-16,0 1 0,0-1 16,-13 0-16,13 0 0,0 0 15,-13 1-15,13-1 16,13-40 15,-13 14-31,0 0 0,13 0 16,-13 0-16,13-1 0,1 1 15,-14 0-15,26 0 16,-13 13-16,0 0 16,1 0-16,-1 0 0,0 0 15,-13 13-15,13-13 16,-13 13-16,14 0 0,-1 1 16,-13-1-1,13 0 1,0-26-1,1 13-15,-1-13 0,0-1 16,0 14-16,0-13 0,1 0 16,-1 13-16,0 0 0,0-13 15,1 13-15,-1 0 0,0 13 16,0-13-16,1 13 16,-14 0-16,13-13 15,-13 14-15,0-1 16,13-13-16,-13 13 0,13 0 15,0-13-15,1 0 0,12-13 16</inkml:trace>
  <inkml:trace contextRef="#ctx0" brushRef="#br0" timeOffset="95015.14">13917 10160 0,'0'0'0,"0"-13"0,-13 26 31,0 0-15,-1 0-1,1 1-15,0-1 0,0 13 0,-1-12 16,1-1-16,0 13 0,13-12 0,-13 12 16,0-13-16,-1 0 0,14 1 15,-13-1-15</inkml:trace>
  <inkml:trace contextRef="#ctx0" brushRef="#br0" timeOffset="95184.98">13732 10292 0,'0'0'0,"0"-13"15,13 26 32,0 1-47,1-1 0,-1-13 16,-13 13-16,13-13 0,0 13 16,0-13-16,1 0 0,-1 13 0,0-13 15,0 0-15</inkml:trace>
  <inkml:trace contextRef="#ctx0" brushRef="#br0" timeOffset="95492.42">14076 10239 0,'0'-13'16,"0"26"-16,13-39 0,-13 13 15,0 52 32,-13-39-47,13 14 0,0-1 16,0 0-1,0 0 1,13-26 0,0 13-16,1 0 15,-1-13-15,0 13 16,0 0-16,0 0 16,1 0-16,-1 0 15,0 13 1,0-13-16,1 0 15,-1 0-15,0 0 16,0 0-16,1 0 0,12 0 0</inkml:trace>
  <inkml:trace contextRef="#ctx0" brushRef="#br0" timeOffset="95644.23">14658 10147 0,'13'0'0,"-26"0"0,13 13 31,0 0-31,-13 0 15,13 1-15,0-1 0,-14 0 16,14 0-16,-13 1 0,0-1 16,0 0-16,0 0 0,13 1 0,-14-1 15,1 0-15</inkml:trace>
  <inkml:trace contextRef="#ctx0" brushRef="#br0" timeOffset="95801.25">14526 10306 0,'0'-14'0,"13"-12"31,0 26-31,0 0 16,1 0-1,-1 0-15,0 13 0,0-13 0,14 0 16,-14 13-16,0-13 16,14 0-16,-14 14 0</inkml:trace>
  <inkml:trace contextRef="#ctx0" brushRef="#br0" timeOffset="98772.72">15108 10081 0,'0'0'0,"-14"-14"0,1 14 0,0 0 15,0 14-15,13-1 16,-13-13-16,-1 13 0,14 14 0,-13-14 15,13 0-15,0 0 16,0 0-16,0 14 0,13-14 0,-13 0 16,14 1-16,12-1 0,-13 0 0,14 0 0,-14 1 15,13-14-15,1 0 0,-14 0 16,0 0-16,14 0 0,-14 0 16,0-14-16,14-12 0,-27 13 15,13-1-15,-13 1 0,-13-13 16,13 12-16,-14 1 0,1-13 0,0 13 15,0 13-15,0-14 0,-14 14 0,14-13 16,0 13-16,-14 13 0,14-13 0,-14 14 16,14-1-16,-13 0 0,13 0 15,-1 0-15,1 1 0,0-1 16</inkml:trace>
  <inkml:trace contextRef="#ctx0" brushRef="#br0" timeOffset="99281.87">13044 10769 0,'79'0'0,"-158"0"0,211-14 0,-52 14 15,-1-13-15,14 0 0,39 13 16,-13-13-16,13-1 0,133 1 15,-133 0-15,0 0 0,93-1 16,-132 14-16,13-13 0,-14 13 0,1 0 16,-14-13-16,-13 13 0,-13-13 15,0 13-15,-13 0 0,-14 0 16,-12-13-16,-1 13 0</inkml:trace>
  <inkml:trace contextRef="#ctx0" brushRef="#br0" timeOffset="99511.63">13031 10835 0,'-27'13'0,"54"-26"0,-54 39 0,54-26 16,-1 13-16,120-13 0,-54-13 15,14 13-15,26 0 0,1 0 16,-1 0-16,0-13 0,1 13 15,-1 0-15,-26 0 0,0-13 0,-1 13 16,-12-14-16,-14 14 0,67-26 16,-106 13-16,-1 0 0,14-27 15</inkml:trace>
  <inkml:trace contextRef="#ctx0" brushRef="#br0" timeOffset="99823.47">12832 9856 0,'93'0'0,"-40"0"0,13 0 15,13 0-15,1 0 0,12 0 16,14 0-16,40 0 0,-14 0 0,0 0 16,-26 0-16,26 0 0,1 13 0,-14-13 15,-13 0-15,26 0 0,-26 0 0,0 0 16,-14 0-16,1 13 0,-14-13 16,-13 0-16,-13 13 0,0-13 15,-26 0-15,-1 0 0,-13 0 0,0 0 16</inkml:trace>
  <inkml:trace contextRef="#ctx0" brushRef="#br0" timeOffset="100791.78">13176 9816 0,'0'0'0,"13"-40"0,1 27 16,-14-13-16,13 12 0,0-12 15,14 0-15,-14-1 0,13 1 0,1-1 16,-1 14-16,14-14 0,-14 14 0,1 0 16,-1 0-16,1 13 0,-1 0 15,1-13-15,-14 26 0,13-13 16,1 0-16,-1 13 0,1 0 0,-14 0 0,13-13 16,-12 14-16,12-1 0,-13 0 15,14 0-15,-14 1 0,0-1 16,-13 0-16,13 0 0,1 1 15,-1-1-15,-13 0 16,13-13-16,-13 13 0,13 0 16,1-13 15,-14-13-31,13 13 0,-13-13 16,13 0-16,0 0 0,1-14 0,12 14 15,-13-14-15,14 1 0,12-1 16,-12 1-16,-1 13 0,14-14 0,-14 14 15,14 0-15,0 0 0,0-1 16,-1 14-16,1 0 0,0 0 0,-1 0 16,14 14-16,-13-1 0,0 0 0,-1 0 15,1 14-15,0-14 0,-1 13 16,-12 1-16,26 13 0,-40-27 16,13 0-16,-12 14 0,-1-14 15,-13 0-15,13 0 0,0 0 16,-13 1-16,13-1 0,1 0 0,-14 0 15,13 1-15,-13-1 0,13-13 16,-13 13 0,13-13-16,1 0 15,-14-13 1,13 13-16,-13-13 16</inkml:trace>
</inkml:ink>
</file>

<file path=ppt/ink/ink28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3:02:22.087"/>
    </inkml:context>
    <inkml:brush xml:id="br0">
      <inkml:brushProperty name="width" value="0.05292" units="cm"/>
      <inkml:brushProperty name="height" value="0.05292" units="cm"/>
      <inkml:brushProperty name="color" value="#0070C0"/>
    </inkml:brush>
  </inkml:definitions>
  <inkml:trace contextRef="#ctx0" brushRef="#br0">5305 2408 0,'-27'0'0,"14"0"16,79 0 15,-39 0-31,39 0 0,0 0 16,27 0-16,-1-14 0,14 14 0,13 0 15,13-13-15,-26 13 0,13-13 0,-13 13 16,0 0-16,0 0 0,0-13 0,26 13 16,-39 0-16,12 0 0,-25-13 15,-1 13-15,-13 0 0,-13 0 16,0 0-16,-13 0 0,-14 0 0,1 0 15,-1 0-15,-13 0 0</inkml:trace>
  <inkml:trace contextRef="#ctx0" brushRef="#br0" timeOffset="265.05">6019 2606 0,'-13'13'0,"26"-26"0,27 13 16,0 0-16,13 0 0,26-13 16,0 13-16,14-13 0,-14 13 15,27-14-15,-13 14 0,13 0 0,-1 0 16,-12-13-16,13 13 0,-27 0 16,14 0-16,-27 0 0,0 0 15,-13 0-15,0 0 0,-13 0 0,-1 0 16,-12 0-16,12 0 0,-12 0 15,-1 0-15,14 0 0,-13 0 0,12 0 16,1-13-16,13 13 0,-13-13 0</inkml:trace>
  <inkml:trace contextRef="#ctx0" brushRef="#br0" timeOffset="862.44">10544 1746 0,'-27'66'15,"27"-39"-15,0 13 16,-13-1-16,13 1 0,0 0 0,0-1 16,0 1-16,0 0 0,0-1 0,0 1 15,13-14-15,-13 14 0,0-13 0,0-1 16,13 1-16,-13-14 0,0 13 16,0-13-16,0 14 0,0-14 0,14 0 15,-14 1-15</inkml:trace>
  <inkml:trace contextRef="#ctx0" brushRef="#br0" timeOffset="1563.07">10425 1627 0,'0'-13'0,"0"26"0,0-39 0,13 26 16,0-13-16,0 13 0,14 0 16,26-14-16,-14 14 0,80 0 15,-52 0-15,25 0 0,-12 0 16,25-13-16,-12 26 0,13-13 0,0 0 16,-1 0-16,28 0 0,-27 0 15,-1 0-15,1 14 0,0-14 16,106 0-16,-106 13 0,-1-13 0,-12 0 15,-14 13-15,14-13 0,-14 0 16,-12 13-16,12-13 0,-26 0 0,0 13 16,0-13-16,0 0 0,-14 0 0,1 0 15,-14 0-15,1 14 0,-1-14 16,-12 0-16,-1 0 0,0 0 16,0 0-16,0 0 0,1 0 0,-1 0 15,0 13-15,0-13 16,1 0-1,-1 0-15,0 0 32,-13 13-17,0 0-15,13 1 0,-13-1 16,0 0-16,0 0 0,0 14 0,0-1 16,-13 1-16,13-1 0,0 1 0,0 12 15,-13 1-15,13 0 0,0-1 16,-13 1-16,13 0 0,0-14 0,-14 1 15,14-1-15,0 0 0,0-12 16,0 12-16,0 1 0,0-14 0,-13 0 16,13 14-16,0-14 0,0 0 15,0 0-15,0 0 0,0 1 16,0-1 0,-13 0-16,0-13 15,-1 0-15,1 13 0,-13-13 16,-1 0-16,-26 0 0,0 0 0,1 0 15,-28 0-15,-12 0 0,-1 0 16,-13 0-16,0 14 0,-26-14 0,-14 0 16,1 13-16,-1 0 0,1 0 15,-1 1-15,1-1 0,-14 0 0,-145 27 16,158-27-16,1 13 0</inkml:trace>
  <inkml:trace contextRef="#ctx0" brushRef="#br0" timeOffset="5935.37">3850 3969 0,'92'-13'31,"14"13"-15,-26-14-16,-1 14 0,0 0 0,14 0 15,-14-13-15,14 13 0,-14 0 0,14 0 16,-14 0-16,1 0 0,-1 0 15,-13 0-15,0 0 0,-13 0 0,0 0 16,0 0-16,0 0 0,-13-13 0,-14 13 16,1 0-16,-14 0 0,13 0 15,-13 0-15,1 0 0</inkml:trace>
  <inkml:trace contextRef="#ctx0" brushRef="#br0" timeOffset="6196.12">4141 4101 0,'-27'0'0,"54"0"0,-1 0 31,-13 0-31,40 0 0,0-13 0,27 13 16,-1-13-16,0 13 0,1 0 0,12-14 15,-12 14-15,370-26 31,-398 26-31,-12 0 0,0 0 0,0 0 16,-14 0-16,-13 0 0,14 0 16,-14 0-16,0 0 0,0 0 0,1 0 15</inkml:trace>
  <inkml:trace contextRef="#ctx0" brushRef="#br0" timeOffset="7389.18">13216 3400 0,'0'26'47,"0"-12"-47,0-1 0,0 0 0,0 13 16,0-12-16,0 12 0,-13 1 15,13-14-15,0 13 0,0-12 0,0 12 16,0-13-16,0 0 0,0 14 15,0-14-15,0 0 0,0 1 16,0-1-16,13-13 0</inkml:trace>
  <inkml:trace contextRef="#ctx0" brushRef="#br0" timeOffset="7596.49">13414 3426 0,'0'0'0,"14"-26"0,-14 13 16,0-1-16,13 41 31,-13-14-31,0 0 16,0 14-16,0-14 0,0 13 15,0 1-15,13-1 0,-13-12 0,0 12 16,0 1-16,0 12 16,0-26-16,0 14 0,0-14 0,0 0 15,0 1-15,13-1 0,-13 0 0,-13-13 16</inkml:trace>
  <inkml:trace contextRef="#ctx0" brushRef="#br0" timeOffset="7794.9">13057 3678 0,'40'-14'31,"-27"14"-31,14 0 0,-1-13 16,0 13-16,1 0 0,13 0 16,-14 0-16,14 0 0,-14-13 0,1 13 15,-1 0-15,27 0 0</inkml:trace>
  <inkml:trace contextRef="#ctx0" brushRef="#br0" timeOffset="8355.82">13772 3598 0,'0'0'0,"-14"-13"16,1 26 0,0-13-16,0 0 0,-1 14 0,1-1 15,0-13-15,0 13 16,13 0-16,-14 0 0,1 1 16,13-1-16,0 0 15,13 0 1,1-13-16,-1 0 0,0 0 15,0-13-15,1 13 0,-1-13 0,0 0 16,0 13-16,1-14 0,-14 1 16,13 0-16,0 0 0,-13 0 15,13-1 1,0-25-16,-13 25 16,0 41-1,0-14-15,0 0 16,0 14-1,14-14-15,-14 0 0,13-13 0,-13 13 16,13-13-16,0 14 0,1-14 0,-1 0 16,0 0-16,0 0 0,1-14 15,12 1-15,-13 13 0,0-13 16,14-27-16,-14 14 0,0-1 16,1-12-16,-14 12 0,13 1 15,-13-1-15,0 14 0,13-13 0,-13 12 16,0-25-16,0 26 0,13-1 15,-26 41 17,13-1-32,0-13 0,0 14 0,0-1 15,0 1-15,0-1 0,13 1 0,-13-14 16,0 13-16,0 1 16,14-14-16,-14 14 0,0-14 0,0 0 15,0 0-15,13 0 0,-13 1 0</inkml:trace>
  <inkml:trace contextRef="#ctx0" brushRef="#br0" timeOffset="8564.19">13944 3572 0,'-14'-13'0,"41"13"16,-27-14-16,13 14 15,0 0-15,14-13 0,-14 13 16,0 0-16,14-13 0,-14 13 16,0 0-16,14-13 0,-14 13 0,0 0 15,13 0-15,-12 0 0,-1 0 0,13-14 16,-12 14-16,-1 14 0,13-14 16</inkml:trace>
  <inkml:trace contextRef="#ctx0" brushRef="#br0" timeOffset="9204.89">14407 3545 0,'-14'0'0,"14"14"15,-13 12-15,13-13 16,0 1-16,0-1 16,0 0-16,13 0 15,1 0-15,-14 1 0,13-14 16,0 0-16,0 13 0,0-13 0,1 0 15,-1 0-15,13 0 0,-12 0 16,-1 0-16,0 0 0,0-13 0,14-1 16,-14 14-16,0-13 0,0 0 15,1 0-15,-1 0 0,-13-1 0,13 1 16,-13 0-16,0-14 0,0 14 16,13 0-16,-13-14 0,0 14 0,0-13 15,0 13-15,0-14 0,14 14 0,-14 0 16,0-1-16,0 1 0,0 0 15,0 0-15,-14 52 47,14-25-47,0-1 0,0 0 16,-13 14-16,13-14 0,0 0 0,0 0 16,0 0-16,-13 1 0,13-1 15,0 0-15,0 0 0,0 1 16,13-1-1,-13 0-15,0 0 0,13-13 16,-13 14-16,14-14 16,-14 13-16,13 0 0,0-13 15,0 13-15,1-13 0,-1 13 16,0-13-16,0 0 0,0 0 0,1 0 16,-1-13-16,0 13 15</inkml:trace>
  <inkml:trace contextRef="#ctx0" brushRef="#br0" timeOffset="9582.51">15094 3268 0,'0'0'16,"-13"0"0,0 13-16,0 13 0,0-12 15,-1 12-15,1 0 0,0 1 0,0 13 16,-1-14-16,1 0 15,0-12-15,13 12 0,-13-13 0,-1 1 16,14-1-16,-13 0 0,13 0 16,13-26 15,1 13-31,-1 0 0,0-13 16,0 13-16,1 0 0,-1 0 0,0 0 15,0 0-15,1 0 0,-1 0 16,0 13-16,0-13 15,-13 13-15,0 1 0,0-1 16,-13-13-16,13 13 16,-26 0-16,12 0 15,1 1-15,0-14 16</inkml:trace>
  <inkml:trace contextRef="#ctx0" brushRef="#br0" timeOffset="10221.02">15293 3506 0,'0'0'15,"-27"0"1,14 13 0,0 0-16,0-13 0,0 13 0,-1 1 15,1-14-15,0 13 0,0-13 16,13 13-16,-14-13 0,14 13 15,0 1-15,14-14 16,-1 0-16,0 0 16,0 0-1,1 0-15,-1 0 16,0 13-16,0-13 16,0 0-16,1 0 15,-14-13 1,13 13-16,0 0 0,0 0 0,1-14 15,-1 14-15,0 0 0,0-13 0,1 13 16,-1-13-16,0 13 0,0-13 16,0 13-1,1 0-15,-1 13 32,-13 0-17,13 0 1,0-13-16,1-13 15,-1 0-15,0 13 16,0-27-16,1 14 0,-1 0 16,0-14-16,0 14 0,0 0 15,-13 0-15,14 0 0,-1-1 0,-13 1 16,13 0-16,-26 39 31,0-26-15,-1 14-16,14-1 0,-13 0 15,13 0-15,0 0 0,-13 1 16,26-1-16,0-13 16,1 0-16,-1 0 0,0 0 15,0-13-15,14 13 16,-14-14-16,13 14 0,1-13 0,-1 0 16,1 13-16,-14 0 0,0 0 15,1 0-15,-1-13 0,0 13 16</inkml:trace>
  <inkml:trace contextRef="#ctx0" brushRef="#br0" timeOffset="11220.05">14129 4233 0,'-13'-13'0,"-14"0"0,1 13 0,12 0 0,1 0 15,-40 13-15,40-13 0,0 0 16,-14 13-16,14-13 0,0 0 16,13 14-16,-13-1 0,13 0 15,0 0-15,26 14 0,-13-1 16,14-13-16,-1 14 0,-13-14 16,14 0-16,-14 1 0,0-1 0,14 0 15,-14 0-15,27 27 16,-40-27-1,-13 0-15,-1 1 0,1-1 16,-13 0-16,-1-13 0,1 13 16,-14 1-16,14-14 0,-1 13 0,1-13 15,12 0-15,-12 0 0,-1 0 16,14 13-16,0-26 16,39 13 15</inkml:trace>
  <inkml:trace contextRef="#ctx0" brushRef="#br0" timeOffset="12127.51">14433 4511 0,'13'-13'15,"-13"-14"1,0 14-1,0 0-15,-13 0 16,-13 26 0,12-13-1,14 13-15,-13 0 16,13 1-16,0-1 0,0 0 16,13 0-16,-13 1 0,14-1 15,-1 0-15,0-13 0,13 0 16,1 0-16,-14 0 0,14 0 15,-1 0-15,14 0 0,-1-13 0,-12 13 16,13-13-16,-1-1 0,-12 1 0,-1 0 16,1 0-16,-14-1 15,13 1-15,-12 0 0,12 0 0,-13 0 16,-13-1-16,27-12 0,-14 13 16,-13-1-16,0 1 15,-13 13 1,-1 0-16,1 0 15,0 13-15,0 1 0,0-1 0,-1 0 16,1-13-16,0 13 0,0 1 16,13-1-16,0 0 0,0 0 15,0 14-15,13-27 0,0 0 16,0 0-16,1 0 16,-1 0-16,13-14 0,-13 1 15,1 0-15,-1 0 0,0 0 16,0-1-16,1-12 0,-1-1 0,0 14 15,-13-13-15,13-1 0,-13 1 0,0 13 16,14-1-16,-14 1 0,0 0 16,0 0-16,0-1 0,0 1 15,-14 40 1,1-14-16,13 13 0,-13-12 16,13 12-16,0 0 0,0-12 15,0 12-15,0 1 0,13-14 0,0 13 16,-13-12-16,14 12 0,12-13 0,-13 0 15,0-13-15,1 14 0,-1-14 0,13 13 16,-12-13-16,-1 0 0,0 0 16,14 0-16,-14-13 0,0 13 0,0-14 15,0 1-15,1 0 0,-1 0 16,-13 0-16,0-1 0,13 14 16,-13-13-16,0 0 0,-13 39 46,26-12-30,0-14-16,-13 13 16,14-13-16,-1 0 15,0 0-15,0 0 0,1 0 0,-1 0 16,0 0-16,0 0 0,0 0 16,1 0-16,12 0 0,-13 0 0,1 0 15,-1 0-15,27 0 0,-27-13 16,0 13-16,0 0 0,0 0 15,1 0-15,-1 0 0</inkml:trace>
  <inkml:trace contextRef="#ctx0" brushRef="#br0" timeOffset="12299.03">15862 4419 0,'0'-14'0,"13"14"31,0 0 0</inkml:trace>
  <inkml:trace contextRef="#ctx0" brushRef="#br0" timeOffset="13012.05">15359 4313 0,'-13'-14'16,"26"28"-16,-39-28 0,-1 28 15,14-14 1,0 13-16,13 0 16,-14-13-16,1 13 0,13 1 15,0-1-15,-13-13 0,26 13 16,-13 0-16,13-13 0,1 0 15,-14 14-15,13-14 0,0 0 0,0 0 16,14 0-16,-14 0 16,0 0-1,1 0-15,-14 13 16,13-13-16,0 0 0,-13 13 16,13-13-16,0 13 15,1-13-15,-1 0 16,13 0-1,-12 0-15,-1 0 0,13-13 16,-12 13-16,-1 0 0,0 0 16,0 0-16,0 0 0,1 0 15,-1 0-15,0 0 0,0 13 16,1-13-16,-1 0 0,13 13 16,-13-13-16,14 0 0,-14 0 15,0 0-15,14 0 0,-1 0 16,1 0-16,-14 0 0,13-13 15,-12 13-15,-1 0 0,13 0 0,-12 0 16,12 0-16</inkml:trace>
  <inkml:trace contextRef="#ctx0" brushRef="#br0" timeOffset="13152.29">16312 4471 0,'0'-13'47</inkml:trace>
  <inkml:trace contextRef="#ctx0" brushRef="#br0" timeOffset="14636.09">3770 4683 0,'133'-26'15,"-94"12"1,14 14-16,0-13 0,0 0 0,13 13 16,0-13-16,0 0 0,-13 13 0,0-14 15,0 14-15,-13-13 0,0 13 16,-1-13-16,-12 13 0,-1 0 0,1 0 15,-14 0-15,0 0 0</inkml:trace>
  <inkml:trace contextRef="#ctx0" brushRef="#br0" timeOffset="15059.76">3598 4776 0,'133'-14'31,"-80"1"-31,13 13 0,0-13 0,0 0 0,13 0 16,-12 13-16,-1-14 0,0 1 0,0 13 16,-13-13-16,0 13 0,0-13 15,0 13-15,0-14 0,-14 14 0,1-13 16,0 13-16,-14 0 0,-13 0 0,14-13 15,-14 13-15,0 0 0,0 0 16,1 0-16,-1 0 16,0 0-16,0 0 15,1-13 1,-1 13 15</inkml:trace>
  <inkml:trace contextRef="#ctx0" brushRef="#br0" timeOffset="16789.79">14724 5741 0,'27'-13'16,"-14"0"-16,0 13 0,0 0 0,0 0 15,1 0-15,-1-13 0,-40 26 47,14-13-47,0 13 0,-13-13 16,-1 0-16,1 13 0,12-13 0,-12 14 16,13-14-16,-1 13 0,1-13 15,0 13-15,13 0 16,13 1-16,-13-1 15,13-13-15,14 13 0,-14 0 16,0-13-16,1 14 0,12-1 0,-13-13 16,1 13-16,-1 0 0,0-13 15,-13 13-15,13-13 0,-13 14 0,-13 12 16,0-13 0,-14 1-16,14-1 0,-27 0 15,1-13-15,12 13 0,-12 0 0,25-13 16,-12 14-16,-1-14 0,1 13 15,13-13-15,-1 0 0,1 0 16,53 0 15,-27-13-31,14-1 0</inkml:trace>
  <inkml:trace contextRef="#ctx0" brushRef="#br0" timeOffset="18683.5">15280 5728 0,'0'0'0,"-14"0"16,-12 0-1,13 13-15,0-13 0,-1 14 16,1-1-16,0 0 0,0 0 0,13 1 16,-14-1-16,1 13 0,13-12 0,-13-1 15,13 0-15,0 0 0,13 14 16,-13-14-16,13-13 0,1 13 15,-1 0-15,0-13 0,0 14 0,14-14 16,-14 0-16,0 0 0,14 0 16,-14 0-16,13-14 0,-12 14 0,12-13 15,-13 0-15,1 13 0,12-27 16,0-12-16,1 12 0,-14 1 16,14-40-16,-1 26 0,-13 14 15,1-14-15,-14 27 0,13-14 0,0 14 16,-13-14-16,13 27 0,-13-13 15,0 0-15,-13 39 32,13-12-32,-13-1 0,13 13 15,-13 14 1,13-13-16,0-14 0,0 13 0,13-13 16,0 14-16,-13-14 0,13 14 0,0-14 15,14 0-15,-14 0 0,0-13 0,1 14 16,12-14-16,-13 13 0,0-13 15,1 0-15,12 0 0,-13 0 0,1-13 16,-1 13-16,0 0 0,0-14 0,1 14 16,-14-13-16,13 13 0,0-13 15,0 0-15,-13-1 0,13 1 16,-13 0-16,14 13 16,-14-13-16,0-1 15,-14 1 157,14 0-109,0 0-48,0 0 1,0-1-16,0 1 0,-13 0 15,13 0-15,0-1 0,0 1 16,-13 13-16,13-13 0,-13 0 0,0-1 16,-14 1-16,14 13 15,0 0-15,-1-13 0,1 13 16,0 0-16,-14 13 0,1-13 0,13 13 16,0-13-16,-1 14 15,1-1-15,0 0 0,0 0 0,13 1 16,-14-14-16,14 13 0,0 0 0,0 0 15,0 1-15,14-1 0,-1-13 0,13 26 16,1-26-16,-1 13 16,1-13-16,-1 0 0,1 0 0,-1 0 15,14 0-15,-14 0 0,14-13 0,0 0 16,-14 0-16,1 0 0,-1-1 0,0-12 16,1-1-16,-14 1 0,14-1 15,-14 1-15,0-14 0,0 1 0,0 12 16,1-12-16,-1-1 0,-13 13 15,13 1-15,-13 13 0,0-1 0,13 1 16,-13 0-16,0 0 0,-26 26 31,26 0-31,-13 14 16,-1-1-16,14 1 0,-13 12 16,0 1-16,13-14 0,0 1 0,0-1 15,0 1-15,0-1 0,0 1 16,13-1-16,-13-13 0,0 14 0,27-1 15,-14-12-15,-13-1 0,13 0 0,0-13 16,1 13-16,-1-13 16,13 0-16,-12 0 0,-1 0 0,13 0 0,-13-13 15,14 13-15,-14-13 0,14 0 16,-14-1-16,13 1 0,-12 0 0,-1 0 16,0-1-16,0 1 0,-13 0 15,0 0-15,13-1 0,-13 1 16,-13 0-16,0 13 15,0 13-15,0 0 16,13 1-16,-14-14 16,14 13-16,0 0 0,-13 0 0,13 1 15,0-1-15,13 0 16,-13 0-16,14 1 16,-1-14-16,0 0 15,0 0-15,0 0 0,1 0 16,-1-14-16,0 14 0,-13-13 15,13 0-15,1 0 16,-14-1-16,13 1 0,0 13 0,-13-13 16,13 0-16,1-1 0,-1 14 15,0 0-15,0 0 16,0 0-16,-13 14 16,14-14-16,-14 13 0,13-13 0,-13 13 15,13-13-15,-13 13 0,0 1 0,13-14 16,-13 13-16,0 0 15,14 0-15,-1 1 16,-13-28 0,13 14-1,0 0-15,1-13 0,-1 0 16,0 0-16,13-1 0,-12 1 16,-1 0-16,0 0 0,14-1 15,-14 1-15,0 0 0,0 0 0,0 0 16,-13-1-16,14 14 0,-1-13 15,-13 0-15,13 39 47,-13-12-47,0-1 16,13-13-16,-13 13 0,0 0 16,0 0-16,0 1 0,14-1 0,-14 0 15,0 0-15,0 1 0,13-1 16,-13 0-16,0 0 0,0 1 15,-13-1-15,13 0 16,-14 0-16,1-13 16,0 13-16,0 1 0,-14-1 0,1 0 0,-1 0 15,1-13-15,-1 14 0,1-14 16,-14 13-16,1 0 0</inkml:trace>
  <inkml:trace contextRef="#ctx0" brushRef="#br0" timeOffset="18913.88">15756 6019 0,'13'-13'0,"14"13"16,-14-13-16,13 13 0,1-13 0,12 13 15,147-27 1,-133 14-16,-14 0 15,14 13-15,0 0 0,0-14 0,-13 14 16,13 0-16,-14-13 0,1 13 0,-14 0 16,1 0-16,-14 0 0,0 0 15,1 0-15</inkml:trace>
  <inkml:trace contextRef="#ctx0" brushRef="#br0" timeOffset="19114.91">15981 6046 0,'79'0'31,"-52"-14"-31,-1 14 16,14 0-16,-1-13 0,1 0 0,13 13 16,-13-13-16,-1 13 0,14-13 0,-13 13 15,-13-14-15,-1 14 0,0-13 0,-12 13 16,-1-13-16,-13 0 15</inkml:trace>
  <inkml:trace contextRef="#ctx0" brushRef="#br0" timeOffset="20012.36">3850 5305 0,'53'0'32,"-14"0"-32,14 0 0,0 0 0,0 0 15,13-13-15,14 13 0,-14 0 0,13 0 16,0 0-16,-12-14 0,-1 14 0,-13 0 16,0 0-16,-1 0 0,-12-13 15,0 13-15,0 0 0,-14 0 0,0-13 16,-12 13-16,-1 0 0</inkml:trace>
  <inkml:trace contextRef="#ctx0" brushRef="#br0" timeOffset="20236.25">4207 5371 0,'26'0'31,"-12"0"-31,12 0 0,27 0 0,0-13 16,-13 13-16,26 0 0,-13-13 16,0 13-16,-1-14 0,-12 14 0,13 0 15,0-13-15,-27 13 0,14-13 0,-13 13 16,-1 0-16,0 0 0,1-13 16,-14 13-16,0 0 0,1 0 15,-1 0-15,0 0 0</inkml:trace>
  <inkml:trace contextRef="#ctx0" brushRef="#br0" timeOffset="21006.68">7051 5490 0,'40'0'15,"-14"0"-15,1 0 0,-1-13 16,1 13-16,52 0 0,-39-13 16,-14 13-16,27-14 0,-13 14 15,-14 0-15,-13-13 0,14 13 16,-14 0-16,14 0 0,-14 0 15,0-13-15,0 13 0,1 0 0,-1 0 16,-13-13-16</inkml:trace>
  <inkml:trace contextRef="#ctx0" brushRef="#br0" timeOffset="21262.07">7501 5345 0,'0'0'0,"0"-14"0,13 14 0,0 0 16,1 0-16,12 0 15,-13 0-15,1 14 0,-1-14 16,0 0-16,0 13 0,0-13 0,-13 13 16,14 0-16,-1 1 0,0-14 15,0 13-15,-13 0 0,0 0 0,14 0 16,-14 1-16,0-1 0,0 0 15,0 0-15,0 1 0,0-1 16,13-13-16,-13 13 0</inkml:trace>
  <inkml:trace contextRef="#ctx0" brushRef="#br0" timeOffset="21845.26">8334 5371 0,'0'27'31,"0"-14"-31,0 0 0,0 0 0,0 0 16,0 1-16,0-1 0,0 13 15,0-12-15,0-1 0,0 0 16,0 0-16,14 0 0,-28-13 0,28 14 15,-28-1-15,14 0 0,0 0 16,0 1 0,-13-41-1,13 14 1,-13 13-16,13-13 0,0-1 16,0 1-16,0 0 0,0-13 0,0-1 15,0 14-15,0-14 0,13 14 0,-13 0 16,0 0-16,13 0 0,-13-1 0,0 1 15,14 0-15,-1 13 16,0 0 0,-13 13-1,0 0-15,0 1 16,13-14-16,-13 13 0,0 0 16,14-13-16,-14 13 0,13-13 15,-13 13-15,13-13 0,-13 14 0,13-14 16,-13 13-16,13-13 0,-13 13 15,0 0-15,14-13 16,-14 14-16,-14 12 0,14-13 16,-13-13-16,13 13 0,-13 1 15,0-14-15,13 13 0,-13-13 16,13 13-16,26-26 31</inkml:trace>
  <inkml:trace contextRef="#ctx0" brushRef="#br0" timeOffset="22180.21">8639 5450 0,'0'0'0,"0"-13"16,-27 26 0,14 1-1,0-1-15,-1 0 16,14 0-1,0 1-15,14-1 16,12-26 0,-13 13-16,1 0 15,-1-14-15,0 1 16,0 13-16,-13-13 0,14 13 16,-1-13-16,0-1 15,0 28 16,-13-1-15,13-13-16,-13 13 0,14-13 16,-14 13-16,13-13 15,0 0-15,0 0 16</inkml:trace>
  <inkml:trace contextRef="#ctx0" brushRef="#br0" timeOffset="22383.37">8837 5464 0,'0'0'0,"13"-14"16,1 14-16,-14-13 0,0 0 15,13 13 1,0 13 0,-13 0-16,13-13 15,-13 14-15,13-1 0,-13 0 16,0 0-16,0 1 16,0-1-16,0 0 0,-13 0 15,13 0-15,-13 1 0,0-1 16,13 0-16,-13 0 0,13 1 15,0-1 1</inkml:trace>
  <inkml:trace contextRef="#ctx0" brushRef="#br0" timeOffset="22728.93">9604 6072 0,'27'0'0,"-14"0"15,0 0-15,1-13 16,-1 13-16,0 0 0,0 0 0,14 0 0,-14 0 16,0-13-16,0 13 0,1 0 15,-1 0-15,0 0 16</inkml:trace>
  <inkml:trace contextRef="#ctx0" brushRef="#br0" timeOffset="22935.77">9829 5993 0,'0'-13'0,"0"26"0,13-26 16,14-1 0,-14 14-16,14 14 0,-14-14 15,0 0-15,0 13 0,14-13 16,-14 13-16,0-13 0,0 13 0,1 0 15,-1-13-15,-13 14 0,13-1 16,-13 0-16,0 0 0,0 1 16,0-1-16,0 0 0,0 0 15</inkml:trace>
  <inkml:trace contextRef="#ctx0" brushRef="#br0" timeOffset="23512.04">10306 5953 0,'0'27'47,"0"-14"-31,0 26 15,13-25-31,-13-28 47,0 1-47,13 0 0,-13 0 0,0 0 15,0-1-15,0 1 0,13 0 16,-13 0-16,0-1 16,13 1-1,1 26 1,-1-13-1,0 0-15,0 0 16,1 0-16,-1 0 16,0 0-1,0 0-15,1 0 0,-1 0 16,0 14 0,0-14-16,-13 13 0,13 0 15,-13 0-15,14 1 16,-14-1-1,13-13-15,0 0 16,14 0 0,-14 0-16,0 0 15,0 0-15,0 0 16,1 0-16,-1 13 16,0 0-1,-13 0 16</inkml:trace>
  <inkml:trace contextRef="#ctx0" brushRef="#br0" timeOffset="23630.82">10769 5900 0,'0'-13'0,"0"26"0,-14-26 0</inkml:trace>
  <inkml:trace contextRef="#ctx0" brushRef="#br0" timeOffset="23947.51">10914 5781 0,'13'0'0,"-13"13"0,0 1 15,0-1-15,0 0 16,0 0-16,0 1 0,0-1 16,0 0-16,14 0 15,-41-13 48,14 13-48,0-13-15,13 14 0,-14-14 16,14 13-16,14 0 16,-1-13-1,13 0-15,-12 0 0,-1 0 16,13 0-16,-13 0 0,14 0 16,-14 0-16,0 0 0</inkml:trace>
  <inkml:trace contextRef="#ctx0" brushRef="#br0" timeOffset="24563.31">9618 6760 0,'53'0'31,"-40"0"-31,0 0 0,13 0 16,-12 0-16,12 0 0,-13-13 0,1 13 16</inkml:trace>
  <inkml:trace contextRef="#ctx0" brushRef="#br0" timeOffset="24759.9">9869 6615 0,'0'-14'31,"13"14"-31,0 14 16,1-1-16,-1-13 0,0 26 0,0-12 16,1-1-16,-1 0 0,0 13 15,-13-12-15,0-1 0,13 0 16,-13 14-16,0-14 0,0 0 0,0 0 15,-13 0-15,13 14 0,0-14 0,0 0 16</inkml:trace>
  <inkml:trace contextRef="#ctx0" brushRef="#br0" timeOffset="25906.76">10345 6628 0,'-13'13'47,"13"0"-47,0 1 0,0-1 0,-13 0 16,13 0-16,0 0 0,0 1 15,0-1-15,0 13 0,-13-12 16,13-1-16,0 0 0,0 0 0,-14 0 16,14 1-16,0-1 0</inkml:trace>
  <inkml:trace contextRef="#ctx0" brushRef="#br0" timeOffset="26290.96">10239 6866 0,'0'0'15,"0"-13"-15,0-1 0,14 14 0,-1-13 16,-13 0-16,13 0 0,14 0 0,-14-1 16,0 1-16,27-13 15,-14 12-15,-13 1 0,1 13 0,-1-13 16,0 13-16,0 0 16,1 0-1,-14 13-15,-14 0 16,14 27-1,14-40 1,-14 13-16,13-13 0,0 14 16,0-14-16,0 0 15,1 0-15,-1 0 0,0-14 0,0 14 16,-13-13-16,14 13 0,-14-13 16,0 0-1,0-1-15,0 1 0,-14 0 16,1 13-16,0 0 15,13-13-15,-27 13 0,14 0 16,0 0-16,0 0 16</inkml:trace>
  <inkml:trace contextRef="#ctx0" brushRef="#br0" timeOffset="26716.02">10623 6601 0,'13'0'0,"0"0"16,14 0-1,-27 14 1,0-1-16,13-13 0,-13 13 0,13 0 16,-13 14-16,0-14 0,14 0 15,-14 14-15,0-14 0,0 13 0,0-12 16,0-1-16,0 0 0,0 13 0,0-12 16,0-1-16,0 0 15,0 0-15,0 1 16,-14-28 15,14 1-31,0 0 16,0 0-16,0-1 0,14 1 0,-14-13 15,13 13-15,-13-1 0,13-12 16,0 13-16,1 13 0,-14-14 16,13 14-16,0-13 0,0 13 15,0 0-15,1 13 0,-1-13 16,0 14-16,-13-1 15,13 0 1,-13 0-16,-13 1 0,0-1 16,0 0-1,-1-13-15,1 13 16,0-13-16,0 13 16</inkml:trace>
  <inkml:trace contextRef="#ctx0" brushRef="#br0" timeOffset="27283.96">11086 6615 0,'-13'-14'0,"0"41"31,13-14-31,-14-13 16,14 13-16,0 1 0,-13-1 16,13 0-16,-13 0 0,13 0 15,-13-13-15,13 14 0,0-1 16,-14-13-16,14 13 0,-13 0 16,13 1-1,-13-1 1,13 0 15,13-13 16,0 0-31,1 0-1,12 0 1,-13 0-16,1 0 0,-1 0 15,0 0-15,0-13 0,0 13 16,1 0-16,-1 0 0,-13-13 16,13 13-16</inkml:trace>
  <inkml:trace contextRef="#ctx0" brushRef="#br0" timeOffset="28034.04">11099 6707 0,'0'0'0,"-13"0"0,0-13 0,0 13 16,26-13 31,0 13-47,0 0 0,-13-13 15,13 13 1,1 0-16,-14-14 0,13 1 16,-13 0-16,0 0 15,0-1 1,13 1-16,-13 0 15,13 13-15,1 0 16,-1 0-16,0 13 16,0-13-1,-13 13-15,14-13 0,-14 14 16,13-1-16,-13 0 16,13 0-1,-13 1 1,13-14-16,0 0 15,1-14 1,-1 14 0,0 0-16,0 0 15,1 0-15,-1 0 16,0 0-16,0 0 16,1 0-1,-1 0-15,0 0 0,0-13 16,0 13-16,1 0 0,-14-13 15,13 13-15,0-13 0,0-1 16,-13 1-16,14 13 16,-14-13-16,0 26 62,26-13-46,-13-13-1,-13 0 1,14-1-16,-1 1 0,-13 0 16,0 0-16,13 13 0,-13-13 15,0-1-15,0 41 47,0-14-47,0 0 0,13-13 16,-13 13-16,0 1 0,0-1 0,0 0 15,0 0-15,0 1 0,0-1 16,13-13-16,-13 13 16,0 0-16,0 1 0</inkml:trace>
  <inkml:trace contextRef="#ctx0" brushRef="#br0" timeOffset="29399.73">1111 8811 0,'106'0'16,"-40"-14"-1,27 14-15,-1 0 0,28-13 0,25 0 16,159-14-16,-132 27 0,0-13 15,13 0-15,14 0 0,-14 0 16,27-1-16,-1 14 0,1-13 0,0 0 16,52 13-16,-65-13 0,-1 13 0,14 0 15,-14-14-15,-12 14 0,12 0 16,-13 0-16,-13 0 0,0 0 0,0 0 16,-26 0-16,92 14 15,-132-14-15,-14 13 0,-12-13 0,-14 13 16,-13-13-16,-14 0 0,1 13 15,-27-13-15,0 0 0,-13 14 0,-13-14 16,-13 13-16,-27-13 0,-26 0 16,-14 13-16</inkml:trace>
  <inkml:trace contextRef="#ctx0" brushRef="#br0" timeOffset="29731.75">1111 9247 0,'-92'13'0,"184"-26"0,-211 40 0,106-27 15,0 0-15,-1 0 0,14 13 16,27 0 0,13-13-16,13 0 0,39 0 15,1 0-15,39 0 0,14-13 0,12 0 16,1-1-16,26 1 0,0 0 0,14 0 15,66-14-15,-1 1 0,239-27 16,-305 40-16,67-14 0,-14 1 0,-52 13 16,52-14-16,-66 14 0,0 0 0,1-1 15,-14 1-15,0 0 16,0 0-16,-14 13 0,-12-14 0,-27 1 0,-13 13 16,-27-13-16,14 13 0,-27-13 0,-13 13 15,0-13-15,-14 13 16,-12-14-16,-1 1 0,-12 13 0</inkml:trace>
  <inkml:trace contextRef="#ctx0" brushRef="#br0" timeOffset="30263.77">3122 7554 0,'27'-13'16,"-1"13"-1,27 0-15,0 0 0,92 0 16,-65 0-16,26-14 0,-14 14 0,40-13 16,14 13-16,-14-13 0,14 0 15,-1 13-15,-12-14 0,25 1 16,-12 0-16,13 13 0,-14-13 0,1 0 0,12-1 16,-12 1-16,13 13 0,105-13 15,-158 0-15,0 13 16,-13 0-16,-14 0 0,0 0 0,-13 0 15,27 13-15,-66-13 0,-1 13 16,-13-13-16</inkml:trace>
  <inkml:trace contextRef="#ctx0" brushRef="#br0" timeOffset="30558.74">3122 7911 0,'0'0'16,"40"13"-16,-14-13 0,14 14 0,13-14 0,92 0 16,-52 0-16,39 0 0,1-14 15,12 1-15,1 13 0,12-13 16,1 0-16,13-14 0,0 14 15,0-14-15,0 14 0,13-13 0,-13 13 0,13-1 16,1-12-16,-14 13 0,-14-1 16,1 1-16,-13 0 0,-1 13 15,-13 0-15,67 0 0,-107-13 16,-12 13-16,-1 0 0,-26 0 0</inkml:trace>
  <inkml:trace contextRef="#ctx0" brushRef="#br0" timeOffset="43949.94">16695 7422 0,'-13'39'31,"13"-26"-31,0 1 16,0-1-16,0 13 0,0-12 15,0-1-15,0 0 0,0 0 16,0 1-16,0-1 0,0 0 0,0 0 16,0 0-16,0 1 0,0-1 15,0 0-15,-13-53 47,13 27-47,13 0 0,-13 0 0,0 0 16,13-1-16,-13 1 0,0 0 15,13-14-15,1 27 0,-14-13 16,26 13-16,-13 0 16,1 13-16,-1 1 15,-13-1 1,13 0-16,-13 0 0,0 1 15,13-14-15,-13 13 16,14-26 15,-1-1-31,-13 1 0,13 0 16,-13 0-16,13-1 0,14-12 16,-27 13-16,13 13 0,0-14 0,0 14 15,-13-13-15,14 13 16,-1 13-16,0-13 0,-13 14 15,13-1-15,-13 0 0,0 14 16,0-14-16,0 0 16,0 0-16,0 1 15,0-1-15,0 0 0,13 0 16,1-13 0,-1 0-16</inkml:trace>
  <inkml:trace contextRef="#ctx0" brushRef="#br0" timeOffset="44147.25">17343 7382 0,'14'-13'0,"-28"26"15,14 13 17,-13-12-32,13-1 0,-13 13 15,13 14-15,-13 0 16,0-27-16,-1 13 15,14-12-15,-13-1 0,13 0 0,-13 0 16,0 14-16,13-14 0,-14 0 16</inkml:trace>
  <inkml:trace contextRef="#ctx0" brushRef="#br0" timeOffset="44360.99">17145 7554 0,'0'-13'0,"0"26"0,0-40 15,26 41 17,-12-14-17,-1 0-15,0 13 0,0 0 16,1-13-16,-1 0 0,0 13 0,0-13 16,1 14-16,-1-14 0,0 0 15,0 13-15,0-13 16,1 13-16,-1-13 0,0 0 15</inkml:trace>
  <inkml:trace contextRef="#ctx0" brushRef="#br0" timeOffset="44715">17595 7329 0,'0'-13'0,"0"26"0,-13 13 47,13-12-47,0-1 16,0 0-16,-14 0 0,14 1 0,0-1 15,0 0-15,0 0 16,27-26 15,-27 0-31,13 13 16,0-13-16,0-1 0,1 14 15,-1-13-15,0 13 0,0 0 16,1 0-16,-1 13 16,0-13-16,0 14 15,1-14-15,-14 13 0,13 0 16,-13 0-16,13-13 0,-13 13 16,0 1-16,13-1 15,-13 0-15</inkml:trace>
  <inkml:trace contextRef="#ctx0" brushRef="#br0" timeOffset="45295.9">16192 7699 0,'14'-13'15,"-1"13"-15,0-13 16,0 13-16,1 0 0,25-13 0,-25 13 16,-1 0-16,0 0 15,0 13-15</inkml:trace>
  <inkml:trace contextRef="#ctx0" brushRef="#br0" timeOffset="45443.64">16232 7818 0,'-13'0'32,"53"-13"-17,-14 0-15,1 0 16,-1 13-16,27-13 0,13-1 0,-13 1 16,0 13-16</inkml:trace>
  <inkml:trace contextRef="#ctx0" brushRef="#br0" timeOffset="45967.71">18031 7369 0,'14'-14'0,"-1"1"0,0 13 15,0-13-15,1 13 16,-1 0-16,0 0 16,0 0-16,0 0 0,1 0 15,-14 13-15</inkml:trace>
  <inkml:trace contextRef="#ctx0" brushRef="#br0" timeOffset="46125.6">18098 7448 0,'26'0'31,"-13"0"-31,0 0 0,14 0 16,-14-13-16,14 13 0,-14 0 15,0 0-15,0-13 0,14 13 0</inkml:trace>
  <inkml:trace contextRef="#ctx0" brushRef="#br0" timeOffset="47199.7">18137 7514 0,'27'-13'0,"-14"0"0,0 13 16,0-14-16,1 14 0,-1-13 16,0 0-16,0 0 0,0 0 0,-13-1 15,14 1-15,-14 0 0,13 0 16,-13-1-16,0 1 15,-13 13-15,-1-13 16,-12 13-16,13 13 0,0-13 16,-1 0-16,1 13 0,0-13 15,0 14-15</inkml:trace>
  <inkml:trace contextRef="#ctx0" brushRef="#br0" timeOffset="48600.18">16364 9551 0,'0'-13'0,"53"-13"16,-26 26-1,-14 0-15,14 0 16,-14 0-16,13 13 0,-13-13 0,1 13 16,-1 0-16,-13 1 0,13-1 0,-13 0 15,-13 0-15,13 1 0,-27 12 0,14 1 16,-13-1-16,-1 0 0,1 1 16,-14-1-16,14-12 0,-1 12 0,1-13 15,13 0-15,-1-13 0,1 14 0,0-1 16,0-13-16,-1 13 0,1-13 15,40 13 17,-14-13-32,0 0 0,0-13 15,14 13-15,-1 0 0,-13 0 16,14-13-16,-1 13 0,1 0 0,-14 0 16,14-13-16,-1 13 0,-13 0 0,14 0 15,-14 0-15,13-14 0,-12 14 0,-1 0 16</inkml:trace>
  <inkml:trace contextRef="#ctx0" brushRef="#br0" timeOffset="48863.24">17211 9565 0,'-13'-14'0,"-14"28"32,14-1-32,0 13 0,0-12 15,0-1-15,-14 0 0,14 14 0,-14-1 16,14 0-16,0 1 0,-14-14 0,14 0 16,0 14-16,0-14 0,0 0 15,13 0-15,-14 1 0,14-1 16,-13 0-16,13 0 0</inkml:trace>
  <inkml:trace contextRef="#ctx0" brushRef="#br0" timeOffset="49287.58">16867 9710 0,'27'13'32,"-14"1"-17,0-14-15,0 13 0,1-13 16,-1 13-16,0 0 0,0 1 0,14-14 16,-14 13-16,0 0 0,0 0 15,14-13-15,-14 13 0,0-13 0,1 14 16,-1-14-16,0 13 0,0-13 0,-13 13 15,13-13-15,1 13 0,-1-13 16,0 14-16,0-14 16,-13 13-1,14-13-15,-14 13 16,13 0 15</inkml:trace>
  <inkml:trace contextRef="#ctx0" brushRef="#br0" timeOffset="50587.08">17846 9485 0,'27'-13'0,"-1"0"15,-52 26 17,26 0-32,-27-13 15,14 14-15,0-1 0,-14 0 16,14 0-16,-13-13 0,12 13 0,1 1 15,0-14-15,13 13 0,-13 0 0,-1 0 16,28 1 0,-1-14-16,-13 13 15,13-13-15,14 0 0,-14 13 0,0-13 16,13 0-16,-12 13 0,12-13 16,-13 0-16,1 14 0,12-14 0,-13 0 15,-13 13-15,14-13 0,-1 13 0,0-13 16,-13 13-16,13-13 15,-13 13-15,-13 1 16,0-1-16,0 0 0,-1 0 16,1-13-16,0 14 0,-14-14 15,14 13-15,0-13 0,0 13 16,-1-13-16,1 13 0,0-13 16</inkml:trace>
  <inkml:trace contextRef="#ctx0" brushRef="#br0" timeOffset="50789.84">18217 9499 0,'13'-14'0,"-26"28"0,39-41 0,-13 54 32,-26-1-32,13-13 15,0 27-15,-13-14 16,13-12-16,0 12 0,-13 1 0,13-1 15,-14 0-15,14 1 0,0-1 16,-13-12-16,13 12 0,0-13 0,0 14 16,0-14-16,0 0 0,0 0 0,0 1 15</inkml:trace>
  <inkml:trace contextRef="#ctx0" brushRef="#br0" timeOffset="51014.94">18018 9684 0,'13'13'31,"1"-13"-31,-14 13 0,13 0 16,0 1-16,0-1 0,1-13 15,12 13-15,-13 0 0,14 1 0,-14-1 16,13 0-16,-12-13 0,12 13 0,-13 0 15,40-13-15,-26 14 16,-1-14-16,1 0 0,-1 0 16</inkml:trace>
  <inkml:trace contextRef="#ctx0" brushRef="#br0" timeOffset="52765.7">18732 9432 0,'14'-13'15,"-1"13"-15,0 0 16,0-13-16,1 13 15,-1 0-15,0 13 0,0-13 0,1 0 0,-1 13 16,0 1-16,0-1 16,-13 0-16,0 0 15,-13 1-15,0 12 0,0-13 0,-1 0 16,-12 1-16,13-1 16,13 0-16,-14-13 0,14 13 15,-13-13-15,13 14 0,-13-14 16,39 13-1,-12-13-15,12 0 16,-13 0-16,1 13 0,12-13 16,-13 13-16,0-13 0,14 14 15,-14-1-15,-13 0 16,-13 0 0,0 0-16,-1 1 0,1-14 15,0 13-15,0-13 0,0 13 16,-1-13-16,28-26 47</inkml:trace>
  <inkml:trace contextRef="#ctx0" brushRef="#br0" timeOffset="52954.63">19368 9525 0,'13'-13'0,"26"0"31,-25 13-31,-1 0 16,0 0-16,-13 13 0,0 0 16,0 0-1</inkml:trace>
  <inkml:trace contextRef="#ctx0" brushRef="#br0" timeOffset="53103">19288 9684 0,'0'0'0,"27"0"31,-1 0-15,1 0-16,-14 0 0,0-13 0,0 13 15,14 0-15,-14-14 16,13 14-16,-12 0 0,12-13 0</inkml:trace>
  <inkml:trace contextRef="#ctx0" brushRef="#br0" timeOffset="53852.77">20108 9379 0,'0'-13'0,"0"0"16,27 13-16,-27 13 0,13-13 0,0 0 15,0 0-15,1 0 0,-1 13 16,-13 1-16,13-1 16,-13 0-16,-13 14 15,0-14-15,-1 0 16,14 0-16,0 1 0,-13-14 16,13 13-16,0 0 15,0 0-15,13 0 16,1 1-1,-14-1-15,13 0 16,-13 0-16,-13 1 16,13-1-16,-14 0 15,1 0-15,0 1 16,0-14 0,52 0-1,-25-14 1,-1 14-16,0-13 0,0 0 15,1 0-15,-1-1 0,0 14 16,0-13-16,1 13 0,-14-13 0,13 0 16,0 13-16,0 0 15,0 13 1,1-13-16,-1 0 0,-13 13 16,13-13-16,0 0 0,14 13 15,-14-13-15,0 0 0,1 0 16,-1 0-16,0 0 0,0 0 0,0-13 15,1 13-15,-1 0 0,0-13 0,-13 0 16,0-1-16,0 1 16,0 0-16,0 0 0,-13 0 15,0-1-15,-1-12 0,1 13 0,0 13 16,0-14-16,0 14 0,-1-13 0,1 13 16,0 0-16,0 0 15,-1 13-15</inkml:trace>
  <inkml:trace contextRef="#ctx0" brushRef="#br0" timeOffset="53996.02">20757 9578 0,'13'0'16</inkml:trace>
</inkml:ink>
</file>

<file path=ppt/ink/ink28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3:03:23.754"/>
    </inkml:context>
    <inkml:brush xml:id="br0">
      <inkml:brushProperty name="width" value="0.05292" units="cm"/>
      <inkml:brushProperty name="height" value="0.05292" units="cm"/>
      <inkml:brushProperty name="color" value="#0070C0"/>
    </inkml:brush>
  </inkml:definitions>
  <inkml:trace contextRef="#ctx0" brushRef="#br0">9816 3334 0,'-40'-13'31,"27"26"-31,0-13 16,0 0-16,13 13 0,-14-13 15,14 13-15,-13-13 0,13 13 0,0 1 16,0-1-16,0 0 0,13-13 16,-13 13-16,14 1 0,12 12 15,-13-13-15,1-13 0,-1 13 16,-13 1-16,13-14 0,0 13 0,0 0 16,-13 0-1,-13 1 1,13-1-16,-13-13 0,0 13 0,0-13 15,-1 0-15,1 13 0,0-13 16,-14 14-16,14-14 0,0 0 16,0 0-16</inkml:trace>
  <inkml:trace contextRef="#ctx0" brushRef="#br0" timeOffset="228.58">9988 3307 0,'13'-13'0,"-13"26"63,13-13-63,-13 14 15,0-1 1,0 0-16,14-13 16,-14 13-16</inkml:trace>
  <inkml:trace contextRef="#ctx0" brushRef="#br0" timeOffset="844.97">17343 3440 0,'-13'13'16,"13"0"-16,0 0 0,0 0 16,0 14-16,0-14 0,0 0 0,0 14 15,0-1-15,0 1 0,0-14 16,0 13-16,0 1 0,0-14 15,0 14-15,0-14 0,13 13 0,-13-12 16,14-1-16</inkml:trace>
  <inkml:trace contextRef="#ctx0" brushRef="#br0" timeOffset="1129.52">17529 3559 0,'13'-40'15,"-26"80"-15,26-93 0,0 39 0,-13 1 16,13 40-1,-13-14-15,0 0 16,0 0-16,0 1 0,-13 12 0,13 1 16,-13-1-16,13 0 0,-13-12 0,13 12 15,-14 1-15,14-14 0,-13 0 16,13 0-16,-13 1 0,13-1 16,-13-13-16,26-27 46,0 14-46,0 13 0,27-26 16,-27 26-16,1 0 0,12-14 16,-13 14-16,14 0 0,-14 0 0,0-13 15,0 26-15,1-13 0,-1 0 0</inkml:trace>
  <inkml:trace contextRef="#ctx0" brushRef="#br0" timeOffset="1943.52">18389 4339 0,'-27'-13'0,"54"26"0,-80-26 0,39 13 15,-12-13-15,-1 13 0,-12 0 16,-1-14-16,-13 14 0,0 0 16,0 0-16,0 0 0,1 0 0,-15 0 15,14 0-15,1 0 0,-1 14 0,0-14 16,13 0-16,14 0 0</inkml:trace>
  <inkml:trace contextRef="#ctx0" brushRef="#br0" timeOffset="2114.54">17555 4326 0,'-40'40'0,"80"-80"0,-106 93 16,53-40-16,-1 0 0,1 1 0,0-1 15,13 0-15,-13 0 0,13 0 0,0 1 16,13-1-16,-13 0 0,13 0 16,14 1-16,-14-14 0,13 0 0,1 13 15</inkml:trace>
  <inkml:trace contextRef="#ctx0" brushRef="#br0" timeOffset="2411.91">18666 4233 0,'-13'14'15,"26"-1"1,-13 0-16,14 0 0,-14 0 0,0 1 15,13-1-15,-13 0 0,0 0 0,0 1 16,0-1-16,0 0 0,0 0 16,-13 1-16,13-1 0,-14 0 15,1 0-15,0 0 0,0-13 0,-1 14 16,1-14-16,0 0 0,13 13 0</inkml:trace>
  <inkml:trace contextRef="#ctx0" brushRef="#br0" timeOffset="2636.37">18785 4299 0,'14'-13'0,"-14"40"31,0-14-15,0 0-16,13 0 0,0-13 15,-13 14 1,13-14-16,1 0 0,-1 0 0,0 0 15,0 0-15,0 0 0,14-14 0,-14 14 16,0-13-16,1 13 0,-1-13 16,13 13-16,-12-13 0,-1 13 0,0-14 15,0 14-15,0 0 0</inkml:trace>
  <inkml:trace contextRef="#ctx0" brushRef="#br0" timeOffset="2755.26">19143 4313 0,'13'0'16,"0"-14"-16,0 14 0,14 0 15,-14 0-15,13-13 16</inkml:trace>
  <inkml:trace contextRef="#ctx0" brushRef="#br0" timeOffset="4824.1">7078 6152 0,'-27'13'15</inkml:trace>
  <inkml:trace contextRef="#ctx0" brushRef="#br0" timeOffset="6285.9">9631 6138 0</inkml:trace>
  <inkml:trace contextRef="#ctx0" brushRef="#br0" timeOffset="8540">13084 6138 0,'0'14'0,"13"-14"16,0 13-16,0-13 15</inkml:trace>
  <inkml:trace contextRef="#ctx0" brushRef="#br0" timeOffset="8787.21">14301 6152 0</inkml:trace>
  <inkml:trace contextRef="#ctx0" brushRef="#br0" timeOffset="9054.99">15796 6178 0</inkml:trace>
  <inkml:trace contextRef="#ctx0" brushRef="#br0" timeOffset="9275.02">17873 6152 0,'26'-14'32</inkml:trace>
  <inkml:trace contextRef="#ctx0" brushRef="#br0" timeOffset="10447.19">4908 7422 0,'-13'0'0,"39"-14"32,-26 1-17,13 13-15,80 0 31,-80-13-31,14 13 0</inkml:trace>
  <inkml:trace contextRef="#ctx0" brushRef="#br0" timeOffset="10689.05">5437 7382 0,'27'-13'31,"-14"13"-31,0 0 0,0 0 16,1 0-16,-1 0 0</inkml:trace>
  <inkml:trace contextRef="#ctx0" brushRef="#br0" timeOffset="10888.01">5887 7435 0,'26'0'31,"-12"0"-31,-1 0 0,0-13 16,0 13-16,1 0 0</inkml:trace>
  <inkml:trace contextRef="#ctx0" brushRef="#br0" timeOffset="11131.28">6535 7355 0,'13'0'0,"1"0"16,12 0-16,-13 0 0,14 0 15,-14 0-15,14 0 0,-1 0 16</inkml:trace>
  <inkml:trace contextRef="#ctx0" brushRef="#br0" timeOffset="11338.92">7051 7408 0,'27'0'31,"-14"0"-31,13 0 15,1 0-15,-14 0 0,0 0 16,14 0-16</inkml:trace>
  <inkml:trace contextRef="#ctx0" brushRef="#br0" timeOffset="11511.56">7408 7461 0,'14'0'16,"-1"0"-16,0-13 16,0 13-16,0 0 15,1 0-15,-1 0 0,0 0 16,0 0-16</inkml:trace>
  <inkml:trace contextRef="#ctx0" brushRef="#br0" timeOffset="11695.23">8123 7501 0,'13'-13'0,"-26"26"0,39-26 32,-13 13-32,-13-14 0,14 14 15,-1 0-15,0 0 0,0 0 16,1-13-16,12 13 0,-13 0 0,0 0 15</inkml:trace>
  <inkml:trace contextRef="#ctx0" brushRef="#br0" timeOffset="11827.19">8784 7501 0,'27'0'0,"-14"0"15,0 0-15,0 0 0,1-13 0,-1 13 16,0 0-16,13 0 0,1-14 0,-1 14 15,14-13-15</inkml:trace>
  <inkml:trace contextRef="#ctx0" brushRef="#br0" timeOffset="24682.94">13150 5186 0,'-13'26'0,"13"-12"16,0-1-16,-14 0 0</inkml:trace>
  <inkml:trace contextRef="#ctx0" brushRef="#br0" timeOffset="29079.9">20492 3810 0,'0'0'15,"0"-13"-15,0 0 0,13 13 16,0-14-16,1 1 0,12 13 0,-13 0 15,14-13-15,-1 13 0,1 0 0,12 0 16,28 13-16,-28 0 16,14 14-16,-26-14 15,-14 0-15,0 0 0,0 1 0,-13 12 16,0-13-16,-13 14 0,0 13 0,-14-14 0,1 0 16,-1 14-16,-12-13 15,12-1-15,1-13 0,-14 14 16,14-14-16,-1 0 0,14 0 0,0 1 0,0-14 15,-1 13-15,1 0 0,40-13 32,-1 0-17,-13-13-15,14 13 0,-14 0 16,13 0-16,-12-13 0,12 13 16,1 0-16,-14 0 0,0 0 0,13 0 15,1 0-15,13 26 31</inkml:trace>
  <inkml:trace contextRef="#ctx0" brushRef="#br0" timeOffset="29379.76">21021 4551 0,'-53'40'31,"27"-14"-31,13-13 0,-14 14 16,1-1-16,-1 1 0,1-1 0,12-13 15,-12 14-15,13-14 0,13 0 0,-13 0 16,-1 1-16,14-1 0,-13-13 16,13 13-16,-13-13 0,13 13 15,-13-13-15</inkml:trace>
  <inkml:trace contextRef="#ctx0" brushRef="#br0" timeOffset="29559.19">20638 4657 0,'0'0'0,"-14"-27"0,14 54 31,14-14-15,-14 0-16,13 14 0,13-14 0,1 13 15,-1 1-15,1-1 0,-1-13 16,0 14-16,1-14 0,-1 14 0,1-14 16,-14 0-16,0 0 0,14 0 15,-14 1-15,0-1 0,0-13 0,-13 13 16,14-13-16</inkml:trace>
  <inkml:trace contextRef="#ctx0" brushRef="#br0" timeOffset="30234.97">20915 5689 0,'14'-14'0,"-1"14"32,-53 0-17,27 0-15,-14 14 0,14-14 16,-13 0-16,-1 13 0,1-13 16,-1 13-16,14-13 0,-13 13 0,12-13 15,1 0-15,0 13 0,13 1 16,0-1-1,13 0-15,0-13 16,1 13-16,-1-13 0,13 14 0,-12-1 16,-1 0-16,0-13 0,13 13 0,-12 1 15,-1-14-15,-13 13 0,13 0 16,-13 0-16,0 0 16,-13-13-16,0 14 0,-1-14 0,-12 13 15,0-13-15,-14 13 0,0-13 0,-13 13 16,14-13-16,12 0 0,-13 14 15,27-14-15,-13 0 0,-1 0 16,14 0-16,0 0 0,0 13 0,-1-13 16,1 13-16</inkml:trace>
  <inkml:trace contextRef="#ctx0" brushRef="#br0" timeOffset="30751.68">20876 6443 0,'-27'0'15,"14"13"-15,0 0 16,-14 0-16,14 1 0,-13-1 15,12 13-15,-12 1 0,-1-1 16,1-13-16,13 14 0,0-14 0,-1 0 16,1 1-16,13-1 0,-13 0 0,13 0 15,0 0-15</inkml:trace>
  <inkml:trace contextRef="#ctx0" brushRef="#br0" timeOffset="30958.9">20505 6469 0,'40'53'31,"-27"-40"-31,14 14 0,-14-1 16,13 1-16,1-1 0,-1-13 0,14 14 15,-14-1-15,14-13 0,-14 1 0,14 12 16,-13-13-16,-1 1 0,1-1 15,-14 0-15,0-13 0,0 13 16,-13 0-16</inkml:trace>
  <inkml:trace contextRef="#ctx0" brushRef="#br0" timeOffset="32127.87">20730 7223 0,'0'-13'32,"-26"26"-1,26 0-31,-14-13 15,14 14-15,0-1 16,0 0-16,14 0 16,-1-13-16,-13 13 0,13 1 15,0-14-15,1 13 0,-1 0 16,0 0-16,0-13 0,-13 14 16,0-1-16,0 0 15,-13-13-15,0 13 16,0-13-16,13 14 0,-14-14 15,1 0-15,13 13 0,-13-13 0,0 0 16,13 13-16,-14-13 0,14 13 16,-13-13-16,13 13 0,0 14 15,13-27-15</inkml:trace>
  <inkml:trace contextRef="#ctx0" brushRef="#br0" timeOffset="32911.25">20571 8612 0,'14'-13'0,"-28"26"0,41-26 15,-14 13-15,-13 13 16,0 0-16,0 1 16,-13-14-16,13 13 15,-13 0-15,-1-13 0,14 13 0,-13 1 16,13-1-16,0 13 15,13-26-15,-13 13 16,0 1-16,14-1 0,-14 0 16,0 0-16,0 1 0,0-1 15,0 0-15,0 0 16,-14 1-16,14-1 16,27-40-1,-14 14 1,14 0-16,-14 0 15,0-1-15,13-12 16,-12 13-16,-1-1 0,0 14 16,-13-13-16,13 13 0,1 0 31,-1 13-31,0-13 0,0 0 16,-13 14-16,13-14 15,1 0-15,-1 0 0,0 0 16,0 0-16,-13-14 0,14 14 0,-1-13 15,0 0-15,-13 0 16,13 0-16,-13-1 16,0 1-16,-13 0 0,13 0 15,0-1-15,-13 1 0,0 0 16,-1 0-16,1 13 0,0 0 16,0-14-16,-1 14 0,1-13 15</inkml:trace>
  <inkml:trace contextRef="#ctx0" brushRef="#br0" timeOffset="33072">20426 8440 0,'40'-26'0,"-80"52"0,106-52 0,-40 26 16,1-13-16,-1 13 0,14 0 0,13-14 15,-27 14-15,1 0 16,-14 0-16,14 0 0,-14 0 0,13 14 15</inkml:trace>
  <inkml:trace contextRef="#ctx0" brushRef="#br0" timeOffset="33233.26">20439 8586 0,'79'-14'47,"-52"14"-47,-1-13 0,1 13 0,-1-13 16,1 13-16,-1-13 0</inkml:trace>
  <inkml:trace contextRef="#ctx0" brushRef="#br0" timeOffset="33766.44">20333 7646 0,'199'-26'15,"-146"26"1,0 0-16,-1-13 0,15 13 0,-1-13 15,0 13-15,0-14 0,-13 14 16,0-13-16,0 13 0,-14-13 0,14 13 16,-13 0-16,0-13 0,-27 13 15,13 0-15,-12 0 0,-14-14 0,13 14 16</inkml:trace>
  <inkml:trace contextRef="#ctx0" brushRef="#br0" timeOffset="34038.76">20823 7302 0,'39'0'16,"-25"0"-16,12 0 0,14-13 15</inkml:trace>
  <inkml:trace contextRef="#ctx0" brushRef="#br0" timeOffset="37663.91">20426 7210 0,'26'-13'0,"-12"13"0,-1-14 16,0 14-16,0 0 16,14-13-16,-14 13 0,13 0 0,-12 0 15,12-13-15,-13 13 0,14 0 0,-14 0 16,0 0-16,14 0 0,-14 13 0,0-13 16,0 0-16,1 0 15,-1 13-15,0-13 0,-13 14 16,13-14-16,-13 13 0,0 0 15,-13 0-15,13 1 16,-13-14-16,0 13 0,-1 0 0,1-13 16,0 13-16,-14 0 0,14-13 0,0 14 15,-13-14-15,12 13 0,1-13 16,0 13-16,0-13 16,-1 0-16,14 13 0,-13-13 15,40-13 16,-14 13-31,0 0 16,0 0-16,1 0 0,12 0 0,-13 0 16,0 0-16,14 0 0,-14 0 15,0 0-15,14 0 0,-14 13 0,0-13 16,0 0-16,1 14 0,-1-1 16,0 0-16,-26 14 15,13-14 1,-13 0-16,-1-13 0,1 13 15,0 0-15,0-13 0,-14 14 0,1-14 16,-1 13-16,1 0 0,0-13 0,-1 13 16,1-13-16,-1 0 0,1 14 0,-1-14 15,1 0-15,13 13 0,-14-13 16,14 0-16,-14 0 0,14 0 0,0 13 16,0-13-16,-1 0 15</inkml:trace>
  <inkml:trace contextRef="#ctx0" brushRef="#br0" timeOffset="60912.85">17264 3532 0,'-13'13'0,"13"1"0,-13-14 16,13 13 0,0 0-16,0 0 15,-14 1-15,14-1 0,0 0 16,0 13-16,-13-12 15,13 12-15,-13 14 0,0-14 0,-1 40 16,1-26-16,0-13 0,0-1 16,13 1-16,-13-1 0,-1-13 0,14 14 15,-13-14-15,13 0 0,-13 0 0,13 1 16,0-1-16,-13 0 0,13 0 16</inkml:trace>
  <inkml:trace contextRef="#ctx0" brushRef="#br0" timeOffset="61154.66">17515 3413 0,'0'-13'0,"0"39"31,0 1-31,0-14 0,-26 66 15,26-39-15,-13 0 0,-1 26 16,1-26-16,13-1 0,-13 1 16,13-14-16,-13 1 0,13-1 0,0-12 15,0 12-15,-13-13 0,13 1 0,0-1 16,0 0-16,0 0 0,0 0 16,0 1-16</inkml:trace>
  <inkml:trace contextRef="#ctx0" brushRef="#br0" timeOffset="61409.73">16973 3916 0,'40'-13'16,"-27"13"-16,13-14 0,14 14 15,13-13-15,-13 13 0,-1-13 16,14 13-16,0-13 0,0-1 0,-13 1 16,13 13-16,0-13 0,0 0 0,-14 0 15,14-1-15,-13 14 0,26-26 16,-40 26-16,-12-13 0,12-1 16,-26 1-16</inkml:trace>
  <inkml:trace contextRef="#ctx0" brushRef="#br0" timeOffset="62667.34">12726 4908 0,'-66'0'0,"27"0"15,-133 53 1,132-27-16,-13 14 0,13 0 16,-13-1-16,14 1 0,-54 66 15,53-40-15,1 0 0,-41 93 16,54-93-16,-1 0 0,1 14 16,13-14-16,0 13 0,-1 1 0,14 65 15,0-79-15,14 0 16,12 67-16,-13-67 0,14 0 0,-1-13 15,1 0-15,-1 0 16,27 53-16,-27-67 0,1 1 16,13 26-16,-14-26 0,-13-14 15,14 1-15,-14-1 0,13-13 16,-12 1-16,12 12 0,1-26 16,-14 13-16,26 1 0,-25-14 15,12 0-15,1 0 0,-14 0 0,13 0 16,1-14-16,-1 14 0,14-13 15,-14 0-15,14 0 0,0-1 16,-14-12-16,14 13 0,26-53 0,-13 39 16,-13-13-16,39-26 15,-39 27-15,-1 12 0,28-52 16,-28 39-16,-12 14 0,26-54 16,-27 54-16,-13-14 0,27-26 15,-27 39-15,27-52 16,-27 39-16,0 1 0,1-54 15,-1 53-15,0 1 0,-13-54 16,13 40-16,-13 14 0,0-1 16,0-13-16,-13 13 0,13 1 15,-13-1-15,0 0 0,-1 0 0,1 14 16,-13-53-16,-1 39 16,1 0-16,-1 1 0,1-1 0,13 0 15,-14 1-15,1 12 0,-1 1 16,14-14-16,-13 13 0,12 1 0,-12 0 15,-1-1-15,1 14 0,-14-27 16,27 27-16,-13 13 0,12-13 16,-12-1-16,-1 14 0,-25-13 15,25 0-15,14 13 0,-40 0 16,26 0-16,-12 0 0,12 0 0,1 13 16,-1-13-16,14 0 15,-13-13-15,12 13 0</inkml:trace>
  <inkml:trace contextRef="#ctx0" brushRef="#br0" timeOffset="63092">13282 3982 0,'-26'0'31,"26"13"-31,-27 0 0,14 14 16,-14-1-16,14 1 0,-26 13 0,12 12 15,1 1-15,-14-13 0,14 26 16,-14-13-16,13 0 0,-12 0 0,12 0 16,1 13-16,-14-26 0,14 13 0,-1-1 15,-13 15-15,27-41 0,0 14 16,-13-14-16,12-13 0,14 14 16,-26-1-16,13-12 15,13-1-15,-14-13 0,14 13 16,-13 0-16,0-26 31</inkml:trace>
  <inkml:trace contextRef="#ctx0" brushRef="#br0" timeOffset="63657.71">11986 4008 0,'66'14'31,"-27"-1"-31,1 0 0,13 14 16,0-1-16,66 27 0,-40-13 16,-12-14-16,12 14 0,-13-1 15,27 1-15,-14 13 0,-13-26 0,14 25 16,-14-12-16,0-13 0,0 12 16,-13-12-16,0 12 0,0-12 0,0-1 15,-27 1-15,14-14 0,-14 13 0,27 1 16,-40-14-16,1 0 0,-1 1 15,0-14-15,0 13 0,1-13 16,-14 13-16,13-13 0,0 13 16,0-13-1,-39 0 95,13 0-95,13-13-15,-14 13 16,1 0-16,0 0 16,0 0-16,13-13 0</inkml:trace>
  <inkml:trace contextRef="#ctx0" brushRef="#br0" timeOffset="66235.67">20122 8427 0,'0'0'0,"13"13"0,13-13 16,-13 0-16,14 0 0,13 0 15,-1 0-15,14 13 0,13-13 16,-13 0-16,0 0 0,13 0 0,-13 0 16,27 0-16,-14 0 0,-13 0 0,13 0 15,-13 0-15,13-13 0,-13 13 16,0 0-16,0 0 0,-14 0 16,1-13-16,-14 13 0,1 0 0,-1 0 15,-12 0-15,-1 0 0,0 0 0,14-13 16,-14 13-16,-40 0 31,14 0-31,0 0 16,0 0-16,-14 13 0,1 0 0</inkml:trace>
  <inkml:trace contextRef="#ctx0" brushRef="#br0" timeOffset="66714.53">20055 9274 0,'53'-14'31,"-26"14"-31,12 0 0,14 0 16,0 0-16,13-13 0,-13 13 15,27 0-15,-1 0 0,1 0 16,-1 0-16,-13 0 0,13 0 0,1 0 15,-14 0-15,-13 0 0,0 0 16,0 0-16,-14 0 0,1 0 0,0 0 16,-14 0-16,-13 0 0,14 0 0,-14 0 15,0 0-15,14 0 0,-14 0 16,0 0-16,0 0 16,1 0-16,-28-13 31,1 13-31,0-13 0,0 0 15,0-1-15,-1 14 16,1-13-16,-13 0 0</inkml:trace>
  <inkml:trace contextRef="#ctx0" brushRef="#br0" timeOffset="67806.7">20346 8665 0,'-13'0'0,"0"0"47,26-26 0,0 26-47,1-14 16,-1 14-16,0 0 0,0-13 15,1 13-15,-1 0 0,0 0 16,0 0-16,1 0 0,12 0 0,-13 0 16,0 13-16,1-13 0,-1 14 15,0-1-15,-13 0 0,0 0 16,0 1-16,0-1 0,-13 0 16,13 0-16,-13 0 0,-1 1 15,-12-1-15,13 0 0,0 0 16,-1 1-16,1-14 0,0 13 15,0-13-15,13 13 0,0 0 32,13-13-32,-13 14 0,13-14 0,0 0 15,1 13-15,-1-13 0,0 13 16,13 0-16,-12 0 0,-1 1 16,0-14-16,-13 13 0,13 0 15,-13 0-15,0 1 0,0-1 16,-13-13-16,13 13 0,-26 0 15,-1 1-15,14-1 0,-27 0 16,27-13-16,-13 0 0,12 13 16,-12-13-16,13 0 0,-1 0 15,1 0-15,0 0 0,0 0 0,0-13 16,-1 0 0,28 0-16,-1-1 15,0 1-15,0 0 0,0 13 16,14-13-16</inkml:trace>
  <inkml:trace contextRef="#ctx0" brushRef="#br0" timeOffset="68303.73">20849 8665 0,'0'-13'0,"0"0"16,-13 13-1,0 13 1,-1-13-16,14 13 16,-13 0-16,0 1 15,13-1-15,0 0 0,-13-13 16,13 13-16,0 0 0,0 1 0,0-1 15,0 0-15,13-13 0,-13 13 16,13 1-16,-13-1 0,13-13 0,1 13 16,-1-13-16,0 0 0,0 13 0,1-13 15,12 0-15,-13 0 0,1 0 0,-1 0 16,0-13-16,0 13 16,14-13-16,-14 0 0,0-1 15,0 1-15,-13 0 0,0 0 0,0-1 16,0 1-16,0 0 0,0 0 0,-13 0 15,13-1-15,-13 1 0,-14-13 16,14 12-16,0 14 0,-27-13 16,27 0-16,0 13 0,-14 0 15,1 0-15,13 0 16,-1 0-16,1 0 0,0 0 16,0 0-16,13 13 0,-13-13 0,-1 0 15</inkml:trace>
  <inkml:trace contextRef="#ctx0" brushRef="#br0" timeOffset="87267.58">15452 10332 0,'-27'-26'0,"27"12"16,-13 1-16,13 0 15,13 0-15,0 13 16,1-14-16,12 14 0,-13 0 16,14 0-16,-1 0 0,1 14 15,-1-14-15,-13 13 0,14 0 0,-14 0 16,0 1-16,-13 12 0,0-13 0,0 14 15,-13 12-15,0-12 0,-14 13 16,14-14-16,-13 14 0,-1-14 0,1 1 16,-1 12-16,1-12 0,-1-14 0,14 0 15,0 0-15,0 1 0,13-1 16,-13 0-16,-1 0 0,14 1 16,14-14-1,-1 13-15,0-13 0,13 0 16,-12 0-16,12 0 0,1 0 15,-1 0-15,1 0 0,12-13 0,-12 13 16,-1 0-16,1-14 0,-1 1 0,0 13 16,1-13-16,-14 0 0,14-1 15,-1 14-15,-13-13 0,14 0 16,-14 0-16,0-1 0,0-12 0</inkml:trace>
  <inkml:trace contextRef="#ctx0" brushRef="#br0" timeOffset="87563.68">16060 10200 0,'13'-27'0,"-26"54"0,53-67 16,-27 40-16,0 0 15,1 0-15,-1 0 16,-13 13-16,13 0 0,0 1 15,0 12-15,-13-13 0,14 1 0,-14 25 16,13-25-16,-13 12 16,13-13-16,-13 14 0,0-14 0,0 13 15,13-12-15,-13-1 0,0 0 0,14 14 16,-14-14-16,0 0 0,0 0 0,0 0 16,0 1-16,0-1 15,-14 0 1,1-13-16</inkml:trace>
  <inkml:trace contextRef="#ctx0" brushRef="#br0" timeOffset="87724.28">16073 10504 0,'-13'0'0,"0"-13"0,0 13 31,39-27-31,-13 27 16,1-13-16,-1 13 0,13-13 15,14 0-15,0-1 0,-1 14 0,1-13 16,0 0-16,13 13 0,-14-13 0,-12 13 15,-1-14-15,1 14 0,-1 14 16,-13-14-16,1 0 0,-14 13 16</inkml:trace>
  <inkml:trace contextRef="#ctx0" brushRef="#br0" timeOffset="87935.59">15266 11020 0,'40'0'16,"185"-66"-1,-159 39-15,0 14 16,-13 0-16,13 0 0,1-1 16,-15 1-16,28 0 15,-40 0-15,-14 13 0,0 0 0,-12-14 16,-1 14-16,0 0 0</inkml:trace>
  <inkml:trace contextRef="#ctx0" brushRef="#br0" timeOffset="88081.71">15809 10954 0,'-13'13'0,"39"-13"16,-13 0-1,1 0-15,-1-13 0,26 13 0,-12-13 16,26-1-16,-13 1 15,-1 0-15,14 0 0,-13-1 0,-1-12 0</inkml:trace>
</inkml:ink>
</file>

<file path=ppt/ink/ink28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3:04:06.092"/>
    </inkml:context>
    <inkml:brush xml:id="br0">
      <inkml:brushProperty name="width" value="0.05292" units="cm"/>
      <inkml:brushProperty name="height" value="0.05292" units="cm"/>
      <inkml:brushProperty name="color" value="#0070C0"/>
    </inkml:brush>
  </inkml:definitions>
  <inkml:trace contextRef="#ctx0" brushRef="#br0">14764 2778 0,'0'0'0,"-13"0"15,39 0 64,53 13-64,80 1-15,53 12 16,92-13-16,53-13 15,-39 0-15,304 0 0,-159-13 16,-27 13 0,1-13-16,26 13 15,-199-27-15,-105 27 16,-66 0 0,-80 0-16</inkml:trace>
  <inkml:trace contextRef="#ctx0" brushRef="#br0" timeOffset="3056.25">8467 3956 0,'13'0'125,"66"0"-110,80 0-15,26 0 16,0 13 0,27-13-16,53 0 15,12 0-15,-12 0 16,53 0-16,-146 0 16,-40 0-16,-53 0 15,-39 0-15,-27 0 16</inkml:trace>
  <inkml:trace contextRef="#ctx0" brushRef="#br0" timeOffset="5502.99">3638 4789 0,'13'0'93,"14"-13"-93,39-1 16,13 1-16,27 13 16,26 0-16,40 0 15,80 0 1,-1 0-16,40 0 16,27 0-16,-27 0 15,145 0-15,-145 0 16,-13 0-16,-13 0 0,-54 0 15,226 13-15,-212-13 16,-53 0-16,79 27 16,-92-27-1,132 26-15,-40-26 16,54 14-16,-1 12 16,198-13-16,-290-13 0,-13 0 15,-27 0 1,-14 0-16,41 14 15,-107-1-15,41-13 16,-1 0-16,0 0 16,53 26-16,-52-26 15,-1 13-15,-66-13 16,80 27-16,118-14 16,-171-13-16,39 0 15,-52 0-15,25 0 16,41 0-16,-40 0 15,-14 0-15,-12 0 16,-41 0-16,28 0 16,12 0-1,-13 0-15,13 0 16,-12 0-16,38-13 16,-12 0-16,13 13 0,26 0 15,40 0-15,-13-14 16,0 14-1,-14 0-15,14-13 16,13 0-16,-13 0 16,-1 13-16,14-27 15,-13 1-15,40 13 16,-54-1-16,-13-12 16,14 13-16,-1-1 15,14-25-15,-40 26 16,0-14-16,-26 14 15,13-14-15,26 1 16,-53 13-16,14-14 16,0 14-16,-14 0 15,-26 0-15,0 13 16,-14 0-16,-12 0 16,13 0-16,-14 0 15,-13 0 1</inkml:trace>
  <inkml:trace contextRef="#ctx0" brushRef="#br0" timeOffset="12714.72">5781 6839 0,'40'27'110,"66"-1"-110,-14-12 15,1-14-15,52 0 16,41 0-16,105 0 15,0 0-15,-66 0 16,-40 0-16,-40-14 16,54-12-16,-120 26 15,1-27-15,-54 27 16,-13 0-16</inkml:trace>
  <inkml:trace contextRef="#ctx0" brushRef="#br0" timeOffset="15202.84">10054 6892 0,'119'0'172,"40"0"-172,79 0 15,13 0-15,40 0 16,-105 0-16,144 0 16,160 0-16,-159 0 15,-1 0-15,-78 0 16,145 0-16,-106 0 15,-80 0-15,41 0 16,-67 0-16,53 0 16,-79 0-16,-40 0 15,0 0-15,-66 0 16,-14 0-16,1 0 16,13-13-16,-26 0 15,12 13-15,41 0 16,12 0-1,-12 0-15,52 0 16,-53 0-16,67 0 0,-40 0 16,13 0-1,-27 0-15,27 0 16,-26 0-16,13 0 16,39 0-16,-26 0 15,53 0-15,80 13 0,-146 0 16,-14-13-16,-26 0 15,-13 0 1,13 0-16,-39 0 16,-1 0-16,14 0 15,-14 0-15,-12 0 16,12 0-16,-13 0 16,14 0-16,-1 0 15,-13 0-15,14 0 16,-14 0-16,0 0 15,1 0-15,-1 0 47,0 0-31,0 0-16,1 0 16,12 0-16,-13 0 15,14 0-15,12 0 0,-12 0 16,26 0-16,-14 0 15,14 0 1,0 0-16,-13 0 16,0 0-16,13 0 15,-14 0-15,1 0 16,0-13-16,-14 13 16,-13-13-16,14 0 15,-14-1-15,0 14 16,14 0-16,-14 0 15,0-13 1,0 13 15,1 0-31,-14-13 16</inkml:trace>
</inkml:ink>
</file>

<file path=ppt/ink/ink28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3:04:57.942"/>
    </inkml:context>
    <inkml:brush xml:id="br0">
      <inkml:brushProperty name="width" value="0.05292" units="cm"/>
      <inkml:brushProperty name="height" value="0.05292" units="cm"/>
      <inkml:brushProperty name="color" value="#0070C0"/>
    </inkml:brush>
  </inkml:definitions>
  <inkml:trace contextRef="#ctx0" brushRef="#br0">14565 6125 0,'-53'53'0,"40"-27"0,-13 27 0,-54 93 16,54-93-1,-1 0-15,1 0 0,0 0 0,-1 0 16,1-1-16,12 1 0,-12-13 0,-1 13 16,1 13-16,13-26 0,0-27 15,-1 13-15,1-12 0,13-1 16,-13 0-16</inkml:trace>
  <inkml:trace contextRef="#ctx0" brushRef="#br0" timeOffset="279">13705 6191 0,'27'0'0,"132"119"15,-120-79 1,14 13-16,0-13 0,0 13 0,0-14 16,0 14-16,-13 0 0,13-13 0,-14-1 15,14 14-15,-13-13 0,-14-14 0,14 1 16,-14-1-16,-12 1 16,12-1-16,-13-12 0,1 12 0,-1-26 15,-13 13-15,13 0 0,-13 1 0,0-1 16,0 0-16,0 0 15</inkml:trace>
  <inkml:trace contextRef="#ctx0" brushRef="#br0" timeOffset="6418.51">3876 6509 0,'40'-13'31,"-27"13"-31,0 0 0,1 0 16,-1 0-16,13 0 0,-13 0 15,1 0-15,-1-14 16,-40 28 15,14-1-31,-13-13 0,-14 13 16,14 0-16,-1 0 0,1-13 15,12 14-15,-12-14 0,13 13 0,0-13 16,-1 13-16,1-13 16,13 13-16,0 1 15,13-1-15,14 0 16,-14-13-16,0 13 0,14-13 15,-14 14-15,13-14 0,1 13 0,-14-13 16,0 13-16,1-13 0,-1 13 0,0-13 16,0 0-16,-13 13 0,13-13 15,-13 14-15,-13-1 16,0-13-16,0 13 0,0-13 16,-14 13-16,1-13 0,-1 14 0,14-1 15,-14-13-15,14 13 0,-13-13 16,13 0-16,-1 13 0,1-13 0,0 0 15,0 13-15,-1 1 0,14-1 16,0 0 0,0 0-16</inkml:trace>
  <inkml:trace contextRef="#ctx0" brushRef="#br0" timeOffset="6698.7">4008 7131 0,'-13'0'0,"-40"39"31,40-39-31,-27 40 0,27-27 15,0 0-15,0 14 16,-1-1-16,1 1 0,0-14 0,-13 27 16,26-27-16,-14 0 0,1 14 0,0-14 15,13 0-15,-13-13 16,13 13-16</inkml:trace>
  <inkml:trace contextRef="#ctx0" brushRef="#br0" timeOffset="6899.94">3559 7289 0,'-14'-13'0,"28"26"0,-1-13 31,0 13-31,0 1 0,1-14 16,-1 13-16,13 13 0,1-12 16,-14-1-16,13 0 0,-12 0 0,12 1 15,1-1-15,-14 0 0,13 0 16,-13 0-16,14-13 0,-14 14 0,0-1 15,1-13-15,-1 13 0,0-13 16,0 13-16</inkml:trace>
  <inkml:trace contextRef="#ctx0" brushRef="#br0" timeOffset="7690.91">3651 7938 0,'13'-14'47,"1"14"-47,-1 0 31,0 0-31,-13 14 0,0-1 16,0 0-16,0 0 15,-13-13-15,13 13 16,13-13 0,-13 14-16,13-14 15,1 0-15,-14 13 0,13-13 16,0 0-16,0 13 0,1-13 0,-1 0 16,-13 13-16,13 1 0,-13-1 15,0 0 1,-13 0-16,-14 0 15,1 1-15,13-14 0,-14 13 16,1 0-16,-1-13 0,-12 13 16,12-13-16,14 0 0,-14 0 0,14 0 15,0 0-15,-14 0 0</inkml:trace>
  <inkml:trace contextRef="#ctx0" brushRef="#br0" timeOffset="8705.04">3664 5517 0,'-13'-14'15,"0"14"1,0 0-16,0 14 0,-14-14 0,1 0 16,-1 13-16,1-13 0,12 13 0,-38 0 15,38 0-15,1-13 16,0 0-16,0 14 0,13-1 15,0 0-15,13 0 16,0-13-16,0 14 0,14-1 0,-14-13 16,13 13-16,1 0 15,-14 1-15,14-14 0,-14 13 0,0-13 16,0 13-16,1 0 0,-1-13 0,0 13 16,0 1-16,-26-1 15,0 0-15,0 0 16,-1-13-16,-12 14 0,-1-1 15,1 0-15,-1 0 0,1-13 0,13 14 16,-14-14-16,14 13 0,0-13 16,0 13-16,-1-13 0,1 0 0,0 13 15,0-13-15,0 13 16</inkml:trace>
  <inkml:trace contextRef="#ctx0" brushRef="#br0" timeOffset="9006.4">3347 6059 0,'40'-27'15,"-27"14"1,0 13-16,0 0 0,1-13 0,-1 13 16,0 0-16,0 0 0,0-13 0,1 13 15,-1 0-15,0 0 16,0 13-16</inkml:trace>
  <inkml:trace contextRef="#ctx0" brushRef="#br0" timeOffset="9249.86">3373 6138 0,'27'-13'31,"-14"13"-31,0 0 0,14-13 16,-14 13-16,0 0 16,0-13-16,1 13 0,-1 0 0,0 0 15,0 0-15,1-14 16</inkml:trace>
  <inkml:trace contextRef="#ctx0" brushRef="#br0" timeOffset="12503.31">22384 6231 0,'-13'26'32,"-1"-26"-32,1 14 0,-13-1 15,12 0-15,-12 14 0,-1-14 16,-12 13-16,12-13 0,14 1 0,-13-1 16,12 0-16,1 0 0,0 1 15,0-1-15,-1 0 0,1-13 16,13 13-16,-13 1 15,26-1-15,-13 0 0,13-13 16,-13 13-16,14-13 0,12 13 0,-13 1 16,1-14-16,12 13 0,1-13 15,-1 13-15,0-13 0,1 0 16,-1 13-16,1-13 0,-1 0 0,1-13 16,-1 13-16,-13 0 0,14 0 0,-1-13 15,-12 13-15,-1-27 16,0 27-16,-13-13 0</inkml:trace>
  <inkml:trace contextRef="#ctx0" brushRef="#br0" timeOffset="12695.07">22476 6337 0,'-13'-13'0,"26"26"0,-26-40 15,0 27-15,0 14 16,-1-14 0,1 26-16,13-13 0,-13 0 15,0 1-15,13-1 0,-13 13 0,-1-12 16,14-1-16,-13 13 0,13-12 15,0 12-15,-13-13 0,13 0 16,0 14-16,-13-14 0,13 0 0,0 1 0,0-1 16,-14 0-16,14 0 0,0 1 15,0-1-15,0 0 0,0 0 16,-13-13-16</inkml:trace>
  <inkml:trace contextRef="#ctx0" brushRef="#br0" timeOffset="13682.91">22503 6985 0,'0'0'0,"-40"26"15,27-12-15,0-1 16,-1 13-16,-12 1 0,0-1 0,12 1 15,-12-1-15,13 1 0,-14-1 16,14 1-16,0-14 0,-1 13 16,1-13-16,13 1 0,-13-1 0,0 0 15,13 0-15</inkml:trace>
  <inkml:trace contextRef="#ctx0" brushRef="#br0" timeOffset="13891.19">22119 7117 0,'27'14'15,"-27"-1"1,13-13-16,0 13 0,0 0 0,14 0 16,-1 14-16,1-14 0,-1 0 15,14 1-15,-14 12 0,14-13 16,0 0-16,-1 1 0,-12 12 0,-1-26 15,1 13-15,-14 1 0</inkml:trace>
  <inkml:trace contextRef="#ctx0" brushRef="#br0" timeOffset="15168.12">22278 7779 0,'-13'0'16,"39"0"62,-13-13-78,1 13 15,12 0-15,-13 0 0,1 0 16,12 0-16,-13 0 0,0 0 0,14 0 16,-14 0-16,0 13 0,1-13 15,-14 13-15,0 0 16,0 0-16,-14 1 16,14-1-1,0 0-15,0 0 16,14-13-1,-14 14-15,13-14 0,13 26 16,-13-13 0,-13 1-16,14-14 0,-1 13 0,-13 0 15,0 0-15,-13 0 16,-1 1-16,1-1 0,0-13 0,-13 13 16,-1 0-16,1 1 0,-1-14 15,-12 13-15,12-13 0,1 0 0,12 13 16,-12-13-16,-1 0 0,14 0 0,0 13 15,0-13-15,0 0 0,-1 0 16,1 0-16</inkml:trace>
  <inkml:trace contextRef="#ctx0" brushRef="#br0" timeOffset="16152.03">22410 4511 0,'0'53'31,"0"-26"-31,0-1 16,0 14-16,-13-1 0,13 1 16,-13 0-16,13-1 0,0 1 0,-13-13 15,13 12-15,-14-12 0,14-14 0,-13 13 16,13 1-16,0-14 0,-13 14 0,13-14 15,0 0-15,0 0 16</inkml:trace>
  <inkml:trace contextRef="#ctx0" brushRef="#br0" timeOffset="16359.99">22662 4577 0,'13'-39'16,"-26"78"-16,39-92 0,-26 40 0,13 13 15,-13 27 1,0-14-16,0 13 0,0 1 16,0-1-16,0 1 0,0 12 15,0 1-15,-13-14 0,13 14 0,0-13 0,-13-1 16,13 1-16,0-1 16,0-13-16,0 14 0,0-14 0,0 0 15,-13 14-15</inkml:trace>
  <inkml:trace contextRef="#ctx0" brushRef="#br0" timeOffset="16542.96">22397 4842 0,'0'-13'0,"0"26"0,13-26 15,0 13-15,1-14 16,-1 14-16,13 0 0,-12 0 0,12 0 15,0 0-15,1 0 0,-1 0 0,1 0 16,-1 0-16,1 0 0,-1 0 16,-13 0-16,14 0 0</inkml:trace>
  <inkml:trace contextRef="#ctx0" brushRef="#br0" timeOffset="16730.86">22423 4974 0,'40'0'16,"-13"0"-16,131 0 31</inkml:trace>
  <inkml:trace contextRef="#ctx0" brushRef="#br0" timeOffset="16951.22">22529 5133 0,'53'0'16,"-26"-13"-16,-1 13 0</inkml:trace>
  <inkml:trace contextRef="#ctx0" brushRef="#br0" timeOffset="18588.49">10385 12052 0,'13'0'0,"0"0"15,14 0-15,-14 0 16,0 0-16,1 0 16,-1 0-1,-53 13 1,27-13-16,-14 13 0,1 0 16,-1-13-16,1 14 0,0-14 0,-1 13 15,-13 0-15,27 0 0,-13-13 16,-1 14-16,14-1 0,0-13 0,0 13 15,-1-13-15,1 13 0,13 1 16,0-1 0,13-13-16,1 13 0,-1-13 15,0 13-15,0-13 0,0 13 16,14 1-16,-14-14 0,0 13 0,1 0 16,-1-13-16,-13 13 0,13 1 0,-13-1 15,0 0-15,0 0 16,-13 0-16,13 1 15,-27-1-15,14 0 0,0 0 0,-14 1 16,14-1-16,-13 0 0,-1 0 16,14-13-16,-13 14 0,12-1 0,-12-13 15,13 0-15,13 13 0,-14-13 0</inkml:trace>
  <inkml:trace contextRef="#ctx0" brushRef="#br0" timeOffset="18797.55">10649 12144 0,'0'-13'0,"-13"53"32,13-27-32,-13 0 15,0 14-15,13-1 0,-13 1 16,-1-1-16,1 1 0,0-1 0,13 0 15,-27 1-15,27-1 0,-13 1 16,13-14-16,-13 0 0,13 14 16,-13-14-16,13 0 0</inkml:trace>
  <inkml:trace contextRef="#ctx0" brushRef="#br0" timeOffset="19006.88">10398 12290 0,'-13'0'0,"26"26"31,0-26-15,1 14-16,-1-1 0,13 0 0,-12 0 16,12 0-16,-13 1 0,14-1 0,-1-13 15,1 13-15,-1 0 0,0-13 16,1 0-16,-1 14 0,-12-14 15,12 0-15</inkml:trace>
  <inkml:trace contextRef="#ctx0" brushRef="#br0" timeOffset="19713.15">10980 12237 0,'27'0'31,"-14"0"-31,-13 13 16,13-13-16,-13 13 0,-13 14 16,13-14-16,-13-13 0,13 13 15,0 1-15,-14-14 0,14 13 0,-13 0 16,13 0 0,13 0-16,-13 1 15,0-1-15,14 0 16,-14 0-1,0 1 1,-14-1-16,1 0 16,0-13-16,0 13 15</inkml:trace>
  <inkml:trace contextRef="#ctx0" brushRef="#br0" timeOffset="19913.2">11430 12118 0,'13'-13'15,"-26"26"-15,39-13 0,-12 13 16,-14 0 0,13 1-16,-13-1 0,13 27 15,-13-27-15,0 13 0,0-13 16,0 14-16,0-14 0,0 14 0,0-14 15,0 13-15,-13-13 0,13 1 16,0-1-16,0 0 0,-13 0 0</inkml:trace>
  <inkml:trace contextRef="#ctx0" brushRef="#br0" timeOffset="20103.21">11311 12343 0,'0'0'0,"-13"0"15,26-13-15,0-1 16,0 14-16,1 0 16,-1 0-16,13-13 0,14 13 15,-27 0-15,14-13 0,12 13 16,-12 0-16,-1 0 0,14 0 16,-14-13-16,1 13 0,13 0 15</inkml:trace>
  <inkml:trace contextRef="#ctx0" brushRef="#br0" timeOffset="20574.9">12422 12224 0,'13'0'15,"-26"0"-15,0 13 31,0 0-31,-1-13 0,1 27 0,-13-27 16,13 26-16,-14-13 0,14 1 16,0-14-16,-14 13 0,14 0 0,0 0 15,0 0-15,-1-13 0,14 14 16,0-1-16,14 0 16,-1-13-1,0 0-15,13 13 0,1-13 16,-1 0-16,27 14 0,-13-14 15,-14 0-15,1 0 0,-1 0 0,1 0 16,-14 0-16,13 0 0,1-14 16,-14 14-16,0 0 0,1-13 0,-1 13 15,-13-13-15,13 0 16,-26-1-16</inkml:trace>
  <inkml:trace contextRef="#ctx0" brushRef="#br0" timeOffset="20775.93">12581 12250 0,'-27'-26'16,"54"52"-16,-67-65 15,27 52 1,0 0-16,13 0 16,0 0-16,0 1 0,-13-1 15,13 27-15,0-27 0,0 13 16,0 1-16,-14-14 0,14 13 0,0 1 16,-13-1-16,13 1 0,0-14 15,0 0-15,0 14 0,-13-14 0,26 0 16,-13 0-16,0 1 0,13-1 15,1-13-15,-1 0 16,0 0-16</inkml:trace>
  <inkml:trace contextRef="#ctx0" brushRef="#br0" timeOffset="20978.31">13018 12263 0,'13'-13'0,"-26"26"0,26-39 0,-26 52 31,-1-12-31,14-1 16,-13 13-16,0-12 0,-14 25 0,1 14 16,-1-26-16,14-1 15,-13 27-15,13-40 0,-1 0 16,1 14-16,13-14 0,-13 0 16,13 1-16,-13-1 0,13 0 15</inkml:trace>
  <inkml:trace contextRef="#ctx0" brushRef="#br0" timeOffset="21199.67">12726 12356 0,'0'-13'0,"14"26"31,-14 0-15,13 0-16,0 1 0,0-14 0,14 26 15,-1-13-15,-12 1 16,12-1-16,-13-13 0,14 13 0,-1 0 16,1-13-16,-1 14 0,1-14 15,39 13-15,-40-13 0,1 0 16,12 0-16,-12-13 0</inkml:trace>
  <inkml:trace contextRef="#ctx0" brushRef="#br0" timeOffset="21630.27">13428 12211 0,'13'13'31,"-13"0"-15,0 0-16,0 0 16,-13 1-16,13-1 15,0 0-15,0 0 0,13 1 16,-13-1-16,13 0 0,-13 0 15,13 0-15,1 1 0,-1-1 0,0 0 16,0-13-16,0 27 16,-13-14-16,14 0 0,-14 0 15,0 1-15,0-1 0,-14-13 16,1 13-16,0-13 0,0 13 16,-14-13-16,14 13 0,-13-13 15,12 0-15,-12 14 0,-1-14 0,1 0 16,0 0-16,-27 13 0,13-13 0</inkml:trace>
  <inkml:trace contextRef="#ctx0" brushRef="#br0" timeOffset="22051.77">8771 12621 0,'26'-14'15,"1"14"1,-14 0-16,0 14 0,14-14 16,-14 13-16,0 0 15</inkml:trace>
  <inkml:trace contextRef="#ctx0" brushRef="#br0" timeOffset="22202.93">8784 12793 0,'0'0'0,"-13"0"15,39 0 1,-12 0 0,-1 0-16,13 0 0,-12 0 15,12 0-15,-13 0 0,14 13 16,52 13-16,-52-12 0</inkml:trace>
  <inkml:trace contextRef="#ctx0" brushRef="#br0" timeOffset="22413.33">9036 13613 0,'52'0'31,"-38"-13"-31,-1 13 0,13-14 15,-12 14-15,12 0 0,1-13 16,-14 13-16,0-13 0,0 13 16</inkml:trace>
  <inkml:trace contextRef="#ctx0" brushRef="#br0" timeOffset="22591.17">9036 13772 0,'0'13'15,"0"-26"-15,26 13 32,-13-14-32,14 14 0,-1-13 15,-13 13-15,14-13 0,52 0 16,-39-1-16,0 1 0,-1 13 16,27-13-16</inkml:trace>
  <inkml:trace contextRef="#ctx0" brushRef="#br0" timeOffset="22848.07">10028 13388 0,'0'0'0,"-14"13"0,1 0 15,0 1-15,0-1 16,13 0-16,-13 27 0,-1-27 16,14 0-16,0 14 15,0-14-15,-13 0 0,13 0 0,0 14 16,0-14-16,13 0 0,14 0 16,-27 1-16,13-14 15</inkml:trace>
  <inkml:trace contextRef="#ctx0" brushRef="#br0" timeOffset="23146.18">10491 13335 0,'0'0'0,"-13"-13"16,-1 26-16,1-13 15,0 13-15,0-13 0,-27 40 31,27-27-31,13 0 0,13-13 16,-13 14-16,0-1 0,13 0 0,0 0 16,-13 1-16,14-1 15,-1 0-15,-13 0 0,13 0 0,-13 14 16,0-14-16,0 0 0,-13 27 16,0-27-16,-1 0 0,1 1 15,0-1-15,0 0 0,-1-13 0,-12 13 16,26 1-16,-13-14 0</inkml:trace>
  <inkml:trace contextRef="#ctx0" brushRef="#br0" timeOffset="23335">10980 13295 0,'27'0'0,"-14"0"16,-13 14-16,0-1 15,0 0-15,0 0 16,0 0-16,0 27 0,0-27 16,0 14-16,0 13 0,0-14 15,0 0-15,0-12 0,-13 12 16,13-13-16,0 14 16</inkml:trace>
  <inkml:trace contextRef="#ctx0" brushRef="#br0" timeOffset="23533.08">10821 13533 0,'0'0'15,"0"-13"-15,14 0 16,-1 13 0,0 0-16,0 0 0,14-13 15,26 13-15,-14-13 0,-12 13 16,65 0-16,-52-14 15,0 28-15,66-14 0,-67 0 16,14 0-16,0 0 0</inkml:trace>
  <inkml:trace contextRef="#ctx0" brushRef="#br0" timeOffset="23768.01">11959 13309 0,'0'0'16,"-13"13"-16,0 0 15,13 0-15,0 0 0,-14 1 16,14 25-16,-13-25 0,13 12 16,0 1-16,0-14 0,-13 13 15,13 1-15,0-14 0,0 13 16,-13 1-16,13-1 0,0 1 0,13-14 15,-13 0-15,0 0 0</inkml:trace>
  <inkml:trace contextRef="#ctx0" brushRef="#br0" timeOffset="24043.88">12184 13414 0,'27'-13'0,"25"13"31,-52 13-31,0 1 16,0-1-16,0 13 0,-13-12 16,13 12-16,-26 0 0,-1 41 15,14-54-15,0 13 0,0-13 16,13 1-16,-14-1 0,14 0 16,0 0-16,0 1 0,14-14 15,-14 13-15,26-13 0,1 0 0,-14 0 16,53 0-16,-26 0 15,12 0-15,-12-13 0,13-1 0,13 14 16,53-26-16,-66 13 16,13-1-16</inkml:trace>
  <inkml:trace contextRef="#ctx0" brushRef="#br0" timeOffset="24282.29">14552 13494 0,'27'-13'0,"-14"13"16,0 0-16,0-14 15,0 14-15,1 0 0,-1 0 16</inkml:trace>
  <inkml:trace contextRef="#ctx0" brushRef="#br0" timeOffset="24450.99">14433 13652 0,'-13'14'0,"26"-28"0,-13 41 31,13-27-15,0 0-16,1 0 0,-1 0 0,13 0 16,1 0-16,-1-13 0,27 13 15,-26 0-15,12 0 0,41-14 16,-41 1-16</inkml:trace>
  <inkml:trace contextRef="#ctx0" brushRef="#br0" timeOffset="24852.11">15505 13335 0,'13'-13'16,"0"26"-1,0 0-15,-13 0 0,-13 14 16,13-14-16,-13 0 16,0 40-16,-1-39 0,1 12 15,0 0-15,13-12 0,-13-1 16,13 0-16,0 0 0,-14 1 15,28-1-15,-14 0 16,13-13 0,0 0-16,0 13 0,80-26 31,-80 13-31,40-13 16,-40 13-16,27-13 15,-14 13-15</inkml:trace>
  <inkml:trace contextRef="#ctx0" brushRef="#br0" timeOffset="25159.89">15822 13335 0,'0'0'16,"13"0"-16,1 0 15,-1 13 1,0 0-16,0 14 16,-13-14-16,13 0 0,-13 14 15,0-14-15,14 14 16,-14-14-16,-14 0 0,14 0 15,0 0-15,0 1 0,0-1 0,0 0 16,0 0-16,-13 1 0</inkml:trace>
  <inkml:trace contextRef="#ctx0" brushRef="#br0" timeOffset="25459.63">15782 13600 0,'0'-14'0,"0"28"0,14-41 31,-14 14-31,13 13 0,0-13 16,0 13-16,14-14 0,-1 1 0,1 0 16,39-13-16,-26 12 15,-1 1-15,27 0 0,-39 0 16,-14-1-16,13 14 0,-12-13 16,-1 13-16,0 0 15,0 0-15,1 0 16,-28 13-1,14 1-15,-13-1 0,-13 27 16,-1-14-16,-12 14 16,25-14-16,1-13 0,0 14 15,13-14-15,0 0 0,0 0 16,13-13-16</inkml:trace>
  <inkml:trace contextRef="#ctx0" brushRef="#br0" timeOffset="25616.9">16457 13441 0,'13'-27'16,"-26"54"-16,0-27 16,0 26-1,-14 1-15,14-1 0,-14 1 16,-12 12-16,-27 41 0,39-41 16,-13 1-16,14-13 0,-14 39 15,14-27-15,13-12 16</inkml:trace>
  <inkml:trace contextRef="#ctx0" brushRef="#br0" timeOffset="29803.48">14486 6456 0</inkml:trace>
  <inkml:trace contextRef="#ctx0" brushRef="#br0" timeOffset="30503.61">14446 6548 0,'-13'0'0,"0"-13"16</inkml:trace>
  <inkml:trace contextRef="#ctx0" brushRef="#br0" timeOffset="31599.16">14354 7580 0,'0'-13'0,"13"13"0,0 0 15,-13-13 1,13 13-16,-13-13 16,-13-1-1,13 1-15,0 0 0,-13 13 16,13-13-16,-13-1 0,-14 1 15,14 0-15,-27 0 16,27 0-16,-40-1 16,0 1-16,14 13 0,-14-13 15,26 13-15,1-13 16,-40 13-16,39 0 16,1 0-16,12 0 0,1 0 0,-13 0 15,12 0-15,-12 0 16,13 13-16,-14-13 0,-12 13 15,12 0-15,-13-13 16,27 14-16,0-14 0,0 13 16,0-13-16,-14 13 0,14 0 0,-14 0 15,14-13-15,-13 14 16,13-1-16,-1 0 0,1 0 16,0 1-16,-14-1 15,14 13-15,0-12 0,-14 12 16,14 14-1,13-27-15,0 0 0,0 0 16,0 1-16,0-1 0,0 0 0,13 0 16,-13 1-16,14 12 0,-14-13 15,26 14-15,-13-14 0,14 13 16,-1 1 0,1-1-16,-14-26 15,0 14-15,27-1 0,0 0 16,-1 0-16,-26 0 15,14-13-15,13 14 16,-27-14-16,13 0 0,14 13 16,-14-13-16,1 0 0,-14 13 0,14-13 15,-1 0-15,-13 0 0,14 0 0,-14 0 16,0 0-16,14 0 16,-14 0-16,0 13 0,14-13 0,-14 0 15,0 0-15,0 0 0,1 0 0,38 0 16,-38 0-1,-1 0-15,0 0 0,0 0 0,14 0 16,-1 0-16,-12 0 0,12 0 16,0 0-1,1 0-15,-1 0 0,54 14 16</inkml:trace>
  <inkml:trace contextRef="#ctx0" brushRef="#br0" timeOffset="33104.12">14288 7514 0,'52'-13'16,"-38"13"-16,-1 0 15,13 0-15,-12 0 0,-1 0 16,26 0-16,-12 0 0,-1 0 16,14 13-16,-27-13 15,14 13-15,-14-13 0,13 14 0,-12-14 16,39 13-16,-27 0 15,-13-13-15,14 13 0,-14-13 16,13 14-16,-12-14 16,-1 0-16,0 13 15,0 0-15,1-13 0,-1 13 16,0 0-16,0 1 16,0-14-16,-13 13 0,14-13 0,-1 13 15,-13 0-15,13 1 16,0-1-1,-13 0-15,14 0 16,-14 1 0,0-1-16,0 0 15,0 0-15,0 0 16,0 1-16,-14-1 16,14 0-16,-13-13 15,13 13-15,-13-13 16,13 14-16,-27-1 0,14-13 15,0 0-15,-13 13 0,12 0 16,1-13-16,-13 14 0,12-14 16,-12 0-16,0 13 0,-27-13 15,26 0-15,1 13 0,-40-13 16,39 0-16,-13 13 0,14-13 16,-1 0-16,-52 0 15,53 13-15,12-13 0,-38 0 16,25 0-16,14 0 0,-27 0 15,14 14-15,12-14 16,-25 0-16,26 0 0,-1 0 16,1 0-16,0 0 0,0 0 15,-1 0-15,1 0 16,0 0-16,13 13 16,-13-13-16</inkml:trace>
  <inkml:trace contextRef="#ctx0" brushRef="#br0" timeOffset="33544.08">14235 8176 0,'-14'26'0,"1"-26"0,0 13 16,0 1-16,-1-1 0,1 0 16,0 0-16,-13 0 0,12 1 0,1-1 15,-40 27-15,27-14 16,12-13-16,1 1 0,0-1 15,0 0-15,0 0 16,-14 14-16,27-14 16</inkml:trace>
  <inkml:trace contextRef="#ctx0" brushRef="#br0" timeOffset="33756.87">13970 8229 0,'26'13'16,"-26"0"0,14 0-16,-1 14 15,13-14-15,-12 0 0,12 14 16,-13-14-16,14 13 0,-1-12 16,14 12-16,-27-13 15,0 0-15,14 1 0,-1-1 0,1 13 16,-14-26-16,0 14 15</inkml:trace>
  <inkml:trace contextRef="#ctx0" brushRef="#br0" timeOffset="41695.76">17132 5093 0,'-66'13'31,"52"1"-31,-25-1 16,25-13-16,1 13 0,0-13 15,0 13-15,-14 1 0,14-1 0,-13 0 16,12 0-16,1 1 0,-13-1 15,13 0-15,-14 0 0,14 0 16,-14 1-16,1 12 0,-1-13 0,-12 1 16,-14 25-16,26-12 0,1-14 15,-40 27-15,39-14 0,1-13 16,-1 14-16,1-14 0,13 0 16,-27 14-16,14-14 0,12 0 15,-12 0-15,13 1 0,-14-1 0,-13 13 16,14-12-16,0-1 15,-1 0-15,1 0 0,-1 0 0,-12 1 0,12-1 16,1 0-16,12 0 0,-12-13 16,-1 14-16,-25 12 15,38-26-15,-12 13 0,-14 14 16,14-27-16,12 13 0,1 0 0,0-13 16,0 13-16,0-13 0,-14 14 15,14-14-15,13 13 16,-13-13-16,-1 0 15,14 13-15,-13-13 16,0 0 0,13 13 15,26-13 63,-12 0-94,-1 0 15,0 0-15,0 14 0,14-14 16,-14 0-16,13 0 0,1 13 0,39-13 16,-39 13-16,12-13 0,1 13 15,0-13-15,-1 13 0,-12-13 0,12 14 16,-12-14-16,-1 13 0,1-13 15,-1 13-15,1-13 0,-1 13 0,-13-13 16,14 14-16,-14-14 0,0 13 16,1-13-16,-1 13 0,0-13 0,0 13 15,0-13-15,-13 14 0,14-1 0,-1-13 16,-13 13-16,13 0 0,-13 0 16,13 1-16,-13-1 0,14 0 0,-14 0 15,0 1-15,13 12 0,0 1 0,-13-1 16,13 14-16,1-14 0,-1 14 15,13 0-15,-13-14 0,1 14 0,-1-1 16,0 1-16,14 39 16,-14-39-16,0 13 0,0-13 0,1-1 15,-14 14-15,0-13 0,0 0 16,0-1-16,0 14 0,0-13 0,0 0 16,-14-1-16,14 1 0,-13 0 0,13-1 15,-13-12-15,13-1 0,0 1 16,-13-1-16,13-13 0,0 14 0,-14-14 15,14 14-15,0-14 0,0 0 0,0 14 16,-13-14-16,13 0 16,0 0-16,0 0 0,0 1 15,0-1-15,0 0 0,0 0 16,0 1 0,-13-1-1,0-13 1,-1 0-16,1 13 15,0-13-15,0 0 0,-14 0 16,1 0-16,-27 0 0,13 0 16,1 13-16,-14-13 0,13 0 15,-13 0-15,0 0 0,0 0 0,0 14 16,0-14-16,0 0 0,1 0 16,-1 13-16,0-13 0,13 0 0,-13 0 15,13 13-15,-12-13 0,12 13 0,0-13 16,14 0-16,-1 0 0,-12 13 15,12-13-15,14 0 0,-14 0 0,1 0 16,-1 14-16,14-14 0,-13 0 0,13 0 16,-1 0-16,-12 0 0,13 13 15,-1-13-15,1 0 0,0 0 0,0 0 16,-1 0-16,1 13 0,0-13 0,0 0 16,0 0-1,-1 0-15,1 0 0,0 0 31,0 0-31,13-13 16,-14 13-16,14-13 16,0-1-16,-13 1 15,13 0-15,0 0 0,0-40 16,-13 13-16,13-13 0,0 0 16,0 0-16,13-13 0,-13 0 0,13-13 15,-13 13-15,14-14 0,-1 14 0,0 0 16,-13 0-16,13 0 0,1-27 15,-14 53-15,13 1 0,0-14 16,-13 40-16,0-1 16,26-12-16,-26 13 0,14 13 0,-1-14 15,0 14-15,0-13 0,14 13 16</inkml:trace>
  <inkml:trace contextRef="#ctx0" brushRef="#br0" timeOffset="42754.59">15981 6429 0,'-80'53'0,"-250"212"32,250-199-32,1 0 0,0 14 15,12-14-15,1 13 0,13-13 0,-39 66 16,65-79-16,1-13 0,13 0 15,-1-1-15,1-12 0,13-14 16,0 0-16,0 1 0,13-14 0,1 13 16,-1-26-16,0 13 0,40-40 0,-13 13 15,13-25-15,13-15 0,0-12 16,66-93-16,-52 79 0,-14-12 16,79-94-16,-79 107 0,1-1 15,38-79-15,-65 106 0,-13 13 16,-1 13-16,-13 1 0,-13 12 15,0 14-15,0 0 0,-13-1 0,-13 28 16,-41-1-16,1 13 0,-13 27 16,-14 0-16,-13 27 0,1-1 0,12 14 15,-13 12-15,14 1 0,-1-13 16,27 13-16,-14-1 0,-25 94 16,65-107-16,27-25 0,-1-1 0,1-13 15,26-14-15,1 1 0,-1 0 16,13-14-16,1 1 0,26-14 0,-14-13 15,14-13-15,13-1 0,1-25 0,25-14 16,-12 0-16,12-26 0,1-14 16,79-105-16,-93 92 15,1 0-15,-14 0 0,0 0 0,-13 14 0,26-41 16,-52 80-16,-14 14 0,-13 12 16,-13 14-16,-1 13 15,-25 13-15,-14 14 0,-13 26 16,-27 13-16,14 0 0,-1 13 0,1 14 15,13-1-15,-80 107 0,93-93 16,0-14-16,0 67 0,40-106 16,0 0-16,26-13 0,-13-1 15,27 1-15,-14-14 0,13 1 0,1-27 16,13 13-16,-14-13 0,27-26 16,13-1-16,0-12 0,14-14 0,-1-14 15,0-12-15,1 0 0,-14-14 16,-13 14-16,0-1 0,-14 41 0,14-41 15,-53 67-15,-26 26 16,-27 14-16,-13 26 16,-14 13-16,-12 13 0,12 1 0,-92 78 15,106-78-15,0-1 0,-26 40 16,65-79-16,14 0 0,0-14 16,13-13-16,0 0 0,13 1 15,0-1-15,0-13 0,14-13 0,26-1 16,0-25-16,13-1 0,13-13 0,0-26 15,80-67-15,-79 67 16,-14-1-16,0 14 0,-26 27 16,-1-1-16,1 0 0,-27 40 15,0 0-15,-39 27 0,13-1 16,-27 27-16,-13-13 0,13 13 16,-12 0-16,12 0 0,0-14 0,0 1 15,14-14-15,13 1 0,0-14 0,13 0 16,26-26-1,0 0-15,1-27 16,13 14-16,-14-14 0,1 14 0,-14 12 16,0 1-16,0 0 0,-26 39 15,-13 1 1,-14-1-16,0 14 0,-13 13 16,-26 39-16,26-39 0,13 0 15,14 0-15,-14 0 0,14 13 0,-1-13 16,14 0-16,-13 0 0,26-13 15</inkml:trace>
  <inkml:trace contextRef="#ctx0" brushRef="#br0" timeOffset="44494.94">20174 10557 0,'14'-13'16,"-28"26"-16,41-26 0,-27-1 15,13 14-15,0-13 0,1 13 0,-1 0 16,0 0-16,0 0 0,1 0 0,-1 0 15,0 0-15,0 13 0,0 1 16,-13-1-16,-13 0 0,13 0 16,-13 14-16,-13-1 0,-1 1 0,14-1 15,-14-13-15,1 14 0,13-14 0,-1 0 16,-12 14-16,13-14 0,0 0 16,-1 0-16,1 1 15,0-14-15,13 13 0,-13 0 0,13 0 16,26-13 15,-13 0-31,14 0 0,-14-13 16,13 13-16,1 0 0,-14-13 0,14 13 15,-1-13-15,-13 13 0,14 0 16,-14-14-16,13 14 0,-12-13 0,-1 13 16,0 0-16,0-13 0,1 13 0,-1-13 15,0 13-15,0 0 0,-13-13 16,14 13-16</inkml:trace>
  <inkml:trace contextRef="#ctx0" brushRef="#br0" timeOffset="45007.77">20598 10517 0,'0'-13'0,"0"26"0,0-39 16,13 26-1,0 13 16,-13 0-31,-13 0 0,13 1 16,-13-1-16,0-13 0,13 13 16,-14 0-16,1 14 0,0-14 15,13 0-15,0 0 16,0 1-16,13-14 16,-13 13-16,13-13 0,-13 13 15,14-13-15,-1 13 0,-13 1 16,0-1-1,0 0-15,0 0 0,-13-13 16,-1 14-16,1-1 0,0-13 0,-27 26 16,27-26-16,0 13 0,0 1 15,-1-14-15,1 0 0,0 13 16,0-13-16,-1 0 0,1 13 16</inkml:trace>
  <inkml:trace contextRef="#ctx0" brushRef="#br0" timeOffset="45594.97">20704 10464 0,'-27'27'31,"14"-14"-31,-13 0 16,12 14-16,-12-1 0,-1 1 0,-26 25 15,40-25-15,-13-14 0,13 14 16,-1-14-16,1 13 0,0-12 16,13-1-16,-13-13 0,13 13 0,0 0 15,0 0-15,13-13 0,-13 14 0,13-14 16,0 13-16,1-13 0,12 0 15,-13 0-15,14 0 0,-1 13 16,1-13-16,26-13 0,-27 13 16,0 0-16,1 0 0,-1-13 0,1 13 15,-14 0-15,0 0 0,0-14 16,1 14-16,-1-13 0,0 13 0,-13-13 16,0 0-16</inkml:trace>
  <inkml:trace contextRef="#ctx0" brushRef="#br0" timeOffset="45826.74">20757 10464 0,'-14'27'0,"14"-1"16,-13 14-16,13 0 0,-13-1 15,13 1-15,0-14 0,-13 14 16,-1 0-16,14-1 0,-13-12 0,13 13 16,-13-14-16,13 1 0,0-14 0,-13 13 15,13 1-15,0-14 0,0 0 16,0 0-16</inkml:trace>
  <inkml:trace contextRef="#ctx0" brushRef="#br0" timeOffset="46042.96">21392 10716 0,'-53'53'0,"39"-40"16,1 0-16,-13 0 0,-146 120 31,66-54-31,53-39 0,0-1 0,0 1 15,0 0-15,0-14 0,14 1 16,12-1-16,-12 0 0,39-12 16</inkml:trace>
  <inkml:trace contextRef="#ctx0" brushRef="#br0" timeOffset="46207.56">21444 10835 0,'0'0'0,"-26"26"0,0 1 16,-1-1-16,-13 14 0,-13-1 0,-13 28 16,-13-15-16,0 15 0,-1-1 15,1 0-15,-14 0 0,14 0 16,0 0-16,-1 1 0,1-1 0,13-13 0</inkml:trace>
</inkml:ink>
</file>

<file path=ppt/ink/ink28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3:05:57.224"/>
    </inkml:context>
    <inkml:brush xml:id="br0">
      <inkml:brushProperty name="width" value="0.05292" units="cm"/>
      <inkml:brushProperty name="height" value="0.05292" units="cm"/>
      <inkml:brushProperty name="color" value="#0070C0"/>
    </inkml:brush>
  </inkml:definitions>
  <inkml:trace contextRef="#ctx0" brushRef="#br0">582 1217 0,'0'13'78,"13"1"-78,40-14 16,80 0-16,12 26 0,14-26 15,185 26 1,13-26-16,146 0 16,105 0-16,1 0 15,251 0-15,0 0 16,-106 27-16,13 26 16,-40 0-16,133-27 15,-211-26-15,-1 53 16,-66-40-16,132 14 15,-198-1-15,-92-26 16,-226 14-16,53-1 16,-52 26-16,-93-39 15,-27 14-15,-53-14 16,-12 0 140,12 0-125,-13 0-15</inkml:trace>
  <inkml:trace contextRef="#ctx0" brushRef="#br0" timeOffset="61369.66">4882 3956 0,'0'-14'0,"0"41"31,0-1-31,0-13 16,0 14-16,-14-1 0,14 27 16,0-26-16,-13-1 0,13 40 15,-13-39-15,13-1 0,0 1 16,-13-1-16,13-13 0,0 14 15,-14-1-15,14-12 0,0-1 0,0 0 16</inkml:trace>
  <inkml:trace contextRef="#ctx0" brushRef="#br0" timeOffset="61581.66">5080 3969 0,'13'-27'0,"-26"54"0,39-27 31,-26 13-31,0 13 16,0 1-16,0-14 0,0 53 15,0-39-15,0-1 0,0 27 16,0-26-16,0-1 0,0-13 0,14 14 16,-14-14-16,0 13 0,0-12 15,0-1-15,0 0 0</inkml:trace>
  <inkml:trace contextRef="#ctx0" brushRef="#br0" timeOffset="61780.6">4815 4339 0,'-26'-13'0,"13"13"15,26-13 1,0 13-16,0-14 15,1 14-15,12 0 0,-13 0 0,14-13 16,-1 13-16,1 0 0,26-13 16,-14 13-16,14-13 0,-13 13 15,0-13-15,13 13 0</inkml:trace>
  <inkml:trace contextRef="#ctx0" brushRef="#br0" timeOffset="62230.92">6165 4379 0,'-40'0'16,"27"0"-1,0 0-15,-14-13 0,14-1 16,0 1-16,-14 0 0,14 0 15,0-14-15,13 1 0,-13 13 16,13-27-16,0 13 0,13-12 0,0 12 16,0-12-16,0 12 0,1 14 15,12-14-15,-13 27 0,1-13 0,-1 0 16,0 13-16,0 0 16,-13 13-16,0 0 0,0 1 0,-13-1 15,-13 13-15,-1 1 0,1-1 0,-14 14 16,0-14-16,14-12 0,-14 12 0,14 1 15,-1-14-15,-12 13 16,25-13-16,1 1 0,0-1 0,0-13 16,-1 13-16,1 0 0,26 1 15,1-14 1,-1 0-16,13 0 0,1-14 16,13 14-16,12-13 0,-12 13 0,0-13 15,13 0-15,-14-1 0,14 14 0,-13-13 16,13 0-16,-13 0 0,-1 0 15,1-1-15</inkml:trace>
  <inkml:trace contextRef="#ctx0" brushRef="#br0" timeOffset="62616.63">6720 4141 0,'-13'0'31,"40"-13"-31,-14-1 16,13 14-16,-12-13 0,12 13 15,14-13-15,-27 0 16,13 13-16,1 0 0,-14 0 15,0 0-15,1 0 0,-1 13 16,0-13-16,-13 13 16,0 0-16,0 1 0,0 12 0,13-13 15,-26 0-15,13 1 0,0 25 16,0-25-16,0 12 0,0-13 16,-13 0-16,13 1 0,0 12 15,0-13-15,13 1 0,-13-1 16,0 0-16,13 0 0,0-13 15,-13 14-15,14-14 16,-1 0-16</inkml:trace>
  <inkml:trace contextRef="#ctx0" brushRef="#br0" timeOffset="63060.68">8493 4260 0,'13'-13'16,"1"13"-16,-1 0 0,0 0 16,0-14-16,0 14 15,1 0-15,12 0 0,1 0 16,-14 0-16,0 0 0,-13 14 16,0-1-16</inkml:trace>
  <inkml:trace contextRef="#ctx0" brushRef="#br0" timeOffset="63193.8">8506 4366 0,'-13'13'0,"26"-26"0,-39 26 0,26 0 16,-13-13 0,39 0-1,-13 0-15,14 0 16,-1 0-16,1-13 0,-1 13 16,14 0-16,-14 0 0,14 0 0,-14 0 15</inkml:trace>
  <inkml:trace contextRef="#ctx0" brushRef="#br0" timeOffset="63705.87">9340 4445 0,'-13'-26'0,"-1"26"0,14-27 16,-13-26-1,13 40-15,0-14 16,13 14-16,-13 0 16,0 0-16,0 0 0,14 13 15,-1 0 1,-13 13-16,13-13 16,-13 13-16,13 0 15,0 0-15,1 1 16,-1-1-16,0-13 15,0 0-15,1 0 16,-1 0-16,0-13 0,0 13 16,1-14-16,-1 1 0,0 0 0,-13 0 15,13 0-15,14-14 16,-27 14-16,13 13 0,0-27 16,0 27-16,1 0 15,-14 14-15,13-14 16,-13 13-16,13 0 0,-13 0 15,13 1 1,-13-1-16,0 0 0,14-13 16,-14 13-16,13-13 0,-13 13 0,13-13 15,-13 14-15,13-14 16,0 0-16,1 0 16,-1 0-1,0 0-15,0-14 0</inkml:trace>
  <inkml:trace contextRef="#ctx0" brushRef="#br0" timeOffset="64300.3">10067 4114 0,'0'-13'0,"14"40"31,-28-1-15,14-13-16,-13 27 15,13-27-15,-13 14 0,13-1 16,0 0-16,-13-12 16,13-1-16,0 0 0,0 0 0,0 1 15,0-1-15,0 0 0,13 0 16,-13 1-16,13-1 16,0-13-16,1 13 0,-1-13 15,13 0-15,-12 0 16,12 0-16,-13-13 15,0 13-15,1 0 0,-14-13 16,13 13-16,-13-14 0,0 1 16,-13 0-1,-1 13-15,1-13 0,0 13 16,0 0-16,13-14 0,-13 14 16,-1-13-16,1 13 15,0 0 1,39-13-1,-12 13 1,-1 0-16,0-13 16,0 13-16,-13-14 15,13 14-15,-13-13 0,0 0 16,0 0-16,0 0 16,0-1-16,0 1 0,0 0 15,0 0 1,14-1-1,-1 14-15,-13-13 0,13 13 16,0 0-16,14 0 16,-14 0-16,0-13 0,14 13 15,-14 0-15,0 0 0,14 0 16,-14 0-16,0-13 16</inkml:trace>
  <inkml:trace contextRef="#ctx0" brushRef="#br0" timeOffset="66182.53">4789 5609 0,'40'27'32,"-14"-27"-32,-13 0 0,14 0 0,-1 0 15,14 0-15,0-14 0,13 14 0,-14-13 16,1 13-16,0-13 0,-1 0 15,1-1-15,13-12 0,-40 13 16,0 0-16,14-14 0,-14 14 16,-13 0-16,0-1 0,0 1 15,0 0-15,0 0 0,-13 0 16,0 13 0,-14 13-16,14 0 0,0 0 15,-14 14-15,14-14 0,-13 13 16,12 14-16,1-14 0,-13 1 0,12 13 15,1-14-15,-13 14 0,26-14 0,-14 1 16,1-1-16,13-13 0,-13 40 16,13-39-16,-13-1 0,13 13 15,0-13-15,0 1 0,0-1 0,13 0 16,-13 0 0</inkml:trace>
  <inkml:trace contextRef="#ctx0" brushRef="#br0" timeOffset="66633.78">5490 5728 0,'-26'0'0,"12"27"16,14-14 15,0 0-31,14 0 0,-1-13 16,-13 14-16,13-14 0,0 0 15,1-14-15,-1 14 0,0 0 16,13-13-16,-26 0 16,14 0-16,-1 13 0,-13-14 0,13 1 15,-13 0-15,13 0 0,1 13 16,-14-13-16,0-1 16,13 41 15,-13-14-31,-13-13 0,13 26 15,0-12-15,13-1 16,-13 0-16,13 0 16</inkml:trace>
  <inkml:trace contextRef="#ctx0" brushRef="#br0" timeOffset="67161.94">5781 5715 0,'0'0'0,"13"0"16,1 13-1,-1-13-15,-13 13 16,0 1-16,13-14 16,-13 13-16,0 0 0,0 0 15,0 1-15,0 12 16,-13-13 0,13-52 15,13 39-31,-13-14 15,0 1-15,0 0 0,13 0 0,1-1 16,-1 1-16,0 0 16,0 13-16,0-13 15,1 13-15,12 0 16,-13 0-16,1 0 16,-1 0-16,0 0 15,0 13-15,0 0 16,1 0-1,-14 1-15,13-1 16,-13 0 0,13 0-1,0-26 17,1 13-32,-14-13 0,13 13 15,0-13-15,0 13 16,1-14-16,-1 14 15,0 0-15,0-13 16,0 26-16,1-13 0,-1 0 16,0 0-16,0 14 0,14-14 15,-14 0-15,0 0 16</inkml:trace>
  <inkml:trace contextRef="#ctx0" brushRef="#br0" timeOffset="67353.72">6482 5715 0,'0'40'47,"0"-27"-31,0 0-16,0 0 15,0 1-15,0-1 16,14 0-16,-14 0 0,0 1 15</inkml:trace>
  <inkml:trace contextRef="#ctx0" brushRef="#br0" timeOffset="67480.63">6443 5609 0,'0'0'0</inkml:trace>
  <inkml:trace contextRef="#ctx0" brushRef="#br0" timeOffset="67841.92">6628 5728 0,'0'27'16,"0"12"0,0-25-1,0-1-15,13-13 0,-13 13 16,0 0-16,13-26 47,-13 0-47,14 13 0,-14-13 15,13-1-15,0 14 16,-13-13-16,13 13 16,0 0-16,1 0 0,-1 0 15,13 0 1,-26 13-16,14-13 16,-1 0-16,0 0 15,0 0-15</inkml:trace>
  <inkml:trace contextRef="#ctx0" brushRef="#br0" timeOffset="68180.5">6972 5715 0,'0'-13'0,"-13"39"16,13-13-1,0 1-15,0-1 16,0 13-16,0-12 0,0 12 0,0 1 16,0-1-16,-14 0 0,14 1 15,0 13-15,-13-14 0,13 0 0,-13 1 0,13-14 16,-13 14-16,-1-14 0,14 0 16,-13 0-16,13 1 0,-13-14 15,0-14 1,13 1-16,0 0 15,0 0-15,0-1 16,13 1-16,-13 0 0,13 0 0,-13-1 16,13 1-16,1 0 0,-1 0 0,0-14 15,0 14-15,1 0 16,-1 0-16,0-1 0,27 1 16</inkml:trace>
  <inkml:trace contextRef="#ctx0" brushRef="#br0" timeOffset="69300.8">7885 5305 0,'0'-13'0,"0"-1"15,-14 41 1,1-14-1,13 0-15,0 14 0,-13-1 0,13 1 16,-13 12-16,13 1 0,0-13 16,0-1-16,0 0 0,13 1 0,-13-1 15,26 1-15,-12-1 0,-1-12 0,0-1 16,0 0-16,1 0 0,12 0 0,-13-13 16,27 14-16,-27-14 15,0-14-15,14 14 0,-14 0 16,0-13-16,0 0 0,1 0 0,-1 0 15,0-1-15,-13 1 16,0 0-16,13 0 0,-13-1 16,0 1-16,-26 40 31,26-14-31,0 0 16,0 0-16,13-13 15,-13 14-15,13-14 0,1 0 0,-1 0 16,13 0-16,-12 0 15,-1-14-15,13 14 0,-13-13 0,1 0 16,12 0-16,-13-1 0,1 1 16,-1-13-16,-13 12 0,13-12 0,-13 13 15,13-14-15,-13 14 0,0-13 16,14 12-16,-14 1 0,0 0 16,0 53-1,0-1-15,0 14 16,0-13-16,0 0 15,-14 13-15,14 13 0,-13-13 0,13 13 16,-13-13-16,0 0 0,13-14 0,-27 27 16,27-39-16,-13-1 0,13-12 0,-13-1 15,13 0-15,-14 0 16,14 0-16,-13-13 0,0-13 16,13 0-1,0 0-15,0 0 0,0-1 16,13 1-16,-13-13 0,13-1 15,14-39-15,-1 26 0,-12 1 16,12-1-16,-13-13 0,14 13 16,-1-13-16,14-52 0,-14 65 15,-12 0-15,12-13 16,-13 40-16,14-27 0,-27 27 16,13 26-1,-13 1 1,13-1-16,-13 13 0,0-12 15,0 12-15,0-13 0,0 14 0,0-1 16,0 1-16,13-14 0,-13 13 0,0-12 16,0-1-16,0 0 0,0 13 15,0-12-15,-13-1 0,13 0 16,-13 0-16,-14-26 31,27 0-31,-13 0 16,13-1-16,0 1 15,0 0-15,13 0 16,1 13-16,-14-13 0,13 13 16,0-14-16,0 14 0,1 0 15,-1-13-15,0 13 0,14 0 16,-14 0-16,13-13 0,1 13 16</inkml:trace>
  <inkml:trace contextRef="#ctx0" brushRef="#br0" timeOffset="69982.22">9499 5596 0,'-14'0'0,"-12"26"31,26-12-31,-13-1 0,13 0 16,0 0-16,0 1 0,0 12 15,0-13-15,0 0 0,0 1 16,13-14-16,-13 13 0,13 0 0,0 0 16,1-13-16,-1 0 15,0 0-15,0 0 16,-13-13-16,13 13 0,-13-13 15,14-14-15,-14 14 0,13 0 16,-13 0-16,0 0 0,13-1 16,-13 1-16,13 13 15,1-13-15,-1 13 16,0 0-16,-13 13 0,13-13 16,1 13-16,-1 1 0,0 12 15,0-26-15,-13 13 0,0 0 16,13 1-16,-13 12 0,0-13 15,14 1-15,-28-54 47,14 27-47,14-1 16,-14 1-16,0 0 0,0-13 0,13 12 16,-13 1-16,13 0 0,0 0 15,1-1-15,-1 14 0,13-26 16,-13 26-16,14-13 0,-14-1 15,14 14-15,-1-13 0</inkml:trace>
  <inkml:trace contextRef="#ctx0" brushRef="#br0" timeOffset="70573.64">10200 5464 0,'0'0'16,"13"13"0,0-13-16,-13 13 0,0 0 15,13 1-15,-13 25 0,14-26 16,-14 1-16,0 12 0,13 1 15,-13-1-15,0-13 0,0 14 16,0-1-16,0-13 0,0 14 0,0-14 16,0 0-16,0 1 0,0-1 0,0 0 15,0 0-15,0 1 0,0-1 16,13-40 15,-13 1-31,0 13 16,0-14-16,0-13 0,0 1 0,13-1 15,-13-13-15,14 13 0,-14 14 0,13-14 16,0 14-16,0-1 0,0 14 0,1 0 16,-1 0-16,0 0 0,0-1 15,27 14-15,-27 0 16,1 0-16,-1 0 0,0 14 0,0-1 16,0-13-16,-13 26 0,-13-13 15,13 1-15,-13 12 0,-13 1 16,12-14-16,-12 13 0,-1-13 0,14 14 15,-13-14-15,12 0 0,1-13 16,0 14-16,13-1 0,-13-13 0,0 0 16,13 13-16,13-26 31,0 13-31,0-13 0,0 13 16,14-14-16,-14 14 0,14-13 15,-14 13-15,0 0 0,0 0 0,27 0 16,-27 0-16,0 13 0,1-13 15,-1 14-15,0-14 0,0 13 0,1 0 16,-14 0-16,13-13 0,-13 14 16,13 12-16,0-13 15,-13 0-15,0 1 0,0-1 16,13-13-16,-13 13 0,0 0 16,14-13-1</inkml:trace>
  <inkml:trace contextRef="#ctx0" brushRef="#br0" timeOffset="70704.75">10716 5543 0,'0'-13'0,"-14"13"31</inkml:trace>
  <inkml:trace contextRef="#ctx0" brushRef="#br0" timeOffset="71740.73">10941 5596 0,'-27'0'0,"14"-13"16,0 13-16,-40 0 31,39 0-31,1 13 0,0-13 16,13 13-16,-13-13 0,13 13 15,0 1 1,13-1-16,0-13 0,0 13 16,1-13-16,-14 13 0,13 1 15,0-14-15,0 13 0,1 0 0,-1-13 16,13 26-16,-26-12 16,14-1-16,-14 0 0,0 0 0,0 1 15,-14-1-15,14 0 16,-13-13-16,0 27 0,0-27 15,13 13-15,-14-13 16,1 13-16,0-13 16,26-13 15,0 13-31,1-13 0,-1-1 16,0 1-16,0 0 15,1 0-15,-1-1 0,0-12 16,0-1-16,0 14 0,1-13 0,-14-1 15,13 1-15,-13-1 0,13-12 16,0 12-16,-13 1 0,0-1 16,14-26-16,-14 40 0,0 0 15,0-13-15,13 12 0,-13 1 16,0 0-16,-13 26 31,13 0-15,0 1-16,0-1 0,0 0 0,0 0 15,-14 0-15,14 14 16,0-14-16,0 0 0,0 1 0,0-1 16,0 0-16,0 0 0,14 0 15,-14 1 1,13-14-16,0 0 16,-13 13-16,13-13 15,0 0-15,1 0 0,-14 13 16,13-13-16,0 0 0,0 0 15,1 0-15,-1 0 0,0-13 16,0 13-16,1 0 0,12-13 0,-13-1 16,0 1-16,14-13 0,-27 13 15,13-14-15,0 14 0,1-14 16,-1-39-16,0 27 0,-13 12 16,13 1-16,-13 12 0,0 1 15,14 0-15,-14 0 0,0 0 0,0-1 0,-27 41 31,27-1-15,-13 1-16,13-1 0,0-13 0,-13 14 16,26-1-16,-13 1 0,0 26 15,13-27-15,0-13 0,-13 14 16,14-1-16,-1-13 0,0 14 16,0-27-16,-13 13 0,27 0 15,-14-13-15,0 0 16,0-13-16,-13 0 15,0 0-15</inkml:trace>
  <inkml:trace contextRef="#ctx0" brushRef="#br0" timeOffset="72388">11139 5411 0,'-13'0'31,"52"-13"-31,1 13 0,-13 0 15,-1 0-15,14 0 0,-1-14 16,14 14-16,-13 0 0,13 0 16,-13 0-16,13-13 0,-27 13 0,14 0 15,-14 0-15,1 0 0,-1-13 0,1 13 16,-1 0-16,0 0 0,-12 0 16,-1 0-16,13 0 0,-12 0 0,-1 0 15,0-13-15,0 13 16,0 0-16,1 0 15,-1 0 1,0 0 0,0 13-1,-26-40 329,26 27-328</inkml:trace>
  <inkml:trace contextRef="#ctx0" brushRef="#br0" timeOffset="77464.63">6165 7514 0,'0'0'15,"0"27"16,-13-14-31,13 0 0,0 0 16,-14 14-16,14-1 0,-13 1 0,0 12 16,0-12-16,-1-1 0,1 14 0,0-27 15,0 14-15,-1-1 0,1-13 16,13 1-16,-13 12 0,0-13 0,13 1 16,-13-14-16,13 13 15,0 0-15,0 0 16</inkml:trace>
  <inkml:trace contextRef="#ctx0" brushRef="#br0" timeOffset="77823.67">6456 7620 0,'-40'26'0,"80"-52"0,-106 66 0,52-27 0,-12-13 16,13 13-16,-14 0 0,14 1 0,-13-14 15,12 13-15,1 0 0,0 0 16,0-13-16,-1 14 0,1-1 0,0 0 16,13 0-16,-13-13 15,13 13-15,0 1 0,13-1 16,0 0-16,0 0 15,1-13-15,25 14 16,-25-14-16,12 0 0,-13 13 16,14-13-16,-14 0 0,0 0 0,0 0 15,14 0-15,-14 0 0,0 0 16,1 0-16,-1 0 0,0 0 0,0 0 16,1 0-16,-1 0 0,13-13 15,-13 13-15,1 0 0</inkml:trace>
  <inkml:trace contextRef="#ctx0" brushRef="#br0" timeOffset="78421.85">7369 7911 0,'-14'0'0,"1"0"16,0-13-16,0 13 0,13-13 15,-14 13-15,1-14 16,0 1-16,0 0 0,13 0 16,-13-1-16,-1-25 0,14 26 15,0-14-15,0 14 0,14-14 16,-14 14-16,13 0 0,-13 0 0,13-1 16,0 1-16,14 0 0,-1 0 15,-13 13-15,1 0 0,-1 0 16,0 0-16,0 13 15,-13 0-15,0 14 16,-13-14-16,-13 0 16,12 0-16,-12 14 0,-14-1 15,14-12-15,-14-1 16,27 0-16,0 0 0,-1-13 16,1 13-16,0-13 0,0 14 0,0-14 15,13 13-15,-14-13 0,41 13 31,-14-13-31,0 0 16,27 0-16,-14-13 0,1 13 16,39 0-16,-40 0 15,27-13-15,-13 13 0,-14 0 0,1 0 16,-1 0-16,1-14 0</inkml:trace>
  <inkml:trace contextRef="#ctx0" brushRef="#br0" timeOffset="79089.74">8533 7713 0,'0'0'16,"-13"13"15,13 0-31,0 0 0,0 1 16,0-1-16,0 0 0,0 0 15,0 0-15,0 1 0,0-1 16,0 0-16,0 0 0,0 1 0,0-1 16,0 0-16,0 0 0,0 1 15,13-1-15,-13 0 16,0 0 0,-13-13-1,13-13 235</inkml:trace>
  <inkml:trace contextRef="#ctx0" brushRef="#br0" timeOffset="80117.62">8520 7832 0,'13'-14'0,"-13"1"0,0 0 16,0 0-16,0 0 16,0-1-16,13 1 0,-13 0 15,0-14-15,13 1 0,0-1 16,-13 14-16,14 0 0,-14 0 0,13-14 15,0 27-15,-13-13 0,13 0 16,1 13-16,-1 0 0,13 0 16,-12 13-16,-1-13 0,-13 13 15,13 1-15,0 12 0,-13-13 0,13 0 16,1 14-16,-14-14 0,0 14 16,13-14-16,-13 0 0,13 14 0,-13-14 15,0 0-15,0 0 0,13 0 0,-13 1 16,0-1-16,0 0 0,14 0 15,-14 1-15</inkml:trace>
  <inkml:trace contextRef="#ctx0" brushRef="#br0" timeOffset="80314.67">8506 7845 0,'27'-13'31,"-14"13"-31,0-14 16,14 14-16,-1 0 0,-13-13 15,14 13-15,-1 0 0,1-13 0,12 13 16,-25 0-16,-1 0 0,0 0 16,0 0-16</inkml:trace>
  <inkml:trace contextRef="#ctx0" brushRef="#br0" timeOffset="81344.67">6099 8176 0,'0'0'0,"26"13"0,-13-13 16,1 0-16,-1 0 0,13 0 0,-13 13 15,1-13-15,12 0 0,1 0 16,-1-13-16,1 13 0,-1 0 0,0 0 16,1-13-16,-1 13 0,1-14 0,13 14 15,-27-13-15,13 13 0,1-13 0,-1 0 16,1 13-16,-14-14 16,13 1-16,1 0 0,-14 0 0,0 0 15,0-1-15,1 1 0,-1 0 16,-13 0-16,13-1 0,0 1 15,-13 0-15,14 0 0,-14 0 16,13-1-16,-13-12 0,13 13 0,-13-14 16,0 1-16,13 12 0,-13-12 0,13-27 15,-13 13-15,0 14 16,14-1-16,-14-12 0,-14-1 0,14-26 16,-13 26-16,0 14 0,0-14 0,0 14 15,-1-1-15,-12 1 0,-1 12 16,1-12-16,0 13 0,-1-14 0,-52 1 15,52 13-15,-26-1 16,-26 1-16,39 13 0,-13 0 16,0 0-16,0 13 0,1-13 15,-1 14-15,-14 12 0,15-13 0,-1 14 16,13-1-16,-13 1 0,13 12 0,1-12 16,-41 52-16,41-39 0,12 0 15,-13-1-15,14 1 0,13 0 16,0-1-16,-14 1 0,27-13 0,-13 12 15,13-12-15,0-1 0,0 1 16,0-1-16,13 1 0,0-1 16,1 0-16,12-12 0,0 12 0,1-13 15,-1 14-15,14-14 0,0 0 0,13-13 16,-14 13-16,1-13 0,66 14 16,-80-14-16,1 0 15,-1 0-15,-13-14 0,14 14 0,13 0 16,-27 0-16,13 0 0</inkml:trace>
  <inkml:trace contextRef="#ctx0" brushRef="#br0" timeOffset="83929.28">8731 7250 0,'0'0'0,"13"-14"32,-26 1-32,13 0 15,-13 13 1,0 0-16,13-13 0,-13 13 16,-14 13-16,14-13 15,0 0-15,-14 0 0,14 0 0,-14 13 16,14-13-16,-13 0 0,13 13 0,-14 1 15,1-14-15,12 13 0,-12 0 0,13 0 16,-14 14-16,1-14 0,-14 27 16,14-14-16,-1 1 0,14-1 15,0 0-15,0 1 0,-14 13 0,14-14 16,0 14-16,13-14 0,-14 14 16,1-14-16,13 14 0,-13-13 15,13-1-15,0 0 0,0 1 0,0-1 16,0 1-16,0-1 0,13 1 15,-13-1-15,13 40 0,1-39 16,-1-1-16,0 1 0,0-1 0,1 1 16,-1-1-16,13 1 0,-13-14 0,14 13 15,-14-13-15,0 1 16,14-1-16,-1 13 0,-12-12 0,38-1 16,-38 0-16,12 0 0,1-13 15,-1 14-15,0-14 0,1 0 0,-1 0 16,-12 0-16,12 0 0,40-14 15,-39 14-15,-1-13 0,1 13 16,-1-13-16,14 0 0,-14-1 0,1 14 16,-1-13-16,1 0 0,-1 0 15,1-1-15,-1-12 0,0 13 0,1 0 16,-14-14-16,14 14 0,-14 0 0,0-14 16,0 1-16,1-1 0,-1 1 0,0-1 15,0 14-15,-13-27 0,13 14 16,-13 0-16,14-1 0,-14 1 0,0-1 15,0 1-15,0-1 0,0 1 16,-14-14-16,1 14 0,13-14 0,-13 13 16,0-12-16,-14-27 0,1 26 15,13 13-15,-14-12 0,14 12 16,-14 1-16,14-1 0,-40-26 16,40 40-16,-13 0 0,-1 0 15,14 0-15,-14-1 0,1 14 0,-14-13 16,1 13-16,12 0 0,-13-13 0,1 13 15,12 13-15,-12-13 0,-1 0 0,13 13 16,-12-13-16,12 0 0,1 14 16,13-14-16,-14 13 0,14 0 15,-13-13-15,12 13 0,1 0 0,0-13 16,13 14-16,-13-14 0</inkml:trace>
  <inkml:trace contextRef="#ctx0" brushRef="#br0" timeOffset="86997.93">16867 2752 0,'13'53'0,"-26"-106"0,26 132 15,-13-39-15,0 13 0,0 13 16,0 13-16,0 14 0,0 39 0,0-13 15,0 27-15,0-1 0,14 1 0,-14 12 16,-14-12-16,14 13 0,-13-14 0,0 14 16,0-14-16,0 14 0,-1-13 15,1-14-15,0 0 0,-14 1 0,27-14 16,-26 0-16,13-13 0,13-27 0,-14 0 16,1 1-16,0-14 0,0 13 15,0-26-15,-1 13 0,1-13 0,0-13 16,0 0-16,-1-14 0,14 1 15,-26-1-15,26-13 16,-13-26-16</inkml:trace>
  <inkml:trace contextRef="#ctx0" brushRef="#br0" timeOffset="88685.3">16973 2606 0,'0'0'0,"13"-13"16,0 13-16,14 0 0,-1 0 0,27-13 16,0 13-16,0-14 0,0 14 0,13 0 15,14-13-15,-1 13 0,0 0 0,14 0 16,92-13-16,-92 13 16,13-13-16,-1 13 0,1 0 0,27-13 15,-28 13-15,14 0 0,-13-14 16,0 14-16,0-13 0,-13 13 15,12 0-15,-12-13 0,105 13 16,-118 0-16,12-13 0,-12 13 0,-14 0 16,-13 0-16,0 0 0,39 13 15,-52-13-15,0 0 0,13 0 16,-40 0-16,13 0 0,-12 13 16,-1-13-16,0 0 0,0 0 0,0 0 15,1 13-15,-1-13 16,0 14-16,0-1 0,-13 0 15,14 27-15,-14-14 0,0 1 16,0 12-16,0 1 16,0 0-16,13 66 0,-13-54 15,0 15-15,0-1 0,13 0 0,-13 0 16,0 0-16,13 14 0,-13-14 16,14 13-16,-1 0 0,0 1 15,0 12-15,0-12 0,1 12 0,-1 1 16,0-14-16,0 1 0,14-1 0,-1 80 15,-12-93-15,12 93 16,-13-93-16,14 13 0,-14 67 16,0-80-16,0 13 0,-13-13 0,14 1 15,-14-1-15,13 0 0,-13 0 16,0 0-16,13-13 0,0 0 16,-13 0-16,14-13 0,-14 13 0,13-14 15,0 41-15,0-41 0,-13 1 16,13-14-16,1 1 0,-1-1 0,0 14 15,0-27-15,1 0 16,-1 14-16,0-14 0,-13 0 16,13 1-16,0-1 0,-13 0 15,14-13-15,-14 13 0,13 1 16,-13-1 0,0 0-16,-13-13 31,-1 0-16,1 0-15,-13 0 16,13 0-16,-14 0 16,14 0-16,0 0 0,-1 0 15,-12 0-15,13 0 0,-27 0 16,14 0-16,-1 0 0,-13 13 16,14-13-16,0 0 0,-14 0 0,0 0 15,-13 0-15,27 0 0,-27 0 0,0 0 16,13 0-16,-13 0 0,14 0 15,-67 13-15,53-13 0,0 0 16,0 0-16,0 0 0,0 0 16,0 0-16,-13 0 0,13 0 0,-26 0 15,0 0-15,-1 0 0,1 0 16,-1 0-16,-78-13 0,78 13 16,1 0-16,-1 0 0,14 0 15,-13 0-15,0 0 0,26 0 16,-13-13-16,13 13 0,-80 0 0,80 0 15,-13 0-15,13 0 0,-13 0 0,0 0 16,13 0-16,-13 0 0,-53 0 16,53 0-16,13 0 15,0 0-15,13 0 0,-13 13 0,27-13 16,-1 0-16,1 0 0,0 0 0,-1 0 16,1 0-16,-1 0 0,14 0 0,-27 0 15,14 13-15,13-13 16,-1 0-16,1 0 0,-13 14 0,12-14 15,1 0-15,0 13 0,0-13 0,-1 0 16,1 0-16,0 13 16,0-13-16,0 13 0,-1-13 0,1 0 15,13 14-15,-13-14 0,0 13 16,-1-13-16,1 13 16,0-13-16,13 13 15,-13-13-15,0 0 0,-1 14 16,1-14-1,0 0 1,0 13-16,-1-13 16,1-13-1,0-1 1,26 1 0,-13 0-16,0-14 0</inkml:trace>
  <inkml:trace contextRef="#ctx0" brushRef="#br0" timeOffset="89449.41">17092 2871 0,'0'26'31,"0"-13"-31,0 1 0,0 12 16,0-13-16,0 14 0,0-14 16,0 13-16,0-12 0,0-1 0,0 0 15,0 0-15,0 1 0,0-1 0,0 0 16,-13 0-16,13 1 0,0-1 16,0 0-1</inkml:trace>
  <inkml:trace contextRef="#ctx0" brushRef="#br0" timeOffset="90045.64">17449 2884 0,'-26'0'0,"-80"53"32,80-40-32,-1 0 0,14 1 15,0-1-15,-14-13 0,14 13 0,0 0 16,-1 0-16,1-13 0,0 14 0,13-1 16,-13-13-16,13 13 0,-13 0 15,13 1-15,13-1 16,0-13-16,-13 13 15,13-13-15,0 0 0,1 13 16,-1-13-16,0 0 0,0 14 16,1-14-16,-1 0 0,0 0 15,0 13-15,1-13 16,-1 0 0,0 0-16,0 0 15,0 13 1,1-13 31,-41 0 93,14 0-124</inkml:trace>
  <inkml:trace contextRef="#ctx0" brushRef="#br0" timeOffset="90982.37">20267 5768 0,'0'-13'16,"0"52"-1,0-25 1,-13-1-16,13 13 0,0-12 16,0 12-16,-13 0 0,13-12 0,-14 39 15,14-40-15,0 0 0,-13 13 16,13-12-16,0-1 0,0 0 15,-13 0-15,13 1 16,0-1-16,-13-40 31,13 14-31,13 0 16,-13-14-16,13-12 0,-13 12 16,13-12-16,14-41 0,-14 41 15,0-1-15,1 13 0,-1 1 16,0 13-16,-13 0 0,13-1 0,0 1 15,1 0-15,-1 13 16,0 13-16,0 0 0,1 14 16,-1-1-16,-13-13 0,13 27 15,0-13-15,-13-1 0,14-13 16,-14 1-16,0 12 0,13 0 16,0-12-16,-13-1 0,13 13 15,-13-12-15,0-1 0,13 0 16,-13 0-1</inkml:trace>
  <inkml:trace contextRef="#ctx0" brushRef="#br0" timeOffset="91177.76">20214 5953 0,'0'0'15,"27"0"1,-14-13-1,0 13-15,14 0 0,12 0 16,-12 0-16,-1 0 0,1 0 16,-1 0-16,1 0 0,-1 0 0,-13 0 15,14 0-15,-14 0 0,13 0 0,1 0 16,-14 13-16</inkml:trace>
  <inkml:trace contextRef="#ctx0" brushRef="#br0" timeOffset="92364.73">18256 4101 0,'13'-26'16,"-26"52"-16,40-66 0,-27 27 0,26 0 16,-13-14-16,14 14 0,39-26 15,-26 25-15,-14 1 0,27 0 16,-26 0-16,-14 13 0,13 0 16,-13 13-16,1-13 0,-1 13 15,-13 14-15,13-14 0,-13 26 0,-40 107 16,14-93-16,-14 0 15,14 13-15,-1-13 0,1 0 0,-40 53 16,39-53-16,1-1 16,-14 28-16,27-54 0,0 1 15,-1-1-15,14 1 0,0-1 16,0-13-16,0 1 0,0-1 16,14 0-16,-1 0 0,0 0 15,0-13-15,27 14 0,-27-14 16,1 0-16,12 13 0,-13-13 15,0 0-15,1 13 16</inkml:trace>
  <inkml:trace contextRef="#ctx0" brushRef="#br0" timeOffset="92500.86">18494 5199 0,'0'13'0,"-13"-13"16,0-13-1,26 0 1,-13 0-16</inkml:trace>
  <inkml:trace contextRef="#ctx0" brushRef="#br0" timeOffset="105052.44">16960 7633 0,'-13'146'31,"13"-93"-31,-14 13 16,14 13-16,-13 1 0,-13 131 15,12-105-15,-12 13 16,13 0-16,0 13 0,-1 1 0,-12-1 16,13 0-16,-1 14 0,1-1 0,0 1 15,-27 145-15,27-132 0,0-14 16,-14 1-16,1-1 0,13 1 15,-14-14-15,-13 146 0,14-159 16,13 13-16,-14 106 0,14-132 16,0-26-16,0 65 15,-1-79-15,14 0 0,-13-26 0,13 0 16,-13-14-16,13-13 0,-13 1 16</inkml:trace>
  <inkml:trace contextRef="#ctx0" brushRef="#br0" timeOffset="107045.48">16841 7726 0,'53'0'31,"-27"13"-31,53-13 15,-26 13-15,0-13 0,93 14 16,-67-1-16,14-13 16,-1 13-16,1-13 0,0 0 0,145 13 15,-106-13-15,-26 0 0,0 0 16,26 0-16,0 0 0,14 13 0,92-13 16,-93 0-16,-12 0 15,145 0-15,-173 0 16,1 0-16,40 0 0,-14 0 0,0 0 15,-26 0-15,93 14 0,-94-14 16,-12 0-16,105 13 16,-105-13-16,0 0 0,65 13 15,-91-13-15,12 13 0,27-13 16,-53 14-16,26-14 16,-52 13-16,-14-13 0,26 0 15,-25 0-15,-1 13 0,0-13 16,0 0-16,1 13 0,-14 1 15,13-1-15,-13 0 16,0 0-16,-13 0 0,13 1 0,-14 25 16,-12 1-16,13-14 15,-1 27-15,-12-13 0,0 13 16,-1 0-16,14 0 0,-14-13 0,14 12 16,-13 15-16,12-15 0,1 1 0,-13 80 15,-1-14-15,27-53 16,-13 0-16,13 13 0,0-12 15,0-1-15,0 79 0,0-79 16,13 14-16,-13-14 0,0 0 0,14 0 16,-14 14-16,13-14 0,0 0 0,-13 0 15,26 66-15,-12 1 16,-1-80-16,0 13 16,0 0-16,-13 0 0,14-13 0,-1 66 15,0-53-15,-13-26 0,0 13 16,13 0-16,-13 0 0,14 39 15,-1 1-15,0-1 16,-13-52-16,13 13 0,-13-13 16,13-1-16,-13 1 0,14 0 15,-1-1-15,-13 1 0,13 0 0,0 26 16,1-26-16,-14-14 0,13 1 16,-13 12-16,13-12 0,-13-1 15,13 1-15,-13-14 16,0 0-16,0 0 0,0 0 15,0 1-15,14-1 0,-14 0 16,0 0-16,0 1 16,0-1 15,0 0-31,-14 0 31,1 1 0,0-14-15,0 13-16,-1-13 0,1 0 16,0 0-16,0 13 0,-14-13 15,14 0-15,-13 0 0,-1 0 0,1 0 16,-14 13-16,0-13 0,1 0 16,-67-13-16,53 13 0,0 0 15,0 0-15,-13 0 0,0 0 16,0-13-16,-14 13 0,1 0 0,-1-13 15,1 13-15,13 0 0,-13 0 0,12-14 16,-12 14-16,13 0 0,-14-13 0,14 13 16,-79 0-16,65-13 15,14 13-15,-79-13 0,79 13 16,-1 0-16,-78-14 16,66 14-16,12-13 0,-78 13 0,79 0 15,0-13-15,13 13 16,0 0-16,-13 0 0,13-13 0,-53 13 15,53 0-15,-13 0 0,26 0 16,-13-14-16,0 14 0,0 0 0,0 0 16,14 0-16,-14-13 0,0 13 15,13 0-15,-13 0 0,14-13 0,-41 13 16,41 0-16,12 0 16,-13-13-16,14 13 0,-14 0 0,14 0 15,-1 0-15,-12 0 0,12 0 0,1 0 16,-27 0-16,26 0 15,1 0-15,-27 0 0,27 0 16,-1 0-16,-13 0 16,14 0-16,0 0 0,-27 0 15,26 0-15,14 0 0,-40 0 16,27 0-16,12 0 0,-25 0 16,25 0-16,-25-13 15,25 13-15,1 0 0,-26 0 16,25 13-16,1-26 0,-27 13 15,27 0-15,0 13 0,-27-26 16,27 13-16,0 0 16,-14 0-16,14 13 0,0-13 0,0 0 0,-14 0 15,14 0-15,0 0 16,0 0-16,-1 0 16,1 0-16,0 0 15,0 0 1,-1 0-1,14-13 1,-13 13-16,13-14 16,0 1-16,0 0 0,0 0 0,0-1 15,0-12-15,0-53 16,13 39-16,1-26 0</inkml:trace>
  <inkml:trace contextRef="#ctx0" brushRef="#br0" timeOffset="107683.67">17211 8096 0,'0'-26'0,"0"52"31,-13-13-16,13 1-15,-13 12 0,-1-13 0,14 14 16,-13-1-16,0-12 0,-13 52 16,26-53-16,-14 13 15,1-12-15,0 25 0,13-25 0,-13-1 16,13 0-16,0 0 16</inkml:trace>
  <inkml:trace contextRef="#ctx0" brushRef="#br0" timeOffset="108110.62">17515 8070 0,'-13'-13'0,"0"26"0,0-13 15,-1 0-15,-12 13 0,-14 0 16,14 0-16,-1 1 0,-12 12 15,26-26-15,-14 13 0,14 1 16,0-14-16,13 13 0,-14-13 0,14 13 16,-13-13-16,13 13 0,-13-13 15,13 14-15,0-1 16,0 0 0,13 0-16,0-13 0,-13 13 15,14-13-15,-1 0 0,0 14 16,0-14-16,1 13 15,-1-13 1,0 0-16,0 0 0,0 13 31,1-13-15,-14-13 15,13 13-15,0-13-16,0 13 15</inkml:trace>
  <inkml:trace contextRef="#ctx0" brushRef="#br0" timeOffset="110628.1">17780 8295 0,'-13'26'94,"-14"-39"-32,14 0-30,0 13-32,0-14 15,13 1 1,-14 13-16,14-26 0,-13 26 16,13-27-16,-13 14 15,13-13 1,0 12-16,0 1 0,0 0 15,0 0-15,0-1 16,13 1-16,-13 0 16,13 13-16,1-13 15,-1 26 1,0-13 0,-13 13-16,13-13 15,-13 13-15,0 1 16,14-14-16,-14 13 15,0-40 32,13 14-47,-13 0 16,13 0-16,0 0 16,0-1-16,-13 1 15,14 13-15,-1 0 0,-13-13 16,13 13-16,0 0 0,-13-13 15,14 13-15,12 0 0,-13 13 16,1-13 0,-14 13-16,13 0 15,-13 1-15,0-1 16,0 0-16,-13 0 16,-1 0-16,14 1 15,-13-1-15,0 0 0,0 0 16,-1 1-16,1-1 0,0-13 15,0 26-15,-1-26 16,1 14-16,0-1 0,0 0 16,0-13-16,13 13 15,-14-13-15,14 13 16,-13-13 0,13 14-1,-13-14 16</inkml:trace>
  <inkml:trace contextRef="#ctx0" brushRef="#br0" timeOffset="111600.86">20955 11509 0,'0'0'0,"0"-13"15,-13 53 17,13-27-32,-13 14 0,13-14 0,-14 26 15,1-12-15,0 13 0,13-14 16,-13 14-16,-14-1 0,27-12 16,-13-1-16,13-12 0,-13-1 15,13 0-15,-14 13 0,14-12 16,0-1-16,-13-13 0</inkml:trace>
  <inkml:trace contextRef="#ctx0" brushRef="#br0" timeOffset="111912.41">21034 11655 0,'-39'0'0,"78"0"0,-92 0 0,27 13 15,13-13-15,0 13 0,-1-13 16,1 14-16,0-14 0,0 13 16,-1-13-16,1 13 15,13 0-15,-13 1 0,13-1 16,0 0 0,0 0-16,13 0 0,0 1 15,1-14-15,-1 13 0,0 0 16,0-13-16,1 13 0,-1-13 15,0 0-15,0 0 0,0 0 0,1 0 16,-1 0-16,0 0 16,0 0-16,1 0 0,12 0 15,-13 0-15,1 0 0,12 0 16</inkml:trace>
  <inkml:trace contextRef="#ctx0" brushRef="#br0" timeOffset="112506.53">21299 11933 0,'-13'-27'16,"-1"14"-1,14 0 1,-13 0-16,0-1 0,13 1 15,0-13-15,0-1 16,-13 1-16,26-1 16,-13 14-16,0 0 0,0-14 15,13 14-15,-13 0 0,0 0 16,13 13-16,-13-14 0,14 14 0,-1 0 16,0 0-1,-13 14-15,13-1 16,-13 0-1,0 0 1,14-39 31,-1 26-31,0-13-16,0-1 0,1 14 15,-1-13-15,0 13 16,0 0-16,14 0 15,-14 13-15,0 1 16,-13-1-16,0 0 0,0 0 16,13 1-16,-13-1 0,-13 13 15,13-12-15,0-1 0,-26 13 16,26-13-16,-14 1 0,1-1 16,13 0-16,-13 0 0,-13 1 15,12-1-15,1-13 0,0 13 16,0 0-16,-1-13 0,1 0 15,0 0 1</inkml:trace>
  <inkml:trace contextRef="#ctx0" brushRef="#br0" timeOffset="113706.76">22384 8017 0,'13'40'0,"0"92"16,-13-66-16,13 13 16,-26 14-16,13 145 0,-13-119 0,0 0 15,0 0-15,-14 14 0,14-14 16,-14 0-16,1 13 0,-1-13 0,1 0 15,0-13-15,12 0 0,-12 0 16,13-14-16,-14 67 0,1-93 16,12 14-16,1-14 0,0 0 0,0 0 15,0-13-15,-14 0 0,14-14 16,0 1-16,-1-13 0,1 12 16,13-25-16,-13-14 0,13-40 15</inkml:trace>
  <inkml:trace contextRef="#ctx0" brushRef="#br0" timeOffset="114186.75">22463 8057 0,'66'0'0,"-132"0"0,159-14 16,-54 14-16,14 0 0,13 0 16,14 0-16,12 14 0,1-14 0,0 0 15,13 0-15,-14 13 0,14-13 0,0 0 16,-14 13-16,1-13 0,-14 13 15,1-13-15,-1 13 0,-13-13 0,-13 14 16,0-14-16,-13 13 0,-1 0 0,1 0 16,-13 1-16,12-1 0,-12 13 0,-14 1 15,13 12-15,-12-12 0,-1 26 16,-13-13-16,13 12 0,-13 15 0,0-1 16,0-13-16,0 13 0,0 0 0,0 0 15,-13 0-15,13-13 16,0 13-16,-13 53 0,-1-66 15,14-13-15,-13 13 0,13-13 0,-13-1 16,0 1-16,13-14 0,-13 1 0,13-1 16,-14-12-16,14 12 0,0-13 15,-13-13-15,13 13 0,-13-13 16,0-13-16,13 0 16,0-13-16,-14-1 0</inkml:trace>
  <inkml:trace contextRef="#ctx0" brushRef="#br0" timeOffset="114589.5">22939 8427 0,'0'-13'16,"0"26"-16,-13 0 16,0 0-1,13 1-15,-13-1 0,13 0 0,-14 14 16,1-1-16,0-13 0,0 14 0,0-14 16,13 13-16,-14-12 0,1-1 15,13 0-15,-13 0 0,13 1 16,-13-1-16</inkml:trace>
  <inkml:trace contextRef="#ctx0" brushRef="#br0" timeOffset="114826.67">23032 8520 0,'0'0'0,"-40"-14"0,27 14 0,0 0 16,0 0-16,-1 0 0,14 14 0,-13-14 15,0 0-15,0 0 16,13 13-16,-14-13 0,14 13 16,0 0-16,0 0 15,14-13-15,-1 14 16,0-14-16,0 0 0,14 13 16,-14-13-16,14 0 15,-14 0-15,13 0 0,1 13 0</inkml:trace>
  <inkml:trace contextRef="#ctx0" brushRef="#br0" timeOffset="116501.35">23244 8599 0,'-14'-27'0,"28"54"0,-28-67 16,1 40-16,13-13 0,0 0 0,-13 0 15,13-1-15,0 1 0,-13 0 16,13 0-16,0-1 16,-13 14-16,13-13 0,0 0 15,-14 39 32,28-26-31,-14 14-16,13-14 31,0 13-31,0-26 31,0 13-15,-13-14 0,14 14-1,-1 14 63,-40-28 16,14 14-78,0-13-1,0 26 63,26 1 79,-13-1-142,0 0-15,0 14 16,0-14-16,13 13 16,-13-13-16,0 1 15,0-1-15,13 0 16,-13 0-16,14 1 15,-1-1 1,0-13 0,0 0 62,-13-13-63,14 13-15,-14-14 16,13 14-16,0-13 0,0 0 16,0 0-1,1-1-15,-1 1 0,-13 0 16,13 13-16,0-13 0,1 13 16,-14-13-16,13-1 15,0 14-15,-13-13 0,13 13 16,-13-13-1,14 13 1,-14-13 0,13 13-1,-13-14 17,13 14-17,-13-13 16,-13 0 32,0 0-47,-1 13-1,14-13-15,-13 13 16,13-14-16,-13 14 0,13-13 15,-13 13-15,13-13 0,-14 0 32,1-1-17,0 1 1,13 0 0,-13 13-1,13-13 1,-14 13-1,14 13 1,-13-13 0,0 13-16,0 0 0,0 1 15,-1-1-15,1 0 0,0 0 16,0 1-16,-1-1 0,1 0 16,0 0-16,0 0 0,0 1 15,-1-1-15,1-13 0,0 13 16,13 0-16,-13-13 15</inkml:trace>
  <inkml:trace contextRef="#ctx0" brushRef="#br0" timeOffset="124552.56">10702 3373 0,'80'-39'16,"-67"26"-16,13 13 0,14 0 0,0-14 16,13 14-16,-14 0 0,14 0 0,0 14 15,119 12 1,-132-13-16,-14 0 0,14 1 16,13 25-16,-27-12 0,-12 12 15,-1-12-15,0-1 0,0 14 16,-13 0-16,0-1 0,14 14 0,-14 14 15,0-1-15,0-13 0,13 13 16,-13 0-16,13 0 0,0 66 0,1-66 16,-14 1-16,13 12 0,0-13 15,0 14-15,0-1 0,1 13 16,12-12-16,-13-1 0,1 14 0,12-14 16,-13 1-16,14 12 0,12 80 15,-25-92-15,12-1 0,1 14 0,-1-1 16,0-26-16,-12 14 0,25-1 15,-25 0-15,12-12 0,1-1 0,12 79 16,-26-79-16,1 1 0,12 65 16,-13-79-16,1 66 15,-1-66-15,-13-14 0,0 14 16,13-13-16,-13 13 0,0-13 0,0-1 16,13 14-16,-26-13 0,13 0 15,0-14-15,-13 14 0,13-1 0,-27-12 16,-12 26-16,-1-14 15,-13-12-15,-79 13 0,39-14 16,-26 1-16,0-1 0,-13-13 16,-14 14-16,-13-14 0,-12-13 0,-1 13 15,-27-13-15,-185-13 0,120 0 16,-1-14-16,14 1 0,-252-67 16</inkml:trace>
  <inkml:trace contextRef="#ctx0" brushRef="#br0" timeOffset="125381.69">5133 3532 0,'-53'0'0,"27"13"0,-14-13 16,0 14-16,-52 12 0,39-13 16,0 1-16,13-1 15,-13 0-15,13 0 0,-26 14 0,27-14 16,25 0-16,-39 40 16,40-40-16,-13 14 0,13 12 15,-1 1-15,14 0 0,-13 66 0,0-40 16,13 0-16,0 0 0,0 106 15,0-79-15,0 26 16,0 0-16,0 0 0,0 13 0,0 133 16,13-133-16,-26 14 0,26-1 15,-13 1-15,0-1 0,0-13 16,0 14-16,0-1 0,0 1 0,0-14 16,-13 133-16,0-146 0,13 13 15,-27 80-15,27-120 0,-13-12 16,13-1-16,-13 1 15,13-14-15,0 13 0,-14-26 0,14 0 16,0 0-16,0 39 16,0-65-16,0 13 0,0-27 15,14 0-15,-1 0 0,0-13 16,0 0-16,14 0 0,65 0 16,-25-13-16,12 0 0,-13-14 15,27 14-15,13-13 0,-1-14 0,14 14 16,-13-1-16,13 1 0,252-67 15,-239 53-15,159-39 16,-145 26-16,-1 13 16,54-26-16</inkml:trace>
  <inkml:trace contextRef="#ctx0" brushRef="#br0" timeOffset="126153.38">11972 4961 0,'53'-13'0,"-13"-1"0,357-52 32,-265 40-32,0 13 0,14-1 15,0 1-15,145-13 0,-146 12 16,1 14-16,-1-13 0,-13 13 0,1-13 16,-27 13-16,-1 0 0,1-13 15,-13 13-15,-1 0 0,80 0 16,-92-13-16,-14 13 0,40 0 15,-53-14-15,-27 14 0,14 0 16,-14 0-16,-13 0 0,1 0 16,-1-13-16,0 13 0,0 0 0,-13-13 15</inkml:trace>
  <inkml:trace contextRef="#ctx0" brushRef="#br0" timeOffset="126471.62">14076 4247 0,'0'0'0,"26"0"16,-12 0-16,12 0 0,0 0 15,14 0-15,13 13 0,0-13 0,13 13 16,13 0-16,-12 0 0,65 14 15,-66-14-15,0 14 0,0-14 16,-13 0-16,0 14 0,40 12 16,-54-12-16,-12-1 0,-1 1 15,-12 12-15,-14-12 0,0 12 0,0 1 16,-53 66-16,13-53 0,-26 13 16,-14 0-16,1 0 0,0 0 15,-14 1-15,1-14 0,-1 13 16,-13-13-16,0 0 0,0-14 0,14 1 15</inkml:trace>
  <inkml:trace contextRef="#ctx0" brushRef="#br0" timeOffset="138275.22">2977 10980 0,'13'0'16,"0"0"156,-13 13 281,13-13-438</inkml:trace>
  <inkml:trace contextRef="#ctx0" brushRef="#br0" timeOffset="139949.35">3585 11721 0,'-13'-13'47,"0"13"-32,-1-13-15,1 13 16,13-14-16,-13 14 16,0-13-16,-1 0 15,1 0-15,0-1 0,13 1 0,-13 0 16,0 0-16,-1-14 0,14 14 16,-13-13-16,0-1 0,13 14 0,0 0 15,-13-14-15,13 1 16,0 13-16,0-1 0,0 1 15,0 0-15,13 0 16,0 13-16,0 0 16,1 0-16,-1 0 0,0 13 15,0 0-15,0-13 0,-13 13 16,14-13-16,-1 14 0,-13-1 16,13 0-16,-13 0 0,13-13 15,-13 13-15,0 1 0,14-14 16,-14 13-1,0 0-15,0-39 47,13 12-47,-13 1 0,13 0 16,-13-13-16,13 26 16,-13-14-16,14 1 0,-1 13 0,-13-13 15,13 13-15,-13-13 0,13 13 16,0 0-16,1-14 0,12 14 15,-26 14-15,13-14 16,1 13-16,-1 0 16,-13 0-16,0 1 0,0-1 15,0 0-15,0 13 0,0-12 0,-13 25 16,-1-12-16,14-14 0,-13 14 16,0-14-16,0 13 0,13 1 15,-14-14-15,1 13 0,0-12 0,0-1 16,13 0-16,-13 0 0,-1 1 0,14-1 15,-13-13-15,13 13 0,-13 0 0,13 0 16,-13-13-16,13 14 16,13-28 31,0 1-47,0 13 15</inkml:trace>
  <inkml:trace contextRef="#ctx0" brushRef="#br0" timeOffset="141316.66">4471 11456 0,'-26'14'15,"13"-1"-15,0 13 16,13-12-16,0-1 0,-14 27 16,14-14-16,-13-13 15,13 14-15,0-14 0,0 13 0,13-12 16,-13 12-16,0-13 0,14 1 0,-14-1 15,13 0-15,0 0 0,0-13 0,-13 13 16,13-13-16,1 0 0,-1 0 16,0 0-16,0 0 0,14-13 0,-14 13 15,0-13-15,1 0 0,-1 0 0,0-1 16,-13 1-16,13 0 16,-13 0-16,0-14 0,0 14 0,0 0 15,-13-1-15,0-25 0,0 26 16,-1-1-16,1 1 0,0 13 0,0-13 15,-14 0-15,14 13 16,0-14-16,-1 14 0,1 0 0,0 0 16,39 14 15,-12-14-31,-1 13 16,13-13-16,-12 13 0,12 0 0,-13 1 15,14-14-15,-1 13 0,-13 0 16,1 0-16,12 0 0,-13 1 15,1 12-15,-1-13 0,0 1 0,-13-1 0,13 13 16,-13-12-16,0-1 16,-13 0-16,13 0 0,0 0 15,-13 1-15,0-14 16,13-14 0,0 1-16,13 0 15,0-13-15,-13-1 16,13 14-16,14-27 0,-14 14 15,0 12-15,0-12 0,14 13 16,-14 0-16,0-1 0,-13 1 0,14 0 16,-1 13-16,0-13 0,0 13 15,-13-14-15,13 14 0,1-13 0,-1 13 16,0 0 0</inkml:trace>
  <inkml:trace contextRef="#ctx0" brushRef="#br0" timeOffset="143049.28">4604 11589 0,'0'-40'16,"0"27"-1,-13 0 1,-1-1 0,1 14-16,0 0 0,13-13 15,-27 13 1,14 0-16,0 0 16,0 0-16,-1 0 0,1 0 15,0 13-15,0-13 0,13 14 0,-13-1 16,-1 0-16,1 0 0,13 1 15,-13-1-15,0 13 0,13 1 0,-14-14 16,14 13-16,0 1 0,-13-14 0,13 14 16,0-14-16,0 0 0,0 13 15,0-12-15,0-1 0,0 0 0,0 0 16,13 1-16,-13-1 0,14 0 16,-14 0-16,13-13 0,0 13 0,0-13 15,1 0-15,-1 0 0,0 0 16,0 0-16,0 0 0,1-13 0,12 13 15,-13-13-15,1 0 0,-1 0 0,0-1 16,0 1-16,1 0 0,-14-14 16,13 14-16,-13 0 0,0 0 0,13-14 15,-13 14-15,0 0 0,0 0 0,-13-1 16,13 1-16,0 0 0,0 0 16,0-1-16,-13 1 0,13 0 15,-14 13-15,1 0 16,13 13-16,-13-13 15,13 13-15,0 1 0,0-1 16,-13 27-16,13-27 16,0 0-16,0 0 0,0 1 0,0-1 15,0 0-15,13 0 0,-13 0 0,0 1 16,13-1-16,-13 0 0,13-13 16,-13 13-16,14-13 0,-14 14 0,13-14 15,26 13 1,-25-13-16,-1 0 15,0 0-15,0-13 0,1-1 16,-1 14-16,0-13 16,0 0-16,0 0 15,-13-1 1,14 14 0,-14-13-16,0 0 46,13 13-14</inkml:trace>
  <inkml:trace contextRef="#ctx0" brushRef="#br0" timeOffset="143984.43">4511 11562 0,'-13'-26'0,"26"52"0,-39-52 0,12 13 16,1 13-16,0 0 16,0 13-16,0-13 15,-1 13-15,1 0 0,0 14 0,0-14 16,-1 13-16,1 14 0,0-13 0,0 12 16,-1 1-16,14 0 0,0-14 15,-13 27-15,13-27 16,13 1-16,-13-1 0,14-12 0,-1 12 15,0-13-15,0 1 0,1-1 0,12 0 16,-13 0-16,14 0 0,-1-13 16,1 0-16,-14 0 0,13 0 0,1-13 15,-1 13-15,1-13 0,-1 0 16,-13-14-16,14 14 0,-14-13 0,0 12 16,1-12-16,-14-1 0,13 1 0,-13 0 15,0-1-15,-13 1 0,-1-40 16,1 39-16,0 14 0,0-14 0,-1 14 15,1 0-15,0 0 16,-13-1-16,12 14 0,1-13 0,0 13 16,0-13-16,-1 13 0,1-13 15,26 0 1,1 13 0,12 0-16,1 0 0,-14 0 0,13 0 15,1 0-15,12 13 0,-12-13 0,-1 0 16,14 13-16,0 0 0,-1 0 15,1 1-15,-14-1 0,1 0 0,-1 0 16,1 14-16,-14-14 0,0 0 16,1 1-16,-14 12 0,0-13 0,0 0 15,0 14-15,0-14 0,-14 0 16,1 1-16,0-1 0,13 0 0,-13 0 16,-1 0-16,1-13 0,0 14 0,0-14 15,-1-14 1,1 1-16,13 0 0,0 0 0,13-27 15,-13 0-15,14 1 0,25-41 16,-12 27-16,13 14 0,-14 12 16,0 1-16,1-1 15,26-26-15,-27 27 0,1 13 16,-1 0-16,-13-1 0,14 1 0,-14 13 16,0-13-16,1 13 0,-1-13 15,0 13-15,0 0 16,-13 13-16,27-13 0,-14 13 15,0-13-15,0 0 0</inkml:trace>
  <inkml:trace contextRef="#ctx0" brushRef="#br0" timeOffset="144764.88">6257 11628 0,'0'-13'0,"0"26"0,-13 1 31,13-1-31,0 0 0,-13 14 0,13-14 16,0 13-16,0 1 0,0-14 15,0 13-15,-13-12 0,13 12 16,0-13-16,0 14 0,0-14 0,0 0 16,13-13-16,-13 13 0,0 1 0,0-41 47,0 1-47,0-1 0,0-12 15,13-14-15,0 0 0,1 0 0,-1 0 16,0 0-16,14 0 0,-1 0 0,0 14 15,-12-1-15,12 13 0,-13 14 16,1 0-16,-1 0 0,0 13 0,0 0 16,1 0-16,-1 0 0,0 13 0,0 13 15,14 1-15,-14-1 0,0 1 16,0-1-16,1 14 0,-1-14 0,0 14 16,-13-13-16,13-1 0,-13-13 0,14 14 15,-14-1-15,13-13 0,-13 14 16,13-14-16,-13 0 0,0 1 0,13-1 15,-13 0-15,0 0 0,13-13 16,-13 13-16</inkml:trace>
  <inkml:trace contextRef="#ctx0" brushRef="#br0" timeOffset="144968.47">6152 11721 0,'0'0'0,"39"0"32,-12 0-32,-1-13 0,27 13 0,-13 0 15,13-13-15,-14 13 0,14 0 16,0-14-16,-13 14 0,0 0 16,-1-13-16,-12 13 0,-1 0 0,1 0 15,-1 0-15,-13 0 0,1 0 16,-1 0-16,-13 13 0</inkml:trace>
  <inkml:trace contextRef="#ctx0" brushRef="#br0" timeOffset="145785.35">3903 12488 0,'0'0'0,"92"14"0,-39-1 16,13-13-16,14 13 0,-1 0 0,14 0 16,-1-13-16,14 14 0,13-1 0,13-13 15,1 0-15,-27 13 0,-1-13 0,1 0 16,27 0-16,12-13 0,-13 13 16,14-13-16,-14 13 0,133-27 15,-133 14-15,-13-13 0,0 12 16,13 1-16,-13 0 0,-13-14 0,13 14 15,-39-13-15,-1 12 0,0-12 0,67-27 16,-80 27-16,-13-1 16,0 1-16,-13-1 0,13-12 0,-27 12 15,-13 1-15,1-14 0,-1 0 0,-13-39 16,-13 13-16,-1 13 0,-12-13 16,-1 13-16,-26-27 0,1 14 15,-1-13-15,-14 0 0,1 12 16,-13-12-16,0 13 0,-1-14 0,1 14 15,-14-13-15,-92-53 0,79 66 16,-119-67-16,106 80 16,-13 0-16,13 14 0,0-14 0,-13 13 15,-1 14-15,-145-27 0,146 26 16,-13 14-16,-1 0 0,1 0 16,-1-1-16,1 14 0,-1 0 15,0 0-15,14 0 0,13 14 0,-13 12 0,0-13 16,12 14-16,1-1 0,0 14 0,14 0 15,-1-1-15,13 1 16,-13 13-16,14 13 0,12-13 0,1 13 16,0 0-16,-1 14 0,14-1 0,0 0 15,13 1-15,0-1 0,13 14 0,14-27 16,-1 0-16,14 13 0,13-12 16,13 78-16,1-92 0,12 13 15,67 53-15,-27-53 0,13-13 16,1 0-16,12-13 0,14 0 15,0-14-15,13 0 0,13 1 0,-13-14 16,14 0-16,-1-13 0,13 0 16,-12-13-16,12 0 0,14-14 0,-14 14 15,14-13-15,172-27 0</inkml:trace>
  <inkml:trace contextRef="#ctx0" brushRef="#br0" timeOffset="146333.49">8467 11073 0,'13'-27'15,"53"-12"1,-53 39-16,0 0 0,1 0 16,-1 0-16,0 13 0,0-13 15,14 26-15,-14-12 0,14 12 0,-14 0 16,0 14-16,0-13 0,0 12 0,-13-12 15,14 12-15,-14-12 0,0-1 0,0 14 16,-14 0-16,14-1 0,-13 1 16,13 0-16,-13 0 0,0-1 0,0-12 15,-1-1-15,14 1 0,-13-1 16,13 1-16,-13-14 0,13 13 0,-13-13 16,13 1-16,0 12 15,-14-26-15,14 13 0,0 1 0,0-1 16</inkml:trace>
  <inkml:trace contextRef="#ctx0" brushRef="#br0" timeOffset="146493.75">8837 12118 0,'13'13'0,"-26"-26"46,0 0-46</inkml:trace>
  <inkml:trace contextRef="#ctx0" brushRef="#br0" timeOffset="156272.75">8890 11708 0,'26'0'16,"-12"-13"-1,12 13-15,1 0 0,-1 0 0,1 0 16,12 0-16,-12 0 0,12-14 0,-12 14 16,13 0-16,-14 0 0,0 0 15,1 0-15,-14 0 0,14 0 16,-14 0-16,0 0 0,0 0 0,0 0 0,1 0 15,-1 0-15,0-13 16,-13 0 15</inkml:trace>
  <inkml:trace contextRef="#ctx0" brushRef="#br0" timeOffset="156505.51">9313 11549 0,'-13'0'16,"40"0"0,-14 0-16,0 0 0,0 0 15,14 13-15,-14-13 0,13 14 16,-12-14-16,12 13 0,-13 0 0,14 0 16,-14 0-16,0 1 0,0 12 15,1-13-15,-14 14 0,0-14 16,0 0-16,0 14 0,-14-1 0,1-13 15,13 14-15,-13-14 0,13 0 0,-26 14 16,26-14-16</inkml:trace>
  <inkml:trace contextRef="#ctx0" brushRef="#br0" timeOffset="157736.62">10054 11523 0,'0'26'47,"0"-13"-47,0 1 0,0-1 16,0 0-16,0 0 0,0 0 15,0 1-15,0-1 0,0 0 0,0 0 16,0 1-16,0-1 16,13-26 15,-13-1-31,14 1 0,-14 0 15,13 13-15,-13-13 0,13-1 16,-13 1-16,13 13 0,-13-13 0,14 13 16,-1-13-16,0 26 15,0 0 1,-13 0-16,13-13 0,-13 14 16,0-1-16,14 0 0,-1 0 15,-13 1-15,13-14 0,-13 13 0,13-13 16,1 0-16,-1 0 15,0 0-15,0 0 0,-13-13 16,14 13-16,-1-14 16,0 14-16,0 0 15,0 0 1,1 14-16,-14-1 16,13-13-16,0 0 0,-13 13 15,13-13-15,1 0 16,-1 0-16,0 0 0,0-13 15,1 13-15,-1-13 0,0 13 0,0-14 0,-13 1 16,0 0-16,13 0 0,-13-1 16,-13 1-16,13 0 0,0 0 15,-13 0-15,13-1 0,-13 1 0,0 13 16,-1-13-16,1 13 0,0 0 0,0 0 16,-1 0-16,1 0 0,0 0 15,0 13-15,-1 0 0,1 1 16,13-1-16,13-13 15,1 0-15,-1 0 16,13 0-16,-12-13 0,12 13 16,1-27-16,-1 14 0,0 0 0,1-14 15,-1 14-15,-12-14 0,12 1 16,-26 13-16,13-14 0,0 14 0,1 0 16,-1 0-16,-13-1 0,13 1 0,-13 0 15,13 39 1,-13 1-1,0-14-15,0 14 0,0-14 16,0 26-16,0-12 0,14-1 0,-14 1 16,13-1-16,-13-12 0,13 12 0,-13 0 15,13-12-15,-13-1 0,14 0 16,-14 0-16,13 1 0,-40-28 31,1 1-31,13 0 16,-14 0-16,14-1 0,-14 14 0,14-13 15,0 0-15,-13 0 0,12 13 16,1-13-16,0-1 0,0 14 16,13-13-16,13 0 15,0 0-15,0-1 16,14 14-16,-1-13 0,14 0 0,-14 0 16,14-1-16,-13 14 0,-1-13 0,14 13 15,-14-13-15,1 13 16,-1 0-16,-13 0 0,14 0 0,12 0 15,-12 0-15,-14 0 0,27 13 0</inkml:trace>
  <inkml:trace contextRef="#ctx0" brushRef="#br0" timeOffset="159493.34">11470 11456 0,'-14'27'31,"14"-14"-16,0 0-15,0 1 0,-13-1 16,13 0-16,13 0 0,-13 1 0,0-1 16,0 0-16,0 0 0,0 0 0,0 14 15,0-14 1,0 0-16,14-39 47,-14 13-32,13-1-15,0 1 16,0 0-16,-13 0 16,14 13-16,-1 0 15,0 0-15,0 0 16,1 0-16,-1 0 16,0 13-16,0 0 0,-13 0 15,13-13 1,-13 14-16,0-1 0,14-13 0,-14 13 0,0 0 15,0 1-15,0-1 16,0 0 0,13-39 31,0 12-32,0 14-15,-13-13 0,14 0 16,-1 0-16,0 13 15,0 0-15,1 0 16,-1 0 0,0 13-16,0 0 15,0 0 1,-13 1 0,14-14-16,-1 13 31,0-13-31,0-13 15,1 13-15,-14-14 0,13 14 16,0-13-16,0 0 16,0 13-1,-13-13-15,14 26 32,-1 0-17,0 0 1,0-13-1,14 0 1,-14-13-16,0 13 16,-13-13-16,14 13 0,-1-13 0,0-1 15,-13 1-15,13-13 0,0-1 16,-13 14-16,0 0 0,14-14 16,-14 14-16,0 0 0,0 0 0,13 13 15,-13-14-15,0 1 0,0 0 16,-13 39 15,-1-12-31,14 12 16,-13-13-16,13 14 0,-13-1 15,13-12-15,0-1 0,0 0 16,0 0-16,0 0 0,0 1 16,13-1-16,-13 0 0,13 0 0,1 1 15,-14-1-15,13-13 0,0 0 16,0 13-16,1-13 0,-1 0 15,0 0-15,0-13 16,1 13-16,-14-13 0,13 13 0,0-14 16,-13 1-16,13 0 0,0 0 0,-13-14 15,14 14-15,-1-27 0,-13 1 16,13 12-16,-13-13 0,13 1 0,-13-14 16,14 13-16,-14 0 0,0 1 15,13-1-15,-13 14 0,0-14 16,0 27-16,0-1 0,0 1 15,0 0-15,0 39 32,0 1-32,0-14 0,0 27 0,-13 0 15,13-1-15,0 1 0,0 0 0,13-1 16,-13-12-16,0 12 0,0 28 16,0-41-16,0 1 0,0 12 15,0-26-15,0 1 0,0-1 16,0 0-16,0 0 0,-13-13 0,13 14 15,-14-14 1,1-14 0,0 1-16,13 0 15,0 0-15,0-1 0,0 1 16,0 0-16,0 0 0,13 0 0,-13-1 16,27-12-16,-14 13 15,0-1-15,13-12 0,-12 26 16,-1-13-16,0-1 0,0 14 0,1-13 15,-1 13-15,0 0 16,0 0 0,1 0-16,-14 13 0,0 1 15,0-1-15,13 0 16,-13 0 0,0 1-16,13-1 15,13-26 16,-26-1-31,14 14 0,-14-13 0,13 13 16,0-13-16,-13 0 16,13 13-16,-13-14 0,27 28 31,-27-1-31,0 0 16,13-13-16,-13 13 15,0 1-15,13-14 0,-13 13 16,14-13-16,-1 13 0,0-13 15,0 0-15,14-13 0,-14 13 16</inkml:trace>
  <inkml:trace contextRef="#ctx0" brushRef="#br0" timeOffset="160634.2">12885 11417 0,'0'-13'0,"0"26"0,0-40 0,-13 27 16,0 0-16,0 0 16,13 14-1,-14-14-15,1 13 0,0-13 16,13 13-16,-13 0 0,-1 0 16,1 1-16,13-1 15,13-13 1,1 0-1,-1 0-15,0-13 0,0 13 0,1-14 16,-1 14 0,0 0-16,0 0 15,0 0-15,1 0 16,-1 14 0,0-14-1,0-14-15,1 1 16,-1 13-16,-13-13 15,13 0-15,0 0 0,-13-1 0,14 1 16,-14-13-16,13 12 0,-13-12 0,13-1 16,-13-12-16,13-1 0,-13-13 15,13 27-15,-13-1 0,0 14 0,0 0 16,0 0-16,0-1 0,0 1 16,-13 26-1,0 1-15,0 12 16,0 0-16,-1 1 0,1 13 0,13-14 15,-13 1-15,13-1 0,-13 0 16,13 1-16,0-14 0,0 14 16,0-1-16,13-13 0,-13 1 0,0-1 15,13 26-15,0-39 0,-13 14 16,14-14-16,-1 0 0,0 0 16,0 0-16,0 0 0,1-14 15,-1 1-15,0 0 0,0 0 0,14-14 16,-14-12-16,0 12 0,0 1 15,1 12-15,-14-12 0,13 13 16,-13 0-16,0-1 0,13 1 0,-13 0 16,-13 0-1,0 39-15,-14 1 16,14-14-16,0 0 16,0 0-16,13 0 0,-14 14 0,14-14 15,-13 0-15,13 1 0,0-1 0,0 0 16,0 0-16,0 1 0,13-14 15,1 13 1,-1-26-16,0 13 16,0 0-16,0 0 0,1-14 15,-1 14-15,0 0 0,-13 14 16,13-14-16,1 13 16,-1 0-16,-13 0 0,0 0 15,0 1-15,0 12 0,0-13 16,-13 14-16,13-1 0,-14 1 0,1-1 15,-13 1-15,12-1 16,1 1-16,0-14 0,0 13 0,-14-12 16,27-1-16,-13-13 0,13 13 0,-13-13 15,13-13 1,0-14-16,13 14 16,-13 0-16,13 0 0,14-14 0,-14 1 15,13-1-15,-12 14 0,-1-13 0,0 12 16,14 1-16,-27 0 0,26 0 15,-26-1-15,0 1 16,13 0-16,-13 0 0,14 13 16,-14-14-16</inkml:trace>
  <inkml:trace contextRef="#ctx0" brushRef="#br0" timeOffset="162171.56">13719 11430 0,'-14'13'31,"41"-39"-15,-14 13-16,-13-1 0,13 14 15,14-26-15,-14 13 0,-13-14 16,13 14-16,0 0 0,-13-1 16,14 1-16,-14 0 31,-27 26-31,27 0 15,-13 1-15,0-1 0,13 0 16,-13 0-16,13 1 0,-14 12 16,14-13-16,0 1 0,14-14 15,-14 13-15,13 0 0,0-13 16,0 0-16,0 0 0,1 0 16,-1-13-16,13 13 0,-12 0 15,12-13-15,-13 13 0,14-14 0,-14 14 0,27-13 16,-27 13-16,0 0 15,0 0-15,1 0 0,-1 0 0,0 0 16,-13 13-16,13-13 16,-13 14-16,0 12 15,0-13-15,-13-13 0,13 13 16,-13 1-16,13-1 0,-13-13 0,13 13 16,-14 0-16,14 1 0,-13-14 15,40-14 16,-14 14-31,0-13 16,-13 0-16,13 0 0,1 13 16,-1-14-16,-13 1 0,13 13 15,-13-13-15,13 13 0,-13-13 0,13 0 16,-26 39 31,13-13-47,0 0 0,0 1 15,0-1-15,0 0 16,13 0-16,1-13 16,-1 0-1,0 0-15,0-13 0,1 13 16,-1-13-16,0 13 0,-13-13 16,13 13-16,1-14 15,-1 14-15,-13-13 16,0 40 15,0-14-15,0 0-16,0 0 15,0 1-15,13-1 0,0 0 16,0-13-16,1 0 16,-1 0-16,0 0 0,0 0 15,1-13-15,-1 0 0,0 13 0,0-14 16,-13 1-16,13 0 0,1-14 0,-1 14 15,0-13-15,-13-1 0,13 14 16,1-13-16,-14 12 0,0 1 16,13 0-16,-13 0 0,0-1 0,0 1 15,-27 40 17,27-14-32,-13 0 0,13 0 15,-13 14-15,13-14 0,0 14 16,-13-14-16,13 0 0,0 13 0,0-12 0,13-1 15,-13 0-15,0 0 16,13 1-16,0-14 0,1 13 16,-1-26-16,0 13 15,0 0-15,1 0 0,-1 0 16,0-14 0,0 14-1,0 0-15,-13 14 16,14-14-16,-14 13 15,13-13-15,-13 13 16,13-13-16,-13 13 16,13-13-16,-13 14 15,14-14-15,-14 13 16,13-13 0,0 0-1,-13-13 1,13 13-16,1-14 15,-1 1 1,0 0-16,0 0 16,0 26 15,-13 0-15,0 0-16,0 1 15,0-1 1,14-13-16,-14 13 15,13-13 1,0 0 0,0 0-16,1 0 15,-1-13 1</inkml:trace>
  <inkml:trace contextRef="#ctx0" brushRef="#br0" timeOffset="162437.26">14962 11549 0,'13'-13'0,"-26"39"31,13-12-31,-13-1 15,13 0-15,-13-13 0,13 13 16,-14 0-16,1-13 0,13 14 16,-13-1-16,0-13 0,13 13 0,-13-13 15,-1 13-15,1 1 0,0-14 16</inkml:trace>
  <inkml:trace contextRef="#ctx0" brushRef="#br0" timeOffset="162612.76">15002 11404 0,'0'0'0,"0"-14"32,-13 28 14,13-1-46</inkml:trace>
  <inkml:trace contextRef="#ctx0" brushRef="#br0" timeOffset="163197.48">15081 11509 0,'13'0'16,"-13"14"-1,14-14-15,-14 13 16,0 0-16,0 0 15,0 1 1,0-1-16,0 0 16,13-13-16,0 0 15,0 0 1,1 0-16,-14-13 0,13 13 16,0-13-16,0 13 15,1-14 16,-1 14 1,-13 14-17,26-28 17,-13 14-1,-13-13-16,14 26 32,-28 1-47,1-14 16,-13 13-16,-1 0 0,-12 0 0,-14 14 16,-66 12-16,39-12 0</inkml:trace>
  <inkml:trace contextRef="#ctx0" brushRef="#br0" timeOffset="163712.51">10147 12118 0,'0'-13'0,"13"13"16,331-66-1,-265 66-15,14-14 16,13 1-16,-14 13 0,14-13 0,-13 13 15,13-13-15,-14 13 0,14 0 16,-13-14-16,-14 14 0,14 0 16,-14-13-16,-13 13 0,-13 0 0,0 0 15,-27 0-15,14-13 0,-27 13 16,1 0-16,-1 0 0,0 13 0,-39-13 16,-1 0-1,1 13-15,-27-13 0,13 14 0</inkml:trace>
  <inkml:trace contextRef="#ctx0" brushRef="#br0" timeOffset="164000.74">10306 12237 0,'-40'0'0,"80"0"0,-80 13 0,66-26 16,14 13-1,0 0-15,26-13 0,13 0 0,1-1 16,-1 14-16,14-13 0,-1 0 0,1 0 15,-1 13-15,1-14 0,0 1 16,-1 13-16,-12-13 0,-1 13 0,66-13 16,-92-1-16,0 14 0,-26 0 15,12 0-15,-25-13 0,12 13 0,-13 0 16,14 0-16,-14 0 0,0 0 16,0 0-16,-39 13 46,13-13-46,0 14 0,-1-14 16,-12 13-16,-1-13 0,1 13 0</inkml:trace>
  <inkml:trace contextRef="#ctx0" brushRef="#br0" timeOffset="166644.42">9181 13123 0,'0'0'0,"0"14"31,27-14 0,-14-14-31,13 14 16,-13-13-16,1 13 0,12-13 0,-13 0 16,14-1-16,-14 1 0,13 0 15,-12 0-15,-1 0 0,0-1 0,0-12 16,1 13-16,-1-1 0,-13-12 0,0 13 16,13-1-16,-13 1 15,0-13-15,0 13 0,0-1 0,0 1 16,-13 0-16,0 26 15,-1 0 1,1 1-16,0 25 0,0-12 0,-1 12 16,-12 1-16,13 0 0,-14 13 0,14 0 15,-13 13-15,12-13 0,-12 0 0,13-14 16,0 14-16,-1-26 0,1 12 16,0 1-16,0-14 0,-1 1 0,14-14 15,-13 0-15,13 1 0,-13-1 0,13 0 16,-13-13-1,13-13 1,0 0-16,13-1 16,-13 1-16,13 13 15,0-13-15,1 13 16,-1 0-16,0 0 0,0-13 0,14 13 16,-1-14-16,-13 1 0,14 13 15,-1-13-15,1 0 0,-1-14 0,1 14 16,-14 0-16,13 0 0,-12-1 0,-1 1 15,0 0-15,0 0 0,1-1 0,-14 1 16,13 0-16,0 13 0,-13-13 0,13 13 16,-13 13-1,0 0 1,-13 0-16,13 1 0,0-1 16,13 0-16,-13 0 0,13 14 15,1-14-15,-1-13 16,0 0-16,0 0 0,1-13 15,-1 13-15,13-13 0,-12-1 0,12 1 16,-13 0-16,14 0 0,-14-14 16,13 1-16,-12 13 0,-1-14 0,0 1 15,0-1-15,0 1 0,-13-1 16,14 14-16,-14-13 0,0 12 0,0 1 16,0 0-16,13 13 0,-13-13 15,0-1-15,-13 41 16,-1-14-1,14 14-15,-13 12 0,13 1 0,-13 0 16,13 26-16,-13-27 0,13 28 16,0-14-16,0-1 0,0 1 0,0 0 15,-13-13-15,13 0 0,0-1 16,0-12-16,0-14 0,0 13 0,0-12 16,0-1-16,0 0 0,0 0 0,-14-13 15,14-13 1,0 0-16,0 0 15,0-1-15,0 1 0,0 0 16,0 0-16,0 0 0,14-1 0,-14-12 0,13 13 16,0-14-16,0 1 0,14-1 15,-14 1-15,13-1 0,-12 1 16,12-1-16,1-12 0,-14 12 0,13 1 16,-13-14-16,14 14 0,-14-14 0,0 14 15,1-1-15,-14 1 0,13 12 16,-13 1-16,0 0 0,13 0 15,-13-1-15,-26 41 32,26-14-32,-14 14 0,1 12 15,13-25-15,0 12 0,0-13 16,0 14-16,0-14 0,0 13 0,0-12 16,13-1-16,-13 13 0,0-12 15,14-1-15,-14 0 16,13-13-16,-13 13 0,13-13 15,-26-26 1,13 13 0,-13-1-16,-1 1 15,1 13-15,13-13 0,-13 13 16,13-13 0,13-1-16,0 1 15,1 0 1,12 13-16,-13-13 0,14-1 0,-14 1 15,13 0-15,-12 0 0,-1 13 16,0-13-16,0-1 0,-13 1 16,-13 0-16,0 13 15</inkml:trace>
  <inkml:trace contextRef="#ctx0" brushRef="#br0" timeOffset="168025.78">7818 13150 0,'0'-13'0,"0"26"0,0-40 16,0 14 0,-13 40-1,13-1 1,0-13-16,0 14 0,0-1 0,0 27 16,0-13-16,0-1 0,0 1 15,0 0-15,13 0 0,-13-14 16,14 14-16,-1-14 0,-13 1 0,26 12 15,-12-26-15,-14 1 0,13-14 16,-13 13-16,0 0 0,13-13 16,-39 0-1,12-13-15,1 13 16,0-13-16,0-1 0,-1 14 0,1-13 16,0 13-16,0-13 0,0 13 15,13-13-15,-14 13 0,1-13 16,0-1-16,26 1 15,0 0 1,1 0-16,-1-1 0,0 1 16,13 0-16,-12 0 0,12 0 0,-13-1 0,1 1 15,12 0-15,-13 0 0,1-1 16,-1 14-16,0-13 16,-13 0-16,13 13 15,0-13 1,-13 26-1,0 0 1,0 0-16,14-13 0,-14 14 0,0-1 16,0 0-16,13-13 15,-13 13-15,0 1 0,13-14 0,-13 13 16,13-13-16,-13 13 0,14-13 16,-1 0-16,0 0 31,-13-13-31,13 13 0,-13-13 15,13-1-15,-13 1 16,14 0-16,-1 13 16,0 0-1,0 0 1,-13 13-16,14 0 16,-14 1-16,13-14 15,-13 13-15,13 0 16,0-26 15,-13 0-15,14 13-16,-14-14 0,0 1 15,13 0-15,-13 0 16,13-1 0,-13 1-16,13 13 15,0 0-15,-13-13 0,14 13 16,-14-13-1,13 13-15,-13-14 0,13 14 16,-13-13-16,13 0 16,1 26 31,-1 0-32,-13 1-15,0-1 16,0 0-1,0 0-15,13-13 16,0-13 15,1 13-31,-1-13 0,0 13 16,0-13-16,0 13 16,1 0-1,12-14 16,-13 14-31,1 0 0,-1 0 16,13 0-16,-13 0 16,14-13-16,-1 13 0,14-13 0,0 13 15</inkml:trace>
  <inkml:trace contextRef="#ctx0" brushRef="#br0" timeOffset="169197.22">11390 13494 0,'-13'26'31,"0"-26"-15,0-13 0,-1 13-16,14-13 0,0 0 0,-13-1 15,13-12-15,-13 13 0,13-14 0,-13-13 16,13 1-16,-14-1 0,14 0 16,0 1-16,0 12 0,0 1 0,0-1 15,14-12-15,-1-27 31,-13 52-31,0 54 32,-13-27-32,13 0 0,-14 14 0,1-1 15,0 14-15,-13-14 0,12 1 16,1-1-16,-13 1 0,12-1 0,-12 1 16,13-14-16,-14 0 0,14 0 0,0 1 15,0-1-15,-1 13 16,1-26-16,0 14 0,0-14 15,13 13-15,26-26 32,-13 13-32,27-14 15,-14 1-15,1 0 0,13 13 16,-1-13-16,1-1 0,0 1 0,39 0 16,-26 0-16,0 13 15,-13-13-15</inkml:trace>
  <inkml:trace contextRef="#ctx0" brushRef="#br0" timeOffset="169655.79">12343 12965 0,'0'0'0,"-27"0"0,14 0 16,0 0-16,0 13 0,-1-13 15,14 13-15,0 0 0,14-13 16,-14 14-16,13-1 15,0 0-15,0 0 0,14 0 0,-1 14 16,-13-14-16,1 0 0,12 14 0,-13-14 16,1 0-16,-1 14 0,0-14 15,-13 0-15,13 0 0,-13 1 0,0-1 16,-13 0-16,13 0 0,-13 1 0,0-1 16,-1 0-16,1 0 0,-13-13 15,12 13-15,-12 1 0,13-14 0,-14 13 16,1-13-16,13 0 0,-14 0 15,14 0-15,-13 0 0,12 0 16,-12 0-16,13-13 0,-1 13 16,28-27-1</inkml:trace>
  <inkml:trace contextRef="#ctx0" brushRef="#br0" timeOffset="170000.14">12753 13097 0,'-66'13'31,"53"-13"-15,-1 13-16,1 1 0,0-1 0,13 0 0,-13 0 15,-1 0-15,14 1 0,0-1 16,0 0-16,-13 0 0,26 1 0,-13-1 16,0 0-16,14 0 0,-1 1 15,0-1-15,0-13 0,1 13 0,12-13 16,-13 0-16,14 0 0,-14 13 15,0-13-15,14-13 0,-14 13 0,0 0 16,0 0-16,14 0 0,-14-13 0</inkml:trace>
  <inkml:trace contextRef="#ctx0" brushRef="#br0" timeOffset="170533.14">12925 13150 0,'0'-13'16,"13"39"31,-13-13-47,13 0 0,-13 1 15,0-1-15,0 0 0,0 0 0,0 1 16,0-1-16,0 0 0,-13 14 16,13-14-16,0 0 15,0 0-15,-13-13 16,26-26 0,-13 13-16,0-14 15,13 14-15,1 0 16,-14-14-16,26 1 0,-13-1 0,1 14 15,12-27-15,-13 27 0,0 0 16,1 0-16,-14-1 0,13 14 16,0-13-16,0 13 15</inkml:trace>
  <inkml:trace contextRef="#ctx0" brushRef="#br0" timeOffset="171691.99">13322 13123 0,'-13'-13'15,"-27"26"1,27 1 0,-1-14-16,1 13 0,0 0 0,0 0 15,-1-13-15,1 13 0,13 1 16,-13-14-16,13 13 0,0 0 16,0 0-16,13-13 15,0 0 1,14 0-16,-14-13 15,0 13-15,-13-13 0,14 13 16,-1 0-16,0-13 0,0 13 0,-13-14 16,14 14-16,-1 0 15,0 14 1,-13-1-16,13-13 0,0 13 16,1-13-16,-1 0 15,0 0-15,0 0 0,1 0 16,-1-13-16,0 13 0,0-13 15,1-1-15,-1 1 0,0-13 16,-13 13-16,13-1 0,-13-12 16,13-1-16,-13 14 0,0-13 0,0-1 15,14 1-15,-14 13 0,0-1 16,0 1-16,0 0 0,0 39 31,13-12-31,-13-1 16,0 0-16,0 14 0,0-1 15,0 0-15,0 1 0,0-14 0,0 14 16,0-1-16,0-13 0,0 0 16,0 1-16,-13-1 0,13 0 0,0 0 15,0 1-15,-14-14 16,1 0 0,0-14-1,13 1 1,13 0-16,-13 0 15,13-1-15,1 1 0,-1 0 16,0 0-16,0 13 0,1-13 0,-1-1 16,0 1-16,0 0 0,0 13 15,-13-13-15,14 13 0,-1-14 16,-13 41 31,-13-27-47,13 13 15,0 0-15,0 1 0,0-1 16,13-13-16,-13 13 16,13 0-1,0-13-15,1-13 16,-1 13-16,0 0 16,-13-13-16,13 0 0,1-1 0,-14 1 15,13 0-15,-13 0 16,0-14-16,13 14 0,-13 0 0,0-14 15,13 14-15,-13 0 0,0 0 0,0-1 16,0 1-16,0 0 16,-13 26-1,13 0 1,0 1-16,0-1 0,-13 0 0,13 0 16,0 1-16,0-1 0,0 0 15,0 0-15,0 0 0,0 1 0,0-1 16,0 0-16,13 0 0,-13 1 15,0-1-15,0 0 0,13 0 16,-13 0-16,13-13 16,-13 14-16,14-14 0,-1 0 15,0 0 1,0 0-16,1 0 0,-1 0 16,0 0-16,0 0 0,14 0 15</inkml:trace>
  <inkml:trace contextRef="#ctx0" brushRef="#br0" timeOffset="172900.36">14486 13057 0,'-13'-13'31,"-1"26"-15,14 0-16,0 1 15,-13-1-15,13 0 0,0 0 16,13 1-16,-13-1 0,0 0 16,14-13-16,-14 13 0,13-13 15,0 0-15,-13 13 0,13-13 0,1 0 16,-1-13-16,0 13 0,0 0 16,1-13-16,-1 13 0,0 0 15,0 0-15,0 0 16,1 13-16,-14 0 15,0 1-15,0-1 0,0 0 16,0 14-16,0-1 0,-14 1 16,14 12-16,-13-12 0,0-1 15,13 1-15,-13-1 0,13-13 0,-13 14 0,-1-14 16,14 0-16,-13 0 0,0 1 16,0-41-1,26 14 1,-13 0-16,0-14 0,26-26 15,-12 14-15,-1 12 16,0-12-16,0 12 0,14-13 16,-14 1-16,0 25 0,0 1 0,-13-13 15,14 13-15,-14-1 16,-27 41 15,27-14-31,-13 0 16,13 0-16,0 1 15,0-1-15,0 0 0,13-13 16,-13 13-16,13-13 0,1 14 0,-1-14 16,0 0-16,0 0 15,1 0-15,-1 0 0,13-14 16,-13 1-16,1 0 0,-1 0 16,-13-1-16,13 1 0,-13-13 15,-13 13 1,13-1-16,-13 14 0,13-13 15,-14 13-15,-12 0 16,13 0-16,0 0 16,-1 13-16,14 1 15,0-1 1,14-13-16,-1 0 0,0 0 16,0 0-16,0 0 15,1 0-15,-1 0 0,0 0 0,0-13 16,1 13-16,-1 0 0,0-14 15,0 14-15,0 0 16,1 0 0,-1 0-16,0 0 31,-13 14-31,0-1 16,13 0-1,-13 0-15,14-13 0,-1 0 16,0 13-16,14-13 15,-14-13 1,0 13-16,0 0 16,0-13-16,1 13 15,-1 0-15,0 0 32,0 0-17,-13 13 1,14-13-16,-1 0 31,0 0-31,0 0 16,-13-13-1</inkml:trace>
  <inkml:trace contextRef="#ctx0" brushRef="#br0" timeOffset="173193.25">15319 13044 0,'14'0'32,"-14"26"-17,0-12-15,0-1 16,0 13-16,0-12 16,0-1-16,-14 0 15,14 0-15,14-13 16,-1-13 15,0 0-31,0 0 16,1 13-16,-14-14 0,13 1 0,-13 0 15,13 13-15,-13-13 0,13 13 0,-13-14 16,13 14-16,-13-13 0,14 13 16,-1 0-16,0-13 0,0 13 0,1 0 15</inkml:trace>
  <inkml:trace contextRef="#ctx0" brushRef="#br0" timeOffset="179865.22">15981 12951 0,'13'-26'0,"-13"13"15,0-1-15,0 41 32,-13-14-17,13 0-15,-13 1 0,13-1 16,-14 13-16,14 1 0,0-14 0,-13 13 16,13-12-16,-13 12 0,13-13 0,0 1 15,0-1-15,-13 0 0,13 0 16,0 0-16,0 1 0,0-1 15,0 0-15,13-13 16,0-13 0,-13 0-16,13 13 15,1-14-15,-1 1 0,0 13 16,0-13-16,1 13 16,-1 0-1,-13 13-15,13-13 0,0 13 16,0 1-16,1-14 15,-14 13-15,13-13 0,-13 13 16,13-13-16,0 0 0,1 0 16,-1-13-16,0 13 0,0 0 0,0-13 15,1-1-15,-1 1 16,0 0-16,-13 0 16,13 13-16,-13-13 0,0-1 0,0 1 31,-13 13-16,0 13-15,0-13 16,13 14-16,-14-1 0,14 0 16,14 0-16,-1 0 15,0-13 1,0 0-16,1 0 0,-1 0 16,0 0-16,0 0 0,14 0 0,-14-13 0,0 13 15,14-13-15,-14 13 0,0 0 16,0-13-16,1 13 15,-1 0-15,0 0 0,-13 13 32,-13 0-1,26-13-15,0 0-1,1 0 1,-1 0-16,-13 13 15,13-13-15,-13 14 16,13-14 0,0 13-1,14-13-15,-27-13 16,13 13-16,14-14 0,-14 14 16,0-13-16,0 13 0,1-13 0,-1 0 15,0 0-15,0-1 0,0 1 16,-13 0-16,14 0 0,-1-14 15,0 14-15,-13 0 0,13 0 0,-13-1 16,0 1-16,14 0 0,-14 0 16,-14 39-1,1 1 1,13-1-16,-13-13 0,13 0 16,0 1-16,-13-1 0,13 0 0,0 0 15,0 14-15,0-14 0,0 0 16,0 0-16,0 1 15,0-1-15,13-13 0</inkml:trace>
  <inkml:trace contextRef="#ctx0" brushRef="#br0" timeOffset="180265.93">16775 13176 0,'0'0'0,"0"-13"16,-27 26 0,14 0-1,0-13-15,13 14 0,-14-14 16,14 13-16,-13-13 0,13 13 15,0 0-15,-13 1 0,26-14 16,-13 13 0</inkml:trace>
  <inkml:trace contextRef="#ctx0" brushRef="#br0" timeOffset="181057.16">6297 13375 0,'40'-14'15,"-27"14"-15,13 0 16,1-13-16,13 13 0,-1-13 0,14 13 16,-13-13-16,13 13 0,-13-13 0,12 13 15,1-14-15,-13 14 0,13 0 16,-13-13-16,13 13 0,-14 0 0,-12 0 16,-1-13-16</inkml:trace>
  <inkml:trace contextRef="#ctx0" brushRef="#br0" timeOffset="181357.4">6906 13123 0,'13'27'31,"0"-27"-31,-13 13 0,13 0 16,1 0-16,-1 14 0,0-14 15,0 0-15,0 14 0,-13-14 16,14 14-16,-14-14 0,0 13 0,0-13 16,0 14-16,0-14 0,0 14 0,-14-1 15,1-13-15,0 27 0,0-27 0,0 14 16,-1-14-16,1 0 0,-13 14 16,12-14-16,1 0 0,0-13 15,0 13-15,-1-13 0,1 0 16,13 13-16,-13-13 15</inkml:trace>
  <inkml:trace contextRef="#ctx0" brushRef="#br0" timeOffset="183848.35">9604 13904 0,'40'0'16,"-13"0"-16,12 0 16,27-13-16,0 13 0,27 0 0,-14 0 15,27 0-15,27-14 0,12 14 16,-13-13-16,27 0 0,0 13 0,0-13 15,13-1-15,13 1 0,0 13 16,0-13-16,225 0 0,-211 13 16,-1-13-16,-13 13 0,1 0 15,-14 0-15,0 0 0,119 0 16,-186 0-16,-12 13 0,-14-13 0,-26 0 16,-13 0-16,0 13 0,-27-13 15,0 0-15,-66 13 16,0-13-16,-26-13 0,-14 13 15</inkml:trace>
  <inkml:trace contextRef="#ctx0" brushRef="#br0" timeOffset="184163.4">10094 13904 0,'66'0'0,"13"-13"0,305-1 15,-225 1 1,13 13-16,13-13 0,0 13 0,14-13 16,-14 13-16,0-14 0,13 14 15,-12 0-15,-14 0 0,0-13 0,-14 13 16,1 0-16,-13 0 0,-41 0 0,15 0 16,-15 0-16,-12 0 0,0 0 0,-14 0 15,-13 0-15,-13 0 0,0 0 0,-27 0 16,1 0-16,-1 0 0,-12 0 15,-1 0-15,-40-13 32,14 13-32,0 0 0,0 0 0,-14 0 15,1-13-15,12 13 0,-12 0 16</inkml:trace>
</inkml:ink>
</file>

<file path=ppt/ink/ink28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3:09:19.605"/>
    </inkml:context>
    <inkml:brush xml:id="br0">
      <inkml:brushProperty name="width" value="0.05292" units="cm"/>
      <inkml:brushProperty name="height" value="0.05292" units="cm"/>
      <inkml:brushProperty name="color" value="#0070C0"/>
    </inkml:brush>
  </inkml:definitions>
  <inkml:trace contextRef="#ctx0" brushRef="#br0">2447 3506 0,'14'0'78,"39"0"-78,13 0 16,26 0-16,41 0 16,105 0-16,-13 0 15,66 0-15,26 0 16,54 0-16,171 26 15,-66 1 1,-13-27-16,119 0 0,-79 26 16,225 1-16,-226-14 15,-39-13-15,14 0 16,-81 0-16,28 0 16,-199 0-16,-67 0 15,-38 0 1,-15 13-16,-52-13 0,-26 0 15,-14 0 1,0 0-16</inkml:trace>
  <inkml:trace contextRef="#ctx0" brushRef="#br0" timeOffset="1132.1">12938 3413 0,'80'0'110,"25"0"-95,28 0-15,25 13 16,94 1-16,145-14 15,-80 0-15,-92 0 16,92 0-16,-25 0 16,-1 0-1,-146 0-15,-92 0 16,-27 0-16</inkml:trace>
  <inkml:trace contextRef="#ctx0" brushRef="#br0" timeOffset="2464.96">1945 4167 0,'26'0'78,"67"0"-63,26 0-15,40 0 16,-1 0-16,1 0 16,40 0-16,-94 0 15,67 0-15,-39 0 16,52 0-16,-26 0 15,-40 0 1,26 0-16,-65 0 16,277 0-16,-225 0 0,-26 0 15,0 0-15,-27 0 16,27 0-16,-80 0 16,-12 0-16,-1 0 15,0 0 95</inkml:trace>
  <inkml:trace contextRef="#ctx0" brushRef="#br0" timeOffset="4515.95">6099 4114 0,'39'0'141,"-12"0"-141,39 0 15,0 0-15,66 0 16,14 0 0,13 0-16,26 0 0,0 0 15,27 0-15,118 0 16,-118 0-16,53-26 16,26 26-1,106 0-15,-67 0 0,-52 0 16,-13 0-1,-54 0-15,14 0 0,-66 0 16,0 0-16,-27 0 16,-26 0-16,66 0 15,-106-13 1,-53 13-16,1 0 0,-1 0 16</inkml:trace>
  <inkml:trace contextRef="#ctx0" brushRef="#br0" timeOffset="9214.43">4299 9525 0,'0'79'31,"27"67"-15,13 26-16,26 66 16,26 119-16,-39-53 15,-13-26-15,-27-53 16,-13 66-16,0-66 15,0-40-15,0-13 16,0 0-16,0 27 16,0-107-16,0-52 15,0-27-15,0-26 63,-26-133-63,-1 27 15</inkml:trace>
  <inkml:trace contextRef="#ctx0" brushRef="#br0" timeOffset="10608.93">4101 9406 0,'79'0'78,"54"0"-78,39 0 16,39 0-16,41 0 16,105 0-16,-66 0 15,106 0-15,0 0 16,105 0-16,41 0 16,-186 0-16,-159 0 0,93 0 15,80-13 1,-239-1-16,0 1 15,-65 0-15,-1 0 16,-53 13-16,0 0 16,0 0 31,1 0-47,12-13 15,54-1-15,12 1 16,14 0-16,-13 13 15,12 0-15,1-13 16,-40 13 0,14 0-16,26-14 15,-54 14-15,-38 53 94,12 53-78,27 132-16,-26 27 15,39 119-15,-27-107 16,54 279-16,-40 26 16,13-132-16,-26-106 15,-1-106-15,-25-53 16,12 66-16,-26-145 15,13-40-15,1-26 16,-14-13-16,0-1 16,0-13-16,0 1 15,0-1-15,0 0 16,0 0 0,-14 14 15,-39-14-31,14 0 15,-27 0-15,-67 1 16,-39-14-16,-66 0 16,-93 0-16,-65-14 15,-147 1-15,1-13 16,-199-54-16,132 27 16,27 27-16,106 13 15,-106-14-15,238-12 16,93 25-16,65-25 15,81 25-15,65 1 16,27 13-16</inkml:trace>
  <inkml:trace contextRef="#ctx0" brushRef="#br0" timeOffset="11830.22">11351 9697 0,'0'93'63,"0"79"-63,39 158 15,27 160-15,93 79 16,-40-80-16,-53 146 16,40 132-16,-13-277 15,-14-1-15,-39-436 16,-14-53-16,-12 0 15,25 0-15,-12 0 16,-27-53 47,0-52-63,0-41 15,0 14 1,0-14-16</inkml:trace>
  <inkml:trace contextRef="#ctx0" brushRef="#br0" timeOffset="13313.02">11046 9565 0,'0'13'47,"27"0"-32,-1 14 1,67 12 0,13 1-16,39-27 15,14 14-15,39-14 16,14-13-16,106 0 15,52 0-15,-13 0 16,40 0-16,13-27 16,133 1-16,-147 0 15,-52 12-15,-53-12 16,-66 13 0,80-27-16,-107 27 0,-52-1 15,12 14-15,-25 0 16,65 0-16,-79 0 15,-40 0-15,54 0 16,12 0-16,93 0 16,-171 0-16,25 0 15,-52 0-15,39 0 16,1 0 0,-14 0-16,-13 0 15,-27 0-15,14 0 16,-27 0-16,0 0 15,1 0 1,-14 14 62,39 92-62,1 26-16,13 106 15,26 79 1,-26 1-16,-13-53 0,-1 39 16,-39-79-16,27 105 15,-14-105-15,0-26 16,-13-27-16,27-27 16,-14 27-16,0-26 15,1-67 1,-1-39-16,-13-14 15,13 14-15,-13-14 16,0 1-16,0-14 16,0 0-16,0 1 15,0-1 1,0 0 0,-13 0-16,-27 0 15,-39 40-15,-67-53 16,-92 14-16,-93-14 15,-92 0-15,53 0 16,-133 0-16,-198-80 16,145 1-16,120 66 15,-80-40-15,39 13 16,-184-39-16,-1-1 16,252 41-1,80 25-15,65-12 16,-66 13-16,159-1 0,27 1 15,26 13-15,39-13 16,41 13-16</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6:54.598"/>
    </inkml:context>
    <inkml:brush xml:id="br0">
      <inkml:brushProperty name="width" value="0.025" units="cm"/>
      <inkml:brushProperty name="height" value="0.025" units="cm"/>
      <inkml:brushProperty name="ignorePressure" value="1"/>
    </inkml:brush>
  </inkml:definitions>
  <inkml:trace contextRef="#ctx0" brushRef="#br0">53 0,'-4'3,"1"-1,-1 1,1 0,0 0,-1 0,1 0,1 0,-1 1,0-1,1 1,0 0,0 0,0 0,0 0,1 0,0 0,-2 7,3-9,-1 0,1-1,-1 1,1 0,0 0,0 0,0-1,0 1,0 0,0 0,1 0,-1-1,1 1,-1 0,1-1,-1 1,1 0,0-1,0 1,0-1,0 1,0-1,0 1,0-1,1 0,-1 1,0-1,1 0,-1 0,1 0,-1 0,1 0,0-1,-1 1,1 0,0-1,-1 1,1-1,0 0,0 1,0-1,-1 0,3 0,-2 0,0 0,-1 0,1 0,-1 0,1-1,-1 1,1 0,0-1,-1 1,1-1,-1 1,0-1,1 0,-1 0,1 0,-1 0,0 1,0-2,0 1,1 0,-1 0,0 0,0 0,-1-1,1 1,0-1,0 1,-1 0,1-1,0 1,-1-1,0 0,1 1,-1-1,0 1,0-1,0 1,0-1,0-3,0 2,0 1,-1-1,1 0,-1 0,0 0,1 0,-1 1,0-1,-1 0,1 1,0-1,-1 1,0 0,1-1,-1 1,0 0,0 0,0 0,0 0,-1 0,1 1,-3-3,-31-4,19 7</inkml:trace>
</inkml:ink>
</file>

<file path=ppt/ink/ink29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3:09:42.811"/>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FFFF"/>
    </inkml:brush>
  </inkml:definitions>
  <inkml:trace contextRef="#ctx0" brushRef="#br0">12621 2725 0,'66'13'219,"93"1"-203,105-14-16,107 26 15,105-13-15,132-13 16,107 27-16,-1-27 16,14 26-16,-54-26 15,-25 27-15,-67-40 16,-40 13-16,-39-27 16,-27 14-16,-79 13 15,-133-27-15,-105 14 16,-53 0-1,-53 0-15,-53-53 625,0 13-625,-13-14 16,-14 15-16,1-15 16,13 28-16,-1-1 15,1 14-15,13-1 16,-13 1-16,0 12 16,-14-12-16,27-1 15,-13 14-15,0 0 16,13 0-1,-13-14-15,-1 14 16,14-27 0,-26 27-16,13-26 15,13 12-15,-14 1 16,14 12-16,-13 1 16,0 13 155,-27 0-155,-79 0 0,-26 0-16,-1 0 15,-26 0-15,-66 0 16,-225 0-16,66 0 16,-79 0-16,13 0 15,-146 0-15,173-13 16,39 13-16,0 0 15,80 0-15,-120 0 16,106-27-16,40 27 16,-40 0-1,146-13-15,-53 13 16,79 0-16,40 0 16,53 13-16,13 1 15,0-1-15,40-13 0,0 0 16,0 0-1,-1 0 1,-12 0 0,13 0-1,-14 0-15,-12 0 16,-1 0-16,-13 0 16,-13-13-16,13 13 15,-13 0-15,13-27 16,0 27-16,-40-13 15,1 0-15,26 13 16,-14 0-16,14 0 16,-40 0-16,27 0 15,26 0-15,-13-13 16,0 13-16,13 0 16,0 0-16,40 0 15,-1 0-15,-12 0 16,13 0-1,-14 0-15,14 0 16,-13 0-16,12 0 16,-12 0-16,13 0 15,-1 0-15,-25 0 16,25 0 0,1 0-16,0 0 15,0 0 16,0 0 32,13 13-47,-14-13-16,1 0 15,-13 39-15,26-12 16,0-1-16,-14 1 15,14 13-15,-13 26 16,0 0-16,13-13 16,-13 0-16,-1 0 15,14 39-15,0-39 16,0 0-16,0 0 16,0-13-1,0-1-15,0 1 16,0-14-16,0 14 0,0-13 15,0-14-15,0 0 16,0 0 0,0 1-1,0-1 17,27-26 93,39-1-110,0-12-15,14 26 16,12-13-16,-12 13 15,25-14-15,41 1 16,119 13-16,-186 0 16,-13 0-16,-39 0 15,-14 0 1</inkml:trace>
  <inkml:trace contextRef="#ctx0" brushRef="#br1" timeOffset="10532.03">14949 4921 0,'0'-26'0,"13"13"31,-39 39-16,12-13 1,1 0-16,-13 14 0,-1-1 0,-12 1 16,-1 13-16,-13-14 0,13 14 0,1-14 15,-1 14-15,0-14 0,1 1 0,-1-1 16,13 1-16,1-14 0,0 13 16,-1-12-16,1 12 0,12-13 0,1-13 15,0 14-15,0-14 0,0 13 0,26-26 31,0-1-31,0 1 16</inkml:trace>
  <inkml:trace contextRef="#ctx0" brushRef="#br1" timeOffset="10781.93">15055 4895 0,'13'0'0,"0"13"16,-26 0-1,0 0-15,0 14 0,-1-1 0,-12 1 16,-14 13-16,0-1 0,1-12 0,-1 12 16,0 1-16,1 0 0,-54 26 15,53-26-15,1-14 16,-14 27-16,26-27 0,1-12 16,-14 12-16,27-13 0,0 1 15,13-1-15,-13-13 0,-1 13 16</inkml:trace>
  <inkml:trace contextRef="#ctx0" brushRef="#br1" timeOffset="11541.1">15478 4908 0,'-26'0'0,"52"0"0,-66 0 16,27 0-16,0 0 0,0 0 16,0 0-1,39 0 32,0 13-47,-12-13 0,12 0 16,1 0-16,12 0 0,-12 0 0,26 0 15,-14 0-15,14 0 0,-13 0 0,0 0 16,-1 0-16,1 13 0,-14-13 16,14 0-16,-13 0 0,-14 0 0,13 0 15,-12 0-15,12 0 0,-13 0 0,0 0 16,1 0-16,-1 0 0,13 0 16,-12 0-1,-1 0 1,-13-13-1,-13 0 17</inkml:trace>
  <inkml:trace contextRef="#ctx0" brushRef="#br1" timeOffset="11886.08">15981 4762 0,'26'0'15,"-12"0"1,-1 0-16,0 14 0,0-14 16,0 13-16,14-13 0,-14 13 15,0 0-15,14-13 0,-14 14 0,0-1 16,14-13-16,-14 13 0,0 0 0,0-13 15,1 14-15,-1-1 0,0-13 0,-13 13 16,13-13-16,1 13 0,-14 0 16,0 1-16,0-1 0,0 0 15,-14 0-15,14 1 16,-13-1-16,0 0 0,0 0 0,-1 1 16,1-1-16,0 0 15,13 0-15,-13-13 0,13 13 16</inkml:trace>
  <inkml:trace contextRef="#ctx0" brushRef="#br1" timeOffset="12166.84">16880 4815 0,'-13'27'31,"13"-1"-15,-13-12-16,13-1 0,-13 0 16,13 13-16,-13-12 0,13-1 0,0 13 15,-14-12-15,14-1 0,0 0 16,0 0-16,-13 1 0,13 12 15,-13-13-15,13 0 0,-13 1 16</inkml:trace>
  <inkml:trace contextRef="#ctx0" brushRef="#br1" timeOffset="12348.98">16775 4670 0,'0'-13'0,"0"-1"0,-14 14 32</inkml:trace>
  <inkml:trace contextRef="#ctx0" brushRef="#br1" timeOffset="12883.83">16947 4815 0,'0'14'0,"0"-28"0,0 41 16,0-14-16,0 0 0,0 1 15,0-1-15,0 0 0,0 0 16,-14 0-16,14 1 16,0-1-16,0 0 15,0 0 1,14-26 0,-1 13-16,0-13 15,0 13-15,0-13 16,1 13-16,-1 0 0,-13-14 15,13 14-15,0 0 0,1 14 16,-1-14-16,0 0 16,-13 13-16,13 0 15,-13 0 17,27-26 14,-14 13-46,0-13 16,0 13-16,1 0 16,-1 0-16,0 0 15,-13 13-15,13-13 0,1 0 0,-1 13 16,0-13-16,-13 14 16,13-14-16,1 13 15,-1-13-15</inkml:trace>
  <inkml:trace contextRef="#ctx0" brushRef="#br1" timeOffset="13345.99">17489 4696 0,'0'-13'0,"-13"40"31,13-14-31,0 13 0,-14 1 0,14 12 16,-13 1-16,13 0 0,-13-1 16,0 1-16,0 0 0,-1 0 0,1-1 15,0 1-15,-14 26 0,27-39 16,-13-1-16,0 0 0,0-12 16,13 12-16,-13 1 0,-1-14 15,14 0-15,-13 0 16,13 1-16,0-54 31,0 27-31,13-14 0,1 1 16,-1-14-16,0 0 0,13 1 15,-12-1-15,-1 0 0,13 1 0,-12 12 16,-1 1-16,0 12 0,-13-12 16,13 13-16,0-1 0,-13 1 15,14 13-15,-1 13 16,-13 1-1,-13-1-15,13 0 16,-14 0-16,14 1 0,-13-1 0,13 0 16,-13 0-16,0 1 0,13-1 0,-13 0 15,-1 0-15,14 0 0,-13 1 16</inkml:trace>
  <inkml:trace contextRef="#ctx0" brushRef="#br1" timeOffset="13753.94">17926 4815 0,'-40'-13'0,"27"13"16,-1 13-16,-12-13 15,26 14 1,-13-14-16,13 13 0,13 0 16,0 14-16,-13-14 15,13 0-15,1 0 0,-1-13 16,0 13-16,0 1 0,1-1 0,-1 0 16,0 0-16,-13 1 0,13-1 0,0-13 15,-13 13-15,0 0 0,14-13 16,-14 14-16,0-1 0,0 0 15,-14 0-15,1 0 16,0-13-16,-13 14 16,12-14-16,1 13 15,0-13-15,-14 0 16,14 0 0,0 0-16,0-13 31</inkml:trace>
  <inkml:trace contextRef="#ctx0" brushRef="#br1" timeOffset="14420.96">17661 4895 0,'-13'-13'16,"-1"39"-1,1-13 1,0 0-16,13 1 0,0-1 0,-13 0 16,13 0-16,0 1 0,0-1 15,0 0-15,13 0 0,-13 1 0,13-1 16,0 0-16,1 0 15,12-13-15,1 0 0,-14 0 16,0 0-16,0 0 0,1 0 0,-14-13 16,13 13-16,0-13 0,0 0 15,-13-1-15,0 1 0,13 0 16,-13 0-16,0-1 0,0 1 16,-13 0-16,13 0 0,0-1 0,-13 14 15,13-13 1,-13 0-16,0 13 15,-1 13-15</inkml:trace>
  <inkml:trace contextRef="#ctx0" brushRef="#br1" timeOffset="14946.18">18230 4802 0,'0'0'15,"-40"0"-15,27 13 0,-14-13 0,14 14 16,0-1 0,13 0-16,0 0 15,13 1-15,-13-1 0,13 0 0,-13 0 16,14 0-16,-1 1 0,0-1 15,-13 0-15,13 0 0,14 14 16,-27-14-16,13 0 0,-13 1 16,13-1-16,-13 0 0,-13-13 0,13 13 15,0 0-15,-13-13 0,0 14 16,-1-1-16,1 0 0,0-13 16,0 13-16,-1-13 0,1 14 0,-13-14 15,13 13-15,-1-13 0,1 0 16,13-13-1,13-1 1,1 1-16,-1 0 0,0 0 0,13-1 16,-12 1-16,12 0 0,-13-13 15,14 12-15,-14 14 0,0-13 0,0 0 16,1 13-16,-1-13 0,0 13 0,0-14 16,1 14-16,-1 0 15,-13 14-15,13-14 0,-13 13 16,13 13-1,-13-12-15,-13-1 0,13 0 16,0 13-16,0-12 0,0-1 16,-13 0-16,13 0 0,0 1 0,0-1 15</inkml:trace>
  <inkml:trace contextRef="#ctx0" brushRef="#br1" timeOffset="15095.98">18508 4882 0,'0'0'0,"0"-14"0,-14 1 15,1 13 1,0 0-16</inkml:trace>
  <inkml:trace contextRef="#ctx0" brushRef="#br1" timeOffset="15528.08">18693 4696 0,'0'0'0,"0"27"16,0-14 0,0 13-16,-13 1 15,13-1-15,-14 14 0,1 0 0,0-1 16,0 1-16,-14 0 0,14 0 0,0-14 15,-14 27-15,27-40 0,-13 0 16,13 1-16,-13-1 0,13 0 16,0 0-16,0-39 31,13 13-31,0-1 16,1 1-16,38-27 0,-38 14 15,-1 13-15,27 0 0,-27 13 16,-13-14-16,13 14 0,0 0 15,0 14-15,1-1 16,-1-13-16,-13 13 0,0 0 0,0 0 16,13 1-16,-13-1 0,0 0 0,-13 0 15,13 1-15,0-1 0,0 0 0,-13 0 16,13 1-16,-14-14 0,1 26 16,0-13-16,0-13 15,0 0-15,-1 0 16,14-13-16,0 0 15,14 0-15,-14-14 0</inkml:trace>
  <inkml:trace contextRef="#ctx0" brushRef="#br1" timeOffset="15856.9">19024 4683 0,'26'-40'0,"-13"27"16,0 0-16,1 13 0,-14-13 15,0 39 1,-14-13-1,1 14-15,0 13 0,0-14 0,-14 27 16,1-27-16,13 14 0,-27 39 16,27-52-16,-1 13 0,14-14 15,0-13-15,-13 1 0,13-1 0,13 13 16,1-26-16,12 0 16,-13-13-16,14 0 15,-14 0-15,14-1 0,-14 1 16,0 0-16,13 0 0,-12-1 15,-1 1-15,0 13 16,-26 27 0,13-14-16,0 0 15,0 0-15,0 1 16,0-1-16,13-13 0,-13 13 16,13-13-16,1 0 0,-14 13 15</inkml:trace>
  <inkml:trace contextRef="#ctx0" brushRef="#br1" timeOffset="15996.13">19539 5040 0,'0'-13'0,"-13"13"31,0 0-31,0 0 0</inkml:trace>
  <inkml:trace contextRef="#ctx0" brushRef="#br1" timeOffset="18370.08">11060 4326 0,'-14'40'47,"14"-27"-47,0 0 0,-13 0 16,13 14-16,0-14 0,-13 13 0,13-12 15,-13 12-15,13-13 0,0 14 0,0-14 16,-14 0-16,14 14 0,0-14 16,-13 0-16,13 0 0,0 1 15,13-1-15</inkml:trace>
  <inkml:trace contextRef="#ctx0" brushRef="#br1" timeOffset="18574.8">11205 4379 0,'13'-27'16,"-13"14"-16,0 0 0,0 0 31,14 39-31,-14-13 16,0 1-16,0-1 0,0 13 0,0-12 15,0 12-15,0-13 0,0 14 16,0-14-16,0 13 0,0-12 0,13 12 16,-13-13-16,0 1 0,0-1 15,13 0-15,-13 0 0,0 0 0</inkml:trace>
  <inkml:trace contextRef="#ctx0" brushRef="#br1" timeOffset="18769">10993 4511 0,'14'-13'31,"-1"13"-15,0 0-16,0 0 0,1 0 15,-1-13-15,13 13 0,14 0 16,-27 0-16,0 0 0,14 0 15,-14 13-15,0-13 0</inkml:trace>
  <inkml:trace contextRef="#ctx0" brushRef="#br1" timeOffset="19817.84">11589 4392 0,'-13'-13'0,"-1"13"15,1 13 1,0-13-1,13 13-15,-13 1 0,-1-1 16,14 0-16,0 0 0,-13 0 16,13 1-16,0-1 15,13 0-15,-13 0 16,14 1-16,-1-14 31,0-14-31,0 1 16,-13 0-1,0 0-15,14 13 0,-14-14 0,0 1 16,0 0-16,0 0 16,13 0-16,-13-1 15,0 28 32,0-1-47,13 0 16,-13 0-16,13 0 31,14-13 0,-14-13-15,0 13-16,0 0 16,1 0-1,-1 0-15,0 0 16,0 0-1,-13 13-15,14-13 16,-1 0-16,-13 14 16,13-14-1,0 0 17,0 0-17,1 0 16,-1 0-15,0 0-16,-13-14 0,13 14 0,1 0 16,-1 0-16,-13-13 0,13 13 15,0-13-15,0 0 0</inkml:trace>
  <inkml:trace contextRef="#ctx0" brushRef="#br1" timeOffset="20125.63">12065 4326 0,'0'26'31,"0"-12"-31,0-1 16,0 0-16,0 0 15,0 1-15,13-1 16,-13 0 0,-13-13-1,0 0-15,0 0 16,-1 0-16,1 0 15,13 13-15,-13-13 0,0 0 0,-1 13 16,1-13 0,26 14 15,1-14-31,-1 0 0,0 0 16,0 13-16,1-13 0,-1 0 15,13-13-15,-13 13 0,1 0 0,12 0 16,-13 0-16</inkml:trace>
  <inkml:trace contextRef="#ctx0" brushRef="#br1" timeOffset="20624.05">12528 4326 0,'-13'0'16,"26"0"-16,13-13 31,-12 13-16,-1 0-15,0-14 0,0 14 0,1-13 16,-1 13-16,-13-13 0,13 13 16,0-13-16,1 13 0,-1-13 15,-13 39 17,0-13-17,0 0-15,0 1 0,0-1 16,0 0-16,0 0 15,0 1-15,0-1 0,13 0 0,-13 0 16,13 1-16,-13-1 0,0 0 0,13 0 16,1 0-16,-14 1 15,13-14-15,-13 13 0,13 0 16,0-13 0,1 13-16,-1-13 15</inkml:trace>
  <inkml:trace contextRef="#ctx0" brushRef="#br1" timeOffset="21922.74">10319 5543 0,'0'-13'0,"0"52"31,0-25-31,0-1 16,0 13-16,0-12 0,0-1 0,0 0 15,0 0-15,0 14 0,0-14 0,0 0 16,0 0-16,0 1 0,0-1 15,0 0-15,0 0 0,0 1 16,0-1-16,-27-40 31,27 14-15,0 0-16,0 0 0,0-14 16,0 14-16,0-13 0,0-1 0,0 1 15,0-1-15,14 14 0,-14-14 16,13 14-16,-13 0 0,13 0 0,-13 0 15,13-1-15,0 14 0,-13-13 0,14 13 16,12 13 0,-13-13-16,-13 14 0,0-1 15,0 13 1,0-13-16,-13 1 0,0-1 16,13 0-16,-13 0 15,-1-13-15,14 14 0,-13-14 0,13 13 16,-13-13-16,13 13 0,-13-13 15</inkml:trace>
  <inkml:trace contextRef="#ctx0" brushRef="#br1" timeOffset="22217.14">10755 5318 0,'-53'40'31,"40"-14"-31,-13 1 0,12-1 16,1 1-16,0 12 0,0-12 15,-14 39-15,14-40 0,13 1 16,0 13-16,0-27 0,0 0 15,0 13-15,13-12 0,-13-1 16,14 0-16,-1 0 0,0-13 0,-13 14 16,13-14-16,0 0 0,1 0 15,-1 0-15,0 0 0,0 0 16,1 0-16,12-14 0,-13 14 16,1 0-16</inkml:trace>
  <inkml:trace contextRef="#ctx0" brushRef="#br1" timeOffset="22632.77">10927 5490 0,'40'-13'31,"-27"13"-31,14-13 16,-14 13-16,13 0 0,-12 0 16,-1 0-16,0 0 0,0 0 15,14 0-15,-14-14 0,0 14 0,0 0 16,1 0-16,-1 0 0</inkml:trace>
  <inkml:trace contextRef="#ctx0" brushRef="#br1" timeOffset="22820.74">11139 5437 0,'-13'0'16,"-40"53"-1,53-40-15,-13 1 16,13-1-16,0 0 0,-14 0 15,14 14-15,-13-14 0,13 0 0,0 0 16,-13 1-16,13-1 0,0 13 0,-13-12 16,13-1-16,0 0 15,-14 0-15</inkml:trace>
  <inkml:trace contextRef="#ctx0" brushRef="#br1" timeOffset="23161.96">11284 5530 0,'-13'13'31,"0"0"-31,13 0 0,-13 1 15,13-1-15,-13-13 0,13 13 0,-14 14 16,14-14-16,0 0 16,0 0-16,-13-13 0,13 14 15,0-1-15,13 0 16,1 0 0,-1-13-1,13 0 1,-26-13-16,13 13 0,1 0 0,-1 0 15,0 0-15,0-13 0,1 13 16,25-13-16</inkml:trace>
  <inkml:trace contextRef="#ctx0" brushRef="#br1" timeOffset="23807.8">11919 5662 0,'-39'0'31,"26"-13"-15,13 0-16,-14-1 16,1 1-16,13 0 15,0-14-15,0 14 0,0 0 0,0 0 16,13-14-16,-13 14 0,0 0 16,14 0-16,-14-1 0,13 14 0,-13-13 15,13 13-15,-13-13 0,13 13 16,-13 13-1,-13 0-15,0 1 16,0-1-16,-1 13 0,1-12 0,-13-1 16,12 13-16,-12-13 0,13 1 15,0-1-15,-1-13 0,1 13 16,0 0-16,13 1 0,-13-14 0,13 13 16,-14-13-16,14 13 0,14 0 15,-1-13 1,0 0-1,0 0-15,1 0 0,-1 0 0,26 0 16,-12-13-16,-1 13 0,-12-13 0,12 13 16,-13 0-16,14-13 0</inkml:trace>
  <inkml:trace contextRef="#ctx0" brushRef="#br1" timeOffset="24237.75">12369 5450 0,'0'0'0,"40"0"47,-27 0-47,0 0 0,1-13 0,-1 13 15,0 0-15,0 0 0,1-13 0,-1 13 16,0 0-16,0-13 0,0 13 16,1 0-16,-1-13 15,-13 26 16,0 13-15,0-13-16,-13 1 0,13-1 16,0 13-16,0-12 0,0-1 15,-14 0-15,14 0 16,0 0-16,0 1 0,14-1 16,-14 0-16,0 0 15,13-13-15</inkml:trace>
  <inkml:trace contextRef="#ctx0" brushRef="#br1" timeOffset="24687.43">12766 5556 0,'13'-13'16,"-26"39"15,13-12-31,-13-1 16,13 0-16,0 0 0,0 1 15,-13-14-15,13 13 0,0 0 16,-14 0-16,14 1 16,0-41 31,14 14-47,-1-14 0,0 14 15,0 0-15,1 0 0,-14-1 16,13 14-16,0-13 15,0 0-15,1 0 0,-41 39 47,14-13-47,0 1 0,-1-1 0,1 0 16,0 0-16,13 1 16,0-1-16,13 0 31,0-13-31,1 0 0,12-13 15,-13 13-15,1 0 0,-1 0 16,0 0-16,0-13 0,0 13 0,1-14 16,-1 14-16,0 0 0,-13-13 15</inkml:trace>
  <inkml:trace contextRef="#ctx0" brushRef="#br1" timeOffset="24906.07">13031 5358 0,'0'-13'0,"13"26"31,0-13-31,-13 13 16,0 0-16,13 1 0,-13-1 0,14 0 15,-14 13-15,0-12 0,0-1 0,0 13 16,0-12-16,0-1 0,0 13 16,0 1-16,0-14 0,0 0 15,-14 0-15,14 1 0,0-1 16,-13 0-16,13 0 0,13-13 15,-13 14-15,14-14 0,-1 0 16</inkml:trace>
  <inkml:trace contextRef="#ctx0" brushRef="#br1" timeOffset="25191.89">13520 5530 0,'0'0'0,"13"-13"15,1 13 1,-1 0-16,0 0 0,14 0 16,-14 0-16,0 0 15</inkml:trace>
  <inkml:trace contextRef="#ctx0" brushRef="#br1" timeOffset="25353.92">13481 5622 0,'26'-13'31,"-13"13"-31,0 0 0,1 0 16,-1-13-16,13 13 0,-12 0 15</inkml:trace>
  <inkml:trace contextRef="#ctx0" brushRef="#br1" timeOffset="25640.72">13904 5490 0,'53'79'78,"-27"-65"-62,27-28-16,-40 1 0,1 0 15,-14 0-15,0 0 16,0-1 0,-14 1-16,14 0 0,-13 13 0,0-13 15,-14 13-15,14 0 0,-13-14 0,-27 14 16,26 0-16,1 0 0,-14 0 15</inkml:trace>
  <inkml:trace contextRef="#ctx0" brushRef="#br1" timeOffset="26413.73">10398 6443 0,'0'-14'0,"0"41"31,0-14-15,0 0-16,0 1 0,0-1 16,0 0-16,0 0 0,0 0 15,0 1-15,13 52 31,-13-53-31,0 0 16</inkml:trace>
  <inkml:trace contextRef="#ctx0" brushRef="#br1" timeOffset="26657.72">10438 6363 0,'13'-13'0,"-26"26"0,26-39 15,0 13-15,1 26 16,-14 0 0,13 0-1,-13 0-15,0 1 0,0-1 0,0 0 16,0 0-16,0 1 0,0 12 0,-13 1 16,-1-14-16,1 0 15,0 0-15,0 0 0,-1 1 0,1-1 16,0 0-16,0-13 0,-1 13 15,1-13-15</inkml:trace>
  <inkml:trace contextRef="#ctx0" brushRef="#br1" timeOffset="27424.55">10888 6310 0,'-27'14'32,"27"-1"-32,-13 0 0,0 0 0,13 14 15,-14-14-15,1 13 0,0 14 0,-13 13 16,26-40-16,0 14 0,0-14 0,0 13 16,0-12-16,0-1 15,13 0-15,-13 0 0,13 1 0,0 12 16,0-26-16,-13 13 0,14-13 15,-1 0-15,0 13 0,0-13 16,1 0-16,-1 0 0,0-13 16,0 13-16,1 0 0</inkml:trace>
  <inkml:trace contextRef="#ctx0" brushRef="#br1" timeOffset="27637.74">11099 6456 0,'0'-13'0,"-13"39"47,13-13-31,-13 1-16,13-1 0,0 0 0,-13 0 16,13 0-16,-14 1 0,14 12 0,0-13 15,-13 1-15,13-1 16,0 0-16,13 0 0</inkml:trace>
  <inkml:trace contextRef="#ctx0" brushRef="#br1" timeOffset="27914.2">11324 6509 0,'0'-13'0,"-40"13"31,27 0-31,-13 0 0,13 13 0,-1-13 16,1 13-16,-13-13 0,12 13 16,1-13-16,13 13 0,-13-13 0,0 14 15,-1-1-15,14 0 16,-13-13-16,13 13 0,13 1 16,1-1-1,-1-13 1,0 0-16,0 0 15,1 0-15,-1 0 0,0 0 0,0 0 16,1 0-16,12 0 0,-13 0 0</inkml:trace>
  <inkml:trace contextRef="#ctx0" brushRef="#br1" timeOffset="28736.83">11523 6668 0,'-14'-14'31,"14"1"-31,0 0 16,0 0 0,0-1-16,0 1 0,0 0 0,0 0 15,0-1-15,0 1 0,14 13 16,-14-13-16,0 0 0,13 0 15,-13 26 17,0 0-32,0 0 15,0 0 1,0 1-16,13-28 47,-13 1-47,13 0 0,1 13 15,-14-13-15,13 0 0,0 13 0,0-14 16,0 1-16,1 13 16,-1 0-16,0 0 0,0 0 15,1 0-15,-1 0 16,-13 13-16,13 1 0,-13-1 16,0 0-16,0 0 15,-13 0-15,13 1 0,-13-1 16,-1 0-16,14 0 0,-13 1 15,0-14-15,13 13 0,-13-13 0,13 13 16,-14-13-16,14 13 0,-13 1 16,13-1 15,27-26 0</inkml:trace>
  <inkml:trace contextRef="#ctx0" brushRef="#br1" timeOffset="29361.04">12197 6694 0,'-13'0'16,"0"-13"-16,0 13 16,13-13-1,-14 13-15,14-14 0,-13 14 0,13-13 16,-13 0-16,0 0 0,13-14 16,0 14-16,0-14 0,-14 14 0,14-13 15,14 13-15,-14-14 0,0 14 0,0 0 16,13-1-16,-13 1 0,13 0 0,-13 0 15,13-1-15,1 14 16,-14-13-16,13 13 0,0 13 16,-13 1-16,-13-1 15,13 0-15,-13 0 16,-1 14-16,1-14 0,0 0 16,-14 14-16,1-1 0,13-13 0,0 1 15,-1-1-15,1 0 0,0 0 0,0-13 16,-1 14-16,1-1 15,13 0-15,-13-13 16,26 0 0,0 0-16,14 0 15,-14 0-15,0 0 0,14 0 16,-14-13-16,13 13 0,-12 0 0,39 0 16,-40-13-16,13 13 0,14 0 15</inkml:trace>
  <inkml:trace contextRef="#ctx0" brushRef="#br1" timeOffset="30424.86">12581 6548 0,'-27'14'15,"27"-1"-15,-13 0 0,13 0 16,0 1-16,0-1 15,0 0-15,-13 0 16,13 1 0,0-1-16,0 0 15,0 0 17,-13-13-17,26-26 63,-13 13-62,0-1-16,0 1 16,13 0-16,-13-14 15,13 14-15,-13 0 0,14-14 16,-14 14-16,13 0 0,-13 0 0,13 0 15,-13-1-15,13 1 0,-13 0 0,14 13 16,-14-13-16,13 13 0,0 0 16,0 0-1,-13 13-15,14-13 16,-14 13-16,0 0 0,0 1 0,13-14 16,-13 13-16,0 0 0,0 0 15,0 0-15,13 1 0,-13-1 16,0 0-16,13 0 0,-13 1 15,0-1-15,13 0 16</inkml:trace>
  <inkml:trace contextRef="#ctx0" brushRef="#br1" timeOffset="30605.82">12568 6654 0,'-14'-13'0,"1"13"0,26-13 31,1 13-31,-14-13 16,13 13-16,0 0 15,0 0-15,1-14 0,-1 14 0,0 0 16,14-13-16,-14 13 0,0 0 0,13 0 16,-12 0-16,-1-13 0,0 13 15</inkml:trace>
  <inkml:trace contextRef="#ctx0" brushRef="#br1" timeOffset="31189.48">13018 6654 0,'-14'-13'31,"1"13"-31,13-13 16,-13 13-16,13-13 0,-13-1 15,13 1-15,-14 0 16,14 0-16,0-1 0,0 1 16,0 0-16,0 0 0,0 0 15,0-1 1,14 14-16,-1 14 31,0-1-15,-13 0-1,13-26 48,1 0-48,-1-1 1,0 14-16,0 0 31,0 14-31,1-1 16,-14 0-16,0 0 16,0 0-16,0 1 0,0-1 15,0 0-15,-14 0 16,14 1-16,0-1 0,-13-13 15,13 13-15,-13-13 0,13 13 16,-13-13-16</inkml:trace>
  <inkml:trace contextRef="#ctx0" brushRef="#br1" timeOffset="31465.19">13163 6284 0,'26'0'15,"-52"0"-15,66 0 0,-27 0 0,0 0 16,0 13-16,1-13 16,-1 27-16,0-1 0,0-13 15,-13 0-15,0 1 0,0-1 16,14 0-16,-14 14 0,0-14 15,0 0-15,0 0 0,-14 14 0,14-14 16,0 0-16,0 0 0,-13 1 0,13-1 16,0 0-16,-13 0 15,26 1 1,0-14-16</inkml:trace>
  <inkml:trace contextRef="#ctx0" brushRef="#br1" timeOffset="31701.02">13692 6456 0,'13'-13'0,"1"13"15,-1 0-15,0 0 0,0 0 16,1 0-16,-1 0 0,0 0 0,0 0 16,0 0-16,1 0 0,-1 0 15</inkml:trace>
  <inkml:trace contextRef="#ctx0" brushRef="#br1" timeOffset="32137.95">13652 6548 0,'-13'0'32,"40"0"-1,-14 0-31,0 0 0,0 0 16,1-13-16,12 13 0,-13 0 15,14-13-15,-1 13 0,-13 0 0,14-13 16,-14 13-16,0-13 0,1 13 0,-1 0 15,0 0-15,0 0 16,1-14-16,-1 14 16,-13 14-16,13-14 15,-13 13-15,0 0 16,13-13 0,-13 13-16,13-13 0,1 0 0,-14 13 15,13-13-15,0 0 0,0 0 0,1 0 16,-1 0-16,0 0 15,0 0-15,1 0 0,-1-13 16,0 13-16,0-13 16,-13 0-1,0 0-15,0-1 16,-13 1-16,0 13 16,13-13-16,-13 13 0,-1 0 0,1 0 15,0 0-15,0 0 0,-1 0 0,1 0 16,0 0-16,13 13 0</inkml:trace>
  <inkml:trace contextRef="#ctx0" brushRef="#br1" timeOffset="32268.26">14314 6575 0,'13'0'0</inkml:trace>
  <inkml:trace contextRef="#ctx0" brushRef="#br0" timeOffset="47357.05">17926 8652 0,'13'-40'0,"-13"120"15,0-41-15,-13 27 16,-1 14-16,1-1 0,-13 27 16,12 26-16,1 1 0,-13-1 0,12 27 15,1-1-15,13 1 0,-13 13 0,13 13 16,0-13-16,0 13 0,0 1 0,0-14 15,0 13-15,0-13 0,0 0 16,13-13-16,-13-14 0,0 1 0,13-14 16,-13 0-16,0-13 0,14 53 15,-14-106-15,0 1 0,13-15 16,-13-12-16,0-13 0,0-14 16,0 0-16,0-39 15</inkml:trace>
  <inkml:trace contextRef="#ctx0" brushRef="#br0" timeOffset="48505.79">18203 8559 0,'225'-39'32,"-172"39"-32,13-14 15,14 1-15,-1 13 0,14-13 0,-1 0 16,1-1-16,-1 1 0,147-13 16,-134 13-16,-12-1 0,92-12 15,-92 13-15,-1-1 0,1 1 0,-14 13 16,1-13-16,-1 13 0,-13 0 15,-13 0-15,0 0 0,0 0 16,0 13-16,-13-13 0,-1 13 0,-12-13 16,-1 14-16,1-14 0,-1 13 0,1 0 15,-1 14-15,1-14 0,-1 0 16,0 13-16,1 1 0,-1-1 0,1 1 16,-1-1-16,-12 1 0,12 26 0,0-14 15,27 67-15,-39-40 16,12-13-16,-13 27 0,1-14 15,12 26-15,-13 14 0,14-13 0,-1 13 0,1-14 16,-14 14-16,13 0 0,14 0 16,-14 0-16,1-1 0,-1-12 15,1 13-15,-1 0 0,14 105 16,-14-105-16,1 0 0,-1 0 0,-12-14 16,12 14-16,-13-26 0,0 12 0,14-12 15,-14-1-15,0 0 0,27 67 16,-27-80-16,14 13 0,-14-12 15,13-15-15,1 15 0,-1-1 0,27 53 16,-39-66-16,12-14 0,-13 1 16,0 0-16,1-14 0,-1 14 15,0-14-15,0-12 0,-13 12 0,0-13 16,14 1-16,-14-1 0,0 0 16,13 0-16,-13 14 31,-13-14-31,-1-13 15,1 0-15,-13 0 0,-1 0 0,-12 0 16,-1 0-16,-13 13 0,-13-13 16,0 0-16,-14 0 0,1-13 15,-14 13-15,14 0 0,-14 0 0,1 0 16,-1 0-16,0 0 0,-12-13 0,-107 13 16,80 13-16,-133-13 15,133 13-15,13-13 0,-119 13 16,105-13-16,27 14 0,14-14 15,-14 13-15,0-13 0,14 13 0,-1-13 16,0 0-16,14 13 0,0-13 16,-1 0-16,1 0 0,26 0 0,0 0 15,-13 0-15,26 0 0,-13-13 0,14 0 16,-14 13-16,26-13 0,-12-14 0,12 14 16,14-14-16,-14 1 0,27 0 15,-13-14-15,13 13 0,0-26 0,0 14 16,13-14-16,1-13 0</inkml:trace>
  <inkml:trace contextRef="#ctx0" brushRef="#br0" timeOffset="49208.72">18124 8903 0,'0'0'0,"0"-13"16,0 53-1,0-27-15,-13 0 16,13 14-16,0-14 0,0 13 0,-13 1 15,13-1-15,-14-13 0,14 14 0,-26 13 16,26-14-16,-13-13 16,13 1-16,0 12 0,-14-26 15,14 26-15,14-26 16</inkml:trace>
  <inkml:trace contextRef="#ctx0" brushRef="#br0" timeOffset="49501.69">18349 8969 0,'0'-13'0,"0"26"0,-13-26 0,-1 13 15,1 0-15,0 0 0,0 13 16,-14 1-16,14-14 0,-13 13 0,-1 0 16,14 0-16,-14 1 0,14-1 0,-13 13 15,13-13-15,13 1 0,-14-1 16,1 0-16,13 0 0,0 1 15,0-1 1,13-13-16,-13 13 0,14-13 16,-1 0-16,0 0 15,0 0-15,0 0 0,1 0 0,12 0 16,-13 0-16,1 0 0,12-13 0,-13 13 16,14 0-16,-14 0 0,13 0 15,-12 0-15,12-13 0,-13 13 0,1 0 16,-1 0-16</inkml:trace>
  <inkml:trace contextRef="#ctx0" brushRef="#br0" timeOffset="50625.89">21378 11919 0,'0'0'16,"-13"-13"-16,13 0 0,-13 13 15,0 13 1,-1 0-16,1-13 0,0 14 0,0-1 15,-1 0-15,1 14 0,13-14 0,-13 13 16,0 1-16,13-1 0,-13-13 16,13 14-16,0-14 0,0 14 0,0-14 15,13 13-15,-13-12 0,13-1 0,-13 0 16,13-13-16,0 13 0,14-13 16,-14 0-16,0 0 0,14-13 15,13 0-15,-14 0 0,0-14 0,1 1 16,-1-1-16,1 1 0,-14-14 0,0 14 15,-13-14-15,0 13 0,0 1 16,0-14-16,0 14 0,-13-1 0,13 1 16,-13-1-16,0 14 0,-1 0 0,1 0 15,0 0-15,0-1 0,-1 14 16,1 14-16,0-14 16,0 13-16,13 13 0,0-13 0,-13 1 15,26 39-15,-13-27 16,13 0-16,0 14 0,0-13 0,1-1 15,-1 14-15,0-14 0,0 1 16,14 12-16,-14-12 0,0-14 0,-13 14 16,14-1-16,-1-13 0,0 14 15,-13-14-15,13 0 0,0 14 16,-13-14-16,14 0 0,-14 0 0,13 0 16,-13 1-1,13-1-15</inkml:trace>
  <inkml:trace contextRef="#ctx0" brushRef="#br0" timeOffset="50767.68">21788 12449 0,'-13'-14'31,"0"1"-31</inkml:trace>
</inkml:ink>
</file>

<file path=ppt/ink/ink29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3:10:45.574"/>
    </inkml:context>
    <inkml:brush xml:id="br0">
      <inkml:brushProperty name="width" value="0.05292" units="cm"/>
      <inkml:brushProperty name="height" value="0.05292" units="cm"/>
      <inkml:brushProperty name="color" value="#0070C0"/>
    </inkml:brush>
  </inkml:definitions>
  <inkml:trace contextRef="#ctx0" brushRef="#br0">3149 2381 0,'0'53'47,"0"79"-31,13-26-16,13 0 15,1 26-15,-14-13 16,0-26-1,-13-14-15,0 1 16,13 39-16,-13-53 16,14-40-16,-14 1 0,0-14 15</inkml:trace>
  <inkml:trace contextRef="#ctx0" brushRef="#br0" timeOffset="1735.75">3056 2461 0,'40'0'94,"105"0"-94,67 0 16,291 0-1,-146 0-15,145 0 16,67 0-16,265-27 0,-186-26 16,-26 27-16,-14-1 15,-118-12 1,92-14-16,-278 13 15,-132 27-15,-66 0 16,13-1-16,-40 14 16,-39 0-16,-14 0 0,-26 14 218,0 65-218,0 27 0,0-53 16,0 53 0,-52-14-16,38 14 15,-12 26-15,13-26 16,-1 0-16,14-80 16,0 1-16,0-14 15,0 0-15,-26-13 94,-80 0-78,-66 0-16,0 27 15,0-27-15,-106 0 16,-13 0-16,-211 53 15,92-27-15,13-26 16,-13 40-16,13-40 16,-66 0-16,172 0 15,-40 13 1,132-13-16,14 0 0,-13 0 16,79 0-1,-93 0-15,67 0 16,12 0-16,-25 0 15,52 0-15,-27 0 16,54 0-16,-67 0 16,54 0-16,26 0 15,26 0-15,14 0 16,-14 0-16,27 0 16,-1 0-16,1 0 15,0 0-15,-13 0 16,-1 0-1,14 0-15,-14 0 16,1 0-16,-1 13 16,14-13-16,0 0 15,0 0 1,0 0-16,-1 0 16,1 0-1,0 0 48</inkml:trace>
  <inkml:trace contextRef="#ctx0" brushRef="#br0" timeOffset="3639.97">4458 5384 0,'0'0'0,"13"27"31,-13-14-31,0 13 16,14 1-16,-28-1 0,14 14 0,0 0 0,-13-1 15,13 1-15,-13 0 0,13-1 16,-13-12-16,0 13 0,-1-14 0,14 1 16,-13-1-16,0-13 0,13 14 0,-13-14 15,13 0-15,-14 0 0,1 1 16,13-1-16,0 0 15</inkml:trace>
  <inkml:trace contextRef="#ctx0" brushRef="#br0" timeOffset="3944.11">4683 5556 0,'-13'0'0,"-80"27"15,67-14 1,-1 13-16,1-12 16,-14 12-16,27 1 0,-13-14 0,12 0 15,1 0-15,0 0 0,0 1 0,-1-14 16,1 13-16,13 0 0,-13-13 16,13 13-16,0 1 0,0-1 15,13 0-15,0 0 16,1-13-16,-1 0 0,0 0 0,0 14 15,1-14-15,12 0 0,-13 0 16,14 0-16,-14-14 0,13 14 0,-12 0 16,-1 0-16,13-13 0,1 13 0,-14-13 15,13 0-15,1 13 0,-1-14 16,-12 1-16</inkml:trace>
  <inkml:trace contextRef="#ctx0" brushRef="#br0" timeOffset="4925.76">5318 5636 0,'0'0'0,"-13"-14"16,13 1-16,-13 13 0,13-13 16,-14 13-16,1 0 15,0 0-15,0 13 16,0 0-16,-1 1 0,1-14 16,13 13-16,-13 0 0,0 14 15,-1-14-15,14 0 16,0 0-16,0 0 15,14 1-15,-1-1 16,0-13-16,0-13 16,1 13-16,-1-14 15,0 1-15,-13 0 16,13 0-16,0 0 16,-13-1-16,0 1 15,14 13-15,-14-13 16,0 39 31,0-12-47,0-1 15,0 0 1,13-13-16,-13 13 16,13-13 15,0 0-16,1 0 1,-14-13-16,13 13 16,0 0-16,0 0 0,1-13 15,-1 13-15,0 0 16,0 13-16,0-13 16,1 0-16,-1 0 15,0 0 1,-13 13-16,13-13 15,1 0 17,-14-13-17,13 13 1,-13-13-16,13 13 16,0 0-1,0 0-15,1 13 16,-1 0-1,0-13 1,0 0 0,1 0-16,-1-13 15,0 0-15</inkml:trace>
  <inkml:trace contextRef="#ctx0" brushRef="#br0" timeOffset="5256.1">5874 5503 0,'0'27'16,"0"-14"0,13 0-16,-13 0 15,13 1-15,-13-1 16,13 0 0,-39-13 15,13 0-16,13 13-15,-13-13 0,-1 14 16,1-14-16,13 13 0,-13-13 0,0 13 16,13 0-16,-14-13 0,14 14 0,-13-14 15,13 13-15,0 0 16,13-13-16,1 0 16,-1 0-16,0 0 0,0 0 0,1 0 15,-1 0-15,0 0 0,13-13 16,-12 13-16,-1 0 0,0-13 0,0 13 15,14-14-15</inkml:trace>
  <inkml:trace contextRef="#ctx0" brushRef="#br0" timeOffset="6226.85">6800 5384 0,'-13'27'31,"13"-14"-31,0 0 0,0 0 15,0 1-15,0 12 0,0 1 0,13-14 16,-13 13-16,0 1 0,13-14 16,-13 0-16,13 14 0,0-14 15,-13 0-15,14 0 0,-1-13 0,0 14 0,0-14 16,14 0-16,-14 0 16,0 0-16,1-14 0,-1 14 0,13-13 15,-13 0-15,14-27 0,-14 27 16,-13-14-16,13 1 0,-13 0 0,0-1 15,0-13-15,-13 1 0,0-1 16,0 0-16,-14-39 0,14 53 16,0-1-16,0 14 0,-1 0 0,14-1 15,-13 14-15,0 0 0,13-13 16,-27 26-16,14 14 16,13-14-16,-13 14 0,13 25 15,0-25-15,0-1 0,0 14 0,0 0 16,0-1-16,13 1 0,-13 0 15,13-1-15,-13 1 0,14-13 16,-1-1-16,-13 1 0,13-14 0,-13 13 16,13-13-16,-13 1 0,14-1 0,-14 0 15,13 0-15,-13 1 0,13-1 16,-13 0-16,13-13 0,0 0 16,1 0-16,-1 0 0,0-13 15,0 13-15</inkml:trace>
  <inkml:trace contextRef="#ctx0" brushRef="#br0" timeOffset="6526.98">7620 5530 0,'0'0'0,"26"-13"32,-12 13-32,-1 0 15,0 0-15,14 0 0,-14 0 0,13 0 16,-12 0-16,25 0 0,-12 0 15,-14 0-15,0 0 0,0 0 16,1 13-16</inkml:trace>
  <inkml:trace contextRef="#ctx0" brushRef="#br0" timeOffset="6741.44">7607 5702 0,'0'0'16,"-13"0"-16,39 0 31,-13 0-15,0 0-16,1 0 0,-1 0 0,0 0 15,14 0-15,-14 0 0,13-13 0,-12 13 16,12 0-16,-13 0 0,14 0 0,-14 0 16,0-14-16,0 14 0,1 0 15,-1 0-15,0 0 0,0 0 16,-13-13-16,14 13 0</inkml:trace>
  <inkml:trace contextRef="#ctx0" brushRef="#br0" timeOffset="7782.83">9062 5318 0,'0'0'0,"-13"-13"0,0 26 15,-14-13 1,27 13-16,-13 1 0,0-14 15,-1 13-15,1 0 0,0 14 0,0-14 16,13 0-16,-14 0 0,1 0 0,13 14 16,0-14-16,0 0 0,-13 1 15,26-1-15,-13 0 0,0 0 0,0 0 16,13 1-16,1-1 16,-1 0-16,0-13 0,0 13 0,1-13 15,-1 0-15,0 0 0,14 0 16,-14 0-16,13 0 0,-13-13 0,27 0 15,-27 13-15,14-13 0,-14-1 16,0 1-16,1 0 0,-1 0 16,0 0-16,-13-1 0,0-12 0,13 13 15,-13-1-15,0 1 0,-13 0 0,13-13 16,-13 12-16,0 1 0,-1 0 16,1 0-16,-13-1 0,12 1 0,1 13 15,-13-13-15,12 13 0,-12 0 0,0 0 16,12 0-16,-12 0 0,-1 0 0,1 13 15,-1-13-15,14 13 0,-13 1 16,13-1-16,-1-13 0,1 13 16,0 0-16</inkml:trace>
  <inkml:trace contextRef="#ctx0" brushRef="#br0" timeOffset="8418.85">2858 5662 0,'0'-13'31,"0"39"-31,13-12 0,-13-1 0,0 0 16,0 13-16,-13-12 0,13 12 16,0 1-16,0-14 0,0 13 0,0 1 15,0-14-15,0 13 0,0 1 0,0-14 16,0 14-16,0-14 0,0 0 0,0 0 15,0 0-15,0 1 16,0-1-16,13 0 16</inkml:trace>
  <inkml:trace contextRef="#ctx0" brushRef="#br0" timeOffset="8716.93">2805 5609 0,'39'-40'31,"-12"40"-31,-14 14 0,0-14 16,14 13-16,-1-13 0,-13 13 15,14 14-15,-1-14 0,-13 0 0,1 0 16,12 14-16,-26-14 0,13 0 0,-13 0 15,0 1-15,14-1 0,-28 27 16,1-27-16,0 0 0,-14 27 16,14-27-16,-13 0 0,13 0 15,-14 1-15,14-1 0,0-13 16,-1 13-16,1-13 0,26-26 31</inkml:trace>
  <inkml:trace contextRef="#ctx0" brushRef="#br0" timeOffset="9170.95">3969 5252 0,'-93'119'16,"67"-66"-1,-1 13-15,14-13 0,-13 13 0,-1 0 16,14 14-16,0-14 0,-14 13 16,14-13-16,13 14 0,-13-14 15,13-13-15,0 0 0,13 0 0,0 0 16,14-14-16,-1 1 0,1-14 0,-1 1 15,0-14-15,14 0 0,40 14 16,-54-27-16,14 0 0,-1-13 16,1 13-16,13-14 0,-13 1 0,13-13 15</inkml:trace>
  <inkml:trace contextRef="#ctx0" brushRef="#br0" timeOffset="9818.66">6945 4829 0,'27'0'0,"79"53"31,-80-27-31,1 14 0,12-1 0,-12 1 0,12 13 16,-12 0-16,-1 0 0,-13-13 0,14 26 15,-14-13-15,-13-14 0,0 14 16,0-13-16,0 26 0,-13-13 0,0 13 15,-1-13-15,-12 0 0,0 0 0,-1 0 16,-13 0-16,1-14 0,12 14 16,-12-13-16,-14 13 0,26-13 15,-12-1-15,-1 1 0,0-14 0,14 1 16,-14-1-16,14-12 0</inkml:trace>
  <inkml:trace contextRef="#ctx0" brushRef="#br0" timeOffset="10457.68">2818 7924 0,'0'-13'0,"13"40"32,-13-14-17,0 0-15,0 13 0,27 133 16,-27-119-1,0 0-15,0-1 0,0 14 16,13-26-16,-13-14 0,0 13 0,0 1 16,0-14-16,0 0 0,0 0 15,0 1-15,13-1 0,-13 0 16,0 0-16</inkml:trace>
  <inkml:trace contextRef="#ctx0" brushRef="#br0" timeOffset="10784.84">2752 7951 0,'0'-40'0,"0"80"0,13-80 0,-13 27 16,13 0-16,53-14 31,-39 40-31,-14-13 0,0 14 0,0-1 16,1 0-16,-1 0 0,-13 1 0,13-1 15,-13 13-15,-13-13 0,13 14 16,-27-1-16,14 1 0,-13-1 0,13 1 16,-14-1-16,1 1 0,12-14 0,-12 0 15,13 0-15,-1-13 16,-12 14-16,13-14 0,0 13 0,-1-26 15,14-1 1,14 1-16,-1 0 16</inkml:trace>
  <inkml:trace contextRef="#ctx0" brushRef="#br0" timeOffset="11062.52">3440 7422 0,'-67'119'16,"54"-66"-1,-13-1-15,-1 1 0,1 14 16,13-1-16,-14 0 0,14 0 0,0 13 0,-1-13 16,1 1-16,13-1 0,0 0 15,13-26-15,-13 13 0,14-1 0,-1-12 16,0-13-16,14 12 0,-1-12 15,1-1-15,-1 1 0,0-14 0,14 13 16,13-12-16,-27-14 0,1 0 16,-1 0-16,1 0 0,13-14 0,12 1 15,-12 0-15,-13 0 0,12-1 16</inkml:trace>
  <inkml:trace contextRef="#ctx0" brushRef="#br0" timeOffset="11386.07">3969 7911 0,'-13'-13'0,"26"26"0,-26-13 31,13 13-31,0 14 0,13-14 16,-13 13-16,13 14 16,0 0-16,0-14 0,-13 14 0,14 0 15,-14-1-15,0-12 0,0-1 0,0 1 16,0-1-16,0 1 0,0-1 0,0-13 16,0 1-16,0-1 0,0 0 15,0 0-15,13-26 16,0 0-16,0 0 15,1-14-15,-1-13 16</inkml:trace>
  <inkml:trace contextRef="#ctx0" brushRef="#br0" timeOffset="11641.9">4260 8043 0,'-66'93'0,"132"-186"0,-66 80 16,0 0-16,-13 26 31,-14 0-31,1 14 0,-1-14 0,1 13 16,-1 1-16,1-1 0,-1-12 15,-26 39-15,40-40 0,0 0 16,-13 13-16,26-12 0,0-1 16,-14 0-16,28-13 0,-14 13 15,0 1-15,13-14 0,0 13 16,13-13-16,-12 0 0,12 0 0,-13 0 16,14 0-16,-1 0 0,1-13 15,12 13-15,-12-14 0,13 1 16,-14 0-16,133-27 15,-146 27 1,0 13-16</inkml:trace>
  <inkml:trace contextRef="#ctx0" brushRef="#br0" timeOffset="12342.86">5067 7951 0,'-66'13'16,"66"0"-1,0 0-15,-14 1 16,14-1-16,0 13 0,0-12 0,0 12 0,0-13 16,0 14-16,0-14 0,0 13 0,14 1 15,-14-14-15,13 0 0,0 1 16,0-1-16,1 0 0,12 0 0,-13-13 16,0 0-16,14 0 0,-1 0 15,-12 0-15,12-13 0,1 0 0,-14 0 16,0-1-16,13 1 0,-26 0 15,14 0-15,-14-14 0,0 14 0,-14 0 16,1-27-16,0 14 0,0 12 16,-14-12-16,14 13 0,0-1 0,-14 1 15,14 13-15,0-13 0,0 0 16,-1 13-16,54 13 31,-27-13-15,14 13-16,13 0 0,-14 1 15,0 12-15,14-13 0,-13 14 0,-14-14 16,13 0-16,-12 0 0,-1 14 0,-13-14 16,13 14-16,-13-14 0,0 0 15,0 14-15,-13-14 0,13 0 0,-13 13 16,-1-12-16,1-1 0,0-13 0,0 13 16,-1-13-16,1 0 0,0 0 15,13-13-15,-13 0 16,26-1-16,-13 1 0,0 0 0,13-13 15,0-1-15,1 1 0,12-1 16,1 14-16,-14-14 0,13 1 0,1 13 16,-14-14-16,13 14 0,-12 0 15,12 0-15,0-1 0,-12 14 16,-1-13-16,0 13 0,0 0 0,-13-13 16,14 13-16,-1 0 0</inkml:trace>
  <inkml:trace contextRef="#ctx0" brushRef="#br0" timeOffset="12962.93">6244 7699 0,'0'0'0,"-13"14"16,0-1-16,13 0 16,-14 14-16,14-1 0,-13 0 15,13 14-15,0 0 0,-13 0 16,13-1-16,0 1 0,-13 52 15,13-52-15,13 0 0,-13-14 0,13 1 16,0-1-16,1 1 0,-1-14 16,0 0-16,14 0 0,12-13 15,-12 0-15,-14 0 0,13-13 0,14 0 16,-13 0-16,-1-1 0,1-12 0,-1 0 16,-13-1-16,0 1 0,1-54 15,-14 41-15,-14-14 0,14 13 16,-13-13-16,0 0 0,-13 13 0,12 1 15,1 12-15,-13-12 0,-1 25 16,14-12-16,-14 26 0,14-13 16,0 13-16,0-14 0,0 14 0,-1 14 15,1-14-15,13 13 0,-13 0 0,0 0 16,13 14-16,0-1 0,0 1 16,13 12-16,0 41 0,0-40 15,14 12-15,-1-12 0,1 13 0,-14 0 16,13-13-16,1 13 0,26 26 15,-27-53-15,1 14 16,-14-13-16,13-1 0,14 14 16,-27-27-16,1 0 0,-1 0 0,0-13 15,0 14-15,0-28 0,1 14 16,-1-13-16,0 0 0,-13-14 16,13 1-16,-13 0 0</inkml:trace>
  <inkml:trace contextRef="#ctx0" brushRef="#br0" timeOffset="13250.81">6588 7289 0,'27'-13'15,"-54"26"-15,80-26 0,-40 13 0,1 0 16,38 40-16,15 13 15,-28-14-15,1-12 0,0 26 16,-14-14-16,14 14 0,-14 0 0,1 0 0,-1 0 16,-13 0-16,1 0 0,-14 0 0,13-13 15,-26 12-15,13 1 0,-14 0 16,14-13-16,-13 13 0,0-13 0,0-1 16,-1-12-16,1 12 0,0-12 0,13-14 15,-13 0-15,13 1 0,0-1 16</inkml:trace>
  <inkml:trace contextRef="#ctx0" brushRef="#br0" timeOffset="13514.79">7673 7673 0,'53'-13'16,"-27"13"-16,-12-14 15,12 14-15,14 0 0,-14 0 16,1-13-16,-14 13 0,13 0 0,-12 13 15,12-13-15,-13 0 0,0 14 16</inkml:trace>
  <inkml:trace contextRef="#ctx0" brushRef="#br0" timeOffset="13681.69">7646 7938 0,'14'13'0,"-1"-13"15,0 0-15,14 0 16,-1 0-16,1 0 0,-1-13 0,14 13 16,-1 0-16,1-14 0,0 1 0,-1 13 15,1-13-15,0 0 0</inkml:trace>
  <inkml:trace contextRef="#ctx0" brushRef="#br0" timeOffset="14117.74">8890 7078 0,'26'-27'16,"94"1"0,-94 26-16,14 13 15,-1-13-15,1 13 0,-13 14 0,-1-14 16,0 13-16,1 1 0,-14 12 0,0 1 15,-13 0-15,0-1 0,-13 28 0,0-14 16,-14 13-16,14 0 0,-13-13 16,-1 13-16,14-13 0,-13 0 0,12 0 15,-12 26-15,26-39 0,-13-14 16,13 1-16,-14-1 0,14-13 16,0 27-16,0-27 15,0 0-15,0 1 0,14-1 16,-14 0-16</inkml:trace>
  <inkml:trace contextRef="#ctx0" brushRef="#br0" timeOffset="14254.05">9393 8453 0,'-27'14'15,"14"-14"-15,0-14 16,0 14-16,13-13 15,0 0-15</inkml:trace>
  <inkml:trace contextRef="#ctx0" brushRef="#br0" timeOffset="28061.75">14803 4961 0,'0'13'0,"0"0"16,0 1-16,0-1 0,0 13 16,0-12-16,0 12 0,-13 0 0,13 1 15,0-1-15,0 1 0,0-1 0,0 1 16,-13-1-16,13 1 0,0-14 15,0 13-15,0-12 0,0 12 0,0-13 16,0 1-16,0-1 0,0 0 16,0 0-16</inkml:trace>
  <inkml:trace contextRef="#ctx0" brushRef="#br0" timeOffset="28362.79">14737 4842 0,'0'0'0,"14"-40"0,-1 27 16,0 13-16,0 0 0,-13-13 15,27 13-15,-1 13 0,-13-13 16,1 13-16,12 0 0,-13 1 0,0-1 15,1 0-15,-1 14 0,-13-14 0,0 13 16,13-13-16,-26 14 16,13-14-16,0 14 0,-13-14 0,13 13 15,-14-12-15,1 12 0,0-13 0,13 0 16,-13 1-16,0-14 0,-1 13 16,1 0-16,0-13 0,0 0 15</inkml:trace>
  <inkml:trace contextRef="#ctx0" brushRef="#br0" timeOffset="28657.68">15293 4736 0,'-27'26'31,"14"-12"-31,0 12 0,-13 1 0,12-1 16,-12 14-16,-1-1 0,1 14 0,13 0 16,-14-13-16,14 13 0,0-13 15,0-1-15,-1 1 0,14 0 0,-13-14 16,13 1-16,0-1 0,0 1 16,0-1-16,0-13 0,0 14 0,13-14 15,-13 0-15,0 0 0,14 1 16,-14-1-16,13-13 0,-13 13 0,26-13 15,-13 0-15,1 0 0,-1-13 16,0 13-16,0-13 0,1-1 16,12 1-16</inkml:trace>
  <inkml:trace contextRef="#ctx0" brushRef="#br0" timeOffset="28884.68">15491 5001 0,'0'0'0,"0"26"47,0-13-47,-13 1 15,13 12-15,0-13 0,-13 14 0,13-1 16,-13-13-16,13 14 0,-14 13 16,1-27-16,0 13 0,0 1 0,13-14 15,-13 0-15,-1 0 0,14 1 0,0-1 16,14 0-1,-1-13-15</inkml:trace>
  <inkml:trace contextRef="#ctx0" brushRef="#br0" timeOffset="29161.89">15769 5120 0,'-26'0'31,"12"0"-31,1 13 0,-13 0 15,-1-13-15,14 13 0,-13 1 0,-1-1 16,14 0-16,-13-13 0,12 13 16,1 1-16,0-14 0,0 13 0,-1 0 15,1 0-15,13 0 16,0 1 0,13-1-16,1-13 15,-1 0-15,0 0 0,0 0 0,1 0 16,-1 0-16,0 0 0,13 0 0,1 0 0,-14 0 15,14 0-15,-14-13 16,13 13-16,-13-14 0,14 14 0,-14-13 16,0 0-16,1 0 0</inkml:trace>
  <inkml:trace contextRef="#ctx0" brushRef="#br0" timeOffset="29426.87">15954 4710 0,'0'0'0,"27"13"15,-27 0-15,13 0 0,0 0 16,1 14-16,-1 13 0,13-14 0,-13 14 16,14-1-16,-14 1 0,0 0 15,1 0-15,-1-1 0,0 1 0,-13 0 16,0-1-16,0 1 0,0 0 0,-13-1 15,0-12-15,13-1 0,-14 1 0,1-14 16,13 0-16,-13 0 0,13 1 0,0-1 16</inkml:trace>
  <inkml:trace contextRef="#ctx0" brushRef="#br0" timeOffset="29670.92">16722 5133 0,'13'-13'31,"0"13"-31,0 0 0,14 0 15,-1-14-15,-12 14 0,-1 0 16,0 14-16,0-14 0,0 0 0,1 0 16,-14 13-16</inkml:trace>
  <inkml:trace contextRef="#ctx0" brushRef="#br0" timeOffset="29835.96">16669 5345 0,'39'-14'16,"-25"14"-16,-1 0 16,0-13-16,0 13 0,14 0 15,-14-13-15,0 13 0,1 0 0,-1 0 16,0-13-16,0 13 0,0 0 16</inkml:trace>
  <inkml:trace contextRef="#ctx0" brushRef="#br0" timeOffset="30334.75">14790 6615 0,'13'39'0,"-13"-12"0,0-14 0,0 80 16,0-41-16,0-12 15,0 0-15,0 13 0,-13-14 0,13 1 16,0 0-16,0-14 0,0 14 0,0-14 16,0 1-16,0-14 0,0 14 0,0-14 15,0 0-15,0 13 16,13-26-16,-13 14 0,0-1 0</inkml:trace>
  <inkml:trace contextRef="#ctx0" brushRef="#br0" timeOffset="30637.79">14737 6681 0,'0'-27'0,"53"14"16,-40 13-1,14 0-15,-14 13 0,0 1 0,14-1 16,-14 13-16,13 1 0,-26-14 16,14 13-16,-14-12 0,0 12 0,0-13 15,0 14-15,-14 12 0,1-12 16,0-1-16,-13 1 0,12-14 0,1 0 16,0 0-16,13 1 15,-13-1-15,-1-13 0,1 13 0,0-13 16,0 0-1</inkml:trace>
  <inkml:trace contextRef="#ctx0" brushRef="#br0" timeOffset="30906.01">15346 6575 0,'-66'66'16,"39"-39"0,14 12-16,-13 1 0,12 0 15,-12 12-15,-1 1 0,14 0 16,-13 0-16,12 0 0,1 0 0,0 0 16,0 0-16,13-13 0,-13-1 0,13-12 15,0-1-15,0 1 0,13-1 0,-13-13 16,0 14-16,13-14 15,0 0-15,0 0 0,1-13 0,-1 0 16,0 0-16,14 0 0,-14-13 0,0 13 16</inkml:trace>
  <inkml:trace contextRef="#ctx0" brushRef="#br0" timeOffset="31451.96">15571 6892 0,'-27'14'0,"-26"78"31,40-52-31,13-14 0,-13 14 16,0 0-16,13-14 0,-14 14 0,14-14 15,0 1-15,0-1 0,0 1 16,0-14-16,0 13 0,14-12 0,-1-1 16,-13 0-16,13-13 0,0 13 0,1-13 15,12 0-15,-13 0 0,1-13 0,12 0 16,-13 0-16,14-1 0,-1-12 16,-13-1-16,14-12 0,-27 12 0,13-12 15,-13-1-15,0 0 0,0 1 0,0-1 16,-13-13-16,0 27 15,-1-14-15,14 27 16,-13 13-16,0-14 0,0 1 16,-1 26-16,1-13 0,0 14 31,13 12-31,-13 1 0,13-14 0,0 13 0,0 1 16,13-1-16,-13 14 0,0-14 15,13 14-15,0 0 0,1-14 0,-1 40 16,0-39-16,-13-1 15,13-13-15,1 14 0,-14-14 0,13 0 0,0 1 16,-13-1-16,13 0 0,0-13 0,1 13 16,-1-13-16,0 0 0,0-13 15,1 0-15,-1 0 16,-13-1-16,13 1 0</inkml:trace>
  <inkml:trace contextRef="#ctx0" brushRef="#br0" timeOffset="31693.88">15796 6601 0,'26'27'0,"-52"-54"0,92 80 0,-53-26 15,13 12-15,1 1 16,-1 0-16,1-1 0,-1 14 0,-12-13 15,-1 0-15,0-1 0,-13 1 0,0 13 16,0-13-16,0-1 0,-13 1 0,-14 39 16,14-39-16,0 0 15,13-14-15,-13-12 0,13 12 0,0-13 16</inkml:trace>
  <inkml:trace contextRef="#ctx0" brushRef="#br0" timeOffset="32006.7">16867 6959 0,'-13'-14'31,"39"14"-31,-12-13 0,-1 13 16,13 0-16,-12 0 0,-1 0 0,13-13 16,1 13-16,-14 0 0,0 0 15,0 0-15,1 0 0,-1 0 0,0 0 16,-13 13-16</inkml:trace>
  <inkml:trace contextRef="#ctx0" brushRef="#br0" timeOffset="32185.69">16867 7091 0,'27'0'16,"-14"0"-16,0 0 0,0 0 0,14 0 15,-14 0-15,13 0 0,1 0 0,-1 0 16,1 0-16,-1 0 0,-12 13 0,65-13 31,-66 0-31</inkml:trace>
  <inkml:trace contextRef="#ctx0" brushRef="#br0" timeOffset="34368.78">15505 5001 0,'-27'26'16,"27"-13"-16,0 1 15,0-1-15,-13 13 0,13 1 16,-13-14-16,13 13 0,-14 1 0,14-1 16,-13 1-16,13-14 0,-13 13 0,13-12 15,-13 12-15,13-13 0,0 1 16,-13-1-16,13 0 0,0 0 16,0 1-16,-14-1 0,14 0 15,0 0 1</inkml:trace>
  <inkml:trace contextRef="#ctx0" brushRef="#br0" timeOffset="35218.9">15822 5106 0,'-13'-13'0,"0"13"15,-14 13-15,14-13 16,0 14 0,-14-1-16,14-13 0,0 13 0,0-13 15,-1 13-15,-12 1 0,13-14 0,-1 13 16,1 0-16,0-13 0,0 13 15,0 1-15,-1-14 0,1 13 0,0-13 16,0 13-16,-1-13 0,1 13 16,0 0-1,26 1 17,0-14-32,1 0 15,-1 0-15,13 0 0,-12 0 16,-1 0-16,0 0 0,13 0 15,-12 0-15,-1 0 0,0 0 16,0 0-16,1 0 0,-1 0 0,13 0 16,-13 0-1,1 0 1,-1 0-16</inkml:trace>
  <inkml:trace contextRef="#ctx0" brushRef="#br0" timeOffset="39350.79">18164 4723 0,'-14'0'31,"1"13"-15,0-13-16,0 13 0,-14 0 16,14 1-16,0-1 0,-14 0 15,14 0-15,-13 1 0,12-1 0,1 0 16,-13 0-16,-1 14 16,14-27-16,13 13 0,-13-13 0,13 13 15,-13-13-15,13 13 0,13 1 16,0-14-1,0 0-15,14 0 0,-14 0 16,0 0-16,14 0 0,-1 0 0,1 0 16,-1 0-16,1 0 0,-1 0 15,-13-14-15,14 14 0,-1 0 0,-13 0 16,1 0-16,-1 0 0,0 0 16,0 0-16,0-13 0,1 13 15</inkml:trace>
  <inkml:trace contextRef="#ctx0" brushRef="#br0" timeOffset="39578.42">18190 4736 0,'0'0'0,"-13"13"15,0 14 1,13-1-16,-14-13 0,14 14 15,-13-1-15,13 14 0,-13-14 0,13 1 16,-13-1-16,13 1 0,-13 26 16,13-40-16,0 13 0,-14 14 15,14-27-15,0 1 0,0-1 16,0 0-16,0 0 16</inkml:trace>
  <inkml:trace contextRef="#ctx0" brushRef="#br0" timeOffset="39905.83">17515 5398 0,'-13'0'16,"40"-14"15,-14 14-31,13 0 0,1-13 0,-1 13 16,27 0-16,-13-13 0,13 13 16,39-13-16,-39 13 0,0-14 15,40 1-15,-40 13 0,0-13 16,26 0-16,-39 13 0,-14 0 15,1-14-15,-1 14 16,1 0-16,-14 0 0,0-13 0,0 13 0,0 0 16</inkml:trace>
  <inkml:trace contextRef="#ctx0" brushRef="#br0" timeOffset="40550.61">17873 5543 0,'39'-26'16,"-25"26"-16,-41 0 31,14 0-15,-27 13-16,27 0 0,-14-13 15,14 13-15,0-13 0,-13 13 16,12-13-16,1 14 0,0-14 15,13 13-15,13 0 16,0-13 0,1 13-16,-1-13 0,0 14 15,13-14-15,-12 13 16,-1-13-16,0 0 0,0 13 0,1-13 16,-14 13-16,13-13 0,-13 14 15,0-1 1,-13 0-16,-1 0 0,1-13 15,0 13-15,0 1 0,-1-14 16,1 13-16,0-13 0,0 13 0,0-13 16,-1 13-16,1-13 0,0 0 15</inkml:trace>
  <inkml:trace contextRef="#ctx0" brushRef="#br0" timeOffset="40911.8">18058 5556 0,'26'0'16,"-52"0"-16,66 0 0,-27 0 0,-13 13 16,0 1-1,0-1-15,-13 27 16,-1-27-16,-12 0 0,-1 27 15,14-27-15,0 0 0,13 0 16,-13 1-16,-1-1 0,14 0 16,0 0-16,0 1 15,14-14-15,-1 13 16,0-13-16,0 0 0,1 0 16,-1 0-16,0 0 0,0 0 0,14 0 15,-14 0-15,0 0 0,0 0 0,14 0 16,-1 0-16,-12 0 15,-1 0-15,0 0 0,-13-13 0,13 13 16,14 0-16</inkml:trace>
  <inkml:trace contextRef="#ctx0" brushRef="#br0" timeOffset="47225.83">18137 6879 0,'-119'40'16,"93"-27"-16,-1 0 16,1 14-16,-1-14 0,1 0 0,-1 0 15,14 1-15,0-1 0,0 0 0,-1-13 16,14 13-16,-13 1 15,13-1-15,13-13 16,1 13-16,-1-13 0,0 13 0,14-13 16,-14 0-16,13 14 0,1-14 0,-14 0 15,13 13-15,1-13 0,-1 0 16,1 0-16,-14 0 0,14 0 0,-14 0 16,13-13-16,-13 13 0,1-14 15,-1 14-15,-13-13 0</inkml:trace>
  <inkml:trace contextRef="#ctx0" brushRef="#br0" timeOffset="47434.06">18111 6879 0,'0'-13'0,"0"26"0,-13-13 16,-1 13-16,14 1 16,-13-1-16,13 0 0,-13 14 0,13-1 15,0 0-15,-13 14 0,-1-13 16,14-1-16,-13 14 0,13-14 0,0-13 15,-13 14-15,13-1 0,0 1 0,-13 26 16,13-40-16,0 13 16,0-12-16,-14 12 0,14-13 0,-13 1 15,13-1-15,-13 0 0,13 0 16</inkml:trace>
  <inkml:trace contextRef="#ctx0" brushRef="#br0" timeOffset="47682.7">17423 7607 0,'13'-13'16,"13"13"-16,-12 0 0,12-14 16,14 14-16,0-13 0,12 13 15,-12-13-15,13 13 0,-13-13 0,13 13 16,0 0-16,-14-14 0,14 14 0,-13-13 15,0 13-15,-14 0 0,1 0 16,-1 0-16,-13 0 0,14 0 0,-14 0 16,0 0-16,0 13 0</inkml:trace>
  <inkml:trace contextRef="#ctx0" brushRef="#br0" timeOffset="48101.64">17754 7858 0,'0'0'0,"-14"-13"16,-12 13-16,13 0 16,-14 0-16,14 0 15,0 13-15,-1-13 0,1 13 16,13 1-16,0-1 16,13 0-1,-13 0-15,14 1 0,-1-14 0,0 13 16,0 0-16,1 13 0,-1-26 15,-13 14-15,13-14 0,-13 13 0,13-13 16,-13 13-16,-13 0 16,0 1-16,-14-1 15,14 0-15,0-13 0,0 13 16,-1-13-16,1 13 0,0-13 0,-13 0 16,12 0-16</inkml:trace>
  <inkml:trace contextRef="#ctx0" brushRef="#br0" timeOffset="48357.64">17926 7938 0,'0'0'0,"39"0"0,-26 0 0,-13 13 16,14-13-16,-14 13 0,0 0 16,-14 0-16,14 1 0,-13-1 15,0 0-15,13 0 0,-13-13 0,13 14 16,0-1-16,13 0 15,-13 0-15,13-13 16,0 0-16,14 0 0,-14 0 0,14 0 0,-1 0 16,1 0-16,-1 0 0,14 0 15,-14-13-15,-13 13 16,14 0-16,-1 0 0,-13-13 0,14 13 0,-14 0 16,0 0-16,1-13 0,-1 13 0,0 0 15,0 0-15,-13-14 0,14 14 16</inkml:trace>
  <inkml:trace contextRef="#ctx0" brushRef="#br0" timeOffset="57146.66">5265 8692 0,'0'-14'0,"13"1"31,1 13-15,-1 0 0,0 0-1,-13-13-15,13 13 16,1 0 0,-14-13-16,13-1 15,-26 1 16,-1 13-15,1 0-16,0 0 16,13 13-16,-13-13 15,13 14 1,-14-14 0,28 13 15,12-26-16,-52 13 64,26 13-64,-14 0 16,14-39 48,0 52-17</inkml:trace>
  <inkml:trace contextRef="#ctx0" brushRef="#br0" timeOffset="57579.97">5252 8983 0,'-13'0'31,"26"-14"-15,0 14-16,0 0 16,1 14-1,-1-14-15,-13 13 0,13-13 0,-13 26 16,13-12-16,-13-1 0,0 0 15,0 0-15,0 14 0,0-14 16,0 0-16,0 0 0,-13 1 0,13-1 16,0 0-16,0 0 0,0 1 0,0-1 15,0 0-15,-13 0 0,13 0 16,0 1-16,0-1 0,0 0 16</inkml:trace>
  <inkml:trace contextRef="#ctx0" brushRef="#br0" timeOffset="57733.22">5278 9459 0,'-13'13'16</inkml:trace>
  <inkml:trace contextRef="#ctx0" brushRef="#br0" timeOffset="58328.56">5080 10041 0,'-13'13'16,"13"0"-1,0 1-15,0-1 0,0 13 16,0-12-16,0 12 0,0-13 0,0 14 15,0-14-15,0 13 0,0-12 16,-13 12-16,13-13 0,0 14 16,0-14-16,0 0 0,0 0 0,0 1 15,0-1-15,0 0 0,0 0 0,0 1 16,0-1 0</inkml:trace>
  <inkml:trace contextRef="#ctx0" brushRef="#br0" timeOffset="58777.76">4829 10306 0,'0'0'0,"13"-14"16,0 14-1,0 0-15,1-13 0,-1 13 16,13 0-16,1-13 0,-1 13 0,1-13 16,12-1-16,1 14 0,0-13 0,-14 13 15,1 0-15,-1-13 0,1 13 16,-1-13-16,0 13 0,-12 0 0,-1 0 16,0 0-16,0 0 0,1 0 15,-1-14-15,0 14 0,27 0 31,-27-13 1,-39 26 46,26 1-63</inkml:trace>
  <inkml:trace contextRef="#ctx0" brushRef="#br0" timeOffset="59745.72">15677 9379 0,'-53'14'31,"39"-1"-31,-12 0 0,0 14 16,-1-14-16,1 13 0,-1-12 0,-26 25 15,40-26-15,0 1 16,0-1-16,-1 0 0,1 0 0,0 1 15,0-1-15,13 0 16,0 0-16,13 1 16,0-1-16,0-13 0,1 0 15,-1 0-15,13 0 0,1 0 16,-1 0-16,-13 0 0,27 0 0,-13-13 16,-1 13-16,0 0 0,1-14 15,-1 1-15,1 0 0,-1 13 16,-13-13-16,1 13 0,-1-14 0</inkml:trace>
  <inkml:trace contextRef="#ctx0" brushRef="#br0" timeOffset="59969.72">15663 9353 0,'-13'-26'16,"26"52"-16,-39-52 0,13 26 15,-1 13-15,14 0 16,-13 0-16,13 0 0,-13 14 0,13-1 15,0 14-15,-13-13 0,13 12 16,0 1-16,-13-14 0,13 14 0,-14 0 16,14-14-16,0 1 0,0 12 0,-13-12 15,13-1-15,0-13 0,0 14 16,0-1-16,-13 1 0,13-1 0,0-12 16,0 12-16,-13 0 15,13-12-15</inkml:trace>
  <inkml:trace contextRef="#ctx0" brushRef="#br0" timeOffset="60221.38">15002 10173 0,'-13'0'0,"26"-26"16,0 26-16,0 0 15,14-13-15,-1 13 0,1-14 0,-1 14 16,14-13-16,0 0 0,-1 13 16,1-13-16,0 13 0,-1-14 0,1 1 15,0 13-15,-1-13 0,1 13 0,-13-13 16,-1 13-16,0 0 0,1-14 16,-1 14-16,1 0 0,-14-13 15,0 13-15,0 0 0</inkml:trace>
  <inkml:trace contextRef="#ctx0" brushRef="#br0" timeOffset="60764.76">15399 10530 0,'-40'-26'32,"14"26"-32,-1 0 0,14 0 0,-14 13 15,1-13-15,0 0 0,12 0 0,-12 13 16,13-13-16,-1 0 0,1 0 16,0 14-16,13-1 0,0 0 15,13-13-15,0 13 16,14 1-16,-14-1 0,14 0 15,-14-13-15,13 13 0,-13 0 16,14 1-16,-14-1 0,14 0 0,-14 0 16,0 1-16,0-1 0,-13 0 15,0 0-15,-13 1 16,13-1-16,-13-13 0,-14 26 0,14-13 16,-13-13-16,-1 27 0,1-27 15,-1 13-15,14 0 0,-13-13 0,12 14 0,1-14 16,0 13-16,0-13 15,-1-13-15</inkml:trace>
  <inkml:trace contextRef="#ctx0" brushRef="#br0" timeOffset="61065.99">15505 10570 0,'26'-13'0,"27"13"31,-53 13-31,-13 14 16,13-14-16,-13 13 0,-1-13 0,1 14 15,-13-1-15,12 1 0,1-14 0,0 0 16,13 1-16,-13-1 0,13 0 16,-14 0-16,14 0 15,-13 1-15,26-1 16,-13 0-16,14-13 15,-1 0-15,0 0 0,14 0 16,-14-13-16,0 13 0,14-13 16,-14 13-16,13-14 0,-13 1 0,14 0 15,-14 0-15,14 0 0,-14-1 16,0 1-16</inkml:trace>
  <inkml:trace contextRef="#ctx0" brushRef="#br0" timeOffset="61341.54">16232 9869 0,'-13'13'31,"13"0"-31,0 1 0,0-1 16,0 13-16,0-12 0,0 12 0,0 0 0,0-12 16,0 12-16,0 1 0,13-14 0,-13 13 15,0-12-15,0 12 0,13-13 16,-13 0-16,0 1 0,0-1 16,14 0-16,-14 0 0</inkml:trace>
  <inkml:trace contextRef="#ctx0" brushRef="#br0" timeOffset="61548.82">16034 10054 0,'119'0'31,"-93"0"-31,1 0 0,-14 0 16,13 0-16,1 0 0,13-13 0,-14 13 16,0 0-16,1-13 0,-1 13 15,-12-14-15</inkml:trace>
  <inkml:trace contextRef="#ctx0" brushRef="#br0" timeOffset="62121.7">17634 9644 0,'-79'13'32,"66"1"-32,0-14 0,-1 13 0,1 0 15,-13-13-15,12 13 0,1 0 16,0-13-16,13 14 0,-13-1 15,0-13-15,13 13 0,-14 0 0,14 1 16,14-1-16,-1 0 16,0 0-16,0-13 15,14 13-15,-14-13 0,13 0 0,-12 0 16,12 0-16,1 0 0,-14 0 0,40-13 16,-40 13-16,0-13 0,0 13 15,14-13-15,-14 0 16,-13-1-16,13 1 0,1 0 0,-14 0 0</inkml:trace>
  <inkml:trace contextRef="#ctx0" brushRef="#br0" timeOffset="62330.71">17674 9499 0,'-13'-14'0,"26"28"0,-26-41 0,0 27 0,-1 0 16,1 13 0,0-13-16,13 14 0,-13-1 0,13 13 15,-13-13-15,13 14 0,-14-1 16,14 1-16,0-1 0,-13 1 0,13 12 15,-13-12-15,13-1 0,0 1 16,0-1-16,-13-13 0,13 14 0,0-1 16,0 1-16,0-14 0,0 14 0,-14-14 15,28 0-15,-14 13 0,0-12 16,0 12-16,0-13 0,0 1 0,13-1 16,-13 0-16</inkml:trace>
  <inkml:trace contextRef="#ctx0" brushRef="#br0" timeOffset="62602.7">16999 10504 0,'-13'0'15,"40"-13"1,-1 0-16,-13 13 0,27-14 15,0 1-15,-1 0 0,14 13 16,-13-13-16,0-1 0,13 14 0,-14-13 16,14 0-16,-13 13 0,13-13 0,-13-1 15,-1 14-15,1-13 0,0 13 0,-14 0 16,1-13-16,-14 13 0,26 0 16,-25 0-16,-1 13 15</inkml:trace>
  <inkml:trace contextRef="#ctx0" brushRef="#br0" timeOffset="63074.69">17343 10808 0,'-66'13'31,"40"-13"-31,13 14 15,-14-14-15,1 13 0,12 0 0,1-13 16,0 13-16,0-13 0,13 14 0,-13-14 16,13 13-16,13-13 0,0 13 15,13 0-15,-12-13 16,12 14-16,1-14 0,-14 13 0,13 0 16,1-13-16,-14 13 0,0-13 0,0 13 15,1-13-15,-1 14 16,0-1-16,-26 0 15,0 0-15,13 1 0,-27-1 16,14-13-16,-13 13 0,12-13 16,-12 13-16,13-13 0,-1 13 0,-12-13 15,13-13-15,-1 13 0,14-13 16,-13 13-16,13-13 0</inkml:trace>
  <inkml:trace contextRef="#ctx0" brushRef="#br0" timeOffset="63678.79">17674 10689 0,'13'0'15,"-26"0"-15,40 0 0,-1 0 16,-13 0-16,1 13 0,-1 1 15,0-1-15,-13 0 0,0 0 16,0 1-16,-13-1 0,13 13 16,-27 1-16,1-1 0,13 1 0,-14-14 15,14 13-15,0-12 0,-1-1 0,1 0 16,0 0-16,0-13 0,13 13 0,-13 1 16,13-1-16,0 0 15,13-13 1,0 0-16,0 0 0,27 0 15,-14-13 1,-12 13-16,25-13 0,1-1 0,-14 1 16,14-13-16,-13 13 0,12-14 0,-12 14 15,12-14-15,-12 1 0</inkml:trace>
  <inkml:trace contextRef="#ctx0" brushRef="#br0" timeOffset="63940.84">18296 10186 0,'66'-26'16,"-53"26"0,14 0-16,-14 0 0,0 0 0,0 0 15,14 0-15,-14 0 0,-13 13 16,13-13-16</inkml:trace>
  <inkml:trace contextRef="#ctx0" brushRef="#br0" timeOffset="64125.57">18283 10372 0,'0'0'0,"13"0"15,13 0 1,-12 0-16,-1 0 0,13-14 16,-12 14-16,12 0 0,0-13 0,-12 13 15,12-13-15,-13 13 0,14 0 16,-1-13-16,-12 0 0,12 13 0,-13-14 15</inkml:trace>
  <inkml:trace contextRef="#ctx0" brushRef="#br0" timeOffset="64780.79">19844 9644 0,'-13'-13'16,"26"26"-16,-40-26 0,14 13 0,0 0 15,0 0 1,13 13-16,0 0 0,-14 1 15,14-1-15,14 0 16,-14 0-16,0 14 0,0-14 0,0 27 16,0-27-16,0 13 0,0-13 15,0 1-15,-14 12 0,14-13 0,-13 1 16,0-1-16,13 0 0,-13-13 16,26-26 15,0 26-31,0-14 15,14 1-15,-14 0 0,0 0 16,14-14-16,-1 14 0,-13 0 16,1 0-16,-1-14 0,0 14 0,0 0 15,-13-1-15,14-12 0,-14 13 0,0 0 16,0-1-16,0 1 0,-14 0 16,1 0-16,0-1 0,0 1 15,-1 13-15,1 0 0,0 0 0,0 0 16,0 0-16,-14 13 0,14 1 15,0-1-15,-1 0 0,14 0 16,-13 1-16,13-1 0,0 0 16,-13 13-16</inkml:trace>
  <inkml:trace contextRef="#ctx0" brushRef="#br0" timeOffset="65077.58">19288 10478 0,'13'-14'16,"1"1"-16,118-27 31,-92 27-31,12 13 15,-12-13-15,13 0 0,-13 13 16,13-14-16,0 14 0,-14-13 0,1 13 16,13 0-16,-27-13 0,1 13 0,-1 0 15,1 0-15,-14 0 0,0 0 0,0 0 16,1 13-16,-1-13 0</inkml:trace>
  <inkml:trace contextRef="#ctx0" brushRef="#br0" timeOffset="65460.72">19579 10623 0,'0'0'16,"-40"0"-16,14 0 0,13 13 0,0-13 15,-1 0-15,1 0 0,0 13 0,13 1 16,-13-14-16,13 13 0,-14 0 16,14 0-16,0 1 0,14-1 0,-14 0 15,13 0-15,0 14 0,0-14 0,14 13 16,-14-12-16,0-1 15,-13 0-15,13 0 0,-13 1 16,0 12-16,-13-26 16,0 13-16,0 1 15,0-14-15,-1 13 0,-12-13 0,13 0 16,-1 0-16,1 13 0,0-26 16,0 13-16</inkml:trace>
  <inkml:trace contextRef="#ctx0" brushRef="#br0" timeOffset="65713.66">19791 10610 0,'26'0'0,"1"13"32,-27 0-32,-13 0 0,13 1 15,-14-1-15,-12 0 0,13 14 16,-14-14-16,14 0 0,0 0 0,-1 1 15,1-1-15,13 0 0,-13-13 16,13 13-16,0 0 16,13 1-16,0-14 15,14 0-15,-14-14 0,14 14 16,-1 0-16,14-13 0,-1 0 0,1 0 16,13-14-16,-13 14 0,13-13 0</inkml:trace>
  <inkml:trace contextRef="#ctx0" brushRef="#br0" timeOffset="65946.53">20836 10094 0,'0'0'0,"26"-13"0,-12 13 16,-1-14-16,0 14 0,0 0 16,1 0-16,-1 0 0,0-13 15,0 13-15,0 0 0,-13 13 16,14-13-16</inkml:trace>
  <inkml:trace contextRef="#ctx0" brushRef="#br0" timeOffset="66118.53">20730 10332 0,'79'0'32,"-52"0"-32,-14 0 0,14-13 0,-14 13 15,0 0-15,14 0 0,-14 0 0,0 0 16,0-13-16,0 13 0</inkml:trace>
  <inkml:trace contextRef="#ctx0" brushRef="#br0" timeOffset="69970.57">19513 9737 0,'53'26'32,"-27"-13"-32,-12 1 0,25-1 0,-12 0 15,12 0-15,-12 0 0,-1 1 16,-12-14-16,12 13 0,-13 0 0,14-13 16,-14 13-16,0-13 0,0 14 0,1-14 15</inkml:trace>
  <inkml:trace contextRef="#ctx0" brushRef="#br0" timeOffset="70351.48">20294 9247 0,'0'0'0,"26"0"0,-13 13 0,0-13 0,-13 14 16,0-1-16,0 0 0,0 0 0,-13 14 15,13-1-15,-26 14 0,13 0 0,-14-14 16,-13 40-16,27-39 0,0-1 15,0-13-15,13 1 0,-14-1 16,14 0-16,0 0 0,0 1 0,14-1 16,-1-13-16,0 0 0,0 0 15,14 0-15,-1 0 0,1 0 16,-1 0-16,1 0 16,12-13-16,-12 13 0,-1 0 0,-12 0 0,12 0 15,-13 0-15,0 0 0</inkml:trace>
  <inkml:trace contextRef="#ctx0" brushRef="#br0" timeOffset="71061.63">19315 10795 0,'0'0'0,"39"0"31,-25 0-31,25 0 0,-12 0 16,26-13-16,-14 13 0,14 0 0,0-13 15,0 13-15,0 0 0,-13-14 0,13 14 16,-27 0-16,14 0 0,-27 0 16,13 0-16,1 0 0,-14 0 0,13 0 15,-12 0-15,-1 0 0,0 0 0,0 14 16</inkml:trace>
  <inkml:trace contextRef="#ctx0" brushRef="#br0" timeOffset="73165.49">20373 10941 0,'0'26'32,"-13"-13"-32,13 0 0,-14 1 0,14 12 15,0-13-15,-13 1 0,13 12 0,-13-13 16,13 0-16,-13 14 0,13-14 0,-13 0 15,13 1-15,0-1 0,-14 0 16,14 0-16,0 1 0,0-1 16,0 0-16</inkml:trace>
  <inkml:trace contextRef="#ctx0" brushRef="#br0" timeOffset="73748.92">20585 10941 0,'0'0'0,"13"-14"0,0 28 16,0-14-16,1 13 16,-14 0-1,0 0-15,13-13 16,-13 13-16,13 1 15,-13-1-15,13-13 0,-13 13 16,13 0-16,-13 1 0,14-1 16,-14 0-16,0 0 15,0 0-15,-14 1 0,14-1 0,-13 0 16,0 0-16,-13 1 0,12-1 0,1 0 16,-13 0-16,12 1 0,1-14 0,0 0 15,0 13-15,-1-13 0,1-13 16</inkml:trace>
  <inkml:trace contextRef="#ctx0" brushRef="#br0" timeOffset="74348.72">22238 9618 0,'13'-14'0,"40"28"16,-39-1-1,-1 0-15,-13 0 0,0 1 16,13-1-16,-26 0 0,13 13 0,-27 27 16,1-26-16,13-1 0,-1-13 15,-12 1-15,13-1 0,0 13 16,-1-12-16,1-14 0,0 26 15,0-26-15,13 13 16,13-13 0,13 0-1,-12 0-15,-1-13 16,13 13-16,1 0 0,-1 0 0,14-13 16,0 0-16,-1 13 0,14-14 15,-13 1-15</inkml:trace>
  <inkml:trace contextRef="#ctx0" brushRef="#br0" timeOffset="74558.73">22873 9710 0,'0'0'0,"-13"0"15,-13 0-15,12 13 16,-12 1-16,-1-1 0,1 13 0,-14 1 16,-13-1-16,14 14 0,-67 26 15,66-39-15,-13 12 0,14-12 16,-14 12-16,13 1 0,0-13 15,14-1-15,-1 0 0,1 1 0,-1-1 16,1-12-16,13 12 0,-1-13 0,1 1 16,0-1-16,0 0 15,13 0-15,0 0 0</inkml:trace>
  <inkml:trace contextRef="#ctx0" brushRef="#br0" timeOffset="74830.7">22490 10253 0,'-14'26'16,"14"-13"-16,-13 14 15,13-1-15,-13-13 16,13 14-16,-13-1 0,13-12 16,-14-1-16,14 13 0,0-12 0,-13-1 15,13 0-15,-13 13 0,13-12 16,0-1-16,-13-13 0</inkml:trace>
  <inkml:trace contextRef="#ctx0" brushRef="#br0" timeOffset="75214.75">22675 10200 0,'0'-14'0,"0"28"0,13-28 16,0 14 0,0 0-1,-13 14-15,0-1 16,0 0-16,0 0 16,0 1-16,0-1 15,0 0-15,14-13 0,-14 13 16,0 1-16,13-1 0,-13 0 0,13-13 15,-13 13-15,13 0 0,-13 1 16,0-1-16,0 0 0,14-13 0,-14 13 16,0 1-16,-14-1 0,14 0 15,-13 0-15,13 1 0,-13-14 0,0 13 16,-1 0-16,14 0 0,-13-13 16,13 13-16</inkml:trace>
  <inkml:trace contextRef="#ctx0" brushRef="#br0" timeOffset="86809.47">4829 3096 0,'79'-40'109,"14"13"-109,12 1 16,-25 0-16,-40 26 0,12-14 15,-12-12-15,-13 13 16,-14 13 15,0 0 1,0 0-17,-26 0 63,-13 26-62</inkml:trace>
  <inkml:trace contextRef="#ctx0" brushRef="#br0" timeOffset="87557.71">5067 3215 0,'0'-14'94,"53"-25"-94,-14 26 15,1-40-15,39 0 16,-26 0-16,0 13 16,-26 27-16,-1-27 15,1 1-15</inkml:trace>
  <inkml:trace contextRef="#ctx0" brushRef="#br0" timeOffset="88521.53">5054 5768 0,'26'0'110,"40"-27"-110,0 14 15,27 13-15,0-13 16,-14-13-16,-39 12 16,-14 14-16,-13-13 15,0 13-15</inkml:trace>
  <inkml:trace contextRef="#ctx0" brushRef="#br0" timeOffset="88961.91">5331 6006 0,'27'0'32,"26"0"-32,26 0 15,40-40 1,-53 40-16,-39-13 16,-14 13-16,0 0 31</inkml:trace>
  <inkml:trace contextRef="#ctx0" brushRef="#br0" timeOffset="114815.3">13758 595 0,'0'-13'0,"-13"-13"32,0 12-32,13 41 31,0-14-31,0 14 16,0-1-16,0 0 0,0 27 15,0-26-15,0-1 0,0 14 16,0-14-16,0 1 0,0-14 0,0 14 15,13-14-15,-13 13 0,0-13 0,0 1 16,0-1-16,0 0 0,0 0 16,13 1-16</inkml:trace>
  <inkml:trace contextRef="#ctx0" brushRef="#br0" timeOffset="115133.46">13626 569 0,'0'-27'0,"0"54"0,0-67 16,13 27-16,0 0 0,1-1 0,12 1 15,1 0-15,-1 13 16,-13 0-16,14 0 0,12 0 0,-12 0 15,-14 13-15,14 0 0,-1-13 0,-13 14 16,1-1-16,-1 0 0,0 0 16,-13 1-16,0 12 0,0-13 0,-13 1 15,0 12-15,-1-13 0,1 0 0,0 14 16,0-14-16,-1 0 0,1 1 0,-13-1 16,12 0-16,1-13 15,0 13-15,0-13 0,13 14 0,-13-14 16,-1 0-16,14 13 0,-13-13 15</inkml:trace>
  <inkml:trace contextRef="#ctx0" brushRef="#br0" timeOffset="115469.4">14195 357 0,'0'-26'15,"0"52"-15,0-65 0,-27 39 32,27 13-32,-13 0 0,0 0 0,-13 14 15,12 12-15,-12-12 0,13 12 16,-14 14-16,14-13 0,0 0 0,-1-1 16,1 14-16,0-13 0,13 0 15,0-14-15,0 1 0,0-1 0,0 14 16,13-1-16,14 1 0,-14-13 15,0-14-15,0 13 0,1-12 16,-1-1-16,0 0 0,0-13 16,1 13-16,-1 0 0,0-13 0,0 0 15,0 14-15,1-14 0,-1-14 16,0 14-16,0-13 16,-13 0-16,14 0 0,-1-14 15</inkml:trace>
  <inkml:trace contextRef="#ctx0" brushRef="#br0" timeOffset="115700.51">14393 569 0,'0'-13'0,"0"-1"31,0 41-15,14-14-16,-14 14 15,0-14-15,0 13 0,0-13 0,0 14 16,0-1-16,0 1 0,-14-1 16,14 1-16,0-14 0,0 13 0,-13 1 15,13-14-15,-13 14 0,13-14 0,0 0 16,-13 0-16,13 0 0,0 1 16</inkml:trace>
  <inkml:trace contextRef="#ctx0" brushRef="#br0" timeOffset="116129.83">14724 675 0,'13'-14'16,"-39"14"15,-1 27-31,1-14 15,13 0-15,-14-13 0,1 14 0,13-1 16,-14 0-16,14 0 0,0 1 0,-1-14 16,1 13-16,0 0 15,0 0-15,-1-13 0,14 13 16,-13-13-16,13 14 0,13-1 16,1-13-1,-1 0-15,0 13 0,0-13 16,1 0-16,-1 0 0,0 0 0,0 0 15,1 0-15,12 0 0,-13 0 16,14 0-16,-14 0 16,0 0-16,0 0 0,1 0 15,-1 0 1,0 0 31,-13-13-32</inkml:trace>
  <inkml:trace contextRef="#ctx0" brushRef="#br0" timeOffset="117065.71">15161 661 0,'0'0'0,"-14"-13"15,1 40 1,13-14-16,0 0 16,-13 0-16,13 1 0,0-1 0,-13 13 15,13-12-15,0-1 0,0 0 0,0 13 16,0-12-16,13-1 0,-13 0 16,13 0-16,0 1 0,1-1 15,12-13-15,-13 0 16,1 13-16,12-26 0,-13 13 0,0 0 15,1 0-15,12-13 0,-13 13 16,1-14-16,-1 1 0,0 13 0,-13-13 16,13 0-16,-13-1 0,0 1 15,0 0-15,0 0 0,0-27 16,0 27-16,-13 0 0,0 13 0,13-14 16,-13 1-16,-1 0 0,1 13 0,0-13 15,0 13-15,-1 0 0,1-14 16,0 14-16,0 0 0,0 0 15,52 0 17,-26 0-32,1 14 15,12-14-15,-13 0 0,14 13 16,-1 0-16,1-13 0,-1 13 16,1-13-16,-14 14 0,13-1 0,-12-13 15,-1 13-15,13 0 0,-12 1 16,-14-1-16,13 0 0,-13 0 15,-13 14-15,13-14 16,-14-13-16,14 13 0,-13 0 16,0 1-1,13-41 17,0 14-32,13 0 15,-13-14-15,13 14 0,1-13 16,-1 12-16,0 1 0,0-13 0,0 12 15,1 1-15,-1 0 0,0 0 0,0-1 16,-13 1-16,14 13 0,-1-13 0,0 13 16,13 0-1,1 0 1,-14 0-16</inkml:trace>
  <inkml:trace contextRef="#ctx0" brushRef="#br0" timeOffset="118709.37">16457 886 0,'-26'0'47,"12"0"-31,1 0-1,0 0-15,0-13 0,-1 13 16,1 0-16,13-13 0,-13 13 0,0-13 16,0 13-16,13-14 0,-14 14 15,1-13-15,0 0 0,0 0 16,-1 0-16,14-1 0,-13 14 0,13-13 16,-13-13-16,0 12 15,13 1-15,-14 0 16,14 0-16,0-1 0,0 1 0,0 0 15,0 0-15,0 0 0,0-1 16,14 1-16,-14 0 16,0 0-16,13 13 0,-13-14 0,13 14 15,-13-13-15,13 13 0,1-13 16,-1 13 0,0 0-16,0 0 15,1 13-15,-1-13 0,0 13 16,-13 1-16,13-14 15,-13 13-15,13 0 0,-13 0 16,14-13-16,-14 14 0,0-1 16,0 0-16,13 0 15,-13 0 1,0 1 0,0-1-1,13-26 32,0 13-47,-13-14 0,14 1 16,-1 0-16,0 0 15,0 13-15,-13-13 0,14 13 16,-1-14-16,0 14 0,0-13 16,0 0-16,1 13 0,-1 0 15,0 0-15,-13-13 0,13 13 0,1 0 16,-1 0-16,-13 13 0,26-13 15,-12 0-15,-14 13 0,13-13 16,0 13-16,0 1 0,-13-1 16,13 0-16,-13 0 15,0 0-15,14-13 0,-14 14 0,-14-1 16,14 0-16,-13 0 0,13 1 16,-13-1-16,-27 13 0,27-12 15,-13-1-15,12 0 0,1 0 0,-13-13 16,-1 27-16,14-27 0,13 13 15,-13-13-15,0 0 0,-1 13 16,1-13-16,26-26 47,1 12-47,-1 14 16,0-13-16,0 0 0</inkml:trace>
  <inkml:trace contextRef="#ctx0" brushRef="#br0" timeOffset="119126.4">16775 251 0,'0'-13'0,"0"-13"32,13 26-32,0 0 15,0 13 1,1-13-16,-1 13 0,13 0 0,-13 1 16,14 12-16,-1 1 0,1-1 0,-14 0 15,13 1-15,-12-1 0,-1-12 16,0 12-16,-13 0 0,0 1 0,13-14 15,-13 14-15,0-1 0,-13 1 0,13-1 16,0 0-16,-26 1 0,12-1 0,1 1 16,0 13-16,-13-14 0,-1-13 15,14 14-15,0-1 0,-14-13 0,14 1 16,0-1-16,0 0 0,-1 0 16,1-13-16,13 13 15,13-26 1,1 0-16,-1 0 15</inkml:trace>
  <inkml:trace contextRef="#ctx0" brushRef="#br0" timeOffset="119409.71">17370 609 0,'0'-14'16,"26"1"-1,-12 13 1,-1 0-16,0 0 0,0 0 0,0 0 15,14 0-15,-14 0 0,0 0 0,1 0 16,-1 0-16,-13 13 0,13-13 0</inkml:trace>
  <inkml:trace contextRef="#ctx0" brushRef="#br0" timeOffset="119612.52">17357 754 0,'0'0'0,"26"13"32,-13-13-32,1 0 15,-1 0-15,0 0 0,13 0 16,-12 0-16,12 0 0,1-13 0,-14 13 16,13 0-16,27 0 0,-26 0 15,26 0-15,-40-13 16,13 13-16</inkml:trace>
  <inkml:trace contextRef="#ctx0" brushRef="#br0" timeOffset="120013.65">18084 318 0,'0'0'0,"14"-27"0,-1 14 16,0 13-1,0 0-15,0 0 0,1 0 16,-1 0-16,0 13 0,0-13 0,1 13 15,-1-13-15,-13 14 0,13-1 16,0 0-16,-13 0 0,0 0 0,13 1 16,-13-1-16,0 27 0,0-27 15,0 13-15,-13-13 0,13 14 16,0-1-16,-13 1 0,13-14 16,-13 14-16,13-1 0,-13 14 15,-1-27-15,14 0 0,0 14 0,-13-14 16,13 0-16,-13 0 0,0 14 0,13-14 15,-14 0-15,14 0 0,-13-13 16</inkml:trace>
  <inkml:trace contextRef="#ctx0" brushRef="#br0" timeOffset="120161.36">18150 1032 0,'0'13'31</inkml:trace>
  <inkml:trace contextRef="#ctx0" brushRef="#br0" timeOffset="121333.52">16563 2077 0,'0'-13'16,"0"0"0,13 39 15,-13-13-31,0 0 15,0 14-15,0-14 0,0 14 0,-13-14 16,13 13-16,0-13 0,0 14 0,0-14 16,0 0-16,0 14 0,0-14 0,0 0 15,0 1-15,0-1 16,13-13-16,-13 13 0,0 0 16</inkml:trace>
  <inkml:trace contextRef="#ctx0" brushRef="#br0" timeOffset="121627.05">16523 1971 0,'13'-13'0,"54"-27"31,-54 40-31,0 0 0,14 0 15,-14 0-15,13 13 0,1-13 0,-14 14 16,13-1-16,-12 0 0,-1 0 0,0 1 16,0-1-16,-13 0 15,0 0-15,0 1 0,-13-1 0,13 0 16,-13 0-16,0 0 0,13 1 0,-14-14 16,1 13-16,0 0 0,0-13 0,-1 13 15,1-13-15,0 0 16,13 14-16,-13-14 0</inkml:trace>
  <inkml:trace contextRef="#ctx0" brushRef="#br0" timeOffset="121909.49">17079 1879 0,'0'-14'0,"-27"28"31,1 12-15,13 0-16,-14 1 0,-12 26 16,25-13-16,1-14 0,0 0 15,0 1-15,-1-1 0,14 1 16,0-14-16,0 13 0,0-12 0,14 12 16,-14-13-16,13 14 0,0-14 0,0 0 15,1 1-15,12-1 0,-13 0 16,14 0-16,-1-13 0,-13 0 15,1 0-15,-1 0 0,13 0 0,1 0 16,-14-13-16,13 13 0,-12-13 16</inkml:trace>
  <inkml:trace contextRef="#ctx0" brushRef="#br0" timeOffset="122124.58">17383 2037 0,'0'-13'15,"0"40"32,0-14-47,0 0 0,0 13 16,0-12-16,0-1 0,0 0 16,0 0-16,0 1 0,0-1 0,0 0 15,0 0-15,0 0 16,13-13-16,-13 14 0</inkml:trace>
  <inkml:trace contextRef="#ctx0" brushRef="#br0" timeOffset="122398.74">17661 2077 0,'-66'13'16,"53"0"-1,-1-13-15,-12 14 0,13-1 0,-1-13 0,1 13 16,0 0-16,0-13 0,13 14 0,-14-1 16,1 0-16,13 0 15,-13 0-15,26 1 16,0-1 0,1-13-16,-1 0 15,0 0-15,0 0 16,1 0-16,12 0 0,1 0 15,-14 0-15,0-13 0,0 13 0,0 0 16,1-14-16</inkml:trace>
  <inkml:trace contextRef="#ctx0" brushRef="#br0" timeOffset="122694.51">17806 1759 0,'120'67'31,"-94"-41"-31,0-13 16,1 14-16,-1-1 0,14 40 15,-27-39-15,1-1 0,-1 14 16,-13-27-16,0 14 0,0-14 15,-13 0-15,13 14 16,-14-14-16,14 13 0,-13-13 0,0 1 16,0-1-16,13 0 0,-14 0 0,1-13 15,13 14-15</inkml:trace>
  <inkml:trace contextRef="#ctx0" brushRef="#br0" timeOffset="122908.73">18534 1984 0,'27'-13'15,"52"13"1,-66 0-16,0 0 15,14 0-15,-14 0 0,0 0 16,-13 13-16,13-13 0</inkml:trace>
  <inkml:trace contextRef="#ctx0" brushRef="#br0" timeOffset="123041.53">18600 2143 0,'40'0'16,"26"0"0,-53 0-16,0-13 0</inkml:trace>
  <inkml:trace contextRef="#ctx0" brushRef="#br0" timeOffset="123562.4">19883 1905 0,'-79'53'32,"66"-53"-32,-14 13 15,1 0-15,-1 1 0,1-1 16,13 0-16,0 0 0,-1-13 0,1 14 16,0-1-16,0-13 0,13 13 0,-14-13 15,14 13-15,0 0 16,14 1-16,-1-14 15,0 0-15,0 13 0,14-13 0,-1 0 16,1 0-16,12 0 0,-12 0 16,13 0-16,-14 0 0,0 0 0,1 0 15,-14 0-15,14 0 0,-14-13 0,0 13 16</inkml:trace>
  <inkml:trace contextRef="#ctx0" brushRef="#br0" timeOffset="123785.38">19976 1826 0,'0'0'0,"-13"13"15,0 0-15,13 0 0,0 1 0,0-1 16,-14 0-16,14 0 0,-13 14 0,13-14 16,0 13-16,-13 1 0,13-14 15,-13 14-15,-1-1 0,14-13 16,-13 14-16,0-1 0,13-13 0,-13 14 15,13-14-15,0 13 0,0-12 0,-13-1 16,13 0-16,0 0 0,0 14 16,-14-27-16,14 13 0</inkml:trace>
  <inkml:trace contextRef="#ctx0" brushRef="#br0" timeOffset="124042.35">19381 2381 0,'0'-13'0,"13"13"0,0-13 16,0 13-16,1-13 0,-1 13 16,27 0-16,-14-14 0,14 14 0,-1-13 15,14 13-15,-13 0 0,0-13 0,13 13 16,-14 0-16,1 0 0,0 0 15,-14 0-15,1 0 0,-1 0 0,-13 0 16,14 0-16,-14 0 0,0 13 0,0-13 16,1 0-16</inkml:trace>
  <inkml:trace contextRef="#ctx0" brushRef="#br0" timeOffset="124450.72">19791 2593 0,'-27'-13'0,"14"13"15,-13 0-15,12-14 0,1 28 16,-13-14-16,13 0 0,-1 0 16,-12 0-16,13 0 0,-1 13 0,1-13 0,0 0 15,13 13-15,-13-13 0,13 13 16,0 1 0,0-1-16,13 0 0,0-13 0,-13 13 15,13 1-15,1-1 0,-1-13 0,0 13 16,-13 0-16,13-13 0,1 13 0,-14 1 15,13-1 1,-26 0-16,13 0 0,-14-13 16,-12 14-16,13-1 0,-1-13 15,1 13-15,0-13 16,13 13-16,-13-13 0</inkml:trace>
  <inkml:trace contextRef="#ctx0" brushRef="#br0" timeOffset="124717.81">19883 2580 0,'40'0'15,"-27"0"-15,1 13 16,-1-13-16,-13 13 16,-13 0-16,-1 14 15,1-14-15,13 0 0,-26 1 16,26-1-16,0 0 0,-14-13 15,14 13-15,0 0 16,14 1 0,-1-14-16,0 0 15,0 0-15,1 0 0,12-14 16,-13 14-16,0 0 0,14 0 0,-14 0 16,14 0-16,-14-13 0,0 13 0,0 0 15</inkml:trace>
  <inkml:trace contextRef="#ctx0" brushRef="#br0" timeOffset="125539.88">20069 3492 0,'-14'0'0,"14"14"15,0-1-15,-13 0 16,13 0-16,0 1 0,0 12 0,-13 1 16,13-1-16,0 14 0,-13-1 0,-1 1 15,14-13-15,-13 12 0,13 1 16,-13-14-16,13 14 0,0-27 15,0 1-15,0-1 0,-13 0 0,13 0 16,0 0-16,-13-26 31,13-13-15,-14-1-16,14 14 0,14-13 16,-14-14-16,0 0 0,13 1 15,-13-1-15,13 0 0,0-13 0,0 14 16,1 12-16,-1-13 0,0 14 0,0 13 15,1-14-15,-1 14 0,-13 0 0,13 13 16,0-13-16,1 13 0,-1 0 16,0 13-16,0-13 0,-13 13 15,0 0-15,13-13 0,-13 13 0,-13 1 16,13-1-16,-13 13 0,13-12 16,-13-1-16,0 0 0,-1 0 15,1 1-15,-13 12 0,12-13 16,1 0-16,0 1 0,0-14 15,13 13-15</inkml:trace>
  <inkml:trace contextRef="#ctx0" brushRef="#br0" timeOffset="125886.38">20466 3347 0,'0'-13'0,"-27"39"32,14-13-32,0 14 0,-14 13 15,14-14-15,-14 40 0,14-26 16,0 0-16,0-1 0,0 1 0,-1 0 15,14-14-15,-13 14 16,13-14-16,0 1 0,0-1 0,0 1 16,13-1-16,-13 1 0,14-14 0,-1 13 15,-13-13-15,13 1 0,0-1 16,0 0-16,1 0 0,12-13 0,-13 0 16,1 14-16,-1-14 0,13-14 0,-12 14 15,12 0-15,-13-13 0,14 13 0,-14 0 16,0-13-16,0 13 0,1-13 15,-1 13-15,-13-14 0,13 14 0</inkml:trace>
  <inkml:trace contextRef="#ctx0" brushRef="#br0" timeOffset="126895.23">20942 3889 0,'-13'0'16,"-14"-13"-1,14 13 1,13-13-16,-13 13 0,-1-13 16,1 13-1,13-14-15,-13 14 0,13-13 0,-13-13 16,13 13-16,0-1 0,-14 1 15,14 0-15,0-14 0,0 14 16,0 0 0,0 0-16,14-1 15,-1 14-15,0 14 32,0-14-32,1 26 46,-1-39-14,-13 0-17,13 13-15,-13-14 16,13 1-16,1 0 16,-1 0-16,0 13 15,0 0-15,0 0 16,1 0-16,-1 13 0,0-13 15,-13 13-15,13-13 0,-13 13 16,14 1-16,-14-1 0,0 0 16,0 0-16,0 1 0,0-1 15,0 0-15,-14-13 0,14 13 16,-13 1-16,13-1 0,-13-13 0,0 13 16,13 0-16,-14-13 0,1 13 15,0 1-15,0-1 16</inkml:trace>
  <inkml:trace contextRef="#ctx0" brushRef="#br0" timeOffset="127255.39">21259 3373 0,'27'14'15,"-14"-1"-15,0 13 0,0-12 16,1-1-16,-1 26 15,0-12-15,0-1 0,1 1 0,-14-1 16,13-12-16,-13 12 0,0 67 16,-13-67-1,-1 27-15,1-40 0,0 14 16,-14 12-16,14-25 0,0-1 16,0 0-16,-1 0 0,1 1 15,0-1-15</inkml:trace>
  <inkml:trace contextRef="#ctx0" brushRef="#br0" timeOffset="127458.98">21815 3545 0,'26'0'0,"1"-13"0,-14 13 0,0 13 16,1-13-16,-1 0 0</inkml:trace>
  <inkml:trace contextRef="#ctx0" brushRef="#br0" timeOffset="127677.6">21630 3757 0,'13'0'16,"13"0"-16,-12 0 15,-1-13-15,0 13 0,27 0 16,-14 0-16,1 0 0,-14-13 15,0 13-15,14 0 0,-14 0 16,0 0-16,0 0 0,1 0 16,-1 0-16,0 0 0,-13-14 15</inkml:trace>
  <inkml:trace contextRef="#ctx0" brushRef="#br0" timeOffset="134170.72">22450 3413 0,'13'27'0,"-13"25"15,-13-38-15,13-1 16,0 0-16,0 0 0,0 1 0,-13-1 15,13 0-15,0 0 0,0 1 16,0-1-16,0 0 0,-14 0 16,14 0-16,0 1 0</inkml:trace>
  <inkml:trace contextRef="#ctx0" brushRef="#br0" timeOffset="135074.29">22688 3413 0,'0'-13'16,"26"26"15,-26 0-31,0 14 15,-13-14 1,0 0-16,0 0 0,0 1 16,13-1-1,0 0 1,0 0-16,13-13 0,-13 14 16,13-14-16,-13 13 15,0 0-15,13 0 16,-26 1-1,13-1 1,-13 0 0,0-13-16,-1 13 0,1-13 15,13 13-15,-13 1 0,0-14 0,-1 13 16,14 0-16,-13-13 0</inkml:trace>
  <inkml:trace contextRef="#ctx0" brushRef="#br0" timeOffset="135338.62">22278 3863 0,'26'-13'16,"-12"13"-16,12 0 15,-13 0-15,14-14 0,-1 14 0,14 0 16,-14 0-16,1 0 0,12 0 16,-12 0-16,-1 0 0,1 0 0,-1 0 15,1 0-15,-14 0 0,13 0 16,-12 0-16,-1 0 0,0 0 0,0 0 16,1 0-16</inkml:trace>
  <inkml:trace contextRef="#ctx0" brushRef="#br0" timeOffset="135865.91">22622 4101 0,'0'0'0,"-27"13"31,1-13-31,13 0 0,-14 14 0,14-14 16,0 0-16,0 13 0,-1-13 16,1 0-16,0 13 0,0-13 15,13 13-15,13 0 16,0 1-1,0-14-15,-13 13 0,14-13 0,-1 13 16,0-13-16,0 13 0,0-13 0,-13 14 16,14-14-16,-14 13 0,13-13 15,-13 13-15,0 0 16,0 0-16,-13-13 0,-1 14 16,1-1-16,0-13 15,0 13-15,0-13 0,-1 13 0,1-13 16,0 0-16,13 14 0</inkml:trace>
  <inkml:trace contextRef="#ctx0" brushRef="#br0" timeOffset="136154.35">22728 4180 0,'26'0'0,"-52"0"0,65 0 0,-25 0 16,-14 14-1,0-1-15,0 0 16,-14-13-16,14 13 0,-13 1 0,13-1 16,-13-13-16,0 13 15,13 0-15,0 0 16,13-13 0,0 14-16,0-14 15,1 0-15,-1 0 0,0 0 16,0 0-16,1 0 0,-1 0 0,0 0 0,0 0 15,0 0-15,14 0 16,-14 0-16</inkml:trace>
  <inkml:trace contextRef="#ctx0" brushRef="#br0" timeOffset="141096.32">2051 10901 0,'-27'0'0,"14"13"32,13 0-32,13 1 0,14-14 15,-1 0-15,0 13 0,14-13 0,26 13 16,0-13-16,14 0 0,12 0 16,1-13-16,39 13 0,1-13 15,12-1-15,14 1 0,0 0 0,13 0 16,0-1-16,13 1 0,13 0 0,1-14 15,52 14-15,14-13 0,-67 13 16,53-14-16,27 14 0,-13-14 0,251 1 16,-305 13-16,67-1 0,-79 1 15,78 13-15,-65-13 0,0 13 0,-1 0 16,1 0-16,-13 0 0,197 0 16,-210 0-16,-1 0 0,-26 0 15,13 0-15,-27 13 0,1-13 0,250 0 31,-316 13-31,-1-13 0,-26 0 0,0 0 16,40 0-16,-67 0 16,1 0-16,-14-13 0,13 13 0,-12 0 15,-1 0-15,0 0 0,0-13 16,-13 0 0,0 0-1,-13 13-15,13-14 0,-13 14 16,13-13-16,-13 13 0,-1-13 15,1 13-15,0-13 16,0-1 0,-1 14-1,14-13 1,-13 13 0,26-13 15,1 0-31,-1 0 15,0 13 17,-13-14-17,13 14-15,1 0 32,-1 0-1,0 0-31,0 0 15,0 0 1,1 0-16,-1 14 16,0-14-1,0 0 1,-13 13-16</inkml:trace>
  <inkml:trace contextRef="#ctx0" brushRef="#br0" timeOffset="144105.51">19989 357 0,'13'0'0,"-52"13"31,26 1-31,-1-14 16,1 13-16,0 0 0,0 0 16,-1-13-16,14 14 0,-13-1 15,0-13-15,0 13 0,0 0 16,13 0-16,13-13 15,-13 14 1,13-14-16,0 0 0,0 0 0,1 0 16,12 0-16,-13 0 0,14-14 0,-1 14 15,-13 0-15,14 0 0,-1-13 0,-12 13 16,12 0-16,-13-13 0,1 13 16,-1 0-16,-13-13 0,13 13 0,0-13 15,-13-1-15</inkml:trace>
  <inkml:trace contextRef="#ctx0" brushRef="#br0" timeOffset="144293.24">20122 318 0,'-14'-14'0,"41"41"0,-40-40 0,-14-1 31,27 28-31,-13-14 16,13 13-16,0 0 0,-13 0 0,13 0 16,0 14-16,-14-1 0,14-12 15,0 12-15,-13 0 0,13 1 16,-13-1-16,13 1 0,0-1 0,-13-12 15,13 12-15,0 0 0,-14-12 0,14-1 16,0 13-16,-13-12 0,13-1 16,0 0-16,0 0 0,-13 1 0</inkml:trace>
  <inkml:trace contextRef="#ctx0" brushRef="#br0" timeOffset="144593.7">19566 886 0,'-13'0'0,"39"-13"31,-13 13-31,14-13 16,-14 13-16,14 0 0,39-13 15,-27-1-15,1 1 0,-13 13 0,-1-13 16,14 13-16,-14-13 0,1 13 16,-1-13-16,0 13 0,1 0 0,-14-14 15,14 14-15,-14 0 0,0 0 0,0 0 16,1-13-16,-1 13 16,0 13-16</inkml:trace>
  <inkml:trace contextRef="#ctx0" brushRef="#br0" timeOffset="145092.35">19778 1085 0,'-27'0'0,"14"0"15,0 0-15,-1 0 0,1 0 16,-13 0-16,13 0 0,-1 13 0,1-13 16,-13 0-16,26 13 0,-14-13 0,1 0 15,0 13-15,13 1 16,0-1-16,13-13 0,-13 13 16,13 0-16,1-13 0,-1 14 15,0-1-15,0 0 0,1-13 16,-1 13-16,0 1 0,0-1 15,0-13-15,-13 13 0,14 0 16,-28 0-16,1 1 16,0-1-16,13 0 0,-13 0 15,-14-13-15,14 14 0,0-1 0,0-13 16,-1 13-16,1 0 0,-13-13 16,26 14-16,-14-14 0</inkml:trace>
  <inkml:trace contextRef="#ctx0" brushRef="#br0" timeOffset="145393.24">19831 1138 0,'0'0'0,"26"0"0,-13 0 0,0 0 16,-13 13-16,0 0 15,0 0 1,0 1-16,-13-1 0,0 0 15,13 0-15,-13 1 0,0-1 0,13 0 16,-14 0-16,14 0 0,-13 1 16,13-1-16,0 0 15,13-13 1,1 13-16,-1-13 16,0 0-16,0 0 0,0 0 0,1-13 15,-1 13-15,0 0 0,0 0 0,1-13 16,-1 13-16,0 0 0,0-13 0,14 13 15,-14-14-15,0 14 0,-13-13 16,13 0-16</inkml:trace>
  <inkml:trace contextRef="#ctx0" brushRef="#br0" timeOffset="145846.37">20677 582 0,'-13'13'31,"26"1"-31,-13-1 16,0 0-16,0 0 0,13 14 15,-13-14-15,0 0 0,14 0 16,-14 1-16,13-1 0,-13 13 0,0-12 16,0-1-16,13-13 0,-13 13 0,0 0 15</inkml:trace>
  <inkml:trace contextRef="#ctx0" brushRef="#br0" timeOffset="146058.31">20426 714 0,'26'-13'31,"-12"13"-31,12 0 15,-13 0-15,0 0 0,14 0 16,-1 0-16,1 0 0,-14 0 0,14-13 16,-1 13-16,0 0 0,14 0 0,-27 0 15,14-13-15,-1 13 0</inkml:trace>
  <inkml:trace contextRef="#ctx0" brushRef="#br0" timeOffset="146366.32">21259 318 0,'0'0'16,"13"26"0,-13-13-16,14 14 15,-14-14-15,0 0 0,0 14 16,0-14-16,0 13 0,0-13 0,0 14 16,0-1-16,0-12 0,0 12 15,0-13-15,13 1 0,-13 12 0,0-13 16,0 0-16</inkml:trace>
  <inkml:trace contextRef="#ctx0" brushRef="#br0" timeOffset="146866.2">21444 370 0,'40'-13'31,"-27"26"-31,-13 1 16,14-1 0,-14 0-1,0 0-15,0 1 0,0-1 16,13 0-1,-13 0-15,13-13 0,-13 13 16,13-13-16,-13 14 0,0-1 16,14-13-16,-14 13 0,0 0 15,0 1 1,0-1-16,-14-13 0,14 13 16,-13-13-16,0 13 0,13 1 0,-13-14 15,-1 13-15,1 0 0,0 0 16,0 0-16,-1-13 0</inkml:trace>
  <inkml:trace contextRef="#ctx0" brushRef="#br0" timeOffset="147125.63">21074 886 0,'53'-26'16,"-40"13"-16,14 13 16,-1 0-16,1-14 0,-1 14 0,0 0 15,1-13-15,-1 13 0,41-13 16,-41 13-16,14-13 0,-14 13 16,1-13-16,-1 13 0,1-14 0,-1 14 15,-13 0-15,14-13 0,-14 13 0,0-13 16,0 13-16,1 0 0,-1 0 15</inkml:trace>
  <inkml:trace contextRef="#ctx0" brushRef="#br0" timeOffset="147592.29">21365 952 0,'13'0'16,"-39"0"15,13 0-31,-1 0 0,1 0 16,13 14-16,-13-14 0,13 13 0,-13-13 16,13 13-16,0 14 15,13-14-15,0 0 16,-13 0-16,13 1 0,1-1 15,-14 0-15,0 0 0,13-13 16,-13 13-16,0 1 16,0-1-16,0 0 15,-13 0-15,-1 1 0,1-14 16,0 13-16,0 0 16,-1-13-16,1 0 0</inkml:trace>
  <inkml:trace contextRef="#ctx0" brushRef="#br0" timeOffset="147882.2">21577 966 0,'0'0'15,"13"0"-15,0 13 0,-13 0 16,-13 14-16,13-14 15,-13-13-15,13 13 0,-13 0 16,-1 1-16,14-1 0,-13 0 16,13 0-16,-13-13 15,13 13-15,0 1 16,13-14-16,0 13 16,1-13-16,-1 0 0,0 0 15,0 0-15,14-13 0,-14 13 16,0 0-16,0-14 0,14 14 15,-14-13-15,0 13 0</inkml:trace>
  <inkml:trace contextRef="#ctx0" brushRef="#br0" timeOffset="148154.79">22066 582 0,'0'0'0,"40"-13"31,-27 13-31,0 0 0,1 13 16,-1-13-16</inkml:trace>
  <inkml:trace contextRef="#ctx0" brushRef="#br0" timeOffset="148349.37">21868 807 0,'26'0'32,"-12"13"-32,-1-26 0,0 26 15,0-13-15,0 0 0,14-13 0,-14 13 16,14 0-16,-1 0 0,-13 0 16,0 0-16,14 0 0,-14 0 0,0 0 15,14 0-15,-14 0 0</inkml:trace>
  <inkml:trace contextRef="#ctx0" brushRef="#br0" timeOffset="149749.48">22648 357 0,'0'27'47,"0"-14"-47,0 0 15,0 14-15,0-14 0,0 13 0,-13 1 16,13-14-16,0 13 0,-13 1 16,13-1-16,0 1 0,-13-14 0,13 13 15,0-12-15,-14 12 0,14-13 0,0 1 16,0-1-16,-13 0 0</inkml:trace>
  <inkml:trace contextRef="#ctx0" brushRef="#br0" timeOffset="150230.18">22728 397 0,'13'-13'31,"0"13"-31,0 0 16,1 0-16,-14-14 0,13 14 16,13 0-16,-12 0 15,-1 0-15,-13 14 16,13-14-16,-13 13 0,0 0 15,13 0-15,-13 1 0,-13-1 16,13 0-16,0 13 0,0-12 16,0-1-16,0 13 0,-13-12 0,13 12 15,0-13-15,0 1 0,-13 12 0,13-13 16,0 14-16,0-14 16,0 0-16,0 0 15,0 1-15</inkml:trace>
  <inkml:trace contextRef="#ctx0" brushRef="#br0" timeOffset="150442.26">22728 609 0,'0'0'0,"13"-14"15,0 14 1,0-13-16,1 13 15,-1 0-15,13 0 0,-12 0 16,-1 0-16,0 0 0,0 0 16,0 0-16,1 0 0,-1 0 0,0 0 0,0 13 15,1-13-15,-1 14 0,0-1 16</inkml:trace>
  <inkml:trace contextRef="#ctx0" brushRef="#br0" timeOffset="150719.31">22516 952 0,'0'0'0,"40"0"31,-27 0-16,0 0-15,0 0 0,14 0 0,-14 0 16,14-13-16,-1 13 0,14 0 16,-14 0-16,-13-13 0,14 13 15,-14 0-15,14 0 0,-14 0 16,0 0-16,0 0 0,0 0 0,1 0 16,-14 13-16,13-13 0</inkml:trace>
  <inkml:trace contextRef="#ctx0" brushRef="#br0" timeOffset="151394.26">22701 1204 0,'0'-13'31,"13"13"-15,1-14-1,-1 14 1,-40 0 31,14 14-47,0-14 16,13 13-16,-13-13 0,0 0 0,13 13 15,-14-13-15,14 13 16,-13-13-16,26 14 15,-13-1 1,14 0-16,-14 0 16,13 0-1,-13 1 1,0-1-16,-13 0 16,-1 0-16,1 1 15,0-14-15,13 13 0,-13 0 16,-1-13-16,1 13 0,-13-13 15,12 14-15,1-14 0,-13 0 16</inkml:trace>
  <inkml:trace contextRef="#ctx0" brushRef="#br0" timeOffset="151717.54">22767 1177 0,'0'0'0,"27"0"0,-14 0 0,0 27 31,-13-1-31,0-12 16,0-1-16,-13 0 16,13 0-16,0 0 15,-13-13-15,13 14 0,0 25 31,0-25-15,13-14 0,0 0-16,1 0 15,-1 0-15,0 0 16,0 0-16,0-14 16,1 1-16</inkml:trace>
  <inkml:trace contextRef="#ctx0" brushRef="#br0" timeOffset="152369.42">23349 556 0,'27'0'32,"-14"0"-32,0 0 15,1 0-15,-1 0 16,0 0-16,-13 13 0,13-13 0</inkml:trace>
  <inkml:trace contextRef="#ctx0" brushRef="#br0" timeOffset="152533.44">23270 741 0,'40'13'15,"-27"-13"-15,0 0 16,0 0-16,14 0 0,-14 0 16</inkml:trace>
  <inkml:trace contextRef="#ctx0" brushRef="#br0" timeOffset="152893.22">23905 489 0,'13'0'0,"-26"0"0,40 14 32,-27-1-17,0 0-15,0 0 16,0 1-16,0-1 0,0 0 15,-14 0-15,14 1 0,0 12 0,-13-13 16,13 0-16</inkml:trace>
  <inkml:trace contextRef="#ctx0" brushRef="#br0" timeOffset="153562.49">23773 886 0,'-13'0'16,"13"-13"0,-14 13-1</inkml:trace>
  <inkml:trace contextRef="#ctx0" brushRef="#br0" timeOffset="160832.46">24302 1045 0,'-40'40'0,"80"-80"16,-119 93-16,52-27 0,1 1 0,-1-1 0,-12 1 16,-1 13-16,0-14 0,14 0 15,-14-12-15,14 12 0,-1-13 16,14 1-16</inkml:trace>
  <inkml:trace contextRef="#ctx0" brushRef="#br0" timeOffset="160999.23">24368 1151 0,'-79'66'0,"39"-26"0,-13-14 0,13 14 16,-12 0-16,12-1 0,-13 1 15</inkml:trace>
</inkml:ink>
</file>

<file path=ppt/ink/ink29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3:12:21.011"/>
    </inkml:context>
    <inkml:brush xml:id="br0">
      <inkml:brushProperty name="width" value="0.05292" units="cm"/>
      <inkml:brushProperty name="height" value="0.05292" units="cm"/>
      <inkml:brushProperty name="color" value="#0070C0"/>
    </inkml:brush>
  </inkml:definitions>
  <inkml:trace contextRef="#ctx0" brushRef="#br0">12753 1918 0,'13'27'94,"-13"12"-94,13 28 16,-13-41-16,0 27 15,0-13-15,0 26 16,14-13-16,-14 0 15,0-1-15,0-12 16,0 0-16,0 0 16,0-1-16,0-12 15,0 12-15,0 1 16,0 13-16,0-13 16,0-1-16,0 14 15,-14-26-15,14-14 16,-13 13-1,13 1-15,0-14 16,0 0-16,-13-13 219,132 0-219,172 0 15,-93 0-15,67 0 16,-14 0-16,40 0 16,40 0-16,-146 0 15,-26 0-15,53 0 16,39 0 0,186 0-16,-146 0 15,66 0-15,13 27 16,40 12-16,133-12 15,-212-27-15,39 40 0,-105-27 16,65 13 0,-158-26-16,27 0 15,-67 0-15,14 0 16,12 0-16,-65 0 16,26 0-16,-13 0 15,0 0-15,-14 0 0,-39 0 16,-26 0-1,-14 0-15,0 0 16,0 0-16,1 0 16,-1 0-16,13 0 15,1 0 1,-14 0 78,0-79-79,14 13 1,-14-14-16,0 28 0,0-81 16,14 27-1,-14 1-15,13-41 16,1 40-16,13-39 15,-27 39-15,13 40 16,-13-14-16,1 14 16,-14 40-16,26-14 0,-26 0 15,13 14 1,-13 13-16,0-14 16,0 14-16,14 0 15,-14-14-15,13 14 16,-13-27-16,13-13 15,-13 40-15,13-13 16,-13-1 15,0 14-31,0 0 0,0 0 16,14 13 0,-41 0 187,-105 0-188,-40 0-15,0 0 0,-106-27 16,93 14-16,0 13 16,-54-13-16,-65-1 15,79-12-15,93 26 16,39 0-16,-39 0 15,13 0 1,-13 0-16,-1 0 0,-25 13 16,-14 14-16,13-27 15,-39 13-15,26 0 16,0-13-16,-14 13 16,-52-13-1,80 14-15,-28-14 16,1 0-16,0 13 15,-53-13-15,79 0 16,0 13-16,1-13 16,-1 13-16,-26 1 15,79-14-15,-13 13 16,39 0-16,1-13 16,13 0-16,13 0 15,0 0-15,0 13 16,-26-13-16,39 0 15,14 0-15,-80 13 16,13-13-16,-13 0 16,0 0-16,53 0 15,-13 0-15,-13 14 16,13-14 0,0 0-16,26 0 0,0 0 15,14 0-15,-1 0 16,14 0-16,0 0 15,0 0 1,-1 0 0,1 0-16,0 0 15,0 0 1,0 0 0,-1 0-16,1 13 15,-13-13 1,12 0-16,-12 13 0,-14 0 15,-26 1 1,26-1-16,-12-13 16,12 13-16,-40 0 15,-12 1-15,26-14 16,13 13-16,13-13 16,0 13-16,27-13 15,13 26 173,13 14-188,-13-13 15,27 39-15,-1 0 16,-12-40-16,-1 14 16,0-14-16,0-12 15,-13-1 1</inkml:trace>
  <inkml:trace contextRef="#ctx0" brushRef="#br0" timeOffset="7172.9">886 4524 0,'14'0'125,"38"0"-110,1 0-15,27 0 0,12 0 16,41 0-16,-14 0 16,26 0-1,1 0-15,52 0 16,-118 0-16,158 0 16,-172-13-16,-26 13 15,-14 0-15</inkml:trace>
  <inkml:trace contextRef="#ctx0" brushRef="#br0" timeOffset="8184.35">952 5106 0,'27'0'141,"26"0"-126,26 0-15,27 0 16,0 0-16,92 14 15,-52-14-15,105 0 16,-79 0-16,-66 0 16,13 0-16,-66 0 0,0 0 15,-27 0 1</inkml:trace>
  <inkml:trace contextRef="#ctx0" brushRef="#br0" timeOffset="10286.79">2712 5702 0,'13'0'93,"14"0"-93,12 13 16,-12 0-16,13-13 16,-1 0-16,54 0 15,-40 0-15,-14 0 16,1 0-16,0 0 16,26 0-16,0 0 15,-26 0-15,-14 0 16,-13-13-1,14 13-15,-1-13 16,1 13 0,-14 0-16,13-13 15,1-1-15,-14 14 16,14 0-16,12 0 0,14 0 16,-40 0-1,14 0 1,-14 0-16,14 0 15,-14 0 1,13 0 0,1-13-1,-1 0 1,14 0 0,-27-14-1,0 27-15,1-26 16,-1 12-16,-13 1 15,0-13-15,26-14 16,-26 14-16,0 12 16,14-25-1,-14-1-15,0 27 0,0-14 16,0 14-16,0 0 16,-14 0-16,1-14 15,0 1 1,13 13-16,-27-14 15,14 14-15,-13-14 0,12 1 16,-12-1 0,13 1-16,-14 13 15,1-14-15,-1 1 16,1 13-16,-1-14 16,1 14-16,13 13 15,-27-27-15,14 27 16,-1 0-16,-13-13 15,-79 0-15,40 0 16,0 13-16,-1 0 16,-26 0-16,27 0 15,26 0-15,-13 0 16,0 13-16,-13 13 16,26-12-16,-27 12 15,27 14 1,0-14-16,14 14 15,-1-14-15,40-12 0,-40 25 16,27-25-16,0-1 16,0 13-16,-1 1 15,14-1 1,0 1-16,0-1 16,0 1-16,0-1 15,0-13-15,0 14 16,0 12-16,0-25 15,14-1-15,-1-13 16,0 0 0,-13 13-16,13 0 15,1-13 1,-1 14-16,0-14 16,0 0-16,0 0 15,14 0-15</inkml:trace>
  <inkml:trace contextRef="#ctx0" brushRef="#br0" timeOffset="83058.92">11986 5186 0,'0'-13'0,"13"39"31,-13 1-15,0-14-16,0 0 0,0 13 16,-13-12-16,13 12 0,0-13 15,0 14-15,-14-14 0,14 14 0,0-14 16,-13 0-16,13 13 0,0 1 16,0-14-16,-13-13 0,13 13 15,0 1-15,13-14 16,-13 13-16</inkml:trace>
  <inkml:trace contextRef="#ctx0" brushRef="#br0" timeOffset="84330.74">12078 5278 0,'13'-13'31,"1"13"-15,-1 0-16,0-13 16,0 13-16,1 0 0,-1 13 31,-13 0-31,0 1 16,0-1-1,0 0-15,0 0 16,0 1-16,13-14 15,-13 13-15,13-13 0,-13 13 16,14-13-16,-1 13 0,0 1 16,0-14-16,-13 13 0,13-13 15,-13 13-15,0 0 16,0 0-16,-13 1 16,0-14-16,0 13 0,0 0 15,-1-13-15,1 13 0,0 1 16,0-14-16,13 13 0,-14 0 15,14 0-15,-13-13 16</inkml:trace>
  <inkml:trace contextRef="#ctx0" brushRef="#br0" timeOffset="84816.41">12369 6019 0,'-53'0'31,"40"13"-31,0-13 0,-14 14 0,14-1 16,-13 0-16,-1 0 0,1 1 0,-1-1 15,14 0-15,-13 0 0,12 1 16,1-1-16,0-13 0,0 13 0,0 0 15,13 0 1,0 1 0,13-14-16,0 0 0,0 13 15,0-13-15,1 0 0,12 0 0,1 0 16,-14-13-16,13 13 0,14 0 0,-27 0 16,14-14-16,-1 14 0,-13 0 15,14-13-15,-14 13 0,0-13 0,0 13 16,1-13-16,-1 0 0,-13-1 15</inkml:trace>
  <inkml:trace contextRef="#ctx0" brushRef="#br0" timeOffset="85032.73">12316 5993 0,'-26'39'31,"13"-25"-31,13-1 15,0 13-15,0-12 0,-14 12 0,14-13 16,0 14-16,0-14 0,0 13 0,-13-12 16,13 12-16,0-13 0,-13 1 15,13 12-15,-13-13 0,13 1 0,0-1 16,-13 0-16,13 0 16</inkml:trace>
  <inkml:trace contextRef="#ctx0" brushRef="#br0" timeOffset="88280.64">8612 5900 0,'-13'0'31,"13"13"-16,13 1 1,-13-1 0,13-13-16,1 0 0,-14 13 15,13-13-15,0 13 0,0-13 0,1 0 16,-1 14-16,0-14 0,0 0 16,14 0-16,-14 0 0,0 0 0,14 0 15,-14 0-15,27 0 0,-14-14 16,0 14-16,-12-13 15,12 13-15,-13-13 0,14 13 0,-14 0 16,14-13-16,-14-1 0,0 14 0,13-13 16,-12 13-16,-1-13 0,0 13 0,0-13 15,1 13-15,-1-13 0,0 13 16,-13-14-16,13 14 0,1-13 0,-1 0 16,0 13-16,-13-13 0,13 13 15,0-14-15,1 1 16,-14 0-16,13 13 0,-13-13 15,13 13-15,-13-14 0,0 1 0,13 0 16,-13 0 0,0 0-16,14-1 15,-14 1-15,0 0 16,0 0-16,-14-1 0,14 1 16,0 0-16,-13 0 15,13-1-15,-13 14 16,13-13-16,0 0 0,-13 0 0,13 0 15,-14-1-15,14 1 0,-13 13 16,13-13-16,-13 0 0,13-1 16,-13 14-16,13-13 0,-13 0 15,-1 0-15,1 0 0,0-1 16,0 1 0,-1 13-16,14-13 0,-13 13 0,0-13 15,0-1-15,-1 14 0,14-13 16,-13 13-16,0-13 0,0 13 15,0-13-15,-1 13 16,1-14-16,0 14 0,0-13 16,-1 13-16,1-13 0,0 13 15,0-13-15,-1 13 16,1 0-16,0-13 0,0 13 0,0 0 16,-1-14-16,1 14 0,0 0 15,0 0-15,-1 0 16,1-13-16,0 13 0,0 0 15,-1 0-15,1 0 0,0 0 16,0 0-16,0 0 0,-1 0 0,1 0 16,0 0-16,0 0 0,-1 0 15,1 0-15,0 0 0,0 0 0,-1 0 16,1 0-16,0 0 0,0 0 0,0 13 16,-1-13-16,1 0 0,0 0 15,0 0-15,-1 14 0,1-14 16,0 0-16,13 13 0,-13-13 15,0 0-15,-1 0 0,1 13 16,0-13-16,0 13 16,-1-13-1,1 13-15,0-13 16,13 14-16,-13-14 0,13 13 0,-14-13 16,14 13-16,-13 0 15,0 1-15,13-1 0,0 0 0,-13 0 16,13 1-16,-13-1 0,13 0 15,0 0-15,-14 0 0,14 14 0,0-14 0,0 0 16,-13 1-16,13 12 16,0 0-16,0-12 0,0-1 0,0 0 15,0 0-15,0 1 0,0 12 0,0-13 16,0 1-16,0 12 0,0-13 16,13 0-16,-13 1 0,0 12 15,0-13-15,14 1 0,-14-1 0,0 0 16,13 0-16,-13 1 0,0-1 0,13 0 15,-13 0-15,13 0 16,0 1-16,-13-1 0,14 0 16,-1 0-16,-13 1 15,13-14-15,-13 13 0,13-13 16,1 13-16,-1 0 16,0-13-16,-13 13 0,13-13 15,1 0-15,-1 14 16,0-14-16,0 0 0,0 0 15,1 13-15,-1-13 0,0 0 16,0 0-16,1 0 0,-1 0 0,0 0 16,0 0-16,0 0 0,14 0 0,-14 0 15,0 0-15,1 0 0,-1 0 0,0 0 16,0 0-16,1-13 0,-1 13 16,0 0-16,0 0 0,0-14 15,1 14-15,-1 0 16,0 0-1,-13-13-15,13 13 16,1 0 0</inkml:trace>
  <inkml:trace contextRef="#ctx0" brushRef="#br0" timeOffset="91823.68">8837 5966 0,'-26'14'63</inkml:trace>
  <inkml:trace contextRef="#ctx0" brushRef="#br0" timeOffset="92668.58">9036 5874 0,'0'13'31,"-14"-13"0,14 13 0,0 0 282,0 1-297</inkml:trace>
  <inkml:trace contextRef="#ctx0" brushRef="#br0" timeOffset="93591.42">8824 6085 0,'-13'0'16,"-1"27"0,14-14-16,-13 14 0,13 12 15,-13 1-15,13 0 0,0 26 0,-13 0 16,13 13-16,-14 1 0,14-14 0,-26 106 15,26-93-15,-13 1 0,0-1 16,-1 0-16,1 1 0,0-14 16,0 0-16,-1 0 0,14-13 0,-13-13 15,13 13-15,-13-27 0,13 14 0,-13-27 16,13 13-16,0-12 0,0-1 16,-14 0-16,14 0 0,-13-13 15,13-13 1,0 0-16,0 0 0,0-14 15,-13 14-15,26-13 0,-13-1 16,0-13-16,0 1 0,0-1 0,0-13 16</inkml:trace>
  <inkml:trace contextRef="#ctx0" brushRef="#br0" timeOffset="93988.61">8837 6072 0,'-40'40'16,"27"-27"-16,-53 106 31,40-106-31,12 14 0,1-14 0,-13 27 16,26-27-16,-14 0 0,1 0 15</inkml:trace>
  <inkml:trace contextRef="#ctx0" brushRef="#br0" timeOffset="94181.77">8784 6072 0,'0'0'0,"13"13"0,1-13 15,-1 14-15,0-1 0,0 0 16,1 0-16,-1-13 0,0 27 16,0-14-16,0 0 0,1 0 0,12 14 15,-13-14-15,14 14 16,-27-14-16</inkml:trace>
  <inkml:trace contextRef="#ctx0" brushRef="#br0" timeOffset="96117.73">8321 7792 0,'0'0'16,"13"13"-16,-13 0 15,0 1-15,0 12 0,0 1 16,0 12-16,-13 1 0,13 13 0,-13-13 15,13-1-15,-13 1 0,13 0 0,-14-14 16,14 1-16,0-1 0,0 0 0,0-12 16,-13 25-16,13-25 15,0-1-15,0 0 16,0 0-16,-13 1 16,0-14-1,0-14-15,-1 1 16,1 0-16,0 13 0,-14-13 0,14-1 15,0 1-15,-14 13 0,1-13 0,13 13 16,0-13-16,-14 13 0,14 0 16,0 0-16,-14 13 0,14-13 0,-27 26 15,27-12-15,0-1 0,13 0 16,-13 0-16,13 1 0,0-1 16,0 0-16,13-13 0,0 13 0,0 0 15,1-13-15,-1 14 0,13-14 0,1 0 16,-1 0-16,14-14 0,-1 1 15,1 0-15,0 0 0,-14 0 16,14-14-16,-14 14 0,1-14 0,-1 1 16,-12 13-16,-1-1 0,0 1 0,0 0 15,1 0-15,-1 0 0,-13-1 16,13 1-16,-13 0 0,0 26 31,-13 0-31,13 1 16,0-1-16,0 0 0,0 0 15,0 0-15,0 1 0,0-1 16,13-13-16,0 13 0,0-13 16,1 0-16,-1 0 15,0 0-15,0 0 0,1-13 16,-1 13-16,0-13 0,0 13 0,-13-14 16,13 1-16,-13 0 0,14 13 0,-14-13 15,0 0-15,0-1 0,-14 1 0,14 0 16,-13 13-16,0-13 15,0 13-15,0 0 0,-1 0 16,1 0-16,0 0 0,0 0 16,-1 13-16,1-13 0,0 13 0,0 0 15,13 1-15,-13-14 0,13 13 0,-14-13 16,14 13-16,14 0 16,-1 0-16,0-13 15,0 0-15,0 0 0,1 0 0,12 0 16,-13-13-16,14 13 0,-1-13 15,-13 0-15,14 0 0,-14 13 0,14-14 16,-14 1-16,0 0 0,0 13 0,1-27 16,-1 27-16,-13-13 0,13 13 15,-13-13 1,0 39 15,0-12-31,-13-1 16,13 0-16,0 0 15,0 1-15,0-1 0,0 0 16,13-13-16,13 0 16,-12 0-1,-1-13-15,0 0 16,0-1-16,1 1 0,-1 13 16,0-13-16,14 26 31,-14 0-31,-13 1 15,13-1-15,-13 0 16,13-13-16,-13 13 16,13-13-1,1-13-15,-1 13 16,-13-13-16,13 0 0,-13-1 16,13-12-16,-13 13 0,14-1 0,-14-12 15,0-1-15,13 1 0,-13 0 16,0-27-16,0 39 0,13 1 15,-13-13-15,0 13 0,0-1 16,-26 41 0,26-14-1,-14 13-15,-12 14 16,26-27-16,-13 14 0,-1-1 16,14-13-16,0 1 0,0-1 15,0 0-15,14-13 31,12 0-31,-13-13 0,1 13 16,-1 0-16,0 0 0,0 0 0,1 13 16,-1-13-16,0 0 0,0 0 15,0 13-15,1-13 0,-1 14 16,-13-1-16,13-13 0,-13 13 0,0 0 16,-13 14-16,13-14 0,-13 0 15,-1 0-15,14 1 0,-13-14 16,0 13-16,0 0 0,0-13 0,-1 13 15,1-13-15,0 0 0,0 0 16,-1-13-16,14 0 16,0-14-1,0 14-15</inkml:trace>
  <inkml:trace contextRef="#ctx0" brushRef="#br0" timeOffset="96514.78">9208 7805 0,'13'-13'0,"-26"26"0,26-39 0,-26 65 32,13-25-17,-14 12-15,14-13 0,-13 27 0,13 0 16,-13-14-16,13 1 0,0-1 16,0-13-16,0 14 0,0-14 0,0 13 15,13 1-15,0-14 0,1 0 16,-1 1-16,0-14 15,13 0-15,-12 0 0,-1 0 16,0-14-16,0 1 0,1 0 16,-1 0-16,0-14 0,0 27 15,-13-13-15,13 0 0,-13 0 16,-26 26 0,13 13-1,0-13-15,13 1 0,-14-1 0,14 0 16,-13 0-16,13 14 15,0-14-15,0 0 0,0 1 0,0-1 16,13 0-16,-13 0 0,14-13 0,-1 13 16,0-13-16,0 0 0,0 0 15,1 0-15,-1 0 0,13 0 0,1 0 16,-14-13-16,0 13 0,14-13 16</inkml:trace>
  <inkml:trace contextRef="#ctx0" brushRef="#br0" timeOffset="97433.16">9909 7805 0,'-14'0'0,"-25"27"16,39-14 0,-14 0-16,14 0 0,-13 1 0,0-1 15,13 13-15,0-12 0,0-1 16,0 0-16,0 13 0,0-12 15,0-1-15,26 13 0,-12-26 16,-1 14-16,0-14 0,0 0 0,1 0 16,-1 0-16,13 0 0,-12-14 0,-1 14 15,0-13-15,0 13 0,0-13 16,1 13-16,-1 0 0,-13-13 16,13 13-16,0 13 15,1 0 1,-1 0-16,0 1 15,0-14-15,-13 13 0,14-13 16,-1 0-16,0 0 0,0 0 16,0 0-16,1-13 0,-1-1 15,0 14-15,-13-13 0,0-13 16,0 12 0,0 1-16,-13 0 0,0 0 15,-1 13-15,1 0 0,0 0 16,0 0-16,0 0 0,-1 0 0,-12 13 15,13-13-15,-1 13 0,1-13 16,0 13-16,13 1 0,0-1 16,13-13-16,0 13 15,1-13-15,-1 0 0,0 0 0,0 0 16,1 0-16,12 0 0,-13-13 16,14 13-16,-14-13 0,0 13 15,0-14-15,1 14 0,12-26 16,-13 26-16,1-13 0,-1 0 15,0 13-15,-13-14 16,0 28 0,0-1-1,0 0 1,0 0-16,13 0 16,0 1-1,1-28-15,-1 14 16,0 0-16,0-13 15,1 13-15,-1-13 0,0 13 16,0 0 0,1 13-1,-14 0 1,13 1-16,-13-1 16,13-13-1,0 0 1</inkml:trace>
  <inkml:trace contextRef="#ctx0" brushRef="#br0" timeOffset="97962.59">10689 7660 0,'-13'13'32,"13"0"-32,0 0 15,-13 1-15,13 12 0,0-13 16,0 1-16,0-1 16,-14 0-16,14 0 0,0 0 15,0 1-15,0-1 0,0 0 16,0 0-16,-13 1 0,13-1 15,0 0-15,0 0 0,-13 1 0,13-1 16,0 0-16,-13 0 0,13 0 0,0 1 0,-13-14 16,13 13-16,0 0 15,0 0-15,-14-13 16,41-13 15,-27 0-31,13 13 16,-13-13-16,13 13 0,0-14 0,1 14 15,-1 0-15,-13-13 0,13 13 0,0 0 16,14 0-16,-27 13 16,13-13-16,0 0 0,-13 14 15,14-14-15,-14 13 0,0 0 0,0 0 16,0 1-16,-14-1 16,1-13-16,0 13 0,0 0 15,-1-13-15,14 13 0,-13-13 0,0 0 16,0 0-16,-1 0 15,28-26 1</inkml:trace>
  <inkml:trace contextRef="#ctx0" brushRef="#br0" timeOffset="98548.88">10517 7858 0,'40'-13'32,"-27"13"-32,0 0 15,14-13-15,-1 13 0,-13 0 0,14-14 16,-1 14-16,1 0 0,-14 0 0,14-13 16,-14 13-16,13 0 0,-13 0 15,1 0-15,-1 0 0,0 0 16</inkml:trace>
  <inkml:trace contextRef="#ctx0" brushRef="#br0" timeOffset="98745.06">10967 7818 0,'-13'27'15,"13"-14"1,0 0-16,-13 1 0,13-1 15,0 0-15,0 0 0,0 1 0,-14-1 16,14 0-16,0 0 0,0 0 16,-13 1-16,13-1 15</inkml:trace>
  <inkml:trace contextRef="#ctx0" brushRef="#br0" timeOffset="98887.88">10927 7739 0,'0'-13'0,"0"26"15,-13-39-15,0 39 16</inkml:trace>
  <inkml:trace contextRef="#ctx0" brushRef="#br0" timeOffset="99551.23">11086 7871 0,'0'14'0,"0"-28"0,0 41 16,0-14-16,0 0 0,0 1 16,0-1-16,0 0 15,0 0-15,0 0 0,0 1 16,0-1-1,13-26 17,0-1-17,1 1-15,-1 13 16,0-13 0,0 13-1,1 0-15,12 0 16,-13 13-16,1-13 15,-1 0-15,13-13 16,-13 13-16,1 0 16,-14-13-16,13 13 15,0-13 1,0 26 15,-13 0-31,0 0 16,0 0-16,0 1 0,0-1 0,0 0 15,0 0-15,-13 1 0,13 12 16,-13-13-16,0 0 0,-1 14 0,1-1 16,0-26-16,13 14 15,-13-14-15,0 13 0,-1-26 16,28-1 0,-14 1-16,13 0 15,0 0-15,13-14 0,1 1 0,26-27 16,-13 26-16,-14 1 15,14 13-15,-1 0 0,-12-1 16,-1 1-16,1 13 0,-1-13 0,40 13 16,-52-13-16,12 13 15,-13 0-15,1 0 0,-1 0 16,0 0-16,0 0 16,0 0-16,1-14 15,-1 1 1</inkml:trace>
  <inkml:trace contextRef="#ctx0" brushRef="#br0" timeOffset="101150.8">7025 7554 0,'0'-13'16,"-14"26"0,1 0-1,13 0-15,0 1 16,-13-1-16,13 0 15,0 0-15,0 0 16,0 1 0,-13-14-16,13 13 15</inkml:trace>
  <inkml:trace contextRef="#ctx0" brushRef="#br0" timeOffset="101609.6">6906 7355 0,'-67'80'15,"41"-27"1,13-27-16,13 14 0,-13 0 16,13-14-16,0 0 0,0 1 15,0-1-15,0 1 0,13-1 16,-13 1-16,13-14 0,0 13 0,0-12 16,14-1-16,-14 0 0,14-13 15,-14 0-15,13 0 0,-12 0 0,12 0 16,14-13-16,-14 0 0,1-1 0,12 1 15,-12-13-15,-14-1 0,13 14 16,-12-13-16,-1-1 0,-13 14 16,13-14-16,-13 1 0,0 0 0,0-1 15,-13 1-15,13-1 0,-13 1 0,-14-14 16,14 14-16,0 12 0,0 1 16,-1 0-16,1 0 0,-13 13 0,12-14 15,1 14-15,-13 0 0,12 0 16,1 0-16,-13 14 0,13-14 0,-1 13 15,1-13-15,0 13 0,0-13 16,-1 13-16,1 1 0,13-1 16,0 0-16</inkml:trace>
  <inkml:trace contextRef="#ctx0" brushRef="#br0" timeOffset="102260.06">10001 7183 0,'0'-13'0,"0"0"15,-26 39 1,26-12-16,0-1 15,-13 0-15,13 0 0,-14 1 16,14-1-16,-13 13 0,13-13 0,0 1 0,-13 12 16,13-13-16,0 1 15,0-1-15,0 0 0,0 0 0,0 1 16,0-1-16</inkml:trace>
  <inkml:trace contextRef="#ctx0" brushRef="#br0" timeOffset="102691.81">9750 7117 0,'0'0'0,"-27"14"15,14-1-15,0 13 0,-27 67 31,27-54-31,13-12 0,0-1 0,0 1 16,0-1-16,0 1 0,13-1 0,-13 1 16,27-1-16,-14 1 15,13-1-15,1 1 0,-1-14 0,1 0 16,-1 0-16,1-13 0,-1 13 0,14-13 16,0-13-16,-1 13 0,1-13 15,-14 0-15,14-14 0,-13 14 16,-1-13-16,0-1 0,1 1 0,-14-14 15,0 14-15,1-14 0,-1 0 0,-13 0 16,0 14-16,0 0 0,0-14 16,-13 0-16,-1 14 0,1-1 0,-13 1 15,12-1-15,-12 14 0,13 0 0,-14 0 16,1-1-16,13 1 0,-14 13 16,1-13-16,-1 13 0,14 0 0,-13 0 15,12 0-15,-12 0 0,13 0 0,-14 13 16,14-13-16,0 0 0,-1 13 15,1-13-15</inkml:trace>
  <inkml:trace contextRef="#ctx0" brushRef="#br0" timeOffset="108248.51">5675 2752 0,'119'0'31,"-66"0"-31,0 0 0,27-14 0,-1 28 16,0-14-16,1-14 0,12 14 16,-12 14-16,12-14 0,-12 0 0,-1 0 15,14-14-15,-14 14 0,0 0 0,1 0 16,-1 0-16,-13 0 0,-13 0 0,0 0 15,0 0-15,-13-13 0,-1 13 16,-12 0-16,-14 0 0,14 0 16,-14 0-16,0 0 0,-13 13 15,-26-13-15,-1 14 0</inkml:trace>
  <inkml:trace contextRef="#ctx0" brushRef="#br0" timeOffset="108707.89">5649 2950 0,'132'-26'0,"-79"26"0,357-53 31,-317 53-31,-1-13 0,14-1 0,-13 14 16,13-13-16,-1 13 0,-12-13 0,0 13 15,-1 0-15,-12-13 0,-1 13 16,-13 0-16,-13 0 0,0 0 0,-13 0 16,-14 0-16,1 0 0,-14-14 15,13 14-15,-12 0 0,-1 0 0,0 0 16,0 0-16,0 0 0,1 0 16,-1-13-1,-26 0 32,13 0 0,0-1 31</inkml:trace>
  <inkml:trace contextRef="#ctx0" brushRef="#br0" timeOffset="110200.57">18957 9578 0,'14'-13'32,"-14"39"-32,0 1 0,-14 12 0,14 14 15,-13 13-15,0 14 16,0-1-16,-14 14 0,14 13 0,-13 13 15,12 0-15,1 0 0,-13 13 0,12 0 16,-12 14-16,13-14 0,-14 14 0,1-1 16,13 1-16,-14-14 0,1 0 15,12 14-15,1-27 0,13 0 0,-13 0 16,13 0-16,0-26 0,0-14 0,0 0 16,13 1-16,-13-14 0,0 0 15,13-26-15,-13 13 0,14-27 0,-14 1 16,0-14-16,13-13 0,0-40 15,-13 0-15</inkml:trace>
  <inkml:trace contextRef="#ctx0" brushRef="#br0" timeOffset="111491.64">18746 9432 0,'0'0'0,"39"-26"0,-12 13 0,13-1 16,-1 1-16,14 0 0,0 0 16,13 0-16,14-1 0,-14 1 0,13 0 15,1 0-15,-1-1 0,13 1 16,1 0-16,0 0 0,-1 0 15,27-1-15,14 1 0,-14 0 16,0 0-16,-27-1 0,14 14 0,0-26 16,13 13-16,-13 13 0,13-27 0,93 1 15,-107 13-15,1-1 0,13 1 16,-26 0-16,-14 0 0,14-1 0,0 1 16,-14 0-16,0 13 0,-13-13 0,14-1 15,-14 14-15,-13-13 0,40 0 16,-54 13-16,-12 0 0,26-13 15,-40 13-15,0 0 0,0 0 16,0 0-16,1 0 0,-1 0 0,0 0 16,0 0-1,-13 13-15,14-13 16,-14 13-16,0 0 0,0 14 16,0-14-16,0 14 0,-14 12 15,1 1-15,0 39 0,0-26 16,-1 13-16,1-13 0,13 13 0,-13 1 15,13-1-15,0 0 0,0 0 16,0 0-16,13 80 16,0-67-16,-13 0 0,0-12 0,14 12 15,-1-13-15,-13 14 0,13-14 0,0 79 16,1-79-16,-14 0 0,13 1 16,0-1-16,-13 0 0,13 53 15,1-53-15,-14-26 0,13 13 16,-13-14-16,0 14 0,13-13 0,-13 13 15,0-13-15,0 13 0,0-14 16,0 1-16,13 0 0,-13-1 0,0-12 16,0-1-16,0 1 0,0-1 0,0 1 15,0-1-15,0-13 0,0 14 0,0-14 16,0 0-16,0 14 0,0-14 16,0 13-16,0-12 15,13-1-15,-13 0 16,-13 53 31,13-53-32,-185 80 63,159-93-78,-623 172 32,517-146-17,-133 27-15,-12 0 16,39-26-16,145-14 16,-172 27-16,173-27 15,-14 0-15,-13 0 0,13 1 16,0-1-16,-79 13 0,92-13 15,1 1-15,-120 12 16,120-13-16,12 1 0,-92 25 16,93-25-16,-1-1 0,1 0 15,13 0-15,-14 0 0,1 14 0,13-14 16,0 0-16,0 1 0,13 12 0,0-13 16,13 1-16,0-1 0,1-13 0,12 13 15,14 0-15,-13-13 0,-1 0 16,14 13-16,0-13 15,0 0-15,39-13 32,0 13-32,1-13 0,-1 0 15,14 0-15,0-1 0</inkml:trace>
  <inkml:trace contextRef="#ctx0" brushRef="#br0" timeOffset="111662.87">20558 12316 0,'0'0'16,"-13"0"-1</inkml:trace>
  <inkml:trace contextRef="#ctx0" brushRef="#br0" timeOffset="122559.55">22754 3307 0,'27'-13'16,"-14"0"0,-53 26 15,27 0-31,-14-13 0,14 14 16,-13-1-16,-1 0 0,1 13 15,-1-12-15,1-1 0,13 0 0,-14-13 16,14 13-16,-13 14 0,26-14 15,-14-13-15,1 13 0,13 0 16,0 1-16,13-1 16,1-13-16,-1 13 0,0-13 15,13 13-15,1-13 0,-1 0 0,1 0 16,-1 0-16,1 0 0,26 0 16,-14 0-16,-12 0 0,13 0 15,-14-13-15,-13 13 0,0-13 16,1 13-16,-1-13 0,0-1 15</inkml:trace>
  <inkml:trace contextRef="#ctx0" brushRef="#br0" timeOffset="122771.78">22847 3228 0,'0'-13'0,"0"26"0,-13-13 31,13 13-31,-14 0 0,14 1 16,-13 12-16,13 1 0,-13-1 0,0 14 15,13-14-15,-14 1 0,1 12 16,13-26-16,-13 14 0,13-1 16,0 1-16,-13-1 0,13-12 0,0 12 15,0-13-15,-14 0 0,14 27 16,0-27-16,0 1 0,0-1 16,0 0-16,0 0 0</inkml:trace>
  <inkml:trace contextRef="#ctx0" brushRef="#br0" timeOffset="123035.83">22265 3929 0,'66'-26'31,"-40"12"-31,1 14 16,-1 0-16,1-13 0,12 13 16,1-13-16,-14 13 0,1 0 0,-1 0 15,1-13-15,-1 13 0,1 0 0,-14 0 16,13 0-16,-12 13 0,12-13 16,-13 13-16,1-13 0,-1 13 15</inkml:trace>
  <inkml:trace contextRef="#ctx0" brushRef="#br0" timeOffset="123399.86">22437 4061 0,'-27'-13'0,"54"26"0,-67-26 16,27 13-16,0 13 0,-1-13 15,14 14 1,14-1-16,-1 0 0,0 0 16,0 1-16,0-1 0,1 0 15,-1 0-15,40 40 16,-53-40-16,13 1 15,-26-1-15,13 0 0,-13-13 16,13 13-16,-14 0 0,1-13 16,-13 14-16,12-14 0,1 13 0,0-13 15,0 0-15,0 13 0,-1-13 0,1 0 16,0 0-16,0-13 16</inkml:trace>
  <inkml:trace contextRef="#ctx0" brushRef="#br0" timeOffset="123671.58">22701 4088 0,'0'0'16,"27"0"-16,-27 13 0,0 14 16,-14-27-1,14 13-15,-13 0 0,0 0 16,13 0-16,-13 1 0,0-1 15,13 0-15,0 0 0,-14-13 0,14 14 16,0-1-16,14 0 16,-1-13-1,0 0-15,0 0 0,0 0 0,1 0 16,-1 0-16,0-13 0,0 13 0,14 0 16,-14-13-16,0 13 0,14-14 15,-14 14-15,0-13 0,0 13 0,14-13 16</inkml:trace>
  <inkml:trace contextRef="#ctx0" brushRef="#br0" timeOffset="123898.85">23323 3559 0,'13'0'0,"-26"0"0,26 26 31,-13-13-31,0 1 0,-13-1 16,13 13-16,0 1 0,0-1 15,-13 27-15,0-26 0,13-1 16,-14 0-16,14 1 0,-13-1 0,13-12 16,-13 12-16,13-13 0</inkml:trace>
  <inkml:trace contextRef="#ctx0" brushRef="#br0" timeOffset="124088.77">23058 3823 0,'14'-13'0,"-28"26"0,41-39 16,-14 26-16,0 0 15,14 0-15,-1 0 16,1 0-16,-14 0 0,13 0 0,27 0 15,-26 0-15,-1-13 0,-13 13 16,14 0-16,-1 0 0</inkml:trace>
  <inkml:trace contextRef="#ctx0" brushRef="#br0" timeOffset="124357.61">23998 3387 0,'-14'66'15,"14"-40"1,-13-13-16,13 14 0,0-14 0,0 14 15,0-14-15,0 13 0,0-12 0,-13 38 16,13-38-16,0-1 0,0 27 16,0-27-16</inkml:trace>
  <inkml:trace contextRef="#ctx0" brushRef="#br0" timeOffset="124757.13">24276 3360 0,'26'-13'0,"-52"26"0,65-13 0,-26 0 16,-13 13-16,0 1 0,0-1 16,-13 13-16,13-12 0,-26 12 15,13 0-15,-14 1 0,14-1 0,0-12 16,-1-1-16,1 0 0,0 0 16,0 1-16,13-1 0,-14-13 15,28 13-15,-1 0 16,0-13-16,0 0 15,14 0-15,-1 0 16,-12 0-16,12 0 0,-13 0 0,14 0 16,-14 0-16,0 0 0,14 13 15,-14-13-15,-13 14 0,13-14 16</inkml:trace>
  <inkml:trace contextRef="#ctx0" brushRef="#br0" timeOffset="124984.5">23839 3956 0,'93'-27'32,"-67"14"-32,0 13 15,1-13-15,-1 13 0,1-14 0,-1 14 16,1 0-16,12-13 0,-12 13 15,-1-13-15,1 13 0,-1 0 0,-12 0 16,12 0-16,0-13 0,-12 13 16,-1 13-16,0-13 0</inkml:trace>
  <inkml:trace contextRef="#ctx0" brushRef="#br0" timeOffset="125423.7">24090 4167 0,'0'0'16,"-13"-13"-16,0 13 15,0 0-15,-1 0 0,1 0 16,0 0-16,0 0 0,-27 0 16,27 13-16,0-13 0,-1 0 15,1 13-15,0 1 0,13-1 16,0 0-16,0 0 15,13-13-15,0 14 0,-13-1 0,14-13 16,-1 13-16,-13 0 0,13 0 0,0-13 16,-13 14-16,13-1 0,-13 0 15,0 0 1,0 1-16,-13-14 16,0 13-16,0-13 0,0 13 15,-1-13-15,1 0 0,0 13 16</inkml:trace>
  <inkml:trace contextRef="#ctx0" brushRef="#br0" timeOffset="125706.7">24289 4128 0,'0'0'0,"0"13"0,-13 0 15,13 0-15,-14 0 0,-25 14 16,25-14-16,1 0 0,0 1 16,0-1-16,-1 0 0,1 0 15,13 0-15,0 1 16,13-14-16,-13 13 0,14-13 16,12 0-16,-13 0 15,1 0-15,-1 0 0,0 0 0,14 0 16,-14 0-16,0 0 0,0 0 15,14-13-15,-14 13 0,0 0 16,0-14-16</inkml:trace>
  <inkml:trace contextRef="#ctx0" brushRef="#br0" timeOffset="127792.47">24209 3321 0,'27'0'93,"-1"0"-61,-12 0-32,-1 0 15,0 0-15,0 0 16,0 13-1,1-13-15,-14 13 16,0 0 0,0 0-1,-14 1-15,14-1 16,-13-13-16,13 13 0,-13-13 16,13 13-16,-13-13 0,13 14 0,-13-14 15,13 13 1,-14-13-16,14 13 0,-13 0 0,0-13 15,13 13-15,-13 1 16,13-1-16,-14-13 16,14 13-16,-13-13 0,13 13 15,-13-13-15,13 14 0,-13-14 16,13 13-16,-14 0 31,1 0-15,0 1-1,0-1 17,0 0 15,26-13 62,0 0-109,0 0 16,0 0-16,1 13 15,-1-13-15,0 0 0,0 0 16,1 0-16,-1 0 0,-13 13 15,26-13-15,-12 0 16,-1 0 0,0 0-1,0 0 1</inkml:trace>
  <inkml:trace contextRef="#ctx0" brushRef="#br0" timeOffset="128891.56">24302 3426 0,'-13'-13'16</inkml:trace>
  <inkml:trace contextRef="#ctx0" brushRef="#br0" timeOffset="129060.05">24328 3387 0,'0'0'0,"0"-14"15</inkml:trace>
  <inkml:trace contextRef="#ctx0" brushRef="#br0" timeOffset="130343.61">21987 2990 0,'0'13'16,"-13"40"-1,-1-40-15,14 0 16,-13 1-16,13-1 0,-13 13 0,0-12 15,13-1-15,-13 0 0,-1 0 16,14 0-16,-13 1 0,13-1 16,-13 0-16</inkml:trace>
  <inkml:trace contextRef="#ctx0" brushRef="#br0" timeOffset="130626.64">22079 3082 0,'-13'0'0,"26"0"0,-39 14 15,13-14-15,0 0 0,13 13 0,-14-13 16,1 13-16,0-13 16,0 13-16,-1 1 0,1-14 0,13 13 15,-13 0-15,0 0 0,13 0 16,0 1-16,0-1 15,0 0 1,13-13-16,0 13 16,0-13-16,1 0 15,-1 0-15,0 0 0,0-13 16,1 13-16</inkml:trace>
  <inkml:trace contextRef="#ctx0" brushRef="#br0" timeOffset="131256.51">22265 3201 0,'-14'-13'31,"1"13"-31,13-13 16,0 0 0,0-14-1,0 14-15,0 0 0,13 13 16,-13-13-16,0-1 0,14 14 0,-14-13 15,13 13-15,-13-13 0,13 13 16,-13-13-16,13 13 0,1 0 16,-1 13-1,-13 0 1,0 0 0,-13-13-1,39 0 32,-13-13-47,1 13 16,-1-13-16,13 13 15,1 0-15,-14 0 0,0 0 0,0 0 16,1 0-16,-1 0 16,0 0-16,-13 13 0,13-13 0,-13 13 15,0 1-15,0-1 16,-13 0-16,0 0 15,0 1-15,-1-14 0,14 13 16,-13-13-16,0 13 0,0-13 16,-1 0-16,1 13 0,0 0 15,0-13-15,0 14 16,-1-14-16</inkml:trace>
  <inkml:trace contextRef="#ctx0" brushRef="#br0" timeOffset="131804.51">22119 3387 0,'199'-40'31,"-173"40"-31,14-13 16,-1 0-16,-12-1 0,13 1 16,-14 0-16,0 0 0,14-1 0,-13 1 15,26-27-15,-40 27 0,0-13 16,27-14-16,-27 14 16,0 12-16,-13-12 0,13 13 0,-13-14 15,14 1-15,-14 13 0,0-14 16,0 14-16,0 0 0,0-14 0,-14 14 15,14-13-15,-13 12 0,0 1 16,0-13-16,-1 12 0,-25-25 16,-1 25-16,14 1 0,-1 0 15,-13-13-15,1 26 0,-1-14 0,14 1 16,-27 13-16,13-13 0,0 13 0,1 0 16,-1 0-16,-13 0 0,-13 0 15,0 13-15,0 14 0,13-14 0,-13 13 16,13 1-16,0-1 0,0 1 15,0 12-15,13-12 0,1 12 0,-1 1 16,13-13-16,14 12 0,-13-12 16,12-1-16,1 1 0,13-1 0,0 1 15,0-14-15,13 13 0,-13 1 0,27-1 16,-14 1-16,14-1 0,-1-13 16,1 14-16,-1-14 0,0 13 0,14-12 15,-13-1-15,-1 13 0,1-26 0,-1 14 16,0-1-16</inkml:trace>
  <inkml:trace contextRef="#ctx0" brushRef="#br0" timeOffset="132117.44">22027 3492 0,'-27'14'0,"14"-1"15,13 0-15,0 0 16,13-13-16,-13 14 0,13-1 16,-13 0-16,14-13 15,-14 13-15,13-13 0,-13 14 16,13-14-16,13 13 0,-12 0 15,-1-13-15,0 13 0,0-13 16,1 0-16,-1 0 16,0 13-16,0-26 0,1 13 0,-1 0 15,0 0-15</inkml:trace>
  <inkml:trace contextRef="#ctx0" brushRef="#br0" timeOffset="132367.59">22199 3559 0,'0'0'0,"26"0"16,-13 13-16,0-13 16,1 13-16,-1-13 0,0 13 15,0-13-15,1 14 0,-1-1 0,0-13 16,-13 13-16,13-13 0,-13 13 0,0 0 15,0 1-15,-13 12 16,0-13-16,-14 14 0,1-1 0,-1 1 16,1-1-16,-14 1 0,1-1 15,-1 14-15</inkml:trace>
  <inkml:trace contextRef="#ctx0" brushRef="#br0" timeOffset="136071.43">8718 5517 0,'-13'-14'16</inkml:trace>
  <inkml:trace contextRef="#ctx0" brushRef="#br0" timeOffset="136540.67">7038 5120 0,'13'13'16,"0"0"-16,1 0 0,-1 1 15,0-1-15,0-13 0,1 0 16,-1 13-16,0-13 0,0 0 16,14 0-16,-14-13 0,13 13 0,-12-13 15,12-1-15,0 1 0,1 0 0,-1-14 16,1 14-16,-1 0 0,-12-13 16,12 12-16,-13 1 0,0-13 15,1 12-15,-14-12 0,13 13 0</inkml:trace>
  <inkml:trace contextRef="#ctx0" brushRef="#br0" timeOffset="139872.46">21272 4048 0,'0'0'15,"27"-13"1,-1 13-1,-12 0-15,12 0 0,1-13 0,-1 13 16,0 0-16,1 0 0,-1 0 16,-12 0-16,12 0 0,-13 0 15,1 0-15,12 13 0</inkml:trace>
  <inkml:trace contextRef="#ctx0" brushRef="#br0" timeOffset="140014.42">21444 4128 0,'-39'0'15,"78"13"17,-25-13-17,-1 0-15,0 0 0,14 0 0,-14 13 16,13-13-16,-12 13 0,-1-13 0</inkml:trace>
  <inkml:trace contextRef="#ctx0" brushRef="#br0" timeOffset="140251.75">21722 5106 0,'27'0'32,"-14"0"-32,0 0 0,0 14 15,1-1-15,-14 0 16</inkml:trace>
  <inkml:trace contextRef="#ctx0" brushRef="#br0" timeOffset="140423.82">21603 5358 0,'0'0'16,"27"0"15,-14 0-31,0 0 0,0 0 0,1 0 16,12-13-16,1 13 0,-1 0 16,0 0-16,1-14 0,-1 14 15,1 0-15,-1 0 0,1-13 0,-1 13 16,14-13-16</inkml:trace>
  <inkml:trace contextRef="#ctx0" brushRef="#br0" timeOffset="145006.82">7395 11311 0,'0'0'0,"0"-13"0,0-1 15,0 1-15,13 13 16,-13-13-16,0 0 0,0 0 16,0-1-16,0 1 0,0 0 15,-13 0-15,13-1 0,0 1 16,-13 0-16,0 0 0,13-1 0,-14 1 16,-12 0-16,13 0 0,-14 0 0,14-1 15,-13 1-15,-1 13 0,1-13 16,-1 0-16,14 13 0,-13 0 0,-1-14 15,14 14-15,-14 0 0,14 0 0,-27 0 16,27 14-16,-13-14 16,13 13-16,-14 0 0,14-13 0,0 13 15,-1 1-15,1-1 0,0 0 0,0 13 16,-1-12-16,1 12 0,0-13 16,13 14-16,-13-1 0,13-12 15,-13 12-15,13 27 0,0-27 16,0 1-16,-14-1 0,14 1 0,14-1 15,-14 1-15,0-1 0,0 1 16,0-1-16,13 1 0,-13-1 0,0 0 16,13 1-16,0 26 0,-13-27 15,13-12-15,1 12 0,-1 0 0,0-12 16,0 12-16,1-13 16,-1 14-16,13-14 0,14 0 0,0 14 15,-14-14-15,1 0 0,26 0 16,-27-13-16,0 14 0,-12-14 15,12 0-15,1 0 0,-1 0 16,-13 0-16,14 0 0,-1 0 0,-13 0 16,14-14-16,-14 14 0,14 0 0,-14-13 15,0 13-15,13-13 0,-12 0 16,12 13-16,-13-14 0,1 1 0,12 0 16,-13 0-16,14 0 0,-14-1 0,0 1 15,0 0-15,1 0 0,12-14 16,-26 14-16,13 13 0,1-13 15,-1 0-15,0-1 0,0 1 0,1 0 16,-1 0-16,-13-1 0,13 1 0,0 0 0,-13 0 16,13-1-16,1 1 15,-14 0-15,13 0 0,-13 0 0,13-14 16,-13 14-16,0 0 0,13-14 16,-13 14-16,0 0 0,0-1 15,0 1-15,-13 0 0,13 0 0,0 0 16,-13-14-16,13 14 0,-13 0 0,13-14 15,-14 14-15,1 0 0,0-14 16,0 14-16,0-13 0,-1 12 0,1 1 16,0 0-16,0 0 0,-14-1 0,14 1 15,-14 0-15,14 0 0,-13-1 0,-14-12 16,14 26 0,-1-13-16,1 13 0,-1 0 0,1-13 15,-1 13-15,1 0 0,-1 0 0,1 0 16,-14 0-16,14 0 0,-1 13 0,1-13 15,-14 0-15,14 13 0,-1-13 16,1 0-16,-1 13 0,14-13 0,-13 13 16,12 1-16,-12-14 0,13 13 0,13 0 15,-13-13-15,-1 13 0,1 1 16</inkml:trace>
  <inkml:trace contextRef="#ctx0" brushRef="#br0" timeOffset="145811.41">7051 11946 0,'-40'13'0,"80"-26"0,-93 39 0,40-26 16,0 0-16,-14 14 0,14-14 15,0 0-15,-14 13 0,1-13 16,13 0-16,-14 13 0,1-13 16,13 13-16,-14-13 0,14 0 0,-27 0 15,1 14 1,25-14-16,1 0 0</inkml:trace>
  <inkml:trace contextRef="#ctx0" brushRef="#br0" timeOffset="146052.17">7117 11999 0,'14'0'0,"-28"0"0,41 0 0,-14 13 16,0-13-16,14 0 0,-14 13 15,13-13-15,27 14 0,-26-1 16,-1-13-16,1 0 0,-1 13 16,1-13-16,-1 0 0,0 13 0,94-13 31,-107 0-31</inkml:trace>
  <inkml:trace contextRef="#ctx0" brushRef="#br0" timeOffset="146716.62">7395 11761 0,'0'-13'31,"-13"39"0,0-13-15,13 0-16,0 1 16</inkml:trace>
  <inkml:trace contextRef="#ctx0" brushRef="#br0" timeOffset="147208.49">7236 11999 0,'-13'-13'0,"13"39"31,0-13-31,0 1 16,0-1-16,0 0 0,0 0 0,0 14 15,0-14-15,0 13 0,0 1 0,0-1 16,0 1-16,0 12 0,0 1 15,0-13-15,0-1 0,0 14 16,0-1-16,0-12 0,0 13 0,13-14 16,-13 0-16,0 1 0,0 13 0,-13-14 15,26 1-15,-13-1 0,0 0 16,0 1-16,0-14 0,0 14 0,0-14 16,0 13-16,0-12 0,0-1 0,14 13 15,-14-13-15,0 1 0,0-1 16,0 0-16,0 0 15</inkml:trace>
  <inkml:trace contextRef="#ctx0" brushRef="#br0" timeOffset="147571.59">7183 12819 0,'-13'13'16,"26"1"0,-13-1-16,0 0 0,0 0 15,14-13-15,-14 13 0,0 1 0,13-1 16,-13 0-16,0 0 0,13 1 15,-13-1-15,0 0 0,13 0 0,-13 1 16,14-1-16,-1 0 0,0-13 16,-13 13-16,13-13 15,0 0-15,1 0 0,12 0 16,-13 0-16,14-13 16,-14 13-16,0-13 15,1 13-15,-1 0 16,-13-13-16,13 13 0,0 0 0,0 0 15,-13-14-15</inkml:trace>
  <inkml:trace contextRef="#ctx0" brushRef="#br0" timeOffset="148089.5">7382 13044 0,'0'13'16,"13"0"-1,0 1-15,1-14 16,-1 0-16,0 0 0,0 0 15,14 0-15,-14 0 0,0 0 16,14 0-16,-14 0 0,13-14 0,1 14 16,-14-13-16,13 0 0,1 13 15,-14-13-15,14 0 0,-1-1 0,-13 1 16,14 0-16,-14 0 0,0-1 0,0 1 16,1 0-16,-14 0 0,13-1 15,0 1-15,-13 0 0,13 0 0,-13 0 16,14-1-16,-14 1 15,0 0-15,0 0 16</inkml:trace>
  <inkml:trace contextRef="#ctx0" brushRef="#br0" timeOffset="148411.44">7792 12726 0,'-13'-13'0,"26"13"31,13 0-31,-12-13 0,-1 13 16,0 0-16,14 0 15,-14 13-15,0-13 0,14 13 16,-14-13-16,0 14 0,-13-1 0,13 0 16,0 0-16,-13 1 0,0-1 0,0 13 15,0-12-15,0 12 0,-13 0 16,0 1-16,0-1 0,0 1 16,-1-1-16,-12 1 0,13-1 0,13 1 15,-14-14-15,1 13 0</inkml:trace>
</inkml:ink>
</file>

<file path=ppt/ink/ink29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3:15:10.032"/>
    </inkml:context>
    <inkml:brush xml:id="br0">
      <inkml:brushProperty name="width" value="0.05292" units="cm"/>
      <inkml:brushProperty name="height" value="0.05292" units="cm"/>
      <inkml:brushProperty name="color" value="#0070C0"/>
    </inkml:brush>
  </inkml:definitions>
  <inkml:trace contextRef="#ctx0" brushRef="#br0">1680 2487 0,'66'-13'16,"-26"13"-16,13-13 0,26 13 0,1-14 15,12 1-15,27 0 0,14 13 0,-1-13 16,0-1-16,14 14 0,-1-13 0,1 13 16,-1 0-16,1-13 15,-1 13-15,14 0 0,-13 0 0,12 0 16,-12 0-16,13 13 0,-14-13 0,-13 0 15,14 0-15,-1 0 0,-12 13 16,-27-13-16,-1 0 0,-12 0 0,0 0 16,-1 0-16,-12 0 0,-1 0 0,-13 0 15,-13 0-15,0 0 0,-13 0 0,-14 0 16,1 0-16,-14 0 0</inkml:trace>
  <inkml:trace contextRef="#ctx0" brushRef="#br0" timeOffset="344.06">3387 2593 0,'132'0'31,"-79"0"-31,26 0 0,1 0 16,12-13-16,1 13 0,13 0 16,26 0-16,0 0 0,-13 0 0,14 0 15,12 13-15,-13-13 0,14 0 16,-14 0-16,-39 13 0,13-13 0,0 0 16,-1 0-16,-12 13 0,13-13 0,-14 0 15,1 0-15,0 14 0,-14-14 0,0 0 16,1 0-16,-1 0 15,0 0-15,-12 0 0,-1 0 0,0 0 16,0 0-16,13 0 0,1 0 0,-1-14 16,1 14-16,-1-13 0,0 13 0,1-13 15,-1 0-15</inkml:trace>
  <inkml:trace contextRef="#ctx0" brushRef="#br0" timeOffset="683.97">8546 2461 0,'40'0'16,"-14"0"-16,14-14 0,13 14 0,0 0 15,0 0-15,13 0 0,13 0 16,1 0-16,-1 0 0,0 0 0,-13 14 16,1-14-16,-15 0 0,1 0 0,0 0 15,0 13-15,-13-13 0,0 0 16,-1 13-16,-12-13 0,-1 0 0,-13 13 15,14-13-15,-14 14 0,0-14 16</inkml:trace>
  <inkml:trace contextRef="#ctx0" brushRef="#br0" timeOffset="907.21">9803 2633 0,'0'0'0,"66"-14"15,-40 14-15,1-13 0,26 13 0,-27 0 0,27-13 16,-26 13-16,12 0 0,1-13 16,0 13-16,-14 0 0,1 0 0,12 0 15,-12 0-15,-1 0 0,1 0 16,-14 0-16,13 13 0</inkml:trace>
  <inkml:trace contextRef="#ctx0" brushRef="#br0" timeOffset="5250.25">2474 6152 0,'26'0'47,"-12"0"-47,12 0 0,0 0 0,14-14 15,13 14-15,0-13 0,0 13 0,13-13 16,0 13-16,14-13 15,-14-1-15,13 14 0,0-13 0,14 0 16,-14 13-16,14 0 0,-14-13 0,14 13 16,0 0-16,-1-14 0,-12 14 15,-1 0-15,0 0 0,1 0 0,-1 0 16,0 0-16,-12 0 0,-14 0 0,-1 0 16,1 0-16,-13 0 0,0 0 0,-14 14 15,1-14-15,-1 0 0,-13 0 16,14 0-16,-14 0 0,0 0 15,0 0-15,1 0 0,-1 0 16,0 0-16,-39 13 47,-1-13-31</inkml:trace>
  <inkml:trace contextRef="#ctx0" brushRef="#br0" timeOffset="5788">3823 6125 0,'-13'0'15,"26"0"-15,0 0 16,14-13-16,13 13 16,13 0-16,-1 0 0,15-13 0,-1 13 15,13 0-15,0-14 0,14 14 0,-14 0 16,1 0-16,-1 0 0,1 0 16,-1 0-16,0 0 0,1 14 0,-27-14 15,26 0-15,-26 0 0,0 13 16,0-13-16,0 0 0,-14 0 0,1 13 15,-13-13-15,12 0 0,-26 0 16,14 0-16,-14 0 0,14 13 0,-14-13 16,0 0-16,13 0 0,-12 0 15,-1 0 1,0 14-16,0-14 16,1 0-1,-1-14 16,0 1 79,0 13-110</inkml:trace>
  <inkml:trace contextRef="#ctx0" brushRef="#br0" timeOffset="7393.87">8493 6204 0,'40'0'31,"-14"0"-31,1 0 0,26 0 16,0-13-16,13 13 0,13 0 0,14-13 16,118 0-16,-105 13 15,26 0-15,1-13 0,12 13 0,-12 0 16,-28 0-16,28-14 0,-1 14 16,-13 0-16,-13 0 0,0 0 0,0 14 15,-14-14-15,14 0 0,-13 0 0,-1 0 16,-12 0-16,-1 13 0,0-13 15,-13 0-15,1 0 0,-14 13 0,-1-13 16,-12 0-16,0 0 0,-14 0 0,1 0 16,-1 13-16,-13-13 15,1 0-15,-1 0 0,0 0 0,-39 13 47,12-13-47</inkml:trace>
  <inkml:trace contextRef="#ctx0" brushRef="#br0" timeOffset="8859.98">8824 6390 0,'13'0'0,"0"0"15,1 0-15,-1 0 0,13 0 16,27 0-16,0 0 0,0-14 0,13 14 15,14 0-15,-1 0 0,-13 0 16,27 0-16,-14 0 0,14 0 0,-1 0 16,-12 0-16,12 0 0,1 14 0,-14-14 15,1 0-15,12 13 0,-12-13 16,-14 0-16,13 0 0,-26 13 0,13-13 16,-13 0-16,-13 0 0,-1 0 0,1 0 15,-13 0-15,-1 0 0,0 0 0,1 13 16,-1-13-16,-12 0 15,-1 0-15,13 0 0,-12 0 0,-1 0 16,0 0-16,0 0 16,0 0-16,1 0 15,-1 0 1,0 0 0,0 0-1</inkml:trace>
  <inkml:trace contextRef="#ctx0" brushRef="#br0" timeOffset="16803.14">16192 5503 0,'14'0'0,"-14"-13"0,13 0 31,-13 39-15,0 1 0,-13-1-16,13 1 15,-14 12-15,14 1 0,-13 0 0,-13 52 16,26-52-16,-13 13 0,-1-13 0,1-1 15,0 1-15,0 13 16,13-13-16,-14-14 0,1 14 0,13-14 16,-13 1-16,13-1 0,-13-13 0,13 1 15,0 12-15,-13-13 0,13 1 0,-14-1 16,14 0-16,0 0 16,0 0-16,-13 1 15,40-14 32,-14-14-47,0 14 16,0 0-1,0-13-15,1 13 0,12 0 0,-13 0 16,14-13-16,-14 13 0,13 0 0,1 0 16,-1 0-16,1-13 0,13 13 0,-1 0 15,14 0-15,0 0 0,-13 0 16,13 0-16,-14 0 0,14-13 15,0 13-15,13 0 0,-13 0 0,0 0 0,13 0 16,-13 0-16,13 0 0,-13 0 16,0 0-16,13-14 0,-13 14 0,0 0 15,0 0-15,0 0 0,0 0 0,0 0 16,0-13-16,0 13 16,0 0-16,0 0 0,-14 0 0,14 0 15,-13 0-15,0 0 0,-14 0 0,14 0 16,-1 0-16,14 0 0,-26 0 0,12 0 15,1 0-15,-13 0 0,12 0 16,-12 0-16,52 0 0,-52 0 16,-1-13-16,14 13 0,-14 0 0,1 0 15,-1 0-15,1 0 0,-1 0 16,0 0-16,1 0 0,13 0 16,-14 0-16,-13 0 0,14 0 15,-14 0-15,13 0 0,-12 0 0,12 0 16,-13 0-16,14 0 0,12 0 15,-25-13-15,12 13 0,-13 0 16,14 0-16,-14 0 0,14 0 0,-14 0 16,0 0-16,13 0 0,-12 0 15,12 0-15,-13 13 0,14-13 0,13 0 16,-27 0-16,0 0 0,13 0 16,-12 0-16,-1 13 0,0-13 15,14 0-15,-14 0 0,0 0 16,0 0-16,1 0 15,-1 0-15,0 0 16,0 0-16,0-13 16,1 13-1,-14-13-15,13 13 16,-13-14-16,13 14 16,0-13-16,-13 0 15,14 0-15,-14-1 16,13 14-16,0-13 15,-13 0-15,13 13 16,-13-13-16,13 0 0,1-1 16,-14 1-16,0 0 15,13 0-15,-13-1 16,13 1-16,0 0 16,-13 0-16,0-1 0,0 1 0,14 13 15,-14-13-15,0 0 0,0 0 0,13-14 16,-13 14-16,0 0 0,13-1 15,-13 1-15,0-13 0,13 13 0,-13-1 16,0-12-16,14 13 0,-14-14 0,13 14 16,-13-14-16,13 14 0,-13 0 15,13-13-15,-13 12 0,0 1 16,13 0-16,-13 0 0,0-1 0,14 1 16,-14 0-16,0 0 0,0-1 15,13 14-15,-13-13 0,0 0 16,0 0-1,13 0-15,-13-1 32,-13 1-17,0 13 1,-1 0 0,1 0-16,0 0 0,0-13 15,0 13-15,-1 0 0,-12 0 0,13 0 16,-14-13-16,1 13 0,12 0 15,-12 0-15,0-14 0,-14 14 0,13 0 16,1-13-16,-27 13 0,13 0 16,1-13-16,-14 13 0,13 0 0,-13-13 15,13 13-15,-39-13 16,39 13-16,1 0 0,-1 0 16,14 0-16,-27 0 0,13 0 0,13 0 0,-12-14 15,-1 14-15,14 0 0,-14 0 0,0 0 16,14 0-16,-14 0 0,14 0 15,-14 0-15,14 0 0,-1 0 0,1 0 16,-1 0-16,1 0 0,-1 0 0,1 0 16,-1 0-16,1 0 0,-1 0 0,14 0 15,-13 0-15,-1 0 0,1 0 16,13 0-16,-14 0 0,1 0 16,-1 0-16,1 0 0,-1 0 0,14 0 15,-13 0-15,-1 0 0,1 0 0,-1 0 16,1 0-16,-1 0 0,1 0 15,13 0-15,-14 0 0,1 0 0,-1-13 16,1 13-16,13 0 0,-14 0 0,1 0 16,-1 0-16,-13 0 0,14 0 15,0 0-15,-1 0 0,-13 0 0,14-13 16,-14 13-16,14 0 0,-14 0 16,14 0-16,-14 0 0,0 0 0,1-13 15,12 13-15,-13 0 0,14 0 16,0 0-16,-1 0 0,-13 0 0,14 0 15,0 0-15,-1 0 0,1 0 0,-1 0 16,1-14-16,-14 28 0,14-28 16,-1 14-16,1 0 0,-1 14 0,14-14 15,-14 0-15,1 0 0,0 0 0,-1 0 16,14 0-16,-14 0 0,1 0 0,13 0 16,-14 0-16,14 0 0,-13 0 15,-1 0-15,14 0 0,-14 0 0,14 13 16,-13-13-16,12 0 0,-12 0 0,13 0 15,0 0-15,-14 0 0,14 0 16,0 0-16,-1 0 0,-12 0 0,13 13 16,0-13-16,-1 0 0,1 0 15,0 0-15,0 0 0,-1 0 16,-12 0-16,13 0 16,-1 0-16,1 13 15,0-13-15,0 0 16,13 14-16</inkml:trace>
  <inkml:trace contextRef="#ctx0" brushRef="#br0" timeOffset="17822.95">19050 5424 0,'132'-79'31,"-105"65"-31,12-12 0,14-1 0,14 1 16,-15 0-16,15-1 0,12 1 0,-13-14 15,13 13-15,-12 1 0,12 0 0,0-14 16,1 13-16,-1 1 0,0-14 16,1 14-16,-14 13 0,13-14 15,-12 1-15,-1-1 0,-13 14 0,13-14 16,-13 14-16,-14 0 0,14 0 16,-13-14-16,0 27 0,-14-26 0,1 26 15,-1-13-15,0 13 0,-12-14 16,12 14-16,-13-13 0,1 13 0,-1 0 15,-13-13-15,13 13 0,-26-13 32</inkml:trace>
  <inkml:trace contextRef="#ctx0" brushRef="#br0" timeOffset="18118.37">20690 4538 0,'40'-14'15,"-27"14"1,14 0-16,-1 0 0,1 0 16,-1 0-16,1 14 0,12-14 15,1 13-15,-14 0 0,14 0 0,-13-13 16,-1 14-16,1-1 0,-14 0 15,0 0-15,13 0 0,-12 14 16,-1-14-16,-13 0 0,0 1 0,0 12 16,-13-13-16,-1 14 15,14-14-15,-13 0 0,0 0 0,0-13 16,0 14-16,-1-14 0</inkml:trace>
  <inkml:trace contextRef="#ctx0" brushRef="#br0" timeOffset="18668.97">21577 4194 0,'13'-27'0,"13"1"31,-12 26-31,-1 0 0,0 0 16,0 0-16,1 0 0,-1 13 0,0-13 16,0 13-16,1 0 0,-14 1 15,13-1-15,-13 0 0,13 0 0,-13 14 16,0-14-16,0 13 0,0-12 0,0 12 16,0-13-16,-13 14 0,13-14 0,0 14 15,0-14-15,0 13 0,0-13 16,-13 1-16,13-1 0,0 0 0,0 0 15</inkml:trace>
  <inkml:trace contextRef="#ctx0" brushRef="#br0" timeOffset="18822.79">21736 4749 0,'0'13'0</inkml:trace>
  <inkml:trace contextRef="#ctx0" brushRef="#br0" timeOffset="49825.99">7448 7157 0,'-13'0'0,"0"13"16,13 0-16,-14 1 16,1 12-16,0 1 0,0 12 15,13 1-15,-14 0 0,-12 13 0,-1 66 16,14-66-16,0-1 15,13 1-15,-13 0 0,13-13 0,-13 0 0,13-1 16,0 1-16,0-13 0,0-14 16,0 13-16,13 1 0,-13-14 15,0 0-15,0 14 0,0-14 0,0 0 16,13 0-16,-13 0 0,0 1 16,13-1-16,-13 0 15,13-13-15,1 0 16,-1 0-16,0 0 15,0 0-15,14 0 0,-14 0 0,14 0 16,-1-13-16,0 13 0,14 0 16,0 0-16,13-13 0,0 13 15,0 0-15,0 0 0,66 0 0,-53 0 16,13-14-16,-13 14 0,14 0 16,-1 0-16,0-13 0,1 13 15,12 0-15,-12-13 0,-14 13 0,13 0 16,1-13-16,-1 13 0,-13 0 0,14-13 15,-1 13-15,-13 0 0,53-14 16,-66 14-16,0 0 0,53-13 16,-53 13-16,0 0 0,-14 0 15,27 0-15,-26-13 0,13 13 0,0 0 16,-13-13-16,-1 13 0,14 0 16,-13-14-16,0 14 0,-1 0 0,-12 0 15,-1-13-15,14 13 0,-14 0 0,1 0 16,13 0-16,-14-13 15,0 13-15,1 0 0,-1 0 0,1 0 16,-1 0-16,1-13 0,-1 13 0,1 0 16,-14 0-16,13 0 0,1 0 0,-1-13 15,-13 13-15,14 0 16,-1 0-16,-12 0 0,12 0 0,1-14 0,-14 14 16,13 0-16,1 0 0,-1 0 15,-13 0-15,14 0 0,-1 0 0,1 0 16,-14 0-16,13 0 0,1 0 0,-14 0 15,14 0-15,-1 0 0,0 0 0,1 0 16,-1 0-16,-12 0 0,12 0 0,1 0 16,-1 0-16,0 0 15,1 14-15,-1-14 0,-12 0 0,12 0 16,1 0-16,-1 0 0,-13 0 0,14 0 16,-1 0-16,-13 0 0,14 0 0,-1 0 15,-12 0-15,12 0 0,-13 0 16,0 0-16,14 0 0,-14 0 0,14 0 15,-14 0-15,0 0 0,14 0 0,-14 0 16,0-14-16,13 14 0,-12 0 16,12 0-16,-13 0 0,1 0 0,12 0 15,-13 0-15,0 0 0,14 0 0,-14 0 16,0 0-16,14 0 0,-14 0 16,0 0-16,14 0 0,-14 0 15,13 0-15,-12 0 0,-1 0 0,13 0 16,-12 0-16,-1 0 0,13 14 0,-12-14 15,-1 0-15,13 0 0,-13 0 16,1 0-16,-1 0 0,13 0 0,-12 0 16,-1 0-16,13 0 0,-13 0 0,14 13 15,-1-13-15,-12 0 0,-1 0 16,13 0-16,-12 0 0,-1 0 16,0 0-16,13 0 0,-12 0 0,-1 0 15,0 0-15,0 0 0,1 0 0,-1 13 16,0-13-16,0 0 0,1 0 15,-1 0-15,0 0 16,0 0-16,0 13 16,1-13-16,-1 0 15,0 0 1,0 0 0,1-13-16,-1 13 15,0-13-15,0 13 16,-13-13-1,14 13-15,-1-14 16,-13 1-16,13 0 0,-13 0 16,13-1-1,-13 1-15,0 0 0,13 13 16,-13-27-16,0 14 0,14 0 16,-14 0-16,13-14 0,-13 14 0,0 0 15,13-14-15,-13 14 0,13 0 16,-13 0-16,14-14 0,-14 14 0,13 0 15,-13 0-15,0-14 0,13 14 0,-13 0 16,13-1-16,-13-12 0,0 13 16,14-1-16,-14-12 0,13 13 0,-13 0 15,13-1-15,-13-12 0,13 13 0,-13-1 16,13-12-16,-13 13 0,0-1 16,14-12-16,-14 13 0,13 0 15,-13-1-15,0 1 0,13 0 0,-13 0 16,13-1-16,-13 1 0,0 0 15,0 0-15,14 13 16,-14-13-16,0-1 31,-14 1-31,14 0 32,-13 13-32,0 0 15,0-13-15,-1 13 16,1 0-16,0 0 0,0 0 15,0 0-15,-1 0 0,1-14 16,0 14-16,-14 0 0,14 0 0,0 0 16,-14 0-16,1 0 0,0 0 0,-1 0 15,1 0-15,-1 0 0,14 0 16,-14 0-16,1 0 0,-14 0 0,14 14 16,-1-14-16,-26 0 0,27 0 15,-14 0-15,14 0 0,-14 0 16,14 0-16,-14 0 0,-53 0 15,41 0-15,-1 0 0,13-14 0,-13 14 16,13 0-16,1 0 0,-14 0 0,0 0 16,13-13-16,0 13 0,1 0 0,-1 0 15,14 0-15,-14 0 16,0 0-16,1-13 0,-1 13 0,0 0 16,0 0-16,-12 0 0,12 0 0,0 0 15,-13 0-15,14-13 0,-14 13 16,0 0-16,13 0 0,-13 0 0,27 0 15,-27 0-15,13-14 0,14 14 0,-14 0 16,-26 0-16,26 0 0,14-13 16,-1 13-16,-13 0 15,14 0-15,0 0 0,-27 0 0,26 0 16,14 0-16,-13 0 0,-1 0 0,1 0 16,-1 0-16,1 0 0,-1 0 15,1 0-15,-1 0 0,1 0 16,-1 0-16,-12 13 0,12-13 0,1 0 15,-14 0-15,14 0 0,-14 14 0,13-14 16,-12 0-16,12 0 0,1 13 16,-1-13-16,-12 0 0,12 0 0,1 0 15,-1 0-15,14 13 0,-13-13 0,-1 0 16,1 0-16,-1 0 0,1 0 0,-14 0 16,14 0-16,-1 0 15,1 13-15,-1-13 0,1 0 0,-1 0 16,1 0-16,13 0 0,-14 0 15,-26 0-15,27 0 0,-1 0 16,1 0-16,13 0 0,-14 0 16,1 0-16,-14 0 0,14 0 15,-1 0-15,1 14 0,13-14 0,-14 0 16,1 0-16,12 0 0,-12 0 16,-1 13-16,14-13 0,-13 0 15,-1 0-15,1 0 0,13 0 0,-14 0 16,1 13-16,-1-13 0,1 0 0,-1 0 15,1 0-15,-1 0 0,-26 13 16,27-13-16,-14 0 0,27 0 0,-13 0 16,-1 0-16,1 0 0,-1 0 15,1 0-15,13 0 0,-14 0 0,1 0 16,12 0-16,-12 0 0,13 0 16,-14 0-16,14 0 0,0 0 0,-14 0 15,14-13-15,0 13 0,-14 0 0,14 0 16,-13 0-16,13 0 15,-14 0-15,14 0 0,0 0 16,-1 0-16,1 0 16,0 0-16,0 0 0,0 0 15,-1 0 1,1 0-16,0 0 16,0 0-16,-1 0 15,1 0 1,0 0-16,0 13 15,-1-13-15,-12 0 16,13 0-16,0 0 16,-1 0-16,14 14 15,-13-14-15,0 0 0,-14 0 16,27 13-16,-13-13 16,0 0-16,0 0 15,-1 13 1,1-13-16,0 0 15,0 13 1,0-13-16,-1 0 16,1 0-1,13 13-15,-13-13 16,0 0-16,-1 14 16,1-14-1,0 0 1,0 13-1,-1-13 1,1 0 0,0 0 15,0 0 16</inkml:trace>
  <inkml:trace contextRef="#ctx0" brushRef="#br0" timeOffset="51334.68">2434 5490 0,'-13'-13'15,"39"13"1,-12 0-16,-1 0 0,13 0 15,-12-13-15,12 13 0,-13 0 0,14 0 16,-14 0-16,13-14 0,1 14 16,-14 0-16,0 0 0,1 0 15</inkml:trace>
  <inkml:trace contextRef="#ctx0" brushRef="#br0" timeOffset="51541.9">2315 5569 0,'-13'14'16,"26"-28"-16,0 14 47,1 0-47,-1 0 0,0 0 15,0 0-15,14-13 0,-14 13 0,13 0 16,1 0-16,-1 0 0,1-13 0</inkml:trace>
  <inkml:trace contextRef="#ctx0" brushRef="#br0" timeOffset="52243.62">8215 5503 0,'14'0'15,"-1"0"-15,0 0 16,0 0-16,0 0 0,1 0 16,-1 0-16,13 0 0,-12 0 0,12 0 15,-13 0-15,1 0 0,12 0 0,-13 0 16,0 0-16,14 0 0,-14 0 16</inkml:trace>
  <inkml:trace contextRef="#ctx0" brushRef="#br0" timeOffset="52911.04">8361 5609 0,'0'0'0,"26"13"31,-12-13-15,-1 0-16,0 0 15,13 0-15,-12 0 16,-1 0-16,0 0 16,14 0-16,-14 0 15,0 0 1,0 0-16,0 0 16,-39 0 390,13-13-406</inkml:trace>
  <inkml:trace contextRef="#ctx0" brushRef="#br0" timeOffset="65070.88">13467 7276 0,'-13'13'31,"0"0"-15,13 14-16,0-14 0,-13 14 0,13-1 16,0 1-16,-14-1 0,14 14 15,0-1-15,-13 54 0,13-53 16,0-1-16,-13 1 0,13 0 0,0-14 15,0 1-15,0-1 0,0 1 16,0-1-16,0 1 0,0-14 16,0 0-16,0 13 0,0-12 0,0-1 15,0 0-15,0 0 0,0 1 16,0-1-16,0 0 16,0 0-16,13-13 15,0 0-15,1 0 16,-1 0-16,0 0 15,0-13-15,14 13 0,-14 0 0,13-13 16,1 13-16,-1 0 0,1 0 0,52-13 16,-39 13-16,13 0 15,0 0-15,0 0 0,0 0 16,-1 0-16,68 0 0,-54 13 0,13-13 16,14 0-16,-14 0 0,14 0 0,-14 13 15,14-13-15,12 0 16,-12 13-16,13-13 0,-14 0 0,14 13 15,27-13-15,-1 14 0,-13-14 16,-13 13-16,13-13 0,-13 13 0,26-13 16,-13 13-16,-13-13 0,0 0 0,13 14 15,-13-14-15,26 13 0,0-13 0,-26 13 16,0-13-16,-14 0 0,41 13 0,-1-13 16,-39 0-16,12 14 0,1-14 15,0 13-15,0-13 0,92 13 16,-92-13-16,-13 0 0,-1 13 0,1-13 15,-14 0-15,14 13 0,-14-13 16,1 0-16,-1 14 0,1-14 16,-28 0-16,15 0 0,-1 0 0,-13 0 15,13 0-15,-13 0 0,13 0 0,-13 0 16,0-14-16,0 14 0,0 0 0,-14 0 16,14-13-16,-13 13 0,0 0 15,-1-13-15,14 13 0,-13-13 16,-14 13-16,1 0 0,-1-13 0,14 13 15,-14 0-15,1-14 0,-1 14 16,1 0-16,12-13 0,-12 13 16,-1 0-16,1-13 0,-1 13 0,1 0 15,-1 0-15,14-13 0,-27 13 0,27 0 16,-14 0-16,1 0 0,-1-14 16,1 14-16,-1 0 0,1 0 0,12 0 15,-12 0-15,12-13 0,-12 13 0,12 0 16,-12 0-16,26 0 0,-13 0 0,12 0 15,1 0-15,-13 0 0,0 0 16,13 0-16,0 0 0,-14 0 0,14 0 16,-13 0-16,13 13 0,0-13 0,-14 0 15,14 0-15,0 0 0,0 0 0,0 0 16,0 14-16,-13-14 0,13 0 16,39 0-16,-39-14 0,-13 14 15,-1 0-15,1 0 0,0 0 16,13-13-16,-27 13 0,27 0 0,-26-13 15,12 13-15,14-13 16,-26 13-16,-1-14 0,1 14 0,-1-13 16,0 0-16,-12 13 0,12-13 0,-13 0 15,14 13-15,-14-14 0,0 1 16,14 0-16,-14 0 0,0-1 0,0-12 16,14 13-16,-14 0 0,0-1 0,1-12 15,-1 13-15,0-14 0,0 14 0,1-14 16,-14 14-16,13-13 0,0 13 15,0-14-15,0 14 0,-13-14 0,14 1 16,-14 13-16,13-14 0,-13 14 16,13-40-16,0 27 0,-13 12 15,0-12-15,14-1 0,-14 1 16,0 13-16,13-14 0,-13 14 0,0-13 16,0 12-16,0-12 0,0 13 0,0-1 15,0 1-15,0-26 0,0 25 16,-13 1-16,13 0 0,0 0 15,-14-1-15,14 1 0,-13 13 0,0-13 16,0 0-16,-1 0 0,1 13 0,0-14 16,0 14-16,-14-13 0,14 13 15,-13 0-15,-1-13 0,1 13 16,-14 0-16,0 0 0,1 0 0,-54-13 16,53 13-16,-13 0 0,14 0 15,-14 0-15,13 0 0,-13 0 0,0 0 16,0 0-16,0 0 0,-13 0 15,13 0-15,1 0 0,-1 0 0,0 0 16,0 13-16,-13-13 0,13 0 0,-13 0 16,-1 0-16,-12 0 0,13 0 0,0 0 15,-14 0-15,1 0 0,0 0 16,12 0-16,-25 0 0,12 0 0,1-13 16,0 13-16,-1 0 0,1 0 0,0-14 15,-1 14-15,1-13 0,-1 13 0,1 0 16,0-13-16,-1 13 15,1-13-15,13 13 0,-14-14 16,1 14-16,0-13 0,-318-13 31,-132-1 1,449 27-32,-819-53 93,793 40-93,-344-13 16,397 26-16,-79-14 16,79 14-16,-40-13 15,40 13-15,14 0 0,-14 0 16,0 0-16,13 0 0,-13 0 0,14-13 15,-1 13-15,0 0 0,1 0 0,-14 0 16,0 0-16,13 0 0,-13 0 16,13 0-16,-12 0 0,-41 0 15,53 0-15,-13 0 0,14 0 16,12 0-16,-13 0 0,1 0 0,12 0 16,-26 0-16,14 0 0,-14 0 0,13 0 15,14 0-15,-27 0 0,-40-13 16,53 13-16,1 0 0,-14 0 15,13 0-15,-13 0 0,0 0 0,0 0 16,14 0-16,-14 0 0,0 0 16,0 0-16,0 0 0,0 13 0,13-13 15,-12 0-15,12 0 0,0 0 0,14 0 16,-40 0-16,26 0 0,13 0 16,-12 13-16,12-13 15,1 0-15,-14 0 0,14 0 0,-1 0 16,1 0-16,-1 0 0,14 0 0,-13 0 15,-1 0-15,14 13 0,0-13 0,-14 0 16,14 0-16,0 0 0,0 0 16,-1 0-16,1 0 0,-13 0 15,-1 0-15,14 0 16,13 14-16,-13-14 16,-1 0-1,1 0 1,0 0 15,0-14-15,0 14-1,-1 0 1,1 0 0,0 0-1,0 0-15,-1 0 0,1 14 16,0-14-16,0 0 15,-1 13-15,1-13 16,0 13-16,0 0 0,0 1 16,-1-1-16,14 0 0,-13 0 15,0 1-15,13-1 0,-13 0 16,13 13-16,-14-12 0,14-1 16,-13 0-16,13 0 0,0 1 0,-13-1 15,13 0-15,-13 0 0,13 1 0,0 12 16,-13-13-16,13 0 0,0 1 15,-14-1-15,14 0 16,0 0-16,0 1 16,-13-1-16,13 0 15,0 0 1,-13 0 0,13 1-1,0-1 16,-13-13-15</inkml:trace>
  <inkml:trace contextRef="#ctx0" brushRef="#br0" timeOffset="68326.97">3400 8718 0,'0'-13'0,"0"0"31,13 13-31,0 0 16,1 0-16,-1-14 0,13 14 0,1 0 16,-1 0-16,27-13 0,-13 13 0,13 0 15,0-13-15,-14 13 0,14 0 16,0 0-16,-13 0 0,0 0 0,-1 0 15,1 0-15,-14 0 0,1 13 0,-1-13 16,1 0-16,-1 0 0,-13 13 16</inkml:trace>
  <inkml:trace contextRef="#ctx0" brushRef="#br0" timeOffset="68551.05">3836 8811 0,'-13'0'0,"26"0"0,14 0 31,-14 0-31,14-14 0,-1 14 16,1 0-16,-1 0 0,0 0 0,14 0 16,-13 0-16,-1-13 0,14 13 15,-14 0-15,1 0 0,12 0 0,-12-13 16,-1 13-16,1 0 0,-1 0 15,1 0-15,-1 0 0,1 0 0</inkml:trace>
  <inkml:trace contextRef="#ctx0" brushRef="#br0" timeOffset="69498.83">7779 8718 0,'-13'0'0,"-1"0"15,41 0 17,-1 13-17,1-13-15,12 0 0,1 13 16,0-13-16,13 14 0,0-14 16,-1 0-16,15 13 0,78 0 15,-79-13-15,14 13 0,-1-13 0,-13 14 16,14-14-16,-1 0 0,0 13 15,14-13-15,-14 0 0,14 13 0,-14-13 16,14 0-16,-14 0 0,1 0 0,12 0 16,-12 13-16,12-13 0,-12 0 15,-14 0-15,13 0 0,-26 0 0,66 0 16,-66 0-16,-13 0 0,-14 0 16,14 0-16</inkml:trace>
  <inkml:trace contextRef="#ctx0" brushRef="#br0" timeOffset="70115.64">9538 8705 0,'146'0'31,"-93"0"-31,0 0 0,-1 0 0,1 0 16,0 0-16,13 0 0,-13 0 0,0 0 15,13 0-15,-13 0 0,0 0 0,0 0 16,-13 0-16,13 0 0,-13 0 15,-14 13-15,14-13 0,-14 0 0,1 0 16,-14 0-16,13 0 0,-13 0 0,1 0 16,-1 0-16,0 0 0,0 0 15,1 0-15,-1 0 0,0 0 16,0 0-16,1 0 16,-1 0-1,0 0 1,0 0 15,-26-13 141,0 13-172,0-13 0</inkml:trace>
  <inkml:trace contextRef="#ctx0" brushRef="#br0" timeOffset="73315.12">17555 12039 0,'-13'0'47,"13"-14"-31,-13 14 15,13-13 0,0 0 125</inkml:trace>
  <inkml:trace contextRef="#ctx0" brushRef="#br0" timeOffset="79883.61">9141 7885 0,'-26'-14'31,"52"1"-15,-26 0-1,27 13-15,-14 0 0,27-13 0,-1 13 16,1-14-16,0 14 0,-1-13 16,1 13-16,0-13 0,0 13 0,-14-13 15,0 13-15,14 0 0,-13 0 0,-1-13 16,-13 13-16,14 0 0,-14 0 16,0 13-16,0-13 0</inkml:trace>
  <inkml:trace contextRef="#ctx0" brushRef="#br0" timeOffset="80451.86">9234 7964 0,'66'-13'31,"-39"13"-31,-1 0 0,-13 0 16,14 0-16,-1 0 0,1-13 0,-1 13 16,1 0-16,-1 0 0,0 0 0,-12 0 15,12 0-15,1 0 0,-14 0 16,0 0-16,14 0 0,-14 0 0,13 0 16,-13 0-16,1 0 0,-1 0 15,0 0-15,0 0 16,1 0-1,-1 0-15,0 0 16,0 0 31,0 0 0,1 0 15,-14 13 32,13-13-94,0 0 16,0 0-16</inkml:trace>
  <inkml:trace contextRef="#ctx0" brushRef="#br0" timeOffset="82235.71">17515 12012 0,'0'-13'46,"0"0"-14,0-1 77,-13 28 63</inkml:trace>
  <inkml:trace contextRef="#ctx0" brushRef="#br0" timeOffset="84742.79">15200 12700 0,'14'-13'16,"-1"13"-1,0 0-15,0 0 0,14 0 16,-14-13-16,13 13 0,1 0 0,-1 0 16,1 0-16,-1 0 0,27-14 15,-26 14-15,-1 0 0,-13 0 16,14 0-16,-14 0 0,0 0 0,0 0 15,1 0-15,-1 14 0,-13-1 32,-13-13-32,-1 13 0,1-13 0,-13 13 15,-1-13-15,14 13 0,-27 1 0,1-1 16,-1-13-16,14 13 0,-14-13 16,0 13-16,14-13 0,12 14 0,-12-14 15,13 0-15,0 0 0,-1 0 16,1 0-16,13 13 0,-13-13 0,39 0 31,-12 0-31,-1 0 0,0 0 16,13 0-16,1 0 0,-1 0 0,1 0 15,-1 0-15,-12 0 0,12 0 0,0 0 16,1-13-16,-14 13 0,0 0 16,1 0-16,-1 0 0,0 0 0,0 0 15,1 0-15,-28 13 47,1-13-47,0 0 0,0 0 16,-1 13-16,1-13 0,0 0 15,0-13 1,-1 0 0</inkml:trace>
  <inkml:trace contextRef="#ctx0" brushRef="#br0" timeOffset="86861.93">2222 6231 0,'14'0'31,"12"0"-31,-13 0 0,1-13 16,-1 13-16,13 0 0,1-14 0,-14 1 15,13 0-15,14 0 0,-13 0 0,-1-1 16,14 1-16,-14 0 0,27-27 15,-26 27-15,-1-14 0,1 14 16,-14 0-16,0 0 0,0-14 0,0 14 16,1 0-16,-1-14 0,0 14 15,0 0-15,1-13 0,-1 12 0,0 1 16,-13-13-16,13 12 0,1-12 0,-14 13 16,13-1-16,-13-12 0,13 13 15,-13 0-15,13-1 0,-13 1 0,13-13 16,-13 12-16,0 1 0,0 0 15,14 0-15,-14-1 0,0 1 16,0 0-16,-14 0 0,14 0 0,0-1 16,0 1-16,-13 0 0,13 0 0,-13-1 15,13 1-15,-13 0 0,0 0 16,-1 0-16,1-1 0,0 1 16,0 13-16,13-13 0,-14 13 0,1-13 15,0 13-15,0-14 0,-1 14 16,1 0-16,0 0 0,0-13 0,0 13 15,-1 0-15,1 0 0,-13 0 0,12 0 16,1 0-16,-13 0 0,12 0 16,-12 0-16,13 0 0,-14 0 0,14 0 15,-13 13-15,12-13 0,-12 0 16,-27 14-16,40-1 0,-14-13 16,1 13-16,-1-13 0,-12 27 15,12-27-15,14 13 0,-13 0 0,-1 0 16,1 0-16,12 1 0,-12-14 0,13 13 15,-14 0-15,14 0 0,-13 1 16,12-1-16,1 13 0,-13-13 16,12 1-16,1-1 0,0 0 0,0 14 15,0-14-15,-1 0 0,1 14 16,-13-14-16,12 13 0,14-13 0,-13 1 16,0 12-16,0-13 0,13 1 0,-14-1 15,1 0-15,13 0 0,-13 1 16,13 12-16,-13-13 0,13 0 0,0 1 15,0-1-15,0 0 0,-13 0 0,13 1 16,0-1-16,13 0 0,-13 0 16,0 0-16,0 1 15,13-1-15,-13 0 0,13-13 16,-13 13-16,13 1 0,1-1 16,-1-13-16,13 13 15,-26 0 1,14-13-16,12 0 0,-13 14 15,1-14-15,-1 0 0,0 0 16,0 13-16,0-13 0,1 0 16,-1 0-16,0 0 0,0 0 15,1 0-15,-1 0 16,0 0-16,0 0 16,1 0-16,-1 0 0,0 0 15,0 0-15,0 0 16,1 0-1,-1-13-15,0 13 32,0 0 15,1 0 31,-1-14-63,-13 1 1,0 0-16</inkml:trace>
  <inkml:trace contextRef="#ctx0" brushRef="#br0" timeOffset="89235.8">18772 12687 0,'27'0'47,"-1"0"-47,-13 0 0,1 0 0,12 0 16,0 0-16,1 0 0,-14 0 0,14 0 15,-1 0-15,-13 0 0,1 0 16,12 0-16,-13 13 0,-39 0 31,13-13-31,-14 0 16,1 0-16,12 0 0,-12 0 15,-1 0-15,1 13 0,0-13 0,-1 0 16,14 0-16,-14 0 0,14 0 0,0 0 16,0 0-16,39-13 31,-13 13-16,14 0-15,-1 0 0,-12 0 0,12 0 16,-13 0-16,0 0 0,14 0 0,-14 0 16,0 0-16,1 0 0,-1 0 15,0 13 1</inkml:trace>
  <inkml:trace contextRef="#ctx0" brushRef="#br0" timeOffset="90278.04">18812 12753 0,'-13'13'0,"13"0"31,13-13-31,-13 14 0,13-14 16,0 13-16,1-13 0,12 13 15,-13 0-15,0-13 0,27 14 16,-13-14-16,-1 13 0,14 0 16,-14-13-16,1 0 15,-14 13-15,13-13 0,1 0 0,-14 0 16,0 0-16,14 0 0,-14 0 15,0 0-15,14 0 0,-14-13 0,0 13 16,0 0-16,14 0 0,-14-13 16,0 13-16,27-13 0,-27-1 15,0 14-15,1-13 0,-1 0 0,0 13 16,0-13-16,14-1 0,-14 14 0,0-13 16,0 0-16,-13 0 0,14-1 15,-1 14-15,0-13 0,0 0 16,1 0-16,-1 13 0,-13-13 0,13-1 15,0 14-15,-13-13 0,14 0 16,-14 0-16,13-1 0,-13 1 0,0 0 16,0 0-16,13-1 15,-13 1-15,0 0 16,0 0-16,0 0 0,0-1 16,0 1-16,0 0 0,0 0 15,-13-1-15,13 1 0,0 0 0,0 0 16,0-1-16,0 1 15,0-13-15,0 13 0,0-1 16,-13 1-16,13-13 0,0 12 0,0 1 16,0 0-16,-14 0 0,14 0 15,-13-1-15,13 1 0,0 0 0,-13 0 16,13-1-16,-13 1 0,13 0 16,0 0-16,-14-1 0,1 1 0,13 0 15,-13 0-15,0-14 16,-1 14-16,1 0 0,13 0 0,-13-1 15,0 14-15,0-13 0,-1 0 0,1 0 16,0-1-16,0 14 0,-1-13 16,1 0-16,0 13 0,0-13 0,-14 13 15,14-13-15,0-1 0,0 14 0,-14-13 16,14 13-16,0-13 0,-14 13 16,14 0-16,-13-13 0,12 13 0,-12 0 15,13 0-15,-14 0 0,14 0 0,-14 0 16,14 0-16,-13 0 0,13 0 0,-14 13 15,1-13-15,12 13 16,-12-13-16,-1 13 0,1 1 0,0-1 16,-1 0-16,1 0 0,-1 0 15,1 14-15,-1-1 0,1 1 0,-1-1 16,1 1-16,-1-1 0,1 14 0,13-14 16,-14 14-16,1 39 0,13-39 15,13 0-15,-14-1 0,14 1 16,0-13-16,0-1 0,0 14 15,14-1-15,-1 1 0,0-13 0,14 12 16,-14-12-16,13-1 0,1 1 0,-1-1 16,1-13-16,-1 14 0,0-14 15,1-13-15,-1 13 0,-12-13 0,12 0 16,1 0-16,12-13 0,1 0 0,13-14 16,0 1-16,-14-14 0,1 1 0,-13-1 15,-1-13-15,1-13 0</inkml:trace>
  <inkml:trace contextRef="#ctx0" brushRef="#br0" timeOffset="92682.04">8453 6112 0,'27'0'31,"-14"0"-31,0-13 16,14 13-16,-1-14 0,14-12 15,-14 13-15,14-1 0,-13 1 0,12-13 16,-12 13-16,-1-14 0,1 14 0,-1-14 16,1 1-16,-1 13 0,-13-14 15,14 14-15,-14-13 0,0 12 0,-13-12 16,13 13-16,1-14 0,-14 14 16,0-13-16,13 12 0,-13-12 0,-13-14 15,13 14-15,-14 12 0,1-12 16,0 13-16,0-14 0,-1 1 15,1 13-15,-13-1 0,13-12 0,-27 13 16,27 0-16,-27-14 0,13 14 0,-12 0 16,-27-1-16,39 1 0,1 13 15,-14 0-15,14-13 16,-1 13-16,-13 0 0,14 0 0,-14 0 0,1 0 16,-14 13-16,13-13 0,-13 13 15,0 1-15,0 12 0,0-13 16,0 14-16,14-1 0,-14 1 0,26-1 15,-12 1-15,12-1 0,1 0 0,-1 1 16,14-1-16,-13 1 0,12 13 16,1-14-16,0 14 0,13-14 0,-13 1 15,13-1-15,0 1 0,0-1 0,0 0 16,13 1-16,-13-1 0,13 1 16,0-1-16,14 1 0,-1-1 0,-12 1 15,25-14-15,-12 0 0,12 0 16,-12 1-16,13-1 0,-1 0 0,-12-13 15,-1 0-15,1 0 0,-1 13 16,0-13-16,1 0 0,-14 0 0,14 0 16,-14 0-16,0 0 0,0 0 0,1 0 15,-1 0-15,0 0 0,0 0 16,0 0-16,1 0 16,-1-13-16,0 13 31,0 0-16,1 0 1,-1 0 15,-26 26 219,-1-26-234,14 14 62,0-41-15,0 14-48,0 0 16,-13 13-31</inkml:trace>
  <inkml:trace contextRef="#ctx0" brushRef="#br0" timeOffset="108366.82">16470 5953 0,'0'27'46,"0"-14"-46,14 0 16,-1 0 0,0-13-16,0 13 15,0-13-15,1 0 0,-1 0 0,0 0 16,0 0-16,14 0 0,-14 0 16,14 0-16,-14-13 0,13 13 0,1-13 15,-1 13-15,1-13 0,-1 13 0,-13-13 16,27-14-16,-14 27 0,-12-13 15,-1 0-15,0-1 16,0 1-16,1-13 0,-14 13 0,13-1 16,0-12-16,-13-1 0,13 14 0,-13-13 15,0-1-15,0 1 0,0-1 16,0 1-16,0-1 0,-13 1 0,13 13 16,-13-14-16,0 1 0,-14-27 15,1 40-15,12-14 0,1 14 0,-13 0 16,13 0-16,-14-1 15,1 14-15,-1-13 0,-13 13 0,14 0 0,-14 0 16,14 0-16,-14 0 0,0 13 0,1 1 16,-1-14-16,0 26 0,1-13 15,12 0-15,-12 14 0,12-1 16,-13-12-16,14 25 0,-14-12 0,14-1 16,13 14-16,-14-14 0,14 14 0,-14-14 15,14 14-15,13-13 0,-13 12 16,13-12-16,0-1 0,0 1 0,13 12 15,-13-12-15,13-1 0,1 14 0,-1-14 16,13 1-16,1-1 0,-1 1 16,1-14-16,-1 13 0,1-12 15,12-1-15,-12 0 0,-1-13 0,27 13 16,-13-13-16,-14-13 0,1 13 16,-1 0-16,14-13 0,26-14 15,-26 14-15,13-26 16,-27 25-16,1 1 0,-1-13 0,-13 12 15,1 1-15,12 0 0,-13-14 16,0 14-16,1 0 0,-1-13 0,13-1 16,-12 1-16,-1 12 0,-13 1 15,13 0-15,-13-13 0,13 12 0,-13 1 16,13 0-16,-13 0 0,0-1 16,14 1-16,-14 0 0,0 0 0,0-1 15,13 1-15,-13-13 0,0 13 0,0-14 16,0 14-16,0 0 0,0-1 15,-13 1-15,13-13 16,0 12-16,-14 1 0,1-13 0,13 13 16,-13-14-16,0 14 0,0 0 0,-1-14 15,1 14-15,0 0 0,0 0 16,-1-14-16,1 14 0,-13 0 0,13 13 16,-1-14-16,1 1 0,-13 13 0,12-13 15,-12 13-15,13 0 0,-40 0 16,26 0-16,1 0 0,-1 13 15,-12 0-15,12 1 0,-12-1 0,12 0 16,1 14-16,-1-14 0,-13 13 16,27 1-16,-13-1 0,-1 14 0,1-14 15,-1 1-15,1 12 0,13 1 16,-27 26-16,40-39 0,-13 12 16,0 14-16,13-26 0,0-1 15,0 1-15,13-1 0,-13-13 0,13 14 16,0 12-16,0-12 0,1-1 15,12-12-15,14 25 0,-14-25 16,1-1-16,-1 0 0,1 0 0,-1-13 16,14 13-16,13-13 0,-27-13 15,1 13-15,12-13 0,-12 0 16,13 0-16,-1-1 0,1-12 16,0-1-16,-1-12 0,1 12 0,-14-12 15,14-1-15,-13 13 0,-1-12 16,0 12-16,1-12 0,-1-28 15,-12 28-15,-1-1 0,-13 14 0,-13-14 16,13 0-16,-14 1 0,1 12 0,0-13 16,-14 14-16,1 0 0,-14-27 15,14 26-15,-14 14 0,-26-14 16,26 27-16,1 0 0,-1 0 16,0 0-16,-13 14 0,0-1 0,1 13 15,-1 1-15,0-1 0,-13 1 16,-27 52-16,40-39 0,13-1 15,1 14-15,12-13 0,-12 13 16,25-13-16,-12 39 0,13-39 16,13-14-16,0 1 0,13 12 15,0 1-15,0-14 0,1 14 0,12-13 16,0-1-16,1-13 0,13 14 16,-1-14-16,1 0 0,53 0 15,-41-13-15,1-13 0,53 0 16,-40-13-16,-13 12 0,0-12 0,0-1 15,0-12-15,-13 12 0,39-52 16,-39 39-16,-27-13 0,13 14 16,-12-1-16,-14-13 0,0 13 0,0 1 15,-14-1-15,1 0 0,0 1 16,-13-1-16,12 13 0,-25 1 0,12 0 16,-12 12-16,-1 1 0,0 0 15,0 13-15,1 0 0,-1 0 0,-13 13 16,0 0-16,0 14 0,14-1 0,-14 14 15,13 0-15,0-1 0,14 14 16,-14 0-16,27-13 0,-14 13 16,14-14-16,13 1 0,0 39 0,13-39 15,1 0-15,-1-1 0,0 1 0,14-13 16,-1-1-16,27 14 16,-27-14-16,27-13 15,0-13-15,-13 0 0,0-13 16,-1 0-16,14-13 0,0-1 0,27-26 15,-41 13-15,1-12 0,-14 12 16,1-13-16,-14 0 0,0 0 16,1-13-16,-14 26 0,0-13 0,0-13 15,-14 13-15,1 0 0,-13 14 0,-14-41 16,0 54-16,14-1 16,-14 1-16,0 13 0,1 13 15,-1-13-15,-13 26 0,0-13 0,14 13 16,-14 13-16,-53 41 0,53-28 15,0 1-15,-13 26 0,26 0 16,-26 40-16,26-40 16,27-13-16,-13 13 0,12 27 0,14-40 15,14-14-15,12 67 16,1-66-16,-1 0 0,0-14 0,1 1 16,13-14-16,-14 13 0,14-12 0,-1-1 15,14-13-15,0 0 0,53-13 16,-40-1-16,0-12 0,-13-1 0,13-12 15,-13-1-15,14 0 0,-15-13 16,1-13-16,0 0 0,-13 13 0,-14-13 16,1 0-16,-14 0 0,0 13 15,-26-40-15,-13 40 0,-1 0 16,1 14-16,-1 12 0,-39-12 16,26 25-16,1 1 15,-14 26-15,0-13 0,-66 40 0,66 0 16,-79 52-16,65-26 0,-25 54 15,52-68-15,0 1 16,-12 66-16,38-66 16,14-13-16,0 39 0,0-39 15,14-13-15,-1-1 0,0 0 16,0 1-16,14-1 0,-14-12 0,0-1 16</inkml:trace>
</inkml:ink>
</file>

<file path=ppt/ink/ink29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3:16:47.186"/>
    </inkml:context>
    <inkml:brush xml:id="br0">
      <inkml:brushProperty name="width" value="0.05292" units="cm"/>
      <inkml:brushProperty name="height" value="0.05292" units="cm"/>
      <inkml:brushProperty name="color" value="#0070C0"/>
    </inkml:brush>
  </inkml:definitions>
  <inkml:trace contextRef="#ctx0" brushRef="#br0">4299 6800 0,'40'13'16,"-27"-13"-16,14 0 0,-1 0 16,1 0-16,12 0 0,-12 0 0,13 0 15,-1 0-15,14 0 0,-13 0 0,0 0 16,-14 0-16,27 0 0,-13 0 0,-14 0 16,14 0-16,-14 0 0,1 0 15,26-13-15,-40 13 0,13 0 16</inkml:trace>
  <inkml:trace contextRef="#ctx0" brushRef="#br0" timeOffset="234.62">4167 6959 0,'40'0'15,"-14"0"-15,1 0 0,26 0 16,0-14-16,0 14 0,13 0 16,-13 0-16,0 0 0,13-13 0,-13 13 15,-1 0-15,1 0 0,0 0 0,-13-13 16,0 13-16,-1 0 0,-12 0 16,13 0-16,-1 0 0,1-13 15,13 13-15</inkml:trace>
  <inkml:trace contextRef="#ctx0" brushRef="#br0" timeOffset="1398.78">17978 5847 0,'40'-13'32,"-27"13"-17,14 0-15,-1 0 0,1 0 0,-1 0 16,14 0-16,0-13 16,-14 13-16,27 0 0,-13 0 0,-14 0 15,14 0-15,-14 0 0,1 0 0,-1 0 16,-13 0-16,1 0 0,-1 13 15,0-13-15</inkml:trace>
  <inkml:trace contextRef="#ctx0" brushRef="#br0" timeOffset="1631.94">17793 5927 0,'27'13'15,"-14"-13"-15,0 0 16,14 0-16,-1 0 0,1 0 16,-1 0-16,14 13 0,-14-13 0,14 0 15,13 0-15,-14 0 0,-12 0 0,13 0 16,-14 0-16,14 0 0,-14 0 16,1 0-16,-1 0 0,1 0 15,12 0-15,-26 0 0,14 0 0,-14 0 16,0 0-16</inkml:trace>
  <inkml:trace contextRef="#ctx0" brushRef="#br0" timeOffset="2864.07">18349 6032 0,'0'0'0,"0"14"31,0-1-31,13 0 0,-13 0 16,13 1-16,1-1 0,12 13 0,40 14 15,-39-14-15,12-12 16,1 12-16,13-13 0,-13 1 0,26 12 16,-13-13-16,0 1 0,13-1 0,-13 0 15,0-13-15,-1 0 0,1 13 0,-13-13 16,13 0-16,-27 0 0,14-13 16,13 13-16,-13-13 0,-1 13 0,-12-13 15,13-1-15,-1-12 0,-12 13 0,-1-1 16,1-12-16,-1 13 0,1-14 15,12 1-15,-26 13 0,1-1 16,12-25-16,-13 25 0,1 1 16,-14 0-16,13 13 0,0-13 15,-13-1-15,13 14 0,-13-13 16,0 0-16,14 13 0,-14-13 0,13 0 16,-13-1-1,13 1 16,-13 0 1,13 13-1,-39 0 94,13 0-94,-1 0-15,1 0 62,26-13-16,1 13-62,-1-14 0,0 14 16,0 0-16,-13-13 0,13 13 16,1-13-1,-1 13-15,-13-13 16,13 13-16,-39 13 31,12-13-15,-12 13-16,13-13 15,-14 13-15,14-13 0,13 14 0,-13-14 16,0 0-16,-1 0 0,14 13 16,-13-13-16,0 0 0,39-27 31,-12 27-31,-1-13 16,0 13-1,0 0-15,1-13 16,-1 26-16,0-13 15,-13 13-15,13 1 16,-13-1-16,13 0 16,-13 0-16,14 1 15,-14-1-15,13-13 0,-13 13 16,13 0-16,0 0 16,1-13-16,-14 14 15</inkml:trace>
  <inkml:trace contextRef="#ctx0" brushRef="#br0" timeOffset="3634.09">19857 5940 0,'0'0'0,"0"-13"0,0 52 46,0-25-30,13-1-16,0 0 0,-13 0 0,27 14 16,-14-1-16,14 1 0,-1-1 15,0 1-15,14-1 0,-13 0 0,12-12 16,1 12-16,0 1 0,13-1 0,-14-13 16,1 14-16,13-14 0,-13 0 15,-1 0-15,14 1 0,-13-1 16,0 0-16,-1-13 0,14 0 0,-26 0 15,12 13-15,-12-26 0,12 13 0,-12 0 16,13 0-16,-1-13 0,1 0 16,-14-1-16,14 1 0,-13 0 0,-1-13 15,1 12-15,-14-12 0,0 13 0,13-1 16,-12 1-16,-1 0 0,0-14 16,-13 14-16,13 0 0,1 0 0,-14 0 15,13 13-15,0-14 0,-13 1 0,0 0 16,13 0-16,0-1 0,-13 1 15,0 0-15,14 13 16,-14-13-16,13-1 16,-13 1 31</inkml:trace>
  <inkml:trace contextRef="#ctx0" brushRef="#br0" timeOffset="4469.79">21352 5980 0,'-40'0'16,"27"13"0,0-13-16,-1 0 0,1 13 0,0-13 15,-13 13-15,12-13 0,1 13 16,0-13-16,-14 14 0,14-14 0,0 13 16,0-13-16,-14 13 0,27 0 15,-13-13-15,0 0 0,13 14 16,-13-14-16,13 13 15,13-26 17,0 13-32,0-14 0,1 14 15,-1-13-15,0 0 0,0 13 0,14-27 16,-14 27-16,-13-13 0,13 0 16,0 13-16,-13-13 0,14 13 15,-1 0 1,0 0-16,0 13 15,0-13-15,1 0 0,-14 13 16,13 0-16,0-13 0,0 14 16,1-14-16,-1 13 0,0 0 15,0-13-15,1 13 0,-1 1 16,0-14-16,0 13 16,0-13-16,1 13 15,-1-13-15,-13 13 16,13-13-1,-13 14 17,13-14-17,1-14 142,-28 1-126,14 0 0,0 0-15,-13 13-1,0-14 1,0 1 0,-1 13-16</inkml:trace>
  <inkml:trace contextRef="#ctx0" brushRef="#br0" timeOffset="5972.72">10769 6588 0,'79'66'15,"-53"-52"1,1-1-16,13 0 0,-1 13 16,1-12-16,0-1 0,12-13 15,-12 13-15,13 0 0,0-13 0,0 14 0,-13-14 16,13 0-16,-1 0 0,1 0 0,0-14 15,0 14-15,0-13 16,0 13-16,0-13 0,0 0 0,0-1 16,0 1-16,-14 0 0,1-13 0,0 12 15,-1-12-15,1-1 0,-13 1 16,-1-1-16,1 1 0,-1 0 0,0-1 16,1 1-16,-14-14 0,0 13 0,1 1 15,-1-14-15,0 14 0,-13 13 0,0-14 16,0 1-16,0-1 0,-13-12 15,13-1-15,-13 13 0,-1-12 0,-12-1 16,13 14-16,-1-14 0,-12 13 0,0-12 16,-1 12-16,1 1 0,-1-1 15,1 1-15,-14-1 0,14 14 16,-14-13-16,-26-14 0,13 27 16,13 0-16,-39-14 0,26 27 15,13-13-15,0 13 0,-12-13 16,12 13-16,0 0 0,-13 0 15,14 0-15,12 0 0,-26 0 0,13 13 16,1-13-16,-1 0 0,0 13 0,1 0 16,12-13-16,-12 14 0,12-1 0,1 0 15,-14 14-15,14-14 0,-1 0 0,1 13 16,-1-12-16,1 12 0,-1-13 0,14 14 16,0-1-16,-14 1 0,14-1 15,0 1-15,0-14 0,-1 13 16,1 1-16,13-1 0,-13-13 0,13 14 15,-13 26-15,13-27 0,0 1 16,0-1-16,0 1 0,13-1 16,-13 14-16,13-14 0,-13 14 0,13-14 15,27 27-15,-27-26 0,1-1 16,12 1-16,0-1 0,-12-13 16,12 14-16,1-14 0,-1 14 0,1-27 15,-14 13-15,13 0 0,1 0 16,-1-13-16,1 14 0,-14-14 0,13 13 0,-13-13 15,14 13-15,-14-13 0,0 0 16,1 0-16,-1 0 0,0 0 16,0 0-16,1 0 0,-1 0 15,0-13-15,0 13 0,0-13 0,1 13 16,-1-14-16,0 1 0,0 0 0,14-14 16,-1 1-16</inkml:trace>
  <inkml:trace contextRef="#ctx0" brushRef="#br0" timeOffset="6378.98">12224 4842 0,'0'-13'31,"-13"52"-16,13-25-15,-14-1 0,1 13 16,-13 14-16,12-14 0,1 1 0,0 13 16,0-14-16,-1 14 0,1-14 15,0 1-15,0-1 0,0 1 0,-1-1 16,14 0-16,-13-12 0,13 12 0,-13-13 16,13 1-16,0-1 0,-13 0 15,13 0-15,0 1 0,0-1 16</inkml:trace>
  <inkml:trace contextRef="#ctx0" brushRef="#br0" timeOffset="6743.77">11814 5239 0,'0'0'16,"-14"0"-16,14 13 0,-13 0 15,13 0-15,0 1 16,0-1-16,0 0 0,0 0 16,0 1-16,0-1 0,13 0 0,-13 14 15,14-14-15,-1 0 0,0 0 16,0 0-16,14-13 0,-14 14 16,13-14-16,-12 0 0,12 0 15,1 0-15,-1 0 0,1 0 0,-1 0 16,0-14-16,1 14 0,-1-13 0,1 13 15,-1-13-15,-12 13 0,12-13 16,-13 13-16,0-13 0,1 13 16,-1-14-16,0 14 0,0-13 0,1 13 15,-14-13-15,13 13 0,0-13 16,0 13 0,0-14-1</inkml:trace>
  <inkml:trace contextRef="#ctx0" brushRef="#br0" timeOffset="14967.67">6853 5265 0</inkml:trace>
  <inkml:trace contextRef="#ctx0" brushRef="#br0" timeOffset="18050.84">3995 9234 0,'0'13'0,"66"14"16,-39-14-16,-1-13 15,14 13-15,0 0 0,13-13 0,-1 14 16,1-1-16,14-13 0,-15 13 0,15 0 15,-14-13-15,13 0 0,-13 13 16,26-13-16,-13 0 0,13 0 16,-12 0-16,12 0 0,0 0 0,-12 0 15,-1-13-15,0 0 0,0 0 0,0 0 16,-13-1-16,0 1 0,0 0 16,-13 0-16,12-14 0,-12 14 0,0-13 15,-14 12-15,14-12 0,-14 13 16,1-14-16,-1 1 0,1-1 0,-14 1 15,0-1-15,0 1 0,1-1 0,-14 1 16,13 13-16,-13-14 0,0 1 0,0-14 16,-13 14-16,13-14 0,-14 0 15,1 14-15,0-14 0,0 14 16,-14-14-16,14 13 0,-13 1 0,-1 0 16,1-1-16,-1 1 0,1-1 0,-40-26 15,13 27-15,13-1 0,-13 1 16,13 13-16,-12-14 0,-1 14 15,-13-13-15,13 12 0,0-12 0,-66-14 16,52 27-16,1 0 0,0-14 16,0 14-16,13 0 0,-26 13 15,13-13-15,13-1 0,0 14 0,0 0 16,0 0-16,-13 0 0,13 0 0,-13 0 16,0 14-16,13-14 0,0 13 15,-66 13-15,66-13 16,13 1-16,-13-1 0,13 13 0,1-12 15,-1 12-15,14-13 0,-14 14 0,0-1 16,14-13-16,-14 14 0,14-1 16,-1 14-16,14-13 0,-14-1 15,14 14-15,0-1 0,0-12 0,0 12 0,-1 1 16,14 0-16,0 13 0,0-14 16,0 1-16,0 13 0,14-13 0,-1-1 15,0 1-15,0 13 0,14-13 16,-14-1-16,13 1 0,1-13 0,-1 12 0,1-12 15,26-1-15,-14 1 16,1-14-16,13 13 0,-13-12 0,13-1 16,-14 0-16,14-13 0,0 13 0,0 0 15,-13-13-15,13 14 0,0-14 0,-14 0 16,1 0-16,0 0 0,-14 0 16,1 0-16,12 0 0,-12 0 0,-14 0 15,13 0-15,14 0 16,-27-14-16,1 14 0,-1 0 0,0 0 15,0-13-15,0 13 0,1 0 0,-1-13 16,0 13-16,0-13 0,1 13 0,-1-13 16,13-1-16</inkml:trace>
  <inkml:trace contextRef="#ctx0" brushRef="#br0" timeOffset="21568.61">16298 9803 0,'-26'0'16,"26"-13"-16,26 13 31,-12 0-31,25 0 0,1 0 0,13 0 15,0 0-15,13 0 0,13-14 0,1 14 16,-1 0-16,0 0 0,14 0 16,-14 0-16,14 0 0,-14 0 0,1 14 15,12-14-15,-12 0 0,-1 0 0,-13 0 16,0 0-16,-13 0 0,0 13 16,0-13-16,0 0 0,0 0 0,-13 0 15,-1 0-15,-12 13 0,-1-13 0,1 0 16,-1 0-16,-13 0 0,1 0 0,12 0 15,-13 0 1,-39 0 0,13 0-16,-1 13 15,-12-13-15</inkml:trace>
  <inkml:trace contextRef="#ctx0" brushRef="#br0" timeOffset="23180.95">7580 8744 0,'0'-26'0,"27"13"16,-14 13-1,0-13-15,0 13 0,1 0 16,12 13-16,-13-13 0,14 0 0,-14 13 15,0-13-15,1 13 0,-1 0 16,-13 1-16,13-1 0,-13 0 0,-13 0 16,13 14-16,-13-14 0,-1 14 0,1-14 15,0 0-15,0 13 0,13-12 0,-14-14 16,1 13-16,13 0 0,-13-13 16,13 13-16,13-13 31,0 0-31,1 0 0,-1 0 15,13 0-15,1 0 0,-14 0 16,0 0-16,0 0 0,1 0 0,-14 14 16,13-14-16,-13 13 15,0 0 1,-13 0-16,-1-13 0,1 14 0,0-1 16,-13 0-16,-1 0 0,1 14 0,-1-14 15,1 0-15,-1 0 0,1-13 16,13 14-16,-14-1 0,1-13 15,12 13-15,14-39 16,14 12 0,-1 1-16</inkml:trace>
  <inkml:trace contextRef="#ctx0" brushRef="#br0" timeOffset="23473.81">7832 8850 0,'0'27'15,"0"-14"1,0 0-16,0 14 0,13-14 16,-13 0-16,13 0 0,0-13 15,1 14-15,12-1 0,-13-13 0,14 0 16,-14 0-16,13 0 0,1 0 0,-14 0 16,14-13-16,-1-1 0,-13 1 15,-13 0-15,0 0 16,0-1-16,-13 1 15,0 0-15,0 13 0,-1-13 0,1 0 16,-13-1-16,-1 1 0,14 13 0,-13-13 16,12 13-16,1-13 0,-13 13 15,12 0-15,1-14 0,0 14 16,0-13-16,13-13 16</inkml:trace>
  <inkml:trace contextRef="#ctx0" brushRef="#br0" timeOffset="23882.09">7726 8414 0,'-66'13'0,"-159"119"31,172-92-31,0 13 16,0-13-16,0 39 0,13-26 0,14 13 15,0 0-15,-14 66 0,27-65 16,13-1-16,13 0 0,13-13 15,1 0-15,12 0 0,54 26 16,-40-39-16,0-14 0,66 14 16,-53-27-16,-13 0 0,0-13 15,0-13-15,13 13 0,-13-26 0,13 12 16,-13-12-16,0-1 0,-13-12 0,-1-1 16,1 0-16,0 1 0,-14-1 0,14-66 15,-27 40-15,-13 13 16,0-13-16,0 13 0,0-13 15,-26-53-15,-1 53 0,1 13 16,-14 13-16,13-13 0,-12 13 0,-14 14 16,-26-27-16,39 40 15,0 0-15,-13-1 0,14 14 0,-1 0 16,13 0-16,1 0 0,-1 0 0,14 0 16,-13 14-16,13-1 0,-1 0 15,28 0 1,-14 1-16,26-1 0</inkml:trace>
  <inkml:trace contextRef="#ctx0" brushRef="#br0" timeOffset="24353.78">8374 8916 0,'40'0'16,"-14"0"-16,14-13 0,0 13 0,12-13 16,1 13-16,-13-13 0,13 0 0,0 13 15,-13-14-15,13 14 16,26-13-16,-39 0 0,-14 13 15,14 0-15,-27-13 0,13 13 16,-12 0-16,-1 0 0,0 0 16,-39-14 15,12 14-15,1 0-16</inkml:trace>
  <inkml:trace contextRef="#ctx0" brushRef="#br0" timeOffset="24669.67">8930 8639 0,'26'-14'15,"1"28"1,-14-14-16,0 13 0,14-13 15,-1 13-15,14-13 0,-1 13 16,1 1-16,-13-1 0,12 0 0,-12 0 0,-1 0 16,1 1-16,-1-1 0,0 13 15,-12-12-15,-1-1 16,-13 13-16,13-12 0,-13-1 0,-13 0 16,13 13-16,-27 1 0,14-1 15,-13 1-15,-1-1 0,-12 1 0,12-1 16,-12 1-16,-28 12 15,41-25-15,-14 12 0,-13 1 16,40-27-16,-13 13 0,12-13 16</inkml:trace>
  <inkml:trace contextRef="#ctx0" brushRef="#br0" timeOffset="26583.78">18190 9869 0,'-13'0'15</inkml:trace>
  <inkml:trace contextRef="#ctx0" brushRef="#br0" timeOffset="26752.73">18230 9842 0,'0'-13'31</inkml:trace>
  <inkml:trace contextRef="#ctx0" brushRef="#br0" timeOffset="26948.66">18309 9816 0,'0'-26'47</inkml:trace>
  <inkml:trace contextRef="#ctx0" brushRef="#br0" timeOffset="27753.79">19566 9737 0,'26'0'0,"-12"0"0,-1 0 15,13 0-15,-12 0 0,12-14 16,0 14-16,1 0 0,-1 0 0,1 0 15,-1 0-15,1 0 0,-1 0 0,1 0 16,-14 0-16,13 0 0,1 0 16,-14 0-16,0 0 0,14 0 15,-14 0-15,0 0 0,0 0 0,1 0 16,-1 0-16,-40 14 31,14-14-15,0 0-16,0 13 0</inkml:trace>
  <inkml:trace contextRef="#ctx0" brushRef="#br0" timeOffset="28077.96">19539 9829 0,'-13'0'0,"0"0"0,39-13 47,-12 13-47,-1 0 0,13-13 0,1 13 15,-1 0-15,1 0 0,-1 0 0,14 0 16,-14-13-16,1 13 16,-1 0-16,1 0 0,-14 0 0,13 0 15,1 0-15,-14 0 0,0 0 0,1 0 16,12 0-16,-13 0 16,0 0-16,1 0 0,-1 0 15,0 0-15,0 0 16,-13-27 46,-13 14-46</inkml:trace>
  <inkml:trace contextRef="#ctx0" brushRef="#br0" timeOffset="28505.67">19500 9155 0,'39'-27'16,"-25"27"-1,12-13-15,27 13 0,-13-13 0,-14 13 16,14 0-16,0-14 0,-14 14 16,1 0-16,-1 0 0,0-13 15,1 13-15,-14 0 0,27 0 16,-27 0-16,0 0 0,0 0 0,1 0 16,-1 0-16</inkml:trace>
  <inkml:trace contextRef="#ctx0" brushRef="#br0" timeOffset="28776.84">19619 9102 0,'26'13'16,"-12"-13"-16,-1 0 15,13 0-15,-13 0 0,14 0 0,-14 0 16,14 0-16,-1 0 0,-13 0 16,14 0-16,-1 13 0,-13-13 0,14 0 15,-14 0-15,0 0 0,1 0 16,-1 0-16,0 0 0,0 0 16,0 0-16,1 0 0,-1 0 15,0 0-15,0 13 16,1-13-16,12 0 15,-13 0 1</inkml:trace>
  <inkml:trace contextRef="#ctx0" brushRef="#br0" timeOffset="29293.39">20598 9049 0,'0'13'16,"0"0"0,0 0-16,0 1 0,0-1 15,0 0-15,0 14 0,0-14 0,0 13 16,0-12-16,0 12 0,13-13 15,-13 14-15,0-1 0,0-13 0,0 1 16,0-1-16,0 13 0,0-13 16,0 1-16,0-1 0,0 0 15,13-26 17,1 0-32,-14-1 15,13 1-15,-13 0 0,13-13 16,0 12-16,-13-12 0,0 13 0,13-14 15,-13 14-15,14 0 0,-14 0 16,0-1-16,0 1 0,13 0 16,-13 0-16,0-1 0,0 41 31,0-14-15,-13 0-16,13 1 0,-14 12 15,14 0-15,0-12 0,0-1 0,0 13 16,-13-12-16,13-1 0,0 13 15,-13-13-15,13 1 0,0 12 16,-13-26-16,13 13 0,0 1 0,-13-1 16</inkml:trace>
  <inkml:trace contextRef="#ctx0" brushRef="#br0" timeOffset="30098.11">19050 9168 0,'-13'13'15,"0"-13"1,13 13-16,-14 14 0,14-14 16,-13 0-16,13 14 0,-13-1 15,0 14-15,13-14 0,-14 14 0,14-14 0,-13 1 16,13-1-16,0 1 0,-13-14 15,13 13-15,0-12 0,0-1 16,0 0-16,0 0 0,0 1 16,13-28-1,-13 1 1,13-13-16,1-1 0,-1-12 16,0 12-16,0-13 0,1 1 0,-1-1 15,0 0-15,13 1 0,-12-27 16,-1 39-16,-13 14 0,13 0 0,-13-1 15,0 1-15,-13 26 32,13 14-32,-27-1 0,14 14 0,0 0 0,-40 65 15,40-52-15,-14-13 16,1 53-16,13-54 0,-1 1 16,1 0-16</inkml:trace>
  <inkml:trace contextRef="#ctx0" brushRef="#br0" timeOffset="35108.94">11681 7011 0,'0'-26'0,"0"52"31,0 1-31,14 26 0,-14 0 16,13 13-16,-13-13 0,0 26 0,13-13 15,-13 80 1,13-67-16,-13 1 0,0-14 0,14 0 0,-14 0 15,0 0-15,0-13 0,13 0 0,-13-13 16,0 13-16,0-14 0,0-12 16,0-1-16,0-13 0,0 1 15,0-1-15,0 0 0,-13 0 16,-1-39-16,14 13 16,0-1-16,-13 1 0,0-13 15,13-1-15</inkml:trace>
  <inkml:trace contextRef="#ctx0" brushRef="#br0" timeOffset="35686.92">11761 6919 0,'0'0'0,"13"0"15,-39 26 1,12-12-16,1 12 0,0 14 16,0-14-16,-14 1 0,14 12 15,0-12-15,-1-1 0,-12 14 0,26-27 16,-13 14-16,0-1 0,-1-13 0,1 14 15,13-14-15,-13 0 0,13 0 16,-13 1-16,13-1 0,0 0 0,-14-13 16,14 13-16</inkml:trace>
  <inkml:trace contextRef="#ctx0" brushRef="#br0" timeOffset="36045.83">11615 6972 0,'0'0'0,"40"13"16,-27-13-16,0 13 0,1-13 16,12 13-16,-13-13 15,1 14-15,12-1 0,-13 0 0,0 0 0,14 1 16,-14-1-16,14-13 0,-14 13 0,13 0 15,-13 1-15,1-14 0,-1 13 16,0 0-16,0-13 0,1 13 16,-1-13-16,-13 13 0,13-13 15,0 14 1,1-14-16,-1 13 16,0-13 46</inkml:trace>
  <inkml:trace contextRef="#ctx0" brushRef="#br0" timeOffset="38373.69">11893 8176 0,'26'13'0,"-12"-13"16,25 13-16,-12 0 0,-1 1 16,14-1-16,0 0 0,-1 0 15,1 0-15,13 14 0,13-14 0,-13 14 16,0-1-16,13 1 0,0-14 0,0 13 15,1 1-15,-1-1 16,0 1-16,0-14 0,13 13 0,67 27 16,-67-26-16,1-14 0,-1 13 15,0 1-15,1-1 0,-1-13 16,0 14-16,-12-1 0,12-12 0,0 12 16,-12 1-16,12-14 0,-13 13 0,0 1 15,0-14-15,-13 13 0,13 1 0,1-1 16,-15-12-16,1 12 0,66 27 15,-79-40-15,0 0 0,0 1 16,-14 12-16,14-13 0,-14 1 0,1-14 16,-14 13-16,13 0 0,-13-13 15,1 13-15,-1 0 0,0-13 16,0 0-16,1 14 0,-1-14 0,0 13 16,0-13-16,1 0 31,-28-13 47,14-1-78,-13 14 16,13-13 15</inkml:trace>
  <inkml:trace contextRef="#ctx0" brushRef="#br0" timeOffset="38804.76">14856 8983 0,'-13'0'31,"26"13"-15,1 0 0,-1-13-16,-13 13 0,13 1 15,0-14-15,0 13 0,1 0 0,-1 0 16,0 0-16,0 1 0,14-1 0,-1 13 15,-12-26-15,-1 14 16,13-1-16,-13-13 0,1 13 0,-1 0 16,0 1-16,0-1 0,1-13 15,-1 13-15,0 0 0,-13 0 16,0 1 0,0-1-16,-13 0 0,0 0 15,-14 1-15,1 12 0,-14-13 16,14 0-16,-27 14 0,0-1 15,0 1-15,0-14 0,0 14 0,0-1 16,13-13-16,1 14 0,-1-14 0,0 0 16,14 0-16,-1 1 0,1-1 0</inkml:trace>
  <inkml:trace contextRef="#ctx0" brushRef="#br0" timeOffset="42699.74">19513 9790 0,'-13'0'0,"52"13"47,-25-13-32,-1 0-15,0 0 0,14 0 0,-14 0 16,13 0-16,1 0 0,-1 0 15,1 0-15,-1 0 0,1 0 0,-14 0 16,13 0-16,1 0 0,-14 0 0,13 0 16,-12 0-16,-1 0 0,13 0 15,-12 0-15,-1 0 0,0 0 16,0 0 0,-52 0 15,25 0-31,1 0 0,-13 0 0,12 0 15,-12 0-15,0 0 0,-1 0 16,1 0-16,-1 0 0,1 0 0,-1 0 16,14 0-16,-13 0 0,12 0 0,1 0 15,0 0-15,0 0 0,-1 0 16,41 13 15,-1-13-31,-12 0 0,-1 13 16,13-13-16,1 0 0,-1 0 15,1 0-15,-14 0 0,13 13 0,1-13 16,-14 0-16,0 0 0,0 0 0,14 0 16,-14 0-16,0 0 15,1 0-15,-54 0 32,13 0-17,14 0-15,-13 0 0,-1 0 0,1-13 16,-1 13-16,1 0 0,-1 0 0,14 0 15,-13 0-15,13 0 0,-1 0 16,1-13-16,0 13 0,0 0 0,-1 0 16,54 0 15,-27 0-31,1 0 16,-1 0-16,13 0 0,-13 0 0,14 0 15,-14 0-15,0 0 0,14 0 0,-14 0 16,0 0-16,1 13 0,-1-13 15,0 0-15,0 0 0,0 0 0,1 0 16</inkml:trace>
  <inkml:trace contextRef="#ctx0" brushRef="#br0" timeOffset="48159.85">11827 8295 0,'-27'0'31,"27"13"0,0 0-31,14-13 16,-14 13-16,13-13 0,0 14 0,0-1 15,1-13-15,-1 13 0,0 0 16,0 1-16,14-1 0,-1 0 0,1 13 16,-1-12-16,1 12 0,12-13 0,-12 14 15,-1-14-15,1 13 0,12-12 16,-12 12-16,12-13 0,1 14 16,13-1-16,53 27 0,-53-13 15,0-14-15,0 1 0,0 13 0,13-14 16,-13 14-16,13-14 0,0 14 15,0-14-15,0 14 0,0 0 0,14-14 16,-14 14-16,93 39 0,-80-39 16,0 0-16,14-1 0,-14 14 15,-13-26-15,1 12 0,-1 1 16,0 0-16,13-14 0,-13 14 0,14 0 16,-14-1-16,13-12 0,-13 12 0,1 1 15,-1-14-15,0 1 0,-13 13 16,13-14-16,-13 1 0,0-1 0,0-13 15,-14 0-15,1 14 0,0-14 0,-14 0 16,1-13-16,-14 14 0,13-14 0,-12 13 16,-1-13-16,0 13 0,0-13 15,1 0-15,-14 13 0,13-13 16,0 0-16,0 14 16,0-14 15,1 0 16,-14-14 156,13 1-188</inkml:trace>
  <inkml:trace contextRef="#ctx0" brushRef="#br0" timeOffset="49648.75">15134 9895 0,'-13'0'31,"26"14"16,-13-1-31,0 0-16,13-13 0,-13 13 15,14 1-15,-14-1 16,13-13-16,0 13 0,-13 0 16,13 0-16,1 1 0,-1-1 0,0 0 0,0 0 15,0 1-15,1-1 0,-1 0 16,0 0-16,0 1 0,1-1 16,-1 0-16,0 0 0,0 0 0,14 1 0,-14-14 15,0 13-15,-13 0 0,13-13 16,1 13-16,-1-13 0,0 14 15,0-1-15,1-13 0,-14 13 16,13-13-16,0 13 16,0 1-1,1-1 1,-1-13 15,-26 13 0,-1-13-15,1 13-16,0-13 16,0 0-16,-1 0 15,14 13-15,-13-13 0,0 0 16,0 0-16,13 14 0,-14-14 0,1 0 0,0 0 16,0 0-16,0 13 0,-1-13 15,1 0-15,13 13 0,-13-13 16,0 0-16,-1 0 0,1 13 15,0-13 1,0 0 0,-1 14-1,1-14 32,0 0 438,13-14-470,0 1 1,13 13-16,-13-13 15,13 13-15,1-13 0,-1-1 0</inkml:trace>
  <inkml:trace contextRef="#ctx0" brushRef="#br0" timeOffset="51301.59">19738 10570 0,'26'0'15,"-52"0"-15,66 0 0,-27 0 0,0 0 0,0 0 16,1 0-16,-1 0 0,0-13 0,13 13 16,-12 0-1,-14 13-15,-14 0 47,1-13-47,-13 0 0,13 0 0,-1 0 16,-12 14-16,13-14 0,-14 0 0,14 0 15,0 0-15,-14 0 0,14 13 16,-13-13-16,12 0 0,1 0 16,0 0-16,-14 0 15,27 13-15,27-13 32,-14 0-17,0 0-15,1 0 0,-1 0 16,26 0-16,-25 0 0,12-13 15,-13 13-15,1 0 0,-1 0 16,0 0-16,0 0 0,14 0 16,-67 0 31,27 0-47,0 0 15,-1 0-15,-12 0 0,13 0 0,-27 0 16,27-13-16,-27 13 31,14 0-31,12 0 0,41 0 47,-1 0-31,1 0-1,-14 0 1,0 0-16,0 0 15,1 0 79,-14-14-78,13 14-1,0-13 1,-13 0-16,13 13 0,1-13 16,-1-1-16</inkml:trace>
  <inkml:trace contextRef="#ctx0" brushRef="#br0" timeOffset="54468.92">19764 10570 0,'-13'0'16,"0"0"-1,53 0 48,-27 0-63,0 0 0,0 0 0,14 0 15,-14 0-15,13 0 0,1 0 16,-1 0-16,1 0 0,-14 0 16,13 0-16,1 0 0,-1 0 0,1 0 15,-1 0-15,1 0 0,-1 0 0,-13 0 16,14 0-16,-14 0 0,14 0 15,-14 0-15,0 0 0,0 0 0,1 0 16,-1 0-16,0 0 0,0 0 16,-52 0 15,25 0-31,1 0 16,0 0-16,-14 0 0,1 0 15,-1 0-15,1 0 0,-14 0 0,14 0 16,-14 0-16,0 0 0,14 0 0,-14 13 15,14-26-15,-1 13 0,1 0 16,0 13-16,12-13 0,1 0 16,-13 0-16,12-13 0,1 13 0,0 0 15,-14 13-15,67-13 47,-27 0-47,1 0 16,12 0-16,1 0 0,-1 0 15,0 0-15,1 0 0,13 0 0,-14 0 16,14 0-16,13-13 0,-27 13 0,14 0 16,-14 0-16,14 0 0,-14 0 15,1 0-15,13 0 0,-14 0 16,-13-13-16,14 13 0,-14 0 0,13 0 16,-12 0-16,-1 0 0,0 0 15,0 0-15,1 0 0,-1 0 16,0 0-16,0 0 15,0-13 1,1 13 0,-41-14 218,14 14-140,13 14 93,0-1-30,13-40-32</inkml:trace>
  <inkml:trace contextRef="#ctx0" brushRef="#br0" timeOffset="59873.62">11681 8321 0,'27'27'31,"-27"-14"-16,13 0-15,0 0 0,14 14 0,-1-1 16,1-13-16,-14 14 0,13-1 16,1 1-16,12 12 0,1 1 0,0-13 15,0 12-15,-1 1 0,1 0 16,13-1-16,-13 1 0,12 0 16,1-1-16,0 14 0,13 0 0,53 40 15,-39-40-15,-14 0 0,-13 0 16,13 0-16,-13-1 0,0-12 0,0 13 15,0-13-15,-14-1 0,14 14 0,0-13 16,-13 0-16,0-1 0,13 1 16,-14 0-16,1-1 0,0 1 0,-14-13 15,1 12-15,12-12 0,-12-1 16,-1 1-16,1-1 0,-1 1 0,14-1 16,-14 1-16,1-14 0,-1 13 15,14-13-15,-14 14 0,1-14 0,12 0 16,-12 1-16,13-1 0,-14 0 0,-13 0 15,14 1-15,-1-1 0,1-13 16,-1 13-16,1 0 0,-1-13 0,14 13 16,-14 1-16,27-1 0,-26 0 15,-1 0-15,14 1 0,-14-1 16,1-13-16,-14 13 0,40 14 16,-40-27-16,13 13 0,14 0 15,-27 0-15,1-13 0,-1 13 0,0 1 16,0-14-16,14 13 15,-14-13-15,0 13 0,0 0 16,1-13-16,-14 14 16,13-14-16,-13 13 0,13-13 15,-13 13-15,13-13 16,1 13 0,-1-13-1,-13 13 1,13-13-1,-13 14 1,13-14-16,-13 13 0,13-13 16,-13 13-16,14-13 15,-14 13-15,13-13 16,-13 14-16,13-14 0,-13 13 0,13-13 16,-13 13-16,14-13 0,-14 13 0,13 1 15,0-1-15,0 0 16,0 0-16,1 0 0,-1 1 15,0-14-15,0 13 0,14 0 16,-27 0-16,13-13 0,0 14 16,1-14-16,-1 13 0,0-13 15,0 0-15,0 13 0,1-13 0,-1 13 16,0-13-16,0 14 0,1-14 0,-14 13 16,13-13-16,0 13 0,0-13 15,1 13-15,-1 0 16,0-13-16,0 14 0,0-14 15,-13 13-15,14-13 16,-1 13 15,-40-26 1,14 0-17,0-1-15</inkml:trace>
  <inkml:trace contextRef="#ctx0" brushRef="#br0" timeOffset="60373.63">15121 10755 0,'13'27'47,"0"-27"-47,-13 13 0,14-13 16,-14 13-16,13 0 0,-13 1 0,13-14 15,0 13-15,1 0 0,-14 0 0,26 14 16,-13-14-16,0 14 16,1-27-16,-1 13 0,-13 0 15,13-13-15,-13 13 0,13 0 16,1-13-16,-14 14 0,13-14 0,-13 13 16,13-13-16,-13 13 0,13-13 15,1 13-15,-1-13 16,-13 14-16,13-1 31,-13 0-31,-13 0 16,0 0-16,-1 1 0,1-1 0,-13 13 15,-1-12-15,-13 12 0,14 1 16,-27-1-16,13 0 0,-13 1 16,14-1-16,-14-12 0,13 12 0,0 1 15,1-14-15,-1 0 0,0 13 0,1-12 16</inkml:trace>
  <inkml:trace contextRef="#ctx0" brushRef="#br0" timeOffset="63457.65">22119 10663 0,'0'-14'0,"0"28"0,0-41 31,0 54 1,0-14-32,0 13 0,0-12 15,0-1-15,0 13 0,0-12 0,0 12 16,0-13-16,-13 14 15,13-14-15,0 13 0,0-12 0,-13 12 16,13-13-16,0 1 0,0-1 0,-14 0 16,14 0-16,0 0 0,0 1 15,0-1-15</inkml:trace>
  <inkml:trace contextRef="#ctx0" brushRef="#br0" timeOffset="63817.49">22371 10676 0,'0'-13'31,"-14"39"-15,1-13-16,0 1 0,13-1 15,-13 13-15,13 1 0,-14-14 16,14 13-16,0 1 0,-13-14 0,13 14 15,0-14-15,0 0 0,13 0 0,-13 1 16,0-1-16,14 0 0,-1 0 16,0-13-16,-13 13 0,13-13 15,1 0-15,-14-13 16,13 13-16,-13-13 0,0 0 16,0 0-1,0-1-15,0 1 16,-13 13-16,13-13 15,-14 13-15,1 0 16,0 0 0</inkml:trace>
  <inkml:trace contextRef="#ctx0" brushRef="#br0" timeOffset="64114.78">22569 10755 0,'26'0'32,"-12"0"-17,-1 0-15,0 0 0,0 0 16,1 0-16,-1 0 16,0-13-16,0 13 0,0 0 15,1-13-15</inkml:trace>
  <inkml:trace contextRef="#ctx0" brushRef="#br0" timeOffset="64512.84">22834 10610 0,'0'0'0,"13"-13"16,0 13 0,0-14-16,0 14 15,-13 14-15,14-14 16,-1 0-16,-13 13 0,13 0 15,-13 0-15,0 0 16,0 1-16,13-1 0,-13 0 0,0 14 16,0-14-16,0 0 0,0 0 0,0 1 15,0-1-15,0 13 0,0-13 16,0 1-16,0-1 0,0 0 16,0 0-16,0 1 15,14-1 1</inkml:trace>
  <inkml:trace contextRef="#ctx0" brushRef="#br0" timeOffset="64705.89">22847 10848 0,'13'-13'15,"13"-1"1,-12 14-16,12 0 15,-13-13-15,14 13 0,-1 0 0,14-13 16,-14 13-16,1-13 0,-14 13 0,0 0 16,1 0-16,-1-13 0,0 13 15,-13-14-15</inkml:trace>
  <inkml:trace contextRef="#ctx0" brushRef="#br0" timeOffset="65146.28">21908 10544 0,'-40'26'0,"-26"93"31,52-92-31,1 12 0,0-12 16,13 12-16,-13 1 0,13 0 0,0-14 0,0 14 15,0-14-15,13 14 16,13 0-16,-12-14 0,12 1 0,1-1 16,12 1-16,1-1 0,0-13 0,-1 1 15,14-1-15,0-13 0,0 0 16,0 0-16,0 0 0,0-13 15,0 13-15,0-14 0,0 14 0</inkml:trace>
  <inkml:trace contextRef="#ctx0" brushRef="#br0" timeOffset="65545.67">23019 10266 0,'13'0'16,"106"66"0,-92-40-16,12 14 0,-12-13 15,12 12-15,-12 1 0,-14 0 16,0-1-16,0-12 0,1 12 0,-1 1 16,-13-13-16,0-1 0,0 14 0,-13-1 15,-1 1-15,-12-13 0,13 12 16,-27-12-16,14-1 0,-14 1 0,0-1 15,-13 1-15,14-14 0,-1 0 0,14 0 16,-14 0-16,0-13 0</inkml:trace>
  <inkml:trace contextRef="#ctx0" brushRef="#br0" timeOffset="67963.85">18627 5715 0,'26'0'63,"1"0"-48,-14 0-15,0 0 16,0 0-16,0-13 0,14 13 15,-14 0-15,0 0 0,1-13 0,-1 13 0,-13-14 16,13 14-16,0 0 16,1-13-16,-1 0 0,0 0 15,0 13-15,-13-14 0,13 1 0,-13 0 16,14 13-16,-14-13 0,13-1 16,-13 1-16,13 0 0,-13 0 0,13 0 15,-13-1-15,0 1 0,0 0 0,14 0 16,-14-1-16,0 1 15,13 0-15,-13 0 0,0 0 0,0-1 16,0 1-16,0 0 0,0 0 16,0-1-16,0 1 15,-13 0-15,13 0 16,-14-1-16,14 1 0,-13 13 16,0-13-16,13 0 0,-13 13 0,-1-13 15,14-1-15,-13 14 0,0-13 16,0 0-16,0 13 0,-1-13 15,1 13-15,0-14 16,0 14-16,-1 0 0,1-13 16,0 13-16,0 0 0,-1 0 15,1 0-15,0 0 0,0 0 0,0 13 16,-1-13-16,1 0 0,0 0 16,-14 0-16,14 14 0,0-14 0,0 0 0,0 13 15,-1-13-15,1 13 0,0-13 16,0 0-16,-1 13 0,1-13 15,0 14-15,0-14 0,-1 13 0,1 0 16,0-13-16,0 13 0,0 0 16,-1-13-16,14 14 0,-13-14 15,0 13-15,0 0 0,13 0 16,-14-13-16,14 14 0,0-1 16,-13 0-16,13 0 15,0 1-15,0-1 16,-13 0-16,13 0 0,0 0 15,0 1-15,0-1 0,0 0 16,0 0-16,13 1 16,-13-1-16,0 0 15,0 0-15,13-13 0,-13 13 0,0 1 16,14-1-16,-14 0 16,13-13-16,-13 13 0,13 1 0,0-1 15,-13 0-15,40 14 31,-27-14-31,0-13 0,1 0 0,-1 13 16,0-13-16,0 0 0,1 13 16,-1-13-16,0 13 0,0-13 15,1 0-15,-1 0 0,0 0 0,0 14 16,0-14-16,1 0 16,-1 0-16,0 0 0,0 0 15,1 0-15,-1 0 0,0 0 16,0 0-16,0 0 0,1 0 0,-1 0 15,0 0-15,0 0 0,1 0 0,-14-14 16,13 14-16,0 0 0,0 0 16,1-13-16,-1 13 0,-13-13 15,13 13-15,0 0 0,-13-13 0,13 13 0,-13-13 16,14 13-16,-1-14 0,0 1 16,0 13-16,-13-13 0,14 0 15,-1 13-15,-13-14 0,13 14 16,0-13-16,-13 0 0,14 13 0,-1-13 15,-13-1-15,13 14 0,-13-13 16,13 0-16,-13 0 16,13 0-16,-13-1 0,0 1 15,0 0-15,14 0 16,-28-14 0,14 14-16,-13 0 15,13 0-15,-13-1 16,13 1-16,-13 13 0,13-13 15,-13 0-15,-1 13 0,14-14 16,-13 14-16,13-13 0,-13 13 0,13-13 16,-13 13-16,13-13 0,-14 13 15,1-14-15,0 1 16,0 13-16,13-13 0,-14 13 16,1-13-16,0 13 15,13-13-15,-13 13 0,0 0 0,-1-14 16,14 1-16,-13 13 0,0 0 15,0-13-15,-1 13 16,1-13-16,0 13 16,0-14-16,-1 14 0,1 0 15,0 0 1,0 0-16,13-13 0,-13 13 16,-1 0-16,1 0 15,0 0-15,0 0 16,-1 0-16,1 13 15,0-13-15,0 0 16,0 14-16,-1-14 16,14 13-16,-13-13 0,0 0 15,0 13-15,-1-13 16,14 13-16,-13-13 0,0 14 16,0-14-16,-1 13 0,1 0 15,0 0 1,0-13-16,13 13 15,-13 1-15,-1-1 0,14 0 16,-13 0-16,13 1 16,-13-1-16,13 0 0,0 0 15,0 1-15,-13-1 0,13 0 16,0 0-16,0 0 16,0 1-16,0-1 0,0 0 15,0 0-15,13 1 16,-13-1-1,0 0-15,0 0 16,0 0 0,13-13-16,-13 14 15,-13-1-15,13 0 16,0 0-16</inkml:trace>
  <inkml:trace contextRef="#ctx0" brushRef="#br0" timeOffset="69867.69">5794 8705 0,'0'0'0,"-39"26"0,25-13 0,1 1 15,-13-1-15,-1 13 0,1 1 16,-1-1-16,1 14 0,-14 0 16,1-1-16,12 1 0,-13 0 0,1-14 15,12 14-15,1-14 0,-1 1 0,-12 13 16,25-27-16,1 0 0,0 0 15,13 0-15,-13-13 0,13 14 16,13-1 0,13-40-16,1 14 15,13-13-15,-14 13 0,14-27 0,-1 13 16,14-12-16,-13-1 0,0 0 16,52-39-16,-39 39 0,-13 14 15,39-27-15,-39 26 0,-14 14 16,1 0-16,-14 0 0,0 13 15,1-14-15,-28 28 32,-12 12-32,-1 1 0,-12-1 15,-1 14-15,-39 39 16,39-39-16,0 0 0,-52 39 16,52-53-16,-13 14 0,-26 26 15,39-39-15,14-1 0,-1 1 0,1-14 16,12 0-16,1 0 0,0-13 15,0 13-15,26-39 16,13 0 0,1-1-16,13-13 0,-14 1 0,67-54 15,-54 53-15,1-12 16,13 12-16,-13 0 0,13-13 16,-14 14-16,1 12 0,0-13 0,-1 27 15,-12-13-15,-1 12 0,1 1 0,-14 0 16,0 0-16,0 13 15,-13-13-15,-13 39 16,0-13-16,-14 0 0,1 14 16,-14-1-16,14 14 0,-14 0 15,0-1-15,1-12 0,-1 13 16,0-1-16,1 1 0,-1-14 0,14 1 16,-1-1-16,1 1 0,-1-14 0,1 0 15,13 1-15,-1-1 0,1 0 16,0 0-16,0-13 0,-1 13 15,14 1-15,-13-14 16,13 13-16,-13-13 16,13 13-1,-13 0 1</inkml:trace>
  <inkml:trace contextRef="#ctx0" brushRef="#br0" timeOffset="71572.72">20955 11562 0,'26'14'62</inkml:trace>
  <inkml:trace contextRef="#ctx0" brushRef="#br0" timeOffset="73691.75">11721 8308 0,'0'0'16,"-13"0"-1,13 13 17,0 14-17,0-14 1,0 0-16,0 0 0,0 14 0,13-14 15,-13 13-15,0 1 0,13-1 0,-13 1 16,0-1-16,14 14 0,-1 53 16,-13-54-16,0 1 0,13 66 15,-13-53-15,0 13 0,0-13 16,13 13-16,-13 0 0,0 0 16,13-13-16,-13 13 0,14-13 0,-14 0 15,13-13-15,-13 13 0,13 0 0,0-14 16,-13 14-16,0-13 0,14 0 15,-14 12-15,13-12 0,-13 0 0,0 0 16,0-1-16,0 1 0,13 13 16,-13-13-16,0-1 0,-13 1 0,13 0 15,0-1-15,0 1 0,0-14 16,0 14-16,-13 0 0,13-14 16,0 14-16,0-14 0,0 27 0,0-13 15,0-14-15,0 1 0,0-1 16,0 1-16,0 13 0,0-1 0,0-12 15,0-1-15,13 1 0,-13 26 16,0-14-16,0-12 0,0-1 0,0 1 16,0-1-16,13 0 0,-13 1 15,0-1-15,13 1 0,-13-14 16,0 14-16,0-1 0,13-13 0,-13 14 16,0-1-16,0-13 0,14 14 0,-14-14 15,0 14-15,13-14 0,-13 13 16,0-13-16,13 1 0,-13 12 0,0-13 15,13 1-15,-13 12 0,14-13 0,-14 1 16,13-1-16,-13 0 0,13 0 16,-13 0-16,13 14 0,1-14 15,-14 0-15,13 1 0,0-1 0,0-13 16,-13 13-16,13 0 0,1-13 16,12 14-16,-13-14 0,1 13 15,-1-13-15,13 13 0,14-13 16,-14 0-16,1 13 0,13-13 0,-1 0 15,1 0-15,13 13 0,0-13 16,0 0-16,0 0 0,0 0 0,52 0 16,-38 0-16,-1 0 0,0 0 15,13 14-15,-13-14 0,14 0 0,-14 0 16,13 0-16,-13 13 0,14-13 16,-1 0-16,-13 0 0,14 13 0,-1-13 15,-13 0-15,14 13 0,-14-13 16,0 0-16,0 14 0,13-14 15,-12 13-15,-1-13 0,-13 0 0,13 13 0,0-13 16,-13 13-16,0-13 0,0 0 16,13 13-16,40 1 0,-67-14 15,67 13-15,-53-13 16,-13 0-16,26 13 0,-26-13 16,-14 0-16,27 0 15,-27 13-15,1-13 0,-1 0 0,-12 0 16,12 0-16,-13 0 0,14 0 15,-14 0-15,0 0 0,0 0 16,1 0-16,-1 0 0,0 0 31,0 0-15,-13-13 31,0 0-16,0 0-31,0-1 31,0 1-31</inkml:trace>
  <inkml:trace contextRef="#ctx0" brushRef="#br0" timeOffset="74116.52">15425 11642 0,'-13'0'0,"13"13"15,13 0 1,0 0 0,1 1-16,-1-14 15,0 0-15,0 13 0,1-13 0,12 0 16,1 13-16,-14-13 0,13 13 0,-13-13 16,14 0-16,13 27 15,-14-27-15,-13 13 0,14 0 16,-14 0-16,0 1 0,0 12 15,-13-13-15,0 1 0,0 12 16,0-13-16,-13 14 0,0-14 16,0 13-16,-14 1 0,1 13 0,-27 12 15,13-38-15,14 12 0,-40 27 16,26-40-16,13 1 16,-12-1-16,12 0 0,14 0 0,-13-13 15,-1 0-15,27-13 0</inkml:trace>
  <inkml:trace contextRef="#ctx0" brushRef="#br0" timeOffset="76660.74">20809 12316 0,'27'0'31,"-1"0"-15,-12 0-1,-1 0 1,0 0 0,-39 14 15,26-1-31,-14-13 0,1 0 15,0 0-15,0 0 0,-1 13 16,1-13-16,0 0 0,0 0 16,39 0 46,-13 0-62,1 0 16,-1 0-16,-13-13 0,13 13 15,0 0-15,1 0 16,-1 0-16,-13-13 0</inkml:trace>
  <inkml:trace contextRef="#ctx0" brushRef="#br0" timeOffset="77225.84">21524 12330 0,'26'0'31,"-12"0"-31,-1 0 0,13-14 15,-13 14 1,1 0 0,-41 14 31,27-1-47,-13-13 15,0 0-15,26 13 47,0-13-31,0-13-1,1 13-15,-1 0 16,0 0-16,-13-13 16</inkml:trace>
  <inkml:trace contextRef="#ctx0" brushRef="#br0" timeOffset="80767.89">11708 8268 0,'-13'13'47,"13"1"-32,-14-14-15,14 13 0,-13 0 16,13 0-16,-13 1 0,13-1 15,-13 0-15,-1 14 0,14-1 0,-13-13 16,13 14-16,-13-1 0,0 14 0,0-14 16,-1 14-16,14 0 0,-13-1 15,0 14-15,0 0 0,-14 66 16,14-53-16,0 1 0,-40 91 16,26-65-16,1-1 0,13 1 15,-14 0-15,1-14 0,-14 93 16,27-93-16,-14-12 0,14-1 15,0 13-15,0-13 0,-14-13 0,14 13 16,0 0-16,-1-13 0,1 0 16,-13 13-16,13-13 0,-1 0 0,1 0 15,0-13-15,0 0 0,-1-1 0,1 1 16,13 0-16,-13-1 0,0 1 16,0 39-16,-1-39 0,1-14 15,13 14-15,0-13 0,-13-1 0,13 1 16,-13-1-16,13 0 0,0 1 15,0-14-15,-14 27 16,14-14-16,0-12 0,0-1 0,-13 0 16,13 0-16,0 0 0,0 1 0,0-1 15,0 0-15,0 0 0,-13 1 16,13-1-16,0 0 0,0 0 16,0 1-16,-13-1 0,13 0 15,0 0-15,0 0 0,-14 1 16,14-1-16,0 0 0,0 0 15,0 1-15,0-1 16,-13 0 0,13 0-1,0 1-15,0-1 16,-13 0 0,13 0-16,0 0 15,-13 1-15,13-1 0,0 0 16,-13 0-16,13 1 15,0-1-15,0 0 16,0 0-16,-14-13 0,14 13 16,0 1-16,0-1 0,0 0 15,0 0-15,0 1 16,-13-1-16,13 0 16,0 0-16,0 1 15,0-1 1,0 0-16,-13-13 15,26 13 1,-13 0 0,13-13-1,1 14 1,-1-14 0,0 0-16,0 0 15,40 13 1,-40-13-16,14 0 0,-14 0 15,0 0-15,14 0 0,-1 13 0,-13-13 16,14 0-16,-1 0 0,1 13 16,12-13-16,-12 14 0,13-14 0,-1 13 15,-12-13-15,12 13 0,28 0 16,-28 1-16,27-1 16,-13-13-16,-26 13 0,13-13 0,39 13 15,-39 0-15,-1-13 0,1 14 16,0-14-16,-1 13 0,-12-13 15,12 13-15,1-13 0,0 13 0,52 1 16,-65-14-16,13 13 0,-1-13 16,1 13-16,0 0 0,-14-13 15,14 0-15,-1 13 0,1 1 16,40-14-16,-41 13 0,1-13 16,0 13-16,13 0 0,-27-13 0,0 0 15,14 14-15,0-14 0,-14 13 16,14-13-16,-14 13 0,14-13 0,-13 13 15,12-13-15,27 14 0,-26-1 16,0-13-16,39 13 0,-39 0 16,26 0-16,-26-13 15,-14 0-15,54 14 16,-41-14-16,1 13 0,0-13 0,52 13 16,-52 0-16,13-13 15,-14 0-15,14 14 0,-13-14 0,53 13 16,-54 0-16,14-13 0,27 13 15,-27-13-15,-14 14 0,1-14 16,13 13-16,-13-13 0,52 0 16,-39 13-16,0-13 0,-13 0 15,-1 0-15,14 0 0,-13 13 0,0-13 16,52 0-16,-52 0 0,0 0 16,13 13-16,-27-13 0,14 0 15,-14 0-15,14 0 0,-14 14 16,1-14-16,-1 0 0,1 0 0,-1 0 0,1 0 15,-14 13-15,13-13 0,-12 0 16,12 0-16,-13 0 0,0 0 16,1 0-16,-1 13 0,13-13 15,1 0-15,-14 0 16,0 0 0,1 0-1,-1 0 1,0 0-1,0 0 17,-39 13 61</inkml:trace>
  <inkml:trace contextRef="#ctx0" brushRef="#br0" timeOffset="81853.78">15531 12568 0,'-13'-14'0,"26"41"63,0-14-63,1 0 15,-14 1-15,13-14 0,-13 13 16,13-13-16,0 13 0,0 0 16,1-13-16,-1 14 0,0-1 15,14 0-15,-14-13 0,0 13 16,0 0-16,0-13 15,1 14-15,-1-14 16,0 13-16,0 0 16,1-13-1,-1 13 1,0-13 15,-13 14-15,-13-1-1,0-13 1,13 13 0,-14-13-16,1 13 15,0-13 1,13 14-16,-13-14 0,-1 13 16,1-13-16,13 13 0,-13-13 15,0 13-15,13 0 0,-13-13 16,13 14-16,-14-14 0,14 13 0,-13-13 15,0 13-15,0 0 0,13 1 16,-14-14-16,14 13 0,-13-13 0,13 13 16,-13-13-16,13 13 15,-13-13-15,13 14 16,-13-14-16,13 13 0,-14-13 16,14 13-1,-13 0 1,0 0 46,26-26 79</inkml:trace>
  <inkml:trace contextRef="#ctx0" brushRef="#br0" timeOffset="91901.18">11906 8268 0,'13'-13'16,"-13"0"15,0 0 0,14 13 0,-54-14 141,0 28-172,-13 12 16,40-26-16,0 0 0,0 13 15,0-13 17,26-13 30,0 13-46,-13-13-1,-13 26 32,0-13-47,13 13 0,-14-13 0,1 0 16,0 13-16,0 1 0,-1-14 16,1 0-16,13 13 0,-13-13 15,0 13-15,-1-13 0,1 13 16,0-13-16,13 14 15</inkml:trace>
  <inkml:trace contextRef="#ctx0" brushRef="#br0" timeOffset="102949.59">23601 13189 0,'13'27'31,"0"-27"-15,1 13-16,12 0 15,0-13-15,-12 14 0,25-14 16,-12 13-16,12-13 16,-12 0-16,-1 0 0,-12 0 15,12 0-15,1 0 0,-1 0 0,0 0 16,1 0-16,13-13 0,-14 13 16,1-14-16,-1 14 0,0-13 0,-12 13 15,12-13-15,1 0 0,-14-1 0,0 1 16,14 0-16,-14 0 0,0 0 15,-13-1-15,13 1 0,0 0 0,-13-14 16,14 1-16,-14 13 0,0-14 16,13 1-16,-13-1 0,0 1 0,-13-1 0,13 1 15,0 0-15,-14-14 16,1 13-16,-93-131 16,80 131-1,13 14-15,-1 0 0,-12-1 16,13 1-16,-14 0 0,14 0 0,-13 0 15,12-1-15,-12 1 0,13 13 0,-1-13 16,1 13-16,-13 0 0,13-13 16,-14 13-16,14 0 0,-14 0 0,14 0 15,-13 0-15,12 13 0,-12-13 0,-14 13 16,14-13-16,-1 13 16,14 1-16,-13-1 0,13-13 15,-27 26-15,13 1 0,14-14 0,0 0 16,0 0-16,-1 14 0,1-14 15,0 14-15,0-1 0,0 0 16,-1-12-16,14 12 0,-13 1 0,13-14 16,-13 13-16,13 1 0,13-14 0,-13 13 15,0-12-15,0 12 0,13 1 0,-13-14 16,14 13-16,-1 1 16,0-1-16,0-13 0,0 1 0,1 12 15,-1-13-15,13 1 0,-12 12 16,-1-26-16,13 13 0,1 0 15,-14-13-15,0 0 0,0 0 16,1 0-16,12 0 0,-13 0 0,14-13 16,-14 13-16,13-13 0,1 0 0,-1 0 15,1-1-15,-1 1 0,1-13 16</inkml:trace>
  <inkml:trace contextRef="#ctx0" brushRef="#br0" timeOffset="103449.46">24686 12396 0,'13'-14'15,"13"14"1,-12 0-16,-1 0 16,0 14-16,0-14 0,0 13 0,1-13 15,-1 13-15,0 0 0,-13 1 16,13-1-16,1 27 0,-14-27 16,0 13-16,0 1 0,0-1 0,0 1 15,0-1-15,0 1 0,-14-1 16,14 0-16,0 1 0,-13-1 15,13 1-15,0-1 0,-13-12 0,13 12 16,-13-13-16,13 0 0,0 14 0,-14-14 16,14 0-16,0 1 0,-13 12 15,13-13-15,0 1 0</inkml:trace>
  <inkml:trace contextRef="#ctx0" brushRef="#br0" timeOffset="103625.44">24805 13242 0,'-14'-13'32,"1"0"-17,13 0 1</inkml:trace>
  <inkml:trace contextRef="#ctx0" brushRef="#br0" timeOffset="112068.37">21841 13189 0,'-13'0'16,"53"0"31,-27 0-47,0 0 0,14 0 16,-1 0-16,-13 0 0,27-13 15,-13 13-15,12 0 0,-12 0 0,12 0 16,14 0-16,-13 0 0,-14 0 0,14 0 15,-13 0-15,12 0 0,-12 0 16,-14 0-16,13 0 0,-12 0 0,12 0 16,-13 0-16,1 0 0,-1 0 15,-40 13 17,14-13-32,0 0 0,-14 0 0,1 14 15,0-14-15,-27 13 0,13-13 0,0 13 16,-13-13-16,0 13 0,-66 1 15,66-14-15,14 13 0,-54 0 16,53-13-16,14 0 0,0 13 16,-1-13-16,1 0 0,12 0 15,1 0-15,0 14 0,0-14 0,39 0 47,-13 0-47,14 0 0,-1 0 0,1 0 16,-1 0-16,1 0 0,12 0 15,-12 0-15,13 0 0,-14 0 0,14 0 16,-14 0-16,14 0 0,-14 0 16,1 0-16,-1 0 0,-13 0 0,14 0 15,-14 0-15,0 0 0,1 0 0,-1 0 16,0 0-16,0 0 16,0 13-16,1-13 0,-1 0 15,0 0 16,0-13 1,1 13-32,-1 0 0,0 0 15,0 0-15,1 0 0</inkml:trace>
  <inkml:trace contextRef="#ctx0" brushRef="#br0" timeOffset="113113.58">23588 13269 0,'-14'-13'16,"41"13"15,-14 0-31,0 0 0,1 0 16,12 0-16,0 0 0,-12 0 15,12-14-15,1 14 0,-1 0 0,0 0 16,1 0-16,-1 0 0,1 0 0,-1-13 16,-12 13-16,12 0 0,-13 0 15,14 0-15,-14 0 0,0 0 16,14 0-16,-14 0 0,0 0 16,-26 27 15,0-27-31,-1 0 0,1 13 15,-13-13-15,12 13 0,-12-13 0,-14 0 16,14 13-16,-14-13 0,0 14 16,14-14-16,-14 13 0,14-13 0,-1 0 15,-12 13-15,26-13 0,-14 0 0,1 13 16,12-13-16,1 0 0,0 0 16,0 0-16,-1 13 0,1-13 15,40 0 1,-14 0-1,0 0-15,0 0 0,14 0 0,-1 0 16,1 0-16,12 0 0,-12 0 0,13 0 16,-14 0-16,14 0 0,13 0 15,-14 0-15,-12 0 0,12 0 16,-12 0-16,-14-13 0,14 13 16,-14 0-16,0 0 0,0 0 15,1 0-15,-1 0 0,13 0 16,-13 0-16,-39 0 62,13 0-46,0 0-16,-1 0 0,1 13 16,0-13-16,-14 0 0,14 0 0,-13 0 0,-1 0 15,1 0-15,13 0 0,-14 14 16,1-14-16,12 0 0,-12 0 15,-1 0-15,14 0 0,0 13 0,-27-13 16,27 0-16,0 0 0,0 0 16,-1 0-16,1 0 15,0 0-15,39 0 47,-12 0-47</inkml:trace>
  <inkml:trace contextRef="#ctx0" brushRef="#br0" timeOffset="117457.81">5543 11893 0,'0'-13'31,"0"52"-31,0-25 0,0-1 0,13 0 16,-13 14-16,13-1 0,-13 1 15,0-1-15,14 0 0,-14-12 16,13 25-16,-13-12 0,13-1 0,-13 1 16,0-1-16,13-13 0,-13 14 0,0-14 15,14 0-15,-14 1 0,13-1 16</inkml:trace>
  <inkml:trace contextRef="#ctx0" brushRef="#br0" timeOffset="117780.16">5741 11906 0,'-13'0'0,"13"66"32,0-52-32,13-1 0,1 0 15,-14 14-15,13-27 0,0 13 0,0 0 16,14 0-16,-14-13 0,0 0 0,1 13 15,-1-13-15,0 0 0,0 0 16,-13-13-16,13 13 0,-13-13 16,0 0-16,0 0 0,0-1 15,-13 1-15,13 0 0,-13 0 0,0-1 16,0 14-16,-1-13 0,1 0 16,0 0-16,0 13 0,-1-14 15,1 14-15,0 0 16,0 0-16</inkml:trace>
  <inkml:trace contextRef="#ctx0" brushRef="#br0" timeOffset="118069.52">5940 11893 0,'26'40'0,"-12"-27"0,-14 0 15,13-13-15,0 13 0,0-13 16,0 0-16,1 14 0,-1-14 16,0 0-16,0 0 0,1-14 15,-1 14-15,0 0 0,0-13 16,-13 0-16,14 13 0,-14-13 0,0-1 16,13 1-16,-26 0 0,13 0 15,0 0-15,0-1 0,-14 1 16,1 0-16,0 0 0,0 13 15,-1 0-15,1 0 16,0 0-16,0 0 16,13 13-16,-14-13 0</inkml:trace>
  <inkml:trace contextRef="#ctx0" brushRef="#br0" timeOffset="118252.3">6390 11562 0,'13'0'0,"-26"0"0,39-13 16,-26 40 0,0-14-16,0 0 15,0 0-15,0 0 0,0 1 16,0 12-16,0 1 0,-13-1 0,13-13 16,0 14-16,0-1 0,0 1 0,0-14 15,-13 13-15,13-12 0,0-1 16</inkml:trace>
  <inkml:trace contextRef="#ctx0" brushRef="#br0" timeOffset="118388.4">6310 11615 0,'-26'-13'16</inkml:trace>
  <inkml:trace contextRef="#ctx0" brushRef="#br0" timeOffset="118525.55">6641 11642 0,'0'0'15,"-13"-14"1,26 1-1</inkml:trace>
  <inkml:trace contextRef="#ctx0" brushRef="#br0" timeOffset="119220.4">7329 11152 0,'0'27'31,"0"-14"-16,13 0-15,-13 14 0,0-1 16,13-13-16,-13 14 0,0-1 0,14-13 16,-14 14-16,13-1 0,-13-12 0,0 12 15,13-13-15,-13 0 0,13 1 16,-13-1-16,0 0 0,14 0 0,-14 1 16</inkml:trace>
  <inkml:trace contextRef="#ctx0" brushRef="#br0" timeOffset="119476.76">7289 11218 0,'0'0'0,"13"-26"0,1 26 15,-1-13-15,0-1 0,0 14 0,1-13 16,-1 0-16,0 0 0,14 13 16,-14-14-16,0 1 0,13 13 0,-12 0 15,-1-13-15,0 13 0,0 0 16,1 0-16,-1 13 16,-13 0-16</inkml:trace>
  <inkml:trace contextRef="#ctx0" brushRef="#br0" timeOffset="119671.23">7329 11390 0,'-13'14'0,"26"-28"0,-13 28 47,26-14-47,-12 0 15,-1-14-15,0 14 0,0 0 0,1 0 16,-1-13-16,0 13 0,13-13 15,-12 0-15,-1 13 0,0-14 16,0 14-16,1-13 0,-1 13 0,0-13 16</inkml:trace>
  <inkml:trace contextRef="#ctx0" brushRef="#br0" timeOffset="120544.33">7938 11007 0,'-14'0'16,"1"-14"-16,0 28 15,0-14-15,-1 0 16,1 13-16,0 0 0,13 0 16,-13 1-16,-1 12 0,14-13 15,0 14-15,0-14 0,0 13 16,0-12-16,0 12 0,0-13 16,0 1-16,14 12 0,-14-13 0,13 0 15,-13 1-15,13-1 0,0 0 0,1 0 16,-1-13-16,0 14 0,0-14 15,1 0-15,-1 0 0,0 0 0,0 0 16,0 0-16,1-14 0,-1 1 0,13 0 16,-26-14-16,14 14 0,-14 0 15,0 0-15,0-14 0,0 14 16,-14 0-16,14-14 0,-13 14 0,0 0 16,0-14-16,-1 14 0,-12 13 0,13-13 15,0 0-15,-1 0 0,1 13 16,0 0-16,13-14 0,-13 14 15,-1 0-15,14-13 0,27 26 32,-14-13-17,14 0-15,-14 14 0,13-1 16,-13-13-16,14 13 0,-14 0 0,27 14 16,-14-14-16,-13 0 0,1 14 15,-1-14-15,0 0 0,0 0 16,-13 14-16,0-14 0,0 0 0,14 14 15,-28-14-15,14 0 0,0 0 16,-13-13 0,13-13-1,0 0-15,-13 0 16,13-14-16,0 14 0,13-13 0,-13 12 16,0-12-16,13-1 0,-13 1 15,14 13-15,-1-14 0,-13 1 0,13 13 16,0-14-16,1 14 0,-1 0 15,-13-1-15,13 1 0,-13 0 0,13 0 16,0 13-16,-13-13 0,14 13 16</inkml:trace>
  <inkml:trace contextRef="#ctx0" brushRef="#br0" timeOffset="121032.92">8546 10808 0,'-13'0'0,"0"27"32,26-14-32,0 0 15,0 0-15,0-13 0,14 14 16,-14-1-16,14 0 0,-14 0 0,13 1 15,1-1-15,-14 0 0,0 0 0,14 0 16,-14-13-16,0 14 16,0-1-16,-13 0 0,14-13 0,-14 13 15,0 1-15,0-1 0,-14 0 0,14 0 16,-13 0-16,0 1 0,-14 12 16,1-13-16,-14 1 0,14-1 0,-1 0 15,1 0-15,-1 1 0,14-14 0,-13 13 16,13-13-16,-1 13 0,1-13 0,0 0 15,0 13-15,-1-13 0</inkml:trace>
  <inkml:trace contextRef="#ctx0" brushRef="#br0" timeOffset="123314.31">6932 11073 0,'13'132'32,"1"-79"-32,-1 0 0,0 13 0,13 0 15,1 0-15,-1-13 0,1 13 0,13 1 16,-1-14-16,1-1 0,0 1 15,-1-13-15,1 0 0,13-1 16,-13-12-16,-14-1 0,14-12 0,-14 12 16,1-26-16,-1 13 0,-13-13 0,14 0 15,-14-13-15</inkml:trace>
  <inkml:trace contextRef="#ctx0" brushRef="#br0" timeOffset="123982.4">6985 10954 0,'0'0'0,"66"-40"0,-13 14 0,0-1 0,13 1 16,0-14-16,27 0 0,-1 1 0,1-1 16,0 0-16,13-13 0,-1 14 15,-12-1-15,13 0 0,0 1 0,-14-1 16,14 0-16,-13 14 0,-14-1 16,-13 1-16,0 13 0,0-14 15,-13 14-15,-13 0 0,0 13 0,-14-14 16,1 14-16,-14 0 0,13 0 0,-12 0 15,-1 0-15,0 14 0,0-14 0,1 13 16,12 13-16,-13 14 0,14-13 0,-1 25 16,-13-12-16,14 13 0,-1 0 15,-12 0-15,12 0 0,0 13 0,1-13 16,-14 0-16,0 0 0,14 13 0,-1 26 16,-13-52-16,-13 0 15,14-1-15,-1-12 0,0 13 0,0-14 16,-13 1-16,14-14 0,-1 0 15,-13 13-15,13-12 0,-13-1 0,0 0 16,0 0-16,13 1 16,-26-14-16,13 26 0,-13-26 15,0 13-15,-54 14 0,28-14 16,-14 13-16,-66 14 0,39-13 16,1-1-16,-14 1 15,-12 12-15,-14 1 0,13 0 0,0-1 0,-13 1 16,13 0-16,-13-1 0,13-12 15,0 12-15,14-12 0,-14 13 16,26-14-16,1-13 0,13 14 0,-13-1 16,12-13-16,1 1 0,27-1 0,-1 0 15,13 0-15,1-13 0,0 0 0,12 0 16,1 0 0,40-26-16,-14 13 15</inkml:trace>
  <inkml:trace contextRef="#ctx0" brushRef="#br0" timeOffset="125629.48">8149 12105 0,'0'0'15,"0"-14"-15,0 41 31,0-14-31,13 14 16,-13-14-16,14 13 0,-14 1 0,13-1 16,-13-13-16,13 14 0,-13-1 15,13 27-15,1-40 0,-14 14 16,13-14-16,-13 0 0,0 14 16,13-14-16,-13 0 0,0 1 15,0-1-15,0 0 0,0 0 16</inkml:trace>
  <inkml:trace contextRef="#ctx0" brushRef="#br0" timeOffset="125980.51">8109 12422 0,'-13'13'15,"13"1"-15,0-1 16,13 0-16,-13 0 16,14 1-16,-1-1 0,-13 0 0,13 0 15,0 0-15,1 1 0,-1-14 0,0 13 16,0 0-16,1-13 0,-1 13 16,0-13-16,0 0 0,0 0 15,1-13-15,-1 13 0,0-13 0,0 0 16,1 13-16,-1-14 0,-13-12 15,13 13-15,0 0 0,-13-14 16,14 14-16,-14 0 0,13-1 0,-13 1 16,0 0-16,0 0 0,13-1 15,-13 1-15,0 0 16</inkml:trace>
  <inkml:trace contextRef="#ctx0" brushRef="#br0" timeOffset="129259.54">24765 12938 0,'-26'13'31,"12"1"-31,1-1 0,0 13 0,0 1 16,-14-14-16,1 13 0,-1 14 16,1-13-16,-1-1 0,1 0 15,-1 1-15,1-1 0,0 14 0,-1-13 16,1-1-16,-1-13 0,14 14 16,0-14-16,-1 0 0,1 0 0,0 14 15,13-14-15</inkml:trace>
  <inkml:trace contextRef="#ctx0" brushRef="#br0" timeOffset="129545.35">24699 13110 0,'26'-13'16,"-52"26"-16,66-39 0,-27 12 15,-26 41 16,-1-27-31,14 13 16,-13 0-16,0 1 0,-14 12 16,1-13-16,-14 40 15,27-40-15,-13 14 0,-1 13 16,1-27-16,12 0 0,1 0 0,0 0 16,13 1-16,-13-1 0,0 0 15,13 0-15,-14-13 0,14 14 0,-13-14 16</inkml:trace>
  <inkml:trace contextRef="#ctx0" brushRef="#br0" timeOffset="140772.12">18547 14089 0,'-13'-13'0,"0"13"15,0 0 17,13 13-17,0 0 1,0 1-16,0-1 15,13 0-15,-13 0 0,13 0 16,-13 1-16,13-1 16,1 0-16,-1-13 0,0 13 15,0-13-15,0 14 0,1-1 0,12-13 16,-13 13-16,14-13 0,-14 0 16,0 0-16,14 0 0,12 0 15,-25 13-15,12-26 0,-13 13 0,14 0 16,-14 0-16,0 0 0,14 0 0,-14 0 15,0 0-15,0 0 0,1 0 16,-1 0-16,0 0 0,0 0 0,1 0 16,-1-13-16,0 13 15,0 0-15,0 0 16,1 0-16,-14-13 0,13 13 0,0 0 16,0-14-16,1 14 0,-1-13 15,0 13-15,0-13 16,1 13-16,-1-13 15,0 13-15,-13-14 16,13 14-16,0 0 0,-13-13 16,14 13-16,-14-13 0,13 13 15,0-13-15,0 13 16,-13-13-16,14 13 0,-14-14 0,13 14 16,-13-13-16,13 13 0,0-13 0,-13 0 15,14-1-15,-1 1 16,0 0-16,-13 0 15,13-1-15,-13 1 16,13 0-16,-13 0 0,14 0 16,-14-1-1,0 1-15,0 0 16,13 0-16,-13-1 16,0 1-16,0 0 15,-13 0-15,13-1 16,0 1-16,0 0 15,0 0-15,-14 0 16,14-1 0,-13 1-16,13 0 15,-13 0-15,0-1 16,13 1-16,-13 13 0,13-13 16,-14 0-16,1-1 15,0 14-15,13-13 16,-13 13-16,13-13 0,-14 13 0,1-13 15,0 13-15,0-13 16,-1 13-16,1-14 16,0 14-16,13-13 15,-26 13-15,26-13 0,-14 13 16,1 0-16,13-13 16,-13 13-16,0 0 0,13-14 15,-14 14-15,1 0 0,0-13 16,0 13-1,-1 0-15,1-13 16,0 13-16,0 0 16,0 0-16,-1-13 15,1 13 1,0 0-16,0 0 16,-1 0-16,1 0 31,0 0-31,0 0 15,-1 0-15,1 0 16,0 0-16,0 0 16,0 0-16,-1 0 15,1 0-15,0 0 16,0 0-16,-1 0 16,1 13-1,0-13 1,0 13-16,-1-13 15,1 0 1,0 13 0,0-13-16,0 14 15,-1-14 1,1 0-16,13 13 0,-13-13 16,0 0-16,13 13 15,-14-13-15,1 0 16,13 13-16,-13-13 15,0 14 1,0-1 0,-1 0-1,1 0 1,0-13 0,13 13-16,-13-13 0,13 14 15,-14-14-15,1 13 16,0 0 15,0 0-15,-1 1-1,14-1 1,-13-13 0,13 13-16,-13 0 15,13 1 1,0-1-16,-13 0 15,13 0-15,0 0 16,-13 1-16,13-1 16,0 0-1,0 0-15,0 1 0,0-1 16,0 0-16,13 0 16,-13 1-16,0-1 15,0 0-15,13 0 16,-13 0-1,0 1-15,13-1 16,-13 0 0,13-13-16,-13 13 0,14 1 15,-14-1 1,13-13 0,-13 13-1,13-13-15,-13 13 16,13-13-16,1 0 31,-14 14-31,13-14 16,0 0 15,-13 13-15,13-13 15,1 0 16,-1 13 46,0-26 17,-13 0-95,13-1-15</inkml:trace>
  <inkml:trace contextRef="#ctx0" brushRef="#br0" timeOffset="142839.41">22053 14116 0,'-13'0'15,"39"0"32,-13-14-31,1 14-16,-1 0 0,13 0 15,-12-13 1,-1 13-16,-40 13 63,14-13-63,13 14 0,-13-14 0,0 0 15,-1 0-15,1 13 0,0-13 0,0 0 16,0 13-16,-1-13 0,1 0 15,0 0-15,13 13 16,26-13 15,-12 0-31,-1 0 16,0 0-16,0 0 0,0-13 16,1 13-1,-41 13 48,1-13-63,13 0 15,-1-13-15,1 13 16</inkml:trace>
  <inkml:trace contextRef="#ctx0" brushRef="#br0" timeOffset="143624.53">22847 14129 0,'26'0'47,"-13"0"-47,-13-13 0,14 13 0,-1 0 16,0-14-16,0 14 0,1 0 15,-1 0-15,0-13 0,0 13 16,1 0-16,-28 0 31,1 13-15,0-13-16,0 0 0,-1 14 15,1-14-15,-13 13 0,12-13 0,1 0 16,0 13-16,0-13 0,0 0 16,-1 13-16,1-13 0,0 0 0,0 0 15,-1 13-15,41-13 47,-1 0-47,-12-13 16,-1 13-16,0 0 0,0 0 15,0 0-15,1-13 0,-1 13 16,0 0-16,-39 13 47,12-13-47,1 0 0,0 0 16,0 0-16,0 0 0,-14 13 0,14-13 15,0 0-15,-14 0 16,14 0-16</inkml:trace>
  <inkml:trace contextRef="#ctx0" brushRef="#br0" timeOffset="145116.7">5596 8983 0,'0'0'0,"26"-27"0,-12 14 15,-1-14-15,0 14 0,0 0 16,14 0-16,-14 0 0,0-14 16,14 14-16,-14 0 0,0-1 0,0 1 15,1 13-15,-14-13 0,13 13 16,-13-13-16,-27 39 16,1 1-1,-1-1-15,-12 14 0,-1-1 16,0-12-16,1 13 0,-1-1 0,0 1 15,1-14-15,12 1 0,-12-1 0,12-12 16,14-1-16,0 0 0,-1 0 16,14 1-16,14-41 15,12 14-15,1-14 16,12 1-16,1-14 16,-14 1-16,14-1 0,13 13 0,-13-12 15,-1-1-15,14 0 0,0 1 0</inkml:trace>
  <inkml:trace contextRef="#ctx0" brushRef="#br0" timeOffset="146561.44">19817 6284 0,'14'26'31,"-14"-12"-31,0-1 0,-14 0 0,14 13 16,0 1-16,-26 52 15,26-39-15,-13 13 0,-1 0 0,1 0 16,13-14-16,-13 14 0,13-13 16,-13 13-16,13-13 0,0 13 0,-14-14 15,14 1-15,0 13 0,-13-27 0,13 14 16,0-14-16,0 1 0,0-1 16,0-12-16,0-1 0,0 13 0,0 1 15,-13-14-15,13 0 16,0 0-1,-26-26 17</inkml:trace>
  <inkml:trace contextRef="#ctx0" brushRef="#br0" timeOffset="147095.45">19592 7157 0,'-13'-13'15,"13"0"1,-13 26 15,13 0-31,-13 0 0,13 0 16,0 1-16,0-1 0,0 13 15,0 14-15,0-27 0,0 14 16,0-14-16,13 13 0,-13-12 0,0 12 16,0-13-16,13 14 0,-13-14 15,13 0-15,-13 0 0,0 1 0,14-1 16,-14 0-16,0 0 0,13-13 0,-13 14 16,13-1-16,-13 0 15,13-13-15,14 0 16,-14 0-16,0 0 0,0 0 15,1-13-15,-1 13 0,13-13 0,-12 13 16,-1-14-16,0 1 0,0 13 16,14-13-16,-14 0 0,0 13 0,-13-14 15,13 14-15,1-13 0,-1 13 0,-13-13 16,13 13-16,0-13 16,1 0-1,-1 13 1,-13-14-1,13 14 32,0-13-31,0 0 0,1 0-16</inkml:trace>
  <inkml:trace contextRef="#ctx0" brushRef="#br0" timeOffset="149577.17">22212 14063 0,'-27'13'16,"14"-13"-1,0 13 1,0-13-16,-1 0 15,1 0-15,13 13 32,27-26-1,-14 13-31,0 0 16,0 0-1,-39 27 16,13-27-15,13 13-16,-14-13 0,1 0 16,13 13-16,-13-13 0,0 0 15</inkml:trace>
</inkml:ink>
</file>

<file path=ppt/ink/ink29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1:39:58.610"/>
    </inkml:context>
    <inkml:brush xml:id="br0">
      <inkml:brushProperty name="width" value="0.05292" units="cm"/>
      <inkml:brushProperty name="height" value="0.05292" units="cm"/>
      <inkml:brushProperty name="color" value="#0070C0"/>
    </inkml:brush>
  </inkml:definitions>
  <inkml:trace contextRef="#ctx0" brushRef="#br0">15412 423 0,'-13'27'31,"13"-14"-31,0 0 16,0 0-16,-13 14 0,13-14 15,0 14-15,-14-1 0,14 1 0,0-1 16,-13 0-16,13-12 0,0 12 15,-13 1-15,13-14 0,0 13 0,-13-12 16,13-1-16,0 0 0,0 0 0,0 0 16,-14-13-16,14 14 0,0-1 15,0 0-15</inkml:trace>
  <inkml:trace contextRef="#ctx0" brushRef="#br0" timeOffset="513.24">15346 423 0,'13'0'0,"-26"0"0,26-13 16,0 0-16,1 13 15,-14-13-15,13 13 16,0 0-16,0 0 0,-13-14 16,27 28-16,-14-14 0,0 0 15,-13 13-15,13-13 0,1 13 16,-1-13-16,-13 13 0,13 1 0,-13-1 16,13 0-16,-13 0 15,0 0-15,-13 1 0,13-1 16,0 0-16,-13 0 0,13 1 15,-13-1-15,-1-13 0,14 13 0,-13 0 16,0 1-16,0-1 0,-1-13 16,14 13-16,-13-13 15,0 13-15,0-13 16</inkml:trace>
  <inkml:trace contextRef="#ctx0" brushRef="#br0" timeOffset="862.86">15729 318 0,'-26'26'32,"13"-13"-32,13 0 0,-13 14 15,-1-14-15,1 14 0,0-14 0,0 13 16,13-13-16,-14 14 0,1-1 0,13-12 16,-13 12-16,13-13 0,0 1 0,-13 12 15,13-13-15,0 0 0,0 1 16,0-1-16,0 0 0,13 0 0,-13 1 15,0-1-15,13 0 0,0 0 16,1-13-16,-1 14 16,0-14-16,0 0 0,1-14 15</inkml:trace>
  <inkml:trace contextRef="#ctx0" brushRef="#br0" timeOffset="1128.9">15901 476 0,'-13'27'47,"13"-14"-47,0 0 0,0 0 15,0 1-15,0-1 0,-13 0 16,13 0-16,0 1 0,0-1 16,-13 0-16,13 0 0,0 0 0,0 1 15,0-1-15</inkml:trace>
  <inkml:trace contextRef="#ctx0" brushRef="#br0" timeOffset="1384.17">16100 476 0,'13'-13'16,"-13"39"-1,0 1 1,0-14-1,-13 0-15,13 1 16,0-1-16,0 0 0,0 0 0,0 1 16,-13-1-16,13 0 0,0 0 15,0 0-15,-14 1 16</inkml:trace>
  <inkml:trace contextRef="#ctx0" brushRef="#br0" timeOffset="1612.31">15849 648 0,'26'-13'15,"-13"13"-15,0 0 16,1 0-16,-1 0 0,0 0 15,0-13-15,1 13 0,-1 0 0,0 0 16,0 0-16,1 0 0,-1 0 0,0-13 16,0 13-16,0 0 0,1 0 15</inkml:trace>
  <inkml:trace contextRef="#ctx0" brushRef="#br0" timeOffset="1918.98">16153 357 0,'13'13'31,"0"1"-31,0-14 0,1 13 15,-14 0-15,13 0 0,0 1 0,0 12 16,1-13-16,-1 0 16,-13 1-16,13 12 0,0 1 0,-13-1 15,0 1-15,0-14 0,0 0 16,-13 13-16,13-12 0,0-1 16,-13 0-16,13 0 0,-13 1 15,13-1-15,-14 0 0,1 0 16</inkml:trace>
  <inkml:trace contextRef="#ctx0" brushRef="#br0" timeOffset="2288.3">16656 516 0,'26'0'47,"-13"0"-31,0 0-16,1 0 0,-1 0 15</inkml:trace>
  <inkml:trace contextRef="#ctx0" brushRef="#br0" timeOffset="2536.1">16642 622 0,'27'0'16,"-14"0"-16,0 0 16,0 0-1,1 0-15,-14-13 16,13 13-16,0 0 16,0 0-1</inkml:trace>
  <inkml:trace contextRef="#ctx0" brushRef="#br0" timeOffset="12695.98">17304 437 0,'-27'52'15,"1"-12"1,26-27-16,0 1 16,0-1-16,0 0 0,0 0 15,0 1-15,13-1 16,-13 0-16,13 0 15,1-13-15,12 0 16,0 0 0,-12-13-16,-1 13 15,0-13-15,0 0 0,1 13 16,-14-14-16,13 14 16,-13-13-16,13 0 0,-13 0 0,0-1 15,0 1-15,13 13 0,-13-13 0,0 0 16,-13-14-1,13 14-15,-13 0 16,13 0-16,-13 13 16,13-14-16,-14 14 15,1 0-15,0-13 0,0 13 16,-1 0 0,1 0-16,0 0 15,0 13 1</inkml:trace>
  <inkml:trace contextRef="#ctx0" brushRef="#br0" timeOffset="12849.94">17568 503 0</inkml:trace>
  <inkml:trace contextRef="#ctx0" brushRef="#br0" timeOffset="14671.13">17912 384 0,'-13'-14'47,"26"14"0,1 0-16,-41 0 63,14 0-94,0 0 0,-1 14 15,1-14-15,0 0 0,0 0 16,-1 13-16,1-13 16,0 0-16,0 13 0,0-13 15,-1 13-15,1-13 0,0 14 16,0-1 0,13 0-1,13 0 16,13-13-15,-12 0-16,-1 0 16,0 0-16,-13 13 0,13-13 0,0 0 15,1 0-15,-1 0 16,0 14-16,0-14 0,-13 13 16,14-13-16,-14 13 0,13-13 15,-13 13-15,0 1 16,-13-1-1,-1 0-15,1 0 16,0-13-16,0 14 0,-1-14 0,1 0 16,0 13-16,0-13 0,0 0 15,-1 0-15,1 0 0,0 0 0,0 13 16,-14-13-16,14 0 16</inkml:trace>
  <inkml:trace contextRef="#ctx0" brushRef="#br0" timeOffset="14842.85">18058 595 0</inkml:trace>
  <inkml:trace contextRef="#ctx0" brushRef="#br0" timeOffset="17048.86">15478 1244 0,'0'-27'16,"0"67"15,0-27-16,0 0-15,0 0 0,-13 14 0,13-14 16,0 0-16,-13 14 0,13-14 0,0 14 16,0-14-16,-14 13 0,14-13 15,0 1-15,0-1 0,-13 0 0,13 0 16,0 1-16,0-1 0,0 0 0,0 0 16,-13-13-16,13 14 15</inkml:trace>
  <inkml:trace contextRef="#ctx0" brushRef="#br0" timeOffset="17474.25">15399 1296 0,'0'-13'16,"13"0"-1,-13 0-15,13 13 16,0 0-1,1 0-15,-1 0 16,0 0-16,-13 13 0,13-13 0,1 0 16,-1 13-16,0 0 0,0 1 15,-13-1-15,14-13 16,-14 13-16,0 0 0,-14 1 16,1-1-16,13 0 15,-13-13-15,0 13 0,13 1 16,-14-14-16,1 13 0,0-13 15,13 13-15,-13-13 0,-1 0 0,1 0 16</inkml:trace>
  <inkml:trace contextRef="#ctx0" brushRef="#br0" timeOffset="18065.29">15796 1164 0,'-14'27'15,"1"-14"-15,13 0 16,-13 0-16,0 1 0,-1-1 16,1 13-16,0 1 0,0-1 15,0 14-15,-1-14 0,1 1 0,0 12 16,0-12-16,-1-14 0,14 14 0,-13-14 15,13 0-15,0 14 0,0-14 16,0 0-16,0 0 0,0 0 0,0 1 16,0-1-16,13 0 0,-13 0 0,14 1 15,-1-1-15,0-13 16,0 13-16,1-13 0,-1 0 16,0 0-16,0-13 0,0 13 15,1 0-15,-1-13 0,0 13 16,0-14-16,1 14 0,-1-13 0</inkml:trace>
  <inkml:trace contextRef="#ctx0" brushRef="#br0" timeOffset="20607.84">15954 1363 0,'-26'0'703,"26"13"391,-13 0-1078,13 0-1,0 1-15,-14-1 16,14 0-16,-13 0 0,13 0 16,-13 1-16,0-1 15,13 0-15,-13 0 16,13 1-16,-14-1 31</inkml:trace>
  <inkml:trace contextRef="#ctx0" brushRef="#br0" timeOffset="21952.04">16166 1336 0,'13'13'47,"-13"1"-47,0-1 15,0 0-15,0 0 0,0 1 16,0-1-16,0 0 16,0 0-16,0 0 15,0 14-15,0-14 16,0 0 0,0 1-1,-13-14 1</inkml:trace>
  <inkml:trace contextRef="#ctx0" brushRef="#br0" timeOffset="22535.81">15954 1455 0,'40'0'47,"-27"0"-31,1 0-16,-1 0 15,0 0-15,0 0 16,0 0-16,1 0 0,-1 0 16,0 0-16,0 0 15,1 0 1,-1 0 0</inkml:trace>
  <inkml:trace contextRef="#ctx0" brushRef="#br0" timeOffset="25108.78">16431 1217 0,'0'27'47,"0"-14"-31,0 0-16,0 0 0,0 0 15,0 1-15,0-1 0,0 0 16,0 14-16,0-14 0,0 0 0,0 0 16,0 14-16,0-1 0,0-13 15,0 1-15,0-1 0,-14 0 16,14 0-16,0 1 0,0-1 0,0 0 16,0 0-16,-13 1 15,13-1-15,0 0 16,0 0-1,0 0 1,13-26 47,-13 0-48,14 0-15,-14 0 0,0-1 16,0 1-16,13 13 15,-13-13-15,0 0 0,0-1 16,13 1-16,-13 0 0,0 0 0,0-1 16,0 1-16,0 0 0,13 0 15,-13 0-15,0-1 16,0 1-16,0 0 0,0 0 16,0-1-16,0 1 0,0 0 15,0 0-15,0-1 16,14 14-16,-14-13 15,0 0-15,0 0 16,0 0-16,0-1 16,0 1-1,0 0 17,0 0 14,0-1 33,0 1-33,-14 40 17,14-14-47,0 0-16,0 0 15,0 1-15,-13-1 0,13 0 16,0 13-16,0-12 0,0-1 0,-13 0 15,13 0-15,0 1 0,0-1 16,0 0-16,0 0 0,-13 1 0,13 12 16,0-13-16,0 14 0,0-14 15,0 0-15,-14-13 0,14 13 16,0 1-16,0-1 0,0 0 16,0 0-16,0 1 0,0-1 15,0 0-15,0 0 16,0 0-1,-13 1 1,26-14 0,-13 13-1,0-40 95</inkml:trace>
  <inkml:trace contextRef="#ctx0" brushRef="#br0" timeOffset="25859.3">16748 1363 0,'0'-14'0,"0"41"47,0-14-47,0 0 16,0 1-16,0-1 0,-13 0 0,13 0 15,0 0-15,0 1 0,0-1 16,0 0-16,0 0 0,-13-13 15,13 14-15,0-1 0,0 0 16,0 0 0,0 1-16</inkml:trace>
  <inkml:trace contextRef="#ctx0" brushRef="#br0" timeOffset="26203.89">16947 1376 0,'-14'26'62,"14"-12"-62,0-1 16,0 0-16,-13 0 15,13 0-15,0 1 0,0-1 16,-13 0-16,13 0 16,0 1-16,0-1 0,-13 0 15,13 0 1</inkml:trace>
  <inkml:trace contextRef="#ctx0" brushRef="#br0" timeOffset="26490.85">16761 1508 0,'27'0'31,"-14"0"-15,0 0-16,1 0 15,-1 0-15,0 0 0,0-13 16,0 13-16,1 0 0,-1-13 16,0 13-16,0 0 15</inkml:trace>
  <inkml:trace contextRef="#ctx0" brushRef="#br0" timeOffset="26931.78">16880 1138 0,'-13'-14'31,"53"41"-31,-27-27 0,0 13 16,1 0-16,-1 1 0,13-1 0,-13 0 16,1 0-16,12 1 0,-13-1 0,1 0 15,-1 13-15,13-12 0,-12-1 0,-1 0 16,0 14-16,0-14 0,-13 0 15,13 0-15,1 1 0,-14-1 0,13 0 16,-13 0-16,0 0 0,0 1 0,0-1 16,0 0-16,0 0 0,-13 1 15,13-1-15,-14 0 16,1 0-16,13 1 0,-13-1 0,0 0 16,0 0-16,13 0 0,-14-13 0,14 14 15,-13-14-15,13 13 0,-13-13 16,13 13-16</inkml:trace>
  <inkml:trace contextRef="#ctx0" brushRef="#br0" timeOffset="27576.02">17476 1402 0,'39'0'47,"-25"0"-47,12-13 15,-13 13-15,1 0 0,-1 0 16,0 0-16,0 13 0,0-13 15</inkml:trace>
  <inkml:trace contextRef="#ctx0" brushRef="#br0" timeOffset="27807.7">17515 1535 0,'27'0'31,"-14"0"-15,0-14-16,1 14 16,-1 0-16,0 0 15,0 0 1,0 0-16</inkml:trace>
  <inkml:trace contextRef="#ctx0" brushRef="#br0" timeOffset="28624.12">14473 569 0,'-14'26'31,"14"-12"-31,0-1 0,0 0 16,0 0-16,0 0 0,0 1 15,0-1-15,-13 0 16,13 0-16,0 1 0,0-1 16,0 0-16</inkml:trace>
  <inkml:trace contextRef="#ctx0" brushRef="#br0" timeOffset="28887.87">14459 410 0,'0'0'0,"14"0"0,-1 13 15,0-13-15,0 14 0,1-1 16,12 0-16,-13 13 0,1-12 15,-1 12-15,-13-13 0,13 14 0,0-1 16,-13-12-16,0 12 0,0 0 0,0-12 16,-13 12-16,13 1 0,-13-1 15,0 1-15,-14-1 0,14-13 0,0 14 16,-1-14-16,1 0 0,0 0 16</inkml:trace>
  <inkml:trace contextRef="#ctx0" brushRef="#br0" timeOffset="33635.28">14420 1429 0,'13'-27'16,"0"27"-1,0 14-15,1-14 16,-1 13-16,-13 0 15,0 0 1,0 0-16,-13-13 0,13 14 16,-14-1-16,1 0 0,13 0 15,-13-13-15,13 14 0,-13-14 0,13 13 16,-13 0 0,13 0-1,13-13 16,0 0-31,0 0 16,0 0-16,1 0 0,-1 0 16,0 0-16,0 0 0,1 0 15,-1 0-15,0 0 0,-13-13 16,13 13-16</inkml:trace>
  <inkml:trace contextRef="#ctx0" brushRef="#br0" timeOffset="33942.97">14512 1244 0,'14'0'0,"25"26"16,-25 0-1,-1-12-15,0-1 16,13 13-16,-12 1 0,-1 13 0,0-14 16,0-13-16,-13 14 0,0-1 0,0 1 15,0 12-15,0-12 0,-13-1 0,0 14 16,0 0-16,-1-14 0,1 0 0,-13 1 16,13-1-16,-14 1 0,14-1 15,0-12-15,-14-1 0,14 0 16,0 0-16,-1 0 0,1-13 0,13 14 15,-13-14-15,0 0 0</inkml:trace>
  <inkml:trace contextRef="#ctx0" brushRef="#br0" timeOffset="39618.71">18190 1244 0,'-13'26'94,"0"-13"-79,13 0 1,-14 1-16,14-1 0,0 0 16,0 0-16,-13-13 0,13 14 15,0-1-15,0 0 16,0 0-16,0 1 0,13-14 16,-13 13-16,0 0 0,14 0 15,-1 0 1,0-13-16,-13 14 0,27-14 15,-14 0 1,0 0-16,0 0 0,0-14 16,1 1-1,-1 0-15,-13 0 16,13 0-16,-13-1 16,13 14-16,-13-13 15,0 0-15,0 0 0,0-1 16,0 1-16,0 0 15,-13 0-15,13-1 16,-13 14-16,13-13 16,-13 13-16,13-13 0,-14 13 0,14-13 0,-13 13 15,0-13-15,0 13 16,0-14-16,-1 14 16,1 0-1,0 0-15,0 0 16,-1 0 15,14 14-31,0-1 31</inkml:trace>
  <inkml:trace contextRef="#ctx0" brushRef="#br0" timeOffset="39881.89">18481 1323 0</inkml:trace>
  <inkml:trace contextRef="#ctx0" brushRef="#br0" timeOffset="40596">18772 1244 0,'13'0'16,"1"-14"-16,-1 14 15,-40 0 48,14 0-63,0 14 0,0-14 16,-1 0-16,1 13 15,0-13-15,0 0 0,13 13 16,-13-13-16,-1 13 0,14 0 15,0 1 1,0-1 0,14 0-1,-14 0-15,13-13 16,-13 14-16,13-14 0,0 13 16,0-13-1,-13 13-15,14 0 16,-1 1-1,-13-1 1,0 0 0,-13-13-16,-1 13 15,1-13-15,0 13 16,0-13-16,0 0 0,-1 14 16,1-14-16,0 0 15,0 0-15,-1 13 0,1-13 16,0 0-16,0 0 15</inkml:trace>
  <inkml:trace contextRef="#ctx0" brushRef="#br0" timeOffset="42352.21">17846 714 0,'13'14'78,"-13"-1"-78,14 0 16,-1 0-16,-13 1 16,13-1-16,0 0 0,1 0 0,-1 0 15,0 1-15,0-1 0,0 13 0,1-12 16,-1-1-16,-13 0 0,13 0 16,0 0-16,1 1 0,-14-1 15,13-13-15,-13 13 0,0 0 0,13-13 16,-13 14-16,0-1 0,0 0 15,13-13-15,-13 13 16</inkml:trace>
  <inkml:trace contextRef="#ctx0" brushRef="#br0" timeOffset="42955.64">18098 913 0,'26'26'47,"-13"-13"-32,0-13 1,-13 14-16,0-1 16,14-13-16,-14 13 15,0 0-15,13-13 0,-13 14 16,0-1-16,13 0 15,-13 0 1,-13 1 0,0-1-1,-1-13-15,1 13 16,0-13-16,0 0 16,0 13-16,-1-13 0,1 0 15,0 13-15,0-13 0,-1 14 16,1-14-16,0 0 15,13 13-15,-13-13 0,13 13 16</inkml:trace>
  <inkml:trace contextRef="#ctx0" brushRef="#br0" timeOffset="43588.2">19182 1296 0,'-26'14'47,"26"-1"-47,-13-13 0,13 13 0,-14 0 16,1-13-16,13 14 0,-13-1 0,0 0 15,-1 0-15,1-13 16,0 14-16,13-1 0,-13-13 0,0 13 0,-1 0 15,1 0-15,0-13 16,13 14-16,-13-14 0</inkml:trace>
  <inkml:trace contextRef="#ctx0" brushRef="#br0" timeOffset="43889.8">18918 1402 0,'39'14'32,"-25"-1"-32,-1-13 15,0 13-15,0-13 0,1 13 16,-1 0-16,0-13 0,-13 14 15,13-14-15,0 13 16,1-13-16,-14 13 0,13-13 16,0 13-1,0-13 1,1 0 0</inkml:trace>
  <inkml:trace contextRef="#ctx0" brushRef="#br0" timeOffset="45475.69">19539 1257 0,'-26'26'47,"26"-13"-47,-13 1 16,13-1-16,0 0 0,0 0 0,0 1 15,-13-14-15,13 13 16,0 0-16,0 0 0,0 1 0,0-1 16,13 0-16,-13 0 0,0 0 15,13-13-15,-13 14 16,13-14-16,-13 13 0,13-13 16,1 0-16,-1 0 15,0 0-15,0 0 0,1-13 16,-1 13-16,0-14 0,0 1 15,1 0-15,-14 0 16,0 0-16,0-1 16,0 1-16,0 0 15,0 0-15,-14-1 0,14 1 16,-13 0-16,13 0 16,-13 13-16,13-14 15,-13 14-15,-1-13 0,1 0 16,0 13-1,13-13 1,-13 26 0</inkml:trace>
  <inkml:trace contextRef="#ctx0" brushRef="#br0" timeOffset="45663.78">19778 1402 0,'13'-13'31</inkml:trace>
  <inkml:trace contextRef="#ctx0" brushRef="#br0" timeOffset="46206.97">20135 1283 0,'-27'13'47,"14"-13"-47,0 0 16,0 14-16,-1-14 15,14 13 1,-13-13-16,26 13 16,-13 0-1,14-13-15,-14 14 16,13-14-16,-13 13 0,13-13 15,-13 13-15,13-13 16,-13 13-16,0 1 16,0-1-1,0 0-15,-13-13 16,0 13-16,0-13 0,-1 13 16,1-13-16,0 14 0,0-14 0,-1 0 15,1 13-15,0-13 0,0 0 16,0 0-16,-14 0 0,14 0 0,0 0 15,-1 0-15,1 0 0,0 0 16,0 0-16</inkml:trace>
  <inkml:trace contextRef="#ctx0" brushRef="#br0" timeOffset="49815.06">20399 1363 0,'-13'0'16,"40"0"31,-14 0-47,0 13 0,0-13 16,1 0-16,-1 0 0,0 0 15,0 0 1,0 0-16,-13 13 0,14-13 15</inkml:trace>
  <inkml:trace contextRef="#ctx0" brushRef="#br0" timeOffset="50039.75">20333 1468 0,'-13'14'0,"26"-1"31,0-13-15,1 0-16,-1 0 15,0 0 1,0 0-16,1 0 16,-1 0-16,0 0 0,0 0 15,1 0-15,-1 0 0</inkml:trace>
  <inkml:trace contextRef="#ctx0" brushRef="#br0" timeOffset="50891.75">21061 1296 0,'0'-13'31,"-27"26"-15,14 1 0,13-1-16,-13 0 15,13 0-15,-13 1 0,13-1 16,0 0-16,0 0 0,0 1 16,0-1-16,0 0 15,0 0-15,13 0 16,0-13-16,0 14 15,1-14-15,-1 0 16,0 0-16,0 0 0,1-14 0,-1 14 16,0 0-16,0 0 0,-13-13 15,13 13-15,1-13 0,-14 0 16,13 13-16,0-13 0,-13-1 0,0 1 16,13 0-16,-13 0 0,-13-1 15,13-12 1,-13 13-16,0-1 15,13 1-15,-14 13 0,14-13 0,-13 13 16,13-13-16,-13 13 0,-13 0 16,26-13-16,-14 13 15,1 13 1,0-13-16</inkml:trace>
  <inkml:trace contextRef="#ctx0" brushRef="#br0" timeOffset="51055.85">21259 1389 0,'13'0'16</inkml:trace>
  <inkml:trace contextRef="#ctx0" brushRef="#br0" timeOffset="51595.64">21471 1230 0,'13'0'16,"0"14"-16,1-14 15,-14 13-15,0 0 0,13-13 0,-13 13 16,0 0-16,0 1 0,0-1 16,0 0-16,-13 0 15,-1 1-15,14-1 16,-13 0-16,13 0 0,-13-13 15,13 14-15,-13-1 16,13 0 0,13 0 15,0-13-15,0 0-1,1 0-15,-1 0 16,0 0-16,0 0 15,1-13 1,-1 13-16,0 0 16</inkml:trace>
  <inkml:trace contextRef="#ctx0" brushRef="#br0" timeOffset="52047.71">21894 1296 0,'-53'0'15,"40"0"1,-13 0-16,12 0 0,-12 14 15,13-14-15,13 13 0,-27-13 16,27 13-16,-13-13 16,13 13-16,0 1 15,13-14 1,-13 13-16,14-13 16,-1 13-1,0 0 1,0 1-1,-26-1 1,0-13 0,13 13-16,-13-13 0,-1 0 15,1 13-15,0-13 16,0 0-16,-1 13 16,1-13-16,0 0 15,0 0 1</inkml:trace>
  <inkml:trace contextRef="#ctx0" brushRef="#br0" timeOffset="53695.73">21736 2170 0,'26'0'16,"-13"13"-1,0-13-15,-13 13 16,0 0-16,0 0 15,-13-13-15,0 14 16,0-1-16,0-13 16,13 13-16,-14-13 15,14 13-15,14 1 32,-1-14-17,0 0-15,0 0 16,-13 13-16,13-13 0,1 0 15,-1 13-15,0-13 16,-13 13 0,13-13-16,-26 14 31,0-14-31,0 13 16,-1-13-16,1 0 15,0 0-15,0 0 16,0 0-16</inkml:trace>
  <inkml:trace contextRef="#ctx0" brushRef="#br0" timeOffset="54091.63">21855 2090 0,'0'0'16,"13"0"-16,0 13 0,0-13 0,1 0 15,-1 14-15,0-1 0,0 0 16,0-13-16,1 27 0,-1-14 0,0 0 16,0 0-16,-13 14 0,14-14 0,-14 0 15,13 0-15,-13 14 0,0-14 16,0 0-16,-13 14 0,13-14 0,0 0 16,-14 14-16,1-14 0,0 0 15,-14 0-15,14 1 0,-13-1 16,13 0-16,-14 0 0,-13 1 15,27-1-15,0-13 0,-14 13 16</inkml:trace>
  <inkml:trace contextRef="#ctx0" brushRef="#br0" timeOffset="54864.63">22225 2156 0,'0'27'47,"-13"-27"-31,13 13-16,0 0 0,0 0 15,-13 1-15,13-1 0,-14 0 16,14 14-16,0-14 15,-13 0-15,13 0 16,0 1 0</inkml:trace>
  <inkml:trace contextRef="#ctx0" brushRef="#br0" timeOffset="55234.04">22185 2143 0,'14'-13'0,"-28"26"0,41-39 15,-14 26 1,0 0 0,0 13-16,1-13 0,-1 0 15,0 13-15,0 0 0,1-13 16,-14 14-16,0-1 16,0 0-1,0 0-15,-14-13 0,14 13 16,-13-13-16,0 14 15,0-14-15,-1 0 0,14 13 16,-26-13-16,13 0 16</inkml:trace>
  <inkml:trace contextRef="#ctx0" brushRef="#br0" timeOffset="55578.03">22609 1998 0,'-27'26'46,"14"-13"-46,13 1 0,-13-1 0,-1 0 16,1 13-16,-13 1 0,13-14 0,13 14 16,-14-1-16,1-13 0,0 14 15,0 12-15,13-25 0,-14 12 16,14 1-16,0-14 0,0 0 16,0 0-16,14 0 0,-14 1 15,13-1-15,0 0 16,0-13-16,1 0 0,-1 0 15,0 0-15,0 0 0,0 0 0,1 0 16</inkml:trace>
  <inkml:trace contextRef="#ctx0" brushRef="#br0" timeOffset="56055.33">22635 2183 0,'0'-13'31,"27"26"-16,-27 0-15,13-13 0,-13 13 16,13 0-16,-13 1 16,0 12-1,-13-13-15,0 1 16,13-1-16,-14-13 16,14 13-16,-13-13 15,13 13-15,-13-13 0,13 14 16,13-14 15,0 0-15,1 0-16,12 0 31,-13 0-31,0 0 16,1-14-16,-1 14 15,0 0-15,0 0 16,-13-13-16</inkml:trace>
  <inkml:trace contextRef="#ctx0" brushRef="#br0" timeOffset="56323.03">22913 2196 0,'0'26'78,"-13"-26"-78,13 14 0,0-1 0,0 0 16,-14-13-16,14 13 0,0 1 15,0-1-15,-13-13 16,13 13-16,0 0 15,0 1-15</inkml:trace>
  <inkml:trace contextRef="#ctx0" brushRef="#br0" timeOffset="56575.59">23125 2183 0,'0'-13'0,"-14"26"62,14 0-62,0 0 16,0 0-16,-13-13 0,13 14 0,0-1 16,-13-13-16,13 13 0,0 0 15,-13-13-15,13 14 0,0-1 16,-14-13-16,14 13 0,0 0 15,-13-13-15,13 14 16</inkml:trace>
  <inkml:trace contextRef="#ctx0" brushRef="#br0" timeOffset="57882.63">22900 2262 0,'13'0'0,"0"0"15,0 0 1,1 0-16,-1 0 16,0 0-16,0 0 15,1 0-15,-1 0 0</inkml:trace>
  <inkml:trace contextRef="#ctx0" brushRef="#br0" timeOffset="60435.84">22714 2249 0,'-13'0'32,"0"0"-17,13 13-15,-13-13 16,13 13-16,-13-13 16,13 14-16,-14-1 15,14 0-15,0 0 47,27-26-31,-27 0-1,0 0-15,13 13 16,-13-14-16,0 1 16,0 0-1,-13 13 1,-14 13-1,14 0 1,13 1 0,-13-14-16,26 13 15,0 0 1,14-26 15,-14 0-15,-13-1-1,-13 14 17,0 0-1,-1 14-31,14-1 16,-13-13-16,26 13 15,1 0 1,-1-26-1,0 13 1,-13-13-16,13 0 16,-13-1-1,0 1-15,0 0 16,-13 13 15,0 13-15,0-13-16,13 13 15,-14-13-15,14 14 16,27-28 31,-27 1-31,0 0-16,0 0 15,-13-1 16,-1 28-15,1-14 0,13 13-16,-13-13 0,13 13 15,-13 0-15,13 1 32,13-14-17,0 0-15,0 0 16,-13-14-1,14 14-15,-14-13 0,13 0 16,-13 0-16,13-1 16,-13 1-1,-13 13 1,0 13 0,-1-13-1,14 14-15,-13-14 16,13 13-16,0 0 15,0 0-15,13 1 16,1-14 0,-1 0 15,0 0-31,-13-14 16,-13 41 46,13-14-46,0 0-1,13-13 1,0 0 0,-13-13-1,13 13 1,-13-13-1,0 39 64,14-26-64,-1 0 1,0-13 15,-13 26 47,0 1-47,-13-41 32</inkml:trace>
  <inkml:trace contextRef="#ctx0" brushRef="#br0" timeOffset="61083.7">23244 2037 0,'0'-13'0,"0"26"0,0 1 46,0-1-46,0 0 0,0 0 16,0 0-16,0 14 0,0-14 0,-14 14 16,14-14-16,0 13 0,0-13 15,-13 14-15,13-1 0,0-12 0,-13 12 16,13-13-16,-13 1 0,13-1 0,-13 13 16,13-13-16,-14 1 15,14-1-15,0 0 0,-13-13 16,13 13-1</inkml:trace>
  <inkml:trace contextRef="#ctx0" brushRef="#br0" timeOffset="61669.62">23323 2236 0,'13'-14'15,"0"14"1,1 14-1,-1-14-15,-13 13 0,13-13 16,-13 13-16,0 0 16,0 1-1,-13-1-15,13 0 0,-13-13 0,13 13 16,-14-13-16,1 14 0,0-1 16,0-13-16,13 13 15,-13-13-15,-1 13 16,28 0 31,-1-13-32,0 0 1,0 0-16,0 0 0,1 0 16,-1 0-16,0 0 15,0 0-15,1-13 0</inkml:trace>
  <inkml:trace contextRef="#ctx0" brushRef="#br0" timeOffset="61928.68">23574 2236 0,'0'26'63,"0"-13"-63,0 1 15,-13 12 1,13-13-16,0 1 16,-13-1-1,13 0 1</inkml:trace>
  <inkml:trace contextRef="#ctx0" brushRef="#br0" timeOffset="62179.67">23707 2262 0,'13'0'0,"-13"-13"16,-13 39 31,13-12-47,-14-1 15,14 0 1,0 0 0,-13 1-1,13-1-15</inkml:trace>
  <inkml:trace contextRef="#ctx0" brushRef="#br0" timeOffset="62386.05">23508 2289 0,'27'0'47,"-14"0"-31,0 0-16,0 0 15,1 0-15,-1-14 16,0 14-16,0 0 0</inkml:trace>
  <inkml:trace contextRef="#ctx0" brushRef="#br0" timeOffset="62851.72">23654 1905 0,'13'13'0,"0"-13"15,0 13-15,1 1 0,-1-1 0,0 0 16,14 0-16,-14 1 15,13 12-15,-13 1 0,14-1 0,-1 0 16,-12 1-16,-1-1 0,0 1 0,0-1 16,1 1-16,-1-14 0,-13 13 0,13 1 15,-13-14-15,0 14 0,0-14 16,0 13-16,0-13 0,0 1 0,-13 25 16,0-25-16,-1-1 0,14 0 15,-13 0-15,0 1 0,0-1 16,-1 0-16,1 0 0,0-13 15,13 13-15,-13-13 0</inkml:trace>
  <inkml:trace contextRef="#ctx0" brushRef="#br0" timeOffset="63762.56">23535 2183 0,'0'-13'16,"0"39"31,-14-13-47,14 0 15,0 1-15,0-1 16,-13 0-16,13 0 15,0 1-15,-13-1 16,13 0-16,0 0 16,0 1-1,0-1 1</inkml:trace>
  <inkml:trace contextRef="#ctx0" brushRef="#br0" timeOffset="64178.55">23693 2196 0,'-13'26'62,"13"-12"-62,0-1 0,0 0 16,0 0-16,0 1 16,0-1-16,0 0 0,0 0 15,0 1-15,0-1 16,0 0 0,0 0-1</inkml:trace>
  <inkml:trace contextRef="#ctx0" brushRef="#br0" timeOffset="64444.89">23535 2289 0,'13'0'0,"0"-14"15,0 14-15,1 0 16,-14 14-16,26-14 0,1 0 16,-14 0-1,0 0 1,0 0-16,0 0 0,1 0 0,-1 0 15,0 0-15</inkml:trace>
  <inkml:trace contextRef="#ctx0" brushRef="#br0" timeOffset="65159.62">24037 2209 0,'27'13'63,"-14"-13"-63,0 0 16,1 0-16</inkml:trace>
  <inkml:trace contextRef="#ctx0" brushRef="#br0" timeOffset="65370.55">24011 2315 0,'26'0'15,"-12"0"-15,-1 0 16,0 0-16,0 0 16,1 0-16,-1 0 15,0 0-15</inkml:trace>
  <inkml:trace contextRef="#ctx0" brushRef="#br0" timeOffset="66962.6">24302 2196 0,'-13'0'15,"0"13"17,-1 0-32,14 1 0,0-1 15,-13 0-15,13 0 16,0 1-16,0-1 16,0 0-16,0 0 0,13-13 15,-13 14-15,0-1 0,14-13 0,-1 13 16,0-13-1,0 0-15,0 0 16,1 0-16,-1-13 16,0 0-16,-13-1 15,13 1-15,-13 0 0,0 0 16,14-1-16,-14 1 0,0 0 0,0 0 16,-14 13-16,14-14 15,0 1-15,-13 0 0,13 0 16,-13 13-16,13-13 0,-13 13 0,-1 0 15,1-14-15,0 14 0,0 0 16,0 0-16,-1 0 0,1 0 0</inkml:trace>
  <inkml:trace contextRef="#ctx0" brushRef="#br0" timeOffset="67675.71">22886 1958 0,'0'-27'15,"0"-39"1,0 53 0,0 0-16,0 0 0,0-1 15,0 1-15,0 0 0,-13 0 16,13-1 0,-13 14-1</inkml:trace>
  <inkml:trace contextRef="#ctx0" brushRef="#br0" timeOffset="67863.82">22834 1733 0,'-14'13'31,"14"0"-15,-13-13-16,0 14 0,13-1 15,-13-13-15,-1 13 0,14 0 16,-13-13-16,13 14 0,-13-1 0,0 0 16,13 0-16,-14-13 0</inkml:trace>
  <inkml:trace contextRef="#ctx0" brushRef="#br0" timeOffset="68006.88">22873 1733 0,'0'0'0,"13"0"0,1 0 16</inkml:trace>
  <inkml:trace contextRef="#ctx0" brushRef="#br0" timeOffset="68591.08">22662 1429 0,'0'26'16,"-14"-26"-16,14 13 16,0 1-16,0-1 0,0 0 15,0 0-15,0 1 16,0-1-16,0 0 0,0 0 16,0 1-16,14-14 15,-14 13-15,13-13 0,-13 13 0,13-13 16,0 0-1,0 0-15,1 0 16,-14-13-16,13 13 0,-13-13 16,13-1-16,-13 1 15,0 0 1,0 0-16,0-1 16,0 1-16,-13 0 15,0 0 1,-1 13-1,1 0 1,0 0 0</inkml:trace>
  <inkml:trace contextRef="#ctx0" brushRef="#br0" timeOffset="69143.99">22979 1442 0,'-13'0'0,"-14"13"32,14 0-32,0 1 15,13-1 1,13 0-16,-13 0 0,13 1 16,-13-1-16,14-13 15,-14 13-15,13 0 0,0-13 16,-13 14-16,13-1 15,-13 0 1,-13-13-16,13 13 16,-13-13-16,0 0 0,13 13 15,-14-13 1</inkml:trace>
  <inkml:trace contextRef="#ctx0" brushRef="#br0" timeOffset="69734.89">23508 1998 0,'0'-14'16,"0"1"-16,0-13 16,0 12-1,0 1-15,0 0 16,0 0-16,0 0 0,0-14 15,0 14 1,0 0 0,-13 13-16</inkml:trace>
  <inkml:trace contextRef="#ctx0" brushRef="#br0" timeOffset="69905">23508 1799 0,'-13'13'16,"0"1"-1,0-14-15,13 13 0,-14-13 16,1 13-16,0-13 0,13 13 0,-13 1 16,-1-14-16,1 0 15</inkml:trace>
  <inkml:trace contextRef="#ctx0" brushRef="#br0" timeOffset="70098.91">23402 1879 0,'0'0'0,"27"0"0,-1 0 15,-12 0-15,-1 0 16,0 0-16,0 0 0,0 0 15,1 0-15,-1 0 16,0 0 0</inkml:trace>
  <inkml:trace contextRef="#ctx0" brushRef="#br0" timeOffset="70622.59">23429 1429 0,'0'0'0,"0"-13"0,-13 13 15,-1 0 1,1 13-16,13 0 16,-13 0-16,13 0 15,0 1-15,0-1 16,0 0-16,0 0 15,0 1-15,13-14 0,-13 13 16,13-13-16,-13 13 0,14-13 0,-1 0 16,-13 13-16,13-13 0,14 0 15,-14 0 1,-13-13-16,13 13 0,-13-13 16,13 13-16,-13-13 0,0-1 15,13 1-15,-13 0 0,-13 0 16,13-1-1,0 1-15,-13 13 0,13-13 16,-13 13-16,13-13 0,-13 13 16,-1 0-1,-12 0-15,26 13 0,-13-13 16</inkml:trace>
  <inkml:trace contextRef="#ctx0" brushRef="#br0" timeOffset="71339.64">23786 1416 0,'13'0'16,"0"0"0,14 26-1,-14-13 1,-13 0 0,-13 1-16,13-1 0,-13 0 15,-1-13-15,14 13 16,-13-13-16,0 14 0,0-1 15,0-13 1,-1 13 0,28 0 31,-1-13-32,0 0-15,0 0 16,0 0-16,1 0 15,-1 0 1,0 0-16</inkml:trace>
  <inkml:trace contextRef="#ctx0" brushRef="#br0" timeOffset="71595.58">23680 1468 0,'-13'0'0</inkml:trace>
  <inkml:trace contextRef="#ctx0" brushRef="#br0" timeOffset="72053.12">24117 1429 0,'13'0'15,"-39"-13"17,12 13-17,14 13-15,-13-13 16,0 13 0,26-13-1,-13 13 1,0 0-16,13 1 15,-13-1 1,14-13 0,-14 13-1,-14-13 1,1 13-16,0-13 0,0 14 16,-1-14-1,1 13-15,0-13 16,13 13-16</inkml:trace>
  <inkml:trace contextRef="#ctx0" brushRef="#br0" timeOffset="73127.77">24527 2236 0,'0'-14'16,"13"14"-1,0 0-15,1-13 32,-41 26 30,14-13-62,0 0 16,-1 14-16,14-1 15,-13-13 1,26 13 0,-13 0-1,14-13-15,-1 14 16,0-1 0,-13 0-1,13-13-15,-13 13 31,-13 1-15,0-14 0,0 0-16,-1 13 15,1-13-15</inkml:trace>
  <inkml:trace contextRef="#ctx0" brushRef="#br0" timeOffset="73328.62">24672 2302 0</inkml:trace>
  <inkml:trace contextRef="#ctx0" brushRef="#br0" timeOffset="73965.69">24474 2394 0,'-13'0'16</inkml:trace>
  <inkml:trace contextRef="#ctx0" brushRef="#br0" timeOffset="74359.31">24818 2262 0,'-13'13'31,"-1"1"-15,1-1-16,0 0 15,0-13-15,13 13 0,-13-13 16,-1 14-16,1-1 16,0-13-16</inkml:trace>
  <inkml:trace contextRef="#ctx0" brushRef="#br0" timeOffset="74590.99">24686 2315 0,'0'-13'16,"0"0"15,26 26-15,-26 0-16,13 0 15,-13 1 1,14-14-16,-14 13 15,13 0 1,-13 0 0</inkml:trace>
  <inkml:trace contextRef="#ctx0" brushRef="#br0" timeOffset="75003.66">24924 2289 0,'0'-14'0,"-13"28"47,13-1-47,0 0 15,0 0 1,0 1-16,13-14 16,0 0-16,-13 13 15,13-13-15,0 0 0,1 0 16,-1-13-16,0-1 16,0 14-1,-13-13-15,0 0 16,14 0-16,-14-1 15,-14 1 1,14 0-16,-13 0 16,0 13-16,13-14 15,-13 14-15,-1 0 16</inkml:trace>
  <inkml:trace contextRef="#ctx0" brushRef="#br0" timeOffset="75150.78">25043 2249 0,'0'0'0,"13"0"0,0 0 32</inkml:trace>
  <inkml:trace contextRef="#ctx0" brushRef="#br0" timeOffset="75611.89">25254 2183 0,'14'13'47,"-14"0"-47,-14 0 16,14 1-1,-13-14-15,0 13 0,0 0 16,0 0-16,-1 1 16,1-1-1,26 0 17,1-13-17,-1-13 1,0 13-16,0 0 15,0 0-15,1 0 16,-1 0 0,0 0-16,0-13 15</inkml:trace>
  <inkml:trace contextRef="#ctx0" brushRef="#br0" timeOffset="75885.57">25387 2262 0,'-13'-40'16,"13"54"-1,0-1-15,0 0 16,-14 0-1,14 1 1,-13-14-16,13 13 16,-13-13-16,0 0 0,-1 13 15,1-13-15,0 0 0,0 13 16,-1-13-16,-12 14 0</inkml:trace>
  <inkml:trace contextRef="#ctx0" brushRef="#br0" timeOffset="76271.55">23746 2805 0,'53'0'15,"-40"-14"-15,1 14 0,-1 0 16,0 0-16,0 0 0,1 0 16</inkml:trace>
  <inkml:trace contextRef="#ctx0" brushRef="#br0" timeOffset="76439.49">23693 2884 0,'14'13'31,"-1"-13"-31,13 0 16,1 0-16,-14 0 15</inkml:trace>
  <inkml:trace contextRef="#ctx0" brushRef="#br0" timeOffset="84151.66">24156 2765 0,'-13'-13'32,"0"39"-17,13-13 1,0 1-16,-13-1 0,13 0 16,0 0-1,0 1-15,0-1 0,0 0 0,13 0 16,-13 0-16,0 1 0,13-14 15,-13 13-15,0 0 0,13-13 16,1 13-16,-1-13 0,0 0 16,0 0-16,1 0 15,-1-13-15,0 13 0,0-13 16,1 13-16,-1-13 0,0-1 16,-13 1-16,13 0 0,-13 0 15,13 0-15,-13-1 0,0 1 0,0-13 16,-13 12-16,13 1 0,0-13 15,-13 12-15,13 1 16,0 0-16,-13 0 0,13 0 0,-13 13 16,-1-14-16,1 1 15,0 13-15,0 13 16,-1 1 0,1-1-16</inkml:trace>
  <inkml:trace contextRef="#ctx0" brushRef="#br0" timeOffset="84315.6">24514 2831 0</inkml:trace>
  <inkml:trace contextRef="#ctx0" brushRef="#br0" timeOffset="84660.58">24699 2765 0,'0'13'15,"0"0"1,0 1-16,0-1 0,0 0 16,0 0-16,0 1 0,0-1 15,0 0-15,0 0 16,0 0-16,-13 1 0,13-1 16,0 0-16,0 0 15</inkml:trace>
  <inkml:trace contextRef="#ctx0" brushRef="#br0" timeOffset="85035.77">24858 2791 0,'0'0'0,"13"0"16,0 0-16,0 0 0,1 27 31,-14-14-15,-14 0-16,14 1 0,-13-1 16,0 0-16,0 0 15,13 0 1,-14-13-16,14 14 15,14-14 1,-14 13 0,13-13-16,0 0 15,0 0-15,1 0 16,-1 0 0,0-13-16,0 13 15</inkml:trace>
  <inkml:trace contextRef="#ctx0" brushRef="#br0" timeOffset="85347.03">25241 2805 0,'-13'0'0,"-13"0"16,12 0-1,14 13-15,-13-13 16,13 13-16,-13-13 0,13 13 16,0 1-16,0-1 15,0 0 1,0 0-16,0 0 16,-13 1-16,13-1 15,-14-13-15,1 13 0,0-13 16,0 0-16,-1 13 0,1-13 0,0 14 15,0-14-15,-14 13 0,14-13 0,0 13 16,-14-13-16,14 0 0,0 0 16,0 0-16</inkml:trace>
  <inkml:trace contextRef="#ctx0" brushRef="#br0" timeOffset="86179.69">21008 3506 0,'-27'13'0,"54"-26"0,-67 39 16,27-26-16,0 13 0,0-13 16,-1 0-16,1 14 0,13-1 0,-13-13 15,0 13-15,-1-13 0,1 13 0,0 1 16,0-14-1,13 13-15,13 0 16,0-13 0,0 0-16,1 0 15,-1 0-15,0 0 0,0 0 16,1-13-16,-1 13 0,0 0 0,0 0 16,0 0-16,1-13 0,-1 13 15,0 0-15,-13-14 0,13 14 16</inkml:trace>
  <inkml:trace contextRef="#ctx0" brushRef="#br0" timeOffset="86403.55">21048 3492 0,'0'-13'0,"0"26"0,-14-13 32,1 14-17,13-1-15,0 0 16,0 0-16,-13 1 0,13-1 0,0 0 15,0 0-15,0 1 16,0-1-16,0 0 0,-13-13 0,13 13 16,0 0-16,0 1 0,0-1 15,0 0 1</inkml:trace>
  <inkml:trace contextRef="#ctx0" brushRef="#br0" timeOffset="86759.81">20915 3294 0,'14'0'0,"38"13"15,-38-13-15,12 14 0,1-1 16,-14 0-16,13 0 0,14 14 0,-27-14 16,14 13-16,-1-12 0,-13 12 15,1-13-15,-1 14 0,0-14 0,-13 0 16,0 0-16,0 14 0,0-14 0,-13 0 15,13 14-15,-27-1 0,14 1 16,-13-14-16,-14 27 16,27-14-16,-14-13 0,1 1 15,-1-1-15,14 0 0,0-13 16,0 13-16,-1 0 0</inkml:trace>
  <inkml:trace contextRef="#ctx0" brushRef="#br0" timeOffset="87622.46">21683 3241 0,'-27'13'16,"14"-13"0,13 14-16,-13-1 0,13 13 0,-14-12 15,1 12-15,0 0 0,0 14 0,13-13 16,-13-1-16,13-13 0,-14 14 16,14-1-16,0 1 0,0-14 15,-13 13-15,13-12 0,13-1 0,-13 0 0,0 13 16,0-12-16,14-14 0,-14 13 0,13 0 15,-13 0-15,13-13 0,-13 14 16,13-14-16,0 0 0,1 0 16,-1 0-16,0 0 15,0 0-15,1-14 16</inkml:trace>
  <inkml:trace contextRef="#ctx0" brushRef="#br0" timeOffset="88374.76">21378 3466 0,'-13'26'16,"0"-12"0,13-1-16,0 0 0,0 0 15,0 1-15,0-1 0,0 0 16,0 0-16,0 1 0,0-1 15,-13 0-15,13 0 0,0 0 16,0 1-16,0-1 0,13 0 16,-13-53 31,0 27-32,0 0-15,0 0 0,0-14 16,0 1-16,0 13 0,0-14 0,0 1 15,0 12-15,13-12 0,-13 13 16,0 0-16,0-1 0,0 1 16,13 0-16,-13 0 0,14-1 0,-1 14 15,0 0 1,0 14-16,-13-1 16,13 0-1,-13 0-15,0 1 16,-13-14-16,13 13 0,-13 0 15,13 0-15,-13-13 0,0 13 16,13 1-16,-14-14 0,14 13 16,-13 0-16,0 0 15</inkml:trace>
  <inkml:trace contextRef="#ctx0" brushRef="#br0" timeOffset="88624.53">21722 3440 0,'0'-14'0,"14"28"32,-1-14-32,-13 13 15,0 0-15,0 0 0,0 0 16,0 1-16,0-1 0,0 0 15,0 0-15,-13 1 0,13-1 16,-14 0-16,14 0 0,0 1 0,-13-1 16,13 0-16,0 0 0,0 0 15,0 1-15</inkml:trace>
  <inkml:trace contextRef="#ctx0" brushRef="#br0" timeOffset="88840.56">21881 3466 0,'0'-13'16,"0"26"-16,0-39 16,0 52 15,0-13-31,0 0 16,0 1-16,0-1 15,0 0-15,0 0 0,0 1 0,0-1 16,0 0-16,0 0 0,0 1 15,0-1-15,0 0 16</inkml:trace>
  <inkml:trace contextRef="#ctx0" brushRef="#br0" timeOffset="89043.58">21722 3612 0,'0'0'0,"-13"-14"16,26 1 31,1 26-47,-1-13 15,0 0-15,0 0 0,0 0 16,1 0-16,-1 0 0,0 0 16,0 0-16,1 0 0,-1 0 15,0 0-15,0 0 0</inkml:trace>
  <inkml:trace contextRef="#ctx0" brushRef="#br0" timeOffset="89706.76">22159 3307 0,'-13'0'0,"26"0"16,-26 14 15,13-1-31,0 0 0,0 0 16,0 14-16,-14-14 0,14 13 0,0-12 15,0 12-15,0-13 0,-13 14 16,13-14-16,0 13 0,0-12 0,0-1 16,0 13-16,0-12 0,-13-1 0,13 0 15,0 0-15,0 0 16,0 1 0,0-1-16,0 0 31,13 0 63,0-26-48,-13 0-46</inkml:trace>
  <inkml:trace contextRef="#ctx0" brushRef="#br0" timeOffset="90578.51">22331 3453 0,'13'-13'0,"0"-1"31,1 14-31,12 14 0,-13-14 16,0 13-16,1-13 15,-14 13-15,13 0 16,-13 0-16,-13 1 0,13-1 15,-14-13-15,14 13 0,-13-13 0,0 13 16,0 1-16,0-1 16,26 0 31,0-13-47,0 0 15,0 13 1,1-13-16,-1 0 0,-13 14 15,13-14-15,-13 13 16,0 0 0,-13 0-1,0-13-15,13 13 0,-14-13 16,1 0-16,13 14 0,-13-14 16,0 0-16,0 0 0,-1 0 15,1 0-15,0 0 16,0 0-1</inkml:trace>
  <inkml:trace contextRef="#ctx0" brushRef="#br0" timeOffset="90911.74">22648 3479 0,'0'27'32,"-13"-14"-32,13 0 15,0 0-15,0 1 0,-13-1 16,13 0-16,0 0 16,0 1-1</inkml:trace>
  <inkml:trace contextRef="#ctx0" brushRef="#br0" timeOffset="91171.49">22820 3440 0,'0'26'46,"0"-13"-46,-13 0 16,13 1-16,0-1 16,0 0-16,0 0 0,0 1 15,0-1-15,0 0 0,0 0 16,-13 1-16,13-1 16,0 0-1,0 0 1</inkml:trace>
  <inkml:trace contextRef="#ctx0" brushRef="#br0" timeOffset="91418.72">22595 3612 0,'-13'0'31,"40"-14"-31,-14 14 16,13 0-1,-12 0-15,-1 0 0,0 0 0,0 0 16,0 0-16,1 0 16,-1 0-16,0-13 0,0 13 0,1 0 15,-1 0-15,0 0 16</inkml:trace>
  <inkml:trace contextRef="#ctx0" brushRef="#br0" timeOffset="91747.68">22820 3254 0,'27'14'16,"-14"-1"-1,0-13-15,0 13 0,1 14 0,12-1 16,-13 0-16,1 1 0,12 13 16,-13-14-16,-13 0 0,14-12 15,-14 12-15,0-13 16,0 14-16,0-14 0,0 14 0,0-14 0,-14 13 15,1-13-15,13 14 0,-13-14 0,0 0 16,13 1-16,-14-1 16,1 0-16,13 0 0,-13-13 0,13 14 15,-13-1-15</inkml:trace>
  <inkml:trace contextRef="#ctx0" brushRef="#br0" timeOffset="92070.68">23191 3572 0,'39'0'31,"-25"0"-31,-1 0 15</inkml:trace>
  <inkml:trace contextRef="#ctx0" brushRef="#br0" timeOffset="92259.7">23058 3704 0,'-13'0'15,"53"-13"17,-27 13-17,0 0-15,1 0 0,-1 0 16,13 0-16,-12-13 0,-1 13 0</inkml:trace>
  <inkml:trace contextRef="#ctx0" brushRef="#br0" timeOffset="93019.59">23429 3532 0,'0'13'31,"0"1"-15,0-1-16,0 0 15,0 0-15,0 1 0,13-1 16,-13 0-16,0 0 0,13 0 15,1 1-15,-1-14 16,0 13-16,0-13 0,0 0 16,1 0-16,-1 0 0,0 0 15,0 0-15,1 0 0,-1-13 16,0 13-16,0-14 0,-13 1 16,0 0-16,14 0 15,-28 0-15,14-1 16,0 1-16,-13 0 0,13 0 15,0-1-15,-13 1 0,0 0 16,-1 0-16,14-1 0,-13 14 16,0 0-16,0 0 15,-1 0-15,1 0 16,0 14-16</inkml:trace>
  <inkml:trace contextRef="#ctx0" brushRef="#br0" timeOffset="93166.64">23680 3572 0</inkml:trace>
  <inkml:trace contextRef="#ctx0" brushRef="#br0" timeOffset="93454.48">23879 3519 0,'13'13'32,"-13"0"-32,0 1 15,0-1 1,0 0-16,0 0 0,-13 1 16,13 12-16,0-13 15,0 0 1,0 1-1,0-1-15,0 0 16</inkml:trace>
  <inkml:trace contextRef="#ctx0" brushRef="#br0" timeOffset="93852.75">24037 3545 0,'14'0'15,"-28"0"-15,41 14 0,-14-14 16,0 13-16,-13 0 16,14-13-16,-14 13 15,-14 1 1,1-1-16,0 0 15,13 0-15,-13-13 0,-1 13 16,1 1-16,13-1 31,-13-13-31,26 13 32,0-13-17,1 0 1,-1 0-1,0 0 1,0-13 0</inkml:trace>
  <inkml:trace contextRef="#ctx0" brushRef="#br0" timeOffset="94223.74">24355 3545 0,'-13'0'16,"-14"14"-16,14-14 16,0 0-1,13 13-15,-13-13 16,13 13-1,0 0-15,13 1 16,-13-1 0,13-13-1,-13 13-15,13 0 16,-13 0 0,-13-13-16,13 14 15,-13-14-15,13 13 0,-13-13 16,-1 13-16,1-13 0,0 0 15,0 0-15,13 13 0,-14-13 16,1 0-16,0 0 0,0 14 16</inkml:trace>
  <inkml:trace contextRef="#ctx0" brushRef="#br0" timeOffset="94470.65">24487 3559 0,'27'13'31,"-27"0"-15,13 0-16,-13 1 15,0-1-15,0 0 16,0 0-16,0 0 15,-13 1-15,13-1 0,0 0 16,-14-13-16,14 13 0,0 1 16</inkml:trace>
  <inkml:trace contextRef="#ctx0" brushRef="#br0" timeOffset="94719.71">24434 3691 0,'14'0'47,"-1"0"-47,0 0 16,-13 13-16,13-13 0,0 0 15,1 0-15,-1 0 0,0 13 16,0-13-16,1 0 15,-1 0 1,0 0-16,0 0 16</inkml:trace>
  <inkml:trace contextRef="#ctx0" brushRef="#br0" timeOffset="95224.47">24831 3585 0,'-13'0'0,"0"0"0,13 13 15,-27 27 1,27-27-16,0 0 16,0 1-16,0-1 15,13 0-15,1 0 16,-1-13-1,0 14-15,0-14 16,1-14-16,-1 1 16,-13 0-16,13 13 15,-13-13-15,0-1 0,0-12 16,-13 13 0,13 0-16,0-1 0,0 1 15,-13 0-15,-1 13 16,1-13-1,0 13-15,0 13 16</inkml:trace>
  <inkml:trace contextRef="#ctx0" brushRef="#br0" timeOffset="95392.32">24950 3651 0,'13'0'0,"1"-13"47</inkml:trace>
  <inkml:trace contextRef="#ctx0" brushRef="#br0" timeOffset="95858.29">25096 3572 0,'39'13'32,"-25"-13"-32,-14 13 15,13 1-15,-13-1 16,0 0-16,0 0 15,-13-13-15,13 13 0,-14-13 16,14 14-16,-13-14 0,13 13 0,-13-13 16,13 13-1,-13-13-15,13 13 16,13 1 15,0-14-15,0-14-1,1 14 1,-1 0-16,0 0 16,0 0-16,-13-13 15</inkml:trace>
  <inkml:trace contextRef="#ctx0" brushRef="#br0" timeOffset="96179.54">25294 3598 0,'-13'0'0,"0"0"0,13 14 15,-14-14 1,14 13-1,0 0-15,0 0 16,14-13-16,-14 13 16,0 1-16,-14-14 15,14 13-15,0 0 16,-13-13-16,13 13 0,-13-13 16,0 0-16,0 0 0,-1 14 0,1-14 15,-13 0-15,12 13 16,1-13-16,0 0 0</inkml:trace>
  <inkml:trace contextRef="#ctx0" brushRef="#br0" timeOffset="96787.42">23098 4128 0,'27'13'16,"-14"-26"-1,0 26-15,0-13 16,1 0-16,-1 0 16,0 0-1</inkml:trace>
  <inkml:trace contextRef="#ctx0" brushRef="#br0" timeOffset="96955.69">23072 4273 0,'13'13'0,"13"-13"31,-12-13-31,-1 13 15,0 0-15,0-13 16</inkml:trace>
  <inkml:trace contextRef="#ctx0" brushRef="#br0" timeOffset="101514.8">23521 4154 0,'0'-13'32,"-13"39"-1,0-13-31,13 1 0,0-1 16,0 0-16,-13 0 0,13 14 15,0-14-15,0 0 0,0 0 16,0 1-16,0-1 0,0 0 15,0 0-15,13 1 0,0-1 16,-13 0-16,13-13 16,1 0-16,12 0 15,-13-13-15,1 13 16,-1 0-16,0-13 0,0-1 16,-13 1-16,14 0 15,-1 0-15,-13-1 0,0-12 16,0 13-16,0 0 0,0-1 0,0 1 15,-13 0-15,13 0 16,-14-1-16,1 1 16,0 13-16,0 0 0,-1 0 15,1 0-15,0 0 16,0 13-16</inkml:trace>
  <inkml:trace contextRef="#ctx0" brushRef="#br0" timeOffset="101710.88">23826 4273 0,'13'0'16</inkml:trace>
  <inkml:trace contextRef="#ctx0" brushRef="#br0" timeOffset="102091.16">23984 4247 0,'-26'0'16,"13"0"-16,13 13 16,-13 0-16,-1 0 15,14 0-15,-13-13 16,13 14-16,-13 12 0,13-13 16,0 1-16,13-14 0,-13 13 15,27 0 1,-27 0-16,13-13 0,0 0 0,13 14 15,-12-14-15,-1-14 16,0 14-16,0 0 16,1-13-16,-1 0 0,0 13 15,-13-13-15,13-1 0,-13 1 0,0 0 16,0 0-16,0-1 0,0 1 16,-13 13-16,13-13 0,0 0 15,-13 0-15,0 13 0,13-14 16,-14 14-16,1-13 15,0 13-15,0 13 16,-1-13-16,1 0 16</inkml:trace>
  <inkml:trace contextRef="#ctx0" brushRef="#br0" timeOffset="102483.79">24196 4220 0,'13'0'0,"-26"0"16,26 13-16,-13 1 15,0-1 1,-13-13-16,13 13 0,-13 0 15,13 0-15,0 1 16,0-1 0,13 0-16,-13 0 0,13-13 15,1 14-15,-14-1 16,13-13-16,-13 13 0,13-13 16,-13 13-16,13-13 0,-13 14 15,0-1-15,-13-13 16,13 13-16,-13-13 15,0 13-15,-1-13 16,1 13-16,0-13 16,0 0-16</inkml:trace>
  <inkml:trace contextRef="#ctx0" brushRef="#br0" timeOffset="103029.78">24408 4247 0,'53'92'235,"-53"-79"-204,-13 67 110</inkml:trace>
  <inkml:trace contextRef="#ctx0" brushRef="#br0" timeOffset="103148.6">24633 4260 0,'79'185'62</inkml:trace>
  <inkml:trace contextRef="#ctx0" brushRef="#br0" timeOffset="104198.8">24606 4260 0,'13'0'16,"1"0"-1,-1 0 1,-13 13-16,13-13 0,0 13 15,1 0-15,-1 1 0,-13-1 16,0 0-16,0 0 0,0 1 16,-13 12-1,-1-13-15,14 1 0,-13-1 16,0-13-16,13 13 16,-13 0-16,-1 0 31,28 1 0,-1-14-31,13 0 16,-12 0-1,12 0 1,-13 0-16,1-14 16,-1 14-1,0 0-15,0-13 0,0 13 16,-13-13-1</inkml:trace>
  <inkml:trace contextRef="#ctx0" brushRef="#br0" timeOffset="104591.13">25030 4273 0,'-27'0'31,"14"0"-15,0 13-16,-1-13 0,-12 13 15,13 1 1,52 52 31,-25-53-32,-14 0 1,13 1-16,-26-1 16,-1-13-1,1 13-15,0-13 16,-13 13-16,-1-13 15,14 0-15,0 13 0,-1-13 16,1 0-16</inkml:trace>
  <inkml:trace contextRef="#ctx0" brushRef="#br0" timeOffset="104748.52">25030 4498 0,'-14'-13'47</inkml:trace>
  <inkml:trace contextRef="#ctx0" brushRef="#br0" timeOffset="117735.63">13137 503 0,'26'-14'0,"-13"14"16,0 0-16,1 0 0,-1 0 16,-40 0 30,14 14-46,0-14 0,0 13 16,0-13-16,-1 13 0,1-13 0,0 13 16,-14-13-16,14 14 0,0-14 0,0 13 15,0-13-15,-1 0 0,1 13 0,0-13 16,13 13-16,-13-13 16,13 14-1,13-14-15,0 13 16,0-13-1,14 13-15,-14-13 16,0 13-16,14-13 16,-27 13-16,13-13 0,-13 14 15,13-14-15,-13 13 16,0 0-16,-13-13 0,13 13 16,-13-13-16,-1 14 0,1-14 0,0 13 15,0-13-15,0 13 0,-14-13 16,14 13-16,0-13 15,-14 0-15,14 0 0,0 0 0,-1 0 16,1 0 0,0-13-1</inkml:trace>
  <inkml:trace contextRef="#ctx0" brushRef="#br0" timeOffset="118142.41">13229 582 0,'-40'53'47,"40"-40"-47,-13 14 15,53 79 32,-27-93-31,14-13-16,-14 0 15,0-13-15,14 13 0,-14 0 16,-13-14-16,13 14 0,0-13 0,0 0 16,-13 0-16,0-1 15,0 1-15,0 0 16,-13-14-16,0 14 15,0 0-15,0 0 16,-1 13-16,1-13 0,0 13 16,0-14-16,-1 14 0,1 0 0,0 0 15,0 0-15</inkml:trace>
  <inkml:trace contextRef="#ctx0" brushRef="#br0" timeOffset="118412.61">13692 542 0,'0'0'16,"13"-13"-16,1 26 15,-14 1 1,0-1-16,0 0 15,0 0-15,-14 1 0,14-1 0,0 0 16,-13 0-16,0 14 0,13-1 16,-13-13-16,13 1 0,-14-1 15,1 0-15,13 0 0,-13 1 0,0-1 16,13 0-16,-13-13 0,-1 13 16,14 0-16,-13-13 0</inkml:trace>
  <inkml:trace contextRef="#ctx0" brushRef="#br0" timeOffset="118587.55">13481 675 0,'0'-14'16,"0"-12"15,13 26-15,0 13-1,0-13-15,0 13 16,1-13-16</inkml:trace>
  <inkml:trace contextRef="#ctx0" brushRef="#br0" timeOffset="118745.44">13798 754 0,'13'13'16</inkml:trace>
  <inkml:trace contextRef="#ctx0" brushRef="#br0" timeOffset="123127.96">15981 1402 0,'-13'-13'47,"26"-27"-16,-13 27-15,-13 40 31,-27 26-16,27-40-31,-1 13 0,-12 1 16,0 26-16,12-40 15,-12 27-15,-27 26 47,79-80 0</inkml:trace>
  <inkml:trace contextRef="#ctx0" brushRef="#br0" timeOffset="123602.47">16192 1349 0,'-13'40'31,"13"-27"-15,0 1-16,0-1 0,-13 26 16,13-25-16,-13-1 15,13 13-15,-13 1 16,13-14-16,-14 0 0,14 1 0,0-1 15,-13 13-15,0-13 16,0 1 0</inkml:trace>
  <inkml:trace contextRef="#ctx0" brushRef="#br0" timeOffset="123902.65">15888 1521 0,'13'-13'0,"40"13"32,-39 0-32,12 0 15,-13 0 1,1 0-16,12 0 16,-13 0-16,0 0 0</inkml:trace>
  <inkml:trace contextRef="#ctx0" brushRef="#br0" timeOffset="124954.6">16087 1773 0,'0'26'31,"0"-13"1,0 14-32,13-14 15,-13 0-15,0 1 0,13 12 16,0-13-1,-13 0-15,14 1 16,12-1-16,-13-13 0,-13 13 16,13-13-16,1 0 0,12 0 15,-13 13-15,14-13 16,-1 0 0,14 0-16,-27 0 15,0 0-15,1-13 0,12 13 16,1 0-16,-14-13 15,27 13-15,-14-13 16,-13 13-16,14-14 16,-1 14-16,-13-13 15,14 0 1,-14 13-16,0 0 16,-13-13-16,14 13 15,-1 0 1,-13-13-16,13 13 15,0-14 1,0 14 0,-13-13-1,14 13-15,-14-13 47,13 13-16,-13-13 79</inkml:trace>
  <inkml:trace contextRef="#ctx0" brushRef="#br0" timeOffset="125806.75">16629 1733 0,'-13'0'15,"26"13"17,0-13-17,1 0-15,-1 0 16,53 13 31,-53-13-47,14 0 15,-14 14 1,0-14 15,-13 13-15,0 0-1,0 40 32,0-40-47,0 1 16,0-1-16,-13 0 0,13 0 16,0 0-1,0 1-15,0-1 16,-13 0-1,13 0 1,0 1 0,0-1 31</inkml:trace>
  <inkml:trace contextRef="#ctx0" brushRef="#br0" timeOffset="133772.57">12832 1482 0,'0'-14'0,"14"1"31,12 13-31,-26 13 0,13-13 0,0 0 16,1 0-16,-1 0 15,-13 14-15,13-14 0,0 13 0,-13 0 16,14-13-16,-14 13 0,0 14 15,-14-27-15,14 13 16,-13 0-16,0 1 0,-14 12 16,14-26-16,0 13 0,-13 0 15,26 1-15,-14-14 0,1 13 16,0 0 0,0-13-16,26 13 31,0 1-31,0-14 15,1 0-15,-1 0 16,-13 13-16,13-13 0,0 0 0,0 0 16,14 0-16,-14 0 15,14-13-15,-14 13 16,0 0-16,0 0 0,1-14 16,-1 14-16</inkml:trace>
  <inkml:trace contextRef="#ctx0" brushRef="#br0" timeOffset="134256.98">13494 1561 0,'-53'-13'31,"40"13"-31,-1 0 0,1 0 16,-13 0-16,12 13 0,1-13 15,0 0-15,0 13 0,0-13 16,-1 0-16,14 14 16,14-1-1,-1 0 1,0-13-16,-13 13 0,13-13 15,0 0-15,1 13 0,-1-13 16,0 14-16,0-14 16,-13 13-16,14-13 0,-1 13 15,-13 0-15,13-13 16,-26 14 0,0-1-16,-1 0 15,1-13-15,-13 13 0,12-13 0,-25 13 16,26 1-16,-1-14 15,-25 13-15,25-13 16,1 0-16,0 0 0,0 0 0,-1 0 16,1 0-1,26-13 1,1-1-16</inkml:trace>
  <inkml:trace contextRef="#ctx0" brushRef="#br0" timeOffset="134532.07">13613 1574 0,'13'0'31,"0"0"-15,0 14-16,-13 12 31,-13-13-31,13 14 16,0-14-16,-13 0 15,0 14-15,0-1 16,13-13 0,-14 0-16,1 1 0,0-1 15,0 0 1</inkml:trace>
  <inkml:trace contextRef="#ctx0" brushRef="#br0" timeOffset="134658.73">13520 1667 0,'0'0'15,"0"-13"1,13 13 0</inkml:trace>
  <inkml:trace contextRef="#ctx0" brushRef="#br0" timeOffset="134823.56">13692 1733 0,'0'13'16,"0"-26"-16,-13 39 47</inkml:trace>
  <inkml:trace contextRef="#ctx0" brushRef="#br0" timeOffset="137206.01">22595 2315 0,'27'0'109,"-27"-13"-93,13 13-1,-13-13-15,13 13 16,-13-14-16,0 1 16,0 0-1,-26 26 17,13 0-17,-1 1-15,1-1 16,13 0-16,-13-13 0,13 13 15,0 1-15,-13-1 16,26 0 0,0-13-1,0-13 1,1 13-16,-1-13 16,-13-1-16,13 14 0,-13-13 15,13 0-15,-13 0 16,14 13-16,-14-14 15,-27 28 17,14-14-17,13 13-15,-13-13 0,13 13 0,0 0 16,0 1 0,0-1-16,13-13 15,0 0 1,0-13-1,1-1 1,-14 1-16,13 13 0,-13-13 16,0 0-16,0-1 15,0 1 1,-93 93 62</inkml:trace>
  <inkml:trace contextRef="#ctx0" brushRef="#br0" timeOffset="137489.79">22728 2236 0,'-14'0'16,"14"13"-1,-13-13 1,13 13-16,0 0 16,0 1-16,13-1 15,-13 0 1,14-13 0,-1-26 15,-13 12-16,0 1-15,-13 0 16,-1 13 15</inkml:trace>
  <inkml:trace contextRef="#ctx0" brushRef="#br0" timeOffset="138403.82">22688 2249 0,'0'-13'15,"0"-1"1,0 1-16,0 0 15,-13 13 1,0 0 0,-1 13-16,1 0 15,0-13 1,13 14-16,-13-14 16,13 13-16,0 0 31,13-26 0,0 0-15,-13-1-1</inkml:trace>
  <inkml:trace contextRef="#ctx0" brushRef="#br0" timeOffset="142764.03">22013 159 0,'-13'0'0,"26"0"0,-26-13 0,0-1 31,13 1-31,13 13 16,-13-13-16,13 0 15,1 13 1,-1 0-16,0 0 16,0 0-16,-13 13 15,13-13-15,-13 13 16,14 0-16,-14 1 0,0-1 15,0 0-15,0 0 0,0 0 16,-14 14-16,14-14 16,-13 27-16,0-27 15,13 0-15,-13 1 0,0-1 0,13 0 0,-14 13 16,14-12-16,-13 12 16,0-13-16,13 1 15,0-1-15,0 13 16,13-26-16,-13 13 0,13-13 15,1 0 1,-1 0-16,0 0 16,0-13-16,0 0 15,-13 0 1,14 13-16,-14-13 16,-14 26 15,14 0-16,-13 0-15,13 14 0,0-14 16,0 0-16,-13 40 0,13-26 16,0-1-16,0 0 0,0 1 15,0 26-15,0-13 0,0-14 16,0 0-16,0 1 0,0 39 16,0-40-16,0-12 0,0 12 0,0 1 15,0-1-15,0 27 16,-13-27-16,13-12 0,-13 25 15,13-12-15,-27-1 0,27 1 16,-13-14-16,0 0 16,-1 0-16,1 1 0,0-14 0,0 13 15,0 0-15,-1 0 0,1-13 16,0 14-16</inkml:trace>
  <inkml:trace contextRef="#ctx0" brushRef="#br0" timeOffset="146752.51">20690 1945 0,'0'26'47,"0"-13"-47,-13 1 0,13-1 16,0 0-16,-13 0 0,13 1 0,-13-1 15,13 0-15,-13 0 0,-1 0 16,14 1-16,0-1 16,-13-13-16,13 13 0,-13 0 0,13 1 15</inkml:trace>
  <inkml:trace contextRef="#ctx0" brushRef="#br0" timeOffset="147128.37">20743 2037 0,'0'0'15,"14"0"-15,-1 0 16,0 0-16,-13 14 15,13-14-15,-13 13 16,0 0-16,-13 0 16,13 0-16,-13-13 0,0 14 15,-1-1-15,1-13 0,-13 26 16,12-26-16,1 14 0,0-14 16,13 13-16,-13-13 0,0 0 15,26 13 16,0-13-15,13 0 0,-26-13-16,14 13 0,-1 0 15,0 0-15,0 0 0,1 0 16</inkml:trace>
  <inkml:trace contextRef="#ctx0" brushRef="#br0" timeOffset="147302.26">20902 2130 0,'0'-13'32</inkml:trace>
  <inkml:trace contextRef="#ctx0" brushRef="#br0" timeOffset="147665.6">21127 2077 0,'-13'-13'31,"0"13"-31,-1 13 16,1-13-1,0 13 1,13 0 0,0 1-16,0-1 15,0 0 1,-13 0-1,13 1 1,-14-14 0,14 13-16,-13-13 0,13 13 15,-13-13-15,0 0 0,-1 13 0,1-13 16,0 0-16,13 13 0,-13-13 16,0 0-16</inkml:trace>
  <inkml:trace contextRef="#ctx0" brushRef="#br0" timeOffset="147899.35">21286 2090 0,'0'0'0,"13"0"15,0 13 1,-13 1-1,-13-14-15,13 13 16,0 0-16,0 0 0,-13 1 16,13-1-16,-27 0 15,-26 40 17,40-53-32</inkml:trace>
  <inkml:trace contextRef="#ctx0" brushRef="#br0" timeOffset="148049.76">21153 2183 0,'0'-13'0,"0"26"0</inkml:trace>
  <inkml:trace contextRef="#ctx0" brushRef="#br0" timeOffset="148186.4">21325 2196 0,'14'0'16,"-28"0"-16,41 0 31</inkml:trace>
  <inkml:trace contextRef="#ctx0" brushRef="#br0" timeOffset="152035.4">22185 3334 0,'0'-13'0,"0"39"47,-13-13-32,13 0-15,0 14 0,-13-14 16,13 0-16,-13 14 16,-1 12-16,1-12 0,13-14 15,-13 0-15,0 1 0,13 12 0,-14-13 16,14 1-16,0-1 0,-13 0 15,13 0-15,0 0 0,-13 1 16,26-41 31,-13 14-31,0 0-16,13 0 0,-13-1 0,14-12 15,-14 13-15,13-14 0,0-26 16,-13 40-16,13-13 0,-13 12 15,0-12-15,14 13 0,-14-1 0,0 1 16,0 0-16,0 0 0,13 0 16,-13 39 15,0-13-31,-13 0 16,13 14-16,0-1 0,-14-12 0,14 12 15,-13 0-15,13 1 0,0-14 0,-13 14 16,0-1-16,13 1 0,-14-14 15,14 0-15,0 0 0,-13 0 16,13 1-16,0-1 16,-13-13-16,26-27 47,-13 1-32,0 13-15,13 0 0,-13-27 16,0 13-16,14-12 15,-14 25-15,0 1 0,13 0 0,-13 0 16,0 0-16,0-1 0,0 1 16,0 0-1,13 13-15,-13-13 16,0 39 109,0-13-109,13-13-16,-13 14 15</inkml:trace>
  <inkml:trace contextRef="#ctx0" brushRef="#br0" timeOffset="153953.54">22622 3572 0,'0'-13'31,"0"-1"1,0 1-32,13 0 15,-13 0 1,0-1 0,0 1-16,-13 40 46,0-14-46,13 13 16,-14-12-16,14-1 0,-13 13 16,13-12-16,-13-1 0,0 13 15,13-13-15,-14 1 0,1 25 32,0-25-17,26-1 1,0-13-1,1 0-15</inkml:trace>
  <inkml:trace contextRef="#ctx0" brushRef="#br0" timeOffset="154364.37">22807 3559 0,'-13'13'31,"0"0"-15,13 0-16,0 1 0,-14-14 15,14 13-15,0 0 0,-13 0 16,13 0-16,0 1 16,-13-14-16,13 13 0</inkml:trace>
  <inkml:trace contextRef="#ctx0" brushRef="#br0" timeOffset="154595.42">22529 3625 0,'27'0'0,"-14"13"15,0-13-15,14 0 0,-14 13 16,0-13-16,0 0 0,1 0 16,-1 0-16</inkml:trace>
  <inkml:trace contextRef="#ctx0" brushRef="#br0" timeOffset="160927.32">19103 3387 0,'13'0'15,"0"0"1,14 0-16,-14 0 16,0 13-16,1-13 15,-14 13-15,13-13 0,-13 13 16,0 1 0,0-1-16,-13 0 0,-1 0 15,1 0-15,0 1 0,0-1 0,-14-13 16,27 13-16,-13-13 0,0 13 0,-1-13 15,1 14-15,0-14 16,26 13 15,0-13-15,1 13-16,-1-13 0,0 0 16,0 0-16,1 13 0,-1-13 15,0 0-15,-13 14 16,13-14-16,1 13 15,-28 0 1,1 0 0,0-13-16,0 0 0,13 13 15,-14-13-15,1 0 0,0 0 16,0 14-16,-1-14 0,1 0 16,0 0-1</inkml:trace>
  <inkml:trace contextRef="#ctx0" brushRef="#br0" timeOffset="161390.51">19328 3612 0</inkml:trace>
  <inkml:trace contextRef="#ctx0" brushRef="#br0" timeOffset="162155.31">19553 3479 0,'0'-13'0,"13"13"31,-13 13 0,0 0-31,0 1 16,0-1-16,-13-13 0,13 13 15,0 0-15,0 1 0,0-1 16,0 0 0,-14 0-16,14 1 0,0-1 15,0 0-15,0 0 16,0 0 0,14-13-1</inkml:trace>
  <inkml:trace contextRef="#ctx0" brushRef="#br0" timeOffset="162445.6">20069 3440 0,'0'26'47,"-14"-13"-47,14 0 0,-13-13 15,13 14-15,-13-1 0,13 0 16,-13 0-16,-1 1 0,1-1 0,0 0 16,0 14-16,0-14 15,-1-13-15,1 13 16,13 0-16,-13-13 0,13 13 15,-13-13-15</inkml:trace>
  <inkml:trace contextRef="#ctx0" brushRef="#br0" timeOffset="162610.74">19870 3585 0,'0'-13'0,"27"13"31</inkml:trace>
  <inkml:trace contextRef="#ctx0" brushRef="#br0" timeOffset="162743.72">20082 3651 0,'0'0'0,"13"0"16</inkml:trace>
  <inkml:trace contextRef="#ctx0" brushRef="#br0" timeOffset="171447.46">11562 2778 0,'225'27'32,"-172"-27"-32,-13 0 0,13 13 15,-14-13-15,14 0 0,-13 13 16,0-13-16,-1 0 0,1 0 0,-13 0 16,12 13-16,-12-13 0,-1 0 0,1 0 15,-14 0-15,13 0 0,-13 0 16,1 14-16,-1-14 0,0 0 15,0 0-15,1 0 0,-1 0 16,0 0-16,0 0 16,1 0-16,-1 13 31,0-13-15,-39-13 171</inkml:trace>
  <inkml:trace contextRef="#ctx0" brushRef="#br0" timeOffset="172563.2">14579 2699 0,'-14'-13'16,"28"26"-16,-41-26 0,54 26 47,-14-13-31,13 0-16,-13 0 0,14 13 0,-1-13 15,14 0-15,-13 13 0,12-13 16,1 0-16,-14 13 0,14-13 0,-14 0 15,14 0-15,-13 14 0,-1-14 0,1 0 16,-1 0-16,-13 0 0,14 0 16,-14 13-16,0-13 0,0 0 0,1 0 15,-1 0-15,0 0 0,0 0 16,1 0 0,-1 0-1,0 0 1,0 0 15,-39 0 16,13 0-31,-1 0-1</inkml:trace>
  <inkml:trace contextRef="#ctx0" brushRef="#br0" timeOffset="173250.94">16669 2752 0,'92'0'15,"-78"0"1,12 0-16,-13 0 0,1 0 16,-1 0-16,0 0 0,0 0 0,0 0 15,1 0-15,-1 0 0,0 0 0,0 13 16,1-13 0,-41-13 30,14 13-30,-14 0-16,14 0 16,0 0-16</inkml:trace>
  <inkml:trace contextRef="#ctx0" brushRef="#br0" timeOffset="173973.36">19103 2805 0,'40'-14'31,"-14"14"-15,-13 0-16,1 14 0,12-14 16,-13 0-16,14 0 0,-1 0 0,-13 0 15,14 0-15,-14 0 0,0 0 0,1 0 16,-1 0-16,0 13 15,0-13-15,0 0 0,-39-13 32,0 13-17,12 0-15,1-14 0,-13 14 0,12 0 16,1 0-16,0-13 0,0 13 16,-1 0-16,1 0 0,0 0 0,0-13 15,52 26 32,-25 0-47,-1-13 16,0 0-16</inkml:trace>
  <inkml:trace contextRef="#ctx0" brushRef="#br0" timeOffset="175151.43">1482 3466 0,'-14'0'0,"1"0"31,40 0-15,-1 0-16,-13 0 0,27 13 15,0-13-15,13 0 0,-14 0 16,14 13-16,13-13 0,-13 0 0,13 0 16,-13 0-16,14 0 0,-15 0 0,1 0 15,0 14-15,0-14 0,0 0 16,-13 0-16,13 0 0,-27 0 15,-13 0-15,14 0 0,-14 0 0,0 0 16,1 0-16,-1 0 16,0 0-16,0 0 15,0 0-15,1 0 0,-1 0 16,13 0-16,-12-14 0,12 14 0,1 0 16,-14-13-16</inkml:trace>
  <inkml:trace contextRef="#ctx0" brushRef="#br0" timeOffset="175921.38">3585 2871 0,'13'-27'32,"1"41"-1,-14-1-31,0 13 0,0-13 0,0 14 15,0-1-15,0 1 0,0-1 0,0 14 16,0 13-16,-14 66 16,14-93-16,-13 14 15,13-13-15,0-14 0,0 13 0,-13 14 16,13-27-16,0 0 0,0 1 16,0-1-16,0 0 0,0 0 15</inkml:trace>
  <inkml:trace contextRef="#ctx0" brushRef="#br0" timeOffset="179348.33">3506 2805 0,'13'-14'0,"13"14"16,-12 0-16,-1-13 15,0 13-15,14 13 16,-14-13-16,0 0 0,13 0 15,-12 0-15,12 0 0,-13 0 0,14 0 16,-1 0-16,1 0 0,-1 0 16,1 0-16,-1 0 0,14 0 0,0 0 15,-14-13-15,14 13 0,-1 0 16,1 0-16,13 0 0,-13 0 16,13 0-16,-14 0 0,1-13 0,0 13 15,-1 0-15,14 0 0,-13 0 0,0 0 16,-14 0-16,27 0 0,-13 0 15,13 0-15,-14 0 0,1-13 0,0 13 16,-1 0-16,1 0 0,13 0 16,-13 0-16,13-14 0,-14 14 15,14 0-15,-13 0 0,0-13 0,26 13 16,-27 0-16,-12 0 0,-1 0 16,1 0-16,-1 0 0,1 0 0,-1 0 15,1 0-15,-1-13 0,-13 13 0,14 0 16,-1 0-16,1 0 0,-1 0 15,-13 0-15,14 0 0,-1 0 16,1 0-16,-14 0 0,13 0 0,-12 0 16,12 0-16,1 0 0,-14 0 0,13 0 15,-13 0-15,1-13 0,12 13 16,-13 0-16,1 0 0,12 0 0,-13 0 16,0 0-16,14 0 0,-14 0 0,14 0 15,-14 0-15,0 0 0,14 0 16,-14 0-16,13 0 0,-13 0 0,14 0 15,-14 0-15,14 0 0,-1 0 16,-13 0-16,1 0 0,12 0 0,-13 0 16,0 0-16,1 0 0,12 0 15,-13 0-15,1 0 0,12 0 0,-13-13 16,1 13-16,-1 0 0,0 0 0,13 0 16,-12 0-16,-1 0 0,0 0 15,0 0-15,1 0 0,-1 0 0,0 0 16,0 0-16,1 0 0,-1 0 15,0 0-15,0 0 0,0 0 16,1 0-16,-1 0 0,0 0 16,0-14-16,1 14 0,-1 0 15,0 0-15,13 0 16,-12 0 0,-1 0-16,0 0 15,0 0-15,1 0 16,-1 14 15,-13-1-15,0 0-1,0 0-15,13 0 0,-13 1 16,0-1-16,0 0 0,0 0 0,0 1 16,0-1-16,0 13 0,0-12 0,0 12 15,0-13-15,0 14 0,-13-1 0,26-13 16,-13 14-16,0-14 0,0 13 15,0 1-15,0-14 0,0 0 16,0 14-16,13-14 0,-13 14 0,0-14 16,14 0-16,-14 0 0,0 14 0,0-14 15,13 0-15,-13 0 0,0 1 16,0-1-16,0 0 0,13 0 0,-13 1 16,0-1-16,0 0 0,0 0 0,0 0 15,0 1-15,13-1 16,-13 0-16,0 0 15,-13 1 1,13-1 0,-13-13-1,0 0-15,-14 0 16,14 0-16,-14 0 16,14 0-16,-13 0 0,-1 0 15,1 0-15,-1 0 0,-12 13 0,12-13 16,-26 0-16,14 0 0,-14 0 0,0 0 15,0 0-15,13 13 0,-13-13 16,14 0-16,-1 0 0,0 0 0,-26 0 16,40 0-16,-14 13 0,-26-13 15,26 0-15,14 0 16,-14 0-16,13 0 0,-12 0 0,12 0 16,-12 0-16,12 0 0,-13 0 15,1 0-15,12 0 0,-12 0 0,12 0 16,-13 0-16,14 0 0,0 0 15,-14 0-15,13 0 0,1 0 0,-14 0 16,14 0-16,-1 0 0,-12 0 16,12 0-16,-12 0 0,12 0 0,-13-13 15,1 13-15,12 0 0,-12 0 16,-14 0-16,13 0 0,13 0 0,-39 0 16,27 0-16,12 0 0,1 0 15,-14 0-15,14 0 0,-1 0 16,14-13-16,-14 13 0,1 0 0,0 0 15,-1-13-15,14 13 0,-14 0 0,14 0 16,-13 0-16,-1-13 0,14 13 16,-13 0-16,12 0 0,-12 0 0,-1 0 15,14-14-15,-13 14 0,12 0 0,1 0 16,-13 0-16,13 0 0,-14-13 16,14 13-16,0 0 0,-1 0 0,-12 0 15,13 0-15,0 0 0,-1 0 0,1-13 16,0 13-16,-14 0 0,14 0 15,0 0-15,0 0 0,-1 0 16,-12-13-16,13 13 0,0 0 16,-1 0-16,1 0 15,0 0-15,0 0 0,-1 0 16,1 0-16,0 0 0,-14 0 16,14 0-16,-13 0 15,13 0 1,-14 0-16,14 0 15,0 0-15,-1 0 16,1 0-16,0-14 16,0 14-16,-1 0 15,1 0-15,0 0 16,0 0 0,0 0-16,-1 0 15,1 0 1,0 0-16,0 0 0,-1 0 15,1 0-15,0-13 16,0 13-16,-1 0 16,1 0-1,0 0 17,0 0-17,0 0 48,13-13 1296</inkml:trace>
  <inkml:trace contextRef="#ctx0" brushRef="#br0" timeOffset="182527.36">16007 781 0</inkml:trace>
  <inkml:trace contextRef="#ctx0" brushRef="#br0" timeOffset="185430.1">15941 516 0</inkml:trace>
  <inkml:trace contextRef="#ctx0" brushRef="#br0" timeOffset="185760.45">15928 476 0,'0'27'47,"0"-14"-47,0 0 15,-13 0-15,13 1 0,0-1 16,0 0-16,0 0 0,-14 1 0,14-1 15,0 0-15,-13 0 0,13 0 16,0 1-16,0-1 0,-13 0 16,13 0-16,0 1 0,0-1 15,-13-13 1</inkml:trace>
  <inkml:trace contextRef="#ctx0" brushRef="#br0" timeOffset="186031.48">15901 648 0,'14'0'16,"-1"0"-16,-13-13 15,13 13-15,0 0 16,1 0-16,-1 0 16,0 0-16</inkml:trace>
  <inkml:trace contextRef="#ctx0" brushRef="#br0" timeOffset="186313.68">16100 503 0,'0'26'31,"0"-13"-31,0 1 16,0-1-16,-13 0 0,13 0 16,0 1-16,0-1 15,0 0-15,0 0 16,0 0-16,0 1 0</inkml:trace>
  <inkml:trace contextRef="#ctx0" brushRef="#br0" timeOffset="187439.06">15081 1852 0</inkml:trace>
  <inkml:trace contextRef="#ctx0" brushRef="#br0" timeOffset="188241.18">15796 1508 0,'0'-26'63,"13"26"-63,-13-14 15,0 1 1,13 13-16,-13-13 0,13 13 15,-13-13 1,14 13 0</inkml:trace>
  <inkml:trace contextRef="#ctx0" brushRef="#br0" timeOffset="189359.8">15822 1482 0,'27'-14'0,"-14"1"0,0 0 16,-13 0-16,13 0 16,0-1-16,-13 1 15,14-13-15,-14 12 0,0 1 16,13-13-16,-13 12 15,13 14-15,-13-13 16,0 0-16,-13 39 31,13-12-15,-13 12-16,13-13 0,-27 27 16,14-13-16,13-14 0,-13 13 15,0-13-15,-1 14 0,1-1 16,13 1-16,-13-14 0,0 0 15,13 1-15,-14-1 0,14 0 16,0 0-16,-13-13 16,40-26 31,-27 13-47,13-1 0,-13 1 0,13 0 15,14-27-15,-27 14 16,13 12-16,0-12 0,-13 0 0,13 12 15,0-12-15,-13-1 0,14 14 16,-14 0-16,13 0 0,-13-1 0,0 1 0,13 0 16,-13 0-16,0 39 31,-13-13-15,13 1-16,0 12 0,-13-13 15,13 1-15,-14 12 0,1 1 0,13-14 16,-13 13-16,0-13 0,0 14 15,-1-1-15,14-12 0,-13-1 16,0 0-16,13 0 16,-13 1-16</inkml:trace>
  <inkml:trace contextRef="#ctx0" brushRef="#br0" timeOffset="190040.33">16153 1283 0,'0'13'31,"0"1"-31,0-1 16,0 0-16,0 0 0,0 1 15,0-1-15,0 0 0,0 0 16,-13 1-16,13-1 0,0 0 0,0 0 15,0 0-15,0 1 16,-14-1-16,14 0 0,0 0 0,0 1 16,0-1-16,-13 0 0,13 0 15,0 1-15,-13-1 16,13 0 0,-13 0-1</inkml:trace>
  <inkml:trace contextRef="#ctx0" brushRef="#br0" timeOffset="190667.47">15915 1455 0,'26'0'31,"-13"0"-31,1 0 15,-1 0-15,0 13 0,0-13 16,1 0-16,-1 0 16,0 0-16,0 0 0,0 14 15,-39-14 48,13 0-63,0 0 15,-1 0-15,1 0 0,0 0 0,0 0 16,-1 0-16,-12 0 16,13 0-1,-1 0 1,41 0 15,-14 0-31,0 13 0,1-13 16,-1 0-1,0 0-15,0 0 32</inkml:trace>
  <inkml:trace contextRef="#ctx0" brushRef="#br0" timeOffset="193225.48">16960 1442 0,'0'26'94,"-13"-26"-78,13 14-16,0-1 0,0 0 15,-14 0-15,14 1 16,0-1-16,-13 0 15,13 0-15,0 1 16,0-1-16,-13-13 16,13 13-16,0-39 78,0-1-63,0 14-15,0 0 16,0-1-16,0 1 0,0 0 16,0 0-16,0-1 15,0 1-15,0 0 16,0 0-16,0 0 16,0 26 46,0 0-46,-13 0-16</inkml:trace>
  <inkml:trace contextRef="#ctx0" brushRef="#br0" timeOffset="195499.2">14446 1720 0</inkml:trace>
  <inkml:trace contextRef="#ctx0" brushRef="#br0" timeOffset="197509.67">22873 2275 0,'13'-13'31,"-13"0"-15,14 0-1,-14-1 1,13 14-1,-13-13-15,13 0 16,-13 0 0,-13 52 31,13-25-47,-13-14 15,13 13-15,0 0 0,-14-13 16,14 13-16,-13 1 0,13-1 0,-13 0 15,0 0 1,13 1-16,-13-14 0,13 13 16,-14-13-16,14 13 15</inkml:trace>
  <inkml:trace contextRef="#ctx0" brushRef="#br0" timeOffset="197923.48">23058 2222 0,'-26'40'16,"13"-27"0,13 1-16,-13-14 15,13 13-15,-14 0 0,14 0 16,-13-13-16,13 14 16,-13-1-1</inkml:trace>
  <inkml:trace contextRef="#ctx0" brushRef="#br0" timeOffset="198171.15">22886 2262 0,'27'0'47,"-14"0"-47,0 0 16,1 0-16,-1 13 15,0-13-15</inkml:trace>
  <inkml:trace contextRef="#ctx0" brushRef="#br0" timeOffset="200607.67">23641 2461 0</inkml:trace>
  <inkml:trace contextRef="#ctx0" brushRef="#br0" timeOffset="201927.21">21749 3453 0,'0'-13'32,"0"-1"-1,0 41 31,-13-14-46,13 0-16,0 0 16,-14 1-1,14-1-15,0 0 0,-13-13 0,13 13 16,0 14-16,-13-14 0,13 0 15,-13 1-15,13-1 16,0 0-16,-14 0 16,14 0 15,0 1-15</inkml:trace>
  <inkml:trace contextRef="#ctx0" brushRef="#br0" timeOffset="202312.12">21855 3453 0,'0'26'31,"0"-13"-31,0 1 0,-14-1 16,14 0-16,0 0 15,0 1-15,0-1 16,0 0-16,0 0 0,0 1 16,0-1-1,0 0-15,-13-13 16,13 13 0,0 0-16,-13 1 46</inkml:trace>
  <inkml:trace contextRef="#ctx0" brushRef="#br0" timeOffset="202634.5">21669 3625 0,'14'0'31,"-1"0"-31,0 0 16,0 0-1,1 0-15,-1 0 16,0 0-1,0 0-15,0 0 16,1 0 15,-1 0-15</inkml:trace>
  <inkml:trace contextRef="#ctx0" brushRef="#br0" timeOffset="203096.08">22119 3519 0,'-13'53'31,"13"-40"-31,0 0 0,-13-13 16,13 14-16,0-1 0,0 0 15,-14 0-15,14 0 16,0 1-16,0-1 31</inkml:trace>
  <inkml:trace contextRef="#ctx0" brushRef="#br0" timeOffset="204217.34">22688 3479 0,'0'40'47,"0"-27"-47,-13 0 16,13 1-16,0-1 0,-13 0 15,13 0-15,-14 1 16,14-1-16,-13 0 0,13 0 0,0 0 15,-13-13-15,13 14 16,-13-1-16</inkml:trace>
  <inkml:trace contextRef="#ctx0" brushRef="#br0" timeOffset="213820.05">9128 4233 0,'66'0'16,"-39"0"-16,26 0 0,0 0 16,-1 0-16,1 0 0,14 0 15,-1 0-15,13 0 0,0 0 16,-26 0-16,13 0 0,-13 0 0,14 0 16,-15 0-16,1-13 0,-13 13 15,-13 0-15,12 0 0,-26 0 0,14 0 16,-14 0-16,0 0 0,1 0 15,-1 0-15</inkml:trace>
  <inkml:trace contextRef="#ctx0" brushRef="#br0" timeOffset="214106.09">9300 4299 0,'-13'0'15,"26"0"-15,-39 0 0,52 14 16,-13-14-16,14 0 16,-1 0-16,1 13 0,12-13 0,1 0 15,13 0-15,13 0 0,-13 0 0,0 0 16,0 0-16,0 0 0,0 0 16,0 0-16,-14 0 0,-12 0 0,-1 0 15,1 0-15,-1 0 0,-13 0 0,1 0 16,12 0-16,-13 0 0,1 0 15,-1 0-15,0 0 0,0 0 16,0 0 0,1 13-16,-1-13 15</inkml:trace>
  <inkml:trace contextRef="#ctx0" brushRef="#br0" timeOffset="-214233.42">16206 4379 0,'0'0'0,"26"13"16,1-13 0,-1 0-16,27 0 0,53 13 15,-53-13-15,13 0 0,0 14 16,13-14-16,-12 0 0,12 0 0,-13 0 15,13 13-15,-26-13 0,0 0 16,0 0-16,0 0 0,-13 0 16,0 13-16,-14-13 0,0 0 0,1 0 0,-14 0 15,14 0-15,-14 0 0,0 0 16</inkml:trace>
  <inkml:trace contextRef="#ctx0" brushRef="#br0" timeOffset="-213971.49">16338 4471 0,'40'0'16,"-27"14"-16,212-1 15,-172-13 1,0 0-16,13 13 0,-13-13 0,0 0 15,0 0-15,-1 0 0,1 0 16,-26 13-16,13-13 0,-14 0 0,0 0 16,-12 0-16,-1 0 0,13 0 0,-12 0 15,-1 0-15,0 0 0,0 0 16,1-13-16,-1 13 16,-13-13-16</inkml:trace>
  <inkml:trace contextRef="#ctx0" brushRef="#br0" timeOffset="-210730.81">18468 847 0,'-27'13'16,"27"0"-1,0 0-15,0 1 0,-13-1 16,13 0-16,0 0 0,-13 0 16,13 1-16,-13-1 15,13 0-15,0 0 0,0 1 0,-13-14 16,13 13-16</inkml:trace>
  <inkml:trace contextRef="#ctx0" brushRef="#br0" timeOffset="-210423.28">18402 820 0,'0'0'0,"0"-13"0,13 0 0,-13 0 15,13 13 1,0-14-16,1 14 16,-1 14-1,0-14 1,-13 13-16,-13 0 16,13 0-16,-13-13 0,13 13 0,-14 1 15,1-1-15,0-13 16,0 13-16,0 0 0,13 1 15,-14-14-15</inkml:trace>
  <inkml:trace contextRef="#ctx0" brushRef="#br0" timeOffset="-209030.72">19632 807 0,'0'0'0,"13"0"0,-13 13 16,0 0-1,0 1-15,0-1 0,0 0 16,0 0-16,0 1 0,-13-1 16,13 13-16,0-13 0,-13 1 0,13-1 15,0 0-15,0 0 16,-13 1-16,13-1 0,0 0 15,0 0-15</inkml:trace>
  <inkml:trace contextRef="#ctx0" brushRef="#br0" timeOffset="-208713.5">19672 767 0,'0'0'16,"0"-13"-16,13 13 0,0-13 16,0 13-16,1 0 15,-1 13-15,0-13 0,0 13 16,-13 1-16,14-14 0,-14 13 15,0 0-15,13 0 16,-26 0-16,13 1 0,0-1 16,-14-13-16,14 13 0,-13 0 0,13 1 15,-13-14-15,0 13 0,13 0 0,-14-13 0,1 13 16,0 0 0</inkml:trace>
  <inkml:trace contextRef="#ctx0" brushRef="#br0" timeOffset="-208416.73">19963 741 0,'0'0'16,"-13"26"-1,-1-26-15,14 14 16,-13-1-16,0 13 0,0-13 16,-1 1-16,14 12 0,-13-13 0,0 14 15,0-14-15,13 0 0,-13 0 16,13 1-16,-14-1 0,14 0 16,0 0-16,0 1 0,0-1 0,14 0 15,-14 0 1,13-13-16,0 14 0,0-14 15,0 0-15</inkml:trace>
  <inkml:trace contextRef="#ctx0" brushRef="#br0" timeOffset="-208209.66">20082 900 0,'0'0'16,"-13"13"31,13 0-47,0 0 0,-14-13 0,14 13 15,-13 1-15,13-1 16,-13 0-16,13 0 16,0 1-16</inkml:trace>
  <inkml:trace contextRef="#ctx0" brushRef="#br0" timeOffset="-207991.2">20214 900 0,'13'0'16,"-26"0"-16,26-14 0,-13 41 47,0-14-47,0 0 15,0 0-15,-13 1 16,13-1-16,0 0 16,-13 0-16,13 1 0,0-1 15,-13 0-15,13 0 0,-14 1 16</inkml:trace>
  <inkml:trace contextRef="#ctx0" brushRef="#br0" timeOffset="-207811.35">20108 1019 0,'0'-14'0,"14"14"31,-1 0-15,0 0-1,0 0-15,0 0 16,1 0-16,-1 0 15</inkml:trace>
  <inkml:trace contextRef="#ctx0" brushRef="#br0" timeOffset="-207531.43">20307 728 0,'0'0'15,"0"-14"-15,13 14 0,0 14 16,0-14-16,-13 13 0,14 0 0,-1 0 16,53 93-1,-53-79 1,-13-14-16,0 26 16,0-12-16,-13-14 15,13 14-15,-26-1 0,-14 27 16,13-40-16,1 14 0,13-1 0,-14-13 15,14 1-15,-13-1 0,12 0 0,1-13 16,-13 13-16,12-13 0</inkml:trace>
  <inkml:trace contextRef="#ctx0" brushRef="#br0" timeOffset="-206238.7">23680 966 0,'-13'0'0,"13"13"31,-13 0-31,13 0 15,0 14 1,-13-14-16,13 0 0,0 1 0,0-1 16,-14 0-16,14 0 0,0 0 15,-13 1-15,13-1 0,0 0 16,0 0-16</inkml:trace>
  <inkml:trace contextRef="#ctx0" brushRef="#br0" timeOffset="-205931.46">23693 913 0,'14'0'15,"-28"0"-15,41 0 0,-14 0 16,0 0-16,1 13 0,-1-13 16,0 13-16,-13 0 15,13-13-15,-13 14 16,-13-1-16,13 0 0,-13 0 16,0-13-16,13 14 0,-14-1 15,1-13-15,0 13 0,0-13 16,-1 13-16,1-13 15</inkml:trace>
  <inkml:trace contextRef="#ctx0" brushRef="#br0" timeOffset="-205645.56">24024 873 0,'0'27'16,"-13"-27"0,13 13-16,-13 0 0,13 0 0,-14 0 0,1 1 15,13-1-15,-13 0 16,13 14-16,-13-14 0,13 0 16,0 0-16,-13 1 0,13-1 0,0 0 15,0 0-15,0 0 0,0 1 16,0-1-16,13 0 15,0 0-15,0 1 16,0-14 0</inkml:trace>
  <inkml:trace contextRef="#ctx0" brushRef="#br0" timeOffset="-205210.3">24143 1019 0,'13'-14'16,"-13"41"31,0-14-47,-13-13 0,13 13 15,0 1-15,-13-1 16,13 0-16,0 0 0,0 0 0,-13 1 16,13-1-16,0 0 15,0 0-15,0 1 16,-13-14-16,13 13 15,0 0 1,13-13 47</inkml:trace>
  <inkml:trace contextRef="#ctx0" brushRef="#br0" timeOffset="-205015.29">24117 1138 0,'13'-14'16,"0"14"-16,0 0 15,1 0 1,-1 0 0,0 0-16,0 0 15</inkml:trace>
  <inkml:trace contextRef="#ctx0" brushRef="#br0" timeOffset="-204909.7">24143 1058 0,'0'0'0</inkml:trace>
  <inkml:trace contextRef="#ctx0" brushRef="#br0" timeOffset="-204752.34">24262 926 0,'14'0'0</inkml:trace>
  <inkml:trace contextRef="#ctx0" brushRef="#br0" timeOffset="-204486.57">24077 1230 0,'13'14'15,"1"-14"1,-1 0-16,0 0 0,0 0 16,0 0-16,1 0 0,-1 0 15,0 0-15,0-14 16,1 14-16,-1 0 0</inkml:trace>
  <inkml:trace contextRef="#ctx0" brushRef="#br0" timeOffset="-203982.67">24487 754 0,'0'0'0,"27"27"0,-27-14 0,13-13 15,0 13-15,-13 0 16,13 14-16,-13-14 0,14 0 15,-14 0-15,13 14 0,-13-1 0,0-13 16,13 1-16,-13 12 0,0-13 0,0 14 16,0-14-16,-13 14 0,13-14 0,0 13 15,-13-13-15,-1 14 0,1-14 0,0 0 16,0 14-16,-1-14 0,1-13 16</inkml:trace>
  <inkml:trace contextRef="#ctx0" brushRef="#br0" timeOffset="-203261.26">22595 992 0,'-13'13'16,"13"1"-16,-13-14 0,13 13 15,0 0-15,-13 0 0,13 1 0,0-1 16,-14 0-16,14 0 0,0 14 0,0-14 15,0 0-15,-13 0 0,13 1 16,0-1-16,0 0 0,0 0 16,13 1-16,-13-1 0</inkml:trace>
  <inkml:trace contextRef="#ctx0" brushRef="#br0" timeOffset="-202998.88">22622 992 0,'13'-26'0,"-26"52"0,39-52 16,-12 26-16,-1 13 16,0 0-1,-13 0 1,0 1-16,0-1 0,0 0 15,-13 0-15,13 1 0,-13-1 16,-1 0-16,14 0 0,-13 0 16,0 1-16,0-1 0,-1-13 15,14 13-15,-13-13 0,13 13 16</inkml:trace>
  <inkml:trace contextRef="#ctx0" brushRef="#br0" timeOffset="-202765.74">22834 939 0,'-14'13'16,"1"1"0,13-1-16,-13 0 0,13 0 15,0 1-15,-13 25 0,-1-25 16,14-1-16,0 26 0,-13-25 15,13-1-15,0 13 0,0 1 16,0-14-16,0 0 16,13 1-16,-13-1 0</inkml:trace>
  <inkml:trace contextRef="#ctx0" brushRef="#br0" timeOffset="-202545.54">22992 1032 0,'0'-13'0,"0"39"31,0-13-31,-13 1 16,13-1-16,0 0 0,-13 0 0,13 0 15,0 1-15,-13-1 0,13 0 0,-14 0 16,14 1-16,0-1 15,-13 0-15,13 0 0,-13 1 16</inkml:trace>
  <inkml:trace contextRef="#ctx0" brushRef="#br0" timeOffset="-202352.76">23098 1072 0,'13'-14'16,"-26"28"-16,26-1 47,-26 0-47,13 0 0,0 0 15,-13 1-15,13 12 0,-13-13 16,13 1-16,0-1 0,-14 0 0,14 0 16,-13-13-16</inkml:trace>
  <inkml:trace contextRef="#ctx0" brushRef="#br0" timeOffset="-202202.53">22926 1204 0,'27'0'31</inkml:trace>
  <inkml:trace contextRef="#ctx0" brushRef="#br0" timeOffset="-201910.62">23125 886 0,'13'27'15,"13"12"1,-26-12-16,0-1 0,14 1 0,-14-14 16,0 14-16,0-1 0,0 0 15,0 1-15,0-1 0,0 1 0,-14-1 16,1 1-16,0-1 0,0 1 15,-14-1-15,14 1 0,-14-1 0,14 1 16,0-14-16,-13 13 0</inkml:trace>
  <inkml:trace contextRef="#ctx0" brushRef="#br0" timeOffset="-190810.34">11615 6945 0,'13'0'0,"1"0"0,-1 0 0,13 0 16,-12 14-16,12-14 0,1 0 16,-1 0-16,27 13 0,-13-13 0,12 0 15,1 13-15,0-13 0,0 0 0,0 0 16,0 13-16,13-13 0,14 13 15,-14-13-15,0 14 0,13-14 16,-26 0-16,0 13 0,0-13 0,0 0 16,0 13-16,-13-13 0,-1 0 15,1 0-15,-14 13 0,1-13 0,-1 0 16,1 0-16,-14 0 0,0 0 0,0 14 16,1-14-16,-1 0 0,0 0 15</inkml:trace>
  <inkml:trace contextRef="#ctx0" brushRef="#br0" timeOffset="-190149.75">11814 7131 0,'132'0'31,"-92"13"-31,13-13 0,-1 0 16,-12 0-16,13 0 0,0 13 0,0-13 15,0 0-15,0 0 0,0 0 0,0 0 16,-1 0-16,-12 13 0,0-13 16,0 0-16,-14 0 0,0 0 0,1 0 15,-14 0-15,14 0 0,-14 0 0,0 0 16,0 0-16,1 0 0,-1 0 16,0 0-16,-13 13 0,26-13 15,-12 0 1,-1 0-16,0 0 15,0 0 32,1 0 0</inkml:trace>
  <inkml:trace contextRef="#ctx0" brushRef="#br0" timeOffset="-187833.78">15968 6959 0,'79'0'15,"-53"0"-15,27 0 0,371 0 32,-332 0-32,-12 0 15,-1 0-15,14 0 0,-14 0 0,-13 0 16,0 0-16,0 0 0,-13 0 0,0 0 15,0 0-15,-13 0 0,0 0 16,-1 0-16,-12 0 0,-1 13 0,1-13 16,-14 0-16,13 0 0,-12 0 15,-1 0-15,0 0 0,0 0 16</inkml:trace>
  <inkml:trace contextRef="#ctx0" brushRef="#br0" timeOffset="-187449.75">16748 7117 0,'225'0'31,"-199"0"-31,14 0 16,0 0-16,-14 0 0,14 0 0,-14 0 15,14 0-15,-27 0 0,14 0 0,-1 0 16,1 0-16,-14 0 0,13 0 15,-12 0-15,-1 0 0,0 14 0,0-14 16,1 0-16,-1 0 16,0 0-16,0 0 15,0 0-15,1 0 32,-1 0-32,0 0 15</inkml:trace>
  <inkml:trace contextRef="#ctx0" brushRef="#br0" timeOffset="-184518.6">5966 7541 0,'331'0'16,"-278"0"0,0 0-16,13 0 0,-13 0 0,0 0 15,0 0-15,0 0 16,0 0-16,-14 0 0,14 0 0,-13 0 15,-14 13-15,1-13 0,39 0 16,-40 0-16,-12 0 0,12 13 0,-13-13 16,1 0-16</inkml:trace>
  <inkml:trace contextRef="#ctx0" brushRef="#br0" timeOffset="-184035.96">5900 7633 0,'-13'0'16,"26"0"-16,14 0 31,-1 0-31,1-13 0,-1 13 16,27 0-16,0 0 0,0 0 0,0-13 15,13 13-15,-13 0 0,0 0 0,13 0 16,-13 0-16,0 0 0,0 0 0,0 0 16,-1 0-16,1 0 0,-13 0 15,0 0-15,-14 0 0,14 0 0,-14 0 16,1 0-16,-1 0 0,1 0 15,-1 0-15,-13 0 0,1 0 0,-1 0 16,0 0-16,0 0 0,1 0 0,-1 0 16,0 0-16,0 0 15,0 0 1,1 0 31,-1 0-16</inkml:trace>
  <inkml:trace contextRef="#ctx0" brushRef="#br0" timeOffset="-179406.55">9591 7329 0,'40'-13'31,"-27"13"-15,0 0-16,1 0 16,-1 0-16,0 0 0,0 0 0,0 13 15,1-13-15,-1 0 0,0 0 16,0 0-16,1 0 15,-1 13 1</inkml:trace>
  <inkml:trace contextRef="#ctx0" brushRef="#br0" timeOffset="-179030.79">9763 7250 0,'13'-14'31,"1"14"-15,-1 14-16,0-14 15,0 0-15,0 13 0,14 0 16,-14-13-16,0 13 0,14 0 16,-14 1-1,0-1-15,-13 0 0,0 0 16,0 1-16,0-1 16,-13 0-16,13 0 15,-13 1-15,13-1 16,-13 0-16,13 0 15,0 0 17</inkml:trace>
  <inkml:trace contextRef="#ctx0" brushRef="#br0" timeOffset="-178778.73">10213 7355 0,'13'27'47,"-26"-14"-47,13 0 16,0 1-16,0-1 0,0 0 15,-13 0-15,13 0 0,-14 1 16,14-1-16,0 0 0,0 0 0,-13 1 15,13-1-15,0 0 16,0 0 0</inkml:trace>
  <inkml:trace contextRef="#ctx0" brushRef="#br0" timeOffset="-178383.03">10345 7382 0,'0'0'16,"27"13"-1,-14 0 1,-13 14-16,-13-27 15,13 13-15,-14 0 16,1 0-16,0 14 0,0-14 16,0 0-16,-1 1 0,1-1 0,0 0 15,0 0-15,-1 1 16,1-1 0,26 0 15,1-13-31,-1 0 15,13 0 1,-26-13-16,14 13 16,-1 0-16,0-13 15,0-1-15</inkml:trace>
  <inkml:trace contextRef="#ctx0" brushRef="#br0" timeOffset="-178129.76">10570 7250 0,'0'-14'0,"0"41"31,0-14-15,-13 0-16,13 0 15,0 1-15,0-1 0,-13-13 16,13 13-16,0 0 0,0 1 16,-14-1-16,14 0 0,0 0 15</inkml:trace>
  <inkml:trace contextRef="#ctx0" brushRef="#br0" timeOffset="-177781.73">10716 7236 0,'0'0'0,"13"0"16,-40 14 15,27-1-16,-13-13-15,13 13 0,-13 0 16,0 0-16,13 1 16,-14-14-16,14 13 15,-13 0-15,13 0 32,13 1-17,1-14-15,-1 0 16,0-14 15</inkml:trace>
  <inkml:trace contextRef="#ctx0" brushRef="#br0" timeOffset="-177569.85">10557 7316 0,'26'-27'16,"-12"27"0,-1 0-16,0 0 0,13 0 15,-12 0-15</inkml:trace>
  <inkml:trace contextRef="#ctx0" brushRef="#br0" timeOffset="-176538.46">10954 7514 0,'0'-13'16,"0"39"15,0-12-15,-13-1-16,13 0 0,0 0 16,-14 1-16,14-1 15,0 0-15,0 0 0,0 0 16,-13 1-16,13-1 15,0 0 1</inkml:trace>
  <inkml:trace contextRef="#ctx0" brushRef="#br0" timeOffset="-175458.2">10782 7554 0,'13'-13'15,"-39"26"32,39 0-31,0 0-16,-13 1 16,13-14-16,-13 13 0,13 0 15,1 0-15,-14 0 16,13-13-16,-13 14 15,-13-1 1,13 0 0,-14-13-16,1 0 0,0 0 15,0 0-15,0 13 0,-1-13 16,1 0-16,0 0 0,0 0 16,13-13-1</inkml:trace>
  <inkml:trace contextRef="#ctx0" brushRef="#br0" timeOffset="-175249.73">10861 7580 0,'13'0'15,"1"0"-15,-1 0 0,0 0 16,0 0 0,1 0-16,-1 0 15,0 0-15,0 0 0</inkml:trace>
  <inkml:trace contextRef="#ctx0" brushRef="#br0" timeOffset="-174785.48">11139 7554 0,'0'13'47,"-13"0"-47,13 1 16,0-1-16,0 0 0,-14 0 15,14 0 1,0 1-1,0-1 1,0-40 15,14 14-15,-14 0-16,13 0 0,-13 0 16,13-1-16,0 14 0,-13-13 15,14 0-15,-1 13 0,-13-13 0,13 13 16,0 0-16,1 0 0,-1 0 15,0 0-15,0 13 16,-13 0-16,13-13 16,-13 13-16,0 1 0,0-1 15,0 0-15,-13 0 0,13 0 16,-13 1-16,13-1 0,-26 0 16,26 0-16,-14-13 0,1 14 15,0-1-15,0-13 16</inkml:trace>
  <inkml:trace contextRef="#ctx0" brushRef="#br0" timeOffset="-174486.77">11615 7527 0,'0'0'0,"13"0"16,1 0-1,-1 0-15,0 0 16,0 0-16,1 0 15,-1 0-15,0 0 0,0 14 16,1-14-16,12 0 16,-13-14-16,14 14 15,-14 0-15,0 0 16</inkml:trace>
  <inkml:trace contextRef="#ctx0" brushRef="#br0" timeOffset="-174177.79">11761 7422 0,'0'0'16,"26"13"-1,-13 0 1,1-13-16,-1 13 0,0-13 15,0 13-15,1-13 0,-1 14 0,0-1 16,0-13-16,0 13 0,1 0 16,-1-13-16,-13 14 0,13-1 0,0 0 15,-13 0 1,-13 1-16,13-1 16,-13-13-16,13 13 0,-13-13 15,13 13-15,-14-13 0,14 13 0,-13 1 16</inkml:trace>
  <inkml:trace contextRef="#ctx0" brushRef="#br0" timeOffset="-173802.75">12502 7488 0,'-14'39'31,"14"-25"-31,0-1 0,-13 0 16,13 0-16,0 1 16,0-1-16,0 0 0,-13-13 15,13 13-15,0 0 0,0 1 0,0-1 16,-13 0-1</inkml:trace>
  <inkml:trace contextRef="#ctx0" brushRef="#br0" timeOffset="-173508.75">12528 7461 0,'13'-26'0,"-26"52"0,39-52 15,-12 13 1,-1 26 0,0-13-16,-13 13 0,13-13 0,-13 13 15,14 0-15,-14 1 0,0-1 0,0 0 16,0 0-16,-14 14 16,14-14-16,-13 0 0,13 1 0,-13-1 15,0 13-15,-1-13 0,1 1 0,0-1 16,0 0-16,0-13 15,-1 13-15,14 1 0,-13-14 0,0 13 16</inkml:trace>
  <inkml:trace contextRef="#ctx0" brushRef="#br0" timeOffset="-172322.46">12872 7660 0,'40'-27'32,"-27"14"-32,0 0 15,0 0-15,1-1 16,-14 1 0,13 0-16,-13 0 15,-13 13 1,-1 0 15,1 13-31,13 0 16,-13 0-1,13 1-15,13-1 0,-13 0 16,13-13-16,1 13 0,-1-13 16,0 0-16,0 0 15,1 0-15,-1 0 0,0 0 16,0 0-16,0 0 0,1 0 15,-14-13-15,13 13 16,0-13 0,0 13-1,-13 13 17,0 0-32,0 14 15,-13-27-15,13 13 0,0 0 16,-13 0-16,13 1 15,0-1-15,-13 0 0,-1 0 16,14 1-16,-13-14 16,40-14 31,-14 1-47,0 13 0,0-13 15,1 0-15,-1 13 0,0-14 0,-13 1 16,13 13-16,0-13 0,1 0 15,-1-1-15,0 14 0,-13-13 16,13 13-16,1-13 16,-14 0-1,13 13-15,-13 13 63,0 0-63,0 0 15,13 1 1,0-14 0,1 0-1,-1-14-15,0 14 0,0 0 16,-13-13-16,13 13 0,1 0 16,-1-13-16,0 13 15,-13-13-15,13 13 16,1 0-1,-28 26 17,14-13-1,0 1-31,14-14 16,-1 0-1,0 0-15,0-14 16,1 14-16,-1 0 15,0 0 17,0 0-32,-13 14 15,13-1 1,1-13 0,-1 0-16,0 0 15,0 0-15,1 0 16</inkml:trace>
  <inkml:trace contextRef="#ctx0" brushRef="#br0" timeOffset="-171737.79">13877 7554 0,'27'0'31,"-14"0"-31,0 0 0,14 0 16,-14 0-16,0 0 0,0-13 16,1 13-16,-1 0 0,0 0 15,0 0-15,1 0 16,-1 0-16</inkml:trace>
  <inkml:trace contextRef="#ctx0" brushRef="#br0" timeOffset="-171445.75">14049 7408 0,'27'14'47,"-14"-1"-47,0-13 16,1 13-16,-1 0 15,0-13-15,0 13 0,-13 1 16,13-14-16,1 13 0,-14 0 0,13-13 16,-13 13-16,13 1 0,-13-1 15,0 0 1,0 0-16,0 1 0,-13-14 16,13 13-16,-13-13 0,13 13 0,-14-13 15,1 13-15,0-13 0,0 13 16</inkml:trace>
  <inkml:trace contextRef="#ctx0" brushRef="#br0" timeOffset="-169362.93">14684 7329 0,'0'26'15,"-13"-26"-15,13 14 16,0-1-16,0 0 15,-13 0-15,13 1 0,0-1 0,0 0 16,0 0-16,-13 0 0,13 1 0,0-1 16,-14 0-16,14 0 15,0 1-15,0-1 0,-13-13 16,13 13-16</inkml:trace>
  <inkml:trace contextRef="#ctx0" brushRef="#br0" timeOffset="-168961.51">14790 7369 0,'0'0'0,"-13"26"31,13-13-15,0 1-16,0-1 0,0 0 15,0 0-15,0 0 0,0 1 16,0-1-16,13 0 0,0 0 16,-13 1-16,14-14 15,-1 13-15,0-13 0,0 0 16,1 0-16,-1 0 16,0-13-16,0-1 15,0 1-15,-13 0 16,14 0-16,-14-1 0,0 1 15,0 0-15,-14 0 16,14 0-16,0-1 16,-13 14-16,0-13 0,0 13 15,0 0 17</inkml:trace>
  <inkml:trace contextRef="#ctx0" brushRef="#br0" timeOffset="-168613.8">14962 7395 0,'0'0'0,"13"0"16,1 0-1,-14 13 1,0 1-16,0-1 16,0 0-16,0 0 15,0 0-15,0 1 0,13-1 16,-13 0-16,13 0 15,0-13 1,-13 14-16,14-14 0,-1 0 0,0 0 16,0 0-16,0-14 15,1 14-15,-1-13 16,0 0-16,-13 0 0,0-1 16,13 1-16,-26 13 15,13-13-15,0 0 0,0 0 16,0-1-16,-13 14 0,13-13 15,-13 0-15,-1 13 16,1 0-16,0 0 16,0 0-16,0 13 15,13 0 1</inkml:trace>
  <inkml:trace contextRef="#ctx0" brushRef="#br0" timeOffset="-168049.76">15465 7527 0,'26'0'32,"-12"0"-32,-1 0 15,0 0-15,0 0 0,1 0 16,-1 0-16,0 0 0,0 0 16,14 0-16,-14 0 15,0 0 1,0 0-16,1 0 15</inkml:trace>
  <inkml:trace contextRef="#ctx0" brushRef="#br0" timeOffset="-167745.6">15610 7408 0,'27'0'32,"-14"14"-32,0-1 0,1-13 15,-1 13-15,0-13 0,0 13 16,0 0-16,1 1 0,-1-1 16,0 0-16,0 0 0,-13 1 15,14-14-15,-14 13 0,0 0 16,0 0-16,-14 1 15,14-1-15,-13-13 0,0 13 0,0 0 16,-1-13-16,14 13 0,-13-13 16,0 14-1</inkml:trace>
  <inkml:trace contextRef="#ctx0" brushRef="#br0" timeOffset="-167165.49">16232 7382 0,'-13'0'16,"26"0"-16,-26 13 15,26 0-15,-13 1 16,13-1-16,-13 0 16,14 13-16,-14 1 0,13-14 15,-13 0-15,0 1 0,0-1 0,0 0 16,0 0-16,0 1 15,-13-1-15,13 0 16,-14-13-16,1 0 0,0 13 16,0-26-1,26 0 1,-13 0-16,13 13 16,0-14-16,1 1 0,-1 0 15,0 13-15,0-13 0,1-1 16,-1 14-16,0-13 0,0 0 15,0 0-15,-13-1 0,14 1 0,-14 0 16,0 0-16,0-14 16,0 14-1,-14 13-15,14-13 0,-13 13 16,0-13-16,0 13 0,0 0 16,-1 0-1,14 13-15,0 0 16,14-13-1,-1 13 1</inkml:trace>
  <inkml:trace contextRef="#ctx0" brushRef="#br0" timeOffset="-166809.85">16431 7422 0,'0'0'16,"13"0"-16,-13 13 16,-13 0-1,13 0 1,-14 0-16,14 1 15,0-1-15,0 0 0,0 0 16,0 1-16,0-1 0,14 0 16,-1 0-16,0 1 15,0-14-15,1 13 0,12-13 0,-13 0 16,0 0-16,1 0 0,-1 0 0,0 0 16,0 0-16,1 0 0,-1 0 15,0-13-15,0 13 0,-13-14 0,14 14 16,-14-13-16,0 0 0,13 0 0,-13-1 15,0 1-15,0 0 0,0 0 16,-13-1-16,13 1 0,0 0 16,-14 0-16,1 0 15,0-1-15,0 14 0,-1 0 16,1 0-16,-13 0 16,12 14-16,1-14 15,13 13-15,-13-13 0,0 13 16,13 0-16</inkml:trace>
  <inkml:trace contextRef="#ctx0" brushRef="#br0" timeOffset="-162161.71">3122 11152 0,'0'27'31,"-13"-14"-31,13 0 0,0 0 0,0 1 16,0 12-16,-13-13 0,13 14 0,0-14 16,0 13-16,-14-12 0,14 12 15,0-13-15,0 1 0,-13 12 0,13-13 16,0 0-16,-13 1 0,13-1 0,0 0 15,-13 0-15,13 1 0,0-1 16,-14-13-16,14 13 0</inkml:trace>
  <inkml:trace contextRef="#ctx0" brushRef="#br0" timeOffset="-161804.48">3043 11179 0,'0'0'0,"13"-27"0,-13 14 15,13 13-15,-13-13 0,13 13 0,1-14 16,-1 14 0,0 0-16,0 0 0,1 14 0,-1-14 15,0 13-15,0-13 0,-13 13 0,13 0 16,1 1-16,-1-1 0,-13 0 15,0 0-15,0 1 0,0-1 0,0 13 16,0-13-16,-13 1 0,-1-1 16,14 0-16,-13 0 0,0-13 15,0 14-15,0-14 0,-1 13 16,1-13-16,0 0 0,0 13 0,-1-13 16,1 0-16,0 0 15,0 0-15,-1-13 16</inkml:trace>
  <inkml:trace contextRef="#ctx0" brushRef="#br0" timeOffset="-161447.56">3664 10967 0,'0'-13'0,"-26"39"31,13-13-15,-14 27-16,14-13 0,0-1 16,0 14-16,-1-14 0,1 1 15,0 12-15,0-12 0,-1-1 0,14-13 16,0 14-16,-13-1 0,13 1 15,0-1-15,0-12 0,0 12 16,0-13-16,0 14 0,0-14 0,0 13 16,0-12-16,13-1 0,-13 0 15,0 0-15,0 1 0,14-1 0,-14 0 16,13-13 0,13 0-16,-12 0 15,-1-13-15,0 13 0,0 0 16</inkml:trace>
  <inkml:trace contextRef="#ctx0" brushRef="#br0" timeOffset="-160763.22">3744 11298 0,'-13'26'31,"13"-13"-15,-14 1-16,14-1 15,0 13-15,-13-12 0,13-1 0,0 0 16,-13 13-16,13-12 0,0-1 0,0 0 16,0 0-16,0 1 15,-13-1-15,26-13 16,-13-13 0,13-1-16,-13 1 15,0 0-15,13-14 0,-13 1 16,14 0-16,-14-1 0,13-13 0,0 14 15,0-1-15,-13 14 0,14 0 0,-14 0 16,13-14-16,0 14 16,0 0-16,0 13 15,1 0-15,-14 13 0,13-13 16,0 13-16,-13 1 0,13-1 16,1 0-16,-14 0 0,13 0 0,-13 14 15,0-14-15,13 14 0,-13-14 0,0 0 16,0 0-16,13 1 0,-13 12 15,0-13-15,0 0 0,0 1 16,0-1-16,-13 0 0,13 0 16</inkml:trace>
  <inkml:trace contextRef="#ctx0" brushRef="#br0" timeOffset="-160558.66">3731 11417 0,'-14'0'15,"1"0"1,53 0 15,-27 0-31,14 0 0,-14 13 16,0-13-16,0 0 0,14 0 16,-14 0-16,0-13 0,0 13 0,14 0 15,-14 0-15,0 0 0,14-13 0,-14 13 16,0-14-16,0 14 15,1-13-15</inkml:trace>
  <inkml:trace contextRef="#ctx0" brushRef="#br0" timeOffset="-160307.73">4101 11007 0,'13'0'0,"1"13"0,-1-13 16,13 40-1,-26-14-15,13-13 0,1 14 16,-1-1-16,-13 1 0,13 12 0,-13-12 0,0-1 16,13 1-16,-13 12 0,0-12 15,-13-1-15,13 1 0,0-1 16,-13 14-16,0-14 0,-1-12 16,14 12-16,-13-13 0,13 1 0,-13-1 15,13 0-15,-13 0 16,26-13-1</inkml:trace>
  <inkml:trace contextRef="#ctx0" brushRef="#br0" timeOffset="-160072.77">4485 11337 0,'13'0'0,"13"-13"32,-12 13-32,-1 0 0,0 0 0,14 13 15</inkml:trace>
  <inkml:trace contextRef="#ctx0" brushRef="#br0" timeOffset="-159861.83">4419 11456 0,'0'0'0,"-14"14"0,41-14 46,-14-14-30,0 14-16,0 0 0,1 0 0,-1 0 16,0-13-16,0 13 0,14 0 0,-14-13 15,14 13-15,-14 0 16,0-13-16,13 13 0,-12-13 0</inkml:trace>
  <inkml:trace contextRef="#ctx0" brushRef="#br0" timeOffset="-158989.45">5398 11205 0,'13'-13'46,"-26"13"-30,-1 0 0,1 0-16,-13-13 15,12 13-15,1 13 0,0-13 16,0 0-16,-1 0 16,-12 0-16,13 0 15,13 13-15,0 0 16,0 1-16,0-1 0,0 0 15,13 0-15,0 0 0,-13 1 0,13-1 16,1 0-16,-1 0 0,-13 1 16,13-1-16,0 0 0,-13 0 0,0 1 15,14-1-15,-14 0 16,-14 0-16,1-13 31,0 0-31,0 0 16,-1-13-16,14 0 15,0 0-15,14-1 16,-14 1-16,0 0 0,13 13 16,-13-13-16,13-1 0,0 1 0,-13 0 15,14 0-15,-1-1 0,0 1 16,-13 0-16,13 0 16,-13 0-16,0-1 0,0 1 15,0 0-15,0 0 0,0-1 16,-13 14-16,13-13 15,-13 0 1,0 13-16,-1 0 16,1 13-1,0 0 1</inkml:trace>
  <inkml:trace contextRef="#ctx0" brushRef="#br0" timeOffset="-158548.91">5569 11152 0,'-13'13'15,"0"-13"1,13 14-16,-13-1 0,13 0 15,-13-13-15,13 13 0,0 1 0,-14-1 16,14 0-16,0 0 16,0 0-16,0 1 0,0-1 0,14 0 15,-14 0-15,13 1 16,0-14-16,0 13 16,0-13-16,1 0 0,-1 0 15,0 0-15,0 0 0,1 0 16,-14-13-16,13 13 0,0-14 15,0 1-15,-13 0 0,14 0 16,-14-1-16,0 1 0,0 0 16,0 0-16,0 0 0,0-1 15,-14 14-15,14-13 0,0 0 0,-13 13 16,13-13-16,-13 13 0,13-14 0,-13 14 16,-14 0-1,14 14 1,0-1-1</inkml:trace>
  <inkml:trace contextRef="#ctx0" brushRef="#br0" timeOffset="-158314.71">6032 11112 0,'14'14'16,"-41"-1"0,27 0-16,-13 0 15,0 1-15,0 12 0,-1-13 0,1 14 16,0-14-16,0 0 0,-1 14 16,1-14-16,0 13 0,0-12 0,0-1 15,-14 13-15,27-12 0,-13-14 16,13 13-16</inkml:trace>
  <inkml:trace contextRef="#ctx0" brushRef="#br0" timeOffset="-158146.86">5755 11205 0,'0'-13'16</inkml:trace>
  <inkml:trace contextRef="#ctx0" brushRef="#br0" timeOffset="-157990.58">6099 11311 0,'13'0'16,"0"0"15,-13-13-15</inkml:trace>
  <inkml:trace contextRef="#ctx0" brushRef="#br0" timeOffset="-147596.79">10292 8586 0,'-13'0'31,"40"13"16,-14-13-47,0 0 16,0 0-16,0 0 16,1 0-16,-1 0 0,0 0 0,0 0 15,14 0-15,-14 0 0,14 0 0,-1 0 16,0 0-16,1 0 0,-1 0 15,1 0-15,12 13 0,-12-13 16,13 0-16,-14 0 0,27 0 0,-13 0 16,-1 0-16,1 0 0,0 0 15,-1 13-15,1-13 0,0 0 0,-14 0 16,14 0-16,-14 0 0,14 14 16,-13-14-16,12 0 0,-12 0 0,12 0 15,-12 13-15,13-13 0,-14 0 0,14 0 16,-1 0-16,-12 0 0,13 0 0,-14 0 15,0 0-15,14 0 0,-13 0 16,-1 0-16,1 0 0,-1 0 0,0 0 16,-12 0-16,12-13 0,1 13 0,-1 0 15,-13 0-15,14 0 0,-1 0 16,1 0-16,-14 0 0,13 0 0,1 0 16,-14-14-16,13 14 0,-12 0 15,12 0-15,-13 0 0,14 0 16,-14 0-16,0 0 0,14 0 0,-14 0 15,0 0-15,14 0 0,-14 0 0,0 0 16,0 0-16,1 0 0,12 0 16,-13 0-16,0 0 0,1 0 0,12 0 15,-13 0-15,1 0 0,-1 0 0,0 0 16,14 0-16,-1 0 16,-13 0-16,0 0 0,1 0 15,-1 0-15,0 0 0,0 0 16,1 0-16,-1 0 0,0 0 0,0 0 15,1 0-15,-1 0 16,0 0-16,0 0 0,0 0 16,1 0-16,-1 0 0,0 0 0,14 0 15,-14 0-15,0 0 0,14 0 16,-14 0-16,0 0 0,13 0 0,-12 0 16,12 0-16,-13 0 0,14 0 0,-14 0 15,0 0-15,14 0 0,-14 0 16,13 0-16,-12 0 0,12 0 0,-13 0 15,14 0-15,-14 0 0,13 0 16,-12 0-16,12 0 0,-13 0 0,14 0 16,-14 0-16,14 0 0,-14 0 15,0 0-15,13 0 0,-12 0 0,-1 0 16,13 0-16,-12 14 0,-1-14 0,0 0 16,14 0-16,-14 0 0,0 0 15,0 0-15,0 0 0,1 0 0,-1 0 16,0 0-16,0 0 0,1 0 15,-1 0-15,0 0 0,0 0 16,0 0-16,1 0 0,-1 0 16,0 0-1,0 0-15,1-14 16,-1 14-16,0 0 31,0 0-31,1 0 16,-1 0-1,0-13 1,0 13 0,0 0 31,1 0-16,-1 0 0,0 0 0,-13-13-15,13 13 0,1-13 15,-1 13-31,0 0 31,-13-14-15,13 14-1,-13-13-15,14 13 16,-1-13 0,-13 0-1,13 13-15,-13-13 16,13 13-16,-13-14 15,13 1 1,1 0 0,-14 0-16,13-1 15,-13 1-15,0 0 16,13 13-16,-13-13 16,0 0-16,0-1 0,13 1 15,-13 0-15,0 0 16,0-1-16,0 1 15,0 0-15,14 13 0,-14-13 0,0-1 16,0 1-16,0 0 16,0 0-16,0-14 15,0 14-15,0 0 16,0 0-16,-14 13 0,14-14 16,0 1-1,0 0-15,-13 13 16,13-13-16,-13 13 0,0-14 15,13 1 1,-14 13 0,1 0-16,13-13 0,-13 13 15,0-13 1,0 13 0,13-13-1,-14 13-15,1 0 16,13-14-16,-13 14 15,0 0-15,-1-13 16,1 13-16,0 0 0,0 0 16,-1-13-1,1 13-15,0 0 0,0 0 16,0 0-16,13-13 16,-14 13-16,1 0 15,0 0-15,-14 0 16,1 0-1,13 0-15,-1 0 16,1 0-16,0-14 0,0 14 16,0 0-16,-1 0 0,1 0 0,0 0 15,0 0-15,-1 0 0,1 0 16,-13-13-16,13 13 16,-1 0-16,1 0 0,0 0 15,0 0-15,-1-13 0,1 13 0,0 0 16,-14 0-16,14 0 0,0 0 15,0-13-15,0 13 0,-1 0 0,1 0 16,0 0-16,0 0 0,-1 0 0,1-13 16,0 13-16,0 0 0,-1 0 15,1 0-15,0 0 0,0 0 0,0-14 16,-1 14-16,1 0 0,0 0 0,0 0 16,-1 0-16,1 0 15,-13 0-15,13-13 0,-1 13 16,1 0-16,0 0 0,-14 0 0,14 0 15,-13-13-15,12 13 0,-12 0 0,13 0 16,-14-13-16,1 13 0,13 0 16,-14 0-16,1-14 0,12 14 0,-12 0 15,13 0-15,-14-13 0,1 13 0,13 0 16,-14 0-16,14-13 0,-14 13 16,14 0-16,0-13 0,-13 13 0,12 0 15,-12 0-15,13-14 0,-1 14 0,1 0 16,-13 0-16,12 0 0,1-13 0,0 13 15,0 0-15,-14 0 0,14-13 16,0 13-16,0 0 0,-1 0 0,-12 0 16,13 0-16,0-13 0,-14 13 15,14 0-15,-14 0 0,14 0 16,0-13-16,-14 13 0,14 0 0,-13 0 16,13 0-16,-14 0 0,14-14 0,-14 14 15,14 0-15,-13 0 0,12 0 16,-12-13-16,0 13 0,12 0 0,-12 0 15,-1 0-15,14-13 0,-13 13 0,-1 0 16,14 0-16,-13 0 0,-1 0 16,14-13-16,-14 13 0,14 0 15,-13 0-15,13 0 0,-14 0 0,14-14 0,-27 14 16,27 0-16,-14 0 16,14 0-16,-13 0 0,13 0 15,-27-13-15,13 13 0,14 0 16,-27 0-16,14 0 0,0 0 15,12 0-15,-12 0 0,-1 0 16,14 0-16,-13 0 0,12 0 0,1 0 16,-13-13-16,13 13 0,-14 0 0,14 0 15,0 0-15,-14 0 0,14 0 16,0 0-16,-27 0 0,14 0 16,12 13-16,1-13 0,0 0 15,-14 0-15,14 0 0,0 0 0,-13 0 16,12 0-16,1 0 0,0 0 15,0 0-15,-14 0 0,14 0 0,-14 13 16,14-13-16,0 0 0,0 0 16,0 0-16,-1 0 0,1 0 15,0 0-15,0 14 0,-1-14 16,1 0-16,0 0 0,0 0 0,0 0 16,-1 0-16,1 0 0,0 0 15,0 13-15,-1-13 0,1 0 16,-13 0-16,12 0 0,1 0 0,0 13 15,0-13-15,0 0 0,-1 0 16,-25 13-16,25-13 16,1 0-16,0 0 0,-14 0 0,14 14 15,0-14-15,0 0 0,0 0 0,-1 13 16,1-13-16,-27 0 16,27 13-16,0-13 0,0 0 15,-1 13-15,1-13 0,0 13 0,0-13 16,-14 14-16,14-14 0,0 13 0,0-13 15,-1 13-15,1 0 0,0 1 0,-14-14 16,14 13-16,0 0 0,-13 0 0,12 1 16,1-1-16,0 0 0,0 0 15,-14 0-15,14 1 0,0-1 0,13 0 16,-13 0-16,-1 1 0,1-1 16,13 13-16,-13-13 0,13 1 0,0-1 15,0 0-15,0 0 0,0 14 16,0-1-16,0 1 0,13-1 15,0 1-15,14-1 0,-14 1 0,0 12 16,14-12-16,-14-1 0,13 1 16,14 26-16,-14-27 15,1 0-15,-1-12 0,1 12 0,39 27 16,-40-40-16,14 14 0,-13-14 16,12 0-16</inkml:trace>
  <inkml:trace contextRef="#ctx0" brushRef="#br0" timeOffset="-146863.33">10755 8718 0,'14'0'0,"-14"13"0,0 0 0,0 1 15,0-1-15,0 0 0,-14 0 0,14 1 16,0 12-16,-13-13 0,13 1 15,0 12-15,-13 0 0,13-12 16,-13-1-16,-1 13 0,14-12 0,-13 12 16,0-13-16,13 1 0,-13-1 15,13 0-15,-14 0 0,14 0 0,-13 1 16,13-1-16</inkml:trace>
  <inkml:trace contextRef="#ctx0" brushRef="#br0" timeOffset="-146630.95">10888 8890 0,'13'-40'16,"-26"80"-16,26-93 0,0 53 0,-13-13 0,13 0 15,-13-1 1,0 41 15,0-14-31,0 0 0,-13 1 16,13-1-16,-13 0 0,13 13 0,-13-12 15,13-1-15,-14 13 0,14-12 0,-13-1 16,13 0-16,-13 0 0,13 1 0,-27 38 31,14-38-31</inkml:trace>
  <inkml:trace contextRef="#ctx0" brushRef="#br0" timeOffset="-146117.77">10583 8996 0,'0'-13'15,"14"-1"1,-1 14-16,0 0 0,0 0 16,0 0-16,1 0 0,-1 0 15,0 0-15,14 0 0,-14 0 0,13 0 16,-12 0-16,12-13 0,-13 13 0,14 0 15,-14 0-15,0 0 0,0-13 16,1 13-16,-1 0 0,0 0 16,0-13-16,1 13 15,-14 13 17,0 0-17,0 0-15,0 1 0,0-1 16,0 0-16,13 0 15,-13 1-15,13-1 0,0-13 16,-13 13-16,13-13 0,1 0 16,-1 0-16,0 0 15,0 0-15,1-13 0,-1 0 16,-13-1 0,0 1-16,0-13 15,-13 12-15,13 1 16,-14 0-16,14 0 15,-13 13-15,0 0 16,0 0-16,-1 0 16,1 0-16,13 13 0,-13-13 15,13 13-15</inkml:trace>
  <inkml:trace contextRef="#ctx0" brushRef="#br0" timeOffset="-145822.64">11232 8890 0,'0'-13'16,"-14"26"-1,14 0 1,0 0-16,0 1 0,0-1 15,-13 0-15,13 0 16,0 1-16,0-1 0,-13 0 16,13 0-16,-13-13 15,13 14-15,-14-14 0,14 13 16,-13-13-16,13 13 0,-13-13 0,0 0 16</inkml:trace>
  <inkml:trace contextRef="#ctx0" brushRef="#br0" timeOffset="-145577.85">11443 8797 0,'13'-13'0,"-26"26"16,40-39 0,-27 52-1,0-12 1,-14-1-16,14 0 0,0 0 15,-13 1-15,13-1 0,-13 0 16,13 13-16,0-12 0,-13-1 0,13 13 16,-13 1-16,13 39 31,-14-66-31,14 13 16,0 0-16,0 1 15</inkml:trace>
  <inkml:trace contextRef="#ctx0" brushRef="#br0" timeOffset="-145393.86">11284 9036 0,'-13'-14'15,"26"28"-15,-26-41 16,26 14 0,1 13-16,-1 0 15,0 0-15,0 0 0,1-13 0,-1 13 16,13 0-16,-12 0 0,-1 0 15,0 0-15,0 0 0,14 0 0,-14 0 16,13 0-16,-12 0 16,-1 0-16</inkml:trace>
  <inkml:trace contextRef="#ctx0" brushRef="#br0" timeOffset="-144849.83">11576 9062 0,'26'-13'0,"-13"-14"16,0 27-16,-13-13 0,14 0 16,-14 0-1,-14 26 32,14 0-47,0 0 16,0 1-1,14-1 1,-1-13-16,0 0 0,0 0 16,1 0-16,-1-13 15,0 13-15,14-14 16,-14 1-16,0 0 0,0 0 0,0 13 15,1-27-15,-1 14 0,0 0 0,0-14 16,1 14-16,-14 0 0,13 0 16,0-1-16,-13 1 0,13 0 15,-13 0-15,-26 26 32,26 0-17,0 0-15,-13 1 0,13-1 0,0 0 16,-14 0-16,14 0 0,0 1 0,0-1 15,0 0-15,0 0 0,0 1 16,14-1-16,-14 0 0,0 0 16,13 1-16,-13-1 0,13-13 15,0 0-15,-13 13 0,13-13 16,1 0-16,-1 13 0,0-13 16,0 0-16</inkml:trace>
  <inkml:trace contextRef="#ctx0" brushRef="#br0" timeOffset="-144727.52">12197 9022 0,'14'-13'31</inkml:trace>
  <inkml:trace contextRef="#ctx0" brushRef="#br0" timeOffset="-133160.7">794 9141 0,'13'14'15,"-13"-1"-15,13 0 16,0 0-16,1 1 0,-1-14 16,0 13-16,0 0 0,1 0 15,-1-13-15,13 13 0,-13 1 16,14-14-16,-14 13 0,14-13 0,-14 13 15,13-13-15,-12 13 0,12-13 0,-13 0 16,14 0-16,-14 0 0,13 0 16,1 0-16,-14 0 0,14 0 15,-1 0-15,-13 0 0,14-13 0,-14 13 0,13 0 16,-12 0-16,12 0 0,-13-13 0,14 13 16,-14 0-16,0-13 0,0 13 15,1 0-15,12-14 0,-13 14 0,1 0 16,-1-13-16,0 13 0,0-13 15,1 13-15,-1-13 16,0 13-16,0-13 0,0 13 16,1-14-16,-1 1 0,0 13 15,-13-13-15,13 13 0,1-13 16,-14-1-16,13 14 0,0-13 0,0 0 16,-13 0-16,13 13 15,-13-14-15,14 14 0,-14-13 16,13 13-16,-13-13 0,13 0 15,-13 0 1,13 13-16,-13-14 0,14 1 16,-14 0-16,13 0 15,-13-1 1,0 1-16,0 0 16,13 0-1,-13-1-15,-13 1 0,13 0 16,0 0-16,0 0 15,-13 13-15,13-14 0,0 1 0,-14 0 16,14 0-16,-13 13 16,13-14-16,-13 14 0,13-13 0,-13 0 15,-1 0-15,1 13 0,0-14 16,0 1-16,0 13 16,13-13-16,-14 13 0,1-13 15,0 13-15,13-13 0,-13 13 16,-1 0-16,1-14 0,0 14 15,0-13-15,0 13 16,-1 0-16,14-13 16,-13 13-16,0 0 0,0 0 0,-14-13 15,14-1-15,0 14 0,-1 0 16,1-13-16,0 13 0,0 0 16,0-13-16,-1 13 0,1 0 0,0 0 15,0-13-15,-1 13 0,1 0 16,0-14-16,0 14 0,-1 0 15,1 0-15,0 0 16,0 0-16,0-13 0,-1 13 16,1 0-16,0 0 0,0 0 15,-1 0-15,1 0 0,0 0 16,0-13-16,-14 13 16,14 0-16,-13 13 0,12-13 15,1 0-15,0 0 0,-14 0 16,14 0-16,0 0 0,0 0 0,-1 0 15,1 0-15,0 0 16,-13 0-16,12 13 0,1-13 0,0 0 16,0 0-16,-1 0 0,1 0 0,0 14 15,0-14-15,0 0 0,-1 13 0,1-13 16,0 13-16,0-13 0,-1 0 16,1 13-16,0 1 0,0-14 0,-1 13 15,1 0-15,0 0 0,0 1 16,0-1-16,-1 0 0,1 13 0,0 1 15,0-1-15,13 1 0,-14-14 16,14 14-16,-13-1 0,13-13 0,-13 14 16,13-1-16,0 1 0,0-1 15,0-13-15,0 14 0,0-1 0,0-13 16,0 40-16,13-39 0,-13 12 16,13-13-16,-13 14 0,0-14 15,14 0-15,-14 0 0,13 1 0,0-1 16,-13 0-16,13-13 0,1 13 15,-1-13-15,13 14 16,-13-14-16,1 0 0,-1 0 0</inkml:trace>
  <inkml:trace contextRef="#ctx0" brushRef="#br0" timeOffset="-132418.71">3559 9287 0,'0'0'16,"13"0"-1,0 0-15,14-13 0,-1 13 0,0 0 16,27 0-16,0-14 0,13 14 0,1-13 15,-1 13-15,13-13 16,-13 13-16,0 0 0,1-13 0,-15 13 16,1 0-16,0 0 0,0-13 15,0 13-15,0 0 0,-26 0 0,12 0 16,-12 0-16,-1 0 0,-13 0 0,14 0 16,-1-14-16,-13 14 0,1 0 0,-1 0 15,0 0-15,0 0 16,1 0-16</inkml:trace>
  <inkml:trace contextRef="#ctx0" brushRef="#br0" timeOffset="-132071.42">3691 9300 0,'172'0'31,"-119"0"-31,13 0 0,-13 0 16,0 0-16,26 0 0,1 0 0,-28 0 16,15 0-16,-14 0 0,13 0 0,-13 0 15,0 0-15,-1 0 0,-12 0 16,0 0-16,-1 0 0,-12 0 0,-14 0 15,14 0-15,-14 0 0,13 0 0,-12 0 16,-1 0-16,0 0 0,0 0 0,0 0 16,1 0-1,-41 0 17,14 13-17,0-13-15,0 0 16,-1 0-16</inkml:trace>
  <inkml:trace contextRef="#ctx0" brushRef="#br0" timeOffset="-129813.78">3029 12144 0,'0'-13'16,"0"40"15,-13-14-15,13 0-16,0 0 0,0 1 15,0 12-15,0-13 0,0 14 16,0-14-16,0 13 0,0-12 0,-13 12 16,13-13-16,0 0 0,0 14 0,0-14 15,-13 0-15,13 1 16,0-1-16,0 0 0,0 0 0,-13 1 16</inkml:trace>
  <inkml:trace contextRef="#ctx0" brushRef="#br0" timeOffset="-129431.72">2990 12105 0,'0'-14'0,"0"28"0,0-41 0,13 14 15,0 0 1,0 13-16,1-13 16,-1 13-16,0 0 0,0 0 15,1 0-15,12 0 0,-13 13 0,1-13 16,-1 0-16,0 13 0,-13 0 15,13-13-15,0 13 0,-13 1 0,0-1 16,0 0-16,0 0 0,-13 1 16,0-1-16,0 13 0,0-12 15,-1-1-15,-12 0 0,13-13 0,-1 13 16,1 0-16,0-13 0,0 14 0,-1-14 16,1 13-16,0-13 0,0 0 15,39-13 16</inkml:trace>
  <inkml:trace contextRef="#ctx0" brushRef="#br0" timeOffset="-128665.29">3479 11972 0,'-13'27'16,"0"-27"-1,13 26-15,-13-12 0,-1-1 0,1 13 16,0 1-16,0 12 0,13-12 15,-14 13-15,1-14 0,0 14 0,13-27 16,0 13-16,0 1 0,-13-14 0,26 0 16,-13 0-16,0 14 0,0-1 15,13-12-15,0-1 0,-13 0 16,14-13-16,-1 13 0,0 1 16,0-14-16,1 0 15,-1 13-15,0-13 0,0 0 0,0 0 16,1 0-16,-1 0 0,0-13 15,0 13-15,1 0 0,-1 0 16</inkml:trace>
  <inkml:trace contextRef="#ctx0" brushRef="#br0" timeOffset="-128242.59">3731 12158 0,'-14'13'32,"14"0"-32,0 0 15,0 1-15,-13-1 0,13 0 0,0 0 16,-13 14-16,13-14 0,0 0 0,0 0 15,-13 1-15,13-1 0,0 0 16,0 0-16,-14-13 0,14 13 16,0 1-16,14-1 31</inkml:trace>
  <inkml:trace contextRef="#ctx0" brushRef="#br0" timeOffset="-127821.71">3704 12184 0,'0'-13'16,"13"0"0,1 13-16,-1 0 15,0 13-15,0-13 16,1 13-16,-1 0 16,-13 1-16,13-1 0,0 0 15,-13 0-15,0 0 0,0 1 16,0-1-16,-13 0 15,13 0-15,-13 1 0,13-1 0,-13-13 16,-1 13-16,1 0 0,0 0 16,0-13-16,-1 14 0,1-14 15,0 0-15,0 13 16,-1-13-16,1 0 0,13-13 16</inkml:trace>
  <inkml:trace contextRef="#ctx0" brushRef="#br0" timeOffset="-127262.89">3889 12263 0,'-13'27'31,"13"-14"-31,0 0 16,0 1-16,0-1 16,0 0-16,0 0 0,0 0 15,27 14 1,-14-14-16,0-13 16,0 0-16,1 0 15,-14-13-15,13 13 16,0-13-16,-13-1 15,0 1-15,0 0 16,0 0-16,0 0 16,0-1-16,0 1 15,13 0 17,0 26-17,-13 0-15,14 1 16,-1-1-16,-13 0 15,13 0-15,-13 0 0,0 1 16,0-1-16,0 0 16,0 0-1,0 1-15,13-14 16,1-14 15,-14 1-31,13 13 16,-13-13-16,13 0 0,0-1 0,1 1 15,-1 0-15,0 0 0,0 0 16,0-1-16,1 1 0,-1 13 0,0-13 16,0 13-16,1 0 0,-14-13 15</inkml:trace>
  <inkml:trace contextRef="#ctx0" brushRef="#br0" timeOffset="-126381.79">4207 12277 0,'0'26'16,"0"-13"-16,-13 1 15,13 12 1,0-13-16,0 0 16,0 1-1,-14-1 1,41-26 31,-14 13-32,0-14 1,1 14-16,-1 0 31,0 0-31,-13 14 16,13-1 0,0-13-16,-13 13 15,14-13 1,-1-13 15,0 13-31,-13-13 16,13 13-16,1-14 15,-1 14 1,0 0-16,0 0 16,1 0-16,-1 0 15,0 0 1,0 0-16,0 0 15,1 0 1,-1-13-16,0 13 16,-13-13-1,13 13-15,1 0 32,-1 13-17,-13 0 1,0 1-1,-13-1 1,26 0 15</inkml:trace>
  <inkml:trace contextRef="#ctx0" brushRef="#br0" timeOffset="-126250.73">4643 12263 0,'-13'-13'32,"0"13"-32,0 0 15</inkml:trace>
  <inkml:trace contextRef="#ctx0" brushRef="#br0" timeOffset="-126050.52">4776 12105 0,'0'13'31,"0"0"-31,13 0 0,-13 1 16,0 12-16,0-13 0,-13 1 16,13 12-16,0-13 0,0 14 15,-14-1-15,14 1 0,-13-14 0,13 13 16,0-13-16,-13 1 0,13-1 15,0 0-15,0 0 0</inkml:trace>
  <inkml:trace contextRef="#ctx0" brushRef="#br0" timeOffset="-124818.9">4696 12369 0,'0'-13'16,"14"13"-16,-1-13 16,0 13-1,0-13-15,0 13 0,1 0 16,-1-14-16,0 14 16,0 0-1,1 0 1,-14 14-16,13-1 15,-13 0 1,13-13-16,-13 13 16,13-13-16,-13 13 15,14-13 1,-14-13 0,0 0-1,-14 0 1,14 0-16,-13-1 15,0 14-15,13-13 0,-13 0 16,-1 13 0,1 13-1,26 0 17,1 1-17,-1-14 1,0 0 15,0 0-15,1 0-16,-1 0 31,0 13-31,0-13 16,0 13 15,1-26 16,-1 13-32,-13-13-15,13-1 32,0 14-32,-13-13 15,14 13-15,-1 0 16,-13-13-1,13 13-15,0 0 16,1 0 31,-14-13-31,0 39 62,0-13-63,0 1 1,0-1 0,13-13-16,0 0 31,0 0 0,0 13-31,1 0 16,-14 0-1,13-13-15,-13 14 0,0-1 16,0 0-16,0 0 0,0 1 0,0-1 16,0 0-16,-13 14 0,-1-14 0,14 0 15,-13 13-15,0-12 0,0-1 16,0 0-16,-1 0 0,1 1 15,0-14-15,13 13 0,-13-13 0,13-13 32,0-1-32,0 1 15,13-13-15,0 12 0,0 1 16,1-13-16,12-1 0,-13 1 0,14-1 16,-14 14-16,0-13 0,14 12 15,-14 1-15,0 0 0,0 0 16,-13 0-16</inkml:trace>
  <inkml:trace contextRef="#ctx0" brushRef="#br0" timeOffset="-124458.25">5331 12131 0,'-13'27'31,"13"-14"-15,0 0-16,0 0 0,0 1 0,0-1 15,0 0-15,0 0 0,0 0 0,0 1 16,0-1-16,0 0 0,0 0 16,0 1-16,13-1 0,-13 0 15,14-13-15</inkml:trace>
  <inkml:trace contextRef="#ctx0" brushRef="#br0" timeOffset="-124249.7">5543 12158 0,'13'-27'16,"-13"54"31,0-14-47,0 0 0,-13 0 0,13 1 15,0-1-15,0 13 16,0-13-16,0 1 0,0-1 16,-13 0-16,13 0 0,0 1 15</inkml:trace>
  <inkml:trace contextRef="#ctx0" brushRef="#br0" timeOffset="-124051.73">5318 12290 0,'-13'0'0,"39"-13"47,-12 13-47,-1 0 16,0 0-16,0 0 0,1 0 15,-1 0-15,13 0 0,-13 0 0,1 0 16,-1 0-16,13 0 15,-12 0-15,-1 0 0,0 0 0</inkml:trace>
  <inkml:trace contextRef="#ctx0" brushRef="#br0" timeOffset="-122761.83">5741 12237 0,'-13'-13'31,"0"26"-15,0 0-16,13 0 16,-13 1-16,13-1 15,0 0-15,0 0 16,0 1-16,13-14 15,-13 13 1,13-26-16,0 13 16,0 0-16,-13-14 0,14 14 15,-14-13-15,0 0 0,0 0 16,13-1-16,-26 1 16,13 0-16,0 0 15,-14 0-15,1-1 16,0 14-1,0 14-15,0-14 16,-1 13 0,14 0-16,0 0 31,14-13-31,-1 0 16,0 0-16,0 0 15,0 0-15,1 0 16,-1-13-16,0 13 0,0 0 15,-13-13-15,14 13 16,-1 0-16,0 0 47,-13 13-47,0 0 16,13 0-1,-13 1 1,14-1-1,-1-26 1,0 13-16,0 0 16,-13-14-16,13 14 15,1-13-15,-1 13 0,-13-13 16,13 13-16,0-13 16,1 26 15,-14 0-16,0 0-15,0 1 16,0-1 0,13-13-1,0 0 1,0 0-16,0-13 16,1 13-16,-1 0 15,0 0-15,0 0 16,-13 13-16,14-13 15,-1 13 1,-13 0 0,-13 1-16,13-1 15,-14-13-15,14 13 0,-13-13 0,13 13 16,-13-13-16,13 13 16,-13-13-16,39-13 31,-13 0-16,1 13-15,-1-13 16,-13 0-16,13 13 0,0-14 0,1 1 16,-1 0-1,0 13 1,0 0 0,-13 13-1,0 0-15,0 1 16,0-1-1,-13-13 1</inkml:trace>
  <inkml:trace contextRef="#ctx0" brushRef="#br0" timeOffset="-122678.35">6218 12224 0</inkml:trace>
  <inkml:trace contextRef="#ctx0" brushRef="#br0" timeOffset="-122109.86">6403 12237 0,'-13'13'0,"-1"0"15,14 1-15,0-1 16,-13-13-16,13 13 15,-13-13-15,13 13 16,13-26 47,-13 0-48,13 13-15,1 0 16,-1 0-1,0 0 1,0 0-16,1 0 16,-1 0-1,0 0-15,0 0 16</inkml:trace>
  <inkml:trace contextRef="#ctx0" brushRef="#br0" timeOffset="-121530.31">6535 12263 0,'-13'14'78,"13"-1"-62,0 0-1,0 0 1,13-13 46,0 0-30,1 0-17,-1 14 1,-13-1 0,0 0-16,0 0 0,0 0 15,0 1-15,-13 12 0,13-13 16,0 1-16,-14 12 0,1-13 15,0 1-15,0 12 0,0-13 0,-1 0 16,1 1-16,0-1 0,0 0 0,-1 0 16,1-13-16,0 14 0,0-14 15,13-14 1,13 1 0,-13 0-16,13 0 0,0-1 15,1 1-15,-1 13 0,0-13 16,0 0-16,1 0 0,-1-1 15,0 1-15,0 0 0,0 0 0,1-1 16,-1 14-16,0-13 0,-13 0 0</inkml:trace>
  <inkml:trace contextRef="#ctx0" brushRef="#br0" timeOffset="-120237.93">6919 11986 0,'0'0'0,"13"0"0,-13-14 15,-13 41 32,13-14-47,0 0 0,0 1 16,0-1-16,0 13 0,0-13 0,-13 14 16,13-14-16,0 14 0,0-1 15,0 1-15,0-14 0,0 13 0,0 1 16,0-14-16,0 13 0,-14-12 0,14-1 15,0 13-15,0-13 16,0 1-16,0-1 0,0 0 0,0 0 16,0 1-16,0-1 15,0 0-15,-13 0 16,13 1-16,13-28 78,1 1-62,-14 0-16,0 0 15,13-1-15,-13 1 16,0 0-16,13 0 0,-13-1 16,0 1-16,13 0 15,-13 0-15,0 0 0,0-1 0,0 1 16,14 0-16,-14 0 0,0-1 0,0 1 15,0 0-15,0 0 0,0 0 16,0-1-16,0 1 0,13 0 0,-13 0 16,0-1-16,0 1 0,0 0 0,0 0 15,0-1-15,0 1 0,0 0 16,0 0-16,0 0 16,13-1-16,-13 1 15,0 0-15,0 0 16,0-1-16,0 1 15,0 0 1,0 0-16,0-1 47,0 1-31,0 40 62,0-14-78,0 0 0,0 0 15,0 1-15,-13-1 0,13 0 0,0 0 16,0 14-16,0-14 0,0 13 0,-13-12 16,13 12-16,0-13 0,0 14 15,-14-14-15,14 14 0,0-14 0,0 13 16,0-13-16,-13 1 0,13-1 0,0 13 15,0-12-15,0-1 16,0 0-16,0 0 16,0 0-16,0 1 15,0-1-15,0 0 47,13-26 0,-13 0-31,14-1-1</inkml:trace>
  <inkml:trace contextRef="#ctx0" brushRef="#br0" timeOffset="-116753.2">7435 12118 0,'-27'-13'78,"14"13"-63,0 0-15,0 0 16,-1 0-16,1 0 0,0 0 16,0 0-16,-1 13 0,1-13 0,0 0 15,0 0-15,0 13 0,-1-13 16,1 0-16,13 13 0,0 1 16,0-1-16,0 0 15,13 0-15,1 1 16,-1-1-16,0 0 15,-13 0-15,13 0 0,0 1 0,1-1 0,-14 0 16,13 0-16,-13 1 16,13-1-16,-13 0 15,0 0-15,-13-13 0,13 13 16,-13-13-16,-1 14 0,1-14 16,-13 0-16,13 13 0,-1-13 15,1 0-15,-13 0 0,12 0 0,1 0 16,0 0-16,0 0 0,0 0 0,-14-13 15,54 13 32</inkml:trace>
  <inkml:trace contextRef="#ctx0" brushRef="#br0" timeOffset="-115457.78">7474 12343 0,'14'0'0,"-14"-13"16,0-1-1,13 14-15,-13-13 16,13 0 15,-39 39 16,26-12-47,0 12 16,0-13-1,0 0-15,0 1 16,13-1-16,0 0 15,0-13 1,1 13-16,12-13 16,-26-13-16,13 13 0,1 0 15,-1-13-15,0 0 16,0-1-16,0 1 0,-13-13 0,14 13 16,-1-14-16,0 14 0,0-27 0,1 14 15,-14 13-15,13-14 0,0 14 16,-13-14-16,13 14 0,-13 0 0,0 0 15,14-1-15,-14 1 0,0 0 16,13 13-16,-13-13 16,-27 26-1,27 0 1,0 0-16,-13 1 0,13 12 0,-13-13 16,13 14-16,-13-1 15,13-12-15,-14 12 0,14 14 16,0-27-16,0 13 0,0-12 0,0-1 15,0 0-15,14 0 0,-14 0 0,13-13 16,-13 14-16,13-14 0,-13 13 16,13-13-16,1 0 0,-1 0 0,0 0 15,0 0-15,0-13 0,1 13 16,-1-14-16,0 1 0,0 0 16,1 0-16,-1 0 15,0-1-15,-13 1 16,-13 40 15,13-14-15,0 0-1,0 0 1,13-13 0,0 0-16,1 0 15,-1 0-15,0-13 0,0 13 16,0 0-16,-13-13 15,14 13-15,-1 0 0,0-13 16,0 26 0,1-13-1,-14 13 1,0 0-16,13-13 0,-13 13 16,13 1-16,0-14 15,0-14 1,1 14-16,-1-13 15,13-13-15,-26 13 0,14-1 16,-1-12-16,0-1 0,0 1 0,14-14 16,-27 27-16,13-13 15,0-1-15,0 1 0,-13 12 16,14 1-16,-14 0 0,0 0 0,0 0 16,-14 39 15,1-13-31,0 0 15,13 1-15,-13-1 0,0 27 16,13-14-16,0-13 0,0 1 16,-14-1-16,14 0 0,0 0 15,0 14-15,0-14 0,14-13 0,-14 13 16,13-13-16,13-13 16,-13 13-1,-13-13-15,14 13 0,-1-14 16,0 14-1,0 14 1,-13-1 0,14-13-16,-14 13 0,13 0 15,0 1-15,-13-1 16,13-13-16,1 0 16,-1 0-16,0 0 15</inkml:trace>
  <inkml:trace contextRef="#ctx0" brushRef="#br0" timeOffset="-115279.08">8109 12171 0,'40'0'31,"-27"0"-31,1 0 0,-1 0 0,13 0 16,-12 0-16,12 0 0,-13 0 16</inkml:trace>
  <inkml:trace contextRef="#ctx0" brushRef="#br0" timeOffset="-114474.52">8612 12197 0,'0'0'0,"0"-13"0,-13 13 16,0 0-1,-1 13-15,1-13 16,0 14-16,0-1 16,13 0-16,-13-13 0,13 13 15,0 0-15,0 1 16,0-1-16,13-13 0,-13 13 16,13-13-16,0 0 0,-13 13 15,13-13-15,1-13 0,-1 13 0,0 0 16,14-13-16,-14 13 0,0-13 15,0-1-15,1 1 0,-1 0 16,0 0-16,0-14 0,0 14 0,1-27 16,-14 27-16,13 0 0,-13 0 15,13-1-15,-13 1 0,0 0 16,0 0-16,0 39 31,0-13-31,0 1 16,-13 12-16,13-13 0,0 14 0,0-14 15,13 14-15,-13-14 0,0 0 0,0 13 16,13-12-16,-13 12 0,0-13 16,14 1-16,-1-1 15,-13 0-15,13-13 0,0 13 16,1-13-16,-1-13 0,0 13 16,-13-13-16</inkml:trace>
  <inkml:trace contextRef="#ctx0" brushRef="#br0" timeOffset="-114121.96">8784 11589 0,'13'13'16,"1"13"-16,-1-12 0,0 12 16,0 14-16,14-14 0,-14 14 15,13 13-15,-12-13 0,12-1 16,1 14-16,-1-13 0,1 13 0,-1-14 0,0 14 16,-12-13-16,12 0 15,-13-14-15,1 14 0,-1 0 0,-13-14 16,0 0-16,0-12 0,0 39 15,0-40-15,0 13 0,-13-12 16,13-1-16,-14 0 0,1 27 16,0-40-16,13 13 0,-13 0 0,-1-13 15,1 13-15,0 1 0,0-14 16</inkml:trace>
  <inkml:trace contextRef="#ctx0" brushRef="#br0" timeOffset="-112722.67">9591 12105 0,'66'0'15,"-52"0"-15,-1-14 16,0 28-16,0-14 0,0 0 16,1 0-16</inkml:trace>
  <inkml:trace contextRef="#ctx0" brushRef="#br0" timeOffset="-112494.89">9538 12303 0,'-13'0'0,"26"0"0,0 0 31,1 0-16,-1 0-15,0 0 16,0 0-16,1 0 0,-1 0 16,27-13-16,-27 13 0,13 0 15,1-13-15,-1 13 0,1 0 0</inkml:trace>
  <inkml:trace contextRef="#ctx0" brushRef="#br0" timeOffset="-111829.79">10610 11959 0,'-13'0'0,"-14"13"15,14 1-15,0-14 16,-1 13-16,1 13 15,0-12-15,0-1 0,13 13 0,-13-13 16,-1 1-16,14 12 0,0-13 0,-13 1 16,13-1-16,0 13 0,0-12 15,13-1-15,-13 0 0,14 0 0,-1 0 16,-13 1-16,13-14 0,0 13 16,0-13-1,1-13 1,-1 13-16,-13-14 0,0 1 15,-13-13 1,13 13-16,-14 13 16,14-14-16,-13 1 15,0 13-15,0 0 16,0-13-16,-1 13 16,14 13-16,-13-13 15</inkml:trace>
  <inkml:trace contextRef="#ctx0" brushRef="#br0" timeOffset="-111445.95">10742 12078 0,'0'0'16,"-26"13"15,26 1-31,-14-1 0,14 0 15,-13 0-15,13 1 0,0-1 16,0 0-16,0 0 0,13 1 16,-13-1-16,14 0 0,-1 0 15,0-13 1,0 0-16,1 0 0,-1 0 0,0 0 16,0 0-16,14-26 15,-14 13 1,-13-1-16,13 1 0,-13 0 0,0 0 15,0-1-15,0 1 0,0 0 16,0 0-16,-13-1 16,0 1-16,-1 0 15,1 13-15,0 0 0,0 0 0,0 0 16,-1 0-16,1 0 0,0 0 16,0 13-16,-1-13 0,1 13 15,13 1 1</inkml:trace>
  <inkml:trace contextRef="#ctx0" brushRef="#br0" timeOffset="-111165.09">11245 11999 0,'13'-13'0,"0"13"31,-13 13-15,-13 0-16,13 0 16,-13 1-16,0-1 0,13 13 15,-14-13-15,1 1 0,13-1 0,-13 0 16,0 0-16,-1 1 16,14-1-16,-13 13 0,0-12 0,0-1 15,13 0-15,-14 0 0,1 0 0,13 1 16,-13-14-16,13 13 0,-13 0 15,0-13-15,13 13 0,-14 1 16</inkml:trace>
  <inkml:trace contextRef="#ctx0" brushRef="#br0" timeOffset="-111047.08">10874 12144 0,'0'0'0</inkml:trace>
  <inkml:trace contextRef="#ctx0" brushRef="#br0" timeOffset="-110867.84">11324 12277 0,'13'0'0</inkml:trace>
  <inkml:trace contextRef="#ctx0" brushRef="#br0" timeOffset="-110195.58">11086 12078 0</inkml:trace>
  <inkml:trace contextRef="#ctx0" brushRef="#br0" timeOffset="-108612.91">4061 12660 0,'27'0'0,"13"-13"31,-14 13-31,-13 0 0,14 0 0,26 0 15,-27 0-15,0 0 0,1 0 16,-1 0-16,1 0 0,-1 0 16,1 0-16,-14 13 0,13-13 0,-12 0 15,-1 0-15,0 0 0,0 0 16,1 0 0,-41 14-1,14-14-15,0 0 0,-1 0 16,-12 13-16,13-13 0,-27 0 0,14 0 15,-1 13-15,-13-13 0,1 13 16,12-13-16,1 0 0,-1 13 0,1-13 16,13 0-16,0 0 0,-1 0 15,1 14-15,0-14 0,26 13 32,0-13-32,1 0 15,-1 0-15,13 0 0,-13 0 16,14 0-16,-1 0 0,1 0 0,-14 0 15,13 0-15,1 0 0,-1 0 0,-12 0 16,12 0-16,-13 0 0,1 0 0,-1 0 16,0 0-16,0-13 15,0 13-15,1 0 16,-41-14 15,14 14-15,-13 0-1,-1 0 1,14 0-16,0 0 16,-1 0-16</inkml:trace>
  <inkml:trace contextRef="#ctx0" brushRef="#br0" timeOffset="-106751.92">4339 12806 0,'0'53'32,"13"-40"-32,-13 0 15,27 14-15,-14-14 16,0 13-16,14 14 0,-1-27 15,1 14-15,12 12 0,-12-12 16,-1-14-16,1 14 16,-1-14-16,1 13 0,26 1 15,-27-14-15,0 0 0,-12 0 0,12 1 16,-13-14-16,14 13 0,13 13 16,-14-26-16,0 14 0,14-1 15,-13-13-15,-1 13 0,27 0 16,-40-13-16,14 0 15,-1 13-15,1-13 0,-1 0 0,-13 0 16,40 0-16,-26 14 0,-14-14 16,40-14-16,-40 14 15,40 0-15,-40 0 0,14 0 16,12-13-16,-25 13 0,-1 0 16,26 0-16,-25 0 15,12-13-15,1 13 0,-14 0 16,0 0-16,27 0 15,-27-13-15,13 13 0,-12 0 0,12 0 0,-13-13 16,14 13-16,-1 0 16,-12-14-16,12 14 0,14 0 15,-14-13-15,-13 13 0,40 0 16,-26-13-16,-14 13 0,13 0 16,1-13-16,-1 13 0,27-14 15,-26 14-15,-1 0 0,1-13 0,26 0 16,-27 13-16,0-13 0,1 13 15,-14-14-15,14 14 0,12-13 16,-25 13-16,12-13 0,14 13 16,-27-13-16,13 13 0,-12-13 15,12 13-15,-13 0 0,14-14 16,-14 14-16,13-13 0,-12 13 0,12-13 16,-13 13-16,14 0 0,-14-13 0,13 13 15,-12-14-15,-1 14 0,13 0 16,-12-13-16,-1 13 0,13-13 15,-12 13-15,-1 0 0,13-13 0,-13 13 16,1-13-16,12 13 0,-13 0 0,1-14 16,-1 14-16,13-13 0,-12 13 0,12 0 15,-13-13-15,0 13 16,14-13-16,-14 13 0,0-14 0,1 14 16,-1 0-16,0-13 0,0 13 0,0 0 15,1-13-15,12 13 0,-13-13 16,1 13-16,-1 0 0,0-14 0,0 1 15,1 13-15,-1 0 0,0-13 16,0 13-16,-13-13 0,13 13 0,1 0 16,-14-13-16,13 13 0,0 0 15,0-14-15,1 14 16,-14-13-16,13 13 16,0 0-16,-13-13 15,13 13-15,1-13 16,-1 13-1,-13-14-15,13 14 16,-13-13 0,13 13-16,0-13 15,1 13 17,-14-13-17,13 13 1</inkml:trace>
  <inkml:trace contextRef="#ctx0" brushRef="#br0" timeOffset="-105093.96">7501 12647 0,'-13'0'16,"39"13"15,-13-13-16,1 0 1,-1 0-16,0 14 16,0-14-1,1 0-15,-1 0 0,0 0 16,0 0-16,0 0 16,1 0-1,-1-14-15,0 14 16,0 0 15,1 0 16,-14 14-16,0-1 0,-14 0-15,14 0-16,-13 0 16,13 1-16,0-1 15,-13-13-15,13 13 0,0 0 16,-13 1-16,13-1 0,0 0 16,-14-13-16,14 13 15,0 1-15,0-1 16,0 0-16,-13-13 15,13 13-15,0 0 16,0 1 15,0-1 63,13-26 250,-13-1-344,0 1 31,14 0-31,-1 0 16,-13 0-1,13-1-15,-13 1 16,13 0-16,-13 0 16,14 13-16,-14-14 15,0 1-15,13 0 31,-26 13 126,-1-13-142,1-1 17,0 14-17,0 0 1,-1-13-16,1 13 15,0 0 1,0 0 0,0 0-16,-1 0 15,1 13 1,0-13 0</inkml:trace>
  <inkml:trace contextRef="#ctx0" brushRef="#br0" timeOffset="-96597.21">1984 10120 0,'-26'0'16,"52"0"31,-12 0-32,12 0-15,1 0 0,-1 0 0,0 0 16,1 0-16,-1 0 0,14 14 0,-14-14 15,14 0-15,-13 0 0,12 0 16,-12 0-16,12 13 0,-12-13 0,-1 0 16,27 0-16,-39 0 0,-1 0 15,0 13-15,0-13 0,0 0 16,1 0-16,-1 0 0</inkml:trace>
  <inkml:trace contextRef="#ctx0" brushRef="#br0" timeOffset="-95953.91">2024 10213 0,'53'0'0,"-40"13"0,14-13 16,-1 0-16,-13 0 0,14 0 15,12 0-15,-12 0 0,13 0 0,-14 0 16,1 0-16,12 0 0,-12 0 0,-1 0 16,1 0-16,-1 0 0,1 0 15,-14 0-15,13 0 0,-13 0 0,1 0 16,-1 0-16,0 0 0,14 0 16,-14 0-1,0 0 1,-13-13-1,-13 0 48,39 13 203,-12 0-251,-1 0-15,13 0 0,-13 0 16</inkml:trace>
  <inkml:trace contextRef="#ctx0" brushRef="#br0" timeOffset="-95226.5">5199 10213 0,'159'0'16,"-106"0"-1,-14 0-15,14 0 0,0 0 0,13 0 16,-13 13-16,0-13 0,0 0 0,0 0 15,0 13-15,0-13 0,-13 0 16,39 14-16,-53-14 0,1 13 16,-1-13-16,1 0 0,-14 0 0,0 0 15,0 0-15,1 13 0,-1-13 16</inkml:trace>
  <inkml:trace contextRef="#ctx0" brushRef="#br0" timeOffset="-94769.87">5080 10319 0,'106'0'16,"-66"0"0,-1 0-16,14 0 0,0 0 15,0 0-15,0 0 0,0 13 0,0-13 16,13 0-16,-13 0 0,13 0 0,-13 0 16,0 0-16,0 13 0,0-13 15,-14 0-15,-12 0 0,-1 0 16,1 0-16,-14 0 0,13 0 0,-12 0 0,-1 0 15,0 0-15,0 0 0,0 0 16,1 0-16,-1 0 16,0-13-16,0 0 31,-13 0 0,0-1 0,-13 28 1</inkml:trace>
  <inkml:trace contextRef="#ctx0" brushRef="#br0" timeOffset="-93393.4">14248 11351 0,'13'-14'47,"0"28"-47,1-14 0,-1 0 15,0 0-15,0 0 0,14 0 16,-14 0-16,13 0 15,-12 0-15,-1 0 0,0 0 0,0 0 16,0 0-16,1 0 0,-1 13 16</inkml:trace>
  <inkml:trace contextRef="#ctx0" brushRef="#br0" timeOffset="-93155.94">14261 11470 0,'13'0'31,"1"13"-31,12-13 16,-13 0 0,0 0-16,14 0 15,-14 0-15,0 0 16,1 0-16,-1 0 15,13-13-15,-13 13 16,1 0 0</inkml:trace>
  <inkml:trace contextRef="#ctx0" brushRef="#br0" timeOffset="-92258.08">15518 11165 0,'-13'14'16,"13"-1"-16,-14 0 0,14 0 15,-13 1-15,13-1 0,0 0 16,0 0-16,0 14 0,0-14 0,0 0 16,0 0-16,0 1 0,0-1 0,0 0 15,13 0-15,-13 1 0,14-14 16,-14 13-16,13-13 0,0 13 0,0-13 15,1 0-15,12 0 16,-13-13-16,0 13 16,-13-13-16,14 13 0,-14-14 15,13 1-15,-13 0 0,0 0 0,0-1 16,0 1-16,0 0 0,0 0 0,0-1 16,0 1-16,0 0 0,0 0 15,0 0-15,-13-1 0,13 1 16,-14 0-16,1 13 15,13-13-15,-13 13 16,0 0-16,0 0 16,13 13-16</inkml:trace>
  <inkml:trace contextRef="#ctx0" brushRef="#br0" timeOffset="-92107.15">15743 11271 0,'0'-13'31</inkml:trace>
  <inkml:trace contextRef="#ctx0" brushRef="#br0" timeOffset="-91650.05">16047 11086 0,'-26'13'31,"26"0"-31,-14 1 0,14-1 0,-13 0 16,13 0-16,-13 14 0,13-14 15,-13 0-15,13 14 0,-14-14 0,14 13 16,0-12-16,14-1 0,-14 0 15,0 0-15,0 1 0,13-14 16,-13 13-16,13-13 0,0 13 16,1-13-16,-1-13 31,0 13-31,-13-13 16,0-1-16,0 1 15,-13 13 1,13-13-16,-13 0 15,-1 13 1</inkml:trace>
  <inkml:trace contextRef="#ctx0" brushRef="#br0" timeOffset="-91337.8">16192 11192 0,'0'13'0,"0"0"0,0 1 16,0-1-16,0 0 0,0 0 15,0 0-15,0 1 16,14-1-16,-1 0 16,0-13-16,0 0 15,1 0-15,-1 0 16,0-13-16,-13 0 15,13 13-15,-13-14 16,0 1-16,0 0 0,0 0 16,0 0-16,0-1 0,0 1 15,-13 13-15,13-13 16,0 0-16,-13 13 0,0 0 16,-1 13-1</inkml:trace>
  <inkml:trace contextRef="#ctx0" brushRef="#br0" timeOffset="-90837.75">16880 11245 0,'-13'13'16,"0"0"-16,13 0 0,-13-13 15,13 14-15,-13-1 0,-1 0 0,1 0 16,0 1-16,13-1 16,-13-13-16,13 13 0,-14 0 0,1 1 15</inkml:trace>
  <inkml:trace contextRef="#ctx0" brushRef="#br0" timeOffset="-90611.15">16695 11311 0,'0'0'0,"0"-13"0,13 13 15,1 13 1,-1-13-16,-13 13 15,13-13-15,0 13 0,1 1 16,-1-1-16,0-13 16,-13 13-16,13-13 0,14 27 0,-14-27 15,0 13-15,0-13 16,1 13-16,-1 0 0,0-13 0,0 0 0</inkml:trace>
  <inkml:trace contextRef="#ctx0" brushRef="#br0" timeOffset="-90122.51">17436 11271 0,'-13'0'16,"-27"27"0,27-14-16,0-13 15,13 13-15,0 0 0,-14 1 16,14-1-16,0 0 0,0 0 0,0 1 15,0-1-15,0 0 0,14-13 0,-14 13 16,13 0-16,0-13 0,0 14 16,1-1-16,-1-13 0,0 0 15,0 0-15,0 0 0,-13-13 0,14 13 16,-1-14-16,0 14 0,-13-13 16,13 0-16,-13 0 0,0 0 15,0-1-15,14 1 0,-14 0 16,0 0-16,0-1 0,-14 1 15,14 0-15,0 0 16,-13 13-16,13-14 0,-13 14 16,-14 0-16,27 14 15,-13-14-15,0 0 0,13 13 16</inkml:trace>
  <inkml:trace contextRef="#ctx0" brushRef="#br0" timeOffset="-89986.32">17582 11377 0,'0'0'0,"13"0"16,0 0-16</inkml:trace>
  <inkml:trace contextRef="#ctx0" brushRef="#br0" timeOffset="-89397.32">17859 11218 0,'0'27'16,"0"-14"-1,0 0-15,0 0 0,0 1 16,0-1-16,-13 0 0,13 0 0,0 1 16,-26 25-16,12-25 15,1-14-15,0 13 16,0 0-16,0-13 16,-1 13-16,1-13 15,40-26 16,-14 13-31,0-1 0,0 1 16,0 0-16,1 0 0,12-1 0,-13 1 16,1 0-16,-1 0 0,0-1 15,0-12-15,1 13 0,-14 0 16,0-1-16,13 14 0,-26-13 0,13 0 16,-14 0-1,1 13-15,0 0 0,0 0 16,-1 0-16,1 0 0,0 0 0,0 0 15,-1 13 1,14 0-16</inkml:trace>
  <inkml:trace contextRef="#ctx0" brushRef="#br0" timeOffset="-89112.72">17978 11245 0,'0'39'15,"14"-12"17,-1-14-32,0 0 0,0 1 0,1-14 15,-1 0-15,-13 13 0,13-13 0,0 0 16,1 0-16,-1 0 16,0-13-16,0-1 0,-13 1 15,13 0-15,-13 0 16,0-1-16,-13 1 0,13 0 0,0 0 15,-13 0-15,0-1 0,13 1 16,-13 0-16,-1 0 0,1 13 0,0-14 16,-14 14-16,14 0 0,-13 14 15,-1-14-15,-12 13 0,-1 0 0,-13 0 16,0 14-16,0-14 0</inkml:trace>
  <inkml:trace contextRef="#ctx0" brushRef="#br0" timeOffset="-88631.49">14592 12330 0,'0'0'0,"13"0"0,0 0 16,0-14-16,1 14 0,-1 0 15,0 0-15,0 0 0,1 0 0,-1 0 16,0 0-16,0 0 0,1 14 16,-1-14-16,-13 13 15</inkml:trace>
  <inkml:trace contextRef="#ctx0" brushRef="#br0" timeOffset="-88464.82">14473 12488 0,'-14'0'15,"28"0"-15,-41 0 16,80 0 15,-40 0-31,1-13 0,-1 13 0,13 0 16,1 0-16,-14 0 0,13 0 0,1-13 16,-1 13-16,14 0 0</inkml:trace>
  <inkml:trace contextRef="#ctx0" brushRef="#br0" timeOffset="-88015.76">15862 12277 0,'-40'13'16,"-26"27"-1,53-27-15,-14 0 0,14-13 16,0 13-16,0 0 0,-1-13 16,1 14-16,0-14 0,13 13 0,-13-13 15,-1 13-15,14 0 16,14-13 0,-14 14-16,13-14 0,0 0 15,0 13-15,1-13 0,-1 0 0,13 0 0,-13 0 16,14 0-16,-1 0 0,1 0 15,-14 0-15,14 0 0,-14 0 16,0 0-16,0 0 0,0 0 0,1 0 16,-1 0-16,-13-13 15</inkml:trace>
  <inkml:trace contextRef="#ctx0" brushRef="#br0" timeOffset="-87774.9">15809 12277 0,'0'-14'0,"-13"41"31,13-14-15,0 0-16,0 1 0,0-1 16,0 0-16,-14 0 0,14 14 15,0-14-15,-13 0 0,13 0 16,0 1-16,0-1 0,0 0 15,0 0-15,0 1 0,13-14 16,-13 13-16,14-13 0,-1 0 16,0 0-16</inkml:trace>
  <inkml:trace contextRef="#ctx0" brushRef="#br0" timeOffset="-87232.9">16245 12277 0,'0'0'0,"-13"0"15,13 13-15,0 0 0,0 0 16,0 1-16,0-1 0,0 0 16,-13 0-16,13 0 0,0 1 0,0-1 15,-13 0-15,13 0 0,0 1 16,-14-14-16,14 13 0,-13 0 15,26-26 17,1 0-17,-1-1-15,0 1 16,0 0-16,1 0 16,-14-14-16,13 14 0,0 0 0,-13 0 0,0-1 15,13 14-15,-13-13 0,0 0 0,-13-14 16,0 14-1,0 13-15,-1 0 16,1 0-16,0 0 0,0 0 16,-1 0-16,1 0 15,0 13-15,0 1 0,0-14 16</inkml:trace>
  <inkml:trace contextRef="#ctx0" brushRef="#br0" timeOffset="-87026.64">16563 12224 0,'13'13'16,"-26"0"0,13 0-16,-13 1 15,13-1-15,-14 0 0,14 0 0,-13 1 16,0-1-16,0 0 0,0 0 15,13 0-15,-14 1 0,1-1 0,0 0 16,13 0-16,-13 1 0,-1-14 16,14 13-16</inkml:trace>
  <inkml:trace contextRef="#ctx0" brushRef="#br0" timeOffset="-86877.15">16404 12343 0,'0'-13'16,"13"-1"15</inkml:trace>
  <inkml:trace contextRef="#ctx0" brushRef="#br0" timeOffset="-86109.72">17105 12541 0</inkml:trace>
  <inkml:trace contextRef="#ctx0" brushRef="#br0" timeOffset="-85432.95">17727 12303 0,'0'0'15,"106"-13"1,-80 13-16,-12 0 0,-1 0 0,13-13 16,-12 13-16,-1 0 0,0 0 0,0 0 15,0 0-15,1 0 0,-1-14 16,0 14-16,0 0 0,1-13 15</inkml:trace>
  <inkml:trace contextRef="#ctx0" brushRef="#br0" timeOffset="-85173.09">17992 12039 0,'13'-14'0,"27"14"31,-27 14-31,0-14 0,0 13 0,1-13 16,-1 13-16,13 0 0,-13 0 0,1 1 15,-14-1-15,13 0 0,0 0 0,-13 1 16,0-1-16,0 0 0,0 0 16,0 1-16,0-1 0,0 0 15,-13 13-15,13-12 0,0-1 0,-13-13 16,13 13-16,0 0 15</inkml:trace>
  <inkml:trace contextRef="#ctx0" brushRef="#br0" timeOffset="-84890.97">18812 12025 0,'13'27'15,"-26"-14"-15,13 0 16,0 0-16,-13 1 0,13-1 0,-14 0 15,14 0-15,-13 1 0,13-1 16,-13 0-16,13 0 0,-13 14 0,13-14 16,0 0-16,0 0 15</inkml:trace>
  <inkml:trace contextRef="#ctx0" brushRef="#br0" timeOffset="-84557.72">18944 12144 0,'0'0'0,"-13"14"31,13-1-31,-13 0 16,13 0-16,13-13 0,-13 14 0,0-1 16,13 0-1,0 0-15,1-13 16,-1 0-16,0 0 0,0 0 15,1 0-15,-1 0 0,-13-13 16,13 13-16,-13-13 0,13 13 0,-13-13 16,0-1-16,0 1 0,0 0 15,0 0-15,0-1 0,-13 14 16,13-13-16,-13 13 16,0 0-16,-1 0 15</inkml:trace>
  <inkml:trace contextRef="#ctx0" brushRef="#br0" timeOffset="-84257.89">19196 12131 0,'-14'13'31,"14"1"-15,0-1-16,0 0 15,14 0-15,-14 1 16,13-14-16,0 13 0,0-13 16,0 0-16,1 0 0,-1 0 15,0 0-15,0 0 16,1 0-16,-14-13 0,13 13 16,-13-14-16,13 1 0,-13 0 15,0 0-15,0-1 16,0 1-16,0 0 15,-13 0-15,0 13 16,-1 13 0</inkml:trace>
  <inkml:trace contextRef="#ctx0" brushRef="#br0" timeOffset="-83419.64">19619 12184 0,'13'0'16,"40"0"-1,-27 0-15,-12 0 0,-1-13 16,0 13-16,0 0 0,14 0 0,-14 0 16,0 0-16,1 0 0,-1-13 0,0 13 15,0 0-15,0 0 16,1 0-16,-14-14 0,13 14 15</inkml:trace>
  <inkml:trace contextRef="#ctx0" brushRef="#br0" timeOffset="-83169.26">19883 12065 0,'14'0'46,"-1"0"-46,-13 13 16,13 0-16,0-13 0,-13 14 16,14-1-16,-1 0 0,-13 0 15,13 1-15,-13-1 0,0 0 0,0 0 16,0 1-16,0-1 16,0 0-16,-13 0 15,0-13-15,13 13 0,-14 1 0,1-14 16,0 13-16,0 0 0,-1-13 0,14 13 15,-13-13-15,0 0 0,0 14 16</inkml:trace>
  <inkml:trace contextRef="#ctx0" brushRef="#br0" timeOffset="-81297.88">21233 12052 0,'-13'0'16,"-14"0"0,27 13-1,0 0-15,0 0 0,13 1 16,-13-1-16,14 0 15,-14 0-15,0 1 0,0-1 0,13 0 16,-13 0-16,0 1 16,-13-1-1,13 0-15,-14-13 0,1 13 16,0-13-16,0 0 0,-1 0 16,1 0-16,0 0 0,0 0 15,0 0-15,-1 0 0,1 0 16,0-13-16</inkml:trace>
  <inkml:trace contextRef="#ctx0" brushRef="#br0" timeOffset="-80677.95">21312 12184 0,'13'-13'0,"1"13"16,12-13 0,-26-1-16,13 1 15,-26 26 48,13 1-63,-13-14 0,13 13 15,0 0 1,13 0-16,-13 1 16,13-14-16,1 0 0,12 0 15,-13-14-15,0 14 16,1 0-16,-1-13 0,0 0 0,0 0 16,1-1-16,-1 1 0,0 0 0,0-14 15,14 14-15,-14 0 0,0-13 16,0 12-16,-13 1 0,14 0 0,-1 0 15,-13-1-15,-13 41 47,13-14-47,-14 0 0,1 1 16,13-1-16,-13 0 0,13 0 0,-13 0 16,13 1-16,0-1 0,0 0 15,0 0-15,0 1 0,13-1 16,-13 0-1,13-13-15,0 0 16,1-13 0,-1 13-1,0 13 17,0-13-17,1 13-15,-1-13 16,0 0-16,0 0 0,1 0 15,-1 14-15</inkml:trace>
  <inkml:trace contextRef="#ctx0" brushRef="#br0" timeOffset="-80350.12">22040 12158 0,'-13'-14'0,"-14"28"15,27-1 1,-13-13-16,13 13 15,0 0-15,0 1 16,0-1-16,0 0 16,13-13-1,-13 13-15,13-13 16,1 0 0</inkml:trace>
  <inkml:trace contextRef="#ctx0" brushRef="#br0" timeOffset="-79830.18">22304 12263 0,'-13'-26'16,"0"26"-1,13-13-15,0 0 16,0-1-16,0 1 15,13 0-15,-13 0 0,13-1 0,-13 1 16,14 0-16,-1 0 0,0-1 16,14 1-16,-14 0 0,0 0 0,0 13 15,-13-13-15,13 13 16,1 13 0,-41 0-16,14-13 15,0 13-15,-14 0 0,14 1 16,-13-1-16,-1 0 0,14-13 0,-14 13 15,14 1-15,0-1 0,0-13 16,0 13-16,-1 0 0,1-13 0,13 14 16,0-1 15,13-13-31,1 0 0,-1 0 16,0 0-16,0 0 0,0 0 15,14 0-15,-14-13 0,0 13 0</inkml:trace>
  <inkml:trace contextRef="#ctx0" brushRef="#br0" timeOffset="-79023.23">22979 12171 0,'-40'0'31,"27"13"-31,0-13 16,0 0-16,-1 13 0,1-13 15,13 14-15,-13-14 16,0 13-16,26 0 31,0-13-15,0 0-16,1 0 15,-14 13-15,13-13 16,0 0 0,0 13-16,1-13 15,-1 0-15,0 0 16,0 0-16,1 0 0,-1 0 16,0-13-16,0 0 0,14 13 15,-14-13-15,0 0 0,0-1 0,14 1 16,-14 0-16,14-14 0,-14 1 0,13 13 15,-13-14-15,14 14 0,-14 0 16,0 0-16,1-1 0,-1 1 16,0 0-16,-13 26 31,0 0-31,0 1 0,0-1 16,-13 0-16,0 0 0,13 14 0,-14-14 15,1 0-15,0 14 0,0-14 0,-1 0 16,1 14-16,0-14 0,-13 13 15,12-13-15,1 1 16,0-14-16,0 13 0,-1-13 31,1-13-31,26-1 32,1 1-32,-1 13 0,0-13 15,0 13-15,1-13 0,-1 13 16,0 0-16,0-13 0,0 13 15,1 0-15,-1 0 0,13-14 0,-12 14 16,-1 0-16,0 0 0,0 0 16,0-13-16,1 13 0</inkml:trace>
  <inkml:trace contextRef="#ctx0" brushRef="#br0" timeOffset="-78551.06">23918 12039 0,'-13'13'31,"0"0"-31,0 0 16,-1 0-16,1 1 0,0-1 0,0 0 15,-1 0-15,1 14 0,0-14 0,0 0 16,0 1-16,-1-1 0,14 0 15,-13 0-15,13 0 0</inkml:trace>
  <inkml:trace contextRef="#ctx0" brushRef="#br0" timeOffset="-78347.21">24024 12105 0,'27'-40'15,"-14"40"1,-26 13 0,13 0-16,-14 1 0,14-1 15,-13 0-15,0 14 0,0-14 16,13 0-16,-14 14 0,1-14 16,0 0-16,0 0 0,0 0 0</inkml:trace>
  <inkml:trace contextRef="#ctx0" brushRef="#br0" timeOffset="-78187">23812 12237 0,'14'-13'0,"39"0"31,-40 13-15,0 0-16,14 0 0,-14 0 0</inkml:trace>
  <inkml:trace contextRef="#ctx0" brushRef="#br0" timeOffset="-77931.15">24249 12118 0,'0'0'0,"13"-13"0,-39 26 47,13-13-47,13 13 0,0 0 15,-14-13-15,1 14 0,13-1 0,-13 0 16,0 0 0,-1 1-16,14-1 0,-13-13 0,13 13 15,-13 0-15,0-13 0,13 13 0,-13-13 16,-1 14-16,1-14 16,0 13-16,0-13 15,-1 0 1</inkml:trace>
  <inkml:trace contextRef="#ctx0" brushRef="#br0" timeOffset="-77243.67">24315 12158 0,'-39'26'32,"25"-26"-32,1 13 0,0 1 15,13-1-15,-13-13 0,-1 13 16,1 0-16,13 0 0,-13 1 0,13-1 15,0 0-15,-13 0 0,13 1 16,13-1-16,-13 0 16,13-13-16,0 0 15,1 0-15,-1 0 16,0 0-16,0-13 0,1 0 16,-1-1-16,0 1 0,0 0 15,-13 0-15,13-1 0,-13 1 0,14 0 16,-1-13-16,-13 12 15,0 1-15,0 0 16,0 0-16,-13 13 16,-1 0-1,1 0-15,0 13 0</inkml:trace>
  <inkml:trace contextRef="#ctx0" brushRef="#br0" timeOffset="-76923.58">24514 12184 0,'0'0'0,"0"27"31,0-14-15,-14-13-16,14 13 0,0 0 16,0 0-16,0 1 0,-13-14 15,13 13-15,0 0 0,-13 0 16,13 1-16,-13-14 16,0 13-16,-1-13 15,14 13-15,-13-26 16</inkml:trace>
  <inkml:trace contextRef="#ctx0" brushRef="#br0" timeOffset="-76699.21">24725 12065 0,'27'-26'31,"-14"39"-16,-13 0-15,0 0 16,-13 0-16,13 1 0,0-1 0,-13 0 16,13 0-16,-14 1 0,14-1 0,-13 0 15,0 14-15,13-14 0,-13 0 16,13 0-16,-14 0 0,14 1 16,-13-1-16,13 0 0,-13 0 15,13 1-15,-13-1 16</inkml:trace>
  <inkml:trace contextRef="#ctx0" brushRef="#br0" timeOffset="-76466.81">24619 12263 0,'27'-13'0,"13"0"31,-27 13-31,0 0 16,0 0-16,1 0 0,-1 0 16</inkml:trace>
  <inkml:trace contextRef="#ctx0" brushRef="#br0" timeOffset="-75987.94">24831 12303 0,'27'-13'31,"-27"0"-31,13 13 0,0-14 16,-39 28 31,26-1-47,-14-13 16,14 13-1,0 0-15,0 1 16,14-14-16,-14 13 15,13-26-15,0 13 16,0 0-16,1-14 0,-1 14 0,13-13 16,-13 0-16,14 0 0,-1-1 0,1-12 15,-1 13-15,1-14 0,-1 1 16,1 13-16,-14-1 0,0 1 0,14-13 16,-14 26-16,-13-14 0,-27 28 46,14-1-46,0 0 0,13 0 16,-13 1-16,-1-1 0,1 0 0,0 0 16,13 1-16,-13-1 0,-1 0 0,1 0 15,13 0-15,-13 1 0,13-1 16,0 0-16</inkml:trace>
  <inkml:trace contextRef="#ctx0" brushRef="#br0" timeOffset="-75834.06">25241 12343 0,'13'-13'16,"-65"26"-16,91-13 0,-12-13 16</inkml:trace>
  <inkml:trace contextRef="#ctx0" brushRef="#br0" timeOffset="-65686.1">14459 5067 0</inkml:trace>
  <inkml:trace contextRef="#ctx0" brushRef="#br0" timeOffset="-56886.52">18269 1627 0,'27'0'31,"-14"0"-15,0 0-16,1 0 15</inkml:trace>
  <inkml:trace contextRef="#ctx0" brushRef="#br0" timeOffset="-56027.14">19434 1654 0,'39'0'0,"-25"0"15,-1 0-15,0 13 16,0-13-16,0 0 0,1 0 0,-1 0 15,0 13-15,0-13 16,1 0-16,-1 0 0</inkml:trace>
  <inkml:trace contextRef="#ctx0" brushRef="#br0" timeOffset="-55398.9">21101 1693 0,'0'0'0,"26"0"32,-13 0-32</inkml:trace>
  <inkml:trace contextRef="#ctx0" brushRef="#br0" timeOffset="-53186.24">22886 2487 0,'14'-13'0,"-1"13"16,0 0-16,0 0 15,1 0-15,-1 0 0,0 0 16,0 0-16,1 0 16,-1 0-16,0 0 15,0 0-15</inkml:trace>
  <inkml:trace contextRef="#ctx0" brushRef="#br0" timeOffset="-51186.56">23389 2527 0,'40'0'15,"-27"0"-15,0 0 16,1 0-16,-1 0 0,-13 13 16,13-13-16,0 0 0,0 0 15,1 0-15,-1 0 0,0 13 32,-39-13-1,12 0-31,1 0 15,0 0-15,0 0 0,-14 0 16,14 0-16,0 0 16,0 0-1,-1 0-15,1 0 16,40 0 31,-14 0-32,0 0-15,0 0 16,1 0 0,-1 0-1,-40-13 17,14 13-17,0 0 1,39 0 124,-12 0 189,-1 13-298</inkml:trace>
  <inkml:trace contextRef="#ctx0" brushRef="#br0" timeOffset="-50047.22">24315 2500 0,'-13'-13'16,"39"13"578,-12 0-579,-1 0-15</inkml:trace>
  <inkml:trace contextRef="#ctx0" brushRef="#br0" timeOffset="-49080.83">25149 2487 0,'-14'0'109,"41"0"173,-14 0-267,-13-13-15</inkml:trace>
  <inkml:trace contextRef="#ctx0" brushRef="#br0" timeOffset="-47499.29">21484 1257 0,'0'0'0,"13"0"0,-13-13 0,0-1 16,0 1-16,0 0 15,0 0-15,0-1 16,0 1-16,0 0 15,-13 0-15,13-1 0,-13 14 0,13-13 16,-13 0-16,-1 0 0,1 13 0,0-13 16,-13-1-16,-1 1 0,14 13 15,-14-13-15,1 0 0,-1 13 0,1 0 16,13-14-16,-14 14 0,1 0 0,-1 0 16,14 0-16,-13 0 0,-1 14 15,1-14-15,-1 13 0,1 0 16,-1-13-16,1 13 0,0 14 0,-1-14 15,1 0-15,-1 14 0,1-1 16,-1-13-16,14 14 0,0-14 0,0 14 16,-1-14-16,1 26 0,0-12 15,13-14-15,0 14 0,0-14 16,0 13-16,0-12 0,0 12 16,13-13-16,-13 14 0,13-1 0,1-13 15,-1 14-15,13-1 0,1 1 0,-1-14 16,1 13-16,-1-12 0,1-1 0,12 0 15,-12 0-15,12 1 0,28 12 16,-41-26-16,14 13 0,-14-13 16,1 0-16,-1 13 0,0-13 15,14 0-15,-13 0 0,-1 14 0,1-14 16,-1 0-16,0 0 0,1 0 0,-1 0 16,1 0-16,13 0 0,-14 0 15,40-14-15,-26 14 0,0 0 16,-14 0-16,14-13 0,-14 13 0,1 0 15,-1-13-15,1 13 0,-1-13 16,-13 13-16,14-13 0,-1 13 16,-13-14-16,14 14 0,-14-13 0,13 0 15,-12 0-15,12 13 0,-13-14 16,14 1-16,-14 0 0,0 13 0,1-13 16,-1 0-16,0-1 0,0 1 0,0 13 15,1-13-15,-14 0 0,13-1 0,0 1 16,0 0-16,-13 0 15,14-1-15,-14 1 0,0 0 0,13 0 16,-13 0-16,0-1 0,0 1 0,0 0 16,0 0-16,0-14 0,0 14 15,-13 0-15,13-1 0,-14-12 0,1 13 16,0-14-16,0 14 0,-1 0 16,1-14-16,0 14 0,0 0 0,0 0 0,-1-1 15,1 1-15,0 0 16,0 0-16,-1 0 0,1-1 0,0 1 15,0 13-15,-14-13 0,14 0 0,0-1 16,-14 14-16,1-13 0,-1 0 0,14 0 16,-40-1-16,14 14 15,-1 0-15,0-13 0,14 0 0,-14 13 16,0-13-16,1 13 0,-1-13 16,0 13-16,1-14 0,-1 14 0,0 0 15,14 0-15,-14 0 0,14-13 16,-1 13-16,-13 0 0,14 0 0,13 0 15,-14 13-15,1-13 0,-1 0 0,14 0 16,-13 14-16,13-14 0,-1 0 16,1 13-16,0-13 0,0 13 0,-1-13 15,14 13-15,-13-13 0,13 13 0</inkml:trace>
  <inkml:trace contextRef="#ctx0" brushRef="#br0" timeOffset="-45690.3">15677 3784 0,'0'0'0</inkml:trace>
  <inkml:trace contextRef="#ctx0" brushRef="#br0" timeOffset="-43392.02">4101 4088 0,'-13'0'15,"0"0"32</inkml:trace>
  <inkml:trace contextRef="#ctx0" brushRef="#br0" timeOffset="-42802.45">8043 3784 0,'0'-14'31,"27"28"32,-27-1-48</inkml:trace>
  <inkml:trace contextRef="#ctx0" brushRef="#br0" timeOffset="-36414.29">21630 1588 0,'13'0'0,"0"-14"31,0 14-31,1 0 16,-1 0 171,-40 14-109,14-14-62</inkml:trace>
  <inkml:trace contextRef="#ctx0" brushRef="#br0" timeOffset="-34199.81">25043 2514 0,'39'0'47,"-25"0"-47,-14 13 0,13-13 16,0 0-16,0 0 0,1 0 16,-1 0-16,0 0 0,0 0 0,1 13 15,-1-13-15,0 0 16,0 0-16,0 0 15,-39-13 32,13 13-47,0 0 0,-1 0 16,1 0-16,0 0 16,0 0-16,-1 0 0,1-13 15,0 13-15,0 0 16,-1 0-16,1 0 15,53 0 32,-27 0-47,0 0 0,1 0 0,-1 0 16,0 0-16,0 0 16,14 0-16,-14 0 15,0 0-15,0 0 16,-13-14 15,-26 14-15,13 0-1,0 0 1,-1 0-16,1 0 0,0-13 16,0 13-1,26 13 79,0-13-63</inkml:trace>
  <inkml:trace contextRef="#ctx0" brushRef="#br0" timeOffset="-32303.83">23720 3731 0,'40'0'0,"-27"0"0,0 0 16,0 0-16,0 0 0,1 0 16,-1 0-16,0 0 15,0 0-15,1 0 16,-41 0 15,14-14-31,0 14 16,-1 0-16,1 0 0,0 0 15,0-13-15</inkml:trace>
  <inkml:trace contextRef="#ctx0" brushRef="#br0" timeOffset="-31374.29">24778 3109 0,'-39'0'46,"25"0"-46,1 0 16,0 0-16,0 0 16,-1 0-1,1 0 1</inkml:trace>
  <inkml:trace contextRef="#ctx0" brushRef="#br0" timeOffset="-30918">24659 3096 0,'-26'-14'32,"12"28"-17,-12-14-15,13 0 0,0 0 0,-14 13 16,1 0-16,-1-13 0,-12 13 16,-1 1-16,0-14 0,0 13 0,14 0 15,0-13-15,-1 13 0,1 0 0,-1-13 16,1 14-16,12-14 0,-12 13 15,0-13-15,12 0 0,1 13 16,-13-13-16,12 0 0,1 0 0,13 13 16,-13-13-16,0 0 0,-1 0 15,1 14-15,0-14 16,0 0 0,0 0-1</inkml:trace>
  <inkml:trace contextRef="#ctx0" brushRef="#br0" timeOffset="-30286.17">24024 3149 0,'-13'13'15,"0"-13"1,13 13-16,-14-13 0,1 13 16,0-13-16,13 13 15,-13-13-15,0 14 0,-14-1 16,14 0-16,0 0 16,-1 1-1,1-14-15,13 13 16,0 0-1,13-13 1,-13 13-16,14-13 16,-14 14-1,13-14-15,0 0 16,0 0-16,-13 13 16,14-13-16,-1 0 15,0 0 1,-13 13-16,13-13 15,0 0 17,1 0 46,-1 13-63,0-13 1</inkml:trace>
  <inkml:trace contextRef="#ctx0" brushRef="#br0" timeOffset="-24310.19">17529 11536 0,'26'13'47,"-13"0"-47,1 1 15,-1-14-15,13 13 0,1-13 0,-1 13 16,1 0-16,12 0 0,1-13 0,0 14 16,-1-1-16,1-13 0,-13 13 15,12-13-15,-12 0 0,12 0 16,-12 0-16,13 0 0,-14 0 0,27 0 16,-13-13-16,-1 13 0,1-13 15,0-1-15,-1 1 0,27-13 16,-26 13-16,-13-1 0,-14 1 0,13 0 15,1 0-15,-14-14 0,13 1 16,-12-1-16,-1 14 0,0-13 16,0 12-16,1-12 0,-14 13 0,13-14 15,-13 1-15,0 12 0,13-12 16,-13 0-16,-13 12 0,13-12 0,0-27 16,-13 26-16,-1 1 0,14 0 15,-26-1-15,13 1 0,-1-1 16,-25-26-16,12 40 0,1-13 15,-1 12-15,1-12 0,-1 13 16,1-1-16,0-12 0,-14 13 0,13 0 16,-12-1-16,12 1 0,1 13 15,-1-13-15,-12 0 0,12 13 16,1 0-16,-27-14 0,26 14 16,1 0-16,-27 0 15,27-13-15,-1 26 0,1-13 16,-1 0-16,1 0 0,-27 14 15,26-14-15,1 13 0,-1 0 0,-12 0 16,12-13-16,1 14 0,-1-1 0,1 0 16,-1 0-16,14 0 0,-13 1 15,-1-1-15,1 0 0,-1 0 0,14 1 16,-13-1-16,-1 13 0,1-12 0,-1 12 16,14-13-16,-13 14 0,-1-1 15,14 1-15,0-1 0,-14 0 0,14 14 16,0-13-16,0-1 0,13 14 0,-14-14 15,14 1-15,-13-1 0,13 1 16,13-1-16,-13 14 0,14-14 0,12 14 16,0-14-16,1 1 0,13-14 15,-1 14-15,54-1 0,-27-13 16,40 14-16,-53-27 16,0 0-16,-14 0 0,14 0 0,-13 0 15,-14 0-15,1 0 0,-1 0 0,1 0 16,-1 0-16,-12-14 0,12 14 15</inkml:trace>
  <inkml:trace contextRef="#ctx0" brushRef="#br0" timeOffset="-20883.63">14909 13084 0,'0'0'0,"66"-27"0,-26 27 15,0-13-15,26 0 0,-13 0 0,13-1 16,0 1-16,14 0 0,-14 0 0,79-14 15,-79 27-15,0-13 16,1 0-16,-14 13 0,-1-14 16,1 1-16,-13 13 0,0-13 0,13 13 15,-27-13-15,1 13 0</inkml:trace>
  <inkml:trace contextRef="#ctx0" brushRef="#br0" timeOffset="-20538.11">14605 13229 0,'40'-13'0,"-14"0"16,14 13-16,26-27 0,-13 14 0,13 0 15,0 0-15,14-1 0,-14 1 0,13 13 16,-13-13-16,14 0 0,-14-1 16,0 14-16,0-13 0,-13 13 0,0-13 15,0 13-15,0 0 0,0-13 0,-14 13 16,27-13-16,-26 13 16,-13 0-16,-14 0 0,13-14 0,-12 14 15,12 0-15,-13 0 0,0 0 16,1-13-16,-1 13 0,0 0 0,0-13 15,1 13 1</inkml:trace>
</inkml:ink>
</file>

<file path=ppt/ink/ink29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1:47:07.992"/>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4829 2461 0,'-27'0'0,"14"0"32,0 0-32,-1 0 15,14-14 16,27 28 1,-1-14-32,-12 0 15,25 13-15,1-13 0,66 0 16,-40 0-16,-13 0 0,0 0 16,13 0-16,-13 0 0,0 0 0,0 0 15,0 0-15,0 0 0,-1 0 16,-12 0-16,-13 0 0,12 0 0,-12 0 15,12 0-15,-12 0 0,-14 0 16,14 0-16,-14 0 0,13 0 0,-12 0 16,-1 0-16,0 0 0,0 0 15,0 0-15</inkml:trace>
  <inkml:trace contextRef="#ctx0" brushRef="#br0" timeOffset="427.03">5278 2580 0,'40'0'0,"-13"0"0,26 0 16,-14 0-16,1 0 0,13 0 15,0 0-15,0 13 0,0-13 16,66 0-16,-66 0 16,-1 13-16,1-13 0,-13 0 0,13 0 15,-13 0-15,-1 13 0,1-13 16,-14 0-16,27 0 0,-26 0 15,-14 0-15,27 0 0,-27 14 16,0-14-16,0 0 0,1 0 16,-1 0-16,0 0 15,0 0-15,1 0 32,-1 13-17</inkml:trace>
  <inkml:trace contextRef="#ctx0" brushRef="#br0" timeOffset="1083">8229 2447 0,'39'0'15,"-12"0"-15,12 0 16,14 0-16,0 0 0,0 0 15,0 0-15,13 0 0,0 0 16,-13 0-16,13 0 0,1 0 0,-1 0 16,0 0-16,-13 0 0,13 0 0,-13 0 15,0 0-15,-14 0 0,-12 0 0,13 0 16,-14 0-16,0 0 0,1 0 16,-14 0-16,0 0 0,1 0 15,-1 0-15,13 0 0,-12 0 0,-1 0 16,-13-13-1,-27 13 1</inkml:trace>
  <inkml:trace contextRef="#ctx0" brushRef="#br0" timeOffset="1894.5">8268 2619 0,'53'14'16,"-40"-1"-16,14-13 0,52 13 16,-26-13-16,0 13 0,0-13 0,79 14 15,-52-1-15,52 0 16,-79-13-16,0 0 0,0 13 15,0-13-15,0 0 0,-1 13 16,-12-13-16,-13 0 0,-1 14 0,14-14 16,-1 0-16,-25 0 0,39 13 15,-40-13 1,0 0-16,0 0 0,0 0 16,1 0-16,-1 0 15,0 0-15,0 0 16,-13 13-1,14-13 1,-1 0 0,-26-26 281</inkml:trace>
  <inkml:trace contextRef="#ctx0" brushRef="#br0" timeOffset="7144.2">18468 516 0,'0'-13'32,"0"39"-17,-13-13 1,13 1-16,-14-1 0,14 0 15,0 0-15,-13 14 0,13-14 16,0 0-16,-13 0 0,13 1 16,-13-1-16,13 0 0,0 0 15,0 1-15,-13-1 16</inkml:trace>
  <inkml:trace contextRef="#ctx0" brushRef="#br0" timeOffset="7520.99">18719 489 0,'-13'0'16,"0"0"-16,0 0 16,-1 0-16,1 0 15,13 14-15,0-1 16,-13 0-16,13 0 0,0 1 16,0-1-16,0 0 15,13 0-15,-13 1 0,0-1 16,0 0-16,13 0 0,-13 0 15,0 1 1,0-1-16,-13 0 16,0-13-16,0 13 0,-1-13 15,1 14-15,0-14 0,0 0 16,-14 0-16</inkml:trace>
  <inkml:trace contextRef="#ctx0" brushRef="#br0" timeOffset="7735.99">18904 423 0,'14'0'0,"-28"0"0,28-13 16,-14 40 15,0-14-31,0 0 0,0 0 0,0 0 15,-14 1-15,14-1 16,0 13-16,0-12 0,0-1 0,0 13 16,-13-12-16,13 12 0,-13 0 15,13-12-15</inkml:trace>
  <inkml:trace contextRef="#ctx0" brushRef="#br0" timeOffset="7917.75">18799 688 0,'0'-13'0,"0"-1"0,13 1 16,0 13-1,27-13 1,-27 13 0,0 0-16,0 0 0,120-13 31</inkml:trace>
  <inkml:trace contextRef="#ctx0" brushRef="#br0" timeOffset="8686.95">19553 489 0,'0'-13'0,"-40"13"31,27 13-31,-14 1 16,1-1-16,13 0 0,-1 14 0,-12-14 0,13 0 15,-14 27 1,27-27-16,-13 13 0,0 1 15,13-14-15,13 14 16,-13-14-16,13-13 16,1 13-16,-1 0 0,26-13 15,-25 0-15,25 0 16,-12-13-16,-14 13 0,40-13 16,-27 0-16,-12-1 0,-1 14 15,13-13-15,1-13 16,-14 12-16,0 1 15,-26 0 1,0 13 0,0 0-16,13 13 15,-27-13-15,14 13 16,0 1-16,-1-1 16,14 0-1,0 0-15,14-13 16,-1 0-1,0 0-15,14-13 16,-14 13-16,0 0 0,13-13 16,-12 13-16,-1 0 15,0 0-15,-13 13 16,13-13-16,1 0 0,-14 13 16,0 1-16,0-1 31,0 0-16,13-39 48,-13 12-63,13 1 16,0 0-1,1 13-15,-1 0 16,0 0-16,0-13 15,0 13-15</inkml:trace>
  <inkml:trace contextRef="#ctx0" brushRef="#br0" timeOffset="9076.51">20029 635 0,'0'-26'15,"-13"26"16,-1 13-31,14 0 0,-13-13 16,13 13-16,-13 0 16,26 14-1,0-27 1,1 0 0,-1 0-16,0 0 0,-13-13 15,13-1-15,1 1 0,12-26 16,1 12-16,-14 1 15,0-1-15,0 14 16,0 0 0,-26 39-1,0 1 1,0-1 0,13-13-16,0 1 0,-13-1 0,13 13 15,-14-13-15,14 1 0,0-1 16,0 0-16,14 0 15,-1 1-15</inkml:trace>
  <inkml:trace contextRef="#ctx0" brushRef="#br0" timeOffset="9288.37">20664 622 0,'13'0'47,"0"13"-32</inkml:trace>
  <inkml:trace contextRef="#ctx0" brushRef="#br0" timeOffset="9423.18">20558 728 0,'0'0'15,"13"13"1,1-13 0,-1 0-16,0 0 15,0 0-15,1 0 0,-1 0 16,0 0-16,0 0 0</inkml:trace>
  <inkml:trace contextRef="#ctx0" brushRef="#br0" timeOffset="10011.98">21220 463 0,'-14'26'31,"14"-12"-15,-13 12-16,0-13 0,13 1 16,-13 12-16,-1-13 0,1 14 0,0-1 15,0 1-15,13-14 16,0 0-16,-13 0 0,13 1 0,0-1 16,0 0-16</inkml:trace>
  <inkml:trace contextRef="#ctx0" brushRef="#br0" timeOffset="10303.29">21484 569 0,'0'0'0,"-13"0"16,0 0-16,-1 0 15,1 0-15,0 0 0,-13 0 0,12 13 16,1-13-16,-13 13 0,12-13 15,1 0-15,0 14 0,0-14 16,-1 13-16,1-13 0,13 13 0,-13-13 16,13 13-16,-13-13 0,13 13 15,0 1-15,0-1 16,13-13-16,0 13 16,0-13-16,1 13 0,-1-13 15,0 0-15,0 0 0,14 0 0,-14 0 16,0 0-16,1 0 0</inkml:trace>
  <inkml:trace contextRef="#ctx0" brushRef="#br0" timeOffset="10451.23">21564 675 0,'26'-14'0,"-13"14"31,-13 14-15,0-1-1,0 0 1,0 0-16,0 1 15,0-1-15,13 0 16</inkml:trace>
  <inkml:trace contextRef="#ctx0" brushRef="#br0" timeOffset="10599.34">21696 595 0,'0'-13'0,"0"26"0</inkml:trace>
  <inkml:trace contextRef="#ctx0" brushRef="#br0" timeOffset="10971.22">21709 609 0,'0'13'16,"-13"0"-16,13 0 16,0 0-16,-13 1 15,13-1 1,0 0-16,-14-13 15,14 13 1,27-26 31,-14 13-47,-13-13 0,13 13 16,1 0-16,52 0 31,-53 0-16,0 0-15,-13 13 0,13-13 16,1 13-16,-1-13 16,0 14-16,0-14 15</inkml:trace>
  <inkml:trace contextRef="#ctx0" brushRef="#br0" timeOffset="11486.02">22146 622 0,'-14'-13'16,"1"26"30,13 0-30,0 0-16,0 0 16,0 1-16,0-1 15,0 0-15,0 0 0,0 1 16,0-1 0,0 0-1,0 0-15,-13 1 0,0-1 16,-1-13-1,14 13-15,-13-13 0,13 13 0,-13-13 16,0 13 0,26-39 15,0 13-15,0 0-16,1-1 0,12 1 0,1 0 15,-1 0-15,-13-1 0,14 1 16,-14 0-16,40-14 0,-40 27 15,0-13-15,14 0 0,-14 13 0,-13-13 16,13 13-16,1-13 0,-1 13 16,-26-14-1</inkml:trace>
  <inkml:trace contextRef="#ctx0" brushRef="#br0" timeOffset="12170.27">18389 1257 0,'79'0'31,"-66"0"-31,0 13 16,-13 0-16,0 0 0,0 1 16,-13-1-16,0 13 15,0-12-15,-1-1 0,1 0 16,0 0-16,0 1 0,0-14 15,13 13-15,-14-13 0,1 13 16,0-13 0,26 13-1,0-13-15,1 0 16,-1 0-16,0 0 0,0 0 0,0 0 16,14 0-16,-1 0 0,-12 0 15,12-13-15,-13 13 16,1 0-16</inkml:trace>
  <inkml:trace contextRef="#ctx0" brushRef="#br0" timeOffset="12519.3">18759 1151 0,'-13'-13'16,"13"26"-1,-14 0-15,14 0 0,-13 1 16,13-1-16,-13 0 0,13 0 16,-13 1-1,13-1-15,13-26 63,0-1-63,0 14 15,1 0-15,-1 0 32,0 0-32,27 27 31,-27-27-31,0 0 16,1 0-16</inkml:trace>
  <inkml:trace contextRef="#ctx0" brushRef="#br0" timeOffset="12832.15">18957 1217 0,'14'-13'0,"-28"0"16,1 13 0,0 0-1,0 0 1,13 13-16,13-13 47,0 0-47,0-13 0,1-1 15,-1 14-15,0-26 16,0 13-16,1 13 0,-14-14 16,13 1-16,0 0 0,-13 0 15,-13 52 17,0-25-17,13-1-15,-14 0 0,14 0 0,-26 14 16,26-1-16,-13-12 15,13-1-15,-14 0 0,28 0 0,-14 14 16,13-14-16</inkml:trace>
  <inkml:trace contextRef="#ctx0" brushRef="#br0" timeOffset="13467.03">19473 1217 0,'-13'0'0,"26"0"0,-39-13 16,13 26-1,-1-13-15,1 13 16,0-13-16,0 14 0,13-1 0,-13 0 16,-1 0-16,1 0 0,0 1 0,13-1 15,-13 0-15,13 0 0,0 1 16,-14-1-16,28 0 0,-14 14 15,13-27-15,0 13 0,0-13 16,1 0-16,12 0 16,-13 0-16,14 0 0,-1-13 15,-13-1-15,1 14 0,-1-13 16,0 0-16,0 0 16,-13-1-16,0 1 15,0 0 1,-13 13-1,0 0-15,0 0 16,13 13 15,0 0-15,13-13-16,0 14 16,0-1-1,0-13-15,-13 13 0,14-13 16,-14 13-16,13-13 15,-13 14-15,0-1 16,13-26 62,-13-1-78,13 14 0,1-13 16,-1 13-16,-13-13 0,13 13 15,0 0-15,1-13 0,-1 13 16,13-14-16,-13 14 16,1-13-16</inkml:trace>
  <inkml:trace contextRef="#ctx0" brushRef="#br0" timeOffset="13804.18">19791 1323 0,'-27'0'31,"1"0"-31,13 0 16,13 13-16,-14-13 0,1 13 15,0 1 1,26-1 0,-13 0-1,13-13-15,1 0 0,12 0 16,-26-13-16,13 13 0,14-13 16,-14-1-16,0 1 15,1 0-15,-1 0 0,0-1 16,0 1-16,-13 0 0,13 13 15,-13-13-15,14 0 16,-28 26 15,14 0-31,0 0 16,-13-13-16,13 13 0,0 14 16,-13-14-16,13 0 0,0 1 15,0-1-15,0 0 0,13-13 16,-13 13-16,0 1 15</inkml:trace>
  <inkml:trace contextRef="#ctx0" brushRef="#br0" timeOffset="14033.85">20571 1336 0,'27'-13'0,"-14"13"0,0 0 15</inkml:trace>
  <inkml:trace contextRef="#ctx0" brushRef="#br0" timeOffset="14215.23">20479 1402 0,'0'0'0,"13"14"31,0-14-15,14 0-16,-14 0 0,0 0 15,0 0-15,1 0 0,-1 0 16,0 0-16,14 0 0,-14 0 16,0 0-16</inkml:trace>
  <inkml:trace contextRef="#ctx0" brushRef="#br0" timeOffset="14548.12">21220 1204 0,'0'0'16,"-14"26"0,14-12-1,-13-1-15,0 13 0,13-13 16,-13 1-16,-1 25 0,1-25 16,13 12-16,-13-13 15,13 1-15,-13-1 0,13 0 16,0 0-16,0 0 0</inkml:trace>
  <inkml:trace contextRef="#ctx0" brushRef="#br0" timeOffset="14982.55">21392 1296 0,'-40'0'0,"27"0"0,-1 14 16,1-14-16,-27 13 0,27-13 16,-40 26-1,53-12 1,-13-14-16,13 13 0,0 0 16,0 0-1,13-13-15,-13 14 0,14-14 0,-1 0 16,0 13-16,0-13 0,14 0 15,-1 13-15,-13-13 16,1-13-16,-1 13 0,13 0 16,-12 0-16,-1-13 0,0 13 15,0 0-15,0-14 0,1 14 0,-1 0 16,0 0-16,0-13 16,1 13-1,-14 13 1,0 1-1,0-1 1,0 0-16,0 0 16,0 0-16</inkml:trace>
  <inkml:trace contextRef="#ctx0" brushRef="#br0" timeOffset="15119.2">21603 1349 0,'0'0'0,"0"-13"0</inkml:trace>
  <inkml:trace contextRef="#ctx0" brushRef="#br0" timeOffset="15465.05">21669 1363 0,'14'26'16,"-14"-13"-1,0 1 1,0-1-1,0 0 17,26-13-1,-13 0-15,1 0-16,12 0 15,-13 0 1,0 0-1,1 13-15,-1-13 16,0 0-16</inkml:trace>
  <inkml:trace contextRef="#ctx0" brushRef="#br0" timeOffset="15821.09">21934 1416 0,'-26'13'31,"12"-13"-31,14 13 16,-13 0-16,13 0 0,-13 1 15,13-1 1,-13 0-16,13 0 15,-14 1-15,1-1 0,0 0 16,0 0 0,-1-13-1,41-26 17,-14 26-32,0-13 15,1 13-15,-1 0 0,0-14 16,0 14-16,1-13 0,12 13 15,-26-13-15,13 13 0,0 0 16</inkml:trace>
  <inkml:trace contextRef="#ctx0" brushRef="#br0" timeOffset="16568.29">22767 1244 0,'0'-14'31,"14"1"-31,-1 26 16,0-13-1,-13 14 1,13-14-16,-13 13 0,0 0 15,14-13-15,-14 13 0,0 0 0,0 1 16,0-1-16,0 0 0,0 0 16,0 1-16,-14-1 0,14 0 0,0 0 15,-13 1-15,13-1 0,-13 0 16,13 0-16,-13 0 0,13 1 16,0-1-16,-14-13 0,14 13 15,0 0-15,-13 1 0,13-1 16,0 0-16,0 0 15,0 14-15</inkml:trace>
  <inkml:trace contextRef="#ctx0" brushRef="#br0" timeOffset="16730.9">22767 1733 0</inkml:trace>
  <inkml:trace contextRef="#ctx0" brushRef="#br0" timeOffset="26535.5">3678 5900 0,'53'0'0,"-40"0"0,0 0 0,0 0 0</inkml:trace>
  <inkml:trace contextRef="#ctx0" brushRef="#br0" timeOffset="26718.95">3638 5993 0,'-13'13'15,"39"-26"32,-13 13-47,1 13 16,-1-13-16</inkml:trace>
  <inkml:trace contextRef="#ctx0" brushRef="#br0" timeOffset="27263.05">3916 7726 0,'40'-13'32,"-27"13"-32,13-14 15,-13 14-15,1 0 0,-1 0 16,0 0-16,0 0 16</inkml:trace>
  <inkml:trace contextRef="#ctx0" brushRef="#br0" timeOffset="27443.05">3916 7858 0,'0'0'0,"-13"0"15,13 13 1,13-13 0,0 0-16,14 0 15,-14 0 1,0-13-16,13 13 15,-12 0-15,12 0 0,-13-13 0</inkml:trace>
  <inkml:trace contextRef="#ctx0" brushRef="#br0" timeOffset="94091.61">1852 6376 0,'-13'14'31,"13"-1"-31,0 0 0,0 14 16,-13-14-16,13 0 0,0 0 16,0 1-16,0-1 0,-14 40 15,1-40-15,13 13 16,0-12-16,-13-14 0,13 26 15,-13-13-15,13 1 16,0-1 0</inkml:trace>
  <inkml:trace contextRef="#ctx0" brushRef="#br0" timeOffset="94446.65">2037 6469 0,'-13'-13'31,"0"26"-31,-14-13 16,1 13 0,13-13-16,13 14 0,-27-14 15,14 13-15,0-13 0,0 0 16,13 13-16,-14-13 0,14 13 0,-13-13 15,13 13-15,0 1 16,13-1 0,1-13-1,-14 13-15,13-13 0,0 0 0,0 13 16,0-13-16,1 0 0,-1 0 16,0 0-16,-13 14 15,13-14-15,1 0 16,-1 0-16</inkml:trace>
  <inkml:trace contextRef="#ctx0" brushRef="#br0" timeOffset="94806.69">1773 6271 0,'0'0'0,"-14"0"0,1 13 0,13 0 16,-26 14-16,13-14 0,-1 0 15,1 13-15,0 1 0,0-1 16,-1 1-16,1-1 0,13-12 0,-13 12 16,13-13-16,-13 14 0,13-14 0,0 0 15,0 14-15,0-14 0,0 0 16,0 0-16,0 1 0,13-1 0,-13 0 16,0 0-16,26 0 15,-12-13-15,-1 14 0,0-14 0,0 0 16,1 0-16,-1 0 0,0 0 15,13-14-15</inkml:trace>
  <inkml:trace contextRef="#ctx0" brushRef="#br0" timeOffset="95121.99">2064 6231 0,'26'13'0,"-13"0"0,1 1 15,-1-1-15,0 0 0,0 0 16,1 14-16,-14-14 0,13 13 15,0-12-15,0 12 0,-13 1 0,0-14 16,0 13-16,0-12 0,0 12 16,-13-13-16,0 27 0,-14-27 0,14 14 15,-13-1-15,-1-13 0,1 14 0,-1-14 16,1 0-16,-1 0 0</inkml:trace>
  <inkml:trace contextRef="#ctx0" brushRef="#br0" timeOffset="95598.64">1111 6482 0,'13'-13'32,"-26"40"-17,13-14-15,0 0 0,0 0 16,0 0-16,-13 14 0,13-14 16,0 0-16,0 14 0,-13-14 0,13 0 15,0 1-15,0 12 0,-13-13 16,13 0-16,0 1 0,0-1 0,-14 0 15,14 0 1,0 1-16</inkml:trace>
  <inkml:trace contextRef="#ctx0" brushRef="#br0" timeOffset="95946.69">1058 6456 0,'0'-13'15,"0"26"-15,14-40 16,-1 41-1,0-14-15,0 13 16,0 0-16,1 0 0,-1-13 16,-13 14-16,13-1 0,0 0 15,-13 0-15,14 0 16,-14 1-16,-14-1 0,14 0 16,-13 0-16,0 1 0,13-1 15,-13-13-15,-1 13 0,1-13 16,0 0-16,13 13 0,-13-13 15,0 0-15,-1 14 16</inkml:trace>
  <inkml:trace contextRef="#ctx0" brushRef="#br0" timeOffset="139729.42">5530 5609 0,'13'0'15,"-26"13"64,0 1-79,-1-1 0,1-13 15,0 13-15,-27 0 16,27 1-16,-13-14 0,12 13 15,1 0-15,0-13 0,-27 26 16,27-12-16,0-14 0,-1 13 16,1-13-16,13 13 15,0 0-15,0 1 16,13-14-16,1 0 16,-1 0-16,0 13 0,14-13 15,-14 0-15,13 0 0,1 0 16,-1 0-16,-13 0 0,14 0 15,-14 0-15,0 0 0,1 0 16,-1 0-16,0 0 0,0 0 16,-13-13-16,13 13 0</inkml:trace>
  <inkml:trace contextRef="#ctx0" brushRef="#br0" timeOffset="139990.57">5583 5596 0,'-14'13'15,"14"0"1,-13 1-16,13-1 0,-13 27 16,0-27-16,13 13 0,-13 1 15,13-14-15,-14 13 0,1 14 16,13-27-16,0 1 0,-13-1 15,13 0-15,0 0 0,-13 0 0,13 1 16,0-1-16,0 0 16,-14-13-16,14 13 0</inkml:trace>
  <inkml:trace contextRef="#ctx0" brushRef="#br0" timeOffset="140287.81">4934 6006 0,'0'0'0,"40"13"15,-27-13 1,1-13-16,12 13 0,1 0 0,-1 0 15,14 0-15,-1 0 0,14-13 0,-13 13 16,0 0-16,-1 0 0,-12 0 16,13-13-16,12 13 0,-25 0 15,-1 0-15,1 0 0,-14 0 16,0-14-16,0 14 0,14 0 0,-14 0 16,0 0-16,1 0 15,-14-13-15</inkml:trace>
  <inkml:trace contextRef="#ctx0" brushRef="#br0" timeOffset="140867.47">5305 6178 0,'-53'0'31,"40"0"-31,0 13 0,-27-13 16,13 0-16,14 13 0,-13-13 16,12 14-16,1-14 0,0 13 15,0-13-15,0 0 0,13 13 16,0 0-1,13-13 1,-13 14-16,13-14 0,0 0 16,0 13-16,1-13 0,-14 13 0,13-13 15,0 13-15,0-13 0,1 14 16,-1-1 0,-13 0-16,0 0 15,-13 0 1,-1 1-16,1-14 0,13 13 15,-13-13-15,0 0 0,-1 13 0,1-13 16,0 0-16,0 13 0,0-13 16,-1 0-16,1 0 0,0 0 0,0 0 15,-1 0-15</inkml:trace>
  <inkml:trace contextRef="#ctx0" brushRef="#br0" timeOffset="141260.66">5464 6204 0,'26'14'15,"-52"-28"-15,65 28 0,-25-14 0,-1 13 16,0 0-1,-26 14-15,0-14 16,-1 0-16,1 0 16,0 1-16,0-1 0,-1 0 0,1-13 15,0 13-15,0 0 0,0-13 0,-1 14 16,1-1-16,0-13 16,13 13-16,13 0 15,0-13 1,1 0-16,-1 0 15,0 0-15,0 0 0,0 0 16,1-13-16,-1 13 0,0 0 0,27 0 16,-27 0-16,-13-13 0,13 13 15,0 0-15,1 0 0,-1-13 16,0 13-16,0 0 16</inkml:trace>
  <inkml:trace contextRef="#ctx0" brushRef="#br0" timeOffset="142126.62">6707 5794 0,'0'14'78,"0"-1"-78,0 0 0,0 0 16,0 1-1,0-1 1,13-13-16,1 0 0,-14 13 16,13-13-16,0 0 0,14 0 0,-14-13 15,13 13-15,1 0 0,26 0 16,-14-13-16,-12 13 0,12 0 0,-12-14 16,39 14-16,-39 0 0,-1-13 15,0 13-15,-12 0 0,12 0 16,-13 0-16,1-13 0,-1 13 0,0 0 15,0 0-15,0 0 0,1 0 16,-1 0 0,-40 0 15</inkml:trace>
  <inkml:trace contextRef="#ctx0" brushRef="#br0" timeOffset="143358.46">1283 8572 0,'0'-13'0,"-13"40"47,13-14-31,0 0-16,0 0 0,0 1 0,-13 12 15,13-13-15,-13 1 0,13-1 0,0 13 16,0-13-16,-14 1 0,14-1 15,0 0-15,0 0 0,-13-13 0,13 14 16,0-1-16,13 0 16,1-13-1</inkml:trace>
  <inkml:trace contextRef="#ctx0" brushRef="#br0" timeOffset="143769.79">1230 8546 0,'0'-26'0,"0"12"16,14 14-1,-1-13-15,0 13 16,0 0-16,0 0 0,1 0 16,-1 13-16,0 1 15,0-14-15,-13 13 0,14 0 0,-1 0 16,-13 0-16,0 1 15,0-1-15,-13 0 0,13 0 16,-14 1-16,1-14 0,13 13 16,-13-13-16,0 13 0,-1 0 0,1-13 15,0 14-15,0-14 16</inkml:trace>
  <inkml:trace contextRef="#ctx0" brushRef="#br0" timeOffset="145176.15">1680 8387 0,'0'-13'15,"-13"40"1,13-14 0,0 0-16,-13 0 0,13 14 15,-14-1-15,14-13 0,-13 14 0,0-1 16,13 1-16,0-1 0,-13-13 15,13 14-15,0-14 0,0 14 0,0-14 16,0 0-16,0 0 0,0 0 0,0 1 16,0-1-16,13 0 0,0 0 15,-13 1-15,13-14 16,-13 13-16,14-13 16,-1 0-16,0 0 0,14 0 15,-14 0 1</inkml:trace>
  <inkml:trace contextRef="#ctx0" brushRef="#br0" timeOffset="145667.54">1826 8520 0,'0'26'31,"-14"-13"-15,14 0-16,0 1 0,0-1 16,-13 0-16,13 0 0,-13 1 15,13-1-15,0 0 16,0 0-16,-13-13 0,13 14 16,0-1-16,0 0 0,0 0 31</inkml:trace>
  <inkml:trace contextRef="#ctx0" brushRef="#br0" timeOffset="146055.79">1984 8559 0,'-26'13'15,"13"-13"1,-1 0-16,1 14 16,0-14-16,13 13 0,-13-13 15,0 13 1,-1 0 0,14 1-1,0-1 16,14-13-15,-14 13-16,13-13 16,0 0-16,-13 13 15,13-13-15,0 0 16,1 0 0,-1 0-1,0 0 1</inkml:trace>
  <inkml:trace contextRef="#ctx0" brushRef="#br0" timeOffset="147359.87">2249 8361 0,'13'0'31,"-26"26"0,13-12-31,0 12 16,0-13-16,0 0 0,0 14 16,-13-14-16,13 0 0,0 14 15,0-14-15,0 0 0,-14 0 0,14 1 16,0-1-16,0 0 0,0 0 0,0 1 15,0-1-15,-13 0 16,13 0-16,0 1 0,0-1 16,0 0-16,0 0 15,0 0 1,0 1 0,13-28 30,1 1-46,-14 0 0,13-13 16,-13 12-16,13 1 0,-13-13 16,13 12-16,-13-12 0,0 13 0,14-1 15,-14 1-15,0 0 0,13 0 16,-13 0-16,0-1 0,0 1 0,13 0 16,-13 0-1,0-1 1,0 1-16,0 0 47,0 0-32,0 0 63,0-1 63,0 1-125,0 0-1,0 0 1,0-1-16,-13 1 31,13 40 16,-13-27-47,13 26 0,0-13 16,0 1-16,-14-1 0,14 13 0,-13-13 15,13 14-15,-13-1 0,13-12 16,-13 12-16,13-13 0,-14 0 16,14 14-16,-13-14 0,13 0 0,0 1 15,-13-1-15,13 0 0,-13 0 16,13 1-16,0-1 15,0 0-15,-13-13 0,26 13 32,0-26-17,-13 0-15</inkml:trace>
  <inkml:trace contextRef="#ctx0" brushRef="#br0" timeOffset="147891.94">2474 8480 0,'0'-13'16,"13"39"-1,-13-13 1,0 1-16,0-1 0,-13 0 15,13 0-15,0 0 16,0 1-16,0-1 0,0 0 0,-13 0 16,13 1-16,0-1 15,0 0-15,-14 0 16</inkml:trace>
  <inkml:trace contextRef="#ctx0" brushRef="#br0" timeOffset="148343.1">2778 8533 0,'-26'13'16,"12"-13"-1,1 0-15,0 13 0,0-13 16,0 13-16,-1-13 0,-12 14 0,13-14 16,-1 13-16,1-13 0,0 13 15,0-13-15,-1 13 16,1-13-16,13 14 15,-13-14-15,26 13 32,0-13-32,1 13 15,-1-13-15,0 0 16,14 0 0,-14 13-1,0-13-15,0 0 16,1 0-1,-1 0 1,0-13 0,0 13-16</inkml:trace>
  <inkml:trace contextRef="#ctx0" brushRef="#br0" timeOffset="148847.46">2765 8281 0,'26'14'47,"-12"-1"-47,-1-13 16,-13 13-16,13 0 0,-13 1 15,13-1-15,1 0 0,-14 0 0,13 1 16,0-1-16,-13 0 0,13 0 15,0 0-15,1 1 0,-1 12 0,0-13 16,-13 1-16,13-1 0,1 26 16,-1-25-16,-13-1 0,13 0 0,-13 0 15,0 14-15,0-14 0,0 0 0,0 1 16,0-1-16,0 13 16,0-13-16,-13 1 0,13-1 0,-13 0 15,-1 14-15,1-14 0,0 0 0,0 0 16,-1 1-16,1-1 0,0 0 15,0 0-15,0-13 0,-1 13 0,1-13 16,0 14-16,0-14 0,-1 13 0,1-13 16,-13 13-16</inkml:trace>
  <inkml:trace contextRef="#ctx0" brushRef="#br0" timeOffset="201996.73">5305 7488 0,'13'-14'16,"0"14"-16,1 0 15,-1 0-15,0 0 16,0 14-16,1-14 16,-14 13-16,0 0 15,0 0-15,-14-13 16,14 14-16,-13-14 0,0 13 16,0 0-16,-1 0 15,1-13-15,13 14 0,-13-14 16,13 13-16,-13-13 15,26 13 1,0-13-16,0 0 0,1 13 16,-1-13-16,0 0 0,0 13 15,1-13-15,-1 14 0,0-14 16,0 13-16,0 0 16,-13 0-16,-13-13 15,0 14-15,0-14 16,0 13-16,-1-13 0,1 0 15,-13 13-15,12-13 0,1 13 16,0-13-16,0 0 0,-1 0 16,-12 14-16,13-14 0,0 0 15,-1 0-15,1 13 0,0-13 16</inkml:trace>
  <inkml:trace contextRef="#ctx0" brushRef="#br0" timeOffset="202377.78">4710 7832 0,'-14'0'0,"28"0"0,-41 0 15,54 0 16,-1 13-31,-13-13 0,53 13 16,-26-13-16,0 13 16,13-13-16,-14 14 0,14-14 0,-13 0 15,13 13-15,0-13 0,-13 13 16,12-13-16,-12 0 0,-13 0 0,-1 0 16,1 13-16,-1-13 0,-13 0 15,14 0-15,-1 0 0,-13 0 16,1 0-16,-1 0 0,0 0 15,0 0-15,0 0 16,1 0 15</inkml:trace>
  <inkml:trace contextRef="#ctx0" brushRef="#br0" timeOffset="206250.2">5543 7924 0,'0'-13'0,"13"13"109,0 0-93,1 0-1,-1 13-15,0-13 0,0 0 16,1 0-16,-1 0 16,0 0-16,0 14 15,1-14-15,-1 0 0,0 0 16,0 0-16,0 0 16,1 0-1,-1 0-15,-13 13 16,13-13-1,0 0 1</inkml:trace>
  <inkml:trace contextRef="#ctx0" brushRef="#br0" timeOffset="211693.39">5159 8136 0,'14'0'15,"-1"0"-15,0 0 16,0 0-16,1 0 16,-41 0 30,14 13-46,0-13 16,-14 0-16,14 0 16,0 13-16,-1-13 0,1 0 0,0 0 15,0 0-15,-14 14 16,41-1 15,-1-13-31,0 13 0,0-13 16,0 13-16,1-13 0,-1 0 15,-13 14-15,13-14 0,0 13 16,1 0-16,-14 0 16,0 0-1,-14 1-15,1-1 16,0-13-16,0 13 0,-1 0 16,-12-13-16,13 14 0,0-14 0,-1 13 15,1-13-15,0 0 0,0 13 16,-1-13-16,1 0 0,0 0 15</inkml:trace>
  <inkml:trace contextRef="#ctx0" brushRef="#br0" timeOffset="211995.25">5450 8109 0,'14'0'16,"-14"14"-16,0-1 15,0 0-15,-14 0 0,14 1 0,0-1 16,0 0-16,0 14 16,-13-14-16,13 0 0,0 0 0,0 0 0,0 14 15,-13-14-15,13 0 0,0 1 16,0-1-16,0 0 0,0 0 15,-13 1-15,13-1 16,0 0 0,-13 0 15</inkml:trace>
  <inkml:trace contextRef="#ctx0" brushRef="#br0" timeOffset="213916.56">1852 10478 0,'0'13'16,"0"0"-16,-13 0 0,13 0 0,-13 40 15,13-26-15,0-14 16,-14 13-16,14 1 0,0-1 0,-13 1 16,13-1-16,-13-12 0,13-1 0,0 13 15,0-13-15,-13 1 0,13-1 0,0 0 16,-14 0-16,14 1 0,0-1 16,0 0-16,0 0 15</inkml:trace>
  <inkml:trace contextRef="#ctx0" brushRef="#br0" timeOffset="214290.49">1786 10570 0,'0'-13'0,"0"0"0,13-14 16,0 27 0,1-13-16,-1 13 15,0 13-15,0-13 16,-13 13-16,14-13 15,-1 14-15,-13-1 0,0 0 0,13 0 0,-13 1 16,0 12-16,0-13 16,-13 0-16,0 1 15,13-1-15,-14-13 0,1 13 16,13 0-16,-13-13 0,0 14 0,-1-14 16,1 13-16,0-13 15,0 13 1</inkml:trace>
  <inkml:trace contextRef="#ctx0" brushRef="#br0" timeOffset="-213662.54">2342 10438 0,'-27'40'32,"14"-14"-32,0-13 0,-1 27 15,14-14-15,-13 14 0,0 0 16,0-14-16,13 1 0,0-1 0,-14 1 0,14-14 16,0 13-16,0-13 15,0 14-15,14-14 0,-14 0 0,0 1 16,13-1-16,-13 0 0,0 0 0,13 1 15,0-1-15,1 0 16,-1-13-16</inkml:trace>
  <inkml:trace contextRef="#ctx0" brushRef="#br0" timeOffset="-212832.6">2619 10583 0,'14'-13'31,"-1"13"-31,0 13 16,0-13-1,-13 14-15,0-1 0,0 0 16,0 0-16,0 0 0,-13 1 16,0-1-16,0 13 0,-1-12 15,-12-1-15,13 0 0,-1 0 16,1 1-16,0-14 0,0 13 0,0-13 16,13 13-16,-14-13 0,1 13 15,0-13 1,39 0 15,-12 0-31,-1 0 0,13 0 31,-13 13-31,1-13 0,-1 0 16,0-13-16,0 13 0,1 0 16,12 0-1,-13 0-15</inkml:trace>
  <inkml:trace contextRef="#ctx0" brushRef="#br0" timeOffset="-212364.97">2924 10570 0,'-14'13'46,"1"14"-30,0-14-16,13 0 0,-13 0 0,13 1 16,-13-1-16,13 0 0,-14 0 15,14 1-15,-13-1 0,0 0 16,13 0-16</inkml:trace>
  <inkml:trace contextRef="#ctx0" brushRef="#br0" timeOffset="-212055.25">3069 10583 0,'-13'0'0,"0"0"15,-1 0-15,1 14 0,0-14 16,0 13-16,0-13 0,-1 13 0,1-13 15,0 13-15,0 0 0,-1-13 16,14 14-16,-13-14 0,13 13 16,-13-13-16,13 13 0,0 0 15,0 1 1,0-1 0,13-13-16,14 0 15,-1 0 1,-13 0-1,1 0-15,-1 0 16</inkml:trace>
  <inkml:trace contextRef="#ctx0" brushRef="#br0" timeOffset="-211710.24">3241 10649 0,'-13'14'16,"13"-1"-1,0 0-15,-13-13 0,13 13 16,0 1-16,0-1 16,-14 0-16,14 0 0,0 1 0,0-1 15</inkml:trace>
  <inkml:trace contextRef="#ctx0" brushRef="#br0" timeOffset="-211529.18">3228 10557 0,'0'0'16</inkml:trace>
  <inkml:trace contextRef="#ctx0" brushRef="#br0" timeOffset="-211166.34">3347 10649 0,'0'14'0,"0"12"32,-13-26-32,13 13 15,0 1 16,13-28 1,0 14-17,-13-13-15,13 13 16,1 13 0,-1-13 15,-13 14-31,13-1 15,0-13-15,1 13 16</inkml:trace>
  <inkml:trace contextRef="#ctx0" brushRef="#br0" timeOffset="-210767.2">3651 10649 0,'-13'0'16,"26"0"-16,-39 0 0,13 0 16,-1 0-16,1 14 15,0-14-15,13 13 16,-13-13-16,13 13 0,-14 0 15,28 1 1,12-14 0,-13-14-16,1 1 15,-1 13 1,0-13-16,0 13 16,-13-13-16,13 13 15,1 0 1,-14 13-16,13-13 15,-13 13-15,0 0 16,0 1 0,0-1-16</inkml:trace>
  <inkml:trace contextRef="#ctx0" brushRef="#br0" timeOffset="-210066.4">3228 10941 0,'13'13'16,"-13"0"0,0 0-16,0 0 0,0 1 15,0-1-15,0 0 16,0 0-16,-13-13 15,26 14-15,0-28 47,1 1-47,-1 0 16,0 13-16,-13-13 0,13 13 16,1-14-16,-1 14 0,0-13 15,0 13-15,0 0 0,1-13 16,-1 13-16,0 0 15,0 13 1,-13 0 0,-13 1-1,13-1-15,0 0 16,0 0-16,0 1 31,13-1-31,1-13 16,-1 0-16,0 0 15,0-13 1,0 13-16,-13-14 16,0 1-16,-13 0 31,13 0-31,-13 13 16,0 0-1,13 13 1,-13-13-16</inkml:trace>
  <inkml:trace contextRef="#ctx0" brushRef="#br0" timeOffset="-209657.53">3559 11020 0,'13'-13'0,"0"26"46,0-13 1,1 0-31,-14 13-16,13-13 16,0 0-1,0 13 1,0-13-1,1-13 17,-1 13-32,0 0 31,0 0 0,1 0-15,-14-13-16,13 13 15,0-13 1,-13-1 0</inkml:trace>
  <inkml:trace contextRef="#ctx0" brushRef="#br0" timeOffset="-209369.32">3810 10411 0,'13'14'15,"0"-1"-15,1 0 0,-1 27 16,13-14-16,1 1 0,-1 12 0,1 1 16,-1 0-16,-13-1 0,14-12 0,-14 13 15,0-14-15,1 14 0,-14-14 16,0 1-16,0-1 0,0 1 0,-14 12 15,1-12-15,0 12 0,-14-12 16,14-1-16,-13 1 0,-1-1 0,1 1 0,-1-1 16,1-13-16,13 1 15,-1-14-15,1 13 0,0-13 0,0 0 16,0-13-16</inkml:trace>
  <inkml:trace contextRef="#ctx0" brushRef="#br0" timeOffset="-208818.57">5437 10028 0,'-13'26'62,"0"-26"-46</inkml:trace>
  <inkml:trace contextRef="#ctx0" brushRef="#br0" timeOffset="-207761.15">9208 9565 0,'-14'13'31,"1"0"-15,0-13-16,0 13 0,-1 1 16,1-14-16,-13 13 0,12 0 0,1-13 15,0 13-15,0 1 16,0-14-16,-1 13 0,14 0 16,-13-13-16,13 13 0,13 0 31,1-13-31,-1 0 0,13 0 15,-13 0-15,1 0 0,12 0 0,1 0 16,-1 0-16,-13 0 0,14-13 16,-1 13-16,-13 0 0,14-13 0,-14 13 15,0-13-15,1 13 0</inkml:trace>
  <inkml:trace contextRef="#ctx0" brushRef="#br0" timeOffset="-207519.29">9313 9512 0,'0'0'16,"-13"0"-16,0 13 16,0 0-1,13 0-15,-14 1 0,1 12 16,0-13-16,13 14 0,-13-1 0,0-12 16,-1 12-16,14-13 0,-26 40 15,26-40-15,-13 14 0,-1-14 16,14 13-16,-13-12 0,13-1 15,-13 13-15,13-12 0,0-1 16,-13 0-16,13 0 0,0 1 0,-14-1 16,14 0-16,-13-13 15</inkml:trace>
  <inkml:trace contextRef="#ctx0" brushRef="#br0" timeOffset="-207236.62">8744 10094 0,'27'-13'0,"13"-1"16,-27 14-16,13 0 15,-12 0-15,12-13 0,0 13 16,1 0-16,-1 0 0,1 0 0,-1-13 15,1 13-15,-1 0 0,1 0 0,-1-13 16,-13 13-16,14 0 0,-14 0 0,14 0 16,-14 0-16,0 0 0,0 0 15,0 0-15,14 0 16</inkml:trace>
  <inkml:trace contextRef="#ctx0" brushRef="#br0" timeOffset="-206749.32">8969 10345 0,'-13'-13'0,"-13"13"16,12 0-16,1 0 15,0 0-15,0 0 0,0 0 0,-1 0 16,1 0-16,0 0 0,0 0 0,-1 0 15,14 13-15,-13-13 16,13 13-16,13-13 16,-13 14-16,14-14 0,-1 13 15,0 0-15,0-13 16,1 13-16,-1 1 0,0-14 0,0 13 16,0-13-16,1 13 0,-1 0 15,-26 1 1,-1-1-1,14 0-15,-13-13 0,0 13 16,0-13-16,0 13 0,-1-13 0,1 0 16,0 14-16,0-14 0,-1 0 15,1 13-15,0-13 0,0 0 16</inkml:trace>
  <inkml:trace contextRef="#ctx0" brushRef="#br0" timeOffset="-206430.4">9009 10372 0,'27'0'0,"-54"0"0,67 0 15,-27 0-15,0 0 16,0 13-16,-13 0 16,0 0-16,-13 1 15,0-1-15,0 0 0,0 0 16,-1 1-16,1-14 0,0 13 0,0 0 15,13 0-15,-14-13 0,1 13 16,0 1-16,0-1 16,-1 0-1,28-13 1,-1 0-16,0 0 16,0 0-16,1 0 0,-1 0 15,0 0-15,14 0 0,-14-13 16,13 13-16,1-13 0,-1 13 15,14-14-15,0 1 0,-1 0 0,1 0 16</inkml:trace>
  <inkml:trace contextRef="#ctx0" brushRef="#br0" timeOffset="-205986.45">10081 9763 0,'0'0'0,"-27"13"15,14 1 1,0 12-16,-1-13 0,1 14 15,-13-1-15,-1 1 0,14-1 16,-13-13-16,12 14 0,1-1 0,0-13 16,0 14-16,-1-14 0,1 0 0,0 1 15,13-1-15,-13-13 0,0 13 16,13 0-16,-14-13 0</inkml:trace>
  <inkml:trace contextRef="#ctx0" brushRef="#br0" timeOffset="-205710.45">9790 9842 0,'26'0'32,"-13"14"-32,14-1 15,-14 0-15,0 0 0,0 1 0,1-1 16,-1 0-16,13-13 0,-12 13 0,-1 1 15,13-1-15,-13 0 0,1 0 16,-1 0-16,0-13 0,0 14 0,14-1 16,-14 0-16,0-13 0,-13 13 15,14-13-15,-14 14 0,13-14 16,-13 13-16,13-13 0,0 13 16</inkml:trace>
  <inkml:trace contextRef="#ctx0" brushRef="#br0" timeOffset="-204709.44">6906 9525 0,'0'-26'0,"0"12"15,0 1 1,13 0-16,-13 0 15,13-1-15,-13 1 0,13 0 0,-13 0 16,14-1-16,-1 1 0,0 0 16,0 0-16,0 0 0,14-1 0,-14 14 0,0-13 15,1 13 1,12-13-16,-13 13 0,1 0 0,-1 0 0,13 0 16,-13 0-16,1 0 0,-1 0 0,0 13 15,14-13-15,-27 13 0,13-13 16,0 14-16,0-1 0,0-13 0,-13 13 15,14 0-15,-14 0 0,13-13 0,-13 14 16,0-1-16,13-13 0,-13 13 0,0 0 16,13 1-1,-13-1 1,0 0-16,14-13 16,-14 13-16</inkml:trace>
  <inkml:trace contextRef="#ctx0" brushRef="#br0" timeOffset="-204372.33">7316 9485 0,'26'0'16,"-26"14"-1,13-1-15,-13 0 16,14-13-16,-14 13 0,13-13 16,-13 13-16,13 1 15,0-14-15,1 13 16,-1-13-16,0 0 31,27-40-15,-27 27-1,-13 0 1</inkml:trace>
  <inkml:trace contextRef="#ctx0" brushRef="#br0" timeOffset="-203786.1">6866 9022 0,'0'0'0,"13"14"31,-13 12-31,0-13 16,0 0 0,-13 14-16,13-1 15,0-12-15,-13-1 0,13 0 16,0 0-16,-14-13 0,14 14 15,0-1-15,0 0 16</inkml:trace>
  <inkml:trace contextRef="#ctx0" brushRef="#br0" timeOffset="-203467.32">7011 9088 0,'-13'0'0,"-26"0"31,25 14-31,1-14 16,0 13-16,0-13 15,13 13-15,0 0 31,13 1-15,0-14-16,0 13 16,1-13-1,-1 0-15,0 0 16,0 0 0,0 0-1</inkml:trace>
  <inkml:trace contextRef="#ctx0" brushRef="#br0" timeOffset="-203007.37">7236 8797 0,'14'14'0,"-14"-1"0,0 0 16,0 0-16,0 1 15,-14 12-15,14-13 0,0 0 0,-13 14 16,13-1-16,-13 14 0,13-13 16,-13-14-16,13 13 0,0-13 15,-14 1-15,14 12 0,0-13 0,-13 1 16,13-1-16,0 0 0,0 0 16,0 1-1,-13-14-15,13 13 0,0 0 16,0 0 15</inkml:trace>
  <inkml:trace contextRef="#ctx0" brushRef="#br0" timeOffset="-202545.92">7461 9036 0,'0'-14'15,"13"41"17,-26-14-32,13 0 0,0 0 15,0 1-15,0-1 0,-13 0 16,13 0-16,0 1 0,-13-14 0,13 13 16,-13 0-16,13 0 0,-14 1 0,14-1 15,-13 0-15,13 0 0,-13-13 16,13 13-16,-13-13 15</inkml:trace>
  <inkml:trace contextRef="#ctx0" brushRef="#br0" timeOffset="-202199.33">7646 9128 0,'-13'-13'0,"0"13"16,0 0-16,0 0 15,-1 13-15,1-13 16,0 0-16,13 13 0,-13-13 16,-1 14-16,1-14 15,13 13 1,13 0-1,-13 0-15,14-13 16,-14 14-16,13-14 16,-13 13-16,13-13 0,0 13 15,1-13 1,-14 13 0,13 0 15</inkml:trace>
  <inkml:trace contextRef="#ctx0" brushRef="#br0" timeOffset="-201689.05">6800 8850 0,'-27'27'0,"54"-54"0,-67 54 0,40-14 0,-13 0 16,0 0-16,13 14 0,-14-14 15,1 14-15,13-14 0,0 13 0,-13-12 16,13-1-16,0 0 0,13 13 0,-13-12 16,13-1-16,1 0 0,-1 0 15,0 1-15,14-1 0,-1 0 16,0-13-16,1 13 0,-1-13 0,14 0 15,-13 0-15</inkml:trace>
  <inkml:trace contextRef="#ctx0" brushRef="#br0" timeOffset="-201306.38">7620 8692 0,'40'26'15,"-27"-13"-15,80 80 16,-80-67-16,13 1 16,14 39-16,-27-40 0,0 1 15,-13 26-15,0-40 16,0 13-16,-13 1 0,13-1 16,-13 1-16,-14-1 0,14 1 0,-13-14 15,-1 13-15,1-12 0,13 12 0,-14-13 16,14 1-16,-14-1 0,14-13 15,0 13-15,0-13 0,0 0 0</inkml:trace>
  <inkml:trace contextRef="#ctx0" brushRef="#br0" timeOffset="-200369.59">10901 9618 0,'53'0'31,"-40"0"-31,-13 13 16,0 0-16,-13 0 15,13 1-15,0-1 16,-13-13-16,13 13 0,-14-13 0,14 13 16,-13 0-1,26 1-15,1-14 16,-1 13-16,13 0 16,-13 0-1,1-13-15,-1 14 0,-13-1 16,0 0-1,0 0-15,-13-13 0,13 13 0,-14-13 16,1 14-16,0-14 16,0 13-16,-14 0 0,14 0 15,0-13-15,0 14 16,-1-14-16,-12 13 0</inkml:trace>
  <inkml:trace contextRef="#ctx0" brushRef="#br0" timeOffset="-200165.51">10649 10001 0,'40'0'31,"-13"0"-31,-14-13 0,13 13 16,1 0-16,-1 0 0,1-13 16,-1 13-16,1 0 0,-1 0 0,27 0 15,-40 0-15,14 0 16,-14 0-16,13 0 0,-12 0 0,-1 0 15,13 0-15,-13 0 0,1 13 16</inkml:trace>
  <inkml:trace contextRef="#ctx0" brushRef="#br0" timeOffset="-199709.61">10874 10213 0,'-39'0'0,"25"0"16,-25 0-1,26 0-15,-1 13 0,1 0 32,26 1-32,1-14 15,-14 13-15,13-13 0,0 13 0,0-13 16,-13 13-16,13-13 0,1 0 15,-1 14-15,0-1 16,-26 13 0,-14-26-1,14 13-15,0-13 0,0 14 0,0-14 16,-1 0-16,-12 13 0,13-13 16,-1 0-16,1 0 15</inkml:trace>
  <inkml:trace contextRef="#ctx0" brushRef="#br0" timeOffset="-199506.45">10993 10239 0,'0'0'0,"14"14"0,-1-14 16,-13 13-16,0 0 15,0 0-15,0 1 0,0-1 16,0 0-16,0 0 15,0 0-15,0 1 0,0-1 16,0 0-16,0 0 16,13-13-16,0 0 0,1 0 15,-1 0-15,13 0 0</inkml:trace>
  <inkml:trace contextRef="#ctx0" brushRef="#br0" timeOffset="-198834.53">11959 9723 0,'13'-13'31,"1"13"-31,-1 0 16,0 0-16,0 0 0,1 0 0,-1 0 15,13 0-15,-13 0 16,1 0-16,-1 0 0,0 0 0,0 0 16,1 13-16,-1-13 0,0 0 15,0 0-15,-13 14 0</inkml:trace>
  <inkml:trace contextRef="#ctx0" brushRef="#br0" timeOffset="-198634.51">11933 9856 0,'53'13'31,"-40"-13"-31,0 0 0,0 0 15,1 0-15,-1 0 0,0 0 16,13 13-16,-12-13 0,-1 0 16,13 0-16,-12 0 0,-14 13 15,13-13-15</inkml:trace>
  <inkml:trace contextRef="#ctx0" brushRef="#br0" timeOffset="-196538.3">13626 9274 0,'0'26'16,"0"-13"-16,-13 14 16,13-1-16,0-13 0,-13 14 15,13-14-15,0 0 0,-14 14 16,14-14-16,-13 14 15,13-14-15,0 0 0,-13 0 0,13 0 16,0 1-16,0-1 16</inkml:trace>
  <inkml:trace contextRef="#ctx0" brushRef="#br0" timeOffset="-193641.61">13957 9260 0,'0'0'0,"26"0"0,-13 0 0,1 0 16,-1 0-16,0 14 0,0-14 16,-13 13-16,14-13 15,-14 13-15,-14 14 16,1-14-16,0 0 15,-14 0-15,14 0 0,-13 1 16,13-1-16,-14-13 0,14 13 16,0-13-16,-1 13 0,1 1 0,0-14 15,39 13 1,1-13 0,-14 0-16,0 0 15,14 0-15,-14 0 0,13 13 0,-12-13 16,12 0-16,1 0 0,-14 0 15,0 0-15,0 0 0,1 0 0,-1 0 16,0 13-16,0-13 0,-13 14 16,0-1-1,-13 0-15</inkml:trace>
  <inkml:trace contextRef="#ctx0" brushRef="#br0" timeOffset="-193373.74">13189 9750 0,'0'0'16,"14"0"-16,12 13 0,1-13 15,-1 0-15,1 0 0,25 0 16,1-13-16,0 13 0,0 0 0,0 0 16,13 0-16,14 0 0,-27 0 15,13 0-15,-13 0 0,0 0 0,13 0 16,-13 0-16,-14 0 0,41 0 15,-54 0-15,1 0 0,-1 0 0,-13 0 16,1 0-16,-1 0 0,0 0 16,0 0-16,0 13 15,-39-13 1,13 13-16</inkml:trace>
  <inkml:trace contextRef="#ctx0" brushRef="#br0" timeOffset="-192782.45">12978 10147 0,'13'-13'0,"-26"26"0,39-26 0,-12 13 0,-1 13 16,0-13-16,0 0 0,-13 13 15,13-13-15,-13 13 0,0 0 16,0 1-16,0-1 0,-13 0 16,0 0-16,0 1 0,0-1 0,-14 0 15,1 14-15,-27-1 16,39-26-16,-12 13 0,13 0 15,0-13-15,-1 14 0,1-14 0,0 13 16,0-13-16,26 13 31,0-13-31,0 0 16,1 0-16,-1 0 0,0 0 16,0 0-16,0 0 0,1 0 15,-1 0-15,0 0 0,0 0 0,1 0 16,-1 0-16,0 0 0,0 0 0,1 0 15,-1 0-15,0 0 16,0 0-16,0-13 0,1 13 0,-1 0 16,-13-13-16</inkml:trace>
  <inkml:trace contextRef="#ctx0" brushRef="#br0" timeOffset="-192448.28">13414 10173 0,'-39'13'32,"25"-13"-32,1 14 0,0-1 15,0 0-15,0 0 0,13 14 16,-14-14-16,1 0 0,13 1 0,0-1 16,0 0-16,0 0 0,0 0 15,0 1-15,13-14 0,-13 13 0,0 0 16,14-13-16,-1 13 0,0 1 15,0-14 1,-26-14 31,0 1-47,0 13 16,-1-13-1</inkml:trace>
  <inkml:trace contextRef="#ctx0" brushRef="#br0" timeOffset="-191829.62">13798 10239 0,'26'-13'0,"27"13"31,-39 0-31,-54 0 31,27 0-31,-1 0 16,1 0-16,-13 13 16,-1-13 15,14 14-31,26-1 16,1 0-16,-1 0 15,0-13-15,0 0 16,0 14-16,1-1 0,-1-13 15,-13 13-15,13-13 0,-13 13 16,13-13-16,-13 13 0,-13-13 16,13 14-16,-13-14 0,13 13 0,-13-13 15,-1 13-15,1-13 16,0 0-16,0 13 0,0-13 0,-1 0 16,1 14-16,0-14 0,0 0 0,-1 0 15,14 13-15,-13-13 0,0 0 16</inkml:trace>
  <inkml:trace contextRef="#ctx0" brushRef="#br0" timeOffset="-191493.37">14142 10213 0,'40'0'16,"-80"0"-16,80 13 0,-40 0 16,0 1-16,0-1 15,-14-13-15,14 13 0,-13 0 16,0 1-16,0-1 0,0 0 0,-1 0 16,14 0-16,-13-13 0,13 14 15,-13-1-15,26 0 16,0 0-1,1-13-15,-1 0 16,0 0-16,0 0 0,0-13 16,1 13-16,-1 0 15,0 0-15</inkml:trace>
  <inkml:trace contextRef="#ctx0" brushRef="#br0" timeOffset="-190731.4">13256 10332 0,'13'-13'16,"0"13"0,0 0 15,1 0-31,-1 0 0,0 13 16,0-13-16,0 0 0,1 0 15,-1 13-15,0-13 0,0 0 16,-13 13-16,14-13 0,-14 14 15,13-14-15,-13 13 0,13-13 0,-13 13 16,0 0-16,-13 1 16,13-1-16,-13-13 0,-1 13 15,1-13-15,13 13 0,-13-13 16,0 14-16,-1-1 16</inkml:trace>
  <inkml:trace contextRef="#ctx0" brushRef="#br0" timeOffset="-189843.44">15028 9591 0,'14'-13'47,"-1"26"-47,0-13 0,13 13 15,-12-13-15,-1 0 16,0 14-16,0-14 0,1 0 0,-1 13 16,0 0-1</inkml:trace>
  <inkml:trace contextRef="#ctx0" brushRef="#br0" timeOffset="-189679.38">14975 9776 0,'0'0'16,"27"0"-1,-14 0-15,0 0 16,1 0-16,-1 0 0,0 0 15,13 0-15,-12 0 0,12 0 16,-13-13-16</inkml:trace>
  <inkml:trace contextRef="#ctx0" brushRef="#br0" timeOffset="-189285.31">16497 9340 0,'0'26'15,"0"-13"-15,0 1 16,-13-1-16,13 13 0,-14 1 0,14-14 16,-13 14-16,0 12 0,0-12 0,-1-1 15,1-13-15,0 14 0,0-1 16,-14-12-16,14-1 0,0 0 0,0 13 15,-1-12-15,14-1 0,-13 0 16</inkml:trace>
  <inkml:trace contextRef="#ctx0" brushRef="#br0" timeOffset="-189029.32">16933 9512 0,'0'0'0,"-26"26"16,-1-13-16,1 14 16,0-1-16,-14 1 0,0 13 0,-13-14 15,0 14-15,0-1 0,0-12 16,1 12-16,-1 1 0,0-13 16,-13 12-16,13 1 0,13 0 0,-66 26 15,66-40-15,1 1 0,-1-1 16,14-13-16,-1 14 0,1-14 0,12 0 15,1 1-15,0-1 0,13 0 16,13 0 0</inkml:trace>
  <inkml:trace contextRef="#ctx0" brushRef="#br0" timeOffset="-188584.33">16351 10239 0,'13'-13'0,"-26"26"0,40-13 16,-27 14 0,-14-1-16,14 0 15,-13 0-15,0 1 0,-13-1 0,12 0 16,1 0-16,-13 0 0,-1 1 0,14-1 16,0 0-16,-1 0 0,1 1 0,0-14 15,0 13-15,0-13 16,13 13-16,-14-13 0,14 13 15,0 1 1,14-14-16,-1 0 16,0 0-16,0 0 0,14 0 15,-14 0-15,0 0 0,0 0 0,1 0 16,-1 0-16,0 0 0,14-14 0,-14 14 16,0 0-16,0 0 0,0 0 15,1-13-15</inkml:trace>
  <inkml:trace contextRef="#ctx0" brushRef="#br0" timeOffset="-188258.54">16576 10226 0,'13'0'0,"14"13"31,-27 1-31,0-1 16,-13 0-16,-1 0 16,14 1-16,-13-14 0,0 13 15,0 0-15,-1 0 0,1-13 0,0 13 16,0 1-16,0-1 16,-1-13-16,14 13 15,0 0 1,14-13-16,-14 14 0,13-14 15,0 0-15,0 0 0,0 0 16,1 13-16,-1-13 0,0 0 16,0 0-16,1 0 0,-1 0 0,0-13 15,0 13-15,1 0 16</inkml:trace>
  <inkml:trace contextRef="#ctx0" brushRef="#br0" timeOffset="-188025.54">16894 10226 0,'-14'40'16,"1"-27"-16,13 0 0,-13 1 16,13-1-16,0 0 0,0 0 15,-13 0-15,13 1 16,0-1-16,-13-13 0,13 13 0,0 0 15,-14 1 1,28-1 0</inkml:trace>
  <inkml:trace contextRef="#ctx0" brushRef="#br0" timeOffset="-186761.64">17701 9525 0,'13'0'0,"0"-13"15,0 13-15,1 0 16,-1 0-16,13 0 0,-13 0 0,1 0 15,12 0-15,-13 0 0,1 0 16,-1 0-16,13 0 0,-12 0 16,-1 0-16,0 13 15</inkml:trace>
  <inkml:trace contextRef="#ctx0" brushRef="#br0" timeOffset="-186569.16">17595 9697 0,'13'13'15,"0"-13"-15,27 0 16,-27 0-16,14 0 0,-1 0 16,-13 0-16,14-13 0,-1 13 0,1 0 15,-14 0-15,13 0 0,-12 0 0,12 0 16,1-13-16,-14 13 0</inkml:trace>
  <inkml:trace contextRef="#ctx0" brushRef="#br0" timeOffset="-185685.52">19460 9538 0,'-13'27'15,"0"-27"1,13 13-16,-14 0 0,1 0 16,13 1-16,0-1 0,-13 0 15,13 0-15,0 1 0,0 12 16,13-13-16,-13 0 0,13 1 16,-13-1-16,14-13 0,-14 13 15,13-13-15,0 13 0,0-13 0,1 0 16,-1 0-16,0 0 0,0 0 15,0 0-15,1-13 0,-1 0 16,0 0-16,-13-1 16,0 1-16,0 0 0,0 0 15,-13 0-15,13-14 0,0 14 0,-13 0 16,13-1-16,0 1 0,-14 0 16,1 0-16,13-1 0,-13 14 15,0 0 1,0 0-1,-1 0-15,14 14 0</inkml:trace>
  <inkml:trace contextRef="#ctx0" brushRef="#br0" timeOffset="-185518.63">19764 9710 0,'0'0'0</inkml:trace>
  <inkml:trace contextRef="#ctx0" brushRef="#br0" timeOffset="-185067.34">20188 9578 0,'0'0'0,"-27"-13"16,14 13-1,0 0-15,0 13 0,-1-13 0,-12 0 16,13 13-16,-14-13 0,14 0 16,0 13-16,-1-13 0,1 14 0,0-14 15,13 13-15,0 0 16,13 0 0,0-13-16,1 14 0,-1-14 15,0 13-15,14 0 0,-14-13 16,0 13-16,0-13 0,1 0 0,-1 13 15,0-13-15,-13 14 16,13-14-16,-13 13 0,-13-13 16,13 13-16,-13-13 15,0 13-15,-1-13 0,1 0 16,0 0-16,0 14 0,-14-14 16,14 0-16,0 0 0,-1 13 0,-12-13 15,13 0-15,0 0 16</inkml:trace>
  <inkml:trace contextRef="#ctx0" brushRef="#br0" timeOffset="-184834.36">20651 9565 0,'-13'13'31,"-1"0"-15,14 0-16,-26 14 0,-1-14 16,14 0-16,0 1 0,0-1 0,-14 13 15,14-13-15,-13 14 0,12-14 16,1 0-16,0 1 16,-14 25-16,14-39 0,0 13 0,13 1 15,-13-1-15,-1-13 0,14 13 0</inkml:trace>
  <inkml:trace contextRef="#ctx0" brushRef="#br0" timeOffset="-184671.16">20399 9697 0,'-13'-13'0,"13"0"31</inkml:trace>
  <inkml:trace contextRef="#ctx0" brushRef="#br0" timeOffset="-184531.37">20624 9803 0,'0'-13'16</inkml:trace>
  <inkml:trace contextRef="#ctx0" brushRef="#br0" timeOffset="-184006.48">21405 9763 0,'-40'13'16,"27"1"-16,-14-14 0,-12 13 15,-1 13-15,-13-13 0,0 14 0,0-1 16,-13 1-16,13-1 0,0 1 0,-13-1 15,13 1-15,-13-1 0,13-13 16,0 14-16,14-1 0,-1-12 0,13-1 16,1 0-16,0 0 0,12 0 0,1 1 15,0-14-15</inkml:trace>
  <inkml:trace contextRef="#ctx0" brushRef="#br0" timeOffset="-183749.3">21471 9842 0,'0'0'0,"13"0"0,0 0 0,-39 27 32,-1-27-32,14 13 0,-26 14 15,-1-14-15,-13 13 0,-53 27 16,53-13-16,-13-14 0,0 1 0,13-1 15,-13 1-15,0-1 0,0 1 0,13-1 16,-13 1-16,26-14 0,0 0 16,0 14-16,14-14 0,0 0 0,12-13 15,14 13-15,-13-13 0</inkml:trace>
  <inkml:trace contextRef="#ctx0" brushRef="#br0" timeOffset="-180029.72">7527 5411 0,'0'0'0,"53"13"0,-26-13 16,-1 0-16,-13 0 0,14 0 0,-1 0 15,14 13-15,-13-13 0,-1 0 16,14 0-16,-14 13 0,1-13 0,-1 0 15,1 14-15,-14-14 0,13 0 16,-13 13-16,1-13 0,-1 13 0,0-13 16,-13 13-16,0 1 0,0-1 0,0 13 15,-13 1-15,0 12 0,-1 1 0,1 0 16,-13 13-16,-1 0 0,14 0 16,-13-1-16,12 1 0,-12 13 0,-1 54 15,14-68-15,0 15 0,0-1 16,0 0-16,-1-13 0,1 13 0,0 0 15,0-13-15,13 13 0,-14-13 16,1 13-16,13-13 0,-13 0 16,13-13-16,-13 13 0,13-14 0,-14 14 0,14-13 15,-13 39-15,13-39 0,0-14 16,0 1-16,0-14 16,-13 14-16,13-14 0,0 13 0,0-12 15,-13-1-15,13 0 0,0 0 16,0 0-16,-13 1 0,13-1 15,-14 0 1,14 0-16,-13 1 16,0-14-1,13 13 17,-13-13-17,-1 0 1,1 0-1,0-13 1,0 13 0,-1 0-16,1 0 0,0 0 15,0 0-15,-14 0 0,1 0 0,-1 0 16,-12 0-16,-1 0 0,-13 0 16,0 13-16,0-13 0,-26 13 0,13-13 15,0 13-15,-14 1 0,1-1 16,0 0-16,-1 0 0,-65 14 15,65-14-15,14 0 0,0 0 16,26-13-16,1 14 0,-1-1 0,0-13 16,27 13-16,0-13 0</inkml:trace>
  <inkml:trace contextRef="#ctx0" brushRef="#br0" timeOffset="-177096.59">16880 9022 0,'40'-26'0,"-27"13"0,14 13 15,-14-14-15,27 1 0,-1-13 16,1-1-16,13 14 0,-13-13 16,13-1-16,-14 1 0,1 12 0,0-12 15,-1 13-15,-12-1 0,12 1 0,-12 0 16,-14 0-16,0 0 0,14 13 15,-27-14-15,13 14 0,0-13 0,1 13 16,-1-13-16,0 13 16,0-13-1,-13-1 1</inkml:trace>
  <inkml:trace contextRef="#ctx0" brushRef="#br0" timeOffset="-176824.06">17542 8520 0,'13'0'15,"14"0"1,-14 0-16,0 0 15,0 13-15,0-13 0,1 0 0,-1 13 16,0-13-16,0 13 0,1 0 0,-1-13 16,-13 14-16,13-1 0,0 0 0,1 0 15,-14 1 1,0-1-16,0 0 0,0 0 16,0 1-16,-14 12 0,1-13 0,0 0 15,0 1-15,-1-1 0,1 0 16,13 0-16,-13-13 0</inkml:trace>
  <inkml:trace contextRef="#ctx0" brushRef="#br0" timeOffset="-176262.99">18732 7501 0,'14'-13'16,"-14"26"0,0 0-16,0 0 0,0 1 0,0-1 15,0 0-15,0 0 0,0 1 0,0 12 16,0-13-16,0 14 0,0-14 0,-14 0 15,14 0-15,0 14 0,-13-14 16,13 0-16,0 1 0,-13-14 0,13 13 16,0 0-16,-13-13 0</inkml:trace>
  <inkml:trace contextRef="#ctx0" brushRef="#br0" timeOffset="-175979.67">18746 7157 0,'-40'26'16,"80"-52"-16,-93 66 0,26-14 0,1 1 0,-1-1 16,1 14-16,0-1 0,-1 1 15,1 13-15,-1-13 0,14-1 16,0 1-16,-14 39 0,27-39 0,-13 0 15,13-14-15,0 1 0,0-1 16,13 1-16,-13-1 0,13-13 16,1 14-16,-1-1 0,0-12 0,14-1 15,-14 0-15,0 0 0,0-13 16,14 0-16,-14 0 0,0 0 0,14 0 16,-1-13-16,-13 13 0</inkml:trace>
  <inkml:trace contextRef="#ctx0" brushRef="#br0" timeOffset="-175696.4">19275 7011 0,'40'14'16,"-27"-1"-16,0 0 0,0 0 15,1 14-15,12 26 0,-13-14 16,-13 1-16,0 0 0,0-1 0,0 1 16,0 0-16,0 0 0,-13-1 15,13 1-15,-13 0 0,0-1 16,-1 1-16,1-14 0,0 14 0,0-27 16,-1 14-16,14-14 0,-13 0 0,13 1 15,0-1-15,0 0 0,0 0 16</inkml:trace>
  <inkml:trace contextRef="#ctx0" brushRef="#br0" timeOffset="-175390.47">20108 7448 0,'-13'0'16,"53"0"-1,-27 0 1,0 0-16,0 0 0,14 0 0,-14 0 15,14 0-15,-1 0 0,1 0 0,-14 0 16,13 0-16,1-13 0,-14 13 16,0 0-16,0 0 0,1-13 0,-1 13 15,0 0-15</inkml:trace>
  <inkml:trace contextRef="#ctx0" brushRef="#br0" timeOffset="-175110.42">20346 7276 0,'14'0'0,"-28"0"0,41 0 16,-1 0-16,-12 0 16,-1 13-16,0 0 0,14 1 0,-14-1 15,0 0-15,0 0 0,0 1 0,1-1 16,-1 0-16,0 0 0,-13 14 15,13-14-15,-13 0 0,0 0 16,0 1-16,-13-1 0,13 0 0,0 0 16,-13-13-16,0 14 0,13-1 15,-14 0-15,1 0 0,13 1 16</inkml:trace>
  <inkml:trace contextRef="#ctx0" brushRef="#br0" timeOffset="-174728.7">21127 7183 0,'26'0'0,"-52"0"0,66 14 15,-27-14-15,0 0 0,-13 13 0,13-13 16,-13 13-16,14 0 0,-14 1 16,0-1-16,-14 0 0,1 13 15,-13 1-15,-1-14 16,-12 27-16,12-27 0,14 0 16,-14 1-16,27-1 0,-13-13 15,0 13-15,13 0 16,-13-13-16,13 13 0,13 1 15,0-14 1,0 0-16,1 13 16,-1-13-16,13 0 15,1 0-15,-14-13 0,0 13 0,0 0 0,1 0 16,-1 0-16,0-14 0,0 14 16,1 0-16,-1-13 0</inkml:trace>
  <inkml:trace contextRef="#ctx0" brushRef="#br0" timeOffset="-174502.5">21484 7170 0,'-13'13'31,"13"1"-31,-13-1 16,13 0-16,-14 0 0,1 1 0,13-1 15,-13 13-15,0-13 0,0 1 0,13-1 16,-14 27-16,1-27 16,13 0-16,0 0 0,0 1 15,0-1 1</inkml:trace>
  <inkml:trace contextRef="#ctx0" brushRef="#br0" timeOffset="-174242.18">21603 7276 0,'0'-13'16,"0"26"-16,-13-26 0,0 13 0,0 13 15,-1-13-15,1 0 0,0 13 16,0-13-16,-1 13 0,1-13 0,0 14 16,0-1-16,-1 0 15,14 0-15,-13 1 0,13-1 16,0 0-16,13-13 0,-13 13 15,14-13-15,-1 14 16,0-14-16,0 0 0,1 0 16,-1 0-16,13 0 0,1 0 15,-14-14 1,0 14-16,0 0 0,1-13 16</inkml:trace>
  <inkml:trace contextRef="#ctx0" brushRef="#br0" timeOffset="-173945.41">21802 7289 0,'0'13'15,"0"1"-15,0-1 0,0 0 16,0 0-16,-14 1 16,14-1-16,0 0 0,0 0 0,-13-13 15,13 14-15,0-1 0,-13 0 16,13 0-16</inkml:trace>
  <inkml:trace contextRef="#ctx0" brushRef="#br0" timeOffset="-173778.59">21894 7144 0,'-13'-13'0,"13"-1"32,-26 28-32</inkml:trace>
  <inkml:trace contextRef="#ctx0" brushRef="#br0" timeOffset="-173441.42">22027 7250 0,'0'13'16,"0"0"-16,0 0 0,0 0 15,-14-13-15,14 14 16,0-1-16,-13-13 0,13 13 0,0 0 16,-13-13-16,13 14 0,-13-14 15,13 13-15,13-13 47,0 0-47,40-13 16,-53-1-1,13 14-15,0 0 16,1 0-16,-1 14 0,0-14 16,0 0-16,-13 13 15,14-13-15</inkml:trace>
  <inkml:trace contextRef="#ctx0" brushRef="#br0" timeOffset="-172993.5">22490 7236 0,'0'0'0,"-27"-13"0,14 13 16,0 0-16,-1 13 16,1 1-1,13-1-15,0 0 16,0 13-16,-13-12 0,13 12 0,0-13 15,-13 14-15,13-14 0,-13 14 0,-1-14 16,14 13-16,-13-13 0,0 1 16,0-1-16,-1 0 0,1 0 0,0 1 15,0-14-15,-1 0 0,1 13 16,26-40 15,1 14-31,12-13 0,14 12 16,0 1-16,-14-13 0,14 13 15,-1-1-15,1-12 0,0 13 16,-14 13-16,1-14 0,-1 14 0,-13-13 16,1 13-16,12 0 0,-13-13 15,0 13-15,1 0 0,-1-13 16</inkml:trace>
  <inkml:trace contextRef="#ctx0" brushRef="#br0" timeOffset="-172475.03">23217 7131 0,'0'66'32,"0"-53"-32,-13 0 0,13 0 15,0 1-15,-13-1 0,13 0 16,0 0-16,-13 0 0,-1 1 16,14-1-16,-13-13 0</inkml:trace>
  <inkml:trace contextRef="#ctx0" brushRef="#br0" timeOffset="-172314.45">23138 7025 0</inkml:trace>
  <inkml:trace contextRef="#ctx0" brushRef="#br0" timeOffset="-171954.42">23310 7210 0,'-13'40'31,"13"-27"-31,0 0 16,-14 0-16,14 14 15,0-14 1,-13-13-16,13 13 16,13-13-1,1 0 1,-1 0-1,0 0-15,0 0 16,0 0 0,1 0-16,-14 13 15,13-13-15,-13 14 16,13-14 0,-13 13-16,13 0 15,1-13 1</inkml:trace>
  <inkml:trace contextRef="#ctx0" brushRef="#br0" timeOffset="-171083.26">24104 7157 0,'0'0'0,"-14"0"0,-12-13 16,13 26-16,-1-13 0,1 0 0,-13 0 16,12 13-16,-12 0 0,0-13 0,12 14 15,-12-1-15,13-13 0,-1 13 16,1 0-16,0-13 0,13 14 16,0-1-16,0 0 0,13-13 15,0 13-15,1-13 0,-1 0 16,0 0-16,0 0 0,14-13 15,-14 13-15,0 0 0,0 0 0,1 0 16,-1 0-16,0 0 0,0 0 0,1 0 16,-1 0-1,0 13-15,0 0 16,-13 1-16,14-14 16,-14 13-16,0 0 0,0 0 15,0 1-15</inkml:trace>
  <inkml:trace contextRef="#ctx0" brushRef="#br0" timeOffset="-170416.5">23032 7699 0,'0'0'15,"13"27"1,-13-14-16,0 0 16,0 1-16,0 12 0,-13-13 0,13 0 15,-13 14-15,0-14 0,13 0 16,-14 1-16,1-1 0,13 0 0,-13 0 15,0 1-15,-1-1 16,28-26 15,-14-1-31,13 1 16,0 0-16,27-14 0,-27 14 16,13 0-16,-12 0 0,-1-1 15,13 14-15,-12-13 0,-1 13 16,0-13-16,0 13 0,1 0 0,-1 0 15,0-13-15,0 13 16,0 0-16</inkml:trace>
  <inkml:trace contextRef="#ctx0" brushRef="#br0" timeOffset="-170147.03">23230 7871 0,'0'0'0,"0"14"0,0-1 16,0 0-16,14 0 15,-1-13 1,0 14-16,0-14 16,1 0-16,-1 0 15,0-14-15,0 1 0,-13 0 16,13 13-16,-13-13 16,0-1-16,0 1 15,-13 0-15,0 0 16,0 13-16,0 0 15,-14 0-15,14 0 16,0 0-16,13 13 0,-14-13 16,14 13-16</inkml:trace>
  <inkml:trace contextRef="#ctx0" brushRef="#br0" timeOffset="-169734.71">23429 7871 0,'0'-13'0,"0"26"0,13-26 15,-13 40 48,-13-27-47,26 13-1,0-13 1,1 0-1,-1 0-15,0 0 16,0 0 0,0 0 15,1 0-15,-1 0-16,0 13 15,0-13-15,1-13 16,-1 13-1,0-13-15,0 13 16,-13-14-16,14 14 16,-1 0-1,0 0 1</inkml:trace>
  <inkml:trace contextRef="#ctx0" brushRef="#br0" timeOffset="-169512.74">23760 7845 0,'0'0'0,"0"13"31,0 0-15,0 1-16,-14-1 16,14 0-16,0 0 15,-26 14 1,13-27-1,13 13-15,-27-13 16,27 13-16,-13-13 16,0 0-1,0 13-15</inkml:trace>
  <inkml:trace contextRef="#ctx0" brushRef="#br0" timeOffset="-169108.53">23151 8083 0,'27'-13'0,"52"13"15,-53 0 1,-12 0-16,12-13 0,0 13 0,1 0 16,-1 0-16,1 0 0,-1 0 0,-12 0 15,-1 0-15,13 0 0,-13 0 16,1 13-16,-1-13 0</inkml:trace>
  <inkml:trace contextRef="#ctx0" brushRef="#br0" timeOffset="-168958.25">23297 8136 0,'79'0'0,"80"-27"31,-133 27-31,1 0 0,-1 0 0,1 0 16</inkml:trace>
  <inkml:trace contextRef="#ctx0" brushRef="#br0" timeOffset="-168109.3">19910 10795 0,'0'-13'0,"13"13"0,-13 26 32,0-13-17,0 1-15,-13-1 0,13 13 16,0-12-16,0 12 0,-13 1 0,13-1 15,0 14-15,-14-1 16,1-12-16,13-1 0,-13 1 0,13-1 16,-13 1-16,13-1 0,-13-13 0,-1 27 15,14-27-15,-13 0 0,0 1 16,13-1-16,-13-13 0</inkml:trace>
  <inkml:trace contextRef="#ctx0" brushRef="#br0" timeOffset="-167846.46">19950 10808 0,'0'0'0,"-27"0"16,14 0-1,0 13-15,-1-13 16,-12 14-16,13-1 0,-14 0 0,1 0 16,-1 1-16,-12 12 0,12-13 0,1 1 15,-1-1-15,1 13 0,13-13 0,-14-13 16,14 14-16,0-1 0,-1 0 16,1-13-16,13 13 0</inkml:trace>
  <inkml:trace contextRef="#ctx0" brushRef="#br0" timeOffset="-167641.38">19963 10927 0,'26'14'0,"1"38"31,-14-38-31,0-1 15,-13 0-15,0 0 0,13-13 16,-13 14-16,14-1 0,-14 0 16,0 0-16,13-13 15</inkml:trace>
  <inkml:trace contextRef="#ctx0" brushRef="#br0" timeOffset="-166127.33">19447 11589 0,'-13'0'0,"26"0"0,-53 13 15,27 0-15,0 0 16,0 1-16,-1 12 0,14-13 0,-13 14 15,13-1-15,0-12 0,0-1 16,0 0-16,13 13 0,-13-12 16,14-14-16,-1 13 0,0 0 0,0-13 15,0 0-15,1 0 0,-1 0 0,0 0 16,0-13-16,1 13 16,-1-13-16,0-1 0,-13 1 0,13 0 0,-13 0 15,0-14-15,0 1 16,0 13-16,-13-1 0,13 1 0,-13-13 15,0 26-15,-1-14 0,1 1 16,-13 13-16,12-13 0,-12 13 0,13 0 16,0 13-16,-1-13 0,-12 13 0,13 1 15,-1-1-15,14 0 16</inkml:trace>
  <inkml:trace contextRef="#ctx0" brushRef="#br0" timeOffset="-165920.39">19910 11628 0,'-27'14'31,"14"-1"-15,-13 0-16,-1 0 0,-12 14 15,12-14-15,-13 14 0,14-14 16,-14 13-16,-26 14 0,53-27 15,0-13-15,-1 13 0,14 1 16</inkml:trace>
  <inkml:trace contextRef="#ctx0" brushRef="#br0" timeOffset="-165769.52">20069 11576 0,'0'0'0,"0"13"16,-14 0-16,-12 13 0,-1 1 0,-12 13 15,-1-1-15,-13 1 0,-53 39 16,40-39-16,13 0 0,-26 13 16,26-14-16,0 1 0,0 0 15,14-1-15</inkml:trace>
  <inkml:trace contextRef="#ctx0" brushRef="#br0" timeOffset="-158727.5">9274 9710 0</inkml:trace>
  <inkml:trace contextRef="#ctx0" brushRef="#br0" timeOffset="-158262.73">8969 10451 0</inkml:trace>
  <inkml:trace contextRef="#ctx0" brushRef="#br0" timeOffset="-155008.85">9049 9274 0,'0'13'16,"0"-53"93,13 40-109,-13-13 16,0 0-16,0 0 0,0-1 16,0-12-16,13 13 0,-13-1 15,0 1-15,0 0 16,0 0-16,0-1 0,0 1 0,13 13 15,-13-13-15,0 0 16,0 0-16,0-1 16</inkml:trace>
  <inkml:trace contextRef="#ctx0" brushRef="#br0" timeOffset="-154813.64">9168 8983 0,'-66'26'47,"39"1"-47,14-1 16,0-13-16,0 0 15,-1 1-15,1-1 0,0 0 0,13 0 16,-40 14-16,40-14 15,0 0-15</inkml:trace>
  <inkml:trace contextRef="#ctx0" brushRef="#br0" timeOffset="-154601.58">9049 9049 0,'13'0'0,"0"0"0,27 0 31,-40 13-31,13-13 16,0 13-16,1 0 15,-1 1-15,0-1 16,0 0 0,1 0-16</inkml:trace>
  <inkml:trace contextRef="#ctx0" brushRef="#br0" timeOffset="-146992.35">8956 8401 0,'27'-14'94,"-14"14"-78,0 0-16,0 0 15,1 0-15,-1-13 16,0 13-16,0 0 16,-13 13-16,13-13 15,1 14-15,-14-1 16,0 0-16,0 0 16,0 0-16,0 1 0,0 12 15,0-13-15,0 1 0,0-1 0,-14 0 16,14 0-16,0 0 0,0 14 15,0-14-15,0 0 0,-13 1 16,13-1-16,0 0 16,0 0-1,0 1-15</inkml:trace>
  <inkml:trace contextRef="#ctx0" brushRef="#br0" timeOffset="-146744.7">8850 8692 0,'27'0'31,"-27"-14"-31,13 14 0,0 0 16,0 0-16,1 0 0,-1 0 15,0-13-15,0 13 0,1 0 16,-1 0-16,13 0 0,-12-13 16,-1 13-16,0 0 0,0 0 0,14 0 15,-14 0-15,0-13 16,0 13-16</inkml:trace>
  <inkml:trace contextRef="#ctx0" brushRef="#br0" timeOffset="-146524.96">9300 8625 0,'0'-13'46</inkml:trace>
  <inkml:trace contextRef="#ctx0" brushRef="#br0" timeOffset="-146065.61">9340 8427 0,'13'-13'15,"0"13"1,14 0-16,-14-13 16,0 13-16,0 0 0,1 0 0,-1 0 15,0 0-15,0 0 0,-13-14 0,14 14 16,-1 14-1,0-14-15,0 13 16,-13 0-16,0 0 16,0 0-16,0 1 15,0-1-15,0 0 0,13 0 0,-13 1 16,0-1-16,0 13 16,0-13-16,0 1 15,0-1-15,14-13 0,-14 13 16,0 0-16</inkml:trace>
  <inkml:trace contextRef="#ctx0" brushRef="#br0" timeOffset="-145842.6">9419 8586 0,'27'0'31,"-14"-14"-15,13 14-1,-12 0-15,-1 0 0,0 0 0,0 0 16,0 0-16,27-13 16,-27 13-16,1 0 15,-1-13-15</inkml:trace>
  <inkml:trace contextRef="#ctx0" brushRef="#br0" timeOffset="-145645.4">9869 8414 0,'13'0'16,"-26"0"-16,13 13 31,0 0-31,0 0 16,-13 1-16,-1-1 15,14 0-15,-13 0 0,0 14 0,13-14 16,-13 0-16,-14 27 31</inkml:trace>
  <inkml:trace contextRef="#ctx0" brushRef="#br0" timeOffset="-145346.6">9750 8520 0,'13'-27'125</inkml:trace>
  <inkml:trace contextRef="#ctx0" brushRef="#br0" timeOffset="-145040.77">9962 8572 0,'13'0'93</inkml:trace>
  <inkml:trace contextRef="#ctx0" brushRef="#br0" timeOffset="-144566.7">8784 8242 0,'-26'26'15,"26"-13"-15,-14 1 0,14 12 16,-13 14-16,-13 26 16,13-26-16,13-14 0,-14 14 0,14-1 15,0 14-15,14 14 16,-1-41-16,26 27 16,-25-27-16,12-12 0,14 12 15,13-26-15,26 0 16,14-13-16,-40 13 15</inkml:trace>
  <inkml:trace contextRef="#ctx0" brushRef="#br0" timeOffset="-144149.31">9657 7990 0,'27'0'0,"-54"0"0,67 14 0,-27-14 16,0 13-16,14 0 0,26 27 0,0 13 15,-27-27-15,-13 1 16,27 39-16,-13 0 16,-14 0-16,0-26 15,-26 13-15,0-27 16,-1 14-16,1-14 15,-13 1-15,12-14 0,-25 27 0,12-14 16,-12 14 0,25-27-16,1-13 15</inkml:trace>
  <inkml:trace contextRef="#ctx0" brushRef="#br0" timeOffset="-143534.68">10478 8268 0,'-27'40'0,"14"-27"16,0 14-16,-14 12 0,-26 41 15,40-54 1,-27 27-16,40-40 16</inkml:trace>
  <inkml:trace contextRef="#ctx0" brushRef="#br0" timeOffset="-143318.1">10306 8348 0,'13'13'31,"0"0"-31,-13 0 0,26 14 16,-12-1-16,-1-13 0,0 1 0,0 25 16,14 1-1,-14-27-15,0 0 0,-13 1 16,14 12-16,-1-13 0,-13 1 0,13-14 0,0 13 15</inkml:trace>
  <inkml:trace contextRef="#ctx0" brushRef="#br0" timeOffset="-136644.54">10927 8242 0,'27'0'31,"-14"-13"-15,0 13 15,-39 13 16,13-13-47,-1 13 0,1 0 15,0-13-15,0 13 16,-1 1-16,1-1 16,0 0-1,13 0-15,0 1 16,0-1-16,0 0 0,13 0 15,-13 1 1,13-14-16,-13 13 0,0 0 0,14 0 16,-14 0-16,13-13 15,-13 14-15,0-1 16,0 0 0,-13-13-16,-1 0 0,14 13 15,-13-13-15,0 0 16,0 0-16,-1 0 0,1 0 15,0 0-15,0 0 0,0 0 16,-1 0-16,1 0 16</inkml:trace>
  <inkml:trace contextRef="#ctx0" brushRef="#br0" timeOffset="-136500.03">11007 8414 0,'0'-13'31</inkml:trace>
  <inkml:trace contextRef="#ctx0" brushRef="#br0" timeOffset="-135711.11">11271 8268 0,'0'13'15,"13"1"1,-13-1-16,0 0 0,14-13 16,-14 13-16,0 1 0,13-1 15,-13 0-15,0 0 0,0 1 16,-13-1-16,13 0 0,-14 0 15,14 0-15,-13-13 0,0 14 16,0-1 0,13-40 15,13 14-31,0 13 0,0-13 16,-13 0-16,27-14 0,-14 14 15,0 0-15,1-14 0,-1 14 16,-13 0-16,13 0 15,-13-1-15,0 1 16,-13 0-16,13 0 16,-13 13-16,-1 0 15,1 0-15,0 0 0,0 0 16,-1 13-16,1 0 16</inkml:trace>
  <inkml:trace contextRef="#ctx0" brushRef="#br0" timeOffset="-135525.84">11615 8215 0,'13'0'16,"-26"0"-16,26 14 16,-13-1-16,-13-13 0,13 13 15,0 0-15,0 0 0,-13 1 16,0 12-16,13-13 0,-13 14 0,-1-14 15,1 0-15,0 1 0,0 12 16,-1 0-16,-12 1 16,26-14-16</inkml:trace>
  <inkml:trace contextRef="#ctx0" brushRef="#br0" timeOffset="-135400.34">11390 8348 0,'0'-14'0,"14"14"16</inkml:trace>
  <inkml:trace contextRef="#ctx0" brushRef="#br0" timeOffset="-135261.79">11642 8427 0,'0'0'31</inkml:trace>
  <inkml:trace contextRef="#ctx0" brushRef="#br0" timeOffset="-120539.62">10623 5384 0,'0'14'16,"0"12"-16,0-13 15,0 0-15,-13 27 16,13-27-16,0 14 0,-13-1 16,13-13-16,0 14 0,-14-14 15,14 0-15,0 1 0,0-1 0,-13 13 16,13-12-16,0-1 0,-13 0 15,13 0-15</inkml:trace>
  <inkml:trace contextRef="#ctx0" brushRef="#br0" timeOffset="-120221">10570 5398 0,'27'-14'16,"-54"28"-16,67-28 0,-27 14 0,13 0 15,-12 14 1,-1-14-16,0 0 0,0 13 0,1-13 15,-14 13-15,0 0 0,13 0 16,-13 1-16,-13 12 16,-1-13-16,1-13 15,13 14-15,-13-1 0,0 0 0,-1 0 16,1-13-16,0 13 0,0-13 0,-14 14 16,14-14-1</inkml:trace>
  <inkml:trace contextRef="#ctx0" brushRef="#br0" timeOffset="-119941.67">10914 5331 0,'-26'53'31,"12"-26"-16,1-14-15,0 13 0,-14 14 16,14-13-16,0 25 0,13-38 16,-13 25-1,13 1-15,0-13 0,13-1 16,0-13-16,0 0 16,-13 1-16,14-14 15,-1 0-15,0 0 16,0 0-16,1 0 0,-1 0 15,0-14-15</inkml:trace>
  <inkml:trace contextRef="#ctx0" brushRef="#br0" timeOffset="-119713.52">11112 5450 0,'0'0'0,"0"-13"16,-13 159 31,13-133-32,-13 0-15,0 27 16,13-14-16,-13-12 16,13-1-16,0 0 15</inkml:trace>
  <inkml:trace contextRef="#ctx0" brushRef="#br0" timeOffset="-119441.06">11284 5556 0,'-26'0'16,"52"0"-16,-65 0 15,26 0-15,-1 13 0,-12-13 0,-1 27 16,14-27-16,0 13 0,-14 0 15,14 1-15,0-1 16,0 0 0,13 0-16,13 14 15,0-27-15,0 0 16,1 0-16,-1 13 16,0-13-16,14-13 0,-1 13 15,1-13-15,12 13 16,-26-14-16,1 14 15</inkml:trace>
  <inkml:trace contextRef="#ctx0" brushRef="#br0" timeOffset="-119185.65">11377 5331 0,'27'14'15,"-14"-1"-15,13 13 16,-13-12-16,1 12 0,12 0 16,-13 1-16,1-1 0,-1 1 0,0-1 15,0-13-15,1 14 0,-14 13 16,0-14-16,0-13 0,-14 27 16,14-14-16,-13-12 15,-13 25-15,-1 1 16,1-27-16,12 1 0,-12-1 15</inkml:trace>
  <inkml:trace contextRef="#ctx0" brushRef="#br0" timeOffset="-119006.61">11655 5702 0,'0'0'0,"0"-13"15</inkml:trace>
  <inkml:trace contextRef="#ctx0" brushRef="#br0" timeOffset="-118372.59">10504 7117 0,'13'0'0,"-26"93"31,13-80-31,0 0 0,-13 27 15,13-14-15,0-12 0,-13 12 16,13 1-16,0-1 16,0-13-16,-14 14 0,14-14 15,0 0-15,-13-13 16</inkml:trace>
  <inkml:trace contextRef="#ctx0" brushRef="#br0" timeOffset="-116770.86">10385 7091 0,'0'-13'15,"13"-1"1,0 14-16,1-13 0,25 13 15,-25 0-15,-1 0 16,13 0-16,-13 13 0,1-13 16,25 14-16,-12-1 0,-14 0 0,0 0 15,14 1-15,-27-1 16,13 0-16,-13 13 0,0-12 16,0-1-16,0 0 0,-13 0 15,-1 1-15,14-1 0,-13 0 0,0-13 16,-13 26-16,12-12 0,1-14 15,0 13 1,0-13-16,-1 0 0,1 0 16</inkml:trace>
  <inkml:trace contextRef="#ctx0" brushRef="#br0" timeOffset="-116221.81">10980 6866 0,'-39'26'31,"25"-12"-31,1-1 16,0 0-16,0 27 0,-14-14 0,14 1 16,0 12-16,-27 28 0,14-41 15,-1 40-15,14-26 16,0-14-16,-1 27 0,1-13 16,13-14-16,0-12 15,0 12-15,0 0 0,13-12 16,-13-1-16,14 0 15,-1 0-15,13 14 16,-12-27-16,-1 0 0,13 13 16,-13-13-1,1 0-15,-1-13 0,0 13 16,0 0-16,1-13 16,-1 13-16,-13-14 15</inkml:trace>
  <inkml:trace contextRef="#ctx0" brushRef="#br0" timeOffset="-115755.41">11086 7117 0,'-13'-13'15,"13"40"17,-13-14-32,13 13 0,0-13 15,-14 1-15,14-1 0,0 0 16,-13 0-16,0 27 0,13-27 15,-13 0-15,-1 27 16,14-27-16,-13-13 0,13 14 16,0-1-16</inkml:trace>
  <inkml:trace contextRef="#ctx0" brushRef="#br0" timeOffset="-115370.48">11284 7157 0,'-66'26'31,"53"-26"-31,0 14 0,-14-14 16,-26 26-16,40-13 15,-13 1-15,13-14 16,-14 13-16,14 0 15,13 0-15,0 0 16,0 1 0,13-14-16,0 13 15,27 0 1,13-13 15,-27 0-31,-12 0 16,-1 0-1,-13 13-15,13-13 16,0 0 0,1-13-1,-1 13 1</inkml:trace>
  <inkml:trace contextRef="#ctx0" brushRef="#br0" timeOffset="-113698.52">11509 7078 0,'0'-14'15,"0"41"16,0-14-31,0 0 16,0 1-16,0 25 16,0-26-16,0 14 0,-13 13 15,13-14-15,0 0 0,-13 1 0,13-1 16,0 1-16,-13-14 16,13 14-16,-14-1 0,14-13 0,0 0 0,-13 27 15,13-27-15,-13 14 16,13-14-16,-13 0 15,13 1-15,0-1 16,0-53 31,0 27-31,13-14-16,-13 1 15,13-14-15,-13 14 0,13 13 16,-13-27-16,14 13 15,-14 14-15,13-27 0,-13 27 16,0-26-16,13 25 16,-13-25-16,0 25 0,13-12 15,-13 13-15,0-14 16,0 14-16,0 0 0,14-14 16,-14 14-16,0 0 0,0 0 15,0-1 1,0 1-16,0 0 31,13 39 16,-13-12-31,0-1-16,0 0 15,0 0-15,0 1 0,0-1 16,0 0-16,0 0 15,-13 1-15,13 12 0,0 0 16,0 1-16,-14 13 0,14-27 16,-13 0-16,13 27 15,-13-1-15,13-12 16,-13-14-16,13 0 0,0 1 0,0-1 16,0 0-16,-14 0 15,14 0-15,0 1 0,0-1 16,-13 0-1,13 0 1,0-26 93,0 0-93,0 0 0,0-1-16,0 1 15,13 0-15,-13-13 16,14 12-16,-14-12 16,0 13-16,13-27 15,-13 27-15,13-1 0,-13 1 16,13-13-16,-13 13 0,0-1 0,14-12 15,-14 13-15,13-27 0,-13 27 16,0 0-16,0-1 16,13-12-16,-13 13 0,0-1 0,0-12 15,13 13-15,-13-14 16,0 14 0,0 0-1,-13 39 32,13-13-31,0 1-16,0-1 0,0 13 15,-13 1-15,13-1 16,0-12-16,-13 25 16,13 1-16,0-14 0,0-12 15,-14 12-15,14-13 0,0 14 0,0-14 16,0 13-16,-13-12 0,13-1 15,0 0-15,0 0 0,0 1 16,-13 12-16,13-13 0,0 0 16,0 1-16,0-1 15,-13 0-15,13 0 16,0 1 0,0-1 15,0 0 0,0-39 32,0 12-48,13 1-15,-13 0 0,0 0 0,13-14 16,-13 14-16</inkml:trace>
  <inkml:trace contextRef="#ctx0" brushRef="#br0" timeOffset="-113258.7">11681 6522 0,'0'26'31,"-13"-12"-15,13 12-16,0-13 0,-13 1 15,13 12-15,-13-13 0,13 1 16,0-1-16,-14 0 0,14 0 15,0 0-15,-13 14 0,0-14 16,13 0-16,-13 1 16,13-1-1</inkml:trace>
  <inkml:trace contextRef="#ctx0" brushRef="#br0" timeOffset="-112926.42">11562 6747 0,'0'0'16,"0"-13"0,14 39 15,-14-13-16,0 1-15,0-1 16,13 0-16,-13 0 16,13 14 15,0-27 0,0-14-15,1 14-16,-1-13 15,0 13-15,0-13 0</inkml:trace>
  <inkml:trace contextRef="#ctx0" brushRef="#br1" timeOffset="-107719.48">11496 6138 0,'-13'14'31,"0"-1"-31,-1 13 15,14-13-15,-13 1 0,13-1 0,0 0 16,-13 0-16,13 1 0,0-1 0,0 0 16,0 0-16,0 1 15,0-1-15,13 0 16,0-13-16,1 0 16,-1 0-16,-13-13 0,13 13 15,14-13-15,-14 13 16,0-14-16,0 14 15,1 0-15,-1 0 16,-13 14 0,13-1-16,-13 0 15,0 0 1,0 0 0,13 1-1</inkml:trace>
  <inkml:trace contextRef="#ctx0" brushRef="#br1" timeOffset="-107405.61">11721 6257 0,'0'-13'0,"13"40"31,-13-14-15,0 0-16,0 0 16,14 1-16,-14-1 15,0 0-15,13 0 16,-13 0 0,13-13-16</inkml:trace>
  <inkml:trace contextRef="#ctx0" brushRef="#br1" timeOffset="-107186.78">11721 6125 0,'0'0'0</inkml:trace>
  <inkml:trace contextRef="#ctx0" brushRef="#br1" timeOffset="-106778.33">11840 6271 0,'13'13'16,"-13"0"-1,0 0-15,14 1 16,-14-1-1,13 0-15,-13 0 16,13-13 0,0 0-1,0-13-15,-13 0 16,14 13-16,-14-27 16,13 14-16,-13 0 15,0 0 1,13-1-16,-13 1 15</inkml:trace>
  <inkml:trace contextRef="#ctx0" brushRef="#br1" timeOffset="-106193.86">12118 6310 0,'0'-13'0,"0"0"31,13 0-31,-26 13 47,0 13-31,-1 0-1,14 0 1,0 1 0,0-1-1,14-13 1,-1 0-1,0-13 1,0 13-16,1 0 16,-1 0-1,0 0 17,0 0-32,1 0 15,-14 13 1,13-26 15,0 13-31,0-14 16,0 14-1,1-13 1,-1 13-16,0 0 16,0 0 30</inkml:trace>
  <inkml:trace contextRef="#ctx0" brushRef="#br1" timeOffset="-105913.85">12449 6019 0,'0'-13'0,"13"39"31,-13-12-31,0-1 16,0 0-16,0 0 0,0 1 0,13-1 15,-13 0-15,0 0 0,0 1 0,0-1 16,0 0-16,0 0 0,0 0 15,0 1-15,0-1 0,0 0 0,0 0 16,0 1-16</inkml:trace>
  <inkml:trace contextRef="#ctx0" brushRef="#br1" timeOffset="-105698.72">12409 6191 0,'40'-13'31,"-27"13"-31,0-13 16,0 13-16,1 0 0,-1 0 16,0 0-16,0-13 0,0 13 0,1 0 15,-1-14-15,0 14 0,0-13 0,1 13 16,-1-13-16</inkml:trace>
  <inkml:trace contextRef="#ctx0" brushRef="#br1" timeOffset="-105334.92">12726 5953 0,'-26'27'31,"26"-14"-31,0 0 0,-13 0 0,13 0 16,-13 1-16,13 12 0,-14-13 0,14 1 16,0-1-16,-13 13 0,13-12 15,-13 12-15,13-13 16,-13 0-16,26 1 16,0-28 15,0 14-31,1 0 15,-14-13-15,13 13 0,0 0 16,0 0-16,0 0 16,1 0-16,-1 0 15,13 0-15,-12 13 16,-1-13 0,0 0-16,0 0 0,1-13 15,-1 13-15,0 0 0,0 0 16</inkml:trace>
  <inkml:trace contextRef="#ctx0" brushRef="#br1" timeOffset="-104781.83">13004 6099 0,'-13'0'0,"26"0"0,-39-14 16,13 28 15,-1-14-31,1 0 16,13 13-1,-13-13-15,13 13 16,13-13 15,0 0-15,1 0-1,-1 13 1,0-13 0,0 0-1,1 0 1,12-13-16,-13 0 16,0 13-16,1-13 0,-1 13 0,-13-14 15,13 14-15,0-13 0,-13 0 0,14 0 16,-14-1-16,13 14 0,-13-13 15,0 0-15,13 13 0,-13-13 16,0 0-16,13 13 0,-26 26 31,13-13-15,0 0-16,0 1 16,0-1-16,0 0 0,0 0 15,0 1-15,13-1 16,-13 0-16,13-13 15,1 0-15,-1 0 16,-13-13-16,13 13 16</inkml:trace>
  <inkml:trace contextRef="#ctx0" brushRef="#br1" timeOffset="-104515.74">12991 6019 0,'-13'0'0,"53"0"31,-14 0-15,-13 0-16,0 0 0,27 0 16,-27 0-16,14 0 0,-14 0 15,0-13-15,0 13 0,1 0 16,-1 0-16,0 0 0,0 0 0,1 0 15,-1 0-15,0-13 16,0 26 0</inkml:trace>
  <inkml:trace contextRef="#ctx0" brushRef="#br0" timeOffset="-99915.62">11880 7144 0,'0'-13'0,"0"39"47,0-13-31,0 0-16,0 1 15,0-1-15,0 0 0,-13 0 0,13 1 16,0-1-16,0 0 0,0 0 0,0 0 16,-14 1-16,14-1 0,-13 0 15,13 0-15,0 1 16,-13-14-16,13 13 0</inkml:trace>
  <inkml:trace contextRef="#ctx0" brushRef="#br0" timeOffset="-99483.81">12144 7170 0,'-53'13'31,"40"-13"-31,0 14 0,0-14 16,0 0-16,-1 13 0,1-13 16,0 13-16,0-13 0,-1 0 0,14 13 15,-13-13-15,0 0 16,0 14-16,-1-1 31,28 0-15,-1-13-1,0 13 1,0-13-16,1 0 0,-1 0 16,0 0-16,0 0 15,1 0 1,-1 0-16,0 0 0,0 13 0,0-13 31,1 0-31,-1 0 31</inkml:trace>
  <inkml:trace contextRef="#ctx0" brushRef="#br0" timeOffset="-99033.75">12144 6720 0,'14'27'32,"-14"-14"-32,13 0 15,0 1-15,0-1 0,14 13 16,-14 1-16,0-14 15,14 13-15,-14-12 0,0 12 0,0 1 16,27 12-16,-27-26 0,0 14 16,1-14-16,-14 14 0,13-14 15,0 27-15,0-27 0,-13 13 16,0-13-16,0 14 0,0-14 16,0 14-16,-13-14 0,0 26 0,-14-12 15,14-1-15,-40 14 0,27-13 16,13-1-16,-27 0 0,14-12 15,12-1-15,1 0 0,0 0 16,0-13-16,-1 14 0,1-14 16</inkml:trace>
  <inkml:trace contextRef="#ctx0" brushRef="#br0" timeOffset="-97290.92">13044 7064 0,'13'-13'0,"40"13"31,-40 0-31</inkml:trace>
  <inkml:trace contextRef="#ctx0" brushRef="#br0" timeOffset="-97061.83">12925 7250 0,'13'13'31,"0"-13"-15,1 0-16,-1 0 0,0 0 16,0 13-16,1-26 0,-1 13 15,0 0-15,0 0 0,0 0 0,1 0 16,-1 0-16,0 0 15,0 0-15,1-13 0</inkml:trace>
  <inkml:trace contextRef="#ctx0" brushRef="#br0" timeOffset="-96321.92">14010 6892 0,'13'0'16,"13"0"-1,-12 0-15,-14 14 0,13-14 16,0 0-16,-13 13 0,13 0 0,1-13 15,-14 13-15,0 1 16,0-1 0,-14 0-16,14 0 0,-13-13 15,13 13-15,0 1 16,0-1 0,13-13-16,1 0 15,-14 13-15,13-13 0,0 0 16,0 13-16,0-13 15,-13 14-15,14-14 16,-14 13-16,-14 0 16,14 0-16,-13-13 0,13 14 0,-13-14 15,0 13-15,-14-13 0,14 13 16,-13-13-16,12 13 0,1-13 16,-13 13-16,12-13 0,1 0 0,0 14 15,0-14-15</inkml:trace>
  <inkml:trace contextRef="#ctx0" brushRef="#br0" timeOffset="-96078.81">14420 7011 0,'13'0'15,"-26"27"1,0-14-16,-14 14 15,14-1-15,-14 1 0,-25 12 16,12-12-16,13 12 16,-12-12-16,-1-1 0,14 14 0,-14-14 15,13-12-15,1 12 0,-1 1 0,1-14 16,13 13-16,0-13 0,-1-13 0,1 14 16,0-1-16,13 0 15</inkml:trace>
  <inkml:trace contextRef="#ctx0" brushRef="#br0" timeOffset="-95563.8">14367 7408 0,'-27'14'32,"14"-14"-32,-13 0 15,13 13-15,-1-13 0,-12 0 16,13 13-16,-1-13 0,1 0 0,0 13 16,0-13-16,-1 0 0,14 13 15,0 1 1,14-14-1,-1 0-15,-13 13 0,13-13 0,0 0 16,-13 13-16,14-13 0,-1 13 16,0 1-1,-13-1 1,0 0-16,-13 0 16,0-13-16,13 14 0,-14-14 15,1 13 1</inkml:trace>
  <inkml:trace contextRef="#ctx0" brushRef="#br0" timeOffset="-95381.7">14459 7488 0,'0'13'0,"-13"53"31,0-53-31,13 1 0,-13-1 16,13 0-16,0 0 0,-13 0 0,-1 1 16,14-1-16</inkml:trace>
  <inkml:trace contextRef="#ctx0" brushRef="#br0" timeOffset="-94801.97">12528 5384 0,'26'0'32,"-12"0"-17,-1 0-15,0 0 0,0 0 0,1 0 16,-1 14-16,0-14 0,0 0 0,1 0 15,-14 13-15,13-13 0</inkml:trace>
  <inkml:trace contextRef="#ctx0" brushRef="#br0" timeOffset="-94639">12488 5556 0,'40'0'31,"-27"0"-31,0 0 0,14 0 0,-14 0 16,14-13-16,-1 13 0,1-13 15,-1 13-15,0-13 0</inkml:trace>
  <inkml:trace contextRef="#ctx0" brushRef="#br0" timeOffset="-94326.74">13533 5239 0,'-26'0'32,"13"13"-32,-14-13 0,14 13 15,-13 0-15,-1-13 0,14 14 0,-14-1 16,1-13-16,13 13 0,0 0 15,-1-13-15,1 14 0,0-14 0,0 13 16,-1 0-16,14 0 16,0 1-16,14-1 15,-1-13-15,0 0 16,-13 13-16,27-13 0,-14 0 16,13 0-16,1 0 0,-14 0 15,13 0-15,-12 0 0,12-13 16,-13 13-16,1-13 0</inkml:trace>
  <inkml:trace contextRef="#ctx0" brushRef="#br0" timeOffset="-94113.53">13560 5278 0,'-13'0'32,"-1"14"-32,1-14 0,13 13 15,-13 0-15,0 0 0,0 1 0,-14 25 16,1-12-16,12-14 0,-12 13 15,13 1-15,-1-14 0,1 0 16,0 1-16,0 12 0,0-13 0,-14 0 16,27 1-16,-13-1 0,0 0 15,26 0 1</inkml:trace>
  <inkml:trace contextRef="#ctx0" brushRef="#br0" timeOffset="-93890.4">13811 5358 0,'13'-13'0,"-52"39"32,39-13-32,-13 1 0,-1-14 15,-12 13-15,13 0 0,-14 13 0,-13 1 16,14-14-16,0 0 0,12 1 0,1-1 15,-13 0-15,12 0 0,1 0 16,-13-13-16,26 14 0,-13-1 16,-1-13-16,14 13 0,-13-13 0,13 13 15</inkml:trace>
  <inkml:trace contextRef="#ctx0" brushRef="#br0" timeOffset="-93514.33">13772 5569 0,'-53'14'31,"39"-1"-16,1-13-15,0 0 0,0 13 16,-1-13-16,1 13 16,13 1-1,-13-14-15,26 13 16,-13 0-16,0 0 31,0 1-31,-13-1 31,0-13-31,0 13 16,-1-13-16,1 0 16,0 0-16,0 0 15</inkml:trace>
  <inkml:trace contextRef="#ctx0" brushRef="#br0" timeOffset="-92997.99">14301 6284 0,'-13'0'0,"-27"40"16,40-27-1,-13 0-15,-1 13 0,1-12 16,0-1-16,0 13 0,-1-12 0,-12 12 16,13-13-16,-14 14 0,14-1 15,0-26-15,0 13 0,13 1 16,-14-1-16,1-13 0</inkml:trace>
  <inkml:trace contextRef="#ctx0" brushRef="#br0" timeOffset="-92806.19">14089 6390 0,'0'0'0,"13"0"0,1 13 15,-1-13-15,0 13 0,0 0 16,0 1-16,1-1 0,-1-13 16,0 13-16,14 0 0,-14 1 15,0-1-15,0 0 0,14 0 0,-14-13 16,0 13-16,0 1 0,1-14 0,-14 13 15,13-13-15</inkml:trace>
  <inkml:trace contextRef="#ctx0" brushRef="#br0" timeOffset="-91277.86">13203 4987 0,'-27'14'0,"54"-28"0,-67 28 16,27-1-16,0-13 16,13 13-16,-14 0 0,1-13 15,13 14-15,-13-1 16,13 0-16,0 0 15,-13-13-15,13 13 0,0 1 16,-14-14-16,14 13 16,0 0-16,-13 0 0,13 1 15,-13-1-15,13 0 0,0 0 16,0 1-16,-13-1 0,13 0 16,0 0-16,0 0 15,-13 1-15,13-1 0,0 0 0,0 0 16,0 1-16,0-1 15,0 0-15,0 0 0,0 1 16,0-1-16,0 0 16,0 0-16,0 0 15,0 1-15,13-14 0,-13 13 16,0 0-16,0 0 16,0 1-16,0-1 15,0 0-15,13 0 16,-13 0-16,13 1 15,-13-1-15,13 0 16,-13 0-16,14 1 16,-14-1-16,13-13 15,-13 13-15,13 0 0,0 1 16,-13-1 0,14-13-16,-1 13 0,0 0 15,-13 0 1,13-13-16,-13 14 0,13-14 15,-13 13-15,14-13 0,-14 13 0,26 0 16,-26 1-16,13-14 0,1 13 16,-14 0-16,13 0 0,0-13 15,-13 14-15,13-1 0,1 0 16,-1 0-16,-13 0 16,13-13-16,-13 14 0,13-1 15,-13 0-15,13 0 16,-13 1-16,14-14 0,-14 13 15,13 0-15,-13 0 16,13 0 0,-13 1-16,0-1 0,13-13 15,-13 13-15,0 0 0,14 1 16,-14-1-16,0 0 0,0 14 0,13-14 16,-13 0-16,0 0 15,0 0-15,13 1 0,-13-1 0,0 0 0,0 14 16,0-14-16,0 0 0,0 14 0,13-14 15,-13 13-15,0 14 16,-13-27-16,13 14 0,0 12 16,0-25-16,-13 12 0,13 0 15,-13 1-15,13-1 0,-14 1 0,1 13 16,0-14-16,0 14 0,-1-1 16,1 1-16,-26 53 0,12-40 15,14-1-15,-14 15 0,1-14 0,13-1 16,-14 1-16,14 0 0,0 0 15,0 0-15,-1-13 0,1-1 0,0-12 16,13 26-16,0-27 0,0-12 16,0-1-16</inkml:trace>
  <inkml:trace contextRef="#ctx0" brushRef="#br0" timeOffset="-89815.62">13414 4921 0,'40'-13'0,"39"13"16,-65-13-16,12 26 15,1-13-15,-1 0 0,14 0 0,13 13 16,-14-13-16,1 13 0,13 1 0,-13-1 16,-1 0-16,14 14 0,0-14 15,-13 13-15,0 1 0,12-1 0,-12 14 16,0-14-16,0 1 0,-1 13 0,1-1 15,0-12-15,-14 12 0,14 1 16,-14-13-16,1 12 0,-1 1 0,-13-14 16,14 14-16,-1-14 0,-13 14 15,1 0-15,-1 0 0,0-1 0,0-12 16,1 12-16,-14 1 0,13 0 16,-13-1-16,0-12 0,13 13 0,-13-14 15,0 0-15,0 14 0,0-13 16,0-1-16,0 1 0,0-1 15,0 14-15,0-14 0,0 1 0,0-1 16,0 1-16,0-1 0,0 0 0,0 1 16,0-1-16,0 1 0,0-1 0,0 1 15,0-1-15,0 1 0,0-1 16,0-13-16,0 14 0,0-1 0,0 1 16,0-1-16,0 1 0,-13-14 0,13 13 15,0 1-15,0-1 0,0 1 16,0-14-16,0 13 0,0 1 0,0-1 15,0 1-15,0-1 0,0 1 0,0-1 16,0 1-16,0-1 0,0 1 16,-13-1-16,13 0 0,0 1 0,0-14 15,0 14-15,0-1 0,0-13 0,0 14 16,0-1-16,0-13 0,13 14 16,-13-14-16,0 14 0,0-14 0,0 13 15,0-13-15,13 14 0,-13-14 16,0 14-16,0-14 0,0 13 15,0-12-15,0 12 0,0-13 0,0 0 16,0 1-16,-13-1 0,13 0 16,0 0-16,-13 1 0,13-1 0,-14 0 15,14 0-15,-13-13 0,13 14 0,-13-1 16,0 0-16,13 0 0,-27 0 16,27 1-16,-13-14 0,0 13 15,0 0-15,-1-13 0,1 13 0,13 1 16,-13-14-16,-14 13 0,14 0 15,0-13-15,0 13 0,-1-13 0,-12 14 16,13-14-16,0 13 0,-14-13 16,14 0-16,-14 0 0,14 0 0,-13 0 15,-107-27 1,107 27-16,0-13 16,-1 0-16,-13 0 0,27 13 0,-27-27 15,14 14-15,0 0 0,-1-1 16,1-12-16,-1 13 0,1-14 15,-14 14-15,14-13 0,-1 12 0,1-12 16,-1 13-16,1-14 0,-1 14 0,-39-27 16,40 27-16,-14-13 0,14 12 15,-14 1-15,13-13 0,-39-1 16,40 1-16,-1 13 0,-12-14 16,25 1-16,1 12 0,-13-25 15,26 25-15,0-12 16,13-14-16,0 14 0,14-14 0,-1 1 15</inkml:trace>
  <inkml:trace contextRef="#ctx0" brushRef="#br0" timeOffset="-89397.8">15068 6257 0,'0'-13'16,"13"13"-16,0 0 15,1 0-15,-1 0 0,13 0 16,-12 0-16,-14 13 16</inkml:trace>
  <inkml:trace contextRef="#ctx0" brushRef="#br0" timeOffset="-89216.57">14922 6443 0,'0'0'0,"14"0"16,-1 0-1,0 0-15,0 0 0,14 0 16,-14 0-16,0 0 0,1 0 16,-1-14-16,13 14 0,-13 0 0,14 0 15,-14-13-15</inkml:trace>
  <inkml:trace contextRef="#ctx0" brushRef="#br0" timeOffset="-88742.77">15849 6125 0,'-14'0'0,"-39"27"31,40-14-31,0 0 0,0 0 16,-1 0-16,14 1 15,-13-1-15,13 0 0,0 0 0,0 1 0,0-1 16,13 0-16,-13 0 16,14 1-16,-1-14 0,13 13 15,-12-13-15,-1 0 0,0 0 0,14 0 16,-14 0-16,0 0 0,13 0 16,-12-13-16,-1-1 0,0 14 15,0-13-15,1 0 0,-1 0 0,-13-1 16,13-12-16,-13 13 0,0-1 0,0 1 15,0 0-15,0 0 0,-13 0 16,13-14-16,-13 14 0,-1 0 16,1-1-16,0 14 0,0-13 15,-14 13-15,14 13 0,0-13 16,0 0-16</inkml:trace>
  <inkml:trace contextRef="#ctx0" brushRef="#br0" timeOffset="-88594.62">16100 6191 0,'13'0'0,"-13"-13"31</inkml:trace>
  <inkml:trace contextRef="#ctx0" brushRef="#br0" timeOffset="-88168.65">16470 6112 0,'-26'-13'15,"-1"13"-15,27 13 0,-13-13 16,0 0-16,0 0 16,13 13-16,-14-13 15,14 13-15,14 1 16,-1-1-1,0-13-15,0 13 16,1-13-16,-1 13 0,0-13 16,-13 13-16,13-13 0,1 14 15,-14-1 1,-14 0 0,1 0-16,0-13 15,0 14-15,-1-14 0,-12 13 0,13-13 0,-1 0 16,-12 13-16,13-13 0,0 0 15,-1 0-15,1 13 16,0-13-16</inkml:trace>
  <inkml:trace contextRef="#ctx0" brushRef="#br0" timeOffset="-87930.73">16947 5993 0,'13'0'0,"-26"13"16,-1 0-16,14 0 0,-13 1 15,0-1-15,0 13 0,-1-12 0,-12 12 16,13 1-16,-14-1 0,14-13 0,-13 14 16,12-1-16,1-13 0,-13 1 0,12-1 15,-12 13-15,13-12 16,0-1-16,-14 0 15,27 0-15,-13-13 0,0 0 0</inkml:trace>
  <inkml:trace contextRef="#ctx0" brushRef="#br0" timeOffset="-87666.72">16894 6271 0,'0'13'0,"13"-13"31</inkml:trace>
  <inkml:trace contextRef="#ctx0" brushRef="#br0" timeOffset="-87148.88">16867 6019 0,'0'-13'15</inkml:trace>
  <inkml:trace contextRef="#ctx0" brushRef="#br0" timeOffset="-84950.61">15610 6535 0,'67'13'32,"-15"1"-32,-12-14 15,-13 0-15,12 0 0,-12 0 0,26 0 16,-14 0-16,1 0 0,-13 0 0,12-14 16,1 14-16,-14 0 0,1 0 15,-14 0-15,13 0 0,-12 0 0,-1 0 16,0 0-16</inkml:trace>
  <inkml:trace contextRef="#ctx0" brushRef="#br0" timeOffset="-84601.78">15544 6707 0,'27'0'15,"-14"0"-15,0 0 0,14 0 16,-14 0-16,13 13 0,14-13 0,13 0 16,-13 0-16,-14 14 0,14-14 15,-14 0-15,1 0 0,-1 13 16,1-13-16,-1 0 0,-13 0 16,14 0-16,-14 13 0,0-13 0,0 0 0,1 0 15,-1 0-15,0 13 16,0-13-16,1 0 15,-1 0-15,0 0 32,0 0-17</inkml:trace>
  <inkml:trace contextRef="#ctx0" brushRef="#br0" timeOffset="-72593.73">913 9419 0,'0'0'0,"-13"27"31,13-1-31,0 1 0,0 12 0,0 1 15,-14 0-15,14-1 0,-13 41 16,13-27-16,-13-14 0,13 1 16,0 0-16,0-14 0,-13 14 0,13-14 15,0-13-15,0 14 0,0-1 16,0-12-16,0-1 0,-14 0 0,14 0 16,0 1-16</inkml:trace>
  <inkml:trace contextRef="#ctx0" brushRef="#br0" timeOffset="-70092.55">847 9327 0,'13'0'15,"-13"-14"-15,13 14 16,0 0-16,1 0 0,12 0 15,-13 0-15,0 0 0,1 0 16,12 0-16,1 14 16,-1-14-16,1 0 0,39 0 0,-13 0 15,-14 0-15,14 0 0,0 0 0,0 0 16,0 0-16,-13 0 16,26 0-16,-13-14 0,0 14 0,26 0 15,0 0-15,-12 0 0,12-13 0,0 26 16,-26-26-16,27 26 0,-1-13 15,-13 0-15,13 0 0,-12 0 0,12 14 16,-13-14-16,14 0 0,-28 0 0,28 0 16,-27 0-16,26 13 0,0-13 15,-12 0-15,12 0 0,-13 0 0,0 0 16,0 0-16,14 0 0,-14 0 0,0 0 16,0 0-16,0 0 0,1 0 0,-15 0 15,15 0-15,-14 0 0,13 0 16,-13 0-16,0 13 0,-1-13 15,-12 0-15,13 0 0,0 0 0,-13 0 0,13 13 16,-14-13-16,14 0 16,-13 0-16,0 0 0,-1 13 0,1-13 15,0 0-15,-14 0 0,14 0 0,-14 14 16,14-14-16,0 0 0,-14 0 16,14 0-16,-14 0 0,14 13 15,-14-13-15,14 0 0,-14 0 0,1 13 0,-1-13 16,1 0-16,13 13 0,-14-13 0,0 0 15,1 0-15,-14 14 0,14-14 16,-1 0-16,-13 13 0,14-13 0,-1 0 16,-13 0-16,14 0 0,-1 13 15,-12-13-15,12 0 0,-13 0 0,27 0 16,-27 0-16,14 0 16,-14 13-16,0-13 0,14 0 0,-14 0 15,0 0-15,13 0 0,-12 0 16,-1 0-16,13 0 0,-12 0 0,-1 0 15,13 0-15,-12 0 0,-1 0 0,13 0 16,-13 0-16,14 0 0,-14 0 0,14-13 16,12 13-16,-12 0 15,-14 0-15,13 0 0,-12 0 16,12 0-16,1 0 0,-1 0 16,0-13-16,-12 13 0,12 0 15,-13 0-15,14 0 0,-14 0 0,27 13 16,-27-13-16,13 0 0,-12 0 15,-1 0-15,13 0 0,-12 0 16,12 0-16,-13 0 0,1 0 0,12 0 16,-13 0-16,14 0 0,-14 0 0,27 13 15,-27-13-15,13 0 0,-12 0 16,-1 0-16,13-13 0,-13 13 16,1 0-16,-1 0 0,13 0 0,-12 0 15,-1 0-15,0 0 0,0 0 0,0 0 16,1 0-16,12 0 0,-13 0 15,1 0-15,-1 0 0,0 0 0,0-13 16,1 13-16,12 0 0,-13 0 0,0 0 16,1 0-16,12 0 0,-13 0 15,1 0-15,12 0 0,-13 0 16,1 0-16,-1 0 0,13 0 0,-13 0 16,14 0-16,-14 0 0,0 0 15,1 0-15,12 0 0,-13 0 16,0 0-16,1 0 0,12 0 0,1 0 15,-14 0-15,0 0 0,14 0 16,-14 0-16,0 0 0,0 0 16,0 0-16,1 0 0,-1 0 0,0 0 15,14 0-15,-14 0 16,0 0 0,0-13-16,1 13 31,-1 0-31,0 0 31,0 0-15,-13 13-1,13-13 1,-13 13 0,14-13-16,-14 13 15,13-13-15,-13 14 0,13-14 16,-13 13-16,0 0 15,13 0-15,-13 0 0,0 14 16,0-14-16,14 0 0,-14 14 16,0-14-16,0 14 0,0-1 15,0-13-15,0 14 0,0-1 0,0 1 16,13-1-16,-13-13 0,0 14 0,0-1 16,0-13-16,0 14 0,13-14 15,-13 14-15,0-14 0,13 0 16,-13 13-16,0-12 0,14-1 0,-14 13 0,0-12 15,13-1-15,-13 0 0,13 0 16,-13 1-16,13-14 16,-13 13-16,0 0 0,13-13 15,-13 13-15,14 0 16,-14 1 0,0-1 30,-14-13-30,1 0-16,0 0 16,0 13-16,0-13 15,-1 0-15,1 0 16,0 0-16,0 0 0,-1 13 0,-12-13 16,13 0-16,-14 0 0,14 0 0,-27 14 15,-13-14-15,0 0 16,14 13-16,-14-13 0,0 0 0,13 0 15,-66 13-15,54-13 0,-1 0 16,0 0-16,0 0 0,0 0 16,-13 13-16,13-13 0,0 0 0,0 0 15,0 0-15,-53 0 0,53 0 16,-13 0-16,13 0 0,-13 0 16,13 0-16,-79 0 0,79 0 15,0 0-15,-13 0 0,13 0 16,0 0-16,0 0 0,-66 14 15,53-14-15,13 0 0,0 0 16,-13 0-16,13 0 0,0 0 0,-66 0 16,66 0-16,13 0 0,-65 0 15,52 0-15,13 0 0,-13 0 16,0 0-16,0 0 0,0 0 16,14-14-16,-14 14 0,13 0 0,-13 0 15,0 0-15,14 0 0,-14 0 16,0 0-16,0 0 0,0 0 0,0 0 15,-40 0-15,40-13 16,14 13-16,-41 0 0,27-13 16,27 13-16,-53 0 0,26 0 15,-27-13-15,41 13 16,12 0-16,-39-14 0,26 14 16,1 0-16,-1 0 0,-26-13 15,39 13-15,1 0 16,-14 0-16,14-13 0,-14 13 0,-13 0 15,27 0-15,-1 0 0,-26-13 16,27 13-16,-27 0 16,40 0-16,-14 0 0,-26 0 15,27 0-15,-1 0 0,-25 0 16,25 0-16,1 0 0,-1 0 16,1 0-16,-1 0 0,1 0 15,-14 0-15,14 0 0,-1 0 0,1 0 16,-1 0-16,1 13 0,-1-13 0,-12 0 15,12 0-15,1 0 0,-1 0 16,-39 0-16,40 0 0,-1 0 16,-26 13-16,14-13 15,12 0-15,1 0 0,-1 13 0,1-13 16,-14 0-16,14 0 0,-1 0 0,1 14 16,-1-14-16,-39 0 15,40 0-15,-1 13 0,-26-13 16,40 0-16,-40 13 15,40-13-15,-14 0 0,-12 13 16,26-13-16,-14 0 0,14 0 0,-14 0 16,14 14-16,0-14 0,0 0 15,-1 0 1,1 0-16,0 0 0,0 0 16</inkml:trace>
  <inkml:trace contextRef="#ctx0" brushRef="#br0" timeOffset="-57257.73">13838 5596 0,'13'0'0,"0"0"0,0 0 0,1-13 16,-1 26-16,0-13 0,0 0 16,1 0-16,-14 13 0,13-13 15,-13 13-15,0 1 16,0-1-16,0 0 0,-13 0 16,-1 1-16,1 12 0,0-26 15,0 13-15,13 0 0,-14-13 0,14 14 16,0-1-1,14-13-15,-1 0 16,0 0-16,14 0 0,-14 0 16,13 0-16,1 0 0,-14-13 0,13 13 15,1 0-15,-1 0 0,1 0 16</inkml:trace>
</inkml:ink>
</file>

<file path=ppt/ink/ink29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1:53:10.349"/>
    </inkml:context>
    <inkml:brush xml:id="br0">
      <inkml:brushProperty name="width" value="0.05292" units="cm"/>
      <inkml:brushProperty name="height" value="0.05292" units="cm"/>
      <inkml:brushProperty name="color" value="#0070C0"/>
    </inkml:brush>
  </inkml:definitions>
  <inkml:trace contextRef="#ctx0" brushRef="#br0">8956 4207 0,'-13'0'0,"26"-13"31,14 13-31,-14 0 0,0 0 16,14 0-16,-1 0 0,27-14 0,-13 14 16,13 0-16,-14 0 0,14 0 15,0 0-15,-13 0 0,-1 0 0,1 0 16,0 0-16,-14 0 0,1 0 15,-1 0-15,1 0 0,-1 0 0,-13 0 16,1 0-16,-1 0 0,0 0 16,0 0-16</inkml:trace>
  <inkml:trace contextRef="#ctx0" brushRef="#br0" timeOffset="296.24">8943 4260 0,'0'0'0,"40"0"31,-27 0-31,13 0 16,1 0-16,-1 0 0,27 0 0,-13 0 16,0 0-16,12-13 0,-12 13 0,-13 0 15,39 0-15,-40 0 16,14 0-16,-14-14 0,1 14 0,-14 0 15,13 0-15,1 0 0,-14 0 16,0 0-16,1 0 0,-1 0 16,0 0-16,0 0 0,1 0 15,-1 0-15,0 0 16,0 0 0</inkml:trace>
  <inkml:trace contextRef="#ctx0" brushRef="#br0" timeOffset="1441.5">11245 4247 0,'39'0'31,"-25"0"-31,-1-14 0,0 14 16,14 0-16,-14 0 0,13 0 0,1 0 15,-1 0-15,-13 0 0,14 0 0,-1-13 16,1 13-16,-1 0 0,-12 0 16,-1 0-16,0 0 0,0 0 0,0 0 15,1 0-15</inkml:trace>
  <inkml:trace contextRef="#ctx0" brushRef="#br0" timeOffset="1724.41">11218 4313 0,'14'13'31,"-1"-13"-31,0 0 15,-13 13-15,26-13 0,1 0 16,-14 0-16,14 0 0,-14 0 16,13 0-16,1 0 0,-14 0 15,13 0-15,1 0 0,-14 0 0,0 0 16,14-13-16,-14 13 0,0 0 16,1 0-16,12 0 15,-13 0-15,0 0 16,1 0-1,-1-13 1</inkml:trace>
  <inkml:trace contextRef="#ctx0" brushRef="#br0" timeOffset="17388.41">12898 4207 0,'27'-13'15,"-14"13"1,0 0-16,1 0 0,-1 0 16,0 0-16,0 0 0,1-14 0,12 14 15,-13 0-15,0 0 0,14 0 16,-14 0-16,14 0 0,-14 0 0,0 14 15,0-14-15,14 0 0,-14 0 0,0 0 16,0 0-16,1 0 0,-1 0 16,0 0-1,0 0-15</inkml:trace>
  <inkml:trace contextRef="#ctx0" brushRef="#br0" timeOffset="17823.4">12872 4260 0,'40'13'16,"-27"-13"-16,0 0 15,0 0-15,1 0 0,12 0 0,-13 0 16,1 0-16,12 0 0,-13 0 0,14 0 15,-14 0-15,0 0 0,14 0 16,-14 0-16,0 0 0,0 0 0,0 0 16,1 0-16,-1 0 0,0 0 15,0 0-15,1 0 16,-1 0-16,0 0 16,0 0-1,1 0 16,-1 0-15</inkml:trace>
  <inkml:trace contextRef="#ctx0" brushRef="#br0" timeOffset="26849.48">1521 5239 0,'53'-13'16,"-26"13"-16,65-14 0,213 1 31,-226 13-31,0-13 0,1 13 0,-1 0 16,0-13-16,-12 13 0,-1 0 0,-13 0 16,0 0-16,-14-14 0,-12 14 0,-1 0 15,1 0-15,-1 0 0,-13 0 16,14 0-16,-27 14 0,13-14 0,0 0 15,-26 13 1,0-13-16,0 13 0</inkml:trace>
  <inkml:trace contextRef="#ctx0" brushRef="#br0" timeOffset="27120.42">1693 5331 0,'0'0'0,"27"0"16,-1 0-16,1 0 15,26 0-15,-14-13 0,27 13 16,-13 0-16,14 0 0,-1 0 0,0 0 16,0 0-16,13 0 0,-26 0 0,13 0 15,-13 0-15,13 0 0,-26 13 16,13-13-16,-13 0 0,-1 0 15,-12 0-15,-1 14 0,-12-14 0,-1 0 16,0 0-16,0 13 0,-13 0 16,0 0-1</inkml:trace>
  <inkml:trace contextRef="#ctx0" brushRef="#br0" timeOffset="30707.43">5887 8004 0,'40'0'15,"-80"0"-15,93 0 0,-13 0 0,-27 0 16,0 0-16,13-14 0,1 14 15,-1 0-15,1 0 0,13 0 0,-14 0 16,14 0-16,-1 0 0,14 0 16,-13 0-16,13 14 0,0-28 0,-13 28 15,12-14-15,1 0 0,0 0 0,-13 0 16,13 0-16,0 0 0,13 0 16,-13 0-16,13 0 0,0 13 0,14-13 15,-28 0-15,15 0 0,-1 0 0,0 13 16,0-13-16,0 0 0,14 0 0,-1 13 15,0-13-15,-13 0 0,14 0 16,-1 0-16,1 0 0,-14 14 0,26-14 16,67 0-16,-80 0 0,1 0 15,-1 0-15,1 0 16,-1 0-16,0 13 0,14-13 0,-14 0 16,1 0-16,-1 0 0,0 0 0,1 13 15,-1-13-15,-13 0 0,14 0 0,12 0 16,-12 13-16,-1-13 15,0 0-15,1 0 0,-1 0 0,14 0 16,-14 0-16,14 0 0,-1 0 0,80-13 16,-79 13-16,-14 0 0,1 0 0,12 0 15,-12 0-15,12 0 0,-12 0 16,-1 0-16,0-13 0,1 13 0,-1 0 16,1 0-16,-1 0 0,0 0 15,1 0-15,78 0 0,-91-13 16,12 13-16,0 0 0,1 0 0,-1 0 15,-13 0-15,14 0 0,-1 0 16,80 0-16,-93 0 0,13 0 16,1 13-16,-1-13 0,-13 0 15,13 0-15,1 0 0,-14 0 0,13 13 16,1-13-16,65 0 0,-65 13 16,-14-13-16,79 0 0,-79 13 15,1-13-15,-1 0 16,0 0-16,0 14 0,0-14 0,0 0 15,0 13-15,-13-13 0,66 0 16,-52 0-16,-1 13 0,0-13 0,13 0 16,-13 0-16,146 27 15,-159-27-15,13 0 0,66 13 16,-65-13-16,12 0 0,53 13 16,-66-13-16,67 13 15,-80-13-15,26 0 0,53 0 16,-52 14-16,-14-14 0,79 0 15,-92 0-15,13 0 0,14 0 16,-27 0-16,13 0 0,0 0 16,0 0-16,-13 0 0,13 0 15,-13 0-15,0 0 0,0 0 0,0 0 16,0 0-16,53 0 0,-67 0 16,1 0-16,0 0 0,-14 0 15,14 0-15,13 0 16,-27 0-16,1 0 0,12 0 0,-12 0 15,-14 0-15,0-14 0,0 14 16,1 0-16,-1 0 0,0 0 0,0 0 16,-13 14-16,14-14 15,-1 0-15,0 0 0,-13 13 16,13 0 0,-13 0-16,0 0 15,14 1-15,-14 12 16,0-13-16,0 1 0,0 25 15,0-25-15,0 12 16,0-13-16,13 14 0,-13-1 16,0 1-16,0-1 0,13 0 0,-13 1 15,0 13-15,13-14 0,-13 1 0,0-1 16,13 14-16,-13-1 0,14-12 16,-14 13-16,13-14 0,-13 0 0,0 1 15,0 13-15,13 13 0,-13-27 16,13 0-16,-13 1 0,0 13 15,14-1-15,-14 1 0,0 0 16,13-1-16,-13 1 0,13 0 0,-13-1 16,0 1-16,13-13 0,-13 12 0,14 1 15,-14-14-15,13 14 0,-13 0 0,0-14 16,13 14-16,-13 0 0,0-14 16,0 14-16,13-1 0,-13 1 0,0-13 15,0 12-15,0 1 0,0-14 0,0 1 16,0-1-16,0 27 0,0-26 0,0 12 15,0 1-15,0-13 0,0-1 16,0 14-16,0-14 0,0 14 0,-13-14 16,13 14-16,0 0 0,0-1 0,0-12 15,0 39-15,0-40 0,-13 14 16,13-13-16,0-1 16,0 0-16,-13 14 0,13 0 0,0-14 15,0 1-15,0-1 0,0 1 0,-14 12 16,14-12-16,0 39 0,0-40 15,-13 1-15,13-1 16,0 1-16,0 12 0,0 1 0,13-13 16,-13 12-16,0 1 0,0 0 0,14 26 15,-14-26-15,13-14 0,-13 14 0,0-14 16,13 1-16,-13-1 0,0 1 16,13-1-16,-13 0 0,0-12 0,13 12 15,-13-13-15,0 14 0,0-14 16,0 0-16,0 0 0,0 1 0,0-1 15,0 0-15,0 0 16,0 1-16,-13-14 0,13 13 0,-13-13 16,-13 13-16,12-13 0,-12 13 15,-1-13-15,1 0 0,-14 0 0,-13 0 16,0 0-16,0 0 0,1 0 16,-15-13-16,-12 13 0,13-13 0,-14 13 15,1-13-15,-13 13 0,12-14 0,-12 1 16,-1 13-16,0-13 0,-12 13 0,-15-13 15,1-1-15,14 1 0,-15 13 16,-12-13-16,0 0 0,13 13 16,-13-13-16,12-1 0,-12 14 0,-119-13 15,119 0-15,-146-14 16,145 27-16,1-13 0,-132-13 16,131 13-16,1 13 0,-133-27 15,133 14-15,0 0 0,-120-14 16,120 27-16,0-13 0,0 0 15,13-1-15,-14 1 16,14 0-16,0 0 0,0 0 0,26-1 16,-12 14-16,-14-13 0,26 0 0,-26 0 15,13-1-15,13 14 0,-12-13 0,12 13 16,-132-26-16,119 26 16,-13-14-16,13 1 0,1 13 0,12-13 15,-26 0-15,-106 0 0,106-1 16,26 1-16,1 0 0,-14 13 0,13-13 15,-39-1-15,26 1 0,0 0 16,14 0-16,-1-1 0,1 1 0,-28 0 16,28 0-16,-1 0 0,1-1 15,-1 1-15,0 0 0,-105-14 16,105 27-16,1-13 0,-1 0 16,1 0-16,12-1 0,-12-12 0,-94 13 15,94 0-15,12-1 0,-105-25 16,106 25-16,-14 1 0,14 0 15,-67 0-15,67 0 16,13-1-16,-14 1 0,14 0 0,0 0 16,-66-14-16,79 14 0,0 0 15,-40-1-15,40 1 16,14 0-16,-1 0 0,0 0 0,14-1 16,-40-25-16,53 25 0,-14 1 15,14 0-15,-14 0 0,14-1 16,0 1-16,0-13 0,0 13 0,13-14 15,0 1-15,-14-1 0,14 1 0,0-1 16,14-12-16,-14-14 0,13 0 16,0 0-16,13 0 0,-12 0 0,-1-13 15,13 0-15,-12 0 0,-1-1 16,13-12-16,-13 0 0,40-80 16,-39 80-16,12-14 0,1-13 0,-14 40 15,13-27-15,-13 14 0,27-67 16,-27 67-16,1 0 0,25-54 15,-39 67-15,14 0 0</inkml:trace>
  <inkml:trace contextRef="#ctx0" brushRef="#br0" timeOffset="32681.33">6601 8916 0,'14'14'31,"-14"-1"-31,0 13 16,0-12-16,0-1 0,0 13 0,0-12 16,0 12-16,0-13 0,0 14 0,0-14 15,-14 13-15,14-12 0,0 12 16,0-13-16,-13 1 0,13-1 0,0 0 16,-13 0-16,13 0 0,0 1 15,-13-14-15</inkml:trace>
  <inkml:trace contextRef="#ctx0" brushRef="#br0" timeOffset="33093.35">6575 8956 0,'0'-26'0,"0"12"15,0 1-15,13 0 16,-13 0-16,13 13 16,1-13-16,-1 13 0,0 0 15,0 0-15,1 0 0,-1 0 16,0 13-16,0-13 0,0 13 15,1 0-15,-1 0 0,0 1 16,-13 12-16,13-13 0,-13 1 0,0-1 16,0 0-16,-13 0 0,0 1 15,13-1-15,-13 0 0,-1 0 0,-12 0 16,13 1-16,0-1 0,-1 0 0,1 0 16,-13-13-16,12 14 0,1-14 15,0 13-15,0-13 0,-1-13 31</inkml:trace>
  <inkml:trace contextRef="#ctx0" brushRef="#br0" timeOffset="33476.25">7117 8718 0,'-13'0'0,"0"13"15,0 0-15,-1 1 0,-12 12 16,13 1-16,-14 12 0,1 1 0,-1 0 15,1-1-15,-1 14 0,14-26 16,-13 12-16,12 1 0,1 0 0,0 0 16,0-14-16,0 40 0,13-39 15,0-1-15,0-13 0,0 14 16,0-14-16,13 0 0,-13 0 0,13 1 16,0-1-16,-13 0 0,13-13 15,1 13-15,-1-13 0,0 0 0,0 14 0,1-14 16,-1-14-1,0 14-15,0 0 0,1 0 0,-1-13 16,0 13-16,0-13 0,0 0 16</inkml:trace>
  <inkml:trace contextRef="#ctx0" brushRef="#br0" timeOffset="33761.32">7355 8943 0,'0'13'31,"0"0"-31,0 1 0,0-1 16,-13 0-16,13 0 0,0 14 15,-13-14-15,13 0 0,-13 14 0,13-1 16,-14-13-16,1 1 0,13-1 0,-13 0 15,13 0-15,-13 1 0,13-1 16,0 0-16,-13 0 0,13 0 0,0 1 31,13-14-31</inkml:trace>
  <inkml:trace contextRef="#ctx0" brushRef="#br0" timeOffset="34208.29">7633 9088 0,'-26'0'16,"-1"0"-16,14 14 16,0-14-16,0 0 0,-14 13 0,14-13 15,-14 13-15,1-13 0,13 13 16,-14-13-16,14 14 0,0-14 0,0 13 15,-1-13-15,1 0 0,13 13 0,-13-13 16,13 13 0,0 1-1,13-14-15,0 13 0,1-13 16,-1 0-16,0 0 16,0 0-16,1 13 0,-1-13 15,0 0-15,0 0 0,0 0 0,1 0 16,-1 0-16,0 0 0,14 0 15,-14 0 1,0 0-16,0 0 16,1 0-1,-1 0 17,0 0 14</inkml:trace>
  <inkml:trace contextRef="#ctx0" brushRef="#br0" timeOffset="34801.22">8281 8744 0,'0'27'32,"0"-14"-17,0 0-15,-13 14 0,13 13 0,-13-1 16,13 1-16,-13 0 0,13-1 0,-13 1 16,13 0-16,-14-1 0,1-12 15,13 13-15,0-14 0,-13 0 0,13 1 16,0-14-16,0 0 0,-13 14 0,13-14 15,0 0-15,0 0 0,0 1 16,0-1-16,0 0 16,0 0-1,13-39 32,0 13-47</inkml:trace>
  <inkml:trace contextRef="#ctx0" brushRef="#br0" timeOffset="35285.08">8652 8956 0,'0'-13'32,"13"39"-32,-13-12 15,0-1-15,0 0 0,13 0 16,-13 1-16,0 12 0,0-13 0,0 14 15,-13-14-15,13 0 0,0 14 0,0-14 16,0 0-16,-13 0 0,13 1 16,0-1-16,0 0 0,-13 0 0,13 0 15,0 1-15,-14-14 32</inkml:trace>
  <inkml:trace contextRef="#ctx0" brushRef="#br0" timeOffset="35664.68">8996 9088 0,'-40'0'16,"27"0"-16,0 0 0,-1 14 15,1-14-15,0 0 0,-13 13 0,-1-13 16,14 13-16,0-13 0,-1 0 16,1 0-16,0 13 0,0-13 15,13 14 1,0-1 0,13-13-16,0 0 15,0 13-15,1-13 0,-1 0 16,0 13-16,0-13 0,1 0 15,-1 14-15,0-14 0,0 0 16,0 0-16,-13 13 16,14-13-16,-1 0 0,0 0 15,0 0 1,1-13 0,-1-1-1</inkml:trace>
  <inkml:trace contextRef="#ctx0" brushRef="#br0" timeOffset="36948.37">8996 8546 0,'13'0'0,"-26"0"0,39 0 16,1 0-1,-14 13-15,0-13 0,14 13 0,-1 1 16,1 12-16,12-13 0,-12 14 0,-1-1 16,14 1-16,-14-1 15,1 1-15,-1-1 0,1 14 0,-1-14 16,-13 1-16,14 12 0,-14-12 0,-13-1 15,13 1-15,-13-1 0,0-12 0,0 12 16,0 0-16,-13-12 0,13 12 16,-13 1-16,0-14 0,-1 13 0,-12 1 15,13-1-15,-14-13 0,1 14 0,13-14 16,-14 0-16,14 1 0,0-1 0,-1 0 16,1 0-16,0-13 0,0 13 15,0 1-15,-1-14 0,1 13 16,0 0-16,0-13 15,13 13 1,-14 1 15,1-14 1,13 13-1,13-13 516,1 0-375,-14-13-157</inkml:trace>
  <inkml:trace contextRef="#ctx0" brushRef="#br0" timeOffset="43137.34">9208 10649 0,'0'27'31,"0"-14"-15,13 0-16,0-13 0,40 27 16,-40-14-1,0-13-15,1 13 0,12-13 16,-13 0-16,0 0 0,1 0 0,12 0 16,67-13-1,-80 0-15,13 13 16,-12-13-16,12 13 0,-13-14 0,1 1 15,-1 13-15,0-13 0,0 0 0,1-1 16,-1 1-16,-13 0 16,13 13-16,-13-13 0,13 0 15,-13-1-15,13 1 0,-13 0 0,14 0 16,-14-1-16,13 1 0,-13 0 16,0 0-16,13 0 0,-13-14 15,13 14-15,-13 0 16,0-1-16,0 1 0,0 0 0,0 0 15,0-1-15,0 1 0,0 0 16,0 0-16,14 0 0,-14-1 0,0-12 16,0 13-16,0-1 0,0 1 0,0 0 15,0-14-15,0 14 0,0 0 16,0-13-16,0 12 0,0 1 16,0 0-16,0 0 0,0-1 0,-14 1 15,14-13-15,-13 12 16,13 1-16,0-13 0,0 13 15,-13-1-15,13 1 0,-13 0 0,13 0 16,-14-1-16,14 1 0,-13 0 0,0 0 16,13-1-16,-13 1 15,0 0-15,-1 0 0,1 13 16,13-13-16,-13-1 0,0 14 0,-1-13 16,1 13-16,0-13 0,0 13 15,-1-13-15,1 13 0,-13-14 16,13 14-16,-1 0 0,1 0 15,0 0-15,0 0 0,-1 0 0,1 0 16,0 0-16,0 0 16,-14 0-16,14 0 0,0 14 0,0-14 15,-1 0-15,1 13 0,0-13 16,0 13-16,-14-13 0,14 13 16,0 1-16,0-1 0,-14 0 0,14 0 15,0 0-15,-1 14 0,1-14 0,0 0 16,0 14-16,-1-14 0,1 14 15,0 12-15,0-26 0,0 14 0,-1-1 16,1 1-16,0 26 0,0-27 16,13-13-16,-14 14 0,14-1 0,-13 1 15,13-1-15,0 1 0,-13-1 16,13-13-16,0 14 0,0-1 16,0 1-16,0-14 0,0 14 0,0-14 15,0 13-15,0 1 0,0-14 0,0 13 16,13-12-16,-13-1 0,0 13 15,13-13-15,-13 1 0,14-1 0,-14 0 16,13 0-16,0 1 0,-13-1 0,13 0 16,1-13-16,-14 13 0,13-13 15,0 14-15,0-14 0,0 13 16,1-13-16,-1 0 0,0 0 16,0 13-16,1-13 0,-1 0 15,0 0-15,0 0 0,1 0 16,-1 0-16,0 0 15,0 0-15,0 0 0,1 0 16,-1 0-16,0 0 16,0 0-16,1 0 0,-1 0 15,0-13-15,0 13 0,0 0 16,1 0-16,-1 0 0,0 0 16,0 0-16,-13-13 0,14 13 15,-1 0-15,0 0 0,0-14 16,1 14-16,-1 0 15,-13-13-15,13 13 0,0 0 16,-13-13-16,13 13 0,1-13 16,-1 13-16,-13-14 0,13 14 15,-13-13-15,13 13 0,1-13 0,-1 0 16,0 13-16,-13-14 16,13 14-16,1-13 0,-1 13 15,-13-13-15,13 13 0,-13-13 0,13 13 16,-13-13-16,13 13 0,-13-14 15,14 14-15,-14-13 0,13 13 0,-13-13 16,13 13-16,-13-13 0,13-1 0,-13 1 16,14 0-16,-1 0 15,-13 0-15,13-1 16,0 1-16,-13 0 0,13 0 16,-13-1-16,14 14 0,-14-13 15,0 0-15,13 0 0,-13-1 16,0 1-16,13 0 15,-13 0-15,0 0 16,13 13-16,-13-14 0,0 1 0,0 0 16,14 0-16,-14-1 15,0 1-15,0 0 0,13 0 16,-13-1-16,0 1 0,0 0 16,0 0-16,0 0 15,0-1-15,0 1 0,0 0 16,0-14-16,-13 14 15,13 0-15,0-14 0,0 14 16,0 0-16,-14 0 0,14 0 16,0-1-16,-13 1 15,13 0-15,0 0 0,0-1 0,-13 1 16,0 0-16,13 0 0,-14-1 16,14 1-16,-13 13 0,13-13 15,-13 13-15,13-13 0,-13 13 0,0-13 16,-1-1-16,14 1 0,-13 13 15,0-13-15,0 0 16,-1 13-16,14-14 0,-13 14 16,13-13-16,-13 13 0,0 0 15,13-13-15,-13 13 0,-1 0 16,1-13-16,0 13 16,0 0-16,-1 0 0,-12-13 15,-1 13 1,1 0-1,26 13-15,-13-13 0,0 0 16,-1 0-16,1 0 0,0 0 16,0 0-16,-1 0 15,1 0-15,0 13 16,0-13-16,-1 0 16,1 0-1,13 13-15,-13-13 16,0 0-1,0 13 1,-1-13 15,14 14-15,-13-14 0,0 0 15,0 13-31,-1-13 15,14 13 1,-13-13-16,0 13 16,0 1-1,13-1-15,-13-13 16,-1 13-16,1 0 0,13 0 16,-13-13-16,0 27 15,-1-27-15,14 13 0,-13 0 0,0 1 16,13-1-16,-27 0 15,27 0-15,-13 1 16,13-1-16,-13 0 0,13 0 0,0 0 16,-13 1-16,13-1 0,0 0 15,0 0-15,13 1 0,-13-1 0,13 0 16</inkml:trace>
  <inkml:trace contextRef="#ctx0" brushRef="#br0" timeOffset="44121.13">9604 10636 0,'-13'0'0,"26"0"0,-26-13 0,13 26 47,13 0-31,-13 1 0,14-14-16,-1 13 0,0 0 15,0-13-15,1 13 0,12 1 0,-13-14 16,0 13-16,14 0 0,-1 0 15,1 1-15,12-1 0,-12 0 0,13 0 16,-1 0-16,1 1 0,0-1 16,-1 0-16,14 0 0,0 1 0,13-1 15,-13 0-15,13 0 0,1-13 16,-1 14-16,0-1 0,0 0 0,0-13 16,0 13-16,0 0 0,1 1 0,-1-1 15,0-13-15,0 13 0,0 0 16,0 1-16,0-1 0,1 0 0,-1 0 15,0-13-15,0 13 0,0 1 0,0-1 16,1 0-16,-15-13 0,1 13 16,13 1-16,-13-1 0,-13-13 0,13 13 15,0-13-15,-13 13 0,-1-13 0,1 14 16,0-14-16,-14 13 0,1-13 0,-1 0 16,0 0-16,1 13 0,-14-13 15,0 0-15,1 0 0,-1 0 16,0 0-16,0 0 0,1 0 0,12 0 15,-26 13 1,13-13-16,0 0 16,1 0-1,-1 0 17,-13-13 61</inkml:trace>
  <inkml:trace contextRef="#ctx0" brushRef="#br0" timeOffset="44731.5">12488 11060 0,'-13'0'0,"26"0"0,-26 13 47,26 0-47,1 0 16,-14 0-16,13-13 0,0 14 15,0-1-15,0-13 0,1 13 16,-1 0-16,0-13 0,0 14 0,1-1 16,-1-13-16,0 13 0,0 0 0,1-13 15,-1 14-15,0-14 0,-13 13 16,13-13-16,0 0 0,-13 13 15,14-13-15,-1 0 0,-13 13 0,13-13 16,0 0-16,-13 13 16,14-13-16,-1 14 15,0-14-15,-13 13 16,13-13 0,-13 13-1,-13 0 1,0 1-16,0-14 15,13 13-15,-14-13 0,1 13 16,-13-13-16,12 13 0,1-13 0,-13 14 16,13-1-16,-14-13 15,-118 79 17,131-79-17,-25 66 32</inkml:trace>
  <inkml:trace contextRef="#ctx0" brushRef="#br0" timeOffset="49932.33">9499 10689 0,'26'-13'16,"-13"13"15,-13-13-31,13 13 15,1 0-15,-14-14 16,13 14-16,-13-13 16,13 13-16,-13-13 0,13 13 15,-13-13-15,14 13 16,-14-13-16,13 13 0,-13-14 0,13 14 16,-13-13-16,13 13 15,-13-13-15,14 0 0,-1-1 16,0 1-1,-13 0-15,13 13 0,-13-13 16,13 13-16,-13-13 0,14-1 0,-1 1 16,-13 0-16,13 13 15,-13-13-15,13 13 0,-13-14 0,14 14 16,-14-13-16,13 13 0,-13-13 0,13 13 16,-13-13-16,13-1 15,0 1-15,-13 0 16,14 13-16,-14-13 0,13 13 15,-13-13-15,13-1 0,0 1 16,-13 0 0,14 0-16,-14-1 0,0 1 15,13 13-15,-13-13 0,0 0 0,13 13 16,-13-14-16,0 1 0,0 0 16,13 13-16,-13-13 0,0 0 15,0-1-15,0 1 0,0 0 0,14 13 16,-14-13-16,0-1 0,0 1 15,0 0-15,0 0 16,0-1-16,-14 1 16,14 0-16,0-13 15,-13 26-15,13-27 16,-13 27-16,13-13 0,0 0 16,-13-1-16,13 1 0,-14 13 15,14-13-15,-13 0 16,13-1-16,-13 14 0,13-13 15,-13 0-15,-1 0 16,1 0 0,0 13-16,13-14 0,-13 14 15,13-13-15,-13 13 0,-1 0 16,1 0-16,13-13 16,-13 13-16,0 0 0,-1 0 15,1 0-15,13-13 0,-13 13 16,0 0-16,-14 0 15,27-14-15,-13 14 16,0 0-16,0 0 0,-1 0 16,1 0-16,0 0 15,0 0-15,-1 0 16,1 0-16,0 0 16,0 0-16,-14 0 15,27 14-15,-13-14 0,0 0 0,0 0 16,-1 0-1,1 13-15,0-13 0,0 0 16,-1 13-16,1-13 0,0 0 0,0 13 16,0-13-16,-1 0 0,14 14 15,-13-14-15,0 13 0,0-13 0,-1 0 16,1 13-16,0 0 0,0-13 16,0 0-16,13 13 0,-14-13 0,14 14 15,-13-14-15,0 13 16,0 0-16,-1-13 0,14 13 15,-13-13-15,13 14 0,-13-1 16,0 0 0,-1 0-16,1 1 15,0-1-15,13 0 0,-13 0 16,13 0-16,-13-13 0,13 14 16,0-1-16,-14 0 0,1 0 15,13 1-15,0-1 0,-13-13 16,13 13-16,0 0 0,-13 1 15,13-1-15,0 0 0,0 0 16,0 0-16,-14 1 0,14-1 16,0 0-16,0 0 0,-13-13 15,13 14-15,0-1 0,0 0 16,0 0-16,0 1 0,-13-1 16,13 0-16,0 0 0,0 0 15,0 1-15,0-1 0,0 0 0,-13 0 16,13 1-16,0-1 15,0 0-15,0 0 0,0 14 16,0-14-16,0 0 0,0 0 0,0 1 16,0-1-16,0 0 0,0 0 15,13 1-15,-13-1 16,0 0-16,13 0 0,-13 0 16,13 1-16,-13-1 0,14-13 0,-14 13 15,13 0 1,0-13-16,-13 14 0,13-14 15,-13 13-15,14 0 0,-1-13 16,-13 13-16,13-13 0,0 14 16,0-14-1,1 0-15,-1 13 0,0-13 16,0 0-16,1 0 0,-1 0 16,0 0-16,0 0 15,-13 13-15,14-13 0,-1 0 16,0 0-16,0 0 0,0 0 15,1 0-15,12 0 16,-13 0-16,1 0 16,-1 0-16,0 0 0,0 0 15,0 0-15,1-13 0,-1 13 0,0 0 16,0 0-16,1 0 16,-1-13-16,0 13 0,0-14 15,1 14-15,-1 0 0,0-13 0,0 13 16,0-13-16,1 0 0,-1 13 0,0-14 15,0 1-15,1 13 0,-1-13 16,0 0-16,0 13 0,1-14 16,-1 14-16,-13-13 0,13 13 0,0 0 15,-13-13-15,13 13 0,1-13 16,-1 0-16,0-1 16,0 14-16,-13-13 0,14 13 15,-14-13-15,13 13 0,-13-13 0,13-1 16,0 1-16,0 0 15,1 0-15,-14 0 16,13 13-16,-13-14 0,13 14 0,-13-13 0,13 0 16,-13 0-1,14 13-15,-14-14 0,13 14 0,-13-13 16,0 0-16,13 13 0,-13-13 16,13-1-16,-13 1 0,0 0 15,14 0 1,-14 0-16,0-1 15,0 1-15,0 0 0,13 0 16,-13-1-16,0 1 0,0 0 16,0 0-16,0-1 0,0-12 15,0 13 1,-13 0-16,13-1 0,0 1 16,-14 0-16,14 0 15,0-1-15,-13 1 0,13 0 16,0 0-16,-13 13 0,13-14 0,0 1 15,-13 0-15,-1 0 16,14 0-16,-13-1 16,0 1-16,0 0 15,-1 0-15,14-1 0,-13 14 16,0-13-16,13 0 16,-13 0-16,0 13 15,13-14-15,-14 1 0,1 0 16,13 0-1,-13 13-15,13-13 0,-13 13 0,13-14 16,-14 1-16,1 13 0,13-13 16,-13 13-16,0-13 0,0 13 15,-1-14-15,1 14 16,0-13-16,0 13 16,-1-13-16,1 13 0,0 0 15,0 0-15,-14-13 0,14 13 16,0 0-16,0 0 0,-1 0 15,1 0-15,0 0 0,0 0 0,-1 0 16,1 0-16,0 0 0,-14 0 0,14 0 16,0 13-16,0-13 0,-14 13 15,14-13-15,-13 13 0,-1 1 16,14-1-16,0-13 0,0 13 0,-1 0 16,1 1-16,0-14 0,13 13 15,-13 0-15,-1 0 0,1 0 0,13 1 16,-13-1-16,0 0 0,13 0 15,-27 14-15,27-14 0,-13 0 16,0 14-16,13-14 0,-13 13 16,13 1-16,-14-14 0,14 14 0,-13-14 15,0 13-15,13 1 0,-13-1 0,13-13 16,-14 14-16,1 13 0,13-27 16,-13 27-16,13-27 15,-13 0-15,-1 27 0,14-27 16,0 13-16,-13-12 0,13-1 15,-13 13-15,13-12 0,0-1 0,0 13 16,0-13-16,0 14 0,0-14 16,0 0-16,0 14 0,0-14 0,0 27 15,0-27-15,0 13 0,13-12 16,-13-1-16,0 0 0,13 14 16,-13-14-16,0 0 0,14 0 15,-1 0-15,-13 1 0,13-14 16,-13 13-16,13-13 0,1 13 15,-1-13-15,0 13 0,0-13 16,1 0-16,-1 0 0,0 0 0,0 0 16,14 0-16,-14 0 15,0 0-15,0 0 0,1 0 0,-1 0 16,13 0-16,-12 0 16,-1-13-16,0 13 0,0 0 0,0 0 15,1-13-15,-1 13 0,0 0 0,0-13 16,1 13-16,-1 0 0,0 0 15,0-14-15,0 14 0,1 0 0,-1-13 16,0 13-16,0 0 0,1 0 16,-14-13-16,13 13 0,0 0 0,0 0 15,-13-13-15,14 13 0,-1 0 0,0 0 16,0-13-16,0 13 16,1 0-16,-1-14 15,0 14-15,0 0 0,1-13 16,-1 13-1,0-13-15,0 13 16,1-13 0,-1-1-16,0 14 15,0-13-15,-13 0 0,13 13 16,1-13-16,-14-1 0,13 14 16,-13-13-16,13 0 0,0 0 15,-13-14-15,14 14 16,-14 0-16,13 13 0,-13-13 15,13-1-15,-13 1 0,0 0 16,13 0-16,-13 0 0,13-1 16,-13 1-16,0 0 15,14 0-15,-14-14 16,0 14 0,13 0-16,-13-1 0,0 1 0,0 0 15,13 13-15,-13-13 0,0 0 0,0-1 16,0 1-16,13 13 0,-13-13 0,0 0 15,0-1-15,0 1 0,14 0 16,-14 0-16,0-1 0,0 1 16,0 0-16,0 0 0,0 0 0,13-1 15,-13 1-15,0-13 0,0 12 16,0-12-16,0 13 0,0-14 0,0 1 16,0 13-16,0-14 0,0 1 15,-13-1-15,13 1 0,-14 12 0,14 1 16,-13-13-16,13 13 0,-13-1 15,0 1-15,-1-13 0,1 12 0,0 1 16,0 0-16,-14 13 0,-12-26 16,25 26-16,-12-14 0,0 14 0,-1-13 15,1 13-15,-14 0 0,13 0 16,-12 0-16,-1 0 0,-13 13 0,13-13 16,-12 14-16,12-14 0,0 13 0,1 0 15,-1 0-15,0 0 16,0-13-16</inkml:trace>
  <inkml:trace contextRef="#ctx0" brushRef="#br0" timeOffset="54065.18">18508 10239 0,'0'14'0,"13"-1"0,0-13 0,0 0 16,1 0-16,-1 13 0,13-13 0,-13 0 16,1 0-16,-1 0 0,-13 13 0,13-13 15,0 0-15,1 0 0,12 0 16</inkml:trace>
  <inkml:trace contextRef="#ctx0" brushRef="#br0" timeOffset="54325.43">18772 10160 0,'0'0'16,"13"13"-1,1-13-15,-14 13 0,13-13 0,0 14 16,0-1-16,1 0 0,-1 0 0,13 14 16,-13-14-16,1 0 0,-14 1 15,13-1-15,-13 0 0,0 0 16,0 0-16,0 1 16,0-1-16,-13-13 0,-1 13 15,1-13-15,0 13 0,0-13 0,0 14 16,-14-14-16,14 0 0,-14 0 15,1 13-15</inkml:trace>
</inkml:ink>
</file>

<file path=ppt/ink/ink29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1:54:13.868"/>
    </inkml:context>
    <inkml:brush xml:id="br0">
      <inkml:brushProperty name="width" value="0.05292" units="cm"/>
      <inkml:brushProperty name="height" value="0.05292" units="cm"/>
      <inkml:brushProperty name="color" value="#0070C0"/>
    </inkml:brush>
  </inkml:definitions>
  <inkml:trace contextRef="#ctx0" brushRef="#br0">7038 4154 0,'172'-13'0,"53"13"15,-159 0-15,13 0 16,-13 0-16,1 0 0,-1 0 15,-13 0-15,13 0 0,-13 0 0,0 0 16,-14 0-16,1 0 0,0 13 0,-14-13 16,14 0-16,-27 0 0,14 0 15,-1 0-15,-13 0 0,14 0 0,-14 0 16</inkml:trace>
  <inkml:trace contextRef="#ctx0" brushRef="#br0" timeOffset="301.25">6985 4273 0,'40'0'0,"-14"0"15,1 0-15,26 0 0,13 0 0,-13 0 16,26-13-16,-13 13 0,13 0 15,371-13 1,-384 13-16,-13 0 16,0 0-16,-13 0 0,0 0 15,-1 0-15,-12 0 0,-1 0 16,-13 0-16,14 0 0,-14 0 0,0 0 0,1 0 16,-1 13-16,0-26 15</inkml:trace>
  <inkml:trace contextRef="#ctx0" brushRef="#br0" timeOffset="6318.35">14168 4061 0,'-13'0'16,"53"14"-1,-27-14-15,27 0 0,0 0 16,12 13-16,1-13 0,13 13 15,14-13-15,-1 13 0,1 1 0,-1-14 16,14 13-16,-14-13 0,14 13 0,-14-13 16,14 13-16,-14-13 0,0 0 0,-13 13 15,1-13-15,-14 0 0,-14 14 16,1-14-16,0 0 0,-14 0 0,-13 0 16,14 0-16,-14 0 0,0 0 15,0 13-15,1-13 0,-1 0 16,0-13-16,0 13 0</inkml:trace>
  <inkml:trace contextRef="#ctx0" brushRef="#br0" timeOffset="6650.12">14698 4247 0,'53'0'16,"-14"0"-1,1 0-15,26 0 0,-13 0 16,26 0-16,-13 0 0,1 0 0,-1 0 16,0 13-16,-13-13 0,13 0 0,-13 0 15,0 0-15,0 0 0,0 0 16,0 13-16,-14-13 0,-12 0 0,-1 0 15,1 0-15,-1 0 0,-13 0 16,1 0-16,-1 0 0,0 0 0,0 0 16,0 0-16,14 0 15,-27 13 1,13-13 0</inkml:trace>
  <inkml:trace contextRef="#ctx0" brushRef="#br0" timeOffset="7381.99">18547 4101 0,'0'0'0,"-13"0"0,40 13 31,-1-13-31,0 0 0,27 14 16,0-14-16,13 13 0,1 0 0,12-13 15,-13 13-15,13-13 0,-12 13 16,12-13-16,-13 14 0,0-14 15,14 13-15,-27-13 0,-1 0 0,1 13 16,-13-13-16,13 0 0,-27 13 16,1-13-16,-1 0 0,-12 0 15,-1 0-15,0 0 0,0 0 0,-13-13 16,-26 13-16,-1-13 16</inkml:trace>
  <inkml:trace contextRef="#ctx0" brushRef="#br0" timeOffset="7609.97">19076 4141 0,'-92'-13'16,"65"13"-16,1 0 0,-1 0 0,14 0 16,0 0-16,0 0 0,0 0 0,39 13 31,0 0-31,27-13 0,0 13 16,0 0-16,13 1 0,1-1 0,-1 0 15,0-13-15,0 13 0,-13-13 16,0 14-16,-14-14 0,14 13 0,-26-13 15,-1 0-15,1 0 0,-1 0 0,-13 13 16,1-13-16,12 0 0,-13-13 31</inkml:trace>
  <inkml:trace contextRef="#ctx0" brushRef="#br0" timeOffset="9026.09">14592 3413 0,'0'-26'140,"13"12"-124,-13 1-16,13 0 15,0 0-15,1 0 0,-14-1 16,13 1-16,0 0 0,14-14 16,-1 1-16,-13-1 0,14 1 0,-1-14 15,1 14-15,12-14 0,1 14 16,0-14-16,-1 14 0,1-1 0,13-13 16,-13 14-16,13 0 0,0-1 0,-14 1 15,14-1-15,0 14 0,13-14 16,-13 14-16,13 0 0,0-13 0,80-1 15,-67 14-15,1 13 0,-1-13 16,0-1-16,107 14 16,-94 0-16,1 0 0,-1 14 0,1-1 15,0-13-15,-1 26 0,1-12 0,13-1 16,-14 13-16,-12-13 0,-1 14 16,0-14-16,1 14 0,-14-1 15,13 1-15,-13-1 0,1 0 0,-14 1 16,13 13-16,40 26 0,-54-40 15,-12 1-15,13 12 0,0-12 0,-13-1 16,-1 14-16,1-14 0,0 1 16,-14-1-16,1 1 0,-1-1 0,1 1 15,-14-1-15,13-13 0,1 14 16,-14-14-16,0 0 0,0 0 0,1 1 16,-14-1-16,13 0 0,0 0 15,0-13-15,-13 14 0,14-14 16,-1 13-16,0 0 31,0-13 16,0 0-31</inkml:trace>
  <inkml:trace contextRef="#ctx0" brushRef="#br0" timeOffset="9563.08">18600 3334 0,'0'0'0,"13"0"32,-13 13-32,14 0 15,-14 0-15,13-13 0,-13 14 0,13-1 16,-13 0-16,13 0 0,-13 1 0,14 12 15,-14-13-15,13 0 16,-13 1-16,13-1 0,-13 0 0,0 0 16,13-13-16,-13 14 0,0-1 0,13 0 15,-13 0 1,-13-13-16,0 14 0,0-14 16,0 13-16,-14-13 0,1 0 0,-27 13 15,13-13-15,-13 13 0,0-13 0,0 13 16,0-13-16,-13 14 0,0-14 15,-13 0-15,-1 0 0</inkml:trace>
  <inkml:trace contextRef="#ctx0" brushRef="#br0" timeOffset="10490.91">14552 3175 0,'13'0'31,"-13"13"-31,-13 0 16,13 1-16,0-1 15,0 0-15,-13 0 0,13 1 0,-13-1 16,13 0-16,-14 0 0,14 14 0,-13-14 16,13 0-16,-13 0 0,13 14 15,0-14-15,-13 0 0,13 1 0,0-1 16,0 0-16,13-13 16,-13 13-16,13 0 0,0-13 0,14 14 15,-14-14-15,14 0 0,12 0 0,-12 13 16,-1-13-16,14 0 0,-14 0 0,14 0 15,-14 0-15,14 0 16,-13 0-16,-14 0 0,13 0 0,1 0 16,-14 0-16,0 0 0,0 0 0,1 0 15,-1 0-15,0 0 0</inkml:trace>
  <inkml:trace contextRef="#ctx0" brushRef="#br0" timeOffset="12398.04">1720 3506 0,'13'-14'32,"-13"1"-17,13 13 1,-13-13-16,13 13 15,1-13-15,-1 0 16,0 13-16,0-14 0,1 14 16,-1-13-16,13 13 0,-12-13 0,12 0 15,0 13-15,14-14 0,0 1 0,0 0 16,12 0-16,-12 13 0,0-13 16,26-1-16,-13 1 0,0 0 15,26 0-15,-13-1 0,0 1 0,14 0 0,-1 13 16,1-13-16,-1-1 0,0 1 15,14 0-15,0 0 0,-1 0 0,1-1 16,13 1-16,-14 13 0,27-13 0,-13 0 16,-13 13-16,-1-14 15,14 1-15,-13 13 0,13-13 0,-1 13 16,-12 0-16,13-13 0,-14 13 0,14 0 16,0-14-16,0 14 0,-13 0 0,12 0 15,-12 0-15,0 0 0,-1 14 16,1-14-16,-1 0 0,1 13 0,-14-13 15,14 13-15,-14-13 0,14 13 0,-14-13 16,-13 14-16,14-1 0,-14-13 16,-13 13-16,0-13 0,0 13 0,0-13 15,0 14-15,-14-14 0,14 13 16,-13-13-16,-14 0 0,1 13 0,12-13 16,-12 0-16,-1 0 0,1 13 15,-14-13-15,14 0 0,-14 0 0,0 0 16,0 0-16,0 0 0,1 0 0,-1 0 15,-13 13-15,13-13 0,0 0 16,1 0-16,-1 0 16,0 0 15,-13-13-15</inkml:trace>
  <inkml:trace contextRef="#ctx0" brushRef="#br0" timeOffset="12731.1">6985 2990 0,'26'13'15,"-12"-13"-15,-1 13 16,0-13-16,0 13 0,14-13 16,-1 14-16,14 12 0,-14-13 15,-12-13-15,12 14 0,-13-1 0,14 0 16,-14 0-16,0-13 0,0 14 16,1-1-16,-1 0 0,-13 0 0,13 0 15,-13 1-15,0-1 0,0 0 16,-13 0-16,0 1 0,-1 12 0,-25 1 15,-1-14-15,0 13 0,-12 1 0,-1-1 16,0 1-16,-13-14 0,13 13 0,13-13 16,-13 1-16,13-1 0,14 0 15,-1-13-15</inkml:trace>
  <inkml:trace contextRef="#ctx0" brushRef="#br0" timeOffset="22858.79">9710 5212 0,'93'0'31,"-54"0"-31,14 0 16,0 0-16,13 0 0,-13 0 15,14 0-15,-15 0 0,15 0 0,12 0 16,-26 0-16,13 0 0,-13 0 15,0 0-15,0 14 0,-14-14 0,1 0 16,0 0-16,-14 0 0,1 0 0,12 0 16,-25 0-16,-1 0 0,0-14 15</inkml:trace>
  <inkml:trace contextRef="#ctx0" brushRef="#br0" timeOffset="23263.33">9657 5292 0,'-13'13'0,"26"-26"0,-39 26 0,39 0 16,14-13 0,-14 0-16,26 0 0,14 0 15,-13 0-15,26 0 0,-13 0 0,0-13 16,13 13-16,-13 0 0,0 0 0,0 0 15,0 0-15,0-13 0,39 13 16,-65 0-16,-1 0 0,27 0 16,-26 0-16,-14 0 0,0 0 15,0 0-15,1 0 0,-1 0 16,13 0-16,-13 0 16,1 0-16,-1-14 31,0 14 63</inkml:trace>
  <inkml:trace contextRef="#ctx0" brushRef="#br0" timeOffset="24489.05">14155 5173 0,'106'13'32,"-79"-13"-32,25 0 0,1 0 15,0 0-15,13 0 0,-13 0 0,13 0 16,-13 0-16,27 0 0,-14 0 0,-13 13 16,13-13-16,-13 0 0,0 0 15,0 0-15,0 0 0,0 0 0,-27 13 16,14-13-16,-14 0 0,-13 0 0,14 0 15,-14 0-15,0 0 0,1 0 16,-1 0-16,-40 14 31,14-14-31,-13 0 0,-14 0 16</inkml:trace>
  <inkml:trace contextRef="#ctx0" brushRef="#br0" timeOffset="24818.75">14076 5278 0,'53'14'31,"0"-14"-31,0 0 16,0 0-16,13 0 0,13 0 0,-13 13 16,14-13-16,-1 0 0,-13 0 0,-13 13 15,26-13-15,-26 0 0,0 0 16,0 13-16,0-13 0,0 0 0,-13 0 15,-14 0-15,1 0 0,-1 14 0,0-14 16,-12 0-16,-1 0 0,13 0 16,-12 0-16,-1 0 0,0 0 15,0 13-15,-39-13 78,13 0-78,-1-13 16</inkml:trace>
  <inkml:trace contextRef="#ctx0" brushRef="#br0" timeOffset="27422.79">10583 5305 0,'0'13'16,"27"-13"-1,-14 0 1,0 0-16,0 0 16,1 0-16,-1 0 0,0 0 15,0 0-15,1 0 0,-1 0 16,0 0-16,0 13 0,1-13 16,-1 0-16,0 0 0,0 0 15</inkml:trace>
  <inkml:trace contextRef="#ctx0" brushRef="#br0" timeOffset="27702.94">10636 5318 0,'0'0'0,"27"0"31,-14 0-15,0 0-16,0 0 16,1 0-16,-1 0 15,0 0-15,0-13 16,1 13-16,-1 0 0,0 0 31,0 0-15</inkml:trace>
  <inkml:trace contextRef="#ctx0" brushRef="#br0" timeOffset="27914.39">10821 5199 0,'40'-13'15</inkml:trace>
  <inkml:trace contextRef="#ctx0" brushRef="#br0" timeOffset="28372.73">10755 5292 0,'14'0'16,"-1"-14"-16</inkml:trace>
  <inkml:trace contextRef="#ctx0" brushRef="#br0" timeOffset="28725.75">10702 5278 0,'0'14'31</inkml:trace>
  <inkml:trace contextRef="#ctx0" brushRef="#br0" timeOffset="29717.15">15293 5226 0,'13'-27'31,"0"27"-31,1 0 16,-1 0-16,13 0 16,1 0-1,-14 0 1,0 0-16,0 0 15,1 0-15,-14 13 32</inkml:trace>
  <inkml:trace contextRef="#ctx0" brushRef="#br0" timeOffset="30419.1">15319 5331 0,'14'0'0,"-1"0"15,0 0-15,0 0 16,-13 14-1,14-14-15,-1 0 16,0 0 0,0 0-1,0 0 32,1 0 0</inkml:trace>
  <inkml:trace contextRef="#ctx0" brushRef="#br0" timeOffset="33647.07">1416 4180 0,'26'14'16,"-13"-14"-16,0 0 15,1 0-15,-1 13 0,0-13 0,0 0 16,1 0-16,12 0 0,-13 0 0,1 13 16,-1-13-1,0 0-15,0 0 0,0 0 16,1 13-16,-41-13 31,14 0-15,0 14-16,0-14 0,-1 0 0,1 0 15,0 0-15,0 0 16,-1 0-16,1 0 0,0 0 16,13 13-1,26-26 16,-12 13-31,12 0 16,-13 0 0,1 0-16,-1-14 15,-53 14 17,27 14-32,0-14 15,-1 0-15,1 0 0,-13 0 16,12 0-1,1 0-15,0 0 16,0 0 0</inkml:trace>
  <inkml:trace contextRef="#ctx0" brushRef="#br0" timeOffset="34146.81">1561 4194 0,'53'-14'31,"-40"14"-31,0 0 0,1 0 16,-1 0-16,0 0 31,-39 0 32,12-13-63</inkml:trace>
  <inkml:trace contextRef="#ctx0" brushRef="#br0" timeOffset="36087.26">11523 4154 0,'-14'0'15,"41"0"17,-14 0-32,0 0 0,1 0 15,-1 0-15,0 0 16,0 13-16,0-13 0,1 0 0,12 0 16,-13 0-16,1 0 15,-1 0-15,0 0 16,-53 13 15,27-13-15</inkml:trace>
  <inkml:trace contextRef="#ctx0" brushRef="#br0" timeOffset="36303.01">11456 4167 0,'-26'0'0,"52"0"0,-26 0 46,14 0-46,-1 0 0,0 0 16,0 0-16,1 0 0,12 0 0,-13 0 16,1 0-16,12 0 15,-13 0-15,0 0 0,14 0 16,-14 0-16,0 0 16</inkml:trace>
  <inkml:trace contextRef="#ctx0" brushRef="#br0" timeOffset="40190.78">1548 4260 0,'13'0'31,"0"0"0,1 0 313,-14-13-266</inkml:trace>
  <inkml:trace contextRef="#ctx0" brushRef="#br0" timeOffset="41489.31">1561 4220 0,'13'0'16,"53"-13"0,-52 13-16,-1 0 0,13 0 15,-12 0-15,-1 0 16,0 0-16,0 0 0,0 0 0,1 0 0,-1 0 15,0 13-15,0-13 32,-39 0-17,13 13 1,-1-13-16,1-13 16,0 13-16,0 0 0,0 0 15,-1 0-15,1 0 16,0 0-16,53 0 62,-27 0-46,0 0-16,0 0 16,-52 0 30,25 0-30,1 0-16,0 0 16,0 0-16,-1 0 15,54 0 32,-27 0-31,1 0-1,-1 0 1,-53 0 15,27 0-15,13-13-16,-13 13 16,-1 0-16,1 0 15,0 0 1,53 0 15,-27 0-31,0 0 16,0 0-16,1 0 0,-1 0 15,0 0-15,0 0 16</inkml:trace>
  <inkml:trace contextRef="#ctx0" brushRef="#br0" timeOffset="44046.93">20029 4260 0,'-13'13'15,"-1"-13"-15,1 13 16,0-13 0,0 0-16,13 13 15,-13-13-15,-1 14 32,41-28 14,-14 14-46,-13-13 0,13 13 0,0 0 16,-13-13-16,14 13 16,-1 0-16,-13-13 15,13 13-15,-39 13 47,12-13-31,14 13-16,-13-13 0,0 13 15,0-13 1,0 14-16,-1-14 16,1 13-1,40-26 17,-14 13-17,0 0-15,0 0 16,-13-14-16,13 14 0,1 0 31,-1 0-15,-13 14 31,-13-1-32,-1 0-15,1 0 16,0-13-16,0 14 0</inkml:trace>
  <inkml:trace contextRef="#ctx0" brushRef="#br0" timeOffset="45686.2">1693 6403 0,'40'0'31,"-27"0"-31,27 0 0,132-13 16,-106-1-16,13 14 0,14-13 15,-14 13-15,14-13 0,0 13 16,-1 0-16,1-13 0,-14 13 0,14-13 16,-1 13-16,-12 0 0,-1-14 0,1 14 15,-14 0-15,-13-13 0,0 13 0,-14 0 16,-12 0-16,-1 0 0,-13 13 15</inkml:trace>
  <inkml:trace contextRef="#ctx0" brushRef="#br0" timeOffset="45885.75">2077 6496 0,'66'-27'0,"-132"54"0,172-54 0,-53 14 0,0 0 16,26-1-16,-13 1 0,14 0 16,-14 0-16,13-1 0,-13 1 0,14 0 15,-14 0-15,0 13 0,0-13 0,-13 13 16,-13 0-16,13-14 0,-14 14 0,-12 0 16</inkml:trace>
  <inkml:trace contextRef="#ctx0" brushRef="#br0" timeOffset="46634.68">1283 8533 0,'13'0'16,"-13"13"-16,0 0 15,0 14-15,0-1 0,-13 1 0,13 12 16,0 1-16,-13 0 15,13-14-15,-13 27 0,13-13 0,0-14 16,-13 14-16,13-14 0,0 1 0,-14-1 16,14-12-16,0 12 0,0-13 0,0 0 15,0 1-15,0-1 0,0 0 16,0 0-16,0 1 16</inkml:trace>
  <inkml:trace contextRef="#ctx0" brushRef="#br0" timeOffset="46925.96">1138 8546 0,'26'-26'0,"-52"52"0,79-66 15,-40 27-15,0 13 0,0-13 0,40 13 16,0 13-1,-13-13-15,-14 13 0,1 1 16,-14-1-16,13 0 0,-12 0 0,-1 14 0,-13-14 16,0 0-16,0 14 0,-13-14 15,-1 13-15,1 1 0,-40 26 16,27-27-16,-1-13 0,1 14 0,-14-14 16,27 0-16,-13 1 0,12-1 15,1-13-15,0 0 0,0 13 0</inkml:trace>
  <inkml:trace contextRef="#ctx0" brushRef="#br0" timeOffset="47245.76">2011 8215 0,'-13'0'0,"26"0"0,-40 14 0,1-1 15,13 13-15,-27 1 0,14 12 0,-1 1 16,-13 13-16,14 0 0,-40 79 16,26-66-16,14 0 0,-14 67 15,14-67-15,12 0 0,14 40 16,0-53-16,0-13 0,14 12 15,-1-12-15,0-13 0,13 12 16,-12-12-16,12-1 0,-13 1 0,1-14 16,12-13-16,-13 0 0,14 13 15,-14-13-15,13-13 0,-12 13 16,12-13-16,1-1 0</inkml:trace>
  <inkml:trace contextRef="#ctx0" brushRef="#br0" timeOffset="48175.61">2487 8639 0,'-40'0'15,"80"0"-15,-146 13 16,93-13-16,0 0 0,0 0 0,-1 13 15,1-13-15,0 13 16,0 1-16,13-1 16,0 0-16,13 0 15,-13 0-15,13 1 0,-13-1 16,13 0-16,1 0 0,-1 1 0,-13-1 16,13 0-16,0-13 0,-13 13 0,13 1 15,-13-1-15,14-13 0,-14 13 16,0 0-16,0 0 15,0 1-15,-14-1 0,1-13 0,0 13 16,-13 0-16,12 1 0,-12-14 16,13 13-16,-14-13 0,1 13 15,12-13-15,-12 13 0,13-13 0,-14 0 16,14 14-16,0-14 0,0 0 16,-1 0-16,1 0 15</inkml:trace>
  <inkml:trace contextRef="#ctx0" brushRef="#br0" timeOffset="49529.21">3069 8202 0,'0'-13'0,"13"39"47,-13 1-47,0-1 0,-13 14 16,13 0-16,0 13 15,0-14-15,-13 27 0,13-13 0,-13 13 16,-1-13-16,1 13 0,13-13 0,-13 0 16,0-13-16,13 13 0,-13-13 15,-1-1-15,14-12 0,-13 12 0,13-25 16,-13 25-16,13-12 0,-13-14 16,13 14-16,0-14 15,0 0-15,-14-13 0,14 13 16,0 0-16,0-39 31,0 13-31,0 0 0,14-14 16,-14-13-16,13 1 0,-13-1 0,13-26 15,0 13-15,1 0 0,-1-13 16,0 13-16,0-13 0,0 13 16,1-13-16,-1 13 0,0-13 0,-13 26 15,13 0-15,-13 1 0,14-1 0,-14 13 16,13-12-16,-13 12 0,0 14 15,0 0-15,0 0 16,0-1-16,0 41 16,0-1-16,0 27 15,-13-13-15,-1 13 0,14 13 16,-13-13-16,0 13 0,0-13 16,-14 13-16,14-13 0,0 13 0,0-13 15,-1 0-15,-12 26 0,13-39 16,-1 0-16,14-14 0,-13 1 15,13-1-15,-13 14 0,13-27 16,-13 0-16,13 1 0,0-1 0,0 0 16,0-39 15,0-1-31,13-13 0,0-13 16,-13-13-16,13 13 0,14-13 0,-14 0 0,0 0 15,1-13-15,-1 12 0,0 1 16,-13 0-16,13 0 0,-13 13 0,0 13 15,13 1-15,-13 12 0,0 1 16,0 13-16,0-14 0,0 14 0,0 0 16,14 13-16,-14 13 31,0 13-31,-14-12 0,14 12 16,0 0-16,14 1 0,-14-1 15,0 1-15,0-1 0</inkml:trace>
  <inkml:trace contextRef="#ctx0" brushRef="#br0" timeOffset="50234.78">3969 8652 0,'0'-13'0,"13"-14"31,-26 14-15,0 13-16,-1 0 15,-12 13-15,13-13 0,-14 13 0,1 1 16,-1 12-16,1 1 0,-1-14 15,1 13-15,-1 1 0,14-1 16,-13 1-16,12 12 0,1-12 0,13-14 16,-13 13-16,13-12 0,13-1 15,-13 0-15,27 27 16,-14-27-16,0 0 0,27 14 16,-14-27-16,1 13 0,-14-13 0,13 13 15,-12-13-15,-1 0 0,0 0 16,14 0-16,-14 13 0,0-13 0,0-13 15,1 13-15,-1 0 0,0 0 0,0 0 16,0-13-16,1 0 16,-1 13-16,0-13 0,0-1 0,1 1 15,-1 0-15,0 0 0</inkml:trace>
  <inkml:trace contextRef="#ctx0" brushRef="#br0" timeOffset="50612.81">4075 7818 0,'13'0'0,"-26"0"16,39 0-16,-13 0 0,14 14 0,-14-1 16,27 0-16,-14 14 0,14 12 0,-1-12 15,1 12-15,0 1 0,0 13 0,12 0 16,-12 13-16,-13 0 0,12-13 16,-12 13-16,-1 0 0,1-13 0,-1 13 15,-13 54-15,1-54 0,-14-27 16,-14 14-16,1 0 0,0 0 15,-14 0-15,1-13 0,-14 13 16,14-14-16,-14 1 0,-13 0 0,14-1 16,-1 1-16,-66 26 0,66-39 0,1-1 15,-1-13-15,0 1 16</inkml:trace>
  <inkml:trace contextRef="#ctx0" brushRef="#br0" timeOffset="55658.99">2117 9049 0,'13'-13'0,"0"13"16,0 0 15,1-14-15,-1 14-16,0 0 15,0 0 1,0 0-16,1-13 16,-1 13-1,0 0-15,0-13 16,1 13-16,-1 0 16,-13-13-16,13 13 15,0-14 1,1 14-16,-1 0 31,-13-13-31,13 13 16,0 0-16,0-13 31,1 13 0,-1-13-15,-13-1-1,13 1 32,-13 0-15,0 0-17,-13 0 1,13-1-1,0 1 1,-13 0 0,13 0-1,-14 13 1,14-14-16,0 1 16,0 0 15,0 0-31,0-1 15,0 1 17,0 0-17,0 0 1,14 13 0,-1 0-16,-13-13 15,13 13-15,0 0 16,1-14-16,-1 14 15,0 0 1,0 0-16,1 0 16,-1 0-1,-13-13-15,13 13 32,0 0-17,-52 0 141,12 0-140,1 0 0,12 0-16,1 0 0,-13 0 15,12 0 1,1 0 0,0 0-1,0 0-15,0 0 16,-1 0 15,1 0-15,0 0 15,13 13 0,-13-13 110,26 14-110,0-1-15,-13 0 15,13-13-31,-13 13 16,14-13-16,-14 13 15,13 1 1,-13-1 15,13-13-15,-13-13 109,0 26-63,13-13-62,-13 13 16,13 0 15,-13 1-15,-13-41 31,0 14-32,13 0 1,-13-1-1,13 1 1,0 0 0,0 0 15,13 13-15,0 0-16,0-13 15,1 13-15</inkml:trace>
  <inkml:trace contextRef="#ctx0" brushRef="#br0" timeOffset="56492.81">3995 8652 0</inkml:trace>
  <inkml:trace contextRef="#ctx0" brushRef="#br0" timeOffset="58106.72">5927 8440 0,'26'-13'15,"-13"13"1,1 0-16,12 0 15,-13 0-15,0 0 0,14 0 0,13 0 16,-27 0-16,13 0 16,-12 0-16,-1 0 0,0 0 0,13 13 15</inkml:trace>
  <inkml:trace contextRef="#ctx0" brushRef="#br0" timeOffset="58314.84">5861 8612 0,'13'13'15,"0"-13"1,0 0-16,14 14 0,-1-14 16,1-14-16,-14 14 0,13 0 0,-13 0 15,14 0-15,-14 0 16,14 0-16,-14-13 0,13 13 0,1 0 15,-14-13-15,13 13 0,1-13 0</inkml:trace>
  <inkml:trace contextRef="#ctx0" brushRef="#br0" timeOffset="60552.97">11298 6032 0</inkml:trace>
  <inkml:trace contextRef="#ctx0" brushRef="#br0" timeOffset="60833.67">12568 5993 0,'13'-13'32</inkml:trace>
  <inkml:trace contextRef="#ctx0" brushRef="#br0" timeOffset="64382.81">9671 5900 0,'13'0'31</inkml:trace>
  <inkml:trace contextRef="#ctx0" brushRef="#br0" timeOffset="74182.67">8586 8215 0,'0'-13'0,"-14"0"0,1 13 31,0 0-31,0 0 16,0 13-16,13 0 0,-14 1 0,1-1 15,0 13-15,0 1 0,-1-14 16,1 13-16,0 1 0,13-14 15,-13 14-15,13-14 0,0 13 0,-13-13 16,13 1-16,0-1 0,13 0 0,-13 14 16,13-14-16,0 13 15,0-13-15,14-13 0,-14 0 16,0 14-16,1-14 0,-1 0 0,0 0 16,13 0-16,-12-14 0,12 14 15,-13-13-15,1 0 0,-1 13 0,0-13 16,0 0-16,-13-1 0,14 1 15,-14 0-15,0 0 0,0-1 0,0-12 16,0 13-16,-14 0 0,14-1 16,0-12-16,-13 13 0,13-1 0,-13 1 15,0 0-15,13 0 0,-14-1 0,1 1 16,0 0-16,0 0 16,-1 0-16,1 13 0,13-14 15,-13 14-15</inkml:trace>
  <inkml:trace contextRef="#ctx0" brushRef="#br0" timeOffset="74354.78">8811 8387 0,'0'-13'32</inkml:trace>
  <inkml:trace contextRef="#ctx0" brushRef="#br0" timeOffset="75041.19">9181 8215 0,'13'0'15,"1"27"1,-14-14-1,0 0-15,-14 0 16,1 1-16,0-1 0,0 0 16,13 0-16,-14-13 15,14 14-15,14-14 16,-14 13-16,13-13 16,0 0-16,0 13 0,1-13 15,-1 13-15,0-13 0,0 0 16,0 14-16,1-14 0,-14 13 0,13-13 15,-13 13-15,13-13 0,-13 13 0,0 0 16,0 1-16,-13-14 0,13 13 16,-13-13-16,-1 13 0,1-13 15,0 13-15,0-13 0,0 0 0,-1 14 16,1-14-16,0 0 0,0 13 0,-1-13 16,1 0-16,0 0 15,0 0 1</inkml:trace>
  <inkml:trace contextRef="#ctx0" brushRef="#br0" timeOffset="75389.97">9618 8295 0,'-53'0'32,"39"0"-32,1 13 15,0-13-15,0 0 0,13 13 0,-13-13 16,-1 13-16,14 1 0,0-1 16,14 0-16,-14 0 15,0 1-15,13-1 16,-13 0-16,0 0 0,13 0 15,-13 1-15,0-1 0,0 0 16,-13 0-16,13 1 16,-13-14-16,13 13 0,-14-13 15,14 13-15,-13-13 0,0 13 0,0-13 16,-1 13-16,-12-13 0,13 14 16,-14-14-16,1 13 0</inkml:trace>
  <inkml:trace contextRef="#ctx0" brushRef="#br0" timeOffset="75803.84">7779 8930 0,'-13'0'0,"26"0"0,0-14 15,13 14-15,1 0 0,26 0 16,0-13-16,0 13 0,26 0 16,80-13-16,-67 13 0,-12 0 15,12 0-15,1 0 0,13 0 16,-14 0-16,14 0 0,0 0 0,-13 0 16,-1 0-16,1 0 0,-1 0 15,1 0-15,-14 0 0,-12-13 16,-1 13-16,0 0 0,-13 0 0,0 0 15,-14 0-15,-12 0 0,-1 0 0,1 0 16,-1 0-16,-13 0 0,14 0 16,-14 0-16,0 0 0,1 0 0,-1 0 15,-40 0 48</inkml:trace>
  <inkml:trace contextRef="#ctx0" brushRef="#br0" timeOffset="79735.08">8850 9512 0,'-13'-13'0,"13"-1"0,-13 14 32,0 14-17,13-1-15,-14 0 0,14 0 0,-13 0 16,13 1-16,-13 12 0,13-13 16,-13 14-16,13-14 0,0 0 0,0 14 15,0-14-15,0 0 0,13 0 0,-13 1 16,13-1-16,-13 0 0,13 0 15,1 1-15,-1-14 0,0 0 0,0 13 16,1-13-16,-1 0 0,0 0 16,0-13-16,0 13 0,1 0 0,-1-14 15,0 1-15,0 0 16,-13 0-16,14-1 0,-14-12 0,0 13 16,0-14-16,0 14 0,0-13 0,-14 12 15,14-12-15,-13 13 0,0-14 0,13 14 16,-27-13-16,27 12 15,-13 14-15,0-13 0,0 0 0,0 13 16,-1 0-16,1 0 16,0 0-16,0 13 15</inkml:trace>
  <inkml:trace contextRef="#ctx0" brushRef="#br0" timeOffset="79877.03">9128 9591 0</inkml:trace>
  <inkml:trace contextRef="#ctx0" brushRef="#br0" timeOffset="80283.77">9340 9393 0,'13'0'0,"-26"0"0,39 0 16,-13 0-16,1 0 0,-1 0 0,0 0 15,0 0-15,1 13 0,-1-13 0,0 13 16,0-13-16,1 13 0,-1 1 0,0-1 15,0 13-15,-13-12 16,13-1-16,-13 0 0,0 0 16,0 0-16,0 1 0,0-1 0,0 0 0,0 0 15,0 1-15,0-1 0,-13 66 32,0-66-32</inkml:trace>
  <inkml:trace contextRef="#ctx0" brushRef="#br0" timeOffset="80467.42">9393 9644 0,'26'-13'15,"-13"13"-15,1 0 16,-1 0-16,0 0 0,14 0 15,-14 0-15,0 0 0,0 13 16,0-13-16,1 0 0,-1 0 0,-13 13 16,13-13-16</inkml:trace>
  <inkml:trace contextRef="#ctx0" brushRef="#br0" timeOffset="80932.84">7302 11284 0,'14'-13'16,"-1"13"-16,0 0 0,0 0 16,1 0-16,12 0 0,67 0 31,-80 13-31,0-13 0,0 0 15,1 0-15</inkml:trace>
  <inkml:trace contextRef="#ctx0" brushRef="#br0" timeOffset="81133.57">7117 11496 0,'27'0'31,"-14"0"-31,0 0 16,0 0-16,14 0 0,-1 0 16,27 0-16,-26 0 0,-14 0 15,40-13-15,-27 13 16,1 0-16,-1 0 0,-13 0 0,14-13 16</inkml:trace>
  <inkml:trace contextRef="#ctx0" brushRef="#br0" timeOffset="83157.61">9499 8189 0,'-93'26'15,"186"-52"-15,-252 66 0,93-27 0,-14 13 16,1 1-16,-27-1 0,0 14 16,14-14-16,-14 14 0,13 0 0,14-14 15,13 1-15,13-1 0,-13 0 0</inkml:trace>
  <inkml:trace contextRef="#ctx0" brushRef="#br0" timeOffset="83429.67">10094 7382 0,'-27'40'0,"54"-80"0,-67 106 0,14-40 16,-1 1-16,1 26 0,-1-13 15,-12 12-15,12 1 0,1 0 0,-14 0 16,14 0-16,12 0 0,-12 13 0,13-13 15</inkml:trace>
  <inkml:trace contextRef="#ctx0" brushRef="#br0" timeOffset="83701.86">9790 9141 0,'-67'14'0,"134"-28"0,-173 54 16,66-27-16,-13 1 0,-13 12 15,0 0-15,13 1 0,-13 13 0,13-14 16,0 0-16,0 1 0,13 13 0,-13-14 15,27-13-15,0 14 0,-1-14 0,14 13 16,0-12-16</inkml:trace>
  <inkml:trace contextRef="#ctx0" brushRef="#br0" timeOffset="84030.74">9842 9419 0,'27'13'0,"-67"54"32,27-41-32,-13 0 0,-1 1 15,1-14-15,-1 14 0,1-1 16,-1 1-16,14-14 0,0 0 0,0 0 15,13 0-15,-14-13 0,14 14 16,0-1-16,0 0 0,14-13 16,-1 0-1,0 0-15,14 0 0,-1-13 0,14 13 16,-1-13-16,1-1 0,0 1 0,13 0 16,-14-13-16,14 12 0,-13-12 15,13-1-15,-13 14 0</inkml:trace>
  <inkml:trace contextRef="#ctx0" brushRef="#br0" timeOffset="84306">11509 8811 0,'27'-14'31,"-14"14"-31,14 0 16,-14 0-16,0 14 0,0-14 15,-13 13-15</inkml:trace>
  <inkml:trace contextRef="#ctx0" brushRef="#br0" timeOffset="84457.67">11430 9049 0,'13'0'0,"-26"0"0,39 0 0,1 0 15,-14-13-15,14 13 0,-1 0 16,1-14-16,-1 14 0,0 0 0,1-13 16</inkml:trace>
  <inkml:trace contextRef="#ctx0" brushRef="#br0" timeOffset="85801.89">13758 8440 0,'-26'27'31,"26"-14"-31,-13 0 0,13 0 16,-14 1-16,14-1 0,0 13 0,0 1 15,0-14-15,0 13 16,0-12-16,14-1 0,-1 0 16,-13 0-16,13-13 0,14 14 0,-14-14 15,0 0-15,0 0 0,14 0 16,-14 0-16,0-14 0,0 14 0,1-13 15,-1 13-15,0-13 0,0 0 0,-13-1 16,14-12-16,-14 13 0,-14-14 16,14 14-16,-13 0 0,13-14 15,-13 14-15,0-13 0,-1 12 0,1 1 16,0 0-16,0 0 0,13 0 16,-14-1-16,1 14 0,0 0 15,13-13-15,-13 13 0,0 13 16,-1-13-16</inkml:trace>
  <inkml:trace contextRef="#ctx0" brushRef="#br0" timeOffset="85970.55">14142 8520 0,'13'-14'16</inkml:trace>
  <inkml:trace contextRef="#ctx0" brushRef="#br0" timeOffset="86397.85">14592 8467 0,'-13'0'0,"-40"-14"16,26 14 0,14 14-16,0-14 15,13 13-15,0 0 16,0 0-16,13-13 16,-13 14-16,13-1 0,0 0 15,1 0 1,-1 0-16,-13 1 31,-27-1-31,14-13 16,0 13-16,0-13 0,-14 0 0,1 0 15,-1 13-15,14-13 0,-13 0 0,-1 14 16,14-14-16,0 0 0,-14 0 0,14 13 16,0-13-1</inkml:trace>
  <inkml:trace contextRef="#ctx0" brushRef="#br0" timeOffset="88017.57">9393 11271 0,'39'-13'0,"-25"13"16,-41 0-1,14 0-15,-14 13 0,14-13 16,-26 27-16,12-27 16,1 13-16,-1 0 0,14 0 0,-13-13 15,12 14-15,1-14 0,0 13 16,0 0-16,-1-13 0,14 13 15,-13-13-15,26 14 16,-13-1-16,14-13 16,-1 0-16,0 0 0,0 13 0,14-13 15,-14 13-15,0-13 0,14 0 16,-14 13-16,0-13 0,0 0 16,1 14-16,-28 12 31,-12-13-31,13-13 0,-14 27 15,1-27-15,13 13 0,-40 0 16,39-13-16,-12 14 16,-1-14-16,1 0 0,13 13 15,0-13-15,-1 0 0,1 0 16</inkml:trace>
  <inkml:trace contextRef="#ctx0" brushRef="#br0" timeOffset="88389.63">9446 11351 0,'-27'39'15,"27"-25"-15,0-1 0,-13 0 0,13 0 16,0 0-16,0 1 0,0-1 15,0 0-15,0 0 0,13 1 0,-13-1 16,13 0-16,1 0 0,-14 1 0,13-14 16,0 13-16,0-13 0,1 0 15,12 0-15,-13 0 0,0 0 0,1 0 16,-1-13-16,0 13 0,0-14 16,-13 1-16,14 0 15,-14 0-15,0-1 16,-14 1-16,14 0 0,-13 0 15,13-1-15,-13 1 0,0 13 16,13-13-16,-14 13 0,1-13 0,0 13 16,0 0-16,0 0 0,-1 0 15,-12 0-15,13 0 16,-1 13-16</inkml:trace>
  <inkml:trace contextRef="#ctx0" brushRef="#br0" timeOffset="88642.76">10014 11271 0,'0'0'0,"80"-26"31,-67 26-31,-13 13 16,13 0-1,-13 0-15,0 1 0,-13-1 16,13 0-16,-13 27 0,0-14 15,-1 1-15,-12-1 0,13 1 16,-14-1-16,14 1 0,0-14 16,-14 0-16,14 14 0,-13-1 15,12-13-15,1 0 0,-13 14 32,12-27-32</inkml:trace>
  <inkml:trace contextRef="#ctx0" brushRef="#br0" timeOffset="88764.88">9895 11430 0,'0'0'16,"0"-13"-16,0 0 0,14 13 16</inkml:trace>
  <inkml:trace contextRef="#ctx0" brushRef="#br0" timeOffset="88934.72">10345 11576 0,'13'13'0,"-26"-26"0,40 26 16</inkml:trace>
  <inkml:trace contextRef="#ctx0" brushRef="#br0" timeOffset="92785.81">1905 4233 0,'-13'0'16,"0"-13"-1,-1 13-15,1 0 16,0 0-1,0 0-15,-1 0 0,1 0 0,0 0 16,0 0-16,-1 0 0,-12 0 0,0 0 16,-1 0-16,1 0 0,-1-13 15,-12 13-15,12 0 0,1 0 0,-1-13 16,1 13-16,-14 0 0,27-14 0,-14 14 16,14 0-16,0 0 0,-14-13 15,14 13-15,0 0 0,13-13 16,-13 13-16,-1 0 0,1-13 0,0 0 15,0-1 1,13 1-16,0 0 16,-13 13-16,13-13 0,0-1 0,0 1 15,0 0-15,-14 0 16,14-1-16,0 1 16,0 0-16,0 0 0,0 0 0,0-1 15,0 1-15,-13 13 0,13-13 0,0 0 0,0-1 16,0 1-16,0 0 15,-13 0-15,13-1 0,0 1 0,0 0 16,-13 0-16,13 0 0,0-1 0,0 1 16,0 0-16,-14 0 15,14-1-15,0 1 0,0-13 16,14 26-16,-14-14 0,0 1 16,13 0-16,-13 0 15,0 0-15,13-1 0,0 1 16,1 0-16,-1 0 0,0-1 0,0 14 15,0-13-15,1 0 0,-1 0 0,0-1 16,0 14-16,27-26 16,-27 26-16,14-26 15,-14 26-15,13-14 0,1 1 16,-14 13-16,14-13 0,-14 13 16,0-13-16,14 13 0,-14-14 0,0 14 15,13-13-15,-12 13 0,12-13 0,-13 13 16,14-13-16,-14 13 0,40-13 15,-40 13-15,14 0 16,-14-14-16,0 14 0,0 0 0,1 0 16,12 0-16,-13 0 0,0 0 0,1 0 15,12 0-15,-13 0 16,1 0-16,-1 0 0,13 0 0,-12 0 0,25 0 16,-12 0-16,-14 0 15,13 0-15,-12 0 0,-1 0 16,13 0-16,-13 0 0,1 14 0,-1-14 15,0 0-15,14 13 0,-14-13 16,0 0-16,0 13 0,1-13 16,-1 0-16,-13 13 0,13-13 0,0 0 15,-13 13-15,13-13 0,-13 14 16,14-14-16,-1 13 0,-13 0 16,13-13-16,-13 13 15,13 1-15,-13-1 16,0 0-16,0 0 15,0 0-15,0 1 16,0-1-16,0 0 16,0 0-16,0 1 0,0-1 15,0 0 1,0 0-16,-13 1 16,13-1-16,0 0 0,0 0 15,0 0-15,0 1 16,0-1-16,0 0 0,0 0 15,-13 1-15,13-1 16,0 0-16,0 0 16,0 1-16,0-1 0,-13 0 15,13 0-15,0 0 16,0 1-16,0-1 16,-14 0-16,14 0 0,0 1 15,0-1-15,0 0 16,-13-13-16,13 13 0,0 1 15,0-1-15,-13 0 0,13 13 16,-13-26-16,13 14 0,-13-1 16,13 0-16,0 0 15,-14-13-15,14 14 0,0-1 0,-13-13 16,13 13-16,-13-13 0,13 13 16,-13 1-16,-1-1 15,1-13 1,13 13-16,-13-13 0,0 13 0,-1-13 15,1 13-15,-13-13 0,13 14 16,-1-14-16,1 13 0,0-13 16,0 0-16,-14 13 0,14 0 15,0-13-15,-14 0 0,14 14 16,0-14-16,0 0 0,-1 13 16,1-13-16,0 0 0,0 0 15,13 13-15,-14-13 0,-12 0 16,13 13-16,0-13 15,-1 0-15,1 0 16,0 0-16,0 13 0,-1-13 16,1 0-16,0 0 0,0 0 15,-1 0-15,1 14 16,0-14-16,0 0 16,0 0-16,-1 0 15,1 0 1,0 0-1,0 0 1,-1 0 0,1 0 62,0 13 16,13 0-94,13 0 15,-13 1-15,13-14 0,-13 13 16</inkml:trace>
  <inkml:trace contextRef="#ctx0" brushRef="#br0" timeOffset="93993.91">9194 11999 0,'0'0'16,"40"0"-16,-27 0 15,0 0-15,1 0 0,12-13 16,1 13-16,-14 0 0,13 0 15,1-14-15,-1 14 0,-13 0 0,1-13 0,12 13 16,-13 0-16,1 0 0,-14-13 16,13 13-16,-53 0 31,27 13-31,-14-13 0,1 13 16,-14-13-16,1 14 0,12-14 0,-13 0 15,14 13-15,0-13 0,-1 0 16,1 13-16,12-13 0,-12 0 0,13 0 15,-1 0-15,14 13 0,-13-13 0,53 0 32,-27 0-32,14-13 15,12 13-15,1 0 0,-14-13 16,14 13-16,-13 0 0,-1-13 0,0 13 0,1 0 16,-14 0-16,0-14 0,1 14 0,-1 0 15,0 0-15,-53 14 31,27-14-31,-13 0 16,12 0-16,1 0 0,-13 0 0,13 0 16,-1 13-16,1-13 15,0 0-15,53 0 32,-27 0-32,0 0 0,0 0 15,0 0-15,1-13 0,-1 13 0,0 0 16,0 0-16,1 0 15,-1-14-15,-26 14 47,26-13-31</inkml:trace>
  <inkml:trace contextRef="#ctx0" brushRef="#br0" timeOffset="94622.5">10821 11337 0,'40'14'16,"-27"-14"-16,27 13 0,13-13 15,-13 13-15,13-13 16,13 13-16,0-13 0,13 14 0,67-1 15,-67-13-15,1 13 0,-1-13 16,-13 13-16,13-13 0,-12 0 16,-1 13-16,0-13 0,-26 14 0,52-14 15,-65 0-15,-1 0 0,1 0 16,-14 13-16,0-13 0,0 0 16,0 0-16,1 0 0,-1 0 0,0-13 15,0 13 1,-26-14 15,0 1-31,0 0 16,-1 0 15</inkml:trace>
  <inkml:trace contextRef="#ctx0" brushRef="#br0" timeOffset="95014.81">12382 11337 0,'40'14'15,"-80"-28"-15,93 41 0,-39-27 0,12 13 0,-13-13 16,1 13-16,-1-13 0,0 14 15,-13-1-15,13-13 0,-13 13 16,13 0-16,-26 0 0,13 1 0,-13 12 16,0 1-16,-14-1 0,1 1 0,-1-1 15,-12 0-15,-1 1 0,-39 39 16,52-53-16,-12 14 0,12-1 16,1-13-16,12 1 0</inkml:trace>
  <inkml:trace contextRef="#ctx0" brushRef="#br0" timeOffset="96361.8">14539 11126 0,'-27'-14'0,"54"28"0,-67-28 15,27 14-15,0 14 16,-1-14-16,1 0 16,0 0-16,0 13 15,13 0 1,13 0-16,-13 1 0,13-14 15,0 13-15,1 0 0,-1 0 0,0 1 16,0-1-16,14 0 0,-14 0 16,0 0-16,1 1 0,-1-1 0,0 0 15,-13 0-15,13 1 0,-13-1 16,0 0-16,0 0 16,-13 1-16,0-1 15,-14 0-15,14 0 0,-13 0 16,12 1-16,-12-14 0,-1 13 0,1 0 15,13-13-15,-14 13 0,14-13 16,-13 0-16,12 0 0,1-13 16,0 13-16,13-13 0,0 0 15,13-1-15,-13 1 0</inkml:trace>
  <inkml:trace contextRef="#ctx0" brushRef="#br0" timeOffset="96589.7">14909 10954 0,'0'0'0,"27"-13"16,-14 26-1,-13 0-15,0 0 16,0 0-16,0 1 0,0 12 16,-13-13-16,13 14 0,0-1 0,0 1 15,0-1-15,0-13 0,0 14 0,-14 13 16,14-27-16,0 13 0,0-13 15,0 1-15,0-1 0,0 0 16,0 0-16,0 1 0,0-1 16</inkml:trace>
  <inkml:trace contextRef="#ctx0" brushRef="#br0" timeOffset="96787.01">14671 11258 0,'13'-13'32,"1"13"-32,-1 0 0,13-13 0,-12 13 15,12 0-15,0-14 0,14 1 0,0 13 16,-1-13-16,1 13 0,0 0 16,13-13-16,-14 13 0,-12 0 0,26 0 15,0 0-15,0 13 0,0-13 16</inkml:trace>
  <inkml:trace contextRef="#ctx0" brushRef="#br0" timeOffset="97446.08">15399 11152 0,'13'0'32,"0"13"-32,-13 1 15,13-1-15,-13 0 0,0 0 0,0 14 16,0-14-16,0 0 0,0 0 0,0 14 16,0-14-16,0 14 15,0-14-15,-13 0 0,13 0 0,0 1 16,0-1-16,-13 0 0,13 0 0,-13 0 15,13 1 1,0-41 0,0 14-1,13 0-15,-13-14 0,13 1 16,0-1-16,1 1 0,-1-1 0,0 14 16,0 0-16,1-13 0,-1 12 0,0 1 15,0 13-15,1-13 0,-1 0 16,0-1-16,0 14 0,0-13 0,1 13 15,-1 0-15,0-13 0,0 13 16,1 0-16</inkml:trace>
  <inkml:trace contextRef="#ctx0" brushRef="#br0" timeOffset="98210.52">15981 11112 0,'-27'0'15,"14"14"-15,0-14 16,-14 13-16,14-13 0,-13 13 16,-14 14-16,27-14 0,0 0 15,-14 0-15,14 14 0,13-14 16,-13 0-16,-1 0 0,1 1 16,13-1-16,0 0 0,0 0 0,0 1 15,13-1 1,1-13-16,-1 13 0,0-26 15,0 13-15,1 0 16,-1-13-16,13 13 0,-12-14 16,-1 1-16,0 0 0,0 13 0,0-27 15,1 27-15,-14-13 0,13 0 16,0 0-16,0 0 16,-13 39 15,0-13-16,0 0 1,0 1-16,0-1 16,14 0-16,-14 0 15,13-13-15,13 0 16,-12 0 0,-1-13-16,0 13 0,0-13 15,0 0-15,1 13 0,-1-14 16,0 1-1,0 13 1,1 13 0,-14 1 15,13-1-31,0 0 16,0-13-1,0 13 1,1-13-1,-1 0-15,0 0 16,-13 14-16,13-14 16,1 0-1,-1 0 1,0 0 15,0 0-31,-13-14 0,14 14 16,-14-13-16,13 0 0,0 0 15,0-1-15,0 14 16,1-13-16,-14 0 0,13 0 0,0 0 16,0-1-16</inkml:trace>
  <inkml:trace contextRef="#ctx0" brushRef="#br0" timeOffset="98734.98">16841 10821 0,'-13'0'15,"-1"14"1,1-1-16,13 0 0,-13 14 15,0-1-15,-1 1 16,1 39-16,0-27 0,0 41 16,13-41-16,-14 1 0,14-13 0,0-1 15,-13 0-15,13-12 0,0 12 16,-13-13-16,13 1 0,0-1 0,0 0 16,0 0-16,-13-13 0,13 14 15,26-41 1,-13 1-1,1 12-15,-1-12 0,13-1 0,27-12 16,-39 26-16,25-1 16,-12 1-16,-14 0 0,0 13 15,0 0-15,14 40 32,-27-27-32,-13 0 0,13 0 15,-14 0-15,1 1 0,0-1 0,-14 0 16,14 0-16,0 1 0,0-1 15,0-13-15,-1 13 0,1-13 16,-13 13-16,12-13 16</inkml:trace>
  <inkml:trace contextRef="#ctx0" brushRef="#br0" timeOffset="99553.64">17092 11284 0,'0'0'15,"13"-26"-15,-13 13 0,0 0 16,0-1-16,-13 14 15,13-13 1,13 26 47,1 1-63,-1-14 15,-13 13-15,13 0 0,-13 0 0,13-13 16,0 13-16,-13 1 0,14-1 15,-1 0-15,-13 0 0,0 1 16,13-14-16,-13 13 16,0 0-16,0-39 62,13 26-62,-13-14 0,14 14 16,-14-13-16,13 0 0,-13 0 0,13 13 15,-13-14-15,13 1 0,1 13 16,-14-13-16,13 13 0,-13-13 16,13 13-16,-13-13 0,13 13 0,-13-14 15,13 14-15,-13-13 16,14 13 0,-14 13 15,0 1-31,-14-1 15,14 0-15,0 0 16,14-13-16,-14 13 16,13-13-16,0 0 15,0 14-15,1-14 16,-1 0-16,0 13 16,0 0-16,-13 0 0,13-13 15,-13 14-15,0-1 0,0 0 16,0 0-16,-13 14 0,13-14 0,-13 13 15,-13 1-15,12-1 0,-12-12 16,-1 12-16,-25 14 0,25-27 16,14-13-16,0 13 0,-14-13 15,40-13 1,14-13-16,-1-1 0,80-52 16,-40 26-16,119-80 15,-92 67-15,0-13 0,13 0 16,-1-14-16,1 14 0,0-1 15</inkml:trace>
  <inkml:trace contextRef="#ctx0" brushRef="#br0" timeOffset="112523.63">18018 952 0,'13'-13'0,"-13"26"31,0 1-15,0-1-16,0 0 0,0 14 0,0-1 15,-13 1-15,13-1 0,0 0 16,0 1-16,-13-1 0,13 1 16,0-1-16,0 1 0,-13-14 0,13 13 15,0 1-15,0-14 0,-14 0 0,14 1 16,0-1-16,0 0 0,0 0 16,0 1-16</inkml:trace>
  <inkml:trace contextRef="#ctx0" brushRef="#br0" timeOffset="113222.67">17926 992 0,'13'-26'31,"0"12"-31,0 14 16,0 0-16,14 0 0,-14 0 0,14-13 15,-1 13-15,1 0 0,-1 0 0,14 13 16,-14-13-16,1 0 15,-14 0-15,0 14 0,-13 12 16,0-13-16,-13 1 0,0 12 16,-14-13-16,14 1 0,0-1 15,-1 0-15,1 0 0,0-13 16,13 13-16,-13-13 0,13 14 0,-13-14 16,13 13-16,13 0 31,0-13-31,0 0 0,0 13 0,1-13 15,12 0-15,-13 14 0,14-1 16,-14-13-16,13 13 0,-12 0 16,-1 1-16,0-14 0,0 13 0,-13 0 15,14 0-15,-28 14 16,1-14-16,0 0 0,-14 0 16,14 1-16,-40-1 15,27 0-15,-1-13 0,1 13 0,13-13 16,-14 0-16,14 14 0,0-14 0,-14 0 15,14 0-15,0 0 0,0-14 16,-1 14-16,1-13 0,13 0 16</inkml:trace>
  <inkml:trace contextRef="#ctx0" brushRef="#br0" timeOffset="114657.65">18494 1124 0,'0'0'0,"-13"0"0,0 14 16,0-14-16,-1 13 0,14 0 15,-13-13-15,13 13 0,0 1 16,-13-1-16,13 0 0,0 0 15,0 14-15,0-14 16,13 0 0,-13 0-16,13-13 0,1 0 15,-1 0 1,0-13-16,0 13 16,-13-13-16,14 0 0,-1 0 15,-13-1-15,13 1 0,-13 0 0,13 0 16,-13-1-1,14 1-15,-14 0 16,13 26 15,-13 0-15,0 1-16,0-1 16,13 0-16,-13 0 0,13-13 15,-13 14-15,13-14 16,1 13-16,-1 0 15,0-13-15,0 0 16,1 0-16,-14-13 16,13 13-16,-13-13 15,13 13-15,-13-14 16,13 28 31,0-1-32,1 0 1,-1-13 0,0 0-1,0 0-15,1 0 16,-1-13-16,0 13 16,-13-13-16,13 13 0,1-14 0,-14 1 15,13 13-15,-13-13 0,13 13 0,-13-13 16,13 13-16,0-14 15,1 28 1,-1-14-16,-13 13 16,0 13-16,0-12 15,0-1-15,0 0 0,0 0 16,0 0-16,0 14 0,0-14 0,-13 14 16,13-14-16,-14 0 0,14 0 0,-13 1 15,0-1-15,0 0 0,13 0 16,-13 0-16,-1 1 0,1-14 15,13 13-15,-13-13 0,26-27 47,0 14-47,1 0 16,12 0-16,-13 0 0,0-14 0,27-13 16,-27 27-16,1 0 15,-1-14-15,0 27 0,0-13 16,1 0-16,-14 0 0,13 0 0,0-1 15,-13 1-15,-13 0 47,0 26-47,13 0 16,-14-13-16,14 14 16,-13-14-16,13 13 15,0 0 16,13 0-31,1-13 16,-14 13-16,13 1 16,0-14-16,-13 13 15,13 0-15,-13 0 16,0 1-16,0-1 16,0 0-1,13-39 32,1 26-47,-14-14 0,13 14 16,-13-13-16,13 13 15,-13-13-15,13 13 0,1-13 16,-1 13 0,13-14-16,-12 14 15,-14-13-15</inkml:trace>
  <inkml:trace contextRef="#ctx0" brushRef="#br0" timeOffset="114989.06">19420 1191 0,'-26'39'31,"13"-39"-31,13 14 16,0-1-16,-13 0 0,13 0 16,0 0-16,0 1 15,0-1-15,-14 0 16,14 0-16,0 1 0,-13-1 15,0-13 1,0 0-16,-1 13 16,1-13-16,0 0 15,0 0-15</inkml:trace>
  <inkml:trace contextRef="#ctx0" brushRef="#br0" timeOffset="115562.52">20214 661 0,'0'-13'16,"0"26"-16,0 1 31,0 12-31,0 1 16,0-1-16,0 14 0,0-1 0,0 1 15,0 13-15,-13-27 0,13 14 16,0 0-16,-13 0 0,13-1 0,-14 14 16,14-26-16,-13-1 0,13 1 15,0-14-15,0 13 0,-13-13 0,13 1 16,0-1-16,0 0 15,0 0-15</inkml:trace>
  <inkml:trace contextRef="#ctx0" brushRef="#br0" timeOffset="116681.58">20069 1124 0,'13'-13'31,"0"13"-15,0 0-16,1 0 0,12-13 16,-13 13-16,14-13 0,-1 13 0,1-13 15,-14-1-15,27 1 0,-14-13 0,-13 12 16,14-12-16,-1-1 0,-13 1 16,1 0-16,-1-14 0,0 13 0,0 1 15,1 0-15,-14 12 0,0 1 16,13-13-16,-13 12 15,-13 28 1,-1 12-16,1-13 16,0 27-16,-14-14 0,14 14 0,-13 0 15,-14 13-15,27-14 16,0 1-16,-1-13 0,-12 25 16,13-25-16,13-1 0,-14-12 15,14-1-15,0 0 0,0 0 16,27-26-1,-14 0 1,0 13-16,1-13 0,-1 13 16,0 0-16,-13-14 0,26 14 15,-12 0-15,-1 14 16,0-14-16,0 13 16,1-13-16,-1 0 15,0 13-15,0-13 0,1-13 16,-1 13-16,0 0 0,13 0 15,-12-13-15,-1 13 0,0-14 0,14 1 16,-14 13-16,0-13 0,0-14 16,1 27-16,-1-13 0,-13 0 0,13 0 15,-13 0-15,13-1 0,0 14 16,-13-13-16,-13 40 31,0-14-15,13 0-16,0 0 0,-13-13 15,13 13-15,0 1 16,13-1-16,0 0 16,0-13-1,1 0-15,-1-13 16,0 13-16,0 0 16,1 0-1,-14 13 1,13-13-1,-13 13-15,0 1 16,13-14-16,0 13 0,0-13 16,14 0-1,-14-13-15,0 13 0,1-14 16,-1 14-16,-13-13 0,13 13 16,-13-13-16,0 0 0,0-1 0,13 14 15,-26-13-15,13 0 16,0 0-16,0 0 15,0-1-15,0 1 0,-13 13 16,26 27 15,-13-14-31,13-13 16,-13 13-16,0 0 0,14 0 0,-1 1 16,-13-1-16,0 0 15,13-13-15,-13 13 0,0 1 16,13-14-16,-13 13 0,27-26 47,-14-1-47,-13 1 15,13 0-15,0 0 0,1 13 16,-1-14-16,0 1 0,0 0 16,1 0-16,-1 13 15,0 0 1</inkml:trace>
  <inkml:trace contextRef="#ctx0" brushRef="#br0" timeOffset="117375.81">21167 1191 0,'26'-14'15,"-13"14"1,1-13-16,-1 0 15,-13 0-15,13 13 16,-13-14-16,0 1 16,13 13-16,-39-13 31,26 26-31,-13-13 16,13 13-16,-14-13 0,14 14 0,-13-1 15,13 0 1,0 0-16,0 1 15,13-1 1,1-13-16,12 0 16,0-13-1,-12 13-15,-1 0 16,0 0-16,0 0 16,1 0-16,-1 13 15,0 0 1,-13 0-1,13-13 1,-13 14 0,14-14-1,12 0 1,-13 0 0,-13-14-16,13 14 0,1 0 15,-1 0-15,0 0 16,14 0-1,-1 0 1,-26-13-16,13 13 0,1 0 16,-41 13 15</inkml:trace>
  <inkml:trace contextRef="#ctx0" brushRef="#br0" timeOffset="117661.88">19553 1601 0,'119'-27'31,"-66"14"-31,0 13 0,79-26 15,-53 26-15,-13-14 0,80 1 16,-67 13-16,-26-13 16,0 13-16,53 0 0,-80 0 15,27-13-15,-26 13 16,-14 0-16,0 0 0,1 0 0,-14 13 16,-27 0-1,14-13-15,-14 0 16</inkml:trace>
  <inkml:trace contextRef="#ctx0" brushRef="#br0" timeOffset="117858.63">19804 1654 0,'-13'0'0,"79"13"32,-40-13-32,1-13 0,26 13 15,0 0-15,0 0 0,0-14 0,13 14 16,40 0-16,-54-13 0,1 13 15,0-13-15,-13 13 0,-14-13 16,27 0-16,-39-1 0,-1 1 16,0 0-16,-13 0 0,13-1 0,-13 1 15,0-13-15</inkml:trace>
  <inkml:trace contextRef="#ctx0" brushRef="#br0" timeOffset="118133.59">19129 542 0,'67'-13'31,"-41"13"-31,0 0 0,80-13 15,-53 13-15,0 0 0,26-13 16,-12 13-16,12 0 0,-13 0 16,53-14-16,-66 14 0,0 0 15,53 0-15,-80 0 16,1 0-16,12 0 0</inkml:trace>
  <inkml:trace contextRef="#ctx0" brushRef="#br0" timeOffset="118347.17">19407 609 0,'-13'13'0,"39"-13"16,-12 0 0,-1 0-16,27 13 0,12-13 0,1 0 15,0 0-15,13-13 0,1 13 0,91-13 16,-78 13-16,-14-14 0,13 14 15,-13-13-15,-13 0 0,-13 13 16,13-13-16,-40 13 0,0-14 16</inkml:trace>
  <inkml:trace contextRef="#ctx0" brushRef="#br0" timeOffset="118814.31">17754 860 0,'-14'40'16,"1"-14"-16,0 0 0,0 1 16,-1 13-16,-12 13 0,13-1 15,-14 1-15,14 0 0,-13 0 0,12-13 16,1 0-16,13-14 0,-13 14 0,0-14 15,13 1-15,0-14 0</inkml:trace>
  <inkml:trace contextRef="#ctx0" brushRef="#br0" timeOffset="119021.29">17793 939 0,'-39'93'31,"39"-53"-15,-14 12-16,1 1 0,0 14 0,0-15 15,13 1-15,-14 14 0,14-28 0,0 27 16,-13-13-16,26 0 0,-13-13 0,0 13 16,0-14-16,14-12 0,-1-1 15</inkml:trace>
  <inkml:trace contextRef="#ctx0" brushRef="#br0" timeOffset="119602.01">21934 794 0,'0'13'0,"-13"40"15,13-27 1,-13-12-16,-1 25 0,1-26 0,0 27 15,-14-13-15,14-1 0,0 1 0,0-1 16,-1 14-16,1-27 16,13 13-16,-13-26 0,13 14 15,0-1-15</inkml:trace>
  <inkml:trace contextRef="#ctx0" brushRef="#br0" timeOffset="119817.84">22132 635 0,'0'-13'16,"0"26"-16,0 0 0,0 0 15,-13 14-15,13-1 0,-26 41 16,12-28-16,1 1 0,-26 52 16,25-78-16,1 25 0,-13 1 15,12 0-15,-12-1 0,0 28 16,-1-41-16,14 1 0,-14 25 15,14-38-15,0-1 0,0 0 16</inkml:trace>
</inkml:ink>
</file>

<file path=ppt/ink/ink29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1:56:56.193"/>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11298 1759 0,'-225'-26'31,"172"26"-31,-13 0 16,0 13-16,39-13 15,-26 13-15,14-13 16,-1 14-16,13 12 16,14-26-16,13 13 0,-13 27 15,13-27-15,-13 27 16,13-14-16,13 41 0,-13 12 15,0-26-15,0 39 16,0-39-16,0 14 16,0-15-16,0 28 0,0-27 0,0 26 0,-13-13 15,13 0-15,-14 1 0,1-1 16,-13 132-16,13-66 16,-1-65-16,1-14 15,0 66-15,0-67 0,-1 1 16,14 0-16,-13-13 0,13 0 0,-13-1 15,0 14-15,13-26 16,-13 52-16,13-66 0,-14 14 16,14 13-16,0-14 15,14-13-15,-14 0 0,13 1 16,0-14-16,0 13 0,14 0 0,-1-13 16,27 13-16,13-13 15,-13 0-15,53-13 16,-53 13-16,0 0 0,66-26 15,-66 26-15,0-14 0,0 1 16</inkml:trace>
  <inkml:trace contextRef="#ctx0" brushRef="#br0" timeOffset="1448.25">23627 1482 0,'27'-14'0,"-54"28"0,67-28 15,-14 14-15,27 0 16,-26-13-16,12 13 0,41 13 16,-27-13-16,-14 0 0,14 0 15,0 0-15,0 0 0,0 0 0,0 0 16,0 0-16,-13 0 0,13 14 15,-14-14-15,-25 0 16,12 0-16,14 13 0,-27-13 0,13 0 16,-12 13-16,25 0 15,-39 1-15,13-14 16,1 13-16,-14 0 0,13 0 16,-13 1-16,13-1 0,-13 0 15,0 13-15,13 14 0,-13-13 16,0-1-16,14 14 0,-14-1 15,0-12-15,13-1 0,-13 1 16,0 12-16,13-12 0,-13 13 16,0-1-16,13-12 0,-13 12 0,14 41 15,-14-41-15,0 54 16,0-53-16,13 52 0,-13-52 16,0 13-16,0 0 0,13-13 15,-13-1-15,0 1 0,0 13 0,0 13 16,0-39-16,0 12 15,0-12-15,0 12 0,0-12 0,0 65 16,0-65-16,0-1 16,0 1-16,13-14 0,-13 13 15,0 1-15,13-14 0,-13 14 0,14 12 16,-14-25-16,13-1 16,-13 0-16,13 0 0,-13 0 15,0 1-15,13-14 0,-13 13 0,0 0 16,0 0-1,0 1 1,-13-14-16,0 13 16,0-13-16,-40 13 0,0-13 15,0 0-15,-93 13 0,67-13 16,-14 13-16,1 1 0,-1-14 16,-13 13-16,-26-13 0,-106 13 15,92-26-15</inkml:trace>
  <inkml:trace contextRef="#ctx0" brushRef="#br0" timeOffset="3787.86">21722 2474 0,'40'-27'0,"-27"27"15,0 0-15,14 0 0,-1 0 0,41-13 16,-28 13-16,14 0 0,0 0 15,0 0-15,0-13 0,145 13 16,-118 0 0,-54 0-16,1 0 0,-1 0 15,-13 0-15,0 0 0</inkml:trace>
  <inkml:trace contextRef="#ctx0" brushRef="#br0" timeOffset="4057.75">21828 2527 0,'93'0'0,"-67"13"15,14-13-15,-14 0 0,14 0 16,-14 0-16,146 0 15,-132 0-15,26 0 16,-26 0-16,-14 0 0,1 0 0,-1 0 16,1-13-16,-14 13 15,40 0-15,-40-13 32</inkml:trace>
  <inkml:trace contextRef="#ctx0" brushRef="#br0" timeOffset="5168.85">12250 2963 0,'265'-26'31,"-120"13"-31,914-14 16,-993 27-16,-13 0 16,-14 0-16,-25 0 15,-1 0-15,-40 0 63,14 0-63,0 0 0,0 0 15,-1 0-15</inkml:trace>
  <inkml:trace contextRef="#ctx0" brushRef="#br0" timeOffset="6677.74">15319 2910 0,'14'0'15,"-1"14"-15,13-14 16,-12 0 0,-1 0-16,13 0 15,14 13-15,-14-13 0,1 0 16,-1 0-16,67 0 0,-53 13 15,12-13-15,54 0 16,66 13 0,-39 1-16,-54-14 0,662 26 62,-688-26-62,119 0 16,344 0 46,-318 0 1,-224 13-1,12-13-62,1 0 0,0 0 16,0 0-16</inkml:trace>
  <inkml:trace contextRef="#ctx0" brushRef="#br0" timeOffset="7448.85">16748 2977 0,'106'0'15,"-212"0"-15,238 13 0,-65-13 16,38 0-16,1 0 16,-53 0-16,0 0 0,119 0 15,-119 0-15,53 0 16,-53 0-16,79 13 15,-66-13-15,-13 0 16,-26 0-16,12 0 16,1 13-16,-14-13 15,-12 0-15,-1 0 16,13 0-16,-12 0 16,-1 0-1,0 0 1,0 0-16,0 0 31,1 0 94,-1-13 78</inkml:trace>
  <inkml:trace contextRef="#ctx0" brushRef="#br0" timeOffset="14229.04">18177 3016 0,'66'-13'0</inkml:trace>
  <inkml:trace contextRef="#ctx0" brushRef="#br0" timeOffset="14537.83">18071 3003 0,'27'0'15,"-1"0"-15,14 0 16,-27 0-16,0 0 15,27 0-15,-27 0 0,0 0 16,14 0-16,-14 0 0,13 0 16,-12 0-1</inkml:trace>
  <inkml:trace contextRef="#ctx0" brushRef="#br0" timeOffset="14777.49">18018 3003 0,'27'13'16,"-14"-13"-16,0 0 0,0 0 0,40 13 16,-26-13-16,-14 0 0,13 0 15,1 0-15,-1 0 0,-13 0 16,27 0-16,-13 0 15,-14 0-15,0 0 0,0 0 0,1 0 0,-1 0 16,0 0-16,0 0 16,0 0-1</inkml:trace>
  <inkml:trace contextRef="#ctx0" brushRef="#br0" timeOffset="20376.68">11165 595 0,'-13'0'16,"40"0"-1,-14 0 1,0 0-16,14 0 0,-14 0 15,0 14-15,13-14 0,1 0 16,-1 0-16,-12 0 0,12 0 0,1 0 0,-1 0 16,0 0-16,-12 13 15,12-13-15,-13 0 0,14 0 0,-14 0 0,0 0 16,1 0-16,-1 0 0,0 0 0,13 0 16,-12 0-1,-1-13 1,0 13 15</inkml:trace>
  <inkml:trace contextRef="#ctx0" brushRef="#br0" timeOffset="20732.82">11536 503 0,'26'13'32,"-12"0"-17,-1-13-15,0 0 0,0 13 16,0-13-16,1 0 0,-1 14 15,0-14-15,-13 13 0,13-13 0,1 13 16,-1-13-16,-13 13 0,13 1 16,-13-1-16,13 0 15,-26-13-15,13 13 0,0 0 0,-13 1 16,13-1-16,-13-13 0,13 13 16,-14 0-16,1 1 0,-13-1 15,12 0-15,14 0 0,-13-13 0,0 14 16,0-1-16</inkml:trace>
  <inkml:trace contextRef="#ctx0" brushRef="#br0" timeOffset="21709.1">9366 410 0,'-53'0'16,"40"13"-16,0 1 0,-14-1 0,14 0 15,-79 119 1,78-118-16,14-1 15,-13 13-15,13-13 0,0 1 0,-13-1 16,13 0-16,13 0 16,0 1-16,1-14 15,12-14-15,-13 1 0,14 13 16,-14-13-16,27-14 0,-14 14 0,1 0 16,-14 0-16,13 0 0,-13-1 15,1 1-15,-1 13 0,0-13 0,0 13 16,1 0-16,-1 0 15,0 13-15,-13 0 16,13 1-16,-13 12 0,0-13 16,0 0-16,0 14 0,0-14 0,0 14 15,0-14-15,-13 0 0,13 0 16,0 14-16,0-14 0,0 0 16,-13 0-16,13 1 0,13-14 15,-13 13-15</inkml:trace>
  <inkml:trace contextRef="#ctx0" brushRef="#br0" timeOffset="22252.09">9657 595 0,'0'27'15,"0"-14"1,0 13-16,0-12 16,0 12-1,0-13 1,-13 1-16,13-1 31,13-40 0,1 27-31,-14-13 0,13 0 16,0 13-16,-13-13 16,13 13-16,0 0 15,14 0 1,-14 13 0,0 0-16,-13 0 31,14-13-31,-14 14 15,13-28 17,0 14-32,0-13 0,0 0 15,1 13-15,-1 0 0,0-13 16,0 13-16,1 0 0,-1 0 0,0-14 16,14 14-1,-14 14-15,0-14 0,0 0 16,0 13-16,1-13 15,-1 13-15,0-13 16,0 13-16</inkml:trace>
  <inkml:trace contextRef="#ctx0" brushRef="#br0" timeOffset="22856.61">10266 622 0,'-53'13'31,"53"0"-31,-13-13 0,13 13 16,-14 1-16,1-1 0,13 0 15,-13 0-15,13 1 0,-13-1 16,26 0-1,-13 0-15,13-13 16,0 0-16,1 0 16,-14-13-16,13 13 15,0 0-15,0 0 16,1 0 0,-1 0-1,0 0 1,0 0-1,14-13 1,-14 13 0,0 0-16,0 0 15,1 0-15,-1 0 16,0 13 0,0-13-1,-13 13-15</inkml:trace>
  <inkml:trace contextRef="#ctx0" brushRef="#br0" timeOffset="23040.75">10517 701 0,'-13'-13'15,"0"26"17,13 0-32,0 1 15</inkml:trace>
  <inkml:trace contextRef="#ctx0" brushRef="#br0" timeOffset="23491.18">10557 675 0,'0'13'16,"0"0"-1,0 0-15,13-13 0,-13 14 16,0-1-16,0 0 0,0 0 16,-13-13-16,13 14 0,0-1 15,0 0-15,0 0 16,0 0-16</inkml:trace>
  <inkml:trace contextRef="#ctx0" brushRef="#br0" timeOffset="23668.88">10557 529 0,'-13'0'31</inkml:trace>
  <inkml:trace contextRef="#ctx0" brushRef="#br0" timeOffset="23965.24">10782 370 0,'13'0'15,"-13"14"-15,0 78 31,13-79-31,-13 1 0,0 12 16,0 1-16,0-14 0,0 13 0,0-12 16,0 12-16,0-13 0,0 0 15,0 1-15,0-1 0,0 0 0,0 0 16,0 1-16,0-1 0,0 0 16,0 0-16,0 1 15</inkml:trace>
  <inkml:trace contextRef="#ctx0" brushRef="#br0" timeOffset="25752.82">12568 489 0,'-14'14'31,"14"12"-31,-13-26 15,13 13-15,-13 14 0,13-14 16,-13 0-16,13 1 0,-13-1 16,13 0-16,0 0 0,0 0 0,0 1 15,-14-1-15,14 13 0,14-12 16,-14-1-16,13 0 16,0-13-16,0 13 15,0-13-15,1 14 0,-1-14 16,13 0-16,-12 0 0,-1 0 15,0 0-15,0-14 0,1 14 0,-1 0 16,0 0-16</inkml:trace>
  <inkml:trace contextRef="#ctx0" brushRef="#br0" timeOffset="25949.01">12528 688 0,'0'0'15,"0"-13"-15,26 13 32,-12 0-32,12 0 0,-13-14 15,14 14-15,-14 0 0,14 0 0,-14 0 16,13-13-16,-13 13 0,1 0 16,12-13-16,-13 13 0,1-13 15</inkml:trace>
  <inkml:trace contextRef="#ctx0" brushRef="#br0" timeOffset="26135.8">12515 463 0,'-13'0'16,"52"0"15,-26 0-31,14 0 0,-14 0 0,40 13 16,-26-13-16,-1 0 15,0 0-15,1 0 0,-1 0 0,27 0 16,-39 13-16,-1-13 16</inkml:trace>
  <inkml:trace contextRef="#ctx0" brushRef="#br0" timeOffset="26623.77">13018 569 0,'0'13'0,"-14"14"16,14-14-1,-13 0-15,13 0 0,0 0 16,0 1-16,-13-14 0,13 13 16,0 0-1,26-26 32,-12 13-31,-1-13-16,0 13 15,0 0 1,0 13-16,1-13 47,-1 13-32,0-26 17,0 13-17,1-13-15,-1 13 16,0 0-16,0-14 16,0 14-1,1 0-15,-1 14 16,0-14-16,0 0 15,1 13-15,-1-13 16</inkml:trace>
  <inkml:trace contextRef="#ctx0" brushRef="#br0" timeOffset="27372.85">13520 622 0,'-13'0'0,"0"-13"16,0 26-1,-1-13 1,1 0-16,13 13 16,-13-13-16,13 13 0,-13-13 15,13 13-15,0 1 16,0-1 0,13-13-1,0 0 1,0 0-1,1 0-15,-1 0 0,0-13 16,0 13-16,0 0 16,-13-14-16,14 14 15,-1-13-15,0 13 16,0-13 0,1 13-1,-1 13 1,-13 0-1,13-13 1,-13 14 0,13-1-1,0-13 1,1 0 0,-1 0-1,0-13 1,0 13-16,-13-14 31,14 28 0,-14-1-15</inkml:trace>
  <inkml:trace contextRef="#ctx0" brushRef="#br0" timeOffset="27772.92">13785 489 0,'0'0'0,"13"27"63,-13-14-48,0 0 1,0 1-16,-13 12 16,13-13-1,0 1-15,0-1 0,0 0 16,0 0-16,-13 0 16,13 1-16,0-1 0,0 0 15,-14 0 1,14 1-16</inkml:trace>
  <inkml:trace contextRef="#ctx0" brushRef="#br0" timeOffset="27960.59">13745 397 0</inkml:trace>
  <inkml:trace contextRef="#ctx0" brushRef="#br0" timeOffset="28255.54">14063 278 0,'0'13'15,"0"0"-15,0 1 0,0 12 0,-27 106 32,14-105-32,13 12 0,0-12 15,-13-14-15,13 40 0,0-27 16,-14-12-16,14-1 0,0 0 15,0 0-15,0 1 0,0-1 0,0 0 16,14-13-16,-14 13 0</inkml:trace>
  <inkml:trace contextRef="#ctx0" brushRef="#br0" timeOffset="28768.94">14777 661 0,'26'0'16,"-12"0"0,12 0-16,-13 0 0,14 0 15,-1 0-15,1 0 0,-1 0 0,1 0 16,39 0-16,-40 0 0,1 0 16,-1 0-16,1 0 0,-14 0 0,0 0 15,14 0-15,-14 0 0,0 0 16,0 0-16,0 0 0,1 0 15,-1 0-15,0 0 16,-13-13 0</inkml:trace>
  <inkml:trace contextRef="#ctx0" brushRef="#br0" timeOffset="29116.67">15200 516 0,'27'0'31,"-14"13"-31,0-13 0,0 0 15,14 13-15,-1 1 0,-12-14 16,-1 13-16,0-13 0,0 13 16,1 0-16,-1-13 0,0 14 15,0-1-15,0-13 0,1 13 0,-14 0 16,13-13-16,0 13 0,-13 1 0,0-1 16,0 0-16,0 0 15,0 1-15,-13-1 0,0 0 0,-14 0 16,14 1-16,-13-1 0,12 0 15,-12 0-15,-1-13 0,1 13 0</inkml:trace>
  <inkml:trace contextRef="#ctx0" brushRef="#br0" timeOffset="30071.58">16285 463 0,'-13'26'16,"13"-12"-16,0-1 0,0 0 16,0 0-16,0 1 15,0-1-15,0 0 0,-13 14 16,13-14-16,0 0 16,0 0-16,0 0 15</inkml:trace>
  <inkml:trace contextRef="#ctx0" brushRef="#br0" timeOffset="30600.86">16404 437 0,'0'26'16,"0"-52"-16,13 65 0,-13-26 0,0 1 15,0-1-15,0 0 16,0 0-16,0 1 0,0-1 16,0 0-16,14 0 15,-1-13 16,0 0-15,0-13-16,1 13 16,-1 0-16,0 0 15,0 0-15,0 0 16,-13 13-16,14-13 0,-1 14 16,0-1-16,-13 0 15,0 0 1,13 0-16</inkml:trace>
  <inkml:trace contextRef="#ctx0" brushRef="#br0" timeOffset="30995.63">16708 437 0,'0'-14'0,"-13"41"32,13-14-32,-13 0 15,13 0 1,0 1-16,0-1 31,13-13-15,0 13-16,1-13 15,-14 13-15,13-13 0,-13 14 16,13-14-16,-13 13 16,13 0-16,-13 0 15,-13 1-15,0-1 16,0-13-16,-1 0 0,14 13 16,-13-13-16,0 13 0,0-13 15,0 0-15,-1 0 0,1 0 16</inkml:trace>
  <inkml:trace contextRef="#ctx0" brushRef="#br0" timeOffset="31372.94">17039 503 0,'0'0'0,"-13"-14"0,0 14 15,-1 0-15,1 14 16,0-14-16,0 13 16,0 0-16,-1 0 15,14 1-15,0-1 0,0 0 16,0 0-16,14 1 0,-14-1 15,13-13-15,0 0 0,-13 13 16,13-13-16,0 0 0,1 0 16,12 0-1,-26-13-15,13 13 0,-13-13 0,14-14 16,-14 14 0,-14 0-1,14-1-15,-13 14 16,13-13-16,-13 13 0,0 0 15,-1 0 1</inkml:trace>
  <inkml:trace contextRef="#ctx0" brushRef="#br0" timeOffset="31619.55">17304 450 0,'0'-13'0,"0"26"0,26-26 16,-26 26-16,13-13 15,-13 13-15,14-13 16,-14 13-16,0 0 0,-14 1 16,14-1-16,0 0 0,-13 0 15,13 1-15,-13-1 0,0 0 0,13 0 16,-13 1-16,-1-14 0,-12 26 15,26-13-15,-13 0 0,-1-13 16</inkml:trace>
  <inkml:trace contextRef="#ctx0" brushRef="#br0" timeOffset="31915.79">17529 489 0,'0'-13'0,"-14"13"16,1-13 0,0 26-16,0-13 0,-1 13 15,1-13-15,0 14 0,0-1 16,0 0-16,13 0 15,0 1-15,0-1 16,0 0-16,13 0 16,-13 1-1,13-14 1</inkml:trace>
  <inkml:trace contextRef="#ctx0" brushRef="#br0" timeOffset="33052.96">14658 820 0,'-13'0'31,"26"13"-31,0 1 16,0-14-16,1 13 0,12 0 16,14 14-16,-14-1 0,14-13 0,13 0 15,0 14-15,0-1 0,66 41 16,-66-41-16,13 0 0,40 27 15,-53-26-15,-1-1 0,-12-12 16,0 12-16,0-13 0,-1 0 0,-12 1 16,-1-1-16,1-13 0,-14 13 15,13-13-15,-13 13 0,1-13 0,-14 14 0,13-14 16,0 0-16,0 0 16,1 13-16,-1-13 15,-13-13 79,0-1-94</inkml:trace>
  <inkml:trace contextRef="#ctx0" brushRef="#br0" timeOffset="33391.82">15756 1151 0,'13'26'31,"-13"-12"-15,13-1-16,1 0 0,-1 0 16,0 1-16,-13-1 0,13 0 15,1 0-15,-14 0 0,13 1 16,-13-1-16,0 0 0,0 0 0,0 1 16,0-1-16,0 0 0,-13 0 0,-1 1 15,1 12-15,-13 0 16,-1-12-16,1 12 0,12-13 15,-12 1-15,13-1 0,0 0 0,-27 0 16,27 1-16,-1-14 16,1 0-16</inkml:trace>
  <inkml:trace contextRef="#ctx0" brushRef="#br0" timeOffset="33807.54">16457 1270 0,'-13'13'0,"26"-26"0,-26 39 0,13-12 32,13-1-32,-13 0 0,27 0 15,-14 1-15,0-14 0,0 13 16,0 0-16,1-13 0,-1 13 16,-13 1-16,13-14 0,0 13 0,1 0 15,-1 0-15,-13 0 16,-13 1-1,-1-14-15,14 13 0,-13-13 16,0 0-16,0 0 0,-1 13 16,-12-13-16,0 0 0,12 0 15,1 0-15,0 0 0,0 0 0,-1-13 16,1 0 0</inkml:trace>
  <inkml:trace contextRef="#ctx0" brushRef="#br0" timeOffset="34284.73">16814 1151 0,'14'0'0,"-14"13"16,0 0 0,0 1-16,0-1 0,0 13 15,0 14-15,0-14 0,0 1 0,0-1 16,0 14-16,-14 0 0,14-1 15,0 1-15,-13 0 0,0 0 16,13-14-16,-13 0 0,13 1 0,-14-14 16,14 14-16,0-14 0,0 0 0,-13 0 15,13 0-15,0 1 16,-13-41 15,26 1-31,-13-1 0,13 1 16,-13-14-16,14 1 0,-1-1 15,0 0-15,0 14 0,1-14 0,-1 14 16,0-1-16,0 14 0,-13 0 0,27-14 16,-14 14-16,0 0 15,0 13-15,1 0 0,12 0 16,-13 13 0,-13 0-1,0 0-15,0 1 0,-13-1 16,0-13-16,0 13 0,-1 0 15,-12 1-15,13-14 0,-1 13 16,1-13-16,0 13 0,0-13 31</inkml:trace>
  <inkml:trace contextRef="#ctx0" brushRef="#br0" timeOffset="35334.66">17251 1270 0,'-53'0'31,"40"0"-31,-1 0 0,1 13 16,0-13-16,0 13 0,0-13 0,-1 14 15,1-14-15,0 13 0,13 0 16,-13-13-16,13 13 0,-14 1 0,1-1 16,13 0-16,0 0 15,0 1-15,13-1 16,1-13 0,-1 0-1,0-13 1,0 13-1,1-14-15,-14 1 16,13 13 0,-13-13-16,13 13 15,-13-13 32,13 26-16,-13 0-15,13 0 0,1-13 15,-14 14-31,13-14 16,0-14-1,0 14-15,1 0 0,-14-13 16,13 13-16,0 0 15,0-13-15,1 13 16,-1-13-16,0 13 16,0 0-1,0 0 17,-13 13-32,14-13 15,-14 13 1,0 0-1,13-13-15,-13 14 16,0-1 15,26-26 1,-26-1-17,14 14-15,-1 0 16,0-13-1,0 13 1,-13 13-16,13-13 16,1 14-1,-1-1 1,-13 0 0,13-13-1,0 0 32,1 0-31,-1-13-1,0 13 1,-13-13 0,13 13-16,1-14 0,-1 1 15,0 13-15,-13-13 0,26 0 16</inkml:trace>
  <inkml:trace contextRef="#ctx0" brushRef="#br0" timeOffset="37365.51">14645 873 0,'-14'0'0,"1"-13"94,0 0-78,0-1-1,0 1 1,-1 13 0,1-13-16,0 0 15,0 13-15,-1-13 16,1 13-16,13-14 16,-13 14-16,0 0 0,-1-13 15,1 13-15,0 0 16,0-13-1,0 13 32,39-13 16,-13 13-63,0-14 15,1 14-15,-1 0 0,13-13 0,-12 13 16,12 0-16,1-13 0,-14 13 0,40-13 16,-27-1-16,-13 14 15,1-13-15,-1 13 0,0 0 16,0-13-16,1 13 0,-1 0 0,0 0 16,-13-13-16,13 13 15</inkml:trace>
  <inkml:trace contextRef="#ctx0" brushRef="#br0" timeOffset="41659.67">16179 357 0</inkml:trace>
  <inkml:trace contextRef="#ctx0" brushRef="#br0" timeOffset="43362.78">16404 476 0,'13'0'0,"-26"13"78,13 1-63,0-1-15,0 0 0,-13 0 16,13 1-16,0-1 16,0 0-16,0 0 15,0 1-15,0-1 0,-13 0 16,13 0-16,0 0 0,0 1 16,0-1-1,0 0 1,0 0-16,0 1 15,-14-1 32,14 0 16,0-39 46,0 12-109,0 1 16,0 0-1,14 0 1,-14-1-16,0 1 16,0 0-1,13 13-15,-13-13 16,13 0 0,0 13-1,-13-14 1,14 14-16,-1 0 15,0 0-15,0-13 16,1 13 0,-1 0-16,0 0 15,0 0-15,-13-13 16,13 13 0,1 0-16,-1 13 15,0-13 1,0 0-16,-13 13 15,14 1 1,-14-1-16,13 0 31,-13 0-31,0 0 16,0 1 0,0-1-1,0 0 16</inkml:trace>
  <inkml:trace contextRef="#ctx0" brushRef="#br0" timeOffset="45123.65">16735 463 0,'0'-13'78,"0"0"-62,0-1-1,0 1 1,0 0-16,0 0 0,0-1 16,0 1-16,0 0 15,0 0 1,0 0-1,-13 26 17,-1 0-17,14 0 1,0 0-16,-13-13 0,13 14 16,0-1-16,0 0 0,-13 0 0,13 1 15,0-1-15,-13 0 0,13 0 16,0 0-16,-13 1 0,13-1 15,0 0-15,0 0 0,-14 1 16,14 12-16,0-13 0,0 1 16,0-1-1,-13 13 1,13-13-16,0 1 16,0-1 15,0 0-16,0-39 126</inkml:trace>
  <inkml:trace contextRef="#ctx0" brushRef="#br0" timeOffset="46488.59">17317 437 0,'13'0'16,"-13"-14"0,13 28 15,1-14-31,-14 13 15,13-13-15,-13 13 0,0 0 16,13 0-16,-13 1 0,0-1 16,0 0-16,0 0 0,0 1 15,0-1-15,-13 0 0,13 0 0,0 1 16,-13-1-16,-1 0 0,14 0 16,-13 0-16,0-13 0,0 14 0,13-1 15,-13-13-15,-1 13 0,1 0 16,0-13-1</inkml:trace>
  <inkml:trace contextRef="#ctx0" brushRef="#br0" timeOffset="46904.57">17542 450 0,'0'0'0,"-13"13"16,-1-13-16,14 13 15,-13-13-15,0 13 0,0 1 16,-14 52 0,27-53-1,-13 0-15,26-13 0,-13 27 16,0-14 0,13-13-16,-13 13 0,14 0 15,-1 1-15,0-14 16,-13 13-16,13-13 15,1 0-15,-1 0 16,0 0 15</inkml:trace>
  <inkml:trace contextRef="#ctx0" brushRef="#br0" timeOffset="49806.85">17992 556 0,'26'-14'32,"-13"14"-17,1 0-15,-1-13 16,0 13-16,0 0 15,1 0 1,-1 0-16,0 13 16,0 1-1,-13-1 1,0 13-16,13-12 0,-13 25 16,0-26-16,0 14 0,0-1 0,0 1 15,14-1-15,-14 1 0,0-1 16,0 1-16,0-1 0,0 1 15,13-1-15,-13 0 0,0-12 0,0 12 16,13 1-16,-13-1 0,0-13 0,0 14 16,13-14-16,-13 13 0,0-12 15,0-1-15,14 0 0,-14 0 0,0 1 16,0-1-16,0 0 0,0 0 16,0 1-16,0-1 15,-14-13-15,14 13 0,-13-13 16,0 0-16,0 13 0,-1-13 15,1 0-15,0 0 0,0 0 16,0 0-16,-1 0 0,1 0 16,-13 0-16,12 0 15,1-13 1</inkml:trace>
  <inkml:trace contextRef="#ctx0" brushRef="#br0" timeOffset="50166.05">18230 979 0,'13'-13'16,"0"13"-1,27 0 1,-14 0-16,1 0 0,13 0 16,-14 0-16,0 0 0,1 0 0,-1 0 15,1 0-15,-14-14 0,14 14 16,-1 0-16,-13 0 0,0 0 15,14 0-15,-14 0 0,0 0 0,1 0 16,-1 0-16,0 0 0,-13-13 16,13 13-16,0-13 15,-13 0-15</inkml:trace>
  <inkml:trace contextRef="#ctx0" brushRef="#br0" timeOffset="50456.67">18600 781 0,'27'13'15,"-14"-13"1,0 0-16,0 13 0,1-13 16,-1 13-16,0-13 0,27 27 15,-27-27-15,0 13 0,0 0 0,1 0 16,-1 1-16,-13-1 0,13 13 15,-13-13-15,13-13 0,-13 14 16,-13-1-16,13 0 0,0 0 0,-26 1 16,26-1-16,-14 0 15,1 0-15,0 1 0,0-14 0,-1 13 16,14 0-16,-13-13 0,0 13 16,0-13-16,0 13 15</inkml:trace>
  <inkml:trace contextRef="#ctx0" brushRef="#br0" timeOffset="51403.58">19500 807 0,'-13'0'0,"26"0"0,-53 0 15,40 13-15,-13-13 0,0 13 0,-1-13 16,1 14-16,0-1 0,0 0 0,0 14 16,-1-14-16,14 0 0,-13 13 15,13-12-15,-13-1 0,13 0 16,13 14-16,-13-14 15,13 0-15,-13 0 0,14-13 0,-1 14 0,0-14 16,0 13-16,0-13 16,14 0-16,-14 0 0,0-13 0,14 13 0,-1-14 15,-13 1-15,40-13 0,-26-1 16,-14 1-16,14 12 16,-1-12-16,0 0 0,-12-14 0,12 0 15,-13 14-15,1-14 0,12 14 0,-13-14 16,-13 27-16,14-14 0,-1 14 0,-13 0 15,0 0-15,13-1 16,-39 28 0,12-1-1,1 0-15,0 13 0,0 1 0,-1-1 16,1 1-16,0-1 0,0 1 16,-1-1-16,14-13 0,0 14 15,-13-14-15,13 14 0,0-14 0,13 0 0,-13 0 16,0 0-16,14-13 0,-14 14 15,13-14-15,0 13 0,0 0 16,1-13-16,-1 0 0,0 0 0,0 0 16,1 0-16,-1 0 0,0-13 0,13 13 15,-12 0-15,-1-13 0,0-1 0,0 14 16,1 0-16,-1-13 16,0 0-16,-13 0 15,13 13-15,-13-13 16,-26 13-1,13 0 1,13 13-16,-14-13 0,1 13 16,0 0-16,0 0 15,26-13 17,-13 14-32,13-14 15,0 0-15,1-14 16,-1 14-16,0 0 15,0-13-15,-13 0 16,13 13-16,1-13 0,-14 0 16,13 13-1,-26 13 17,-1 0-32,14 0 15,-13 0 1,26-13-16,-13 14 0,0-1 15,14-13 1,-1 0-16,0 0 16,14 0-16,-14 0 15</inkml:trace>
  <inkml:trace contextRef="#ctx0" brushRef="#br0" timeOffset="51727.85">20241 873 0,'-14'0'0,"-12"-13"31,13 13-31,13 13 16,-14-13 0,14 13-16,14 1 0,-14-1 15,13 0-15,-13 0 16,0 0-16,13-13 0,-13 14 15,13-14-15,-13 13 0,0 0 0,0 0 16,0 1-16,0-1 16,0 0-1,-13-13-15,0 13 0,0-13 16,-1 0 0,1 0-16,0 0 15,13-13 1,13 0-1</inkml:trace>
  <inkml:trace contextRef="#ctx0" brushRef="#br0" timeOffset="52048.65">20373 860 0,'0'-13'16,"0"26"30,0 0-30,0 0-16,0 1 0,0-1 16,0 0-16,13 0 0,-13 0 15,13 1 1,-13-1-16,0 0 0,14 0 16,-14 1-16,0-1 15,-14 0 1,14 0-16,-13-13 15,0 14-15,0-14 16,-1 0-16,14 13 0,-13-13 16,0 0-1,13-13 1</inkml:trace>
  <inkml:trace contextRef="#ctx0" brushRef="#br0" timeOffset="52231.33">20598 913 0,'0'0'16,"13"0"0,-13 13-1,0 0 1,0 0-16,-13-13 16,13 14-16,0-1 0,-13 0 15,13 0-15,-14 1 16</inkml:trace>
  <inkml:trace contextRef="#ctx0" brushRef="#br0" timeOffset="52380.91">20690 781 0,'0'-14'0,"0"28"0,0-41 15</inkml:trace>
  <inkml:trace contextRef="#ctx0" brushRef="#br0" timeOffset="52980.61">21074 529 0,'-13'-13'15,"0"26"1,-1-13-16,1 27 15,13-14-15,-13 13 0,0-12 16,13 12-16,-14 14 0,1 26 16,0-40-16,13 14 0,-13-14 15,13 1-15,-13 13 0,-1-14 0,1 14 16,0-14-16,13 1 16,-13-1-16,-1-13 0,14 1 0,-13-1 15,13 13-15,-13-13 0,0-13 0,13 14 16,-14-1-16,1 0 0,0-13 15,0 0 1,13-13 0,0 0-16,0-1 15,13 1-15,0 0 0,-13 0 16,13 0-16,1-1 16,-1 14-16,13-26 0,1-1 15,-1 14-15,1 0 0,12-14 16,-25 14-16,-1 0 0,0 13 0,14-13 15,-14 0-15,0-1 16,0 14-16,1 0 0,-1 0 31,-13 14-31,0-1 16,0 0-16,0 0 16,0 0-16,-13-13 0,13 14 15,0-1-15,-14-13 16,14 13-1</inkml:trace>
  <inkml:trace contextRef="#ctx0" brushRef="#br0" timeOffset="53095.57">21167 794 0</inkml:trace>
  <inkml:trace contextRef="#ctx0" brushRef="#br0" timeOffset="54099.68">21497 767 0,'-13'14'0,"0"-14"16,0 13-16,-1 0 0,1-13 16,0 26-16,-40 27 31,53-39-31,0-1 16,0 0-16,13 0 15,1-13-15,-1 13 16,0-13-16,0 0 0,0 0 0,14 0 15,-14 0-15,0 0 0,40 0 16,-39 0-16,12-13 0,-13 13 16,14-13-16,-14 13 0,0-13 0,14 13 15,-14-13-15,0 13 0,0-14 16,-13 1-16,-13 0 31,0 13-31,0 0 16,-1 0-16,1 13 15,0-13-15,0 0 16,-1 13 0,14 1-1,14-1 17,-1-13-32,0 0 15,0 0-15,1 0 16,-1 0-16,0 13 15,0-13-15,1 0 16,12 0 0,-13-13-16,0 13 15,1 0-15,-14-13 0,13 13 16,0-14-16,0 14 0,14-13 0,-14 0 16,0 0-16,14-14 0,-1 1 0,-13-1 15,14 1-15,-14-1 0,0 14 16,1-13-16,-1 12 0,0 1 15,-13 0-15,13 13 0,-13-13 0,0 39 32,0-13-17,0 1-15,-13-1 0,13 0 16,-13 0-16,13 14 0,0-14 0,-13 0 16,13 1-16,-14 12 0,14-13 0,-13 0 15,13 1-15,-13-1 0,13 0 16,-13-13-16,13 13 0,-14-13 15,14 14-15,-13-14 16,0 0-16,0 0 16,0 0-16,13-14 15,13 1 1,0 0 0,0 13-16,0-13 0,1-1 0,12 1 15,1 13-15,-14-13 0,0 13 16,0-13-16,0 13 15,1 0-15,-14-13 0,13 13 0,0 0 16,0 0 0,1 0-16,-14 13 0,13-13 15,-13 13-15,0 0 16,0 0-16,0 1 16,0-1-16,0 0 15,0 0-15,-13 1 16</inkml:trace>
  <inkml:trace contextRef="#ctx0" brushRef="#br0" timeOffset="54246.68">22318 701 0</inkml:trace>
  <inkml:trace contextRef="#ctx0" brushRef="#br0" timeOffset="54824.55">22384 767 0,'-13'14'16,"26"-28"-16,-40 28 0,27-1 0,-13 0 15,13 0-15,0 0 16,0 1 0,13-14-1,1 0 1,-1 0-16,0 0 15,-13-14-15,13 14 16,-13-13-16,0 0 16,0 0-16,-13 0 15,0-1 1,0 14 0,-1 14-1,28-1 16,-1 0-15,0-13 0,0 13-16,0-13 15,1 13 1,-1 1 0,0-14-1,0 0 1,1 13-1,-1-13-15,0 0 0,0 0 16,14 0-16,-14 0 0,0 0 16,0 0-16,1 0 0,-1 0 15,-40 13 17,14-13-32,0 0 15,-27 13-15</inkml:trace>
  <inkml:trace contextRef="#ctx0" brushRef="#br0" timeOffset="55272.72">20069 1111 0,'119'0'16,"-80"0"-1,1 0-15,13 0 0,-13 0 0,-14 0 16,14 0-16,0 0 0,-14 0 0,14 0 15,-14 13-15,1-13 0,-1 0 0,-13 0 16,14 0-16,-14 0 0,0 0 16,-13 14-16</inkml:trace>
  <inkml:trace contextRef="#ctx0" brushRef="#br0" timeOffset="55690.44">19764 1191 0,'27'13'16,"-14"-13"-16,14 0 0,-14 0 0,26 0 16,-12 0-16,-1 0 0,14 0 15,13 0-15,0 0 0,0 0 0,39 0 16,-39 13-16,-13-13 15,13 0-15,-27 0 0,-12 0 16,25 0-16,-25 0 0,-1 0 16,0 0-16,-13 13 0,13-13 15,0 0-15,1 0 0,-1 0 16,0 0 0,0 0-1,1 0 1,-1 0-1</inkml:trace>
  <inkml:trace contextRef="#ctx0" brushRef="#br0" timeOffset="58527.78">7501 12965 0,'0'39'31,"0"-25"-31,0-1 0,0 0 16,0 0-16,0 0 0,0 14 15,0 13-15,0-27 0,-13 0 16,13 13-16,0-12 0,-14-1 16,1 27-16,13-27 15,-13 0-15</inkml:trace>
  <inkml:trace contextRef="#ctx0" brushRef="#br0" timeOffset="58887.6">7594 13110 0,'-14'0'16,"1"27"0,13-14-16,0 13 15,0-13-15,0 14 16,13-14-16,1 0 15,-1-13 1,-13 14-16,13-14 16,0-14-16,0 14 0,1-13 15,-14 0 1,0 0-16,0-1 16,-14 1-16,14 0 15,-13 0-15,0 0 31,0 26-31,0-13 16</inkml:trace>
  <inkml:trace contextRef="#ctx0" brushRef="#br0" timeOffset="59182.51">7766 13137 0,'0'0'15,"0"13"-15,0 0 0,13-13 16,-13 13-16,0 0 0,0 1 16,13-14-16,-13 13 0,13 0 15,0-13-15,-13 13 16,14-13-16,12 0 16,-13 0-16,1-13 15,-1 13-15,-13-13 0,13 13 16,-13-13-16,0-1 15,0 1-15,0 0 0,-13 0 16,0 0 0,-1-1-1,1 14 1,0 14 0</inkml:trace>
  <inkml:trace contextRef="#ctx0" brushRef="#br0" timeOffset="59564.87">8136 13163 0,'-13'13'16,"13"0"-16,-14 1 16,14-1-16,0 0 15,0 0-15,0 1 0,0-1 16,0 0-16,14-13 0,-14 13 16,13-13-16,0 14 15,0-28 1,1 14-16,-1-13 15,-13 0-15,13 13 0,-13-13 16,0-1-16,0 1 16,-13 13-16,13-13 0,0 0 0,-13-1 15,13 1-15,-14 0 16</inkml:trace>
  <inkml:trace contextRef="#ctx0" brushRef="#br0" timeOffset="60144.46">8506 13216 0,'27'0'32,"-14"0"-32,0 0 0,0 0 0,14 0 15,-14 0-15,0 0 0,14 0 16,-14 0-16,0 0 0,1 0 0,-1 0 15,0 0-15,13-13 16,-12 13-16</inkml:trace>
  <inkml:trace contextRef="#ctx0" brushRef="#br0" timeOffset="60404.15">8692 13070 0,'26'14'31,"-13"-1"-31,0 0 16,1-13-16,-1 13 0,0 1 15,0-1-15,1 0 16,-14 0-16,13 0 0,-13 1 15,0-1-15,0 0 16,-13 0-16,13 1 0,0-1 16,0 0-16</inkml:trace>
  <inkml:trace contextRef="#ctx0" brushRef="#br0" timeOffset="60729.66">9141 13057 0,'0'13'15,"0"1"-15,0-1 0,-13 0 16,13 0-16,0 1 16,0-1-16,-13 0 0,13 0 15,0 0-15,-13 1 0,13-1 16</inkml:trace>
  <inkml:trace contextRef="#ctx0" brushRef="#br0" timeOffset="60922.7">9102 12898 0,'-27'0'16</inkml:trace>
  <inkml:trace contextRef="#ctx0" brushRef="#br0" timeOffset="61451.64">9313 13044 0,'0'26'15,"-13"-12"1,13-1-16,0 0 16,0 0-16,0 1 15,0-1 1,27-26 31,-14 13-32,0 0 1,0 0 15,0 0 1,1 0-1,-1 0-16,0 0 1,0 0 0,1 0-1,-1 0-15,0-14 16,0 14-16,1 0 16,-14-13-16,13 13 15,0 0-15</inkml:trace>
  <inkml:trace contextRef="#ctx0" brushRef="#br0" timeOffset="61988.79">9737 13031 0,'-14'0'31,"1"13"-31,0-13 0,0 13 16,0-13-16,13 13 0,-14-13 16,14 14-16,-13-1 15,13 0-15,0 0 16,0 1-16,13-14 31,1 0-31,-1-14 16,0 14-16,0-13 15,0 13 17,1 0-1,-14 13-31,13-13 16,0 14-16,0-1 15,1-13 1,-1 0-1,-13 13-15,26-13 0</inkml:trace>
  <inkml:trace contextRef="#ctx0" brushRef="#br0" timeOffset="62707.35">10028 13084 0,'0'-14'16,"-14"14"-16,1 0 15,0 0-15,0 0 16,13 14-16,-13-14 16,-1 0-16,14 13 15,-13-13-15,13 13 16,-13-13-16,13 13 15,0 1-15,0-1 16,0 0-16,13-13 16,-13 13-16,0 0 15,0 1-15,0-1 0,0 0 16,0 0-16,-13 1 16,13-1-1,-53 27 32,93-80 16,-14 27-48,80-80 79,-93 159-94,0-53 16,1-13-16,-1 0 15,0 0-15</inkml:trace>
  <inkml:trace contextRef="#ctx0" brushRef="#br0" timeOffset="63358.46">10557 13242 0,'-13'-13'31,"13"26"16,0 1-15,13-14 77,0 0-93,0 0-1,1-14-15,-1 14 0,0 0 16,0-13-16,14 0 0,-14 13 0,0-13 0,14 13 15,-14-14-15,13 14 0,-12 0 0,-1-13 16,0 13-16,0 0 0,0-13 16,1 13-16,-1 0 0,0 0 0,-13-13 15,13 13-15,1 0 0,-1 0 16,0 0 0,-13-13-16,13 13 15,1 0 16</inkml:trace>
  <inkml:trace contextRef="#ctx0" brushRef="#br0" timeOffset="63831.77">10901 13057 0,'0'0'0,"13"13"47,0-13-31,1 14-16,-1-14 15,-13 13-15,13-13 0,0 13 16,0-13-16,-13 13 0,0 1 16,14-1-1,-28 0-15,14 0 0,-13 0 16,13 1-16,-13-14 0,13 13 16,-13 0-1,13 0-15,-13-13 0</inkml:trace>
  <inkml:trace contextRef="#ctx0" brushRef="#br0" timeOffset="64986.87">11761 12806 0,'0'0'0,"-13"-13"0,-1 13 16,1 0-1,0 0-15,0 13 16,-1-13 0,14 13-16,-13 0 0,13 1 15,-13-1-15,13 0 0,-13 0 0,13 0 16,0 1-16,-14-1 0,14 0 0,0 0 15,0 1-15,0-1 0,14 0 16,-14 14-16,13-14 16,-13 0-16,13 0 0,0 0 15,-13 1-15,14-14 16,-14 13-16,13-13 0,0 13 16,0-13-16,1 0 15,-1 0 1,0 0-16,0 0 15</inkml:trace>
  <inkml:trace contextRef="#ctx0" brushRef="#br0" timeOffset="66437.13">12105 13044 0,'0'-13'16,"-27"0"-1,27-1 1,-13 28-16,-13-14 16,12 0-16,1 13 15,0-13-15,0 13 0,-1-13 16,14 13-16,-13-13 0,13 13 0,-13 1 15,13-1-15,-13-13 16,13 13-16,13 0 16,0-13-16,0 0 15,1 0-15,-1 0 0,0 0 16,0 0-16,1-13 0,-1 13 16,0-13-16,0 0 0,0 13 0,1-14 15,-1 1-15,0 0 16,0 0-16,1 26 47,-14 0-32,13-13-15,-13 13 16,13-13 0,-13 14-16,13-14 15,14-14-15,-14 14 16,0-13-16,0 13 0,1-13 15,-14 0-15,13 0 0,0-14 16,0 14-16,1-14 0,-1 14 0,0-13 16,-13-1-16,13 14 0,-13 0 0,13 0 15,-13-1-15,14 1 0,-14 0 16,13 13-16,-13 26 16,0-12-1,-13-1-15,13 0 0,0 0 16,0 0-16,0 1 0,0 12 0,0-13 15,13 1-15,-13-1 0,0 0 0,0 0 16,0 1-16,13-14 0,-13 13 16,13 0-16,1 0 15,-1-26-15,0 13 16,-13-13 0</inkml:trace>
  <inkml:trace contextRef="#ctx0" brushRef="#br0" timeOffset="66647.63">12263 12885 0,'0'0'0,"-13"0"0,13 13 15,13 1 1,1-14-16,-1 0 0,0 0 16,0-14-16,14 14 0,-14 0 15,13 0-15,1 0 0,-1-13 0,14 13 16,-13 0-16,-14-13 0,13 13 15,-13 0-15,1 0 16,-28 26 15</inkml:trace>
  <inkml:trace contextRef="#ctx0" brushRef="#br0" timeOffset="67286.59">10729 13388 0,'0'0'16,"40"13"-1,-27 0-15,0 1 0,13-1 16,1 0-16,26 27 0,-27-27 16,14 13-16,-14-12 0,1 12 0,-14-13 15,14 1-15,-14-1 0,0 0 16,13 0-16,-12 14 0,-1-27 15,0 13-15,0 0 0,1 0 16,-1 1-16,0-1 31</inkml:trace>
  <inkml:trace contextRef="#ctx0" brushRef="#br0" timeOffset="67568.5">11205 13547 0,'27'13'16,"-27"0"-1,13-13-15,-13 13 0,13 1 0,-13-1 16,0 0-16,13-13 0,-13 13 15,13 0-15,-13 1 0,14-1 16,-14 0-16,0 0 0,0 14 16,0-14-16,0 0 0,0 1 0,0-1 0,0 0 15,-14-13-15,14 13 0,-13 0 16,13 1-16,0-1 0,-13-13 0,13 13 16</inkml:trace>
  <inkml:trace contextRef="#ctx0" brushRef="#br0" timeOffset="67964.37">12065 13626 0,'-13'53'16,"13"-40"-16,0 0 0,0 1 15,0-1-15,13 0 0,-13 0 16,0 14-16,0-14 0,0 0 16,0 0-16,13 1 0,-13-1 15</inkml:trace>
  <inkml:trace contextRef="#ctx0" brushRef="#br0" timeOffset="68258.75">12039 13639 0,'0'0'16,"39"-39"-1,-12 39-15,-14 13 16,0-13-16,0 13 0,1-13 16,-1 13-16,0 0 15,-13 1-15,13-1 0,1 0 0,-14 14 16,13-1-16,-13-13 0,0 14 0,0-14 16,0 0-16,0 14 0,-13-1 15,13-13-15,-14 1 0,1 12 0,0-13 16,13 1-16,-27 12 0,14-26 15,0 0-15,13 13 0,-13-13 16,-1 0-16,1-13 16</inkml:trace>
  <inkml:trace contextRef="#ctx0" brushRef="#br0" timeOffset="68643.85">12343 13758 0,'-13'14'16,"13"-1"-16,0 0 15,0 0-15,0 0 16,0 1-16,0-1 0,13-13 15,-13 13-15,13 0 0,0-13 16,0 0-16,14 14 16,-14-28-16,0 14 0,1 0 15,-14-13-15,13 13 0,-13-13 16,13 13-16,-13-13 0,0-1 16,0 1-16,0 0 0,-13 0 15,13 0-15,-13 13 0,13-14 16,-14 14-16,14-13 0,-13 13 15,0 0-15,0 0 16,13 13 0</inkml:trace>
  <inkml:trace contextRef="#ctx0" brushRef="#br0" timeOffset="69107.14">12607 13719 0,'-26'0'0,"52"0"0,-65 0 0,25 13 16,1-13-16,13 13 15,-13-13-15,13 13 16,13 1-1,-13-1-15,13 0 0,1 0 16,-1 0-16,0 1 16,0-1-16,-13 0 0,14 0 0,-14 1 15,13 12-15,-13-13 0,0 1 0,0 12 16,0-13-16,-13 0 0,13 1 16,-14-1-16,1 0 0,13 0 15,-13 1-15,0-1 0,-1-13 16,1 0-1,0-13 1,26-1-16,-13 1 0,0 0 0,13-14 16,1 14-16,-1 0 0,0-13 0,14-1 15,-14 14-15,0 0 0,0-1 16,14 1-16,-14 0 0,13-14 16,-12 14-16,-1 0 0,0 0 0,0 13 15,1-13-15,-14-1 0,26 1 16,-26 0-16,13 13 0,1-13 15,-14-1-15</inkml:trace>
  <inkml:trace contextRef="#ctx0" brushRef="#br0" timeOffset="-163760.43">2077 4498 0,'0'13'0,"13"-13"16</inkml:trace>
  <inkml:trace contextRef="#ctx0" brushRef="#br0" timeOffset="-162577.05">2117 5001 0</inkml:trace>
  <inkml:trace contextRef="#ctx0" brushRef="#br0" timeOffset="-161768.09">5345 2421 0,'0'13'15,"13"-13"48</inkml:trace>
  <inkml:trace contextRef="#ctx0" brushRef="#br0" timeOffset="-137979.21">3903 4908 0,'13'0'0,"13"0"16,-12 0-1,-1 0-15,0 0 16,0 0-16,0 0 0,1 0 15,-1 0-15,0 0 0,0 0 0,1 0 16,-1 0-16,0 0 0,0 0 16,1 0-16,-1 0 0,13 0 15,-13 0 1,1-13-16,-1 13 16,0 0-16,0 0 15</inkml:trace>
  <inkml:trace contextRef="#ctx0" brushRef="#br0" timeOffset="-137564.41">4101 4921 0,'0'-13'16,"-13"39"15,13-12-31,-13-1 0,13 0 16,-14 0-16,14 1 0,-13-1 16,13 0-16,-13 0 0,13 1 15,0-1-15,-13-13 0,13 13 0,0 0 16,-14 0-16,14 1 0,-13-14 15,13 13-15,0 0 16,-13-13-16,13 13 16,13-39 15,0 26-15</inkml:trace>
  <inkml:trace contextRef="#ctx0" brushRef="#br0" timeOffset="-136564.7">4220 5093 0,'0'-13'46,"0"0"-30,13 13 0,-13-13-16,0-1 15,14 14-15,-14-13 0,13 0 32,0 13-17,0 0 1,-13 13-1,13 0-15,-13 1 16,0-1-16,14-13 16,-14 13-16,0 0 15,13 0-15,0 1 16,-13-1 0,13-13-16,14 0 15,-14 0 1,-13-13-16,13 13 0,-13-14 15,14 14-15,-14-13 0,13 0 16,-13 0-16,13 0 0,0-1 16,-13-12-16,13 13 0,-13-1 15,14 1-15,-14 0 0,13 0 0,-13-1 16,13 1-16,-13 0 0,0 0 16,13 13-16,-13-13 0,0-1 15,0 1 1,14 13-16,-14-13 15,0 0 17,13-1 30,-13 1 94,-13 40-93,-1-27-47</inkml:trace>
  <inkml:trace contextRef="#ctx0" brushRef="#br0" timeOffset="-135933.13">4273 5040 0,'0'27'31,"-13"-14"-31,13 0 16,-13 0-16,13 1 0,-14-1 15,14 0-15,-13-13 16,13 13-16,-13 1 0,13-1 16,-13 0-16,-1 0 31,28-26 47,-1 0-78</inkml:trace>
  <inkml:trace contextRef="#ctx0" brushRef="#br0" timeOffset="-129208.15">8652 2884 0,'0'13'16</inkml:trace>
  <inkml:trace contextRef="#ctx0" brushRef="#br0" timeOffset="-126179.25">7104 6601 0,'27'-13'16,"-14"13"-1,0 0-15,0 0 0,0 0 0,1 0 16,-1 0-16,13 0 16,-12 0-16,-1 0 0,0 0 0,0 0 15,0 0-15,1 0 0,-1 0 16,0 0-16,0-13 0,14 13 0,-14 0 15,14 0 1,-1 0 0,-13 0-16,0 0 15</inkml:trace>
  <inkml:trace contextRef="#ctx0" brushRef="#br0" timeOffset="-125891.1">7302 6588 0,'-13'0'0,"0"13"16,13 1-16,-13-1 15,13 0-15,-13 0 16,13 1-16,-14-1 0,14 0 16,0 0-16,-13 0 0,13 1 15,0-1-15,0 0 0,-13 0 16,13 1-16,0-1 0,-13 0 16,26 0 15,0-13-31</inkml:trace>
  <inkml:trace contextRef="#ctx0" brushRef="#br0" timeOffset="-125258.12">7580 6654 0,'14'0'0,"-28"27"47,14-14-47,-13 0 16,13 0-16,-13 1 0,13-1 15,0 0-15,-13-13 0,13 13 16,0 1-16,0-1 0,-14-13 0,14 13 15,0 0-15,-13-13 16,13 13-16,0-26 63,0 0-63,0 0 15,0 0-15,0-1 0,13 1 16,-13 0-16,0 0 15,14-1-15,-14 1 0,0 0 16,13 13-16,-13-13 0,13 0 16,-13-1-16,13 1 0,1 0 0,-14 0 15,13 13-15,0-14 0,0 14 16,-13-13-16,13 13 16,1 0-16,-14-13 0,13 13 15,13 13-15,-12-13 16,-1 13-16,-13 1 15,0-1 1,0 0 0,-13 0-16,-1 1 15,1-14-15,13 13 0,-13-13 16,0 13-16,-1-13 0,1 13 0,0-13 16,0 0-16,0 13 15,-1-13-15,1 0 0,0 0 0,0 14 31</inkml:trace>
  <inkml:trace contextRef="#ctx0" brushRef="#br0" timeOffset="-120863.35">6562 5596 0,'-14'13'15,"41"-39"17,-14 26-32,0-14 0,14 1 15,-1-13-15,1 13 0,12-14 0,-12 14 16,26-14-16,-27 1 0,27 0 0,-13-1 15,0 14-15,12-14 0,-12 14 16,0 0-16,-14 0 0,1-1 0,-1 1 16,1 0-16,-14 13 0,0-13 0,0 13 15,1-13-15,-1 13 0,0-14 0,0 14 16,0-13-16,1 13 16,-14-13-1,13 0 1,-13-1-1,-13 1 1</inkml:trace>
  <inkml:trace contextRef="#ctx0" brushRef="#br0" timeOffset="-120525.35">7223 5067 0,'13'0'31,"14"0"-15,-14 0-16,0 0 0,0 0 15,1 0-15,-1 0 0,0 0 16,14 0-16,-14 0 0,0 0 15,0 0-15,1 13 0,-1-13 16,-13 13-16,13-13 0,-13 13 0,0 1 16,0-1-1,0 0-15,-13-13 0,13 13 0,0 1 16,-13-1-16,13 0 0,0 0 0,-14 1 16,1-1-16,13 0 0,-13-13 15,0 26-15,13-12 0,-14-1 16,1 0-16</inkml:trace>
  <inkml:trace contextRef="#ctx0" brushRef="#br0" timeOffset="-119770.9">6601 5464 0,'-13'26'31,"13"-13"-31,-13 1 16,13-1-16,-13 0 15,13 0-15,-14 0 0,14 1 16,-13-1-16,13 0 0,-13 0 16,13 1-16,0-1 15,-13 0-15,26 0 16,0-13-16,0 0 15,1 0-15,-1 0 16,0 0-16,0 0 0,1 0 0,-1-13 16,0 13-16,14 0 0,-14 0 0,0 0 15,0 0-15,0 0 16,1 0-16,-1-13 0,0 13 31,0 13-15</inkml:trace>
  <inkml:trace contextRef="#ctx0" brushRef="#br0" timeOffset="-112686.18">1931 6787 0,'14'0'0,"25"0"31,-25 0-31,12 0 16,-13 0-16,1 0 16,-1 0-16,-40 13 46,1-13-46,13 0 16,-1 0-16,1 0 16,0 0-16,0 0 15,-1 0 1,1 0 0,40 13 30,-14-13-30,0 0 0,0 0-1,-39 13 79,13-26 187,-1 13-265,14-13-16</inkml:trace>
  <inkml:trace contextRef="#ctx0" brushRef="#br0" timeOffset="-111127.54">5146 3532 0,'13'13'62,"1"-13"-62,-1 0 16,0 0-1,0 0-15,1 0 16,-41 0 46,14 0-62,-14 0 16,14 0-16,0 0 16,0 0-16,-1 0 15,1 0 1,53 0 31,-27 0-47,0 0 0,1 0 15,-1 0 1,0 0-16,0 0 16,1 0-16,-1 0 15,0 0 17,-26-13 14</inkml:trace>
  <inkml:trace contextRef="#ctx0" brushRef="#br0" timeOffset="-109648.5">3810 6615 0,'0'-14'16,"13"14"0,-13 14 31,0-1-32,13-13-15,-13 13 16,0 0-16,0 1 0,0 12 0,0 0 15,0-12-15,0 12 0,-13 1 16,13-14-16,0 0 16,0 0-16,0 0 0,0 1 15,0-1-15,0 0 16,13-39 31</inkml:trace>
  <inkml:trace contextRef="#ctx0" brushRef="#br0" timeOffset="-109320.31">3836 6601 0,'14'-13'47,"-1"13"-32,0-13-15,0 13 0,1 0 16,-1 0-16,13 0 0,-12 0 0,-1-13 15,0 13-15,0 0 0,0 0 16,1 0-16,-1 0 0,0 0 16,0 0-16,1 13 15</inkml:trace>
  <inkml:trace contextRef="#ctx0" brushRef="#br0" timeOffset="-109023.79">3810 6734 0,'0'0'16,"13"0"-16,0 13 16,1-13-16,-1 0 15,0 0-15,0 0 0,1 0 16,-1 0-16,0 0 0,0 0 15,1 0 1,-1 0-16,0 0 16,0 0-16,0 0 15,1 0 17,-1-13-17</inkml:trace>
  <inkml:trace contextRef="#ctx0" brushRef="#br0" timeOffset="-108048.07">5477 3347 0,'0'-26'219,"13"26"-219,0-14 16,1 1-1</inkml:trace>
  <inkml:trace contextRef="#ctx0" brushRef="#br0" timeOffset="-106341.44">4233 6826 0,'-26'-13'0,"26"0"32,0 0-17,0-1-15,0 1 16,0 0-16,13 13 16,-13-13-16,0-1 15,0 1-15,13 13 16,-13-13-16,0 0 0,0 0 0,14 13 15,-14-14-15,0 1 16,13 0 0,0 0 15,0 26 0,-13 0-31,13-13 0,-13 13 16,14 1-1,-14-1-15,13-13 0,-13 13 16,13 0-16,0 0 31,-13 1-15,14-14 0,-1 0-1,0-14 1,-13 1-1,0 0-15,13 13 16,-13-13-16,0 0 0,14-1 16,-14 1-16,0 0 15,0 0-15,0-1 0,13 14 0,-13-13 16,0 0-16,0 0 0,13-14 16,-13 14-1,0 0 1,0 0-1,0-1 1,0 1 93,13 0 48</inkml:trace>
  <inkml:trace contextRef="#ctx0" brushRef="#br0" timeOffset="-97998.1">2527 5146 0,'0'13'0,"0"-26"0,-13 26 15,26-26 32,0 13-31,-13-13-16,13 13 0,0-13 15,1-1-15,-1 14 0,-13-13 16,13 13-16,0-13 16,1 13-16,-1-13 15,-40 13 32,14 13-47,0-13 0,0 13 16,-1-13-1,1 0-15,13 13 16,13-39 31,1 26-31,-14-13-16,13 13 15,0 0 1,-39 13 15,12-13-15,14 13-16,-13-13 15,0 13-15,0 1 16,0-14 0,39 0 30,-13-14-46,0 14 0,1 0 16,-1 0 0,-13-13-16,13 13 0,0 0 15,-39 13 32,13-13-47,13 14 16,-14-14-16,1 0 15,13 13 1,-13-13-16,0 13 31,0-13-15,-1 13 62,14-26 1016,14 0-1094,-1 0 0,0-1 15,0 1-15,0 0 0</inkml:trace>
  <inkml:trace contextRef="#ctx0" brushRef="#br0" timeOffset="-95500.57">9181 3440 0,'-26'0'94,"12"13"-94,1-13 31,0 0-31,13 13 0,-13-13 16,-1 13-16,1-13 15,13 13-15,-13-13 16,0 14-1,39-28 64,-13 14-79,1-13 0,-1 13 15,0-13-15,0 13 16,1-13-1,-1 13-15,0 0 0,-13-13 16,13 13-16,1 0 16,-1-14-1,-40 28 48,14-1-48,0-13-15,0 0 16,13 13-16,-14-13 16,1 0-16,-13 26 31,12-26-15,1 14 15,13-1 109</inkml:trace>
  <inkml:trace contextRef="#ctx0" brushRef="#br0" timeOffset="-94635.03">7157 4670 0,'0'-13'31,"0"52"0,-13-25-15,13-1-16,0 0 0,-13 0 0,13 0 15,-14 1-15,14 12 0,-13-13 16,13 1-16,-13-1 0,13 0 16,-13 14-16,-1-14 0,14 0 15,-13-13-15,13 13 0,0 0 0,-13-13 16,13 14-16,-13-1 16</inkml:trace>
  <inkml:trace contextRef="#ctx0" brushRef="#br0" timeOffset="-94368.18">7157 4723 0,'13'-13'31,"0"13"-31,1-14 0,-1 14 0,0 0 0,0 0 16,1 0-16,12-13 0,-13 13 16,27 0-16,-27 0 15,0 0-15,1 0 0,-1 0 0,0 0 16,0 0-16,1 0 0,-1 13 15</inkml:trace>
  <inkml:trace contextRef="#ctx0" brushRef="#br0" timeOffset="-94176.03">7183 4829 0,'14'0'31,"-1"0"-15,0 0-16,0 0 15,1 0-15,-14-14 0,13 14 16,0 0-16,0-13 0,0 13 0,14-13 16,-14 0-16,14-1 0,-1 1 0</inkml:trace>
  <inkml:trace contextRef="#ctx0" brushRef="#br0" timeOffset="-93604.37">8784 3440 0,'13'0'47</inkml:trace>
  <inkml:trace contextRef="#ctx0" brushRef="#br0" timeOffset="-92827.47">7580 4710 0,'-13'26'16,"13"-13"0,-13-13-16,13 13 15,-13 1-15,13-1 0,-14-13 0,14 13 16,-13 0-16,13 1 0,-13-1 0,0-13 16,13 13-16,-14 0 15,14 1-15,-13-14 0,13 13 0,-13 0 16,0-13-1,13 13-15,-13 0 47</inkml:trace>
  <inkml:trace contextRef="#ctx0" brushRef="#br0" timeOffset="-92383.42">7541 4749 0,'26'-39'15,"-13"25"1,1 14-16,-1-13 16,0 13-16,0 0 0,0 0 15,-13-13-15,14 13 0,-1 0 16,0 0-16,0 0 0,1 0 0,-14 13 15,13-13-15,0 0 0,-13 13 16,13 1-16,-26-14 16,13 13-16,-13 0 0,13 0 15,-13-13-15,-1 13 0,1 1 0,0-1 16,0-13-16,-14 13 0,14-13 16,0 13-16,0 1 0,-1-14 0,1 13 15,0-13-15,0 0 0,13 13 16,-14-13-16,1 13 0,0-13 15</inkml:trace>
  <inkml:trace contextRef="#ctx0" brushRef="#br0" timeOffset="-91582.43">7276 4815 0,'-26'0'47,"12"0"-32,1 0-15,0 0 16,0 0-16,-1 0 15,1 0-15,0 0 16,0 0-16,0 0 0,13 14 16,-14-14-1,1 0 1,0 0 0,39 0 30,-12 0-30,-1 0 0,-13 13-16,26-13 31,-13 0-31,1 0 31,-41 0 32,14-13-48</inkml:trace>
  <inkml:trace contextRef="#ctx0" brushRef="#br0" timeOffset="-91119.48">7197 4683 0,'-14'0'31,"41"0"-15,-1-13 0,-12 13-1,-1 0-15,0 0 16,0 0-16,0 0 0,14 0 15,-14 0 1,0 0-16</inkml:trace>
  <inkml:trace contextRef="#ctx0" brushRef="#br0" timeOffset="-84158.61">23548 6866 0,'0'0'0,"-13"0"16</inkml:trace>
  <inkml:trace contextRef="#ctx0" brushRef="#br0" timeOffset="-81574.56">18045 7461 0,'0'13'31</inkml:trace>
  <inkml:trace contextRef="#ctx0" brushRef="#br0" timeOffset="-81331.82">19725 7541 0,'0'-14'15,"13"14"-15</inkml:trace>
  <inkml:trace contextRef="#ctx0" brushRef="#br0" timeOffset="-80965.61">21643 7448 0,'0'-13'15,"-13"13"-15</inkml:trace>
  <inkml:trace contextRef="#ctx0" brushRef="#br0" timeOffset="-68771.64">18666 8467 0,'-26'0'0,"52"0"0,-65 0 15,65 0 32,-13 0-31,1 0 0</inkml:trace>
  <inkml:trace contextRef="#ctx0" brushRef="#br0" timeOffset="-67146.22">4987 4392 0,'0'-40'15,"0"27"1,0-13-16,-13-1 0,13 1 16,0-1-16,0 1 0,0-1 15,0-25-15,-13 25 0,13 1 16,0-14-16,0 27 15,0-1-15,0 1 0,0 0 16,0 0-16,13 13 16,0 13-16,1 0 15,12 0-15,1 14 0,-1-14 16,-13 14-16,14-14 0,-14 0 16,0 0-16,0 1 0,14 12 15,-14-13-15,0 14 16,1-14-16,-14 0 15,-14-13-15,14 13 16,-13-13-16,0 0 0,0 0 16,-1 14-16,-12-14 0,-1 0 0,14 0 15,-40 0-15,27 0 0,-1 0 16,14 0-16,-13 0 0,-1 0 16,14 0-16,0 0 0,0 0 0,-1 0 15,1-14-15,0 14 0,26-13 31,0 0-31,1 0 0,12-1 16,0 1-16,41-13 0,-28-1 16,-12 14-16,12-13 0,1 12 0,-13-12 15,39-1-15,-53 27 16,40-26-16,-40 26 16,0-13-16,1 13 31,-14 13-31,0 0 0,0 0 15,-14 1-15,1 12 0,0 1 0,-40 26 16,27-27-16,-14 27 16,13-27-16,1 1 0,-14 12 15,27-25-15,-13-1 0,-1 13 16,1 1-16,12-14 16,1-13-16</inkml:trace>
  <inkml:trace contextRef="#ctx0" brushRef="#br0" timeOffset="-65543.38">8784 6165 0,'-13'-13'15,"13"-1"-15,0 1 0,0 0 0,0 0 16,0-1-16,0 1 0,13-13 15,-13-14-15,0 14 0,13-27 16,-13 39-16,0-12 16,0 13-16,14-14 0,-14 14 15,0 0-15,13 0 0,-13-1 16,13 14-16,14 14 16,-27-1-16,13-13 15,-13 13-15,26 14 0,-26-14 16,13 0-16,-13 13 15,14-12-15,-14-1 0,13 0 0,-13 0 16,13 1-16,-13-1 0,13 0 16,-13 0-16,0 0 15,-13 1 17,0-14-32,0 0 0,-1 0 15,1 0-15,0 0 16,-27 13-16,27-13 0,-13 0 15,-14 0-15,13 13 16,1-13-16,-14 0 0,27 0 16,0 0-16,-14 0 0,14 13 15,0-13-15,26-13 32,0 0-17,14 13-15,-1-27 16,1 27-16,-14-13 0,27-13 15,-1-1-15,1 1 16,-27 13-16,27-14 16,-27 14-16,14 0 15,-27 0-15,13 13 16,0 0 0,0 0-16,-13 26 15,-13 14 1,13-14-16,-13-13 15,0 27-15,13-27 16,-27 27-16,27-27 0,-13 14 16,0-14-16,0 13 0,-1 1 15,1-27-15,13 13 16,-13 0-16,53-26 31</inkml:trace>
  <inkml:trace contextRef="#ctx0" brushRef="#br0" timeOffset="-64794.28">9274 6125 0,'-14'-13'0,"14"-14"16,0 14-16,0 0 0,-13 0 16,13-1-16,0-25 15,0 26-15,0-27 0,0 13 16,0 1-16,0 0 16,0 12-16,0 1 0,0 0 15,0 0-15,13 13 16,1 0-1,-1 13-15,13 13 16,-12-12-16,-1-1 16,-13 0-16,13-13 0,13 40 15,-12-27 1,-1 0-16,-13 0 16,13-13-16,-13 14 15,0-1-15,13-13 16,-13 13-16,-13 0 31,0-13-31,0 13 16,-1-13-16,1 0 0,13 14 0,-13-14 15,0 0-15,-14 13 0,14-13 16,0 0-16,-14 0 16,14 0-16,0 13 15,0-13-15,0-13 16,13 0-1,0-1-15,13 1 16,0 0-16,0 0 0,0 0 16,1-1-16,12-12 0,-13 13 15,14-1-15,39-38 16,-53 52-16,27-27 16,-40 14-16,13 13 15,0 0-15,-13-13 0,14 13 16,-14 13-1,0 0-15,-14 0 16,-12 14-16,13-1 0,-40 14 16,26-14-1,-12-12-15,-14 38 0,0-12 16,13 0-16,27-27 0,0 0 16,-14 1-16,27-1 15</inkml:trace>
  <inkml:trace contextRef="#ctx0" brushRef="#br0" timeOffset="-62525.69">10742 6839 0,'0'0'16,"-13"-13"-1,13 0 1,0 0-16,0 0 0,13-1 0,-13-25 16,13 12-16,-13 14 0,0-13 15,14-1-15,-14 14 0,13-14 16,-13 14-16,0-13 0,13 12 0,-13-12 15,0 13-15,13 0 0,-13-1 16,0 1-16,27 26 31,-14 1-15,0 12-16,-13-13 16,0 0-16,13 1 0,1-1 15,-1 13-15,-13-12 16,13-1-16,-13 0 0,13 0 15,-13 1-15,0-1 0,0 0 16,0 0 0,0 0-16,-13-13 0,13 14 0,-13-14 15,0 13-15,-1-13 16,1 0-16,0 13 0,0-13 16,-1 0-16,1 0 15,0 13-15,0-13 0,0 0 0,-1 0 16,1 0-16,0 0 15,0 0-15,-1 0 16,1 0 0,26-26-1,1 26 1,-1-27-16,0 14 0,0 13 16,27-26-16,-27 13 15,14-1-15,-14-12 0,27 13 0,-1-14 16,-12 14-1,-14 0-15,27-14 0,-27 27 16,13-13-16,-12 0 0,-1 0 16,0 13-16,0-14 15,0 14-15,-13-13 16,14 13 0,-28 13 62,1-13-78,0 14 31,0-14 16,13 13 0,-13 0 15,13 0-15,-14-13-16,14 13 94,-13-13 125,0 14 188</inkml:trace>
  <inkml:trace contextRef="#ctx0" brushRef="#br0" timeOffset="-59546.4">10358 6892 0,'0'40'0,"0"-27"32,0 1-32,0-41 62,0 14-62,14-14 16,-14 14-16,0-13 0,0-1 0,0 14 15,13-13-15,-13-1 0,13 1 16,-13-1-16,0 14 0,13 0 0,-13-14 16,0 14-16,0 0 0,14 13 15,-14-13-15,0-1 0,0 1 16,13 13-16,0 13 15,0 1 1,-13-1-16,14 0 16,-14 0-16,13 1 0,-13-1 15,13 0-15,-13 0 0,13 0 16,-13 1 0,13-1-16,-13 0 15,0 0-15,-13 1 31,0-14-31,0 13 16,0-13-16,-1 0 0,1 0 0,0 0 16,0 0-16,-1 0 0,1 13 0,-13-13 15,12 0-15,1 0 16,0 0-16,0 0 0,0 0 0,-1 0 16,1 0-16,26-13 31,1 0-16,-14-1-15,13 14 0,0-13 16,13 0-16,1-14 0,-1 14 16,-12 0-16,-1 0 0,13 0 15,-12-1-15,-1 14 0,0-13 0,0 0 16,0 13-16,1-13 0,-1 13 0,-13-14 16,13 14-16,0 0 15,1 0-15,-14 14 16,0-1-1,0 0-15,-14 14 16,1-1-16,0-13 0,0 14 16,-1-14-16,1 13 0,-13 1 15,13-1-15,-1-13 0,14 1 16,-13 12-16,0-13 0,0 1 16</inkml:trace>
  <inkml:trace contextRef="#ctx0" brushRef="#br0" timeOffset="-58329.92">10861 8176 0,'0'13'0,"0"-40"31,13 14-31,-13 0 16,0 0-16,0-1 0,14 1 16,-14-13-16,0 13 0,13-14 0,-13 1 15,13-1-15,-13 14 0,0-13 16,13 12-16,-13 1 0,0 0 15,14 0-15,-14-1 0,0 1 0,0 0 16,13 0-16,0 26 31,0-13-31,-13 13 16,13 0-16,-13 1 0,14-14 16,-14 13-16,0 0 0,13 0 15,0 1-15,-13-1 0,0 0 16,13 0-16,-13 0 15,0 1-15,14-1 16,-28 0 15,1 0-31,0-13 16,0 0-16,13 14 0,-14-14 16,1 0-16,0 13 0,-13-13 15,12 0-15,1 13 0,0-13 0,0 0 16,-1 0-16,1 13 0,0-13 0,0 0 0,-1 0 15,1 0-15,0 13 16,0-13-16,0 0 16,26-26 15,0 13-31,0 13 16,-13-13-16,13-1 0,1 1 0,12 0 15,-13 0-15,1-1 0,12 1 0,-13 0 16,14 0-16,-14 0 0,13-1 15,1-12-15,-14 26 16,0-13-16,1-1 0,-1 14 16,0-13-16,0 13 0,0 0 15,1 0 1,-14 13 0,0 1-16,0-1 15,0 0-15,-14 0 0,14 1 16,-13-14-16,13 26 0,-13-13 0,13 0 15,-13 1-15,0-1 0,13 0 0,-14 0 16,1 1-16,0-1 0,13 0 16,-13-13-16,13 13 0,-14 0 15</inkml:trace>
  <inkml:trace contextRef="#ctx0" brushRef="#br1" timeOffset="-30171.37">9618 4247 0,'0'-14'0,"0"1"31,-27 26 16,14 1-47,0-1 16,-1 0-16,-12 13 0,0-12 0,-27 25 15,26-12-15,1-1 0,-1-12 0,14-1 16,-13 13-16,12-13 0,1 1 16,0-1-16,0 0 0,-14-13 15,27 13-15,-13 1 0,0-14 0,13 13 16,-13-13-16</inkml:trace>
  <inkml:trace contextRef="#ctx0" brushRef="#br1" timeOffset="-29651.28">9287 4180 0,'0'-13'31,"26"26"-31,-26 1 16,14-1-16,-1-13 16,-13 13-16,13 0 0,0 1 15,0-1-15,-13 13 0,14-13 0,-1 1 16,0-1-16,0 0 0,14 0 0,-27 1 15,13-1-15,0 0 0,1 0 16,-1-13-16,-13 14 0,13-1 0,0-13 16,-13 13-16,13 0 0,1-13 15,-14 13 1,13-13-16,-13 14 16,13-14-1,-13 13 1,13-13-1,-26 13 79,0-13-78</inkml:trace>
  <inkml:trace contextRef="#ctx0" brushRef="#br1" timeOffset="-27023.5">11046 9551 0,'-26'14'46,"26"-1"-46,-13-13 16,-1 13-16,1 0 16,0 1-16,-13 12 0,12-13 15,1 1-15,-13 25 0,-1-26 16,14 1-16,0-1 0,-1 0 16,1 0-16,0 1 15,0-14-15,0 13 16</inkml:trace>
  <inkml:trace contextRef="#ctx0" brushRef="#br1" timeOffset="-26691.05">10795 9551 0,'13'14'31,"0"-1"-31,1-13 0,-1 13 16,0 0-16,0 1 0,1-14 16,-1 13-16,13 13 15,-12-12-15,-1-14 0,26 26 16,-25-26-16,-1 13 0,-13 0 15,13-13-15,0 0 0,1 14 16,-1-1-16,0 0 31</inkml:trace>
  <inkml:trace contextRef="#ctx0" brushRef="#br1" timeOffset="-25435.52">5173 5702 0,'-27'13'31,"14"0"-31,0 0 0,-1 1 16,1-1-16,0 0 0,0 0 0,-14 1 15,14-1-15,0 0 0,0 14 0,-1-14 16,-12 0-16,13 0 0,-1 0 16,1 1-16,0-1 0,0 0 0,13 0 15,-13-13-15,-1 14 0,1-1 16,0-13-16</inkml:trace>
  <inkml:trace contextRef="#ctx0" brushRef="#br1" timeOffset="-25168.43">4842 5741 0,'13'14'16,"0"-14"-1,1 13-15,-1-13 0,13 26 16,-13-12-16,14-1 0,-14 0 16,0 0-16,1 1 0,25 12 15,-25-13-15,-1 0 0,13 1 16,-13-1-16,1 0 0,-1-13 0,0 13 16,0-13-16,1 14 0,-1-14 15</inkml:trace>
  <inkml:trace contextRef="#ctx0" brushRef="#br1" timeOffset="-24905.14">5755 5741 0,'-14'14'32,"1"-1"-32,0 0 0,0 0 15,0 1-15,-1-14 0,1 26 0,0-13 16,0 1-16,-1-1 0,-12 13 16,13-13-16,-1-13 0,14 14 15,-13-1-15,0 0 0,0-13 16</inkml:trace>
  <inkml:trace contextRef="#ctx0" brushRef="#br1" timeOffset="-24603.34">5437 5728 0,'0'0'0,"13"0"0,14 13 16,-14 1 0,0-1-16,14-13 0,-1 26 15,-13-12-15,14-1 0,-14 0 16,27 0-16,-14 14 0,14-1 16,-27-26-16,14 13 0,-14 1 15,0-1-15,14-13 0,-27 13 0,26 0 16,-13 1-16,1-1 15</inkml:trace>
  <inkml:trace contextRef="#ctx0" brushRef="#br1" timeOffset="-23104.8">10517 11073 0,'-13'13'31,"13"0"-31,-13 0 0,0 1 16,13-1-16,-14 0 15,1 0-15,0 1 0,13-1 0,-13 0 16,-1 0-16,1 1 0,0 12 0,0 0 15,-1-26-15,1 14 16,0-1-16,13 0 0,-13-13 0,13 13 16,-13-13-16</inkml:trace>
  <inkml:trace contextRef="#ctx0" brushRef="#br1" timeOffset="-22842.44">10332 11139 0,'0'-13'15,"13"13"1,0 13-16,1-13 0,-1 0 0,0 13 16,0-13-16,14 27 15,-14-27-15,0 13 0,1-13 0,12 13 16,-13 0-16,0-13 0,1 14 15,-1-14-15,-13 13 0,13-13 16,0 0-16,-13 13 0,14-13 0,-1 13 16,0-13-1</inkml:trace>
  <inkml:trace contextRef="#ctx0" brushRef="#br1" timeOffset="-22599.81">10914 11060 0,'13'-14'15,"-26"54"17,0-40-32,13 26 0,-27 1 15,27-1-15,-13-12 0,0 12 16,0-13-16,-1 14 0,1-14 0,0 13 15,13-12-15,-13-1 0,0 0 16,13 0-16,0 1 0,-14-1 0,14 0 16,-13-13-16</inkml:trace>
  <inkml:trace contextRef="#ctx0" brushRef="#br1" timeOffset="-22336.16">10729 11112 0,'40'14'16,"-27"-1"-16,0 0 16,0-13-16,0 13 0,27 14 15,-13-14-15,-14 0 0,13-13 16,-12 14-16,-1-1 0,0 0 0,13 0 15,-12-13-15,-1 13 0,0-13 16,-13 14-16,13-14 0,1 13 16,-1-13-1,0 13-15</inkml:trace>
  <inkml:trace contextRef="#ctx0" brushRef="#br1" timeOffset="-18852.79">18269 11972 0,'14'0'0,"-1"0"0,0 0 16,0 0-16,14 0 0,-14 0 15,14 0-15,-1 0 0,0 14 16,1-14-16,13 0 0,-14 0 0,1 0 15,-1 0-15,0 0 0,-12 0 0,12 0 16,1 0-16,-14 0 0,0 13 16,0-13-16,0 0 0</inkml:trace>
  <inkml:trace contextRef="#ctx0" brushRef="#br1" timeOffset="-18643.27">18468 11999 0,'-13'0'32,"39"13"-17,-13-13 1,14 0-16,-14 0 0,0 0 0,1 0 16,-1 0-16,0 13 0,0-13 15,0 0-15,1 0 0,-1 0 16,0 0-16,0-13 0,14 13 0,-14-13 15</inkml:trace>
  <inkml:trace contextRef="#ctx0" brushRef="#br1" timeOffset="-18007.77">18217 10358 0,'39'0'16,"-12"14"0,-14-14-16,13 0 0,1 0 0,-1 13 15,1-13-15,-1 0 0,1 13 0,12-13 16,-12 0-16,-14 0 0,14 13 0,-14-13 15,0 0-15</inkml:trace>
  <inkml:trace contextRef="#ctx0" brushRef="#br1" timeOffset="-17771.91">18243 10464 0,'53'0'16,"-27"0"-1,-12 0-15,12 14 0,1-14 0,-14 0 16,13 0-16,-13 0 0,14 0 16,-14 0-16,0 0 0,1 0 15,12 0-15,-13 13 0,1-13 16</inkml:trace>
  <inkml:trace contextRef="#ctx0" brushRef="#br1" timeOffset="211983.6">15266 8229 0</inkml:trace>
  <inkml:trace contextRef="#ctx0" brushRef="#br1" timeOffset="213322.05">15134 9644 0</inkml:trace>
  <inkml:trace contextRef="#ctx0" brushRef="#br1" timeOffset="214698.31">15200 11311 0,'-13'0'16</inkml:trace>
</inkml:ink>
</file>

<file path=ppt/ink/ink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1:40:52.982"/>
    </inkml:context>
    <inkml:brush xml:id="br0">
      <inkml:brushProperty name="width" value="0.05292" units="cm"/>
      <inkml:brushProperty name="height" value="0.05292" units="cm"/>
      <inkml:brushProperty name="color" value="#0070C0"/>
    </inkml:brush>
  </inkml:definitions>
  <inkml:trace contextRef="#ctx0" brushRef="#br0">6853 4617 0,'13'-13'31,"0"13"-15,0 0-16,1 13 0,-1-13 15,0 0-15,0 0 0,14 0 16,-1 0-16,1 0 0,-1 0 0,14 13 16,-14-13-16,14 0 0,-14 0 0,14 0 15,-13 0-15,12 0 0,-12 0 16,12 0-16,-12 0 0,13 0 0,-14 0 16,14 0-16,-14 0 0,14 0 0,-14 0 15,14 0-15,0 0 0,-1 13 16,1-13-16,-13 0 0,25 0 0,-12 0 15,-13 0-15,12 0 0,-12 14 16,-1-14-16,14 0 0,-14 0 16,1 0-16,12 0 0,-12 0 0,-1 0 15,14 0-15,-13 0 0,12 0 0,-12 0 16,12 0-16,-12 0 0,13 0 16,-14 0-16,14 0 0,-14 0 0,1 0 15,12 13-15,-12-13 0,-1 0 0,1 0 16,-1 0-16,14 0 0,-14 0 15,1 0-15,-14 0 0,13 13 0,1-13 16,13 0-16,-14 0 0,0 0 0,14 0 16,-13 0-16,-1 13 15,14-13-15,-14 0 0,14 0 0,-14 0 16,14 0-16,-13 0 0,12 0 0,-12 14 16,12-14-16,-12 0 0,-1 0 0,14 0 15,-14 0-15,1 0 0,-1 0 16,14 13-16,-14-13 0,1 0 0,13 0 15,-14 0-15,14 0 0,-14 0 0,1 0 16,12 0-16,-12 13 0,12-13 16,-12 0-16,-1 0 0,1 0 0,-1 0 15,1 0-15,-1 0 0,1 0 0,-1-13 16,1 13-16,12 0 16,-12 0-16,-1 0 0,1 0 0,12 0 15,-12 0-15,-14-13 0,14 13 0,-1 0 16,0 0-16,1 0 0,-1 0 15,1 0-15,-1 0 0,1-14 0,-1 14 16,1 0-16,12 0 16,-12 0-16,-1 0 0,1-13 0,-1 13 15,-13 0-15,14 0 0,-14 0 0,14 0 16,-14 0-16,13 0 0,-13 0 0,1-13 16,-1 13-16,0 0 15,14 0-15,-14 0 0,0 0 0,0 0 0,1 0 16,-1 0-16,0 0 0,0 0 0,0 0 15,1 0-15,-1 0 16,0 0-16,0 0 0,1 0 0,-1 0 16,0 0-16,0 0 0,0 0 0,1 0 15,-1 0-15,0 0 0,0 0 16,1 0-16,-1 0 0,13 0 0,-12 0 16,-1 0-16,0 0 0,13-13 0,-12 13 15,12 0-15,-13 0 0,1 0 16,12 13-16,-13-13 0,14 0 0,-14 0 15,13 0-15,-12 0 0,12 0 0,-13 0 16,14 0-16,-1 0 0,-12 0 16,12 0-16,-13 0 0,14 0 15,-1 0-15,-13 0 0,14 0 0,-14 0 16,14 0-16,-14 0 0,13 0 0,1 0 16,-14 0-16,13 0 0,1 0 15,-14 0-15,0 0 0,14 0 0,-14 0 16,13 0-16,-12 13 0,12-13 0,-13 0 15,1 0-15,12 0 0,-13 0 16,0 0-16,14 0 0,-14 0 0,0 0 16,1 0-16,12 0 0,-13 0 0,1 0 15,-1 0-15,0 0 0,0 0 16,0 0-16,1 0 0,-1 13 0,0-13 16,0 0-16,14 0 0,-1 0 15,-13 0-15,1 0 16,-1 0-16,0 0 0,0 0 0,1 0 15,-1 0-15,13 0 0,-12 0 0,-1 0 16,0 0-16,13 0 0,-12 0 16,-1 0-16,13 0 0,-12 0 0,-1 0 15,13 0-15,-12 0 0,12 0 0,-13 0 16,14 0-16,-14 0 0,0 0 16,0 0-16,14 0 0,-14 0 0,0 0 15,1 0-15,-1 0 0,0 0 0,0 0 16,0 0-16,1 0 0,-1 0 15,13 0 1,-12 0-16,-1 0 16,0 0-16,0 0 31,-13-13-15</inkml:trace>
  <inkml:trace contextRef="#ctx0" brushRef="#br0" timeOffset="2903.15">595 5278 0,'27'0'63,"-14"0"-63,0 0 0,0 0 15,1 0-15,-1 0 0,0-13 0,0 13 16,14 0-16,-14 0 0,14 0 0,-1 0 16,0 0-16,1 0 0,-1-13 15,1 13-15,-1 0 0,14 0 0,-14-13 16,1 13-16,-1 0 0,1 0 0,-1 0 16,14-13-16,-14 13 15,1 0-15,-1 0 0,1 0 0,-1 0 16,1 0-16,-1 0 0,1 0 0,-1 0 15,1 0-15,-1 0 0,0 0 16,1 0-16,-1 0 0,1-14 0,13 14 16,-14 0-16,0 0 0,1 0 0,-1 0 15,14 0-15,-14-13 0,1 13 16,-1 0-16,1 0 0,13 0 0,-14 0 16,0 0-16,1-13 0,-1 13 0,1 0 15,-1 0-15,-12 0 0,12 0 16,0 0-16,1 0 0,-1 0 0,1 13 15,-14-13-15,13 0 0,1 0 0,-1 0 16,-12 0-16,12 0 0,1 0 16,-1 0-16,-13 13 0,14-13 15,-1 0-15,-13 0 0,14 0 0,-1 0 16,1 0-16,-14 0 0,13 14 16,1-14-16,-14 0 0,14 0 0,-1 0 15,1 0-15,-1 0 0,-13 0 0,14 0 16,-1 0-16,1 0 0,-1 0 15,-13 0-15,14 0 0,-1 0 0,1 0 16,-14 0-16,13 0 0,1 0 0,-14 0 16,13 0-16,-12 0 0,12 0 15,-13 0-15,14 0 0,-14 0 0,14 0 16,-1 0-16,-13 13 0,14-13 0,-1 0 16,1 0-16,-14 0 15,13 0-15,1 0 0,-1 0 0,1 0 16,-1 0-16,-13 0 0,14 0 0,-1 0 15,1 0-15,-14 0 0,13 0 16,27 0-16,-39 0 0,12 0 16,0 0-16,1 0 0,-1 0 0,1 0 15,-14 0-15,14 0 16,12 13-16,-12-13 0,39 0 0,-40 0 16,1 0-16,-1 0 0,14 0 0,-14 0 15,1 0-15,-1 0 0,1 0 16,-1 0-16,-13 0 0,14 0 0,-1 13 15,1-13-15,-1 0 0,-13 0 16,14 0-16,-1 0 0,-12 0 16,12 0-16,-13 0 0,14 0 0,-14 13 15,13-13-15,1 0 0,-14 0 0,0 0 16,14 0-16,-1 0 0,-12 0 16,12 0-16,-13 0 0,0 0 0,14 0 15,-14 0-15,0 0 0,1 0 16,12 0-16,-13 0 0,0 0 0,14 0 15,-14 0-15,0 0 0,1 0 0,12 0 16,-13 0-16,14 0 0,-14 0 0,0 0 16,14 0-16,-14 0 0,13 0 15,-12 0-15,12 0 0,-13 0 16,14 0-16,-14 0 0,13 0 0,-12 0 16,12 0-16,-13 0 0,14 0 15,-14 0-15,0 0 0,14 0 0,-14 0 16,0-13-16,14 13 0,-14 0 0,13 0 15,-12 0-15,-1 0 0,13 0 0,-12 0 16,-1 0-16,0 0 0,0 0 16,0 0-16,14 0 0,-14 0 0,0 0 15,1 0-15,-1 0 0,0 0 0,0 13 16,0-13-16,1 0 16,-1 0-16,0 0 0,0 0 15,1 0-15,-1 0 0,0 0 0,0 0 16,1 0-16,-1 0 0,0 0 15,0 0-15,0 0 0,1 0 0,-1 14 16,0-14-16,0 0 0,1 0 0,-1 0 16,0 0-16,0 0 0,1 0 15,-14 13-15,13-13 0,0 0 0,0 0 16,0 0 0,-39-13 15,0 13-31,12-14 0,-25 14 0,-1-13 15</inkml:trace>
  <inkml:trace contextRef="#ctx0" brushRef="#br0" timeOffset="3779.68">2368 4670 0,'0'13'16,"0"14"-16,0-14 0,0 0 0,0 13 16,-13 1-16,13-1 0,0 14 0,0-13 15,-13 12-15,13 1 0,-14 0 0,14-14 16,0 1-16,-13-1 0,13 0 16,0-12-16,0 12 0,0-13 15,-13 1-15,13 12 0,0-13 0,0 1 16,0-1-16,0 0 15,0 0-15</inkml:trace>
  <inkml:trace contextRef="#ctx0" brushRef="#br0" timeOffset="4592.32">2289 4643 0,'13'0'0,"79"0"31,-65 0-31,-1 0 0,14 0 16,13 0-16,-13 0 0,13 14 0,0-14 16,-1 0-16,1 0 0,0 0 15,0 13-15,0-13 0,0 0 0,0 0 16,-13 0-16,13 0 0,-14 0 16,1 0-16,-14 0 0,14 0 0,-13 0 15,-1 0-15,0 0 0,1 0 16,-14 0-16,14 0 0,-14 0 15,0 13-15,0-13 0,0 0 0,1 0 16,-1 0-16,0 0 16,0 0-1,1 0-15,-1 0 16,0 13 0,0-13-1,-13 14-15,14-1 16,-14 0-1,13 0-15,-13 0 0,0 1 16,0-1-16,13 0 0,-13 0 0,0 1 16,0-1-16,0 13 0,13-12 15,-13-1-15,0 13 0,0-13 0,0 14 16,0-14-16,0 14 0,0-14 16,0 27-16,0-27 0,0 0 15,0 0-15,0 0 0,0 1 0,0-1 16,0 0-16,0 0 15,0 1-15,0-1 0,0 0 32,-13-13-32,0 0 15,0 13-15,-1-13 0,1 0 16,0 0-16,0 0 0,-1 0 16,1 0-16,-13 0 0,12 0 0,-12 0 15,0 0-15,-14 0 0,13 0 0,1 0 16,-14 14-16,1-14 0,-1 0 15,13 13-15,-12-13 0,12 0 0,1 0 16,-1 0-16,1 0 0,-1 0 0,1 0 16,13 0-16,-14 0 0,1-13 15,13 13-15,-14 0 0,14-14 16,0 1-16,0 13 0</inkml:trace>
  <inkml:trace contextRef="#ctx0" brushRef="#br0" timeOffset="5680.8">9750 4154 0,'-13'26'31,"13"1"-31,0-14 0,0 14 0,0 12 16,-14 1-16,14 13 0,-13-13 0,13-1 15,-13 1-15,13 13 16,0-13-16,-13-1 0,13-12 0,-13 12 16,13-25-16,0 12 0,0-13 0,0 0 15,0 1-15,-14-1 0,14 0 16,14-39 15,-14 12-31,0 1 0,13 0 16</inkml:trace>
  <inkml:trace contextRef="#ctx0" brushRef="#br0" timeOffset="6629.37">9750 4141 0,'0'-13'0,"0"26"0,13-26 16,0 13-16,1-14 0,-1 14 0,13 0 15,-13 0-15,14 0 16,13-13-16,-14 13 0,14 0 0,13-13 16,-14 13-16,14 0 0,-13-13 0,13 13 15,0 0-15,0-14 0,0 14 16,0 0-16,-14-13 0,14 13 0,0 0 16,-13-13-16,-1 13 0,1 0 0,-13 0 15,-1 0-15,14 0 0,-14 0 16,1 0-16,-1-13 0,-13 13 0,14 0 15,-1 0-15,-12 0 0,12 0 0,0-14 16,-12 14-16,-1 0 0,0 0 16,0 0-16,14 0 0,-14 0 15,0 0-15,0 0 16,1 0-16,-1-13 16,0 13-16,0 13 31,-13 1 0,0-1-31,0 0 16,0 0-16,0 1 0,0-1 15,0 0-15,0 0 0,0 1 0,0-1 16,-13 0-16,13 0 0,0 0 0,0 1 16,-13 12-16,13-13 0,0 1 15,-13-1-15,13 13 0,0-13 16,-14 1-16,14-1 0,0 13 0,-13-12 15,13-1-15,0 0 0,-13 0 0,13 1 16,0-1-16,0 0 0,-13 0 16,13 0-16,0 1 0,0-1 15,-13 0-15,13 0 16,0 1 0,0-1-1,0 0-15,-14-13 31,14 13-15,0 1 15,-13-14-15,13 13 0,-13-13 15,0 0 63,-1 0-94,1 0 15,0 0-15</inkml:trace>
  <inkml:trace contextRef="#ctx0" brushRef="#br0" timeOffset="12644.41">7620 5596 0,'26'0'0,"-12"0"0,12 0 0,-13 0 16,14 0-16,-1 0 0,1 0 16,-1 0-16,1 0 0,-14 0 15,13 0-15,1 13 0,-14-13 0,14 0 16,-14 0-16,0 0 0,0 0 16,0 0-16,1 0 0,-1 0 0,0 0 15,0-13-15,1 13 16,-1 0-16</inkml:trace>
  <inkml:trace contextRef="#ctx0" brushRef="#br0" timeOffset="13001.5">7938 5490 0,'-14'-13'16,"41"26"-1,-14-13-15,0 0 16,0 13-16,1-13 0,-1 0 0,0 14 16,0-14-16,1 13 0,-1-13 15,0 13-15,13 0 0,-12-13 0,-1 13 16,0-13-16,0 14 0,1-14 15,-14 13-15,13 0 0,-13 0 16,0 1-16,0-1 16,-13 0-16,13 0 0,-14 1 15,1 12-15,13-13 0,-13 0 0,0 1 16,-1-14-16,14 13 0,-13 0 16,13 0-16,-13-13 0,13 14 0,-13-1 15</inkml:trace>
  <inkml:trace contextRef="#ctx0" brushRef="#br0" timeOffset="15501.1">13375 3717 0,'-14'0'15,"41"0"17,-27-13-32,13 13 0,0-13 15,1 13-15,-14-13 0,13 13 0,13-14 16,-12 14-16,-1-13 0,0 0 0,0 13 15,0-13-15,1 13 16,-1-13-16,0 13 0,0-14 0,1 14 16,-1 0-16,0-13 0,0 13 15,0-13 1,1 13-16,-1 0 0,0 0 31</inkml:trace>
  <inkml:trace contextRef="#ctx0" brushRef="#br0" timeOffset="15823.19">13613 3413 0,'13'-13'0,"27"26"32,-27-13-32,0 13 0,0-13 0,1 0 15,-1 14-15,0-1 0,0-13 0,1 13 16,-1 0-16,-13 0 15,0 1-15,0-1 0,0 0 16,0 0-16,0 1 0,-13-1 0,13 0 16,-14 0-16,14 1 0,-13-1 15,13 0-15</inkml:trace>
  <inkml:trace contextRef="#ctx0" brushRef="#br0" timeOffset="21696.28">15849 2672 0,'0'27'31,"13"-14"-15,-13 0-16,13-13 0,0 13 15,0 1-15,1-14 0,-1 13 0,0 0 16,0-13-16,1 13 0,-1-13 0,0 14 16,0-14-16,14 0 0,-14 0 15,0 0-15,0 0 0,1-14 0,12 14 16,-13-13-16,1 13 0,-1-13 0,0 13 15,-13-13-15,13-1 0,0 1 16,-13 0-16,0 0 16,-13 13-1,0 13 1,0 0-16,0 0 0,-1 1 16,1-1-16,0 13 0,-14 1 0,14-1 15,-13 1-15,13-1 0,-1-13 16,14 14-16,-13-14 0,0 0 0,0 14 15,13-14-15,-14 0 0,14 0 0,0 1 16,0-1 0,14 0-16</inkml:trace>
  <inkml:trace contextRef="#ctx0" brushRef="#br0" timeOffset="22151.29">16457 3082 0,'13'-13'0,"-13"0"15,0 0 1,0-1-16,0 1 0,0 0 16,0 0-16,0 0 0,14-1 15,-14 1 1,13 13 0,0 0-16,0 0 15,-13 13-15,13-13 0,1 14 16,-1-14-16,-13 13 15,13-13-15,0 0 0,1 0 16,-1-13 0,0-1-16,0 1 15,-13 0-15,14 0 16,-14-1-16,0 1 0,13 0 0,-13 0 16,0 0-16,0-1 0,13 1 15,-13 0-15,0 0 0,0-1 0,0 1 16,-13 0-16,13 0 0,-13-1 15</inkml:trace>
  <inkml:trace contextRef="#ctx0" brushRef="#br0" timeOffset="22509.22">16404 2408 0,'0'0'16,"-26"26"-16,12 1 0,1-14 0,0 0 15,0 27-15,0-1 0,-14-12 0,14 26 16,-14 0-16,14-27 0,0 27 0,0-13 16,-14 0-16,14-14 0,0 14 15,0-14-15,-1 14 0,14-14 16,-13-13-16,0 14 0,13-14 0,-13 0 0,13 1 15,-14 12-15,14-13 16,-13-13-16,13 14 0,0-1 0,0 0 16,-13 0-1,39-39 32</inkml:trace>
  <inkml:trace contextRef="#ctx0" brushRef="#br0" timeOffset="23927.56">16021 3413 0,'0'27'32,"0"-14"-17,0 0-15,13 0 0,-13 0 0,0 1 0,0-1 16,0 0-16,13 0 15,-13 1-15,0-1 0,13-13 0,-13 13 16,13 0-16,1-13 0,-1 0 16</inkml:trace>
  <inkml:trace contextRef="#ctx0" brushRef="#br0" timeOffset="24159.2">16312 3440 0,'-40'26'47,"-13"40"-47,40-39 16,-14-1-16,1 14 0,-1-14 0,14 1 15,-13 12-15,-1-12 0,14 13 16,-13-14-16,12 0 0,-12 1 0,13-1 16,-1 1-16,1-1 0,0-12 0,13-1 15,-13 0-15,13 0 0,-14-13 16,14 13-16,0 1 15</inkml:trace>
  <inkml:trace contextRef="#ctx0" brushRef="#br0" timeOffset="24599.07">16603 3334 0,'0'0'0,"-14"39"16,14-25-1,0-1-15,0 13 0,-13 14 0,0 0 16,0-14-16,-1 14 0,1 0 0,0-1 15,0-12-15,0 12 0,-14 1 16,14-13-16,0-1 0,-1 14 0,1-14 16,13-13-16,-13 1 0,13-1 15,-13 0-15,13 0 0</inkml:trace>
  <inkml:trace contextRef="#ctx0" brushRef="#br0" timeOffset="25084.99">16801 3797 0,'-13'-27'32,"13"14"-32,0 0 0,0 0 15,0-1-15,0 1 0,0 0 16,0 0-16,0-1 0,13 14 16,-13-13-16,0 0 0,27 26 31,-27 0-31,0 1 15,13-1-15,-13 0 16,13 0-16,-13 1 16,13-14-16,0 13 0,1-13 15,-1 0 1,0 0-16,-13-13 16,0-1-16,13 14 15,-13-13-15,0 0 0,0 0 0,0-1 16,0 1-16,0 0 0,0 0 15,14 0-15,-14-1 16,13 14 15</inkml:trace>
  <inkml:trace contextRef="#ctx0" brushRef="#br0" timeOffset="38955.25">5847 5900 0,'133'0'16,"12"0"-1,-105 0-15,-1 0 0,1 0 16,-13 0-16,12 0 0,1 0 16,-14 13-16,1-13 0,-1 0 0,1 0 15,-14 0-15,14 0 0</inkml:trace>
  <inkml:trace contextRef="#ctx0" brushRef="#br0" timeOffset="39332.17">5966 6059 0,'0'0'0,"53"-13"0,-26 13 0,-1 0 0,1-14 15,12 14-15,-12 0 0,-1 0 0,27 0 16,-26 0-16,12-13 0,-12 13 15,-1 0-15,14 0 0,-14 0 0,1 0 16,-14 0-16,14 0 0,-1 0 0,-13 0 16,0 0-16,1-13 0,-1 13 15,0 0-15,0 0 0,1 0 16,-1 0 0,0 0-16,0 0 15,1 0 1,-1-13 46</inkml:trace>
  <inkml:trace contextRef="#ctx0" brushRef="#br0" timeOffset="41309.97">3836 6456 0,'0'-13'16,"-13"-1"-16,13 1 15,0 0-15,0 0 16,0-14-16,0 1 16,0 13-16,0-1 0,0-12 0,0 13 15,0-14-15,0 14 16,-13-14-16,13 14 0,0-13 0,0 13 0,0-1 16,0 1-16,0 0 0,0 0 15,0-1-15,0 1 16,-13 13-16,13-13 15,-13 0 17</inkml:trace>
  <inkml:trace contextRef="#ctx0" brushRef="#br0" timeOffset="41543.82">3889 5940 0,'-26'13'16,"26"0"-16,-13-13 0,-1 14 15,1-1-15,0-13 0,0 13 0,0 0 16,-1 0-16,1 14 0,0-14 0,0 0 16,-1 1-16,1-1 0,0 0 15,0 0-15,13 1 0,-14-1 0,14 0 16,-13 0-16,0-13 0,13 13 0,0 1 15,-13-14-15</inkml:trace>
  <inkml:trace contextRef="#ctx0" brushRef="#br0" timeOffset="41767.97">3731 6072 0,'26'0'0,"-52"0"0,65 0 0,-25 0 16,-1 0-16,0 13 0,0-13 0,0 0 15,1 0-15,-1 14 16,0-14-16,0 0 0,1 0 0,-1 0 16,0 0-16,-13 13 0,13-13 15,1 0-15,-1 0 0,0 0 16,0 0-16</inkml:trace>
  <inkml:trace contextRef="#ctx0" brushRef="#br0" timeOffset="45457.28">12634 6826 0,'13'0'15,"0"13"-15,1-13 16,-1 0-16,0 0 0,0 0 0,0 0 0,14 0 16,-1 0-16,1 0 0,-1 0 0,14 0 15,-14 0-15,27 0 0,0 0 16,0 0-16,13 14 0,-13-14 0,0 0 16,0 0-16,13 0 0,-13 0 15,0 0-15,0 0 0,0 0 16,0 0-16,0 0 0,0 0 0,-14 0 15,1 0-15,0 0 0,-14 0 0,1 0 16,-14-14-16,13 14 0,1 0 16,-14 0-16,0 0 0,0 0 0,1 0 15,-1 0-15,0 0 0,0 0 0,1 0 16,-1 0-16,0 0 16,0 14-16,1-14 31,-1 0-16</inkml:trace>
  <inkml:trace contextRef="#ctx0" brushRef="#br0" timeOffset="47090.16">410 7302 0,'-13'0'0,"39"0"47,-12 0-32,-1 0-15,0 0 0,0 0 16,14 0-16,-14 0 0,13 0 0,1 0 15,-1 0-15,1 0 0,12 0 16,-12 0-16,13 0 0,-14 0 0,14 0 16,-1 0-16,-12 0 0,26 0 15,-14 14-15,1-14 0,79 13 16,-53-13 0,-13 0-16,-26 13 0,26-13 0,119 0 31,-146 13-31,14-13 0,-14 0 15,14 0-15,-14-13 0,14 13 0,-13 0 16,-1 0-16,14 0 0,-14 0 16,14 0-16,-14 0 0,14 0 0,-14 0 15,1 0-15,-1 0 0,1 0 0,-1 0 16,1 0-16,-1 0 0,1 0 16,-14 0-16,13 0 0,1 0 0,-14 0 15,0 0-15,14 0 0,-14 0 0,0 0 16,14 0-16,-14 0 0,0 0 15,14 0-15,-14 0 0,0 0 16,0 0-16,0 0 0,1 0 16,-1-13-16,0 13 15,0 0-15,1 0 16,-1 0 0,0 0 15,0 0 16</inkml:trace>
  <inkml:trace contextRef="#ctx0" brushRef="#br0" timeOffset="48304.21">5173 7250 0,'39'0'47,"-25"0"-47,-1 0 16,0 0-16,13 0 0,1 0 15,-1 13-15,14-13 0,-13 0 0,12 0 16,-12 0-16,12 0 0,14 0 0,-13 0 15,13-13-15,-13 13 0,12 0 0,1 0 16,-13 0-16,-13 0 16,25 0-16,-12 0 0,0 0 0,-1 0 0,1 0 15,13 0-15,0 0 0,-13 0 16,-14 0-16,14 0 0,0 0 16,-14 0-16,14 0 0,-14 0 0,14 0 15,-14 0-15,1 0 0,-1 0 0,1 0 16,-1 0-16,-13 0 0,1 0 15,12 0-15,-13 0 0,1 0 16,-1 0-16,0 0 0,0 0 16,0 0-16,1 0 15,-1 0-15,0 0 16,0 0 31,1 0-16</inkml:trace>
  <inkml:trace contextRef="#ctx0" brushRef="#br0" timeOffset="49804.45">10001 7276 0,'27'-13'0,"-1"13"15,-13 0-15,1 0 0,-1 0 16,0 0-16,14 0 0,-14 0 16,0 0-16,13 13 0,1-13 15,-1 0-15,1 0 0,-1 0 0,1 0 16,-1 0-16,40 0 0,-26 0 15,-13 0-15,12 0 0,1 0 16,-14 0-16,14 0 0,-14 0 0,14 0 16,-13 0-16,12 0 0,-12 0 15,12 0-15,-12 0 0,13 0 0,-14 0 16,14 0-16,-14 0 0,40 0 16,-39 0-16,-1 0 0,14 0 0,-14 0 15,1 0-15,-1 0 16,-12 0-16,12 0 0,0 0 0,1 0 15,-1 0-15,-12 0 0,12 0 0,-13 0 16,14 0-16,-14 0 0,0 0 16,14 0-16,-14 0 0,0 0 0,0 0 15,1 0-15,-1 0 0,0 0 0,0 0 16,14 0 0,-14 0-1,0 0-15,0 0 16,1 0-1,-1 0 32</inkml:trace>
  <inkml:trace contextRef="#ctx0" brushRef="#br0" timeOffset="51656.42">10663 10041 0,'13'26'16,"-13"-12"-16,0-1 0,0 0 15,0 0-15,0 14 0,0-14 16,0 27-16,0-14 0,0-13 16,0 27-16,0-27 0,0 14 15,0-14-15,0 40 31</inkml:trace>
  <inkml:trace contextRef="#ctx0" brushRef="#br0" timeOffset="52204.16">10438 9895 0,'-40'27'16,"-13"13"-16,-119 184 31,159-184-31,-13 0 0,26 0 16,-14-1-16,14 1 0,0 0 15,0-1-15,27 27 0,-1-26 16,-13-13-16,14-1 0,-1 0 0,1-12 16,-1 12-16,1-26 0,12 13 15,-12 1-15,-1-14 0,1 0 0,-1 0 16,1 0-16,-1 0 0,1-14 0,12 1 16,-12 0-16,12 0 0,-12-1 15,-1 1-15,14-13 0,-27 13 16,14-14-16,-1 14 0,1-14 0,-14 1 15,0 0-15,14-1 0,-14 14 0,0-14 16,0 1-16,1-1 0,-1 1 0,0 0 16,-13-1-16,13 1 0,-13-1 15,0 1-15,0-1 0,-13 1 16,0-14-16,0 0 0,-1 14 0,1-1 16,0 1-16,-14 0 0,1-1 0,-1 14 15,1-14-15,0 14 0,-14 0 0,13 0 16,1-1-16,-14 14 0,14 0 15,-1 0-15,1 0 0,-1 0 0,1 0 16,13 0-16,-14 0 0,14 0 0,-13 14 16,12-1-16,1-13 0,13 13 15,0 0-15</inkml:trace>
  <inkml:trace contextRef="#ctx0" brushRef="#br0" timeOffset="52852.99">13295 10001 0,'27'-13'0,"-14"13"0,0 0 0,0 0 15,1 0-15,-1 0 0,-13 13 0,13-13 16,0 13-16,-13 1 0,14-1 15,-14 0-15,0 14 0,-14-14 0,14 13 16,-26 1-16,13-1 0,-14 1 0,1-1 16,-1 1-16,14-14 0,-13 0 15,12 0-15,1 1 0,0-1 16,0 0-16,-1-13 16,14 13-16,14-13 31,-1 0-31,0 0 0,0 0 0,14 0 15,-1 0-15,-12-13 0,12 13 16,0 0-16,1 0 0,-1-13 0,-12 13 16,12 0-16,1-13 0,-14 13 0,13-14 15,-13 14-15,1-13 0,12 0 16,-13 0-16,-13-1 0,14 1 16</inkml:trace>
  <inkml:trace contextRef="#ctx0" brushRef="#br0" timeOffset="53296.44">13004 9776 0,'-79'27'16,"39"-1"-16,1 1 0,-1 12 0,0 1 15,0 0-15,14 13 0,0 13 16,-1-13-16,1 0 0,-1 66 15,27-66-15,0 0 0,13 0 16,14-14-16,-1 14 0,1-13 0,12-1 16,1 1-16,0-13 0,0-14 15,-1 13-15,1-12 0,13-14 0,0 0 16,0 0-16,0 0 0,-1 0 0,15-14 16,-14 1-16,13 0 0,-13 0 15,-14-14-15,1 14 0,0 0 0,-1-14 16,1 1-16,0 13 0,-14-14 0,1 1 15,-1-1-15,1-12 0,-1 12 0,-13 1 16,14-14-16,-14 0 0,0 1 16,-13-1-16,0 0 0,0-13 0,-13 14 15,0-14-15,-14 13 0,1-13 0,-1 13 16,-12 14-16,12-14 16,-26 14-16,14-1 0,-14 14 0,-13-13 15,13 12-15,-14 1 0,15 13 0,-1-13 0,0 13 16,0 0-16,0 0 15,0 0-15,13 13 0,1-13 0,-1 13 16,0 1-16,27-14 0</inkml:trace>
  <inkml:trace contextRef="#ctx0" brushRef="#br0" timeOffset="56014.18">714 7832 0,'67'0'31,"-41"-14"-31,27 14 0,-13 0 16,26 0-16,0 0 0,13-13 0,14 13 16,-14-13-16,14 13 0,-1 0 0,1-13 15,0 13-15,-1 0 0,14 0 16,-27 0-16,14 0 0,-14 0 0,14 0 15,-14 0-15,-26 0 0,13 13 16,-13-13-16,0 0 0,0 0 16,-13 0-16,0 13 0,-14-13 0,1 0 15,-1 0-15,-13 0 0,0 0 0,1 13 16,-1-13-16,0 0 0,0 0 16,-39 14-1,13-14 1,-1 0-16</inkml:trace>
  <inkml:trace contextRef="#ctx0" brushRef="#br0" timeOffset="56319.41">1455 7951 0,'66'-13'0,"265"-1"31,-252 14-31,1 0 0,-1-13 0,14 13 16,-14 0-16,1 0 0,-14 0 0,0 0 16,-13 0-16,13 0 0,-26 0 15,13 0-15,-14 0 0,-12 0 16,-1 0-16,1 0 0,-14 0 0,0 0 15,0 0-15,1 13 0,-1-13 0,-13 14 16,-13-1 0,-1 0-16,14 0 0,-13 0 15</inkml:trace>
  <inkml:trace contextRef="#ctx0" brushRef="#br0" timeOffset="57263.42">5913 12025 0,'14'14'15,"-14"-1"-15,0 13 0,0 1 0,0 12 16,0 14-16,0 13 0,0 1 15,0-1-15,0 0 0,-14 13 0,14-13 16,0 1-16,-13-1 0,13-27 0,0 14 16,0-13-16,0 0 0,0-1 15,0 1-15,0-13 0,0-14 0,0 13 16,0-13-16,0 1 0,0-1 0,0 0 16,0-39 15</inkml:trace>
  <inkml:trace contextRef="#ctx0" brushRef="#br0" timeOffset="57952.38">5794 12078 0,'80'-13'16,"-41"0"-16,14 13 15,0 0-15,0-13 0,27 13 0,-1 0 16,0-14-16,14 14 0,0-13 16,-1 0-16,27 0 0,13-1 0,-12 1 15,12 0-15,-13 0 0,0-14 0,0 14 16,0 0-16,-26 0 0,-1-1 15,1 14-15,-14-13 0,1 0 0,-14 13 16,-13-13-16,-14 13 0,1 0 0,0 0 16,-27 0-16,13 0 0,-12 0 15,-1 0-15,0 0 0,0 13 16,1-13-16,-1 0 0,-13 13 0,13 0 16,-13 1-16,0-1 15,0 0-15,-13 0 0,13 14 0,0-1 16,0 14-16,-13 13 0,13-14 0,0 1 15,0 13-15,-14 0 0,14-13 16,0 13-16,0-14 0,0 14 0,0 0 16,-13-13-16,26 13 0,-13-14 0,0 1 15,0 0-15,0 13 0,14-14 16,-14-12-16,0 13 0,13-1 0,-13-12 16,0-1-16,13 1 0,-13 12 15,13-12-15,-13-1 0,0-13 0,14 14 16,-14-1-16,13-12 0,-13 12 15,0-13-15,0 14 0,0-14 0,0 0 16,0 0-16,0 1 0,0-1 0,-13 0 16,-1 0-16,1 1 15,0-14-15,-14 13 0,14-13 16,-27 13-16,1-13 0,-1 0 0,-13 13 16,-13-13-16,0 0 0,0 0 0,-14 13 15,1-13-15,-14 0 0,1 0 16,-1 14-16,-13-14 0,14 13 0,-14-13 15,0 13-15,13-13 0,-12 0 16,12 0-16,0 0 0,1 0 0,12-13 16,1 0-16,13-1 0,-13 1 15,26-13-15,-14-14 0</inkml:trace>
  <inkml:trace contextRef="#ctx0" brushRef="#br0" timeOffset="58496.18">5927 11324 0,'13'0'15,"27"27"1,-40-14-16,13 13 16,0-12-16,-13-1 0,13 13 0,-13-13 15,13 14-15,-13-14 0,0 0 16,0 14-16,0-14 0,0 0 16,0 1-16,0-1 0,0 0 0,0 0 15,0-39 16,0-1-15,14 14-16,-14-13 0,13 12 16,0-25-16,0 25 0,1 1 15,-14 0-15,13 0 0,0 0 0,0-1 16,1 14-16,-14-13 0,13 13 16,0 0-16,0 0 0,0 13 15</inkml:trace>
  <inkml:trace contextRef="#ctx0" brushRef="#br0" timeOffset="59349.04">6310 11615 0,'14'-13'0,"-14"0"15,13 0-15,-13-1 0,13 1 16,-13 0-16,0 0 0,0-1 0,13 1 15,-13 0-15,0 0 16,0-1-16,-13 41 31,13-14-15,0 0-16,-13 1 16,13-1-16,0 0 0,0 0 15,13-13-15,-13 14 0,0-1 16,13-13-16,0 13 0,1-13 15,-1 13-15,0-13 0,0-13 0,1 13 16,12 0-16,-13 0 0,14-13 16,-14 13-16,0-13 0,14-1 0,-14 14 15,0-13-15,0 0 0,1 13 16,-14-13-16,13 13 0,-13-14 0,13 14 16,-13-13-1,-13 26 16,13 1-31,0-1 0,-13-13 16,13 13-16,0 0 0,0 1 0,0-1 16,-14-13-16,14 13 0,14 0 0,-14 0 15,13-13-15,-13 14 16,13-14-16,14 0 16,-14-14-16,0 14 0,0 0 0,0-13 15,1 13-15,-14-13 0,13 13 16,0-13-16,0 13 0,-13-13 15,14 13-15,-14-14 0,13 14 16,-13-13 0,-13 0-1,-1 0 1,28-1 15,-1 14-15,0 0-1,0 0-15,-13 14 0,13-14 16,1 13-16,-1 0 0,0-13 16,-13 13-16,13 1 0,-13-1 15,14-13-15,-14 13 0,13-13 0,-13 13 16,13 0-16,-13 1 31,13-41 0,-13 14-31,14 0 16,-14 0-16,13-1 0,0 1 16,-13 0-16,13 13 0,0-13 15,1-1-15,-1 1 16,0 0-16,0 13 16</inkml:trace>
  <inkml:trace contextRef="#ctx0" brushRef="#br0" timeOffset="59740.2">7302 11232 0,'-39'0'0,"39"13"16,-13 0-16,-1-13 0,-52 106 31,53-80-31,0-12 0,13-1 0,0 13 16,-13-13-16,13 1 0,0-1 15,13 0-15,-13 0 16,13-13-16,0 0 0,0-13 16,1 0-16,-1 13 0,0-27 15,0 1-15,1-14 0,-1 14 16,0-27-16,0 13 0,0-13 0,1 14 16,-1-1-16,-13 13 0,13 14 15,-13-13-15,0 13 0,13 13 0,-13-14 16,-13 54-1,13-14-15,-13 14 0,13 0 16,-13 0-16,13-1 0,0 14 0,0-13 16,0 13-16,0-14 0,13 1 0,-13 0 15,13 0-15,0-14 0,-13 0 16,14-12-16,-14 12 0,13-13 16,0 1-16,0-14 0</inkml:trace>
  <inkml:trace contextRef="#ctx0" brushRef="#br0" timeOffset="59880.49">7726 11576 0</inkml:trace>
  <inkml:trace contextRef="#ctx0" brushRef="#br0" timeOffset="66800.23">9684 11496 0,'0'53'31,"0"-40"-31,0 14 16,0-1-16,0 1 0,0-1 0,0 1 15,0-1-15,0-13 0,0 14 0,0-1 16,0-13-16,0 14 0,0-14 15,0 0-15,0 1 0,0-1 0,13-13 16,-13 13-16,0 0 0,0 0 16,-13-26 15,0 0-31,-1 0 0,14 0 16,-13-1-16,0 14 0,0-13 0,-1 0 15,1 13-15,0-13 0,0 13 16,-14 0-16,14 0 0,0 0 0,0 0 15,-1 0-15,-12 13 0,13 0 0,-1 0 16,1-13-16,13 14 0,-13-1 16,13 0-16,0 0 0,0 0 0,0 1 15,0-1-15,13 0 0,-13 0 0,13 1 16,1-1-16,-1-13 0,-13 13 16,13-13-16,0 0 0,1 0 0,12 13 15,-13-13-15,0 0 0,1 0 0,-1-13 16,13 13-16,-12 0 0,-1-13 15,13 13-15,-12-13 0,-1 13 16,0 0-16,0-14 0,0 14 0</inkml:trace>
  <inkml:trace contextRef="#ctx0" brushRef="#br0" timeOffset="67225">9869 11814 0,'0'0'0,"0"-14"31,0 41-15,0-14-16,0 14 16,0-14-16,13 0 15,-13 0-15,13-13 16,-13 13-16,14-13 0,-1 0 0,13 0 15,-12 0 1,-1-13-16,-13 0 0,13 13 16,0-13-16,-13 0 0,13-1 15,-13-12-15,14 13 0,-14-1 16,13 1 0,0 26 15,-13 1-31,0-1 15,0 0-15,0 0 16,-13 1-16,26-1 0,-13 0 0,0 0 16,0 0-1,0 1-15,13-14 16,1 13-16</inkml:trace>
  <inkml:trace contextRef="#ctx0" brushRef="#br0" timeOffset="67553.2">10213 11761 0,'-13'26'31,"13"27"0,0-40-31,0 1 0,0-1 0,0 0 16,0 0-16,0 0 16,0 1-1,13-41 17,0 14-32,-13 0 0,0 0 0,13-1 15,-13 1-15,14 0 0,-14 0 0,13-1 16,-13 1-16,13 0 0,0 0 15,1 13-15,-1-13 16</inkml:trace>
  <inkml:trace contextRef="#ctx0" brushRef="#br0" timeOffset="68387.23">10530 11748 0,'-13'-14'0,"13"1"31,-26 26 1,26 1-17,-13-14-15,13 13 0,-14-13 16,14 13-16,-13 0 0,13 0 16,-13 1-16,13-1 15,0 0 1,13-13 15,0-13-31,1 13 16,-1 0-16,0 0 15,0 13 1,0 0 0,1-13-1,-1 14-15,0-14 16,0-14-16,1 1 15,-1 13-15,0-13 0,-13 0 16,13-1-16,0-12 0,1 13 16,-14-14-16,13 14 0,0-27 0,0 14 15,-13-1-15,14 14 0,-14-13 16,0 13-16,13-1 0,-13 1 0,0 0 16,0 0-16,0 52 31,0-12-31,-13-14 15,13 13-15,-14 1 0,14 13 16,0-14-16,0 1 0,-13-14 0,13 13 16,0-13-16,0 14 0,13-14 0,-13 0 15,0 1-15,0-1 0,0 0 16,0 0-16,14-13 0,-14 13 0,13 1 16</inkml:trace>
  <inkml:trace contextRef="#ctx0" brushRef="#br0" timeOffset="68709.35">10597 11721 0,'0'0'15,"26"0"1,-13 0-1,0-13-15,14 13 0,-14 0 16,0-13-16,1 13 0,-1 0 16,0 0-16,0 0 0,1-14 0,-1 14 15,0 0-15,0 14 16,0-14-16,-13 13 16,14-13-16,-14 13 15,0 0-15,0 1 0,0-1 16,0 0-16,0 0 0,0 0 0,0 1 15,13-1-15,-13 0 0,0 0 16,0 1-16,0-1 16,0 0-1</inkml:trace>
  <inkml:trace contextRef="#ctx0" brushRef="#br0" timeOffset="68833.42">10914 11562 0</inkml:trace>
  <inkml:trace contextRef="#ctx0" brushRef="#br0" timeOffset="69476.33">11033 11668 0,'-13'53'15,"0"-40"1,13 1-16,0-1 0,0 0 15,0 0-15,0 0 16,0 1-16,0-1 16,13-13-16,0 0 15,14 0 1,-27-13-16,13-1 16,0 1-16,-13 0 15,13 0-15,-13 0 0,13-1 0,-13 1 16,0 0-16,0 0 0,0-1 15,0 1-15,0 0 16,0 0-16,0-1 16,-13 14-16,0 14 47,13-1-47,13 0 31,-13 0-16,13-13-15,-13 14 16,14-14-16,-1 13 31,0-13-15,-13 13-16,13-13 16,1 13-16,-1-13 15,-13 14 1,13-14-16,0 13 15,1-13 1,-1 0 0,0 0-1,0-13 1,-13-1-16,13 14 16</inkml:trace>
  <inkml:trace contextRef="#ctx0" brushRef="#br0" timeOffset="71269.34">12660 11509 0,'27'93'31,"-14"-80"-15,-13 14-16,0-14 0,13 0 16,-13 0-16,13 14 0,1-14 0,-1 0 15,-13 1-15,13-14 0,-13 13 16,13-13-16,1 0 0,-1 0 15,0-13-15,0-1 16,-13 1-16,14 0 16,-14 0-16,13-1 0,-13 1 0,0 0 15,0 0-15,13-1 0,-13 1 0,0 0 16,0 0-16,0 0 16,13-1-1</inkml:trace>
  <inkml:trace contextRef="#ctx0" brushRef="#br0" timeOffset="71628.7">12965 11576 0,'13'0'0,"-13"13"16,0 0-1,0 0-15,0 0 16,0 1-16,0-1 16,0 0-16,0 0 0,0 1 15,0-1-15,0 0 0,0 0 16,13-13 0,0-13-1,-13 0 1,14 13-16,-1-13 15,0 13-15,0-14 16,0 14-16,1 14 16,-1-14-1,-13 13-15,13-13 0,-13 13 16,13-13-16,-13 13 0,14-13 16,-1 14-1</inkml:trace>
  <inkml:trace contextRef="#ctx0" brushRef="#br0" timeOffset="72408.27">13401 11430 0,'-13'26'31,"13"-12"-31,-13 12 16,13-13-16,0 1 0,-14 12 16,14 1-16,-13-14 0,13 0 0,0 13 15,0-12-15,0-1 0,0 0 0,0 0 16,0 1-16,13-14 16,-13 13-16,-13-40 46,0 14-46,0 13 16,13-13-16,-13 13 0,-14 0 16,14 0-1,0 13-15,-1-13 0,1 13 0,0 1 16,0-1-16,-1 0 16,14 0-16,0 1 15,0-1-15,0 0 0,14-13 16,-14 13-16,13-13 0,0 0 0,0 0 15,1 0-15,12 0 0,1-13 16,-14 13-16,13-13 0,1 13 0,-1-13 16,-13-1-16,14 1 0,-14 0 0,14 0 15,-14-1-15,0 14 16,-13-13-16,13 0 0,0 0 16,-13-1-16,0 1 31,-26 26-16,26 1 1,0-1 0,13-13-1,0 13-15,1-13 16,-14 13-16,13-13 16,-13 14-16,13-14 0,-13 13 15,13 0-15,1 0 16,-14 1-16,0-1 0,13 0 31,0-26 0,0 0-15,-13-1-16,13 14 0,-13-13 0,14 0 16,-1 0-16,0-1 0,0 1 15,1 0-15,-1 13 0,-13-13 16,13 13-16,0 0 0,1-14 15,-1 14-15</inkml:trace>
  <inkml:trace contextRef="#ctx0" brushRef="#br0" timeOffset="72900.86">13851 11628 0,'-27'14'16,"41"25"15,-1-39-31,-13 14 0,13-1 0,-13 0 15,13-13-15,-13 13 0,14-13 0,-14 14 16,0-1-16,13 0 16,-26 0-16,13 0 15,-14-13-15,1 0 0,13 14 16,-13-14-16,0 0 0,-1 0 16,1 0-16,0 0 15,0 0-15,0 0 0,13-14 16,0 1-16,0 0 15</inkml:trace>
  <inkml:trace contextRef="#ctx0" brushRef="#br0" timeOffset="73109.11">14116 11417 0,'0'0'0,"13"13"31,-26 0-31,13 0 0,0 14 15,0-14-15,0 0 0,0 14 16,0-14-16,0 14 0,-14-14 0,14 13 16,0-13-16,0 1 0,0 12 0,0-13 15,0 1-15,0-1 16,0 0-16,0 0 0,0 1 16,0-1-16</inkml:trace>
  <inkml:trace contextRef="#ctx0" brushRef="#br0" timeOffset="73308.59">14023 11642 0,'0'0'0,"0"-14"0,13 14 0,0 0 16,14 0-1,-14 0-15,0 0 16,1 0-16,-1 0 0,0 0 0,0 0 16</inkml:trace>
  <inkml:trace contextRef="#ctx0" brushRef="#br0" timeOffset="74083.1">14380 11602 0,'-13'0'16,"-14"0"0,27 13-1,-13-13-15,0 13 16,0-13-1,0 14-15,13-1 16,-14-13-16,14 13 16,0 0-1,-13-13 1,13 14-16,13-1 16,1-13 15,-1 0-16,-13-13-15,13 13 0,-13-14 16,13 14-16,-13-13 16,13 0-16,1 0 15,-14-1 17,13 14-17,-13 14 32,0-1-31,0 0-16,0 0 15,0 1 1,0-1 0,26-26 62,-12 13-63,-14-14-15,13 14 16,0 0 0,0 14 15,0-1-16,1 0 1,-1-13 0</inkml:trace>
  <inkml:trace contextRef="#ctx0" brushRef="#br0" timeOffset="74547.38">14817 11430 0,'-40'26'15,"40"-12"1,-13-1-16,13 0 0,0 0 16,-13 1-16,13-1 0,0 0 0,-14 0 15,14 1-15,0-1 0,0 0 0,0 0 16,0 0 0,0 1-16,-26-28 46,13 14-30,-1 0-16,1 0 16,0 0-16,0 14 0,-1-14 15,1 0-15,13 13 0,-13-13 16,0 13-16,0-13 0,13 13 16,0 1-16,0-1 15,13-13 1,-13 13-16,13-13 0,0 0 15,0 0-15,1 0 0,-1 0 16,0-13-16,0 13 0</inkml:trace>
  <inkml:trace contextRef="#ctx0" brushRef="#br0" timeOffset="74741.36">14909 11576 0,'0'26'31,"-13"-26"-31,13 13 0,0 0 16,0 1-16,-13-14 0,13 13 15,0 0-15,0 0 0,-13 1 16,13-1-16,0 0 16</inkml:trace>
  <inkml:trace contextRef="#ctx0" brushRef="#br0" timeOffset="74875.47">14909 11509 0,'0'0'0,"-13"0"0,0-13 0</inkml:trace>
  <inkml:trace contextRef="#ctx0" brushRef="#br0" timeOffset="75185.25">14962 11589 0,'0'13'0,"0"-26"0,0 39 15,0-13-15,-13-13 16,13 14-1,0-1-15,13-13 16,0 0 15,1 0-31,-14-13 16,13 13 0,0 0-16,0 13 15,1-13 1,-1 0-1</inkml:trace>
  <inkml:trace contextRef="#ctx0" brushRef="#br0" timeOffset="78353.22">9393 11377 0,'53'0'32,"-27"0"-32,1-13 0,12 13 15,14 0-15,0 0 0,26-13 0,-12 13 16,12 0-16,0-14 0,1 14 16,-1 0-16,0 0 0,14-13 0,-14 13 15,14 0-15,-14 0 0,1 0 0,-1-13 16,-13 13-16,14 0 0,-14 0 15,0-13-15,-13 13 0,13 0 16,-13-14-16,0 14 0,-13 0 0,12-13 16,-25 13-16,-1 0 0,1 0 15,-1 0-15,-12 0 0,-1 0 0,13-13 16,-13 13-16,1 0 0,-1 0 16,0 0-16,0 0 15,1 0-15,-1 0 16,0 13-16,0-13 15,-13 13-15,14-13 16,-1 0-16,-13 14 16,13-14-16,0 13 0,14 0 15,-14 0 1,0 1-16,-13-1 16,13-13-16,-13 13 0,0 0 0,14 1 15,-14-1-15,0 0 0,0 0 16,0 0-16,0 14 0,0-14 0,0 14 15,0-14-15,0 13 0,0 1 0,0-14 16,-14 13-16,14 1 0,0-14 0,0 14 16,0-14-16,-13 13 0,13-12 15,0 12-15,0-13 0,-13 0 0,13 1 16,0-1-16,0 0 0,0 0 0,0 1 16,-13-1-1,13 0-15,0 0 16,0 0-16,0 1 31,-14-1-15,14 0-1,-13-13-15,13 13 16,-13-13-16,0 14 16,0-14-16,-1 0 0,1 13 0,-13-13 15,12 13-15,-12-13 0,13 13 0,-14-13 16,1 14-16,-1-14 0,1 0 15,-14 13-15,14-13 0,-14 13 0,-13-13 16,13 0-16,1 13 0,-1-13 16,-13 13-16,13-13 0,1 0 0,-14 14 15,13-14-15,-13 0 0,14 13 16,-14-13-16,13 0 0,0 0 0,-13 13 16,0-13-16,14 0 0,-14 0 0,13 0 15,-13 0-15,0 13 0,0-13 16,14 0-16,-14 0 0,0 14 0,13-14 15,0 0-15,1 0 0,12 0 0,-12 0 16,12 0-16,1 0 0,-1 0 16,1 0-16,13 0 0,-14 0 15,1 13-15,12-13 0,1 0 0,-13 0 16,13 0-16,-1 0 0,-12 0 0,13 13 16,-1-13-16,-12 0 0,13 0 15,-14 13-15,14-13 0,0 0 0,-14 14 16,14-14-16,0 0 0,0 0 0,-14 13 15,14-13-15,0 0 0,-14 0 16,14 13-16,0-13 0,0 0 0,-1 0 16,1 0-16,0 0 0,0 0 0,-1 0 15,14-13-15,-13 13 0,0 0 0,0-13 16,0-1-16,-1 1 16,1 0-16,13 0 0,-13-1 15,13 1-15,-13 0 0,13-14 16,0 1-16,0 0 0,-14-1 15,14-13-15,0-13 0,0 14 0,0-1 16,0-13-16,-13 14 0,13-14 0,0 13 16,0 0-16,13 1 0,-13 12 15,14 1-15,-14 12 0,13-12 0,13-1 16,1 14-16,12-13 0,1 13 0,-13-1 16</inkml:trace>
  <inkml:trace contextRef="#ctx0" brushRef="#br0" timeOffset="80429.38">11536 11337 0,'40'0'0,"-27"0"0,13 0 16,1 0-16,12 0 0,14 0 0,0 0 15,0 0-15,13 0 0,-13 0 16,27 0-16,-1 0 0,0 0 0,1 0 16,-1 0-16,14 0 0,-14 0 15,14 0-15,-1 0 0,1 0 0,13 0 16,0 0-16,-14 0 0,14-13 0,-13 13 15,-1 0-15,14-13 0,-13 13 16,-1 0-16,1-13 0,-1-1 0,1 14 16,-14-13-16,1 0 0,12 13 0,-12-13 15,-14 0-15,13 13 0,-13-14 16,1 1-16,-1 13 0,-13 0 16,0-13-16,-1 13 0,-12 0 0,13-13 15,-13 13-15,-1 0 0,-12-14 0,-1 14 16,-12 0-16,12 0 0,0 0 15,-12 0-15,12 0 0,-13 0 16,1 0-16,-1-13 0,0 13 0,0 0 0,1 0 16,-1 0-16,0 0 15,0 0-15,0 0 16,1 0-16,-1 0 16,0 0 15,0 13-16,1 1 1,-14-1 0,0 0-16,0 0 0,0 1 15,0 12-15,0-13 0,0 0 16,0 14-16,0-14 0,0 14 0,0-1 16,0 1-16,0-14 0,0 13 0,13 1 15,-13-1-15,0-13 0,0 14 0,0-1 16,0-12-16,0 12 0,0-13 15,13 0-15,-13 14 0,0-14 0,0 0 16,0 1-16,0-1 0,0 0 16,0 0-16,13 1 0,-13-1 15,0 0-15,0 0 0,0 0 16,0 1-16,0-1 0,0 0 16,14-13-16,-14 13 15,0 1-15,0-1 16,0 0 31,-14 0 0,1-13-47,0 0 0,0 0 15,-1 0-15,1 0 0,-13 13 0,12-13 16,-12 0-16,0 0 0,-1 14 15,-13-14-15,1 0 0,-1 13 0,-13-13 16,13 13-16,-13-13 0,14 0 0,-14 13 16,0-13-16,13 0 0,-13 14 15,0-14-15,14 0 0,-14 13 0,0-13 16,13 0-16,-13 0 0,14 13 16,-1-13-16,14 0 0,-14 0 0,-13 0 15,13 0-15,1 13 0,12-13 16,-13 0-16,14 0 0,-14 0 0,14 0 15,-14 0-15,14 14 0,-1-14 0,1 0 16,-1 0-16,-12 13 0,12-13 16,1 0-16,-14 0 0,0 13 0,1-13 15,-1 0-15,0 13 0,-13-13 16,14 0-16,-1 13 0,0-13 0,1 0 16,-1 0-16,13 14 0,-12-14 0,12 0 15,1 0-15,-14 0 0,-13 13 16,27-13-16,-14 0 0,14 0 15,-1 0-15,1 0 0,-1 0 16,1 0-16,-14 0 0,14 0 0,-1 0 16,14 0-16,-14 0 0,1 0 0,13 0 15,-14 13-15,1-13 0,13 0 16,-1 0-16,-12 0 0,13 0 0,-1 0 16,-12 0-16,13 0 0,0 0 0,-14 13 15,14-13-15,-14 0 0,14 0 16,0 0-16,-14 0 0,1 0 15,13 14-15,-14-14 0,14 0 0,0 0 0,-14 0 16,14 0-16,0 0 16,-13 0-16,12 0 0,-12 0 0,13 0 15,-1 0-15,1-14 0,-13 14 0,12 0 16,1 0-16,0 0 0,0 0 0,-14 0 16,14 0-16,0 0 0,0 0 15,-1 0-15,1 0 0,0 0 16,0 0-16,-1 0 0,1 0 15,0 0-15,0 0 16,0 0-16,-1 0 0,1 0 16,0 0-16,0 0 0,-1 0 15,-12 0 1,13 0-16,0 0 0,-1 0 16,1 0-16,0-13 0,0 13 15,-1 0 1,1 0-16,0 0 15,0 0 1,-1 0-16,1-13 31,13 0 1,0-1-17,0 1 1,0 0-16,0 0 15,0 0-15,13 13 0,-13-14 16,0 1-16</inkml:trace>
  <inkml:trace contextRef="#ctx0" brushRef="#br0" timeOffset="86372.17">8903 12515 0,'0'13'31,"13"0"-31,-13 0 16,-13 1-16,13-1 0,0 0 15,0 0-15,0 1 0,0-1 16,0 0-16,0 0 16,0 1-16</inkml:trace>
  <inkml:trace contextRef="#ctx0" brushRef="#br0" timeOffset="86797.14">8625 12462 0,'0'0'16,"-39"66"-16,39-53 0,0 0 0,-14 14 16,14-14-16,14 14 0,-14-1 15,0 1-15,13 12 0,13-12 0,-12-1 16,-1 1-16,13-1 0,-12-13 16,12 1-16,-13-1 0,14 0 15,-1 0-15,-13-13 0,14 0 0,-14 0 16,14 0-16,-1 0 0,-13-13 0,14 13 15,-14-13-15,13 0 0,1 13 16,-14-14-16,0-12 0,1 13 16,-1-1-16,0 1 0,0-13 0,-13 12 0,13-12 15,-13 13-15,0 0 0,0-14 16,-13 14-16,13-14 0,-13 14 0,0 0 16,0-14-16,-14 14 0,14 13 15,-14-13-15,1 0 0,-1 13 16,1-13-16,-14 13 0,14 0 0,-1 0 15,1 0-15,-1 0 0,14 0 16,0 0-16,0 13 0</inkml:trace>
  <inkml:trace contextRef="#ctx0" brushRef="#br0" timeOffset="88693.42">10610 10769 0,'-13'26'31,"13"-13"-31,-14-13 16,14 13-16,-13 14 0,0-1 16,0-12-16,-1 12 0,1 1 15,13-14-15,-13 26 0,0-25 0,0 12 16,-1-13-16,14 14 0,-13-14 15,0 13-15,13-12 0,-13-1 0,-1 0 16,14 0-16,0 1 16,-13-1-16</inkml:trace>
  <inkml:trace contextRef="#ctx0" brushRef="#br0" timeOffset="89187.59">10398 11007 0,'-13'26'31,"13"-13"-15,-13 1-16,13-1 0,0 0 15,0 0-15,-14 0 0,14 1 16,0-1-16,-13 0 16,13 0-16,0 1 15,-13-1-15,13 0 16,13 0 15,14-26-15,-14 0-1,0 13-15,0-13 0,14 13 0,-14-14 16,14 14-16,-14-13 0,13 13 0,-13-13 16</inkml:trace>
  <inkml:trace contextRef="#ctx0" brushRef="#br0" timeOffset="90913.47">10186 12541 0,'14'0'16,"25"27"-1,-39-14 1,14-13-16,-14 13 0,0 0 16,0 1-16,0-1 0,-14-13 15,14 13-15,0 0 0,-13-13 0,13 14 16,-13-1-16,26 0 47,0-13-47,1 13 15,-1-13-15,0 13 16,0 1 0,-13-1-1,-13 0-15,0 0 16,0 1-16,-1-14 0,1 0 16,0 13-16,0-13 0,-1 0 15,1 0-15,0 0 0,0 0 16,0-13-16,-1 13 0,14-14 15</inkml:trace>
  <inkml:trace contextRef="#ctx0" brushRef="#br0" timeOffset="91244.11">10398 12581 0,'0'66'31,"13"-53"-15,1 1-16,-1-1 0,0 0 15,0 0-15,1-13 0,12 13 0,-13-13 16,14 0-16,-14 0 0,13 0 16,-12 0-16,12 0 0,-13-13 0,14 13 15,-14-13-15,0 0 0,0 13 0,1-13 16,-14-1-16,0 1 0,0 0 15,-14 0-15,1-1 16,0 14-16,0-13 0,-1 13 0,-12 0 16,13 0-16,-14 0 0,14 0 15,-13 0-15,12 0 0,-12 0 0,13 0 16,0 13-16,-14-13 0,14 14 16,0-1-16</inkml:trace>
  <inkml:trace contextRef="#ctx0" brushRef="#br0" timeOffset="94911.59">11060 8996 0,'39'0'0,"80"0"32,-79 0-32,-14 0 0,1 0 0,13 0 15,-14 0-15,1 0 0,12 0 0,-12 0 16,12 0-16,-12-13 0,-1 13 16,1 0-16,-14 0 0,13 0 15,-12 0-15,-1 0 0,0 0 16,-39 13 15</inkml:trace>
  <inkml:trace contextRef="#ctx0" brushRef="#br0" timeOffset="95183.35">10967 9062 0,'0'0'0,"53"0"16,-27 0-1,1 0-15,12 0 0,1 0 16,0 0-16,13 0 0,-14 0 0,-12 0 0,13 0 16,-14 0-16,14 0 0,-14 0 15,1 0-15,-1 0 0,1 0 16,-14 0-16,0 0 0,14 0 0,-14 0 16,-13-13-16,13 13 0,0 0 15,0 0-15,1 0 16,-1 0-1,0 0 1,0 0 0,1 0-16</inkml:trace>
  <inkml:trace contextRef="#ctx0" brushRef="#br0" timeOffset="95916.23">12237 8983 0,'26'13'16,"-12"-13"0,12 0-16,1 0 0,25 0 0,-12 13 15,26-13-15,-13 0 0,13 0 16,14 0-16,-14 0 0,27 0 15,-14 0-15,0 0 0,14 0 0,-14-13 16,1 13-16,-1 0 0,-26 0 0,0 0 16,13 0-16,-13 0 0,-13 0 15,12-13-15,-12 13 0,-13 0 0,-1 0 16,1 0-16,-1 0 0,-13 0 0,0 0 16,1 0-16,-1 0 0,0 0 15,-53 0 16,27 13-31,-13-13 0,-1 0 16,-12 0-16</inkml:trace>
  <inkml:trace contextRef="#ctx0" brushRef="#br0" timeOffset="96220.22">12502 9075 0,'39'0'0,"-12"0"16,-1 0-16,27 0 0,0 0 0,0 13 16,13-13-16,0 0 0,14 0 0,-1 0 15,0 14-15,1-14 0,-14 0 16,0 0-16,0 13 0,-13-13 0,0 0 16,-13 0-16,13 0 0,-14 0 0,-12 13 15,-1-13-15,1 0 0,-1 0 16,-13 0-16,14 0 0,-14 0 0,0 0 15,0 0-15,1 0 0,-1 0 16,-40 13 15,14 1-31,0-14 0,0 0 16,-14 0-16</inkml:trace>
  <inkml:trace contextRef="#ctx0" brushRef="#br0" timeOffset="97100.06">595 9499 0,'119'0'0,"-238"0"0,291 0 0,-106 0 16,1 0-16,12 0 0,14 0 15,-1-14-15,1 14 0,-1 0 16,1 0-16,13-13 0,-14 13 0,1 0 0,0-13 15,-1 13-15,-12 0 0,-1 0 16,-26 0-16,0 0 0,-14 0 16,1 0-16,-27 0 0,14 0 0,-14 0 15,0-13-15,1 13 0,-1 13 16</inkml:trace>
  <inkml:trace contextRef="#ctx0" brushRef="#br0" timeOffset="97453.17">807 9697 0,'0'0'0,"26"0"15,-12 0 1,12 0-16,14 0 0,13 0 0,0 0 15,26-13-15,0 13 0,1 0 0,12 0 16,-12 0-16,-1-13 16,1 13-16,-1 0 0,0-14 0,1 14 0,-1 0 15,-13-13-15,0 13 0,-13 0 16,-13-13-16,0 13 0,-14 0 0,0 0 16,1 0-16,-1 0 0,-12-13 0,-1 13 15,0 0-15,0 0 0,1 0 16,-1 0-16,0 0 15,0 0-15,0 0 16,-13 13 0,14-13-16,-1 13 0,-13 0 15,13-13-15</inkml:trace>
  <inkml:trace contextRef="#ctx0" brushRef="#br0" timeOffset="99185.38">13666 12409 0,'13'0'31,"-40"0"47,14 13-62,0-13-16,13 13 15,-13-13-15,13 14 16,0-1-16,0 0 16,0 0-16,0 1 15,13-1-15,0 0 16,-13 0-16,13 0 0,-13 1 0,14-14 15,-14 13-15,0 0 0,13-13 16,-13 13-16,0 1 0,0 12 16,-13-26-16,-1 13 15,1-13-15,0 0 16,0 0-16,0 0 16,-1 0-16,14-13 15,-13 13-15,26-13 16,-13 0-16,14-1 15,-14 1-15,13 13 0,0-13 16,-13 0-16,13-1 0,0 14 0,1-13 0,-1 0 16,0 0-16,0 0 0,1 13 15,-14-14-15,13 1 0,0 13 16,-13-13-16,0 0 0,13-1 0,-13 1 16,0 0-16,0 0 15,-13 13-15,13-14 16,-13 1-16,0 13 0,-1-13 15,1 13-15,0 0 16,0 0-16,-1 0 16</inkml:trace>
  <inkml:trace contextRef="#ctx0" brushRef="#br0" timeOffset="100784.36">13772 10319 0,'13'13'0,"0"-13"0,106 13 31,-66-13-31,0 13 0,0-13 0,13 14 16,13-14-16,-12 13 0,25-13 0,-13 13 15,14 0-15,0 1 0,-1-14 16,1 13-16,13 0 0,13-13 0,0 13 16,13 1-16,-13-1 0,14 0 0,-14-13 15,13 13-15,-13 0 0,13 1 0,0-1 16,1-13-16,-14 13 0,-27 0 15,1 1-15,13-1 0,-13-13 0,78 26 16,-104-13-16,-1-13 16,-13 14-16,0-14 0,-14 13 0,-12-13 15,-1 13-15,-13-13 0,1 0 0,-1 0 16,0 0-16,0 0 0,-13-13 47,-13 0-47,13-1 0,-13 14 15</inkml:trace>
  <inkml:trace contextRef="#ctx0" brushRef="#br0" timeOffset="101077.66">17198 10530 0,'13'-13'0,"14"26"0,65 14 15,-52-14 1,-14 0-16,1 1 0,12-1 16,-12 0-16,-1 0 0,1 14 0,-1-14 15,-12 0-15,-1 0 0,0 1 0,0-1 16,-13 0-16,0 0 15,-13 1-15,0 12 0,0-13 0,-14 0 16,-13 14-16,14-14 0,-27 14 16,13-1-16,1-13 0,12 1 0,-12-1 15,12-13-15</inkml:trace>
  <inkml:trace contextRef="#ctx0" brushRef="#br0" timeOffset="101768.39">17687 11165 0,'14'27'31,"-14"-14"-31,0 0 0,0 14 0,0-1 16,0-13-16,0 14 0,0-1 0,-14 1 16,14-1-16,0 1 0,0-1 15,0-13-15,0 14 0,0-14 0,0 0 16,-13 1-16,13-1 0,0 0 16,0 0-16</inkml:trace>
  <inkml:trace contextRef="#ctx0" brushRef="#br0" timeOffset="102664.39">17767 11112 0,'66'0'0,"-132"0"0,158 0 0,-52-13 15,13 13-15,0 0 0,26 0 0,1 0 16,-1 0-16,0-13 0,14 13 15,-14 0-15,14-13 0,0 13 0,-1 0 16,1-13-16,-1 13 0,-12 0 0,12-14 16,-12 14-16,-14-13 0,13 13 15,-13-13-15,1 13 0,-15-13 16,15 13-16,-14 0 0,-14-14 0,14 14 16,-13 0-16,13-13 0,-27 13 0,14 0 15,-14 0-15,1-13 0,-1 13 16,14 0-16,-27 0 0,14 0 0,-1 0 15,-13 0-15,1 0 0,-1-13 0,0 13 16,0 0-16,0 0 0,1 13 16,-1-13-16,0 13 15,-13 0-15,0 1 16,0-1-16,0 0 0,0 0 16,0 1-16,0-1 0,0 0 0,0 13 15,0-12-15,0 12 0,0-13 16,0 14-16,0-14 0,0 14 0,13-14 15,-13 13-15,0-13 0,0 1 16,0 12-16,0-13 0,14 1 0,-14-1 16,0 0-16,0 0 0,0 1 0,0-1 15,0 0-15,0 0 0,-14 0 16,14 1-16,0-1 0,-13 0 0,0 0 16,13 1-16,-13-1 15,-14-13-15,14 13 0,0 0 0,-14 1 16,-12-14-16,-1 13 0,0 0 0,1 0 15,-14 0-15,13-13 0,-13 14 0,0-14 16,0 13-16,-13-13 0,13 0 16,0 13-16,-26-13 0,13 0 0,0 0 15,-1 0-15,1 0 0,0 0 16,0 0-16,13 0 0,-13 0 0,13 0 16,0 0-16,0 0 0,0 0 0,14 0 15,-14 0-15,0 0 0,13 0 16,-13-13-16,13 13 0,-12 0 0,12 0 15,-13 0-15,13 0 0,14 0 0,-14 0 16,0 0-16,14 0 0,-14 0 16,14 0-16,-27 0 0,26 0 0,1 13 15,0-13-15,-1 0 0,1 0 16,12 0-16,1 0 0,0 0 0,0 0 16,-1 0-16,-12 0 15,13 13 1</inkml:trace>
  <inkml:trace contextRef="#ctx0" brushRef="#br0" timeOffset="102917.62">18666 11351 0,'-13'39'31,"0"-25"-31,13-1 0,-13 0 16,-1 13-16,14-12 0,-13-14 16,13 13-16,0 0 0,-13 0 15,13 1-15,0-1 0,0 0 16,0 0-16,-13-13 15,26 14-15</inkml:trace>
  <inkml:trace contextRef="#ctx0" brushRef="#br0" timeOffset="103226.25">18574 11271 0,'26'-13'0,"54"26"31,-54 0-31,-13 1 0,14-1 0,-1 0 16,1 14-16,-14-14 16,13 13-16,-12-12 0,-1-1 0,0 0 15,0 0-15,-13 14 0,13-14 0,-26 0 16,13 0-16,-13 1 15,0-1-15,0 0 0,-1 0 0,-12 1 16,-1-1-16,14-13 0,-13 13 0,-1-13 16,14 0-16,-13 13 0,12-26 15,1 13-15,0 0 0,13-13 16,13 0-16</inkml:trace>
  <inkml:trace contextRef="#ctx0" brushRef="#br0" timeOffset="104273.34">20267 10941 0,'450'0'15,"-358"0"1,1 0-16,13-14 0,-13 14 0,-1 0 15,14-13-15,13 0 0,0 13 16,-26-13-16,-1-1 0,1 1 0,0 13 16,-14-13-16,0 0 0,1 13 0,-14-14 15,-13 14-15,0-13 0,-14 13 16,1 0-16,-14 0 0,1 0 0,-14 0 16,14 0-16,-14 0 0,0 0 0,0 0 15,0 13-15,1 1 16,-1-14-16,-13 13 0,0 0 15,13 0-15,-13 14 0,0-14 0,0 14 16,0-1-16,0 0 0,13 1 16,-13 13-16,0-1 0,0 1 0,0 0 15,14-14-15,-14 14 0,0-14 0,13 1 16,-13-1-16,0-13 0,13 14 16,-13-1-16,0-12 0,13-1 0,-13 0 15,0 0-15,0 0 0,14 1 0,-14-1 16,0 0-16,0 0 15,0 1-15,-14-1 16,1-13-16,0 13 16,-14-13-16,14 0 0,-13 0 15,-1 0-15,1 0 0,-14 0 16,-13-13-16,0 13 0,0 0 0,-13 0 16,-13 0-16,-1 0 0,1-13 0,0 13 15,-1 0-15,1 0 0,-14 0 16,1-14-16,-1 14 0,1 0 0,-14 0 15,13-13-15,14 13 0,-14 0 0,27 0 16,0 0-16,13 0 0,0 0 16,0 13-16,0-13 0,14 0 0,-1 14 15,0-14-15,14 13 0,12-13 16,-12 13-16,13-13 0,0 0 0,-1 13 16,1-13-16,0 0 0,13 14 0,-13-14 15</inkml:trace>
  <inkml:trace contextRef="#ctx0" brushRef="#br0" timeOffset="104667.52">21008 11126 0,'0'53'31,"0"-40"-31,0 0 0,13 0 0,-13 14 0,13-14 16,-13 0-16,14 14 0,-1-14 15,0 0-15,0 14 0,1-27 0,12 13 16,-13 0-16,0-13 0,1 0 16,-1 0-16,13 0 0,-12 0 0,-1 0 15,0-13-15,0 0 0,0-1 16,1 1-16,-14 0 0,13 0 0,-13-14 16,13 14-16,-13 0 0,0 0 0,0-1 15,0 1-15,0 0 16,-13 13-1,0 0-15,-1 0 0,1 13 16</inkml:trace>
  <inkml:trace contextRef="#ctx0" brushRef="#br0" timeOffset="105941.62">18785 12144 0,'0'-13'16,"40"26"-1,-27 1 1,-13-1-16,14-13 0,-14 13 0,0 0 16,0 1-16,0-1 15,-14 0-15,14 0 0,-13 0 0,13 1 16,-13-1-16,0 0 0,13 0 15,-14 1 1,28-14-16,-1 13 16,0-13-16,0 0 15,1 0-15,-1 13 16,0-13-16,-13 13 0,0 0 16,0 1-1,-13-14-15,13 13 0,-13-13 16,-1 13-16,1-13 0,0 0 0,0 0 15,-1 13-15,1-13 16,0 0-16,0-13 16,13 0-16</inkml:trace>
  <inkml:trace contextRef="#ctx0" brushRef="#br0" timeOffset="106236.45">18984 12237 0,'13'0'15,"-13"13"-15,0 0 16,0 1-16,13-1 16,-13 0-16,0 0 0,14 1 0,-1-1 15,0 0-15,0-13 16,14 13-16,-14-13 0,0 0 16,0 0-16,1 0 0,-1 0 0,0 0 15,0-13-15,1 13 0,-1-13 0,0 0 16,0-1-16,-13 1 15,-13 0-15,13 0 0,-13-1 16,-14 14-16,14-13 0,-13 0 16,-1 13-16,1 0 0,-1-13 0,1 13 15,-1 0-15,1 0 0,-1 13 0,1-13 16,13 0-16,-14 0 0,14 13 0,0-13 16,-14 13-16</inkml:trace>
  <inkml:trace contextRef="#ctx0" brushRef="#br0" timeOffset="109309.34">21352 11906 0,'40'0'47,"-27"0"-47,0-13 0,0 13 0,0 0 15,1 0-15,-1-13 0,0 13 0,0 0 16,1 0-16,-1 0 16,0 0-16,-13 13 0,13 0 15,-13 0-15,0 1 16,0-1-16,0 0 0,0 0 16,0 1-16,0-1 0,0 13 0,0-12 0,0-1 15,0 0-15,0 0 0,0 0 16,0 1-16,0-1 0,0 0 15,0 0-15,0 1 0,14-14 16,-14 13-16,0 0 0</inkml:trace>
  <inkml:trace contextRef="#ctx0" brushRef="#br0" timeOffset="109521.59">21378 12091 0,'66'-13'16,"-39"13"-16,-1 0 15,-12 0-15,12 0 0,1 0 16,-1 0-16,0 0 0,1-13 0,-1 13 16,14 0-16,-27 0 0,14 0 0,-1-13 15,-13 13-15,1 0 0,12 0 16,-13 0-16,1 0 0,-1-13 0</inkml:trace>
  <inkml:trace contextRef="#ctx0" brushRef="#br0" timeOffset="110557.43">8890 13229 0,'26'0'16,"-12"13"-1,-1 1-15,-13-1 16,0 0-1,-13 0-15,13 1 0,-14-1 16,1 0-16,13 0 0,-13-13 16,13 13-16,-13-13 0,13 14 15,-13-1 1,39-26 0,-13 13-1,0 0-15,1-14 0,-1 14 0,0 0 16,0 0-16,1-13 0,-1 13 0,0 0 15,0-13-15,1 13 16,-1-13-16,0 13 0,-13-13 16</inkml:trace>
  <inkml:trace contextRef="#ctx0" brushRef="#br0" timeOffset="110904.27">8903 13031 0,'-39'0'15,"78"0"-15,-92 13 0,27-13 0,13 13 16,-1-13-16,1 13 0,0 14 0,0-14 16,-1 14-16,1-14 0,0 13 0,13 1 15,0-1-15,0 1 0,0 12 16,13 1-16,0 0 0,1-14 16,12 14-16,1-14 0,-14 1 0,27-1 15,-14-13-15,14 14 0,-1-14 16,1 0-16,13-13 0,0 0 0,-13 0 15,13-13-15,-1 0 0,-12 0 0,0-1 16,-14-12-16,1 13 0,-1-14 16,-13 1-16,1-1 0,-14 1 0,0-1 15,0 14-15,-14-26 0,1 12 0,-13 1 16,12-1-16,-25 1 0,12 12 16,-12 1-16,12 0 0,-12 0 0,12 13 15,1-13-15,-14 13 0,27 0 16,-40 0-16,26 0 0,1 13 0,13-13 15,-1 0-15</inkml:trace>
  <inkml:trace contextRef="#ctx0" brushRef="#br0" timeOffset="111825.24">10358 13163 0,'-26'13'0,"13"0"16,0 1-16,13-1 0,-14-13 15,1 13-15,13 0 0,-13-13 16,0 14-16,-1-1 0,1 0 16,0 0-1,13 1 1,0-1-16,13-13 16,0 0-16,1 0 15,12 0-15,1 0 16,-1 0-16,0-13 0,-12 13 15,12 0-15,1 0 0,-14 0 0,13-14 16,-12 14-16,-1 0 0,0 0 16,0 0-16,0 0 0,1-13 15</inkml:trace>
  <inkml:trace contextRef="#ctx0" brushRef="#br0" timeOffset="112051.64">10451 13203 0,'-13'26'0,"-14"27"16,27-40 0,0 1-16,0-1 0,-13 13 0,13-13 15,0 1-15,0-1 0,0 0 16,0 0-16,0 1 0,0-1 15,13 0-15,-13 0 16,14-13-16</inkml:trace>
  <inkml:trace contextRef="#ctx0" brushRef="#br0" timeOffset="112413.4">10716 13163 0,'-40'26'15,"27"-12"1,13-1-16,0 0 16,0 0-16,0 1 0,0-1 0,0 0 15,13 0-15,-13 1 0,13-1 0,0 0 16,1 0-16,-1-13 0,0 13 15,0-13-15,14 0 0,-14-13 0,13 13 16,-12 0-16,-1-13 0,0 0 0,0 0 16,-13-1-16,14 1 0,-14 0 15,0 0-15,0-1 0,-14-12 0,1 13 16,13-14-16,-13 14 0,-14-13 0,14 12 16,-13 1-16,13 0 0,-14 0 15,14-1-15,-14 14 0,14 0 0,0-13 16,0 26-16</inkml:trace>
  <inkml:trace contextRef="#ctx0" brushRef="#br0" timeOffset="113139.51">13481 13031 0,'13'-13'16,"0"13"-16,0 0 16,0 0-16,1-14 0,-1 14 15,0 0-15,0 0 16,1 14-16,-1-14 15,-13 13-15,0 0 16,0 0-16,13 0 0,-13 14 16,-13-14-16,13 0 0,0 1 0,0-1 15,0 0-15,0 13 0,0-12 16,0-1-16,0 0 0,0 0 0,0 1 16,0-1-16,0 0 0,0 0 15,13 1 1</inkml:trace>
  <inkml:trace contextRef="#ctx0" brushRef="#br0" timeOffset="113375.29">13388 13269 0,'40'0'15,"-27"0"1,0 0-16,0-13 0,14 13 16,-14 0-16,13 0 0,1-14 15,26 14-15,-27-13 0,1 13 0,-1 0 16,1-13-16,-1 13 16,1 0-16,-1-13 0,14 13 0,-14 0 15,14-14-15,0 14 0</inkml:trace>
  <inkml:trace contextRef="#ctx0" brushRef="#br0" timeOffset="114341.6">18984 12872 0,'-27'26'16,"14"-26"-1,0 14-15,0-1 16,-1-13-16,1 13 0,-13 14 16,13-14-16,-14 0 0,14 0 15,0 1-15,-1-1 0,14 0 16,-13 0-16,0-13 0,13 13 0,-13-13 16,13 14-16,0-1 15,13 0-15,0-13 16,0 0-16,1 0 0,-1 0 15,27 0-15,-1 0 16,-12 0-16,-1-13 16,54 0 15</inkml:trace>
  <inkml:trace contextRef="#ctx0" brushRef="#br0" timeOffset="114548.72">19050 12912 0,'-26'26'16,"52"-52"-16,-66 65 0,27-12 16,13-14-16,0 0 0,-13 1 15,13-1-15,-13 0 0,13 0 0,-14 14 16,14-14-16,0 13 15,0-12-15,0-1 0,0 0 16,27 0-16</inkml:trace>
  <inkml:trace contextRef="#ctx0" brushRef="#br0" timeOffset="114841.62">19209 13084 0,'0'-14'0,"13"14"15,-79 80-15,119-146 16,-53 66-1,-13 13 1,26 0-16,-13 0 0,13-13 16,-13 14-16,13-14 15,0 0-15,14 0 16,-27-14-16,26 1 16,-12 13-16,-14-13 0,13 13 15,-13-13-15,0-1 0,0 1 0,0 0 16,0 0-16,0 0 0,-13-1 15,-1 1-15,1 0 0,0 13 0,0-13 16,-1 13-16,1 0 16,0-14-16,13 28 0,-13-14 15,0 13-15</inkml:trace>
  <inkml:trace contextRef="#ctx0" brushRef="#br0" timeOffset="115668.87">21802 12700 0,'0'53'31,"-14"-40"-31,14 0 16,0 1-16,0-1 0,-13 0 15,13 0-15,-13 1 0,0-1 16,13 0-16,-13 0 0,-1-13 16,14 13-16,14-26 31,-1 13-31,13-13 15,-13 0-15,14 0 16,-1-1-16,-12 1 0,25-13 16,-25-1-16,-1 14 0,-13 0 15,0-1-15,0 1 16,-13 0-16,-1 13 0,1-13 0,-13 0 16,12 13-16,1-14 0,-13 14 15,-1 0-15,14 0 16,0 0-16,0 14 0,-1-14 15,1 13-15,0-13 16</inkml:trace>
  <inkml:trace contextRef="#ctx0" brushRef="#br0" timeOffset="116360.28">10755 13705 0,'-13'40'16,"13"-27"0,0 1-16</inkml:trace>
  <inkml:trace contextRef="#ctx0" brushRef="#br0" timeOffset="116484.4">10808 14010 0,'0'0'16,"0"13"-16,-13-13 0,13 13 16</inkml:trace>
  <inkml:trace contextRef="#ctx0" brushRef="#br0" timeOffset="116567.68">10848 14142 0</inkml:trace>
  <inkml:trace contextRef="#ctx0" brushRef="#br0" timeOffset="116897.38">13758 13732 0,'-13'13'16,"13"0"-1</inkml:trace>
  <inkml:trace contextRef="#ctx0" brushRef="#br0" timeOffset="117032.05">13798 14116 0,'-13'26'31</inkml:trace>
  <inkml:trace contextRef="#ctx0" brushRef="#br0" timeOffset="117182.49">13917 14274 0,'53'-26'16</inkml:trace>
  <inkml:trace contextRef="#ctx0" brushRef="#br0" timeOffset="119371.57">8758 10888 0,'13'13'0,"-26"-26"0,39 26 0,-26 0 16,0 0 0,0 14-16,0-14 15,0 0 1,0 0-16,13 1 15,-13-1-15,14-13 16,-14 13-16,13 0 16,-13 1-16,0-1 15,0 0-15,-13-13 0,13 13 0,-14-13 16,14 13-16,-13-13 0,13 14 16,-13-14-16,0 13 0</inkml:trace>
  <inkml:trace contextRef="#ctx0" brushRef="#br0" timeOffset="119625.01">8956 10927 0,'40'27'31,"-40"-14"-31,13-13 0,0 0 0,1 0 15,-1-13-15,0 13 0,0 0 16,0-13-16,-13-1 16,0 1-1,-13 13-15,13-13 0,-13 13 0,0-13 16,0 13-16,-1 0 16,1-14-16,0 14 0,0-13 15,-1 13-15,1 0 0</inkml:trace>
  <inkml:trace contextRef="#ctx0" brushRef="#br0" timeOffset="119995.6">8665 10782 0,'-53'39'16,"106"-78"-16,-132 105 0,39-40 0,27 1 15,-27 13-15,14-1 0,12 1 16,1 0-16,0-1 0,13 1 0,0 0 15,13-14-15,0 14 0,14-14 16,-1 1-16,14 12 0,13-25 0,-13 12 16,-1-13-16,14 1 0,-13-14 0,13 0 15,0 0-15,13-14 0,0 1 16,0 0-16,-13-14 0,13 14 0,-13-27 16,0 14-16,-13-14 0,-1 14 15,1-14-15,-13 0 0,-14 1 0,0-1 16,0 14-16,-13-14 0,0 14 0,-13-1 15,0-13-15,-14 14 0,-12-1 0,-14 1 16,13 0-16,-26-1 16,13 14-16,0 0 0,0-1 0,0 14 15,-13 0-15,13 0 0,-13 0 0,26 0 16,-13 0-16,14 14 0,-1-14 16,14 13-16,12-13 0,1 13 0</inkml:trace>
  <inkml:trace contextRef="#ctx0" brushRef="#br0" timeOffset="121124.35">15280 10226 0,'-14'0'47,"41"0"-32,-14-13 1,0 13-16,1 0 16,-14 13-16,13-13 0,0 0 15,-13 13-15,13-13 0,-13 14 16,-13-1 0,0 0-16,0 0 15,-1 1-15,1-14 0,13 13 16,-13-13-16,0 13 15,-1-13-15,1 13 16,0-13 0,13 13-16,-13-13 0,0 14 15,-1-14 1,1 0-16</inkml:trace>
  <inkml:trace contextRef="#ctx0" brushRef="#br0" timeOffset="121625.07">15399 10279 0,'13'-13'0,"0"13"31,-13-13-31,13 13 31,1 0-15,-1 13-16,0-13 0,0 0 16,1 13-1,-1-13 1,0 13 0,-26 1 46,13-1-46,-13-13-1,-1 13 17,1 0-1,0 0-16,0-13-15,13 14 0,-14-14 16,1 13-16,0 0 16,0-13-16,0 0 15,-1 13-15,1-13 0</inkml:trace>
  <inkml:trace contextRef="#ctx0" brushRef="#br0" timeOffset="122140.1">15253 10160 0,'-13'-13'0,"39"0"16,1 26-1,-14 0 17,-13 0-17,0 0-15,-13-13 16,13 14-16,-13-14 0,-1 13 16,1 0-16,0-13 0,0 0 15,13 13-15,-13-13 0,-1 0 16</inkml:trace>
  <inkml:trace contextRef="#ctx0" brushRef="#br0" timeOffset="122677.23">15452 10266 0,'-14'0'0,"1"13"0,0-13 16,13 13-16,-13 1 15,13-1-15,0 0 16,0 0-1,0 0-15,13 1 16,0-1 0,0-13-16,1 0 0,-1 0 15,0 0-15,-13-13 16,13 13-16,-13-14 16,14 14-16,-14-13 0,0 0 15,0 0 1,0 0-16,-14-1 15,1 14 1</inkml:trace>
  <inkml:trace contextRef="#ctx0" brushRef="#br0" timeOffset="123243.4">15094 9988 0,'0'0'0,"-52"26"0,38-12 0,-12 12 16,-1-13-16,14 27 0,-13-13 0,12 12 15,1-12-15,0 12 0,13 1 16,-13 0-16,13-1 0,13 1 0,-13 0 15,13 0-15,0-14 0,14 14 0,-1-14 16,1 14-16,13-14 0,-1 1 16,1-1-16,0-13 0,-1 1 15,1-1-15,0 0 0,-14-13 0,14 0 0,-14 0 16,27 0-16,-13-13 16,13 0-16,0-1 0,13-12 0,-13 13 15,-14-14-15,14-12 0,0 12 0,-13-13 16,-14 1-16,1 12 0,-1-12 15,-12 12-15,-14-13 0,0 1 0,0-1 16,-14 0-16,1 1 0,-27-1 0,1 0 16,-1 14-16,-13-1 0,13 1 15,-12-1-15,-15 14 0,15 0 0,-1 0 16,0 13-16,0 0 0,0-13 0,13 13 16,-13 13-16,0-13 0,14 0 15</inkml:trace>
  <inkml:trace contextRef="#ctx0" brushRef="#br0" timeOffset="129087.6">7501 1429 0,'93'0'31,"-41"0"-31,1 0 0,27 0 16,-1-13-16,14 13 0,-1 0 15,1 0-15,39-14 0,1 14 0,-1-13 16,13 13-16,1-13 0,-1 13 0,1-13 15,13-1-15,-1 14 0,1-13 16,-13 13-16,12-13 0,1 13 16,-13-13-16,-1 13 0,1-14 0,-1 14 15,-12 0-15,-41 0 0,14-13 0,-13 13 16,-14 0-16,0 0 0,-26 0 16,0 0-16,0 0 0,-13 13 0,-1-13 15,-25 0-15,12 0 0,-13 0 0,14 0 16,-14 0-16,0 0 0,1 0 0,-1 0 15,-13-13 1,-13 0 0,-1 13-1</inkml:trace>
  <inkml:trace contextRef="#ctx0" brushRef="#br0" timeOffset="129856.02">17502 1204 0,'66'-13'0,"-13"-1"0,13 14 15,1-13-15,25 13 0,1-13 0,39 0 16,0 13-16,1-14 0,-1 1 16,13 13-16,14-13 0,-13 13 0,-1 0 15,14-13-15,-13 13 0,-1 0 0,1 13 16,-27-13-16,-14 0 0,1 0 15,0 13-15,-13-13 0,-1 13 0,-12-13 16,-1 0-16,-13 14 0,-13-14 16,0 13-16,-13-13 0,-14 0 0,-13 0 15,14 0-15,-14 13 0,0-13 0,1 0 16</inkml:trace>
  <inkml:trace contextRef="#ctx0" brushRef="#br0" timeOffset="197116.06">15544 2738 0,'0'53'47,"106"331"-31,-40-159-16,-13 13 15,-26-53-15,-14-79 16,-13 0-16,0-13 15,0-1-15,0-39 16,0-40-16,0 14 16,0-14-16,-13-13 31,-1-13-15,1-40-16,0-27 15</inkml:trace>
  <inkml:trace contextRef="#ctx0" brushRef="#br0" timeOffset="198068.25">15253 2527 0,'80'-13'16,"39"-1"-16,39-12 16,67-1-16,53-39 15,26 53-15,-39-27 16,26-13-16,-159 40 16,-52 0-16,-54 13 15,-13 26 79,-13 80-94,14 27 16,-14 39-1,13 0-15,40 13 16,-40-13-16,0-14 15,27-12-15,-27-40 16,0 0-16,1-40 16,12-40-16,-26-13 109,-40-13-93,-39 0-1,-80 0-15,-79 0 16,-119 93-16,13-40 16,66-13-16,0 13 15,40-14-15,79-25 16,27 12-16,66-13 15,13-13-15,27 0 16</inkml:trace>
  <inkml:trace contextRef="#ctx0" brushRef="#br0" timeOffset="201110.01">14367 3744 0,'13'0'63,"27"0"-63,-14 0 16,14 13-16,-14-13 15,1 0 1,-14 13 46,0-13-62,40 53 16,-26 27-16,-27-41 16,26 54-16,-13 0 15,-13-14-15,0 27 16,0 26-16,0-26 15,0 26-15,0 0 16,0-13-16,0 27 16,0-27-16,0 13 15,27 40-15,-27-66 16,13 0-16,14-40 16,-27-13-1,0-26-15,0-14 94,-27-13-32,14 0-46,-14 0-16,-26-13 16,-39-1-16,-14 1 15,-53 13-15,-39 0 16,26 0-16,26 0 16,40 0-16,1 0 15,-1 0-15,40 0 16,26 0-16,27 0 15</inkml:trace>
  <inkml:trace contextRef="#ctx0" brushRef="#br0" timeOffset="203533.59">16153 11126 0,'26'13'31,"-13"40"-15,14 66-16,-1 0 16,-12 40-16,12 26 15,-13-13-15,27 26 16,-40 1-16,0 39 16,40 0-16,-14-66 15,1-13-15,-27-27 16,26-13-16,-13-26 15,1-27-15,-14-13 16,13-40 0,-13 0-16</inkml:trace>
  <inkml:trace contextRef="#ctx0" brushRef="#br0" timeOffset="205405.27">16140 11152 0,'0'27'78,"0"12"-78,-14 1 15,14-14-15,-13 27 16,0-26-16,13-1 16,0 1-1,0-40 79,0-14-78,0-13-16,0 1 15,0-14-15,0 40 16,0-27-16,13 27 16,0-14-16,-13 14 15,0-14-15,0 14 16,14 13 62,25 13-78,1 14 16,0 39-16,-1-26 15,1 26 1,0-26-16,-27-1 15,13-12-15,-12-14 16</inkml:trace>
  <inkml:trace contextRef="#ctx0" brushRef="#br0" timeOffset="206781.29">16351 13600 0,'13'0'31,"1"0"-31,12 0 16,-13 0-1,14 26-15,-14-13 16,0-13 0,1 27-16,-1-14 31,0-13-16,0 13 1,-13 0 0,13-13-1,1 14 48,-1-14-63,0 0 15,0-27 64,-13-26-64,0 14-15,14-1 16,-1 13-16,-13-12 15,0-1-15,0 27 16,0 0 0</inkml:trace>
</inkml:ink>
</file>

<file path=ppt/ink/ink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7:22.645"/>
    </inkml:context>
    <inkml:brush xml:id="br0">
      <inkml:brushProperty name="width" value="0.025" units="cm"/>
      <inkml:brushProperty name="height" value="0.025" units="cm"/>
      <inkml:brushProperty name="ignorePressure" value="1"/>
    </inkml:brush>
  </inkml:definitions>
  <inkml:trace contextRef="#ctx0" brushRef="#br0">18 1,'0'3,"-3"4,-1 5,-1 4,2 1,0-1</inkml:trace>
</inkml:ink>
</file>

<file path=ppt/ink/ink30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2:11:14.845"/>
    </inkml:context>
    <inkml:brush xml:id="br0">
      <inkml:brushProperty name="width" value="0.05292" units="cm"/>
      <inkml:brushProperty name="height" value="0.05292" units="cm"/>
      <inkml:brushProperty name="color" value="#FF0000"/>
    </inkml:brush>
  </inkml:definitions>
  <inkml:trace contextRef="#ctx0" brushRef="#br0">6178 2699 0,'-13'0'0,"26"13"31,0-13-15,14 0-16,-14 13 0,13-13 16,14 0-16,-13 0 0,12 0 0,1 0 15,13 13-15,0-13 0,-14 0 0,14 0 16,-13 0-16,-13 0 0,25 0 15,-12 14-15,-13-14 0,-1 0 0,0 0 16,1 0-16,-1 0 0,1 0 0,-14 0 16,0 0-16,1 0 0,-1 0 15,0 0-15</inkml:trace>
  <inkml:trace contextRef="#ctx0" brushRef="#br0" timeOffset="369.34">6125 2858 0,'40'0'32,"-27"0"-32,27 0 15,-14 0-15,27 0 0,-13 0 0,13 0 16,0 0-16,0 0 0,-1-14 0,15 14 15,-14 0-15,-1 0 0,1 0 0,-13 0 16,0 0-16,-1 0 0,1 0 0,-13 0 16,-1 0-16,0 0 0,1 0 15,-14 0-15,14 14 0,-14-14 0,0 0 16,0 0-16,1 0 16,-1 0-16,0 0 15,0 0 1,0-14-1</inkml:trace>
  <inkml:trace contextRef="#ctx0" brushRef="#br0" timeOffset="3176.16">11496 5265 0,'0'0'0,"-13"0"16,39 0-1,1 0-15,13 0 16,-1 13-16,14-13 0,13 0 15,0 0-15,14 0 0,-14 0 16,13 0-16,1 14 0,-1-14 0,-13 0 16,14 0-16,-1 0 0,-26 0 0,13 0 15,27 0-15,-54 0 16,-12 13-16,-1-13 0,1 0 0,-14 0 16,0 0-16,0 0 0</inkml:trace>
  <inkml:trace contextRef="#ctx0" brushRef="#br0" timeOffset="3499.81">11708 5424 0,'53'0'31,"-27"0"-31,1 0 0,12 0 15,1 0-15,13 0 0,-13 0 16,13 13-16,-14-13 0,14 0 0,0 0 16,-13 0-16,-1 0 0,-12 0 0,13 0 15,-14 13-15,14-13 0,-27 0 16,13 0-16,-12 0 0,12 0 0,-13 0 16,1 0-16,-1 0 0,0 0 0,13 0 15,-12 0 16,-1 0-31,-13-13 16,13 13 15,-13-13-31</inkml:trace>
  <inkml:trace contextRef="#ctx0" brushRef="#br0" timeOffset="5533.24">1574 6191 0,'14'0'0,"-1"0"0,0 0 0,0 0 0,0 0 16,14 0-16,-1 0 0,1 0 15,-1 0-15,14 0 0,13 0 16,-13 0-16,12 0 0,1 0 0,-13-13 16,0 13-16,-1 0 0,-12 0 0,-1 0 15,1 0-15,-1 0 0,1 0 0,-14 0 16,0 0-16,0 0 0,1 0 16</inkml:trace>
  <inkml:trace contextRef="#ctx0" brushRef="#br0" timeOffset="5913.44">1574 6324 0,'27'0'0,"-14"0"0,0 0 0,67-14 31,-54 14-31,0 0 0,1-13 0,-1 13 16,-12 0-16,25 0 0,-12 0 16,-1-13-16,1 13 0,-14 0 0,13 0 15,1 0-15,-14 0 0,14 0 16,-14 0-16,0-13 0,0 13 0,0 0 16,1 0-16,-1 0 15,0 0-15,0 0 16,1 0-1,-1 0 1,-40 0 15,14 13-31,0-13 16,0 0-16,-1 0 16</inkml:trace>
  <inkml:trace contextRef="#ctx0" brushRef="#br0" timeOffset="7142.31">1614 9393 0,'26'13'47,"1"-13"-47,-14 0 0,14 13 16,-1-13-16,0 0 0,14 0 0,0 0 16,13 0-16,0 13 0,-14-13 15,14 0-15,-13 0 0,0 0 0,-14 0 16,14 14-16,-14-14 0,1 0 0,-1 0 15,14 0-15,-14 0 0,1 0 16,-14 0-16,13 0 0,-12 0 16,-1 0-16,0 0 0,0 0 0,1 0 15</inkml:trace>
  <inkml:trace contextRef="#ctx0" brushRef="#br0" timeOffset="7445.25">2064 9565 0,'26'13'16,"-13"-13"-16,1 0 0,12 0 15,-13 0-15,14 0 16,-14 0-16,13 0 0,-12 0 0,12 0 16,1 0-16,-1 0 0,-13 0 0,14 0 15,-14 0-15,0 0 0,0 0 16,14 0-16,-14 0 0,0 0 16,1 0-16,-1 0 0,0 0 0,0 0 15,1 0-15,-1 0 0,0 0 16,13 0-16,-12 0 0</inkml:trace>
  <inkml:trace contextRef="#ctx0" brushRef="#br0" timeOffset="8227.57">7580 9393 0,'40'0'15,"-27"0"-15,0 0 16,14-14-16,-14 14 16,27 0-16,-14-13 0,14 13 0,0-13 15,13 13-15,-27 0 0,14-13 0,-14 13 16,1 0-16,-1 0 0,1 0 16,-1 0-16,-13-13 0,14 13 0,-14 0 15,0 0-15,0 0 0,1 0 0,-1 0 16,0 0-1</inkml:trace>
  <inkml:trace contextRef="#ctx0" brushRef="#br0" timeOffset="8605.37">7766 9485 0,'158'-13'31,"-144"0"-31,12 13 0,0 0 16,-12 0-16,12 0 0,-13 0 15,1 0-15,12 0 0,-13 0 0,0-13 16,14 13-16,-14 0 0,0 0 16,1 0-16,-1 0 15,0 0-15,0 0 16,1 0-16,-1 0 31,0 0-15,0 0 15</inkml:trace>
  <inkml:trace contextRef="#ctx0" brushRef="#br0" timeOffset="10073.58">13375 9512 0,'-27'0'31,"40"-13"16,1 13-47,-1 0 16,0 0-16,0 0 0,1 0 0,-1 0 15,13 0-15,14 0 0,-14-14 16,27 14-16,0 0 0,27 0 0,-1 0 16,0 0-16,1 0 0,-1 0 0,1 0 15,12 0-15,1 14 0,-1-14 0,1 0 16,-14 0-16,14 0 16,-14 0-16,1 0 0,-27 0 0,13 13 0,-13-13 15,0 0-15,-14 0 0,-12 0 16,-1 0-16,-13 0 0,14 0 0,-14 0 15,0 0-15,1 0 0,-1 0 16,0 0-16,0 0 0,0 0 16,1 0 62,-1 13-78</inkml:trace>
  <inkml:trace contextRef="#ctx0" brushRef="#br0" timeOffset="10812.61">18891 9353 0,'40'13'16,"-27"-13"-16,14 13 0,-14-13 16,13 0-16,1 0 0,-1 0 15,1 14-15,12-14 0,-12 0 0,13 0 16,-14 0-16,0 0 0,14 0 16,-13 0-16,-1 0 0,1 0 15,-14 0-15,13 0 0,-13 0 0,1 0 16,-14-14-16</inkml:trace>
  <inkml:trace contextRef="#ctx0" brushRef="#br0" timeOffset="11036.43">18971 9313 0,'92'27'31,"-65"-14"-31,-1-13 0,1 13 16,-1-13-16,14 13 0,-1-13 0,-12 14 16,26-14-16,-27 13 15,1-13-15,-1 0 0,1 0 0,-14 0 16,13 0-16,-12 0 0,-1 0 0,0 0 16</inkml:trace>
  <inkml:trace contextRef="#ctx0" brushRef="#br0" timeOffset="12184.39">1164 10530 0,'-13'0'15,"53"-13"1,-27 13-16,27 0 16,-1 0-16,14 0 0,-13-13 15,13 13-15,0 0 0,0 0 0,0-13 16,-1 13-16,1 0 0,-13 0 0,0-13 15,-1 13-15,-12 0 0,13 0 16,-14 0-16,0 0 0,1 0 0,-14 0 0,14 0 16,-14 0-16,0 0 0,0 0 15,1 0-15,-1 0 0,0-14 16,0 14 0,0 0-16,1 0 15,-1 0-15</inkml:trace>
  <inkml:trace contextRef="#ctx0" brushRef="#br0" timeOffset="13192.64">5583 10266 0,'39'0'16,"-25"0"-16,12 0 15,1 0-15,-1 13 0,27-13 16,0 0-16,13 0 0,-13 0 15,26 0-15,1 0 0,-1 0 0,0 0 16,-12 0-16,12 0 0,-26 0 0,13 0 16,-13 0-16,0 0 0,0 0 15,0 0-15,-27 0 0,14 0 0,-14 0 16,-13 0-16,14 0 0,-14 0 0,0 0 16,1 0-16,-1 0 0,0 0 15,0 0-15</inkml:trace>
  <inkml:trace contextRef="#ctx0" brushRef="#br0" timeOffset="13567.54">5940 10306 0,'66'0'0,"-132"0"0,172 0 16,-67 0-16,14 0 0,13 0 16,-13 0-16,0 0 0,13 0 0,-13 0 15,0-14-15,13 14 0,-13 0 0,0 14 16,-13-14-16,0 0 0,-1 0 16,-12 0-16,12 0 0,-12 0 0,-14 0 15,14 0-15,-14 0 0,0 0 0,0 0 16,1 0-16,-1 0 0,0 0 0,0 0 15,0 0 1,1 0 0,-28 13 31,1-13-47,0 13 15</inkml:trace>
  <inkml:trace contextRef="#ctx0" brushRef="#br0" timeOffset="14616.37">8070 11470 0,'0'-14'16,"13"14"-1,0 0-15,0 0 16,1 0-16,-1 0 0,13 0 0,-12 0 16,12 0-16,1 0 0,-1 0 0,-13 0 15,14 0-15,-1 0 0,1 0 16,-14 0-16,13 0 0,-12 0 15,-1 0-15,0 0 0,0 0 0,0 0 16,1 0-16</inkml:trace>
  <inkml:trace contextRef="#ctx0" brushRef="#br0" timeOffset="14909.52">8374 11284 0,'13'0'0,"14"14"32,-14-14-32,13 13 0,-12-13 15,-1 13-15,13 0 0,-12-13 16,-1 14-16,0-1 0,0 0 15,0 0-15,-13 1 0,14-1 16,-28 0-16,14 0 16,0 0-16,-13 1 0,0-1 15,0 0-15,13 0 0,-13 1 16</inkml:trace>
  <inkml:trace contextRef="#ctx0" brushRef="#br0" timeOffset="15393.43">9208 11126 0,'0'0'0,"-14"0"0,1 0 0,-13 0 15,12 13-15,1-13 16,0 13-1,13 0-15,0 1 16,0-1-16,0 0 0,13 0 0,-13 1 16,13-1-16,-13 0 15,14 0-15,-14 0 0,0 1 16,13-1-16,0 0 0,-13 0 16,0 1-16,0-1 15,-13-13 1,0 13-16,-1-13 0,1 0 15,-13 13-15,12-13 0,1 0 0,0 0 16,0 0-16,0 0 16,-1 0-16,1 0 15,0 0-15</inkml:trace>
  <inkml:trace contextRef="#ctx0" brushRef="#br0" timeOffset="16345.07">9379 11232 0,'-13'13'16,"13"0"0,0 0-1,0 0-15,0 1 0,0-1 16,13-13-16,1 13 15,-1-13-15,0 0 16,14 0-16,-14 0 16,0 0-16,-13-13 0,13 13 15,-13-13-15,14-1 0,-14 1 16,0 0-16,13 0 0,-13 0 0,-13-1 16,13 1-16,0 0 0,-14 0 15,1-1-15,0 1 16,0 13-16,-1 0 0,1 0 0,0 0 15,0 0-15,-1 13 0,1-13 0,0 14 16,0-14-16,0 13 0,13 0 0,0 0 16,0 1-16,13-14 15,-13 13-15,13 0 0,0-13 0,14 13 16,-14-13-16,0 0 0,0 0 16,14 0-16,-14 0 0,14-13 15,-14 13-15,0-13 0,13 0 0,-12-1 16,-1 1-16,13 0 0,-12 0 0,-1-14 15,0 14-15,-13 0 0,13-14 16,1 14-16,-14 0 0,13 0 16,-13-1-16,0 1 0,13 13 0,-13-13 15,0 26 1,0 14-16,0-14 16,-13 13-16,13 1 0,0 12 0,-13 1 15,13 0-15,-14-1 0,14 14 0,-13-13 16,13 0-16,0-1 15,0-12-15,-13-1 0,13 1 0,0-1 16,-13 1-16,13-14 0,0 13 0,-14-12 16,14-1-16,-13 0 0,0 0 0,0 1 15,-1-14 1,1 0-16,0 0 0,0-14 16,0 1-16,13 0 15,0 0-15,-14-1 0,14 1 16,14 0-16,-14 0 0,0 0 15,13-1-15,-13 1 0,13-13 0,0 12 0,0 1 16,1-13-16,-1-1 0,13 14 16,-12-13-16,-1-1 0,13 1 15,-12-1-15,-1 1 0,0-1 0,0 1 16,0-1-16,1 14 0,-14-13 0,13 12 16,-13-12-16,13 13 0,-13-1 0,13-12 15,-13 13-15,0 0 16,14 13-16,-14-14 0,0 41 31,-14-1-15,14-13-16,0 14 0,0-14 0,-13 14 15,13-1-15,0 1 0,0-1 0,0-13 16,0 27-16,0-14 16,0-12-16,0-1 0,0 0 15,0 0-15,0 1 0,0-1 0,0 0 16,0 0-16,0 0 15</inkml:trace>
  <inkml:trace contextRef="#ctx0" brushRef="#br0" timeOffset="16509.25">9684 11311 0,'-13'0'0,"26"-13"16,0 13-1,0-14-15,0 14 0,1 0 0,-1 0 16,13 0-16,-12-13 0,12 13 0,-13 0 16,14-13-16,-1 13 0,-13 0 15,14 0-15,-14 0 0,0 0 0</inkml:trace>
  <inkml:trace contextRef="#ctx0" brushRef="#br0" timeOffset="17225.58">9988 11205 0,'-13'27'63,"13"-14"-48,13 0-15,0 0 16,-13 0-1,13-13-15,1 0 16,-1 0-16,0 0 16,0 0-16,1 0 15,-1 0 1,0 0-16,0 0 16,-13 14-1,14-14-15,-1 13 16,0-13-1,0 0-15,0 0 16,1-13 0,-1 13-16,-13-14 15,13 14-15,-13-13 0,0 0 16,13 0-16,-13 0 16,0-1-1,14 14-15,-1 14 47</inkml:trace>
  <inkml:trace contextRef="#ctx0" brushRef="#br0" timeOffset="17685.56">10478 11179 0,'-14'-14'16,"1"14"-16,0 14 16,0-14-1,-1 0-15,14 13 16,-13-13-16,13 13 16,0 0-1,0 1 1,13-14-16,1 0 0,-14 13 15,13-13-15,0 13 0,0-13 16,-13 13-16,14-13 16,-14 13-16,13-13 0,-13 14 15,13-1 1,-13-40 62,13 14-78,-13 0 16,13 13-16,1-13 0,-14 0 15,13 13-15,0-14 16,0 14-16,1 0 16,-1 0-1</inkml:trace>
  <inkml:trace contextRef="#ctx0" brushRef="#br0" timeOffset="17964.4">10755 11218 0,'0'0'0,"14"-13"0,-14 0 0,0 0 16,-14 13 15,1 13-15,0 0-16,13 0 0,-13-13 15,13 14-15,0-1 0,-14-13 16,14 13-16,0 0 0,0 14 16,14-27-16,-14 13 0,13 0 15,0-13-15,0 0 16,-13 13-16,14-13 0,-1 0 15,13-13-15,-13 13 0,14 0 0,-14 0 16</inkml:trace>
  <inkml:trace contextRef="#ctx0" brushRef="#br0" timeOffset="18279.86">11139 11271 0,'-13'0'31</inkml:trace>
  <inkml:trace contextRef="#ctx0" brushRef="#br0" timeOffset="19415.54">11165 11245 0,'0'0'16,"27"0"-1,-14 13 1,0-13-16,1 0 16,-1 0-16,0 0 0,0 0 15,14 0-15,-14 0 0,0 13 0,0-13 16,14 0-16,-14 0 0,0 0 0,1 0 15,-1 0-15,0 0 16,0 0-16,0 0 0,1 0 16,-1 0 15,-13-13-15</inkml:trace>
  <inkml:trace contextRef="#ctx0" brushRef="#br0" timeOffset="19784.49">11364 11086 0,'13'-13'16,"14"26"-1,-14 0-15,0-13 0,0 0 0,-13 13 16,13-13-16,1 0 0,-1 14 16,0-14-16,0 0 0,-13 13 0,14-13 15,-1 13-15,0-13 16,0 13-16,-13 1 15,0-1 1,-13-13-16,13 13 0,-26 0 16,26 1-16,-14-14 0,1 13 15,0-13-15,0 13 0,-1 0 16,1-13-16,0 13 0,0-13 16,13 14-16</inkml:trace>
  <inkml:trace contextRef="#ctx0" brushRef="#br0" timeOffset="20977.63">11404 11112 0,'26'14'31,"-13"-14"-15,0 0-16,-13 13 0,14-13 0,-1 0 16,0 0-16,0 13 0,1-13 0,-1 0 15,0 0-15,0 0 0,1 0 16,-1 0-16,0 13 0,0-13 16,0 0-1,-26 14 1,13-1-16,-13 0 0,0-13 15,13 13-15,-13 1 0,-1-1 0,1 0 16,0 0-16,-14 0 0,14 1 16,0-1-16,0 0 0,-1 0 0,1 1 15,0-14-15,-13 26 0,26-13 16,-14-13-16,1 14 0,0-1 0,0-13 16,13 13-1,-14-13-15,14 13 0,-13-13 16</inkml:trace>
  <inkml:trace contextRef="#ctx0" brushRef="#br0" timeOffset="67525.33">9234 11655 0,'53'0'0,"-40"0"16,0 0-16,1 0 0,-1 0 0,13 0 15,-13 0-15,1-13 16,-1 13-16,13 0 0,-12 0 0,-1 0 16,0 0-16,0 0 0,1 0 15,-1 0 1,0 0-16</inkml:trace>
  <inkml:trace contextRef="#ctx0" brushRef="#br0" timeOffset="67913.73">9181 11549 0,'40'-13'0,"66"0"31,-80 13-31,0 0 0,-12 0 16,12-14-16,-13 14 0,14 0 16,13 0-16</inkml:trace>
  <inkml:trace contextRef="#ctx0" brushRef="#br0" timeOffset="75603.61">13917 10676 0,'-93'40'16,"80"-27"-16,-26 0 0,12 0 15,14 1-15,-14-1 0,14-13 0,-13 13 0,12 0 16,1-13-16,0 13 15,0 1-15,13-1 16,-13 0-16,26-13 16,-13 13-16,13-13 0,0 0 15,0 14-15,1-14 0,12 0 0,-13 13 16,14-13-16,-1 0 0,1 0 0,-1 0 16,1 0-16,-1 0 0,1 0 0,-1 0 15,1 0-15,-1 0 0,0 0 16,-12 0-16,-1 0 0,0-13 15,0 13-15,1 0 0,-1 0 0,0 0 16,-13-14-16</inkml:trace>
  <inkml:trace contextRef="#ctx0" brushRef="#br0" timeOffset="75866.32">14023 10610 0,'-66'106'16,"53"-80"-16,-1 1 16,1-1-16,-13 14 15,12-14-15,1 1 0,13-14 0,-13 13 16,0 1-16,-1-14 0,14 0 0,-13 14 15,13-14-15,0 0 0,-13 0 16,13 1-16,0-1 0,0 0 16,13 0-16</inkml:trace>
  <inkml:trace contextRef="#ctx0" brushRef="#br0" timeOffset="76240.1">14168 10729 0,'-39'66'31,"39"-53"-31,-13 0 16,13 1-16,0 12 0,0-13 0,13 1 15,-13 12-15,13-13 16,0-13-16,0 14 15,1-14-15,-1 0 0,0 0 0,0 0 16,1-14-16,-1 14 0,0-13 16,0 13-16,1-13 0,-14 0 0,13-1 15,0-12-15,-13 13 0,13-1 16,-13-12-16,0 13 0,0 0 0,0-14 16,0 14-16,-13 0 0,13-1 0,-26-12 15,12 13 1,1 13-16,0 0 0,0 0 0,-14 0 15,14 13-15,0-13 0,-1 13 0,-12 0 16,26 1-16,-13-1 0,0 0 16,13 0-16,-14 1 0</inkml:trace>
  <inkml:trace contextRef="#ctx0" brushRef="#br0" timeOffset="77119.42">14552 10835 0,'13'0'16,"1"0"-16,-1 0 16,0 0-16,0 0 15,0 0-15,1 0 16,-1 0-16,0 0 0,0 0 0,1 0 15,-1 0-15,0 0 0,0 0 16,1 0-16,-1 0 16,0 0-16</inkml:trace>
  <inkml:trace contextRef="#ctx0" brushRef="#br0" timeOffset="77484.17">14671 10649 0,'-13'0'0,"39"0"31,-12 0-31,-1 14 0,0-14 15,0 13-15,1-13 0,-1 0 16,0 13-16,0-13 0,0 13 0,1-13 16,-14 14-16,13-14 0,0 13 15,0 0-15,1-13 0,-1 13 16,0 1-16,0-1 0,-13 0 16,13-13-16,-13 13 0,0 0 15,0 14-15,-13-27 16,13 13-16,-13 0 0,0 1 0,0-1 15,-14 0-15,14 0 0,-14 14 16,1-14-16,13 0 0,-14 0 16,14 1-16</inkml:trace>
  <inkml:trace contextRef="#ctx0" brushRef="#br0" timeOffset="80864">14698 10821 0,'26'0'0,"-13"0"15,1 0-15,-1 0 0,0 0 16,0 0-16,0 0 16,1 0-16</inkml:trace>
  <inkml:trace contextRef="#ctx0" brushRef="#br0" timeOffset="81540.02">14698 10663 0,'26'13'31,"-13"0"-16,1 0-15,-1-13 0,-13 14 16,13-14-16,0 13 0,-13 0 0,13-13 16,1 13-16,-1 1 0,-13-1 15,13-13-15,0 13 0,1 0 16,-1 0-16,0-13 16,0 14-1,0-1 1,-13 0-1,-13 0 1,0 1-16,0-1 16,0 0-16,-1 0 0,1 1 15,0-1-15,0 0 0,-1 0 16,1 0-16,0 1 0,0-1 0,0 0 16,-1 0-16</inkml:trace>
  <inkml:trace contextRef="#ctx0" brushRef="#br0" timeOffset="83332.14">15849 10636 0,'13'-26'16,"0"26"-16,0 0 15,0-13-15,1 26 0,-1-13 16,0 0-16,0 0 0,1 13 16,-1-13-16,0 13 0,0 0 15,-13 1-15,0-1 0,0 0 0,0 0 16,-13 1-16,0 12 0,0-13 0,-14 14 16,1-1-16,12-13 0,-12 1 15,13-1-15,-14-13 0,14 13 0,-13 0 16,12-13-16,1 14 0,0-14 15,0 13-15,-1-13 0,41 0 47,-14 0-47,0 0 0,1 0 0,-1-13 16,13 13-16,-12 0 0,12 0 16,-13 0-16,14-14 0,-14 14 15,13 0-15,-12 0 0,-1 0 0,0 0 16,0-13-16,14 13 0,-14 0 15,0 0-15,0 0 0</inkml:trace>
  <inkml:trace contextRef="#ctx0" brushRef="#br0" timeOffset="83760.14">16312 10636 0,'-14'0'15,"1"0"-15,0 13 0,0 1 16,13-1-16,-14-13 0,14 13 16,0 0-16,-13 1 0,13-1 0,0 0 15,-13 0-15,13 1 0,0-1 16,13-13-16,-13 13 0,13 0 15,1-13-15,-1 0 16,13 0-16,-12 0 16,-1 0-16,0-13 15,0 13-15,-13-13 0,13 13 0,1-13 16,-14-1-16,0 1 0,13 0 16,-13 0-16,-13-1 15,13 1-15,0 0 16,-14 13-16,14-13 0,-13 13 0,0-14 15,0 1-15,0 13 16,-1 0 0,1 13-1</inkml:trace>
  <inkml:trace contextRef="#ctx0" brushRef="#br0" timeOffset="84617.04">16880 10689 0,'0'0'0,"-13"-13"16,40 13 31,-1 0-47,-13 13 0,1-13 15,-1 0-15,0 0 0,0 0 16,0 0-16,1 0 0,12 0 0,-13 0 15,1 0-15,-1 0 0,0 0 0,0 0 16,1 0-16,-1 0 16,0 0-16</inkml:trace>
  <inkml:trace contextRef="#ctx0" brushRef="#br0" timeOffset="84913.18">17066 10583 0,'-14'-13'0,"54"26"31,-27-13-15,1 0-1,-14 14-15,13-14 0,0 13 0,0-13 16,0 13-16,1 0 0,-1 0 15,-13 1-15,13-14 0,-13 13 16,0 0-16,0 0 16,0 1-16,0-1 0,-13 0 15,13 0-15,0 1 0,-13-1 0,13 0 16,-14 0 0,14 0-16</inkml:trace>
  <inkml:trace contextRef="#ctx0" brushRef="#br0" timeOffset="85961.09">17701 10530 0,'13'-13'0,"27"26"32,-27-13-17,-13 14-15,13-14 0,-13 13 0,0 0 16,0 0 0,-13 1-16,13-1 0,-13 0 0,13 0 15,-14 0-15,1 1 16,0-1-16,13 0 15,-13-13-15,-1 13 16,14 1-16,14-1 31,-1 0-31,0-13 16,0 0-16,1 0 0,-1 0 16,0 0-16,0 0 0,14 0 15,-14 0-15,0 0 0,0 0 0,1 0 16,12 0-16,-13 0 0,1 0 15,-1 0-15,13-13 0,-13 13 0</inkml:trace>
  <inkml:trace contextRef="#ctx0" brushRef="#br0" timeOffset="86341.17">18256 10544 0,'-13'-14'16,"26"28"-16,-39-28 0,13 14 15,-1 14 1,1-14-16,0 13 0,0 0 16,13 0-16,0 1 15,-14-1-15,14 0 0,0 0 16,14 0-16,-14 1 16,13-1-16,0 0 0,0-13 15,1 0-15,-1 0 0,0 0 0,0 0 16,0 0-16,1 0 0,-1-13 15,0 13-15,0-13 0,1-1 16,-1 14-16,-13-13 0,0 0 16,13 0-16,-13 0 0,0-1 0,-13 1 15,13 0-15,-13 0 0,-1-1 16,14 1-16,-13 0 0,-27 0 16,27 13-16,0-13 0,-13 13 15,12 0-15,1-14 16,-13 14-16,12 0 0,1 14 0,0-14 15,0 0-15,0 13 0</inkml:trace>
  <inkml:trace contextRef="#ctx0" brushRef="#br0" timeOffset="87101.47">19976 10372 0,'13'13'15,"0"40"1,-13-13-16,0 12 0,0 1 15,0 27-15,-13-14 0,13 13 0,-13 1 16,0-1-16,0 0 0,-1 14 0,-12-14 16,13-13-16,-1 14 0,-12-14 15,13 0-15,0 0 0,-14-13 0,14 0 16,0-13-16,-1 0 0,14-1 0,-13-12 16,13-14-16,-13 13 0,13-12 15,-13-1-15,13 0 0,26-39 31,-13 12-31,1-12 0,-1-1 16,0 1-16</inkml:trace>
  <inkml:trace contextRef="#ctx0" brushRef="#br0" timeOffset="88408.04">19950 10425 0,'26'0'16,"80"0"-1,-53 0-15,13 0 0,13 13 16,1-13-16,-1 0 0,14 0 0,-1 13 15,1-13-15,13 0 0,0 0 16,-14-13-16,14 13 0,0 0 0,26 0 16,-13-13-16,-13 13 0,-13-14 15,-1 14-15,1-13 0,-1 13 0,1-13 16,0 13-16,-1-13 0,-12 13 0,-1-14 16,-26 14-16,0 0 0,13 0 15,-26 0-15,13-13 0,-14 13 0,1 0 16,-14 0-16,1 13 0,-1-13 0,1 0 15,-14 0-15,13 0 0,1 0 16,-14 0-16,0 0 0,1 14 16,25-14-16,-25 13 0,-1 0 15,0-13-15,-13 13 0,13 1 0,-13-1 16,13 13-16,-13-12 0,0 12 16,14 0-16,-14 14 0,0 0 0,0 13 15,0-14-15,0 1 0,0 13 0,0-13 16,13 13-16,-13-14 0,0 14 0,13 0 15,-13 0-15,13 0 0,-13-13 16,0 13-16,14-14 0,-14 14 0,13-13 16,-13 0-16,13-1 0,-13 1 15,13 0-15,1-1 0,-14 1 0,13-14 16,-13-12-16,0 12 0,13 1 16,-13-14-16,0 13 0,13-12 0,-13-1 15,0 0-15,0 0 0,13 0 0,-13 1 16,0-1-16,0 0 0,0 0 15,14-13-15,-14 14 16,0-1-16,0 0 16,-14 0-1,1-13-15,0 0 16,0 0-16,0 0 0,-1 0 0,1 0 16,-13 13-16,-1-13 0,1 0 0,-1 0 15,-12 0-15,12 0 16,-26 0-16,0 0 0,0 0 0,0-13 15,-13 13-15,-13 0 0,13 0 0,-14 0 16,1 0-16,0 0 0,-1-13 0,-12 13 16,12 0-16,-12 0 0,12 0 15,-12 0-15,12 0 0,1 0 0,0 0 16,-1 0-16,14 0 0,0 0 0,0 0 16,13 0-16,0 0 0,-13 0 15,13 0-15,0 0 0,13 13 0,-13-13 16,0 0-16,14 0 0,-14 13 0,13-13 15,-13 0-15,27 14 0,-14-14 0,14 0 16,-1 0-16,1 13 16,12-13-16,-12 0 0,13 0 0,-14 0 15,1 13-15,13-13 0,-1 0 16,-12 0-16,13 0 16,-1 0-16,1 0 0,0 0 0,0 0 15,0 0-15,-1 13 0,1-13 0,0 0 16,0 0-16,-1 0 15,1 0-15,0 0 0,0 0 16,-1 0-16,1 0 16,0 0-16,0 0 0,0 0 0,-1 0 15,1 0-15,-13 0 16,12 0-16,1 0 16,-13 0-16,12 0 15,1 0-15,0 0 0,0 0 16,0 0-16,-1 0 15,1 0-15,0-13 16,0 13 0,13-13-16,0 0 15,13-1-15,-13 1 0,13-13 16,-13-1-16,13 1 0,1-14 0,-1 14 16</inkml:trace>
  <inkml:trace contextRef="#ctx0" brushRef="#br0" timeOffset="88957.15">19976 10398 0,'-53'-66'31,"40"53"-31,-14-14 16,-12 1-16,12-1 0,-12 1 0,-1-14 15,0 14-15,14-1 0,-14 1 16,14-14-16,-1 14 0,1-1 0,12 1 16,-12-1-16,13 14 0,-14-13 0,14 12 15,0 1-15,-14 0 0,14 0 0,0-1 16,0 14-1,13-13-15</inkml:trace>
  <inkml:trace contextRef="#ctx0" brushRef="#br0" timeOffset="89713.03">19182 10411 0,'-13'0'0,"13"-13"16,-13 26-1,13 1-15,-13-14 0,13 13 16,-14 0-16,14 0 0,0 1 15,-13-1-15,13 0 0,-13 0 16,13 0-16,0 1 16,0-1-16,-13-13 0,13 13 15,13-26 17,0-14-32,-13 14 15,13 0-15,1-13 0,-14 12 0,13-25 16,13 25-16,-26-12 0,14 13 0,-1-14 15,0 14-15,-13 0 0,13 0 16,0 13-16,-13-14 0,14 1 16,-1 13-16,13 0 15,-26 13-15,14-13 16,-14 14-16,0-1 0,0 0 16,13 0-16,-13 0 0,0 1 0,0-1 15,0 0-15,0 0 0,-13 1 0,13-1 16,0 0-16,0 0 15,-14 1-15</inkml:trace>
  <inkml:trace contextRef="#ctx0" brushRef="#br0" timeOffset="89880.67">19116 10491 0,'27'-27'15,"-14"27"-15,0 0 16,0 0-16,1 0 0,-1-13 0,0 13 16,0 0-16,14 0 0,-14-13 0,0 13 15,0 0-15</inkml:trace>
  <inkml:trace contextRef="#ctx0" brushRef="#br0" timeOffset="90343.01">20095 9816 0,'0'-13'15,"0"39"17,0-13-32,0 1 0,0-1 0,0 0 15,0 0-15,-13 1 0,13-1 16,0 0-16,-13 27 16,13-27-16,0 0 0,0 0 0,0 1 15,-14-1-15,14 0 0,0 0 16,0 1-16,14-14 15,-14 13-15</inkml:trace>
  <inkml:trace contextRef="#ctx0" brushRef="#br0" timeOffset="90654.13">20135 9790 0,'0'0'0,"26"-14"0,-13 1 0,1 13 16,-1-13-16,0 13 0,0 0 0,14 0 15,-14 0-15,0 0 0,1 13 16,-1-13-16,-13 13 0,0 1 15,-13-1-15,-1 0 16,1 0-16,-13-13 0,12 13 16,1 1-16,-13-14 15,-14 26-15,27-26 0,0 13 16,-1 1-16,1-14 0,13 13 16</inkml:trace>
  <inkml:trace contextRef="#ctx0" brushRef="#br0" timeOffset="91787.95">20016 11139 0,'26'0'78,"-13"0"-78,1 0 0,-1 0 0,13 0 16,1 0-16,-1 0 0,1 0 16,12 0-16,1 0 0,13 0 0,0 0 15,0 0-15,0 13 0,-14-13 16,14 0-16,0 0 0,0 0 15,-13 0-15,13 0 0,0 0 0,0 0 16,-14 0-16,14 0 0,0 0 0,0 0 16,0 0-16,0-13 0,13 13 0,-13 0 15,0 0-15,13 0 0,0 0 16,14-13-16,-1 13 0,-13 13 0,0-13 16,0 0-16,14 0 0,-14 13 15,13-13-15,-13 0 0,80 13 16,-80 1-16,-13-14 0,53 13 15,-67 0-15,28-13 0,-28 13 0,14-13 16,0 0-16,0 14 0,0-14 16,0 0-16,0 13 0,132 0 31,-158-13-31,-14 0 16,0 0-16,0 0 0,0 0 0,1 0 15,-1 0-15,0 0 0,0-13 0,1 13 16,-1 0-16,0 0 15,0 0-15,0 0 16,-13-13-16,14 13 16,-28-14 15,1 1-31,0 13 0,-40-26 16,13 12-16,1 1 0</inkml:trace>
  <inkml:trace contextRef="#ctx0" brushRef="#br0" timeOffset="92887.35">21431 10504 0,'0'26'16,"0"-12"-16,0-1 0,0 0 16,0 14-16,0-1 0,0 0 0,0 1 15,0 13-15,0-1 0,0 14 16,0-13-16,0 0 0,0 13 0,13-14 15,-13 54-15,0-54 16,14 14-16,-14-13 0,0 0 16,13-1-16,-13 1 0,0-13 0,13-1 15,-13 1-15,0-1 0,0 0 0,0 1 16,13-1-16,-13-12 0,0 12 0,0-13 16,0 14-16,0-14 15,0 13-15,0-12 0,0-1 0,0 0 16,0 0-16,0 14 0,0-14 0,0 0 15,0 1-15,0-1 0,0 0 16,0 0-16,0 0 16,0 1-16,14-14 0,-14 13 15,0 0-15,0 0 32,0 1-32,0-1 31,0 0-31,-14-13 15,14 13-15,0 0 16,-13 1 0,13-1 15,-13-13-31,13 13 16,-13-13-16,13 13 15,-14-13-15,1 14 31,0-28 1,0 1-17</inkml:trace>
  <inkml:trace contextRef="#ctx0" brushRef="#br0" timeOffset="94741.17">13652 11073 0,'27'0'16,"-54"0"-16,67 0 0,-27 0 0,1 0 0,-1 0 16,0 0-16</inkml:trace>
  <inkml:trace contextRef="#ctx0" brushRef="#br0" timeOffset="97167.98">18904 11046 0,'0'-26'63,"0"13"-48,0-1-15,0 1 0,0 0 16,14 0-16,-14 0 0,13-1 16,-13 1-16,0 0 0,13 13 15,-13-13-15,13 13 0,-13-14 16,14 14-16,-1 0 31,0 14-31,0-1 16,1 0-16,-14 0 0,13 1 15,0-1-15,-13 0 0,13-13 16,-13 13-16,13-13 0,1 13 16,-1-13-16,0 0 15,0 0-15,1-13 16,-1 0-1,-13 0-15,13 13 16,-13-13-16,0-1 0,0 1 0,13 0 16,-13 0-1,-13-1 1,13 1 15</inkml:trace>
  <inkml:trace contextRef="#ctx0" brushRef="#br0" timeOffset="97481.98">19288 10808 0,'0'13'16,"0"1"-16,13-1 16,-13 0-16,0 0 15,0 1-15,14-14 0,-14 13 16,13 0-16,0 0 15,0-13-15,1 0 0,-1 14 16,0-14-16,0-14 0,0 14 16,1 0-16,-1 0 15,-13-13-15,13 0 0,-13 0 16,0-1-16,-13 1 16,13 0-16,-13 13 15,-1 0-15,1 0 16,0-13-16,0 13 0,0 0 0,-1 0 15,1 13-15,0-13 16</inkml:trace>
  <inkml:trace contextRef="#ctx0" brushRef="#br0" timeOffset="98572.27">20479 10372 0,'-13'-14'46,"13"1"-30,-14 13 0,14-13-16,0 0 31,0 0-31,0-1 0,0 1 16,0 0-16,14 13 15,-14-13-15,0-1 16,0 1-1,13 26 1,0 1 0,-13-1-16,13 0 15,-13 0-15,13 1 16,-13-1-16,14-13 0,-14 13 16,13-13-16,0 13 15,0-13-15,1 0 16,-1 0-1,0 0 1,-13-13-16,0 0 0,13 13 16,-13-13-16,0-1 0,14 1 15,-14 0 1,0 0-16,0-1 31,0 1-15,13 13-16</inkml:trace>
  <inkml:trace contextRef="#ctx0" brushRef="#br0" timeOffset="98901.26">20836 10147 0,'-27'13'31,"27"0"-31,-13 0 0,13 1 15,0-1-15,0 0 16,0 0-16,13 1 0,-13-1 16,0 0-16,14-13 0,-14 13 0,13 1 15,0-14-15,0 13 16,1-13-16,-1 0 0,0 0 0,0 0 16,1-13-16,-1-1 15,-13 1 1,0 0-16,0 0 0,0-1 15,-13 1-15,13 0 0,-14 0 0,1-1 16,0 14-16,0-13 0,-1 13 16,1-13-16,0 13 0,0 0 15,-1 0-15,1 0 0,0 0 0,0 0 16,0 0-16,-1 13 0,1-13 0,0 13 16</inkml:trace>
  <inkml:trace contextRef="#ctx0" brushRef="#br0" timeOffset="99784.98">18852 11443 0,'-14'0'0,"28"13"47,-14 1-47,13-14 15,0 0-15,0 13 0,0-13 16,1 0-16,12-13 0,-13 13 15,1 0-15,12 0 0,-13-14 0,14 14 16,-14-13-16,0 0 0,0 13 16,1-13-16,-1 13 0,-13-13 15,13 13-15,-13-14 0,13 14 16,-39 14 0,13-1-1,-1 0-15,1 13 0,-13-12 0,13-1 16,-1 0-16,-12 14 0,13-1 0,-1-13 15,1 1-15,0 12 0,0-13 16,-1 0-16,1 1 0,0-1 0,0 0 16,13 0-16,-13 1 0,-1-1 15,14 0-15,0 0 16</inkml:trace>
  <inkml:trace contextRef="#ctx0" brushRef="#br0" timeOffset="100430.53">19024 11708 0,'66'-40'31,"-66"27"-31,13 13 0,0-13 0,0-1 15,1 1-15,-1 0 16,0 0-16,0 0 0,-13-1 0,14 14 16,-14-13-16,13 13 0,-13-13 0,-13 0 31,-1 13-15,1 0-16,0 13 0,13 0 15,-13-13-15,-1 13 0,14 1 16,-13-14-16,13 13 0,-13 0 0,13 0 15,0 0-15,0 1 16,0-1-16,13-13 16,-13 13-16,13-13 15,1 13-15,-1-13 0,0 0 16,0 0-16,1 0 0,-1 0 0,0-13 16,0 13-16,14 0 0,-14-13 15,0 13-15,0-13 0,1 13 16,-14-14-16,13 14 0,0-13 15,-13 0 1,0 0 0,-13 39 31,13-13-32,13 1-15,-13-1 16,13 0-16,-13 0 15,0 1-15,0-1 16,14 0-16,-28-13 0,14 13 16,-13 1-16,13-1 15,-13-13-15,0 13 0,-14 0 16,14-13-16,0 13 0,-14-13 0,14 0 16,0 0-16,0 14 0,13-28 0,-14 14 15,1 0-15,13-13 0</inkml:trace>
  <inkml:trace contextRef="#ctx0" brushRef="#br0" timeOffset="101352.92">22106 9975 0,'-13'39'16,"13"-25"-1,0-1-15,0 0 16,0 0-16,0 1 0,0-1 16,0 0-16,13-13 15,-13 13-15,13-13 0,0 14 16,1-14-16,-1 0 16,0-14-16,0 14 0,14-13 15,-14 0-15,0 13 0,14-27 16,-14 14-16,-13 0 0,13 13 15,0-13-15,-13-1 0,14 14 16,-14-13-16,-27 26 31,27 1-31,-13-1 0,0-13 16,-1 26-16,1-12 0,0-1 16,0 0-16,0 0 0,-1 1 0,14-1 15,-13 0-15,0-13 0,13 13 16,-13 14-16,-1-27 0,1 13 15,13 0-15,0 0 0,-13-13 16,13 14-16</inkml:trace>
  <inkml:trace contextRef="#ctx0" brushRef="#br0" timeOffset="101705.92">22490 10134 0,'13'-27'16,"-26"54"-16,26-67 0,0 40 0,-13-13 0,0-1 16,-13 14-1,-14 0 1,14 14-1,0-14 1,13 13-16,-13-13 0,13 13 0,-14 0 16,1 14-16,13-14 15,0 0 1,13 0-16,-13 1 0,14-1 16,-1-13-16,0 13 0,0-13 15,14 0-15,-1 13 16,-13-13-16,14-13 0,-14 13 0,0 0 15,14 0-15</inkml:trace>
  <inkml:trace contextRef="#ctx0" brushRef="#br0" timeOffset="101965">22781 10028 0,'-14'0'0,"1"0"31,0 0-31,13 13 15,0 0-15,0 14 16,13-14-16,-13 0 16,0 0-16,0 1 0,13-14 15,-13 13-15,0 0 0,0 0 16,0 0-16,0 1 16,-13-14-16,13 13 0,-13-13 15,0 13-15,-1 0 0,1-13 16,0 14-16,-13-14 0,-1 13 15,14-13-15</inkml:trace>
  <inkml:trace contextRef="#ctx0" brushRef="#br0" timeOffset="105341.03">15835 10186 0,'-13'27'31,"13"-14"-15,-13 0-16,13 1 0,0-1 0,-13-13 15,13 13-15,0 0 0,0 1 16,-14-1-16,14 0 0,0 0 0,0 0 16,-13-13-16,13 14 0,0-1 15,0 0-15,0 0 16</inkml:trace>
  <inkml:trace contextRef="#ctx0" brushRef="#br0" timeOffset="105892.44">15729 10173 0,'0'-13'16,"0"0"-1,14 0 1,-14-1-16,13 14 15,0 0-15,-13-13 0,13 13 16,1-13-16,-1 13 0,0 0 16,0-13-16,1 13 0,-1 0 0,0 0 15,0 0-15,0 13 0,1-13 16,-1 0-16,0 13 0,0 0 16,1 1-16,-14-1 15,0 0-15,0 0 16,0 0-16,-14-13 0,14 14 15,-13-14-15,0 13 0,0 0 0,-1-13 16,1 13-16,0-13 0,0 0 16,0 14-16,-1-14 0,1 0 0,0 0 15,0 13-15,-1-13 0</inkml:trace>
  <inkml:trace contextRef="#ctx0" brushRef="#br0" timeOffset="106840.86">18045 10081 0,'-14'53'16,"14"-40"-16,0 0 15,0 0-15,0 0 0,0 1 16,-13-1-16,13 0 0,0 0 16,0 1-16,-13-1 0,13 13 15,0-12-15,0-1 16,0 0-16,0 0 31</inkml:trace>
  <inkml:trace contextRef="#ctx0" brushRef="#br0" timeOffset="107541.46">17992 10120 0,'0'-13'16</inkml:trace>
  <inkml:trace contextRef="#ctx0" brushRef="#br0" timeOffset="107933.07">18005 10147 0,'0'-27'0,"0"14"15,13 13-15,-13-13 0,13 0 16,-13-1-16,14 1 16,-14 0-16,13 0 0,0-1 0,0 1 15,1 0-15,-14 0 0,13 13 0,0-13 16,0-1-16,0 1 0,1 13 16,-1-13-16,0 13 0,0 0 15,1 13-15,-1-13 0,-13 13 16,0 1-16,13-1 0,-13 0 15,0 0-15,0 14 0,0-14 0,0 13 16,0-12-16,0-1 0,0 0 0,0 0 16,0 1-16,0-1 0,0 0 15,0 0-15,0 0 0,0 1 0,0-1 16,0 0-16,0 0 16,-13 1-16,13-1 15,0 0-15,0 0 16</inkml:trace>
  <inkml:trace contextRef="#ctx0" brushRef="#br0" timeOffset="108176.18">18045 10200 0,'13'0'15,"0"0"-15,0 0 0,1 0 0,-1 0 16,0 0-16,0 0 0,14-14 0,-14 14 16,13 0-16,1 14 0,-1-14 15,-13 0-15,14 0 0</inkml:trace>
  <inkml:trace contextRef="#ctx0" brushRef="#br0" timeOffset="118158.9">20532 10729 0,'26'-13'0,"-26"-1"16,13 28 15,-13-1-31,0 0 0,-13 0 16,13 1-16,0-1 0,-13 0 15,13 0-15,0 0 0,-13 1 16,13-1-16,0 0 0,-14 0 15,14 1-15,-13-1 0,13 0 16,0 0-16,-13-13 16,13 14-16,0-1 15,13-13 1,0 0 0</inkml:trace>
  <inkml:trace contextRef="#ctx0" brushRef="#br0" timeOffset="118951.56">20836 10782 0,'0'-13'15,"0"-1"1,0 1-16,0 0 15,-13 0 1,-1 13 0,1 0-16,0 0 15,0 13-15,0-13 16,-1 13-16,14 0 0,-13-13 0,0 14 16,0-1-16,-1 0 0,14 0 0,-13-13 15,13 13-15,-13 1 0,13-1 16,0 0-16,0 0 15,0 1-15,13-14 16,0 0 0,14 0-16,-14-14 0,0 1 15,1 13-15,-1-13 0,0 0 16,0-1-16,0 14 0,1-13 16,-1 0-16,0 13 0,-13-13 0,13 13 15,1-13 1,-14 39-1,-14-13-15,14 0 16,0 1-16,-13-1 0,13 0 16,0 0-16,-13 1 0,13-1 0,-13 0 15,13 0-15,0 1 0,0-1 16,0 0-16,0 0 16,-14 0-16,28 1 15,-14-1 1</inkml:trace>
  <inkml:trace contextRef="#ctx0" brushRef="#br0" timeOffset="122249.11">20757 10980 0,'13'0'31</inkml:trace>
  <inkml:trace contextRef="#ctx0" brushRef="#br0" timeOffset="123741.76">22344 10755 0,'13'0'0,"1"14"15,-14-1 1,0 0-1,0 0-15,0 0 0,-14 1 16,14-1-16,0 0 0,0 0 16,0 1-16,-13-14 15,13 13-15,0 0 16,0 0-16,13-39 47,-13 13-47,0-1 15,14 1-15,-14 0 0,0 0 16,13 13-16,-13-14 0,0 1 0,0 0 16,13 0-16,-13 0 0,13-1 15,-13 1-15,0 0 32,-13 39-1,13-12-16,0-1-15,-13-13 0,13 13 16,0 0-16,-13-13 0,13 13 0,0 1 16,-14-14-16,14 13 15,0 0-15,-13 0 16,26-39 31,-13 13-32,0-1-15,14 1 0,-14 0 16,0 0-16,0 0 0,0-1 16,13 1-16,-13 0 0,0 0 15,13-27 1,-13 27 0,0 39 46,13-13-46</inkml:trace>
  <inkml:trace contextRef="#ctx0" brushRef="#br0" timeOffset="125984.29">22053 11496 0,'0'-13'0,"0"39"47,0-12-47,0 12 16,0-13 0,0 14-1,0-14-15,0 0 16,0 0-16,-13 1 15,13-1-15,0 0 16</inkml:trace>
  <inkml:trace contextRef="#ctx0" brushRef="#br0" timeOffset="126608.12">22331 11483 0,'0'0'0,"0"-13"0,0 39 46,0-13-46,13-13 0,-13 14 16,0-1-16,0 0 16,0 14-16,0-14 15,-13 0-15,0 0 16,-1-13 0,1 13-16,0-13 0,0 0 15,-1 0 1,14-13-1,14 0 1,-1 0-16,0 0 0,0 13 0,1-14 16,-1 1-16,0 0 0,0 13 0,-13-13 15,14-1-15,-1 14 0,-13-13 16,13 0-16,-13 0 0,0-1 16,-13 1-1,0 0 1,-1 13-16,1 0 0,0 0 15,-14 0-15,14 13 16,0-13-16</inkml:trace>
  <inkml:trace contextRef="#ctx0" brushRef="#br0" timeOffset="127448.89">20638 11536 0,'0'0'0,"13"0"0,0 13 16,0-13-16,0 13 15,-13 1-15,0-1 16,-13 0-16,13 0 0,-13 0 16,0 1-16,0-1 0,-14 0 0,14 0 15,-14 1-15,14-1 0,-13 0 16,12 0-16,1-13 0,0 14 15,0-1-15,0-13 0,13 13 16,13-13 0,0 0-1,0 0-15,0 0 0,1 0 16,12 0-16,-13 0 0,1 0 0,12 0 16,-13 0-16,1 0 0,-1 0 15,0 0-15,13 0 0,-12 0 16,-1 0-16,0 0 0,0 13 15</inkml:trace>
</inkml:ink>
</file>

<file path=ppt/ink/ink30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2:13:52.577"/>
    </inkml:context>
    <inkml:brush xml:id="br0">
      <inkml:brushProperty name="width" value="0.05292" units="cm"/>
      <inkml:brushProperty name="height" value="0.05292" units="cm"/>
      <inkml:brushProperty name="color" value="#FF0000"/>
    </inkml:brush>
  </inkml:definitions>
  <inkml:trace contextRef="#ctx0" brushRef="#br0">17383 4128 0,'27'-14'0,"-14"14"16,13 0-16,40-13 15,-13 13-15,-13 0 0,66-13 16,-40 13-16,-13 0 0,13 0 16,0-13-16,0 13 0,1 0 0,-15 0 15,15 0-15,-15 0 0,1 0 16,0 0-16,-13 0 0,0 0 0,-14 0 15,-13 0-15,14 0 0,-14 0 0,0 0 16,-13 13-16</inkml:trace>
  <inkml:trace contextRef="#ctx0" brushRef="#br0" timeOffset="272.19">17542 4273 0,'79'0'15,"-39"0"-15,-14 0 16,14 0-16,13 0 0,-13 0 0,13 0 0,0 0 16,-14 0-16,14 13 0,-13-13 15,13 0-15,-14 0 0,-12 0 16,13 0-16,-14 0 0,14 0 0,-14 13 0,14-13 15,-14 0-15,1-13 0,12 13 0,-12 0 16,13 0-16,-1 0 16,14 0-16,-13-13 0,39 13 0,-13-13 15,14 0-15,-1-1 0</inkml:trace>
  <inkml:trace contextRef="#ctx0" brushRef="#br0" timeOffset="663.37">21802 4220 0,'39'0'0,"-12"0"16,-14 0-16,27 0 0,-14 0 0,14 13 16,13-13-16,39 0 15,-52 14-15,13-14 0,0 0 0,-13 13 16,-1-13-16,-12 0 0</inkml:trace>
  <inkml:trace contextRef="#ctx0" brushRef="#br0" timeOffset="2183.96">4908 5067 0,'40'13'31,"-14"-13"-31,14 0 0,0 0 0,12 0 15,1 13-15,0-13 0,13 0 0,-13 0 16,0 0-16,-13 0 0,13 0 0,0 0 16,-14 0-16,14-13 0,0 13 15,-13 0-15,13 0 0,0 0 0,-13 0 16,12 0-16,1 0 0,-13 0 0,13 0 16,0 0-16,0 0 0</inkml:trace>
  <inkml:trace contextRef="#ctx0" brushRef="#br0" timeOffset="2632.93">8639 5014 0,'198'13'31,"-171"-13"-31,25 0 0,-25 0 15,-14 0-15,14 0 0,-14 0 16,0 0-16,0 0 0,1 0 0,-1 0 16,0 0-16</inkml:trace>
  <inkml:trace contextRef="#ctx0" brushRef="#br0" timeOffset="4263.26">6231 9327 0,'-13'0'0,"39"13"47,-13-13-32,1 0-15,-1 0 0,0 0 16,0 13-16,1-13 0,-1 0 0,0 0 16,0 0-16,0 0 0,1 0 15,-1 0-15,0 0 0,14 0 16,-14 0-1,0 0-15,0 0 16</inkml:trace>
  <inkml:trace contextRef="#ctx0" brushRef="#br0" timeOffset="4597.14">6390 9234 0,'26'13'31,"-13"-13"-31,1 13 0,-1-13 15,0 14-15,0-14 0,1 13 16,-1 0-16,0-13 0,-13 13 16,13-13-16,-13 14 0,0-1 0,0 0 15,0 0-15,0 0 0,-13 1 16,13 12-16,-13-13 0,0 1 16,-1-1-16,-12 13 0,13-12 0,-1-1 15,1 0-15,0 0 0,0-13 16,13 13-16,-14 1 0,14-1 15</inkml:trace>
  <inkml:trace contextRef="#ctx0" brushRef="#br0" timeOffset="7273.36">7157 9300 0,'0'0'0,"0"-13"31,0 0-31,13 13 15,-13-14 17,-13 14 343,0 0 312,13 14-671,-13-14-16,13 13 0,-14 0 15,1 0-15,0 1 0,0 12 0,-1-13 16,1 14-16,0-14 0,0 13 16,-1-12-16,1 12 0,0-13 0,0 1 15,0-1-15,-1 0 0</inkml:trace>
  <inkml:trace contextRef="#ctx0" brushRef="#br0" timeOffset="7497.26">6972 9287 0,'39'26'32,"-25"-12"-32,-1-1 0,0 13 15,14 1-15,-1-14 0,-13 13 0,1-12 16,-1-1-16,0 13 0,27 1 15,-27-14-15,0 0 0,0 0 0,1-13 16,-1 14-16,0-14 0</inkml:trace>
  <inkml:trace contextRef="#ctx0" brushRef="#br0" timeOffset="7885.27">7395 9327 0,'0'0'0,"13"26"16,1-26-16,-14 13 16,13-13-16,0 0 0,0 0 15,0 0-15,1 0 0,-1 0 16,0 0-16,0 0 0,14-13 15,-14 13-15,0-13 16,1 13-16,-1-13 16,-26 39 15,-1-13-31,1 14 16,0-14-16,13 0 15,-27 27-15,14-27 0,13 0 16,-13 1-16,13 12 0,-13-13 0,13 0 15,-14-13-15,14 14 0,0-1 0,0 0 16,0 0-16,14-13 16</inkml:trace>
  <inkml:trace contextRef="#ctx0" brushRef="#br0" timeOffset="8299.49">7766 9353 0,'13'-13'15,"0"26"1,13-13-1,-12 13-15,-1-13 16,0 13-16,-13 1 0,13-14 16,-13 13-16,0 0 0,-13-13 15,13 27-15,-26-1 0,12-13 16,1 14-16,-13-1 0,13 1 16,-1-14-16,14 0 0,-13 0 15,0-13-15,13 27 0,-13-14 16,13 0-16,0 1 15,0-1-15,13 0 16,0 0-16,0-13 16,1 0-16,-1 0 15,0 0-15,0 0 0,0 0 0,14 0 16,-14-13-16,0 13 16,1 0-16</inkml:trace>
  <inkml:trace contextRef="#ctx0" brushRef="#br0" timeOffset="8528.87">7699 9578 0,'40'0'47,"-13"0"-32,-14 0-15,0 0 0,0 0 16,14 0-16,-14 0 0,27 0 16,-27 0-16,13 0 0,14-13 15,-27 13-15,0 0 0</inkml:trace>
  <inkml:trace contextRef="#ctx0" brushRef="#br0" timeOffset="9294.04">8414 9485 0,'39'-13'16,"-12"13"-16,-14 0 16,14 0-16,-14-13 0,26 13 15,-12 0-15,-1 0 0,1 0 16,-1-13-16,1 13 0,26 0 15,-40-14-15,13 14 0,-12 0 0,-1 0 16,0 0-16,0 0 0,1-13 16,-1 13-16,0 0 15,0-13-15</inkml:trace>
  <inkml:trace contextRef="#ctx0" brushRef="#br0" timeOffset="9697.17">8718 9327 0,'53'13'31,"-40"0"-31,0-13 16,1 0-16,-1 0 0,0 13 0,0-13 16,1 0-16,-1 0 0,-13 13 15,13-13-15,0 0 0,0 14 16,1-14-16,-1 0 0,-13 13 15,13-13-15,-13 13 0,13-13 0,-13 13 16,0 14 0,0-14-16,-13 0 15,0 14-15,0-14 0,-1 0 16,1 0-16,-13 1 0,13-1 16,-14 13-16,14-26 0,-14 14 0,14-1 15,0 0-15,0 0 0</inkml:trace>
  <inkml:trace contextRef="#ctx0" brushRef="#br0" timeOffset="11674.02">9829 9313 0,'0'-26'0,"0"52"0,13-65 15,-13 25-15,0 1 16,0 0-16,-13 0 0,13 0 16,0-14-16,-13 14 0,13 0 15,0-1-15,-13 14 16,0 14-1,-1-1-15,1 27 0,0-1 16,0 1-16,-1 13 0,1 0 16,0 0-16,0 0 0,0-1 15,-1 1-15,1 0 0,13-13 0,-13 0 16,13-14-16,-13 14 0,13-27 0,0 13 0,0-12 16,0 12-16,-14-13 0,14 1 15,0-1-15,-13 0 16,0-39-1,13 12 1,-13 1-16,13 0 16,0 0-16,0-1 0,0 1 0,-14 13 15,14-13-15,0 0 0,0 0 0,0-1 16,0 1 0,0 0-16,14 13 0,-14-13 15,13-1-15,0 14 0,0-13 0,1 13 16,12-13-16,1 0 15,-1 0-15,14-1 0,-1 1 0,1 0 16,-14 0-16,14-14 0,-13 14 0,-1 0 16,-13-1-16,14 1 0,-27 0 15,13 0-15,0 0 0,0-1 0,-13 1 16,0 0 0,-13 0-16,0 13 15,0 13-15,0-13 0,-1 0 16,1 13-16,0 0 0,0-13 0,-14 27 15,14-14-15,0 0 0,-1 0 16,14 1-16,0 12 16,14-26-1,-14 13-15,13-13 0,0 0 16,0 0-16,1-13 0,-1 13 0,0 0 16,14-13-16,-14 0 0,0 13 15,0-14-15,0 1 0,1 13 0,-1-13 16,0 0-16,0 13 15,-13-13-15,14 26 32,-1 0-17,0-13 1,0 0 0,1 0-16,-14-13 15,13 13-15,0 0 16,0 0-1,-13 13-15,0 0 16,0 0-16,0 1 0,13-1 16,-13 0-1,0 0 1,14-13-16</inkml:trace>
  <inkml:trace contextRef="#ctx0" brushRef="#br0" timeOffset="11823.85">10319 9274 0,'-13'0'0,"-1"0"15</inkml:trace>
  <inkml:trace contextRef="#ctx0" brushRef="#br0" timeOffset="12160.38">10597 9128 0,'-14'40'32,"14"-27"-32,-26 40 15,26-13-15,-13-1 0,-1 1 16,1 0-16,0-1 0,0-12 0,0 13 15,-1-1-15,14-12 0,-13-14 16,13 13-16,-13-12 0,13-1 0,0 0 16,0 0-16,0 1 0,13-14 15,0 0-15,1 0 16</inkml:trace>
  <inkml:trace contextRef="#ctx0" brushRef="#br0" timeOffset="12429.14">10689 9406 0,'-26'0'15,"52"0"-15,-66 0 0,27 0 0,13 13 16,-13-13-16,13 13 0,0 1 0,0-1 16,13 0-16,-13 0 15,0 1-15,13-1 0,-13 0 16,14 0-16,-14 0 0,13 1 0,-13-1 15,0 0-15,0 0 0,0 1 0,0-1 16,0 0-16,-13 0 0,-1 1 16,1-1-16,0-13 15,13 13-15,-13-13 16,0-13 0</inkml:trace>
  <inkml:trace contextRef="#ctx0" brushRef="#br0" timeOffset="12699.04">11470 9194 0,'-14'66'16,"14"-52"-16,-13 25 0,0 1 16,13-14-16,-13 14 0,0 0 15,13-14-15,-14 14 0,14-14 0,-13 1 16,13-1-16,0 1 0,0-14 0,-13 14 16,13-14-16,0 0 0,0 0 15,0 0-15,0 1 0</inkml:trace>
  <inkml:trace contextRef="#ctx0" brushRef="#br0" timeOffset="13131.14">11165 9565 0,'27'-14'15,"-14"14"-15,14 0 0,-14 0 0,13-13 16,1 13-16,-1 0 0,14-13 16,-14 13-16,1 0 0,-14-13 15,13 13-15,-12 0 0,12 0 0,-13-13 16,1 13-16,-1 0 0,0 0 16,0 13-16,-13 0 15,0 0-15,0 0 16,14 1-16,-14-1 15,13 0-15,-13 0 0,13 1 16,13-1-16,-12-13 16,-1 0-16,0 0 15,0 0-15,1 0 0,-1 0 0,0-13 16,0-1-16,1 1 16,-14 0-16,0 0 0,13-1 15,-13 1-15,-13 0 0,13 0 16,0 0-16,-14-1 15,1 1-15,0 13 16,0 0-16,-1 0 16</inkml:trace>
  <inkml:trace contextRef="#ctx0" brushRef="#br0" timeOffset="14779.98">12660 9141 0,'0'27'47,"0"13"-47,0-14 0,-13 0 16,0 41-16,13-28 0,-13 1 15,13-14-15,0 1 0,-14-1 16,14-12-16,0 12 0,0 0 15,0-12-15,0-1 0,0 0 0,0 0 16,-13-13 0,0-13-1,0 0-15,13 0 16,-14 13-16,1-14 0,0 1 16,0 13-16,0-13 0,-14 13 0,1 0 15,-1 0-15,14 0 0,0 0 16,-1 13-16,-12 0 0,13-13 0,0 14 15,-1-1-15,14 0 0,-13 0 16,13 1-16,13-1 16,-13 0-16,14-13 0,-1 13 0,13-13 15,-13 0-15,14 0 0,-1 0 16,14 0-16,0 0 0,-1-13 0,1 0 16,0 0-16,0-14 0,-14 14 0,0-14 15,1 14-15,-1-13 0,-12 13 16,-1-1-16,0 1 0,-13 0 15,-13 13 1,0 13 0,-1-13-16,1 13 15,13 1-15,0-1 0,-13-13 0,13 13 16,0 0-16,0 0 0,13-13 16,-13 14-16,13-1 0,1-13 0,-1 13 15,13-13-15,-12 0 0,-1 0 16,13-13-16,-13 13 0,14-13 0,-1-14 15,1 14-15,-1-13 0,14-27 16,-14 13-16,-12 13 0,12 1 16,1-40-16,-14 39 15,0-12-15,0 26 0,-13-1 16,13 1-16,-13 0 0,-13 53 31,0-27-31,13 13 16,-13 1-16,0 12 0,-1-12 0,14 12 15,-26 28-15,26-41 16,-13 1-16,13-1 0,-14-13 0,14 0 16,-13 1-16,0 12 0,13-13 15,-13 1-15,0-14 16,-1 0-16,1 0 16,13-14-1,0 1-15,0 0 16,13 0-16,-13-1 0,14 1 15,-1 13-15,0-13 0,27-13 16,-27 12-16,13 14 0,14-26 16,-14 13-16,-12-1 0,12 14 15,-13-13-15,1 13 0,-1-13 0,0 13 16,0-13-16,1 13 16,-41 13 15,27 0-31,-13-13 15,13 13-15,-13 1 0,-1-1 16,14 0-16,0 0 0,0 1 16,-13-14-16,26 26 15,-13-13-15,14-13 16,-1 13-16,0-13 16,0 0-16,1 0 15,-1 0-15,0 0 0,0-13 16,0 13-1,1 0 1,-1 0-16,0-13 63,0 13-32,-13-13 0,14 13-15,-14-13-16,0-1 15,13 14 1,-13-13-16,13 0 0,-13 0 16,0-1-16,13 1 0,-13 0 0,14 0 15,-14-1-15,0 1 16,13 0-16,-13 0 0,0 0 0,13-1 15,-13 1-15,0 0 0,13 0 16,-39 26 15,13 0-15,-1 0-16,1 14 0,0-14 0,0 13 16,13-12-16,-14 12 0,1-13 15,13 14-15,-13-14 0,13 0 16,0 1-16,13 12 0,-13-13 15,13 0-15,1 1 0,-14-1 16,13 0-16,0-13 16,-13 13-16,13-13 0,1 0 15,-1 0-15,0-13 16</inkml:trace>
  <inkml:trace contextRef="#ctx0" brushRef="#br0" timeOffset="14940.62">13348 9393 0,'-13'0'0,"39"0"31,-12 0-31,-1 0 0,27-14 16,-14 14-16,-13 0 0,27 0 16,-14 0-1,1 0-15</inkml:trace>
  <inkml:trace contextRef="#ctx0" brushRef="#br0" timeOffset="15316.12">14129 9512 0,'0'39'31,"0"-25"-31,-13-1 16,13 0-16,0 0 0,0 1 0,-14-1 16,14 0-16,0 0 0,-13 1 15</inkml:trace>
  <inkml:trace contextRef="#ctx0" brushRef="#br0" timeOffset="15499.12">14155 9366 0,'-13'0'16</inkml:trace>
  <inkml:trace contextRef="#ctx0" brushRef="#br0" timeOffset="15739.13">14473 9313 0,'-14'40'31,"14"-27"-31,-13 14 16,0-1-16,13-13 0,-13 14 0,13-1 15,-13-12-15,13 12 0,-14 0 16,14-12-16,0-1 0,0 13 0,-13-12 15,13-1-15,0 0 0,0 0 16,0 1-16</inkml:trace>
  <inkml:trace contextRef="#ctx0" brushRef="#br0" timeOffset="15960.22">14221 9512 0,'53'-27'32,"-26"27"-32,-14 0 0,13 0 0,1 0 15,-1 0-15,1 0 0,-1-13 0,1 13 16,-14 0-16,13 0 0</inkml:trace>
  <inkml:trace contextRef="#ctx0" brushRef="#br0" timeOffset="16147.06">14671 9525 0,'-13'0'31</inkml:trace>
  <inkml:trace contextRef="#ctx0" brushRef="#br0" timeOffset="21568.06">20981 6548 0,'80'14'0,"-40"-1"15</inkml:trace>
  <inkml:trace contextRef="#ctx0" brushRef="#br0" timeOffset="22884.13">1111 7144 0,'27'0'32,"-1"0"-32,1-13 15,-1 13-15,14 0 0,13 0 0,0 0 16,0 0-16,-1-14 0,1 14 15,0 0-15,0 0 0,-13 0 16,0 0-16,-1 0 0,-12 0 0,-1 14 16,1-14-16,-1 0 0</inkml:trace>
  <inkml:trace contextRef="#ctx0" brushRef="#br0" timeOffset="23133.13">1085 7408 0,'66'-13'32,"-26"0"-32,-1 0 0,1 13 0,0-14 15,-1 14-15,1-13 0,0 13 16,-1-13-16,1 0 0,0 13 0,-14-14 15,14 14-15,-14-13 0,-12 13 16,12 0-16,-13-13 0,1 13 0,12 0 16,-13 0-16,0 0 0</inkml:trace>
  <inkml:trace contextRef="#ctx0" brushRef="#br0" timeOffset="25016.9">23363 6112 0,'0'13'0,"26"-13"16,-26 13-1,13-13-15,14 0 0,13 14 16,-14-1-16,0-13 0,1 0 15,-1 13-15,14-13 0,-13 0 0,-1 13 16,14-13-16,-14 0 0,1 0 0,-14 13 16,13-13-16,-13 0 0</inkml:trace>
  <inkml:trace contextRef="#ctx0" brushRef="#br0" timeOffset="25231.13">23535 6244 0,'66'13'0,"-132"-26"0,158 26 0,-65-13 16,12 0-16,-12 0 0,13 0 16,-14 0-16,14 0 0,-14 14 15,14-14-15,-14 0 0,1 0 0,-1 0 16,-13 0-16,14 0 0,-1 13 15,-12-13-15,-1 0 0</inkml:trace>
</inkml:ink>
</file>

<file path=ppt/ink/ink30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2:16:04.910"/>
    </inkml:context>
    <inkml:brush xml:id="br0">
      <inkml:brushProperty name="width" value="0.05292" units="cm"/>
      <inkml:brushProperty name="height" value="0.05292" units="cm"/>
      <inkml:brushProperty name="color" value="#FF0000"/>
    </inkml:brush>
  </inkml:definitions>
  <inkml:trace contextRef="#ctx0" brushRef="#br0">10597 3387 0,'-14'-14'0,"67"14"31,-26 0-31,-1 0 0,14-13 0,13 13 0,0 0 16,0 0-16,0 0 16,-1 0-16,1 0 0,13 0 15,-13 0-15,0 0 0,0 0 0,40-13 16,-67 13-16,14 0 0,-14 0 0,1 0 16,-14 0-16,14 0 0,-14 0 15,0 0-15,0 0 0</inkml:trace>
  <inkml:trace contextRef="#ctx0" brushRef="#br0" timeOffset="463.46">10649 3532 0,'146'13'31,"-93"-13"-31,0 0 0,0 0 0,0-13 16,0 13-16,-1 0 15,1 0-15,0 0 0,0 0 0,-13 0 16,0-13-16,-1 13 0,-12 0 0,-1 0 16,1 0-16,-1 0 0,-13 0 0,1 0 15,12-13-15,-13 13 0,1 0 0,-1 0 16,0 0-16,0 0 15,0 0 1,1 0-16,-1 0 16,0 0-1,0 0-15,-13 13 141</inkml:trace>
  <inkml:trace contextRef="#ctx0" brushRef="#br0" timeOffset="4716.25">1971 3889 0,'0'0'0,"93"-13"16,-54 13-16,14-13 0,0 13 0,13-13 15,1-1-15,12 14 0,0-13 16,67 0-16,-67 0 0,-13 13 15,14-13-15,-14 13 0,-13 0 0,0 0 16,0-14-16,0 14 0,-1 0 16,-25 0-16,13-13 0,-14 13 0,-13 0 15,14 0-15,-14 0 0,0 0 16,0 0-16,1 0 0</inkml:trace>
  <inkml:trace contextRef="#ctx0" brushRef="#br0" timeOffset="5076.14">1971 4035 0,'278'-27'16,"-199"14"-1,1 0-15,-1 0 0,0 13 16,93-27-16,-92 14 0,-1 13 16,1-13-16,-14 13 0,13-13 15,-26 13-15,0-14 0,0 14 0,-13 0 16,-1-13-16,-12 13 0,-1 0 16,1 0-16,-14 0 0,0 0 15,13 0-15,-12-13 0,-1 13 0,0 0 16,0 0-16,1 0 15,-1 0 1,-13 13 0,-13-13-1</inkml:trace>
  <inkml:trace contextRef="#ctx0" brushRef="#br0" timeOffset="18660.05">3082 5252 0,'146'-13'0,"-120"13"0,1 0 0,79 13 16,-67-13-1,-12 0-15,39 0 0,-26 0 16,-14 0-16,14 0 0,-14 0 16,1 0-16,-14 0 0,0 0 15,0 0-15,1 0 0,-1 0 0,0 0 16,0 0-1</inkml:trace>
  <inkml:trace contextRef="#ctx0" brushRef="#br0" timeOffset="18962.81">3135 5384 0,'53'0'16,"80"-13"0,-81 0-16,-12 13 15,0 0-15,13 0 0,-27 0 0,14 0 16,0-13-16,-14 13 0,14 0 15,-14 0-15,14 0 0,-14 0 0,14 0 16,-14 0-16,1 0 0,-1 0 16,1-14-16,-1 14 0,-12 0 0,12 0 15,-13 0-15,0 0 0,1 0 16,-1 0-16,0 0 0,0 0 0</inkml:trace>
  <inkml:trace contextRef="#ctx0" brushRef="#br0" timeOffset="19296.16">3704 5477 0,'172'0'32,"-145"0"-32,-1-13 0,1 13 15,-1 0-15,0 0 0,14 0 16,-13 0-16,-14 0 0,13 0 0,-12 0 16,-1 0-16,13 0 0,-13 0 15,1 0-15,12 0 16,-13 0-1</inkml:trace>
  <inkml:trace contextRef="#ctx0" brushRef="#br0" timeOffset="20831.86">14327 688 0,'0'-13'15,"0"52"32,0-25-47,0-1 0,0 13 16,0-12-16,0-1 0,0 13 0,0 1 16,0-14-16,0 13 0,0-12 0,0 12 15,0-13-15,0 0 0,0 1 16,0-1-16,0 0 0,0 0 0,0 14 15,0-14-15,0 0 16,0-39 15,0 13-15,13-14-16,-13 14 0,0-14 16,0 14-16,0-13 0,0-1 15,0 1-15,0-1 0,0 1 0,0 0 16,14 12-16,-14-25 0,0 25 15,0-12-15,13 13 0,-13-1 16,13 1-16,-13 0 0,13 13 16,1 0-16,-1 0 0,0 0 15,0 0-15,0 13 0,1 0 16,-1 1-16,0-1 0,0 13 16,1-12-16,-14-1 0,13 13 0,0 1 15,-13-1-15,0-13 0,13 1 16,-13-1-16,0 0 0,0 0 15,0 1-15,0-1 0,0 0 0,0 0 16,0 0-16,14-13 16</inkml:trace>
  <inkml:trace contextRef="#ctx0" brushRef="#br0" timeOffset="21142.66">14380 847 0,'13'13'31,"1"-13"-15,-1 0-16,-13 13 0,13-13 0,0 0 15,0 0-15,1 0 0,-1 0 16,0 0-16,0 0 16,1 0-1,-1 0 1</inkml:trace>
  <inkml:trace contextRef="#ctx0" brushRef="#br0" timeOffset="21595.02">13044 1005 0,'0'27'16,"0"-14"-16,0 0 16,13 1-16,-13 12 0,0-13 15,0 27-15,0-14 0,0-12 16,0-1-16,0 0 0,13 14 16,-13-14-16</inkml:trace>
  <inkml:trace contextRef="#ctx0" brushRef="#br0" timeOffset="21974.19">13242 1005 0,'0'40'47,"0"-27"-47,0 1 15,14-1-15,-14 0 0,13-13 16,-13 13-16,13 0 0,-13 1 0,13-1 16,1-13-16,-14 13 0,13-13 0,0 0 15,0 0-15,14 0 16,-14 0-16,-13-13 16,13 0-16,-13-1 0,0 1 15,0 0-15,0 0 0,0 0 16,0-1-16,-13 1 0,13 0 15,-13 0-15,-1-1 16,1 1-16,-13 13 16,13 0-1,-1 0-15,14 13 16</inkml:trace>
  <inkml:trace contextRef="#ctx0" brushRef="#br0" timeOffset="22290.03">13388 979 0,'0'0'0,"0"-13"16,13 13 0,0 13-16,1 0 15,-14 0 1,13 1-16,0-14 0,-13 13 16,13-13-16,-13 13 0,14-13 0,-1 13 15,0-13-15,0 0 16,0 0-16,1 0 15,-1 0-15,0-13 0,0 13 0,1-13 16,-1 0-16,-13-1 16,0 1-16,0 0 15,0-14-15,-13 27 16,13-13 0,-14 13-16,1-13 0,0 13 15,0 0-15,-1 0 0,1 0 16,0 13-16,0-13 0,0 0 0,-1 13 15,1-13-15</inkml:trace>
  <inkml:trace contextRef="#ctx0" brushRef="#br0" timeOffset="22868">15002 794 0,'26'13'32,"-12"-13"-32,-1 0 0,40-13 15,-14 13-15,-12 0 0,39 0 16,-40-13-16,14 13 15,-13 0-15,-1 0 0,14 0 0,-27-14 16,13 14-16,1 0 0,-14 0 0,0 0 16,1 0-16,-1 0 0,0 0 15,0-13-15,1 13 0,-1 0 16,0-13 0,-13 0-1</inkml:trace>
  <inkml:trace contextRef="#ctx0" brushRef="#br0" timeOffset="23308.18">15452 595 0,'26'14'47,"-13"-1"-47,1-13 16,-1 13-16,0-13 0,0 0 15,1 0-15,12 13 0,-13-13 0,14 0 16,-14 13-16,0-13 0,14 0 0,-14 14 15,0-14-15,13 0 0,-12 13 16,-1-13-16,0 0 0,0 0 16,1 13-16,-1-13 0,0 13 15,-13 1 1,0-1 0,0 0-16,-13-13 15,13 13-15,-13 1 0,-1-14 16,1 13-16,0 0 0,-27 13 15,14-12-15,13-1 0,-40 13 16,39-12-16,1-1 0,-26 0 16,25 0-16,1 0 15</inkml:trace>
  <inkml:trace contextRef="#ctx0" brushRef="#br0" timeOffset="24455.27">16708 582 0,'-13'-13'32,"26"39"-17,1-12 1,-1-1-16,0 13 0,-13-13 15,13 14-15,1-14 0,-1 14 0,0-14 16,-13 13-16,13-12 0,-13-1 0,0 0 16,14 0-16,-14 0 0,0 1 0,-14-1 15,14 0-15,-13 0 16,13 1-16,-13-14 0,13 13 0,-13-13 16,-1 13-16,1-13 0,0 0 15,0 0 1,13-13-16,0 0 15,0-1-15,0 1 16,13 0-16,-13 0 0,13-1 16,-13 1-16,13 0 0,1-13 0,-14 12 15,13 1-15,-13 0 0,13 0 0,-13-1 16,13 1-16,-13 0 0,0 0 0,0-1 16,0 1-16,0 0 0,0 0 15,0 0-15,-13-1 0,0 1 16,0 13-1,-1-13-15,1 13 16,0 0-16,-14 13 0,14-13 16,13 13-16,-13-13 0,0 0 15,13 14-15,-13-14 16</inkml:trace>
  <inkml:trace contextRef="#ctx0" brushRef="#br0" timeOffset="24830.25">16907 582 0,'0'0'0,"0"13"31,0 1-31,0-1 16,0 0-16,0 0 0,-13 0 0,13 14 16,0-14-16,0 14 0,0-14 15,0 0-15,0 0 0,13 1 0,-13 12 16,0-13-16,13 0 0,0-13 0,-13 14 15,14-1-15,-1-13 0,0 0 16,0 0-16,0 13 0,1-26 0,-1 13 16,0 0-16,14-13 0,-14 13 15,0-14-15,-13 1 0,13 0 16,-13 0-16,14-27 0,-14 27 16,0 0-16,-14-14 0,14 14 15,-13-14-15,13 14 0,-13 0 0,13 0 16,-13 0-16,-1-1 0,1 1 15,0 13-15,0 0 0,-1 0 16,1 0-16,0 0 0,0 0 0,0 13 16,-1-13-16,1 14 0,0-1 15,0-13-15,13 13 0,-14 0 0,14 0 16,0 1-16</inkml:trace>
  <inkml:trace contextRef="#ctx0" brushRef="#br0" timeOffset="25836.87">17489 529 0,'0'0'0,"0"27"15,0-14 1,13 0-16,-13 0 0,13 1 16,1-1-16,-14 0 15,13 0-15,0 0 0,0 1 16,1-14-16,-1 0 0,-13 13 0,13-13 16,0 0-16,0 0 0,1 0 15,-1-13-15,0 13 0,0-14 16,1 1-16,-1 13 0,-13-13 15,13 0-15,-13 0 0,13 13 0,-13-14 16,14 1-16,-14 0 16,-14 39 15,1-12-31,-13 25 0,12-12 16,1-1-16,0 1 15,0-1-15,-1 1 0,1-1 0,0 0 16,0-12-16,0 12 0,-1-13 0,14 1 15,-13-1-15,0 0 0,13 0 16,-13 0-16,13 1 0,-14-14 16,14 13-16,-13 0 15</inkml:trace>
  <inkml:trace contextRef="#ctx0" brushRef="#br0" timeOffset="26320.92">18362 701 0,'27'0'16,"-14"0"-16,0 0 16,0-13-16,14 13 0,-1 0 15,-13 0-15,14 0 0,-14-13 16,14 13-16,-1 0 0,-13 0 0,0 0 15,14 0-15,-14 0 0,0-14 16,1 14-16,-1 0 0,0 0 16,0 0-16,0 0 0,-13-13 0,14 13 15,-1 0-15</inkml:trace>
  <inkml:trace contextRef="#ctx0" brushRef="#br0" timeOffset="26610.89">18600 503 0,'27'13'0,"-14"-13"16,0 0-16,0 13 15,1-13-15,-14 13 0,13-13 0,0 14 16,0-1-16,0-13 0,1 13 0,-1 0 15,0 1-15,-13-1 16,13 0-16,1 0 0,-14 0 0,0 1 16,0-1-16,0 0 0,-27 14 15,27-14-15,-13 0 0,-40 27 16,40-27 0,0 0-16,-1 0 0,1-13 0,0 14 15,0-14-15</inkml:trace>
  <inkml:trace contextRef="#ctx0" brushRef="#br0" timeOffset="27486.74">19447 463 0,'26'0'16,"-12"-13"-16,12 26 16,-13-13-16,0 13 15,1 0-15,-14 1 16,13-14-16,-13 13 0,0 0 15,0 0-15,-13 1 0,13-1 0,-14 0 16,1 0-16,0 1 0,0-1 0,0 0 16,-1 0-16,1 0 0,0 1 15,0-1-15,-1 0 16,1 0 0,13 1-1,13-14 1,1 0-16,-1 0 0,0 0 0,0 0 15,14 0-15,-1 0 0,1-14 16,39 1-16,-40 0 0,14 0 16,13-14-16,-27 14 0,-12 13 15,-1-13-15,0 0 0,0 13 0,1-14 16,-1 14-16,-13-13 0,13 13 16,-39 13 30,26 1-46,-14-1 16,14 0-16,0 0 0,14-13 16,-14 13-16,13 1 0,0-14 15,0 0-15,0 13 16,1-13-16,-1-13 16,0 13-16,0 0 0,1-14 15,-1 1-15,-13 0 16,13 0-16,-13 0 0,0-1 15,-13 1-15,13 0 0,-13 0 16,13-1-16,-14 14 0,1 0 16,0-13-16,0 13 0,-1 0 15,1 0-15,0 0 0,0 13 16,0-13-16,-14 0 0,14 14 16</inkml:trace>
  <inkml:trace contextRef="#ctx0" brushRef="#br0" timeOffset="27670">20148 463 0,'13'0'16,"0"0"-16,-13 13 16,-13 14-1,13-14-15,-13 13 16,13-12-16,-13-1 0,13 0 15,0 0-15,-13 1 0,-1 12 0,14-13 16,-13 0-16,0 1 0,13-1 0,-13 0 16</inkml:trace>
  <inkml:trace contextRef="#ctx0" brushRef="#br0" timeOffset="27808.07">19976 582 0,'0'0'0,"0"-13"16</inkml:trace>
  <inkml:trace contextRef="#ctx0" brushRef="#br0" timeOffset="27942.03">20214 635 0,'13'0'0</inkml:trace>
  <inkml:trace contextRef="#ctx0" brushRef="#br0" timeOffset="28756.32">20823 423 0,'-14'27'16,"14"-14"0,-13 0-16,13 0 0,0 1 15,-13-1-15,13 0 0,0 0 0,-13 1 16,13-1-16,0 0 0,0 0 15,0 1-15,-13-14 0,13 13 16,0 0-16,0-39 47,13 12-47,-13 1 16,0 0-16,13 0 0,-13-1 15,13 1-15,-13 0 0,0 0 0,0-1 16,13 14-16,-13-13 0,14 26 47,-14 1-47,13 39 31,-13-40-31,13-13 0,-13 13 16,13 0-16,1 1 15,-1-14 1,0 0-1,0-14-15,1 1 16,-1 0-16,-13 0 16,13-1-16,-13 1 0,13 0 0,-13 0 15,13-14-15,-13 14 0,0 0 16,0 0-16,14-1 16,-28 14-16</inkml:trace>
  <inkml:trace contextRef="#ctx0" brushRef="#br0" timeOffset="29114.51">21233 410 0,'-27'13'31,"14"1"-31,13-1 0,-13 0 16,13 0-16,-13 0 0,13 1 16,0-1-16,0 0 15,13 0-15,-13 1 0,13-1 16,0 0-16,1-13 16,-1 13-16,13-13 0,-13 0 15,1 0-15,-1 0 0,0-13 16,0 13-16,1-13 0,-1 0 15,-13-1-15,13 14 0,-13-13 16,13 0-16,-13 0 0,0-14 16,0 14-16,0 0 0,-13 0 15,13-1-15,-13 14 0,0-13 16,-1 0-16,1 13 0,-13 0 16,12 0-16,1 0 0,0 0 15</inkml:trace>
  <inkml:trace contextRef="#ctx0" brushRef="#br0" timeOffset="29268.95">21616 489 0,'-39'14'46</inkml:trace>
  <inkml:trace contextRef="#ctx0" brushRef="#br0" timeOffset="29790.93">19394 900 0,'40'-14'0,"-80"28"0,106-28 16,-26 14-16,-14-13 0,1 13 16,12 0-16,1 0 0,0-13 15,13 13-15,-27 0 0,14 0 0,-14 0 16,1 0-16,12 0 0,-12-13 15,-14 13-15,14 0 0,-1 0 16,-13 0-16,0 0 0,1 0 0</inkml:trace>
  <inkml:trace contextRef="#ctx0" brushRef="#br0" timeOffset="30162.69">19328 966 0,'26'0'16,"-12"0"-16,-1 0 15,13 0-15,1 0 0,-1 0 0,1 0 16,-1 0-16,0 0 0,14 0 0,-13 0 16,-1 0-16,1 0 0,-1 0 15,-13-14-15,14 14 0,-1 0 0,-13 0 16,1 0-16,25 0 0,-25 0 15,-1 0 1,0 0-16,0 0 0,0 0 16,1 0-16,-1 0 31,0 0-15,0 0-1</inkml:trace>
  <inkml:trace contextRef="#ctx0" brushRef="#br0" timeOffset="32551.38">13031 1402 0,'13'0'0,"0"-13"15,14 13-15,-14 0 16,0 0-16,14-13 0,-1 13 0,0-13 15,1 13-15,-1-14 0,14 14 0,-13-13 16,-1 13-16,0-13 0,1 13 16,-14-13-16,0 13 0</inkml:trace>
  <inkml:trace contextRef="#ctx0" brushRef="#br0" timeOffset="32808.15">12965 1535 0,'26'13'16,"27"-26"0,-27 13-16,-12 0 15,25-14-15,-12 14 16,-1-13-16,14 13 0,-27-13 15,14 13-15,-14 0 0,0-13 16,0 13-16,1 0 0,-1-14 0,0 14 16,-13-13-16,13 13 15</inkml:trace>
  <inkml:trace contextRef="#ctx0" brushRef="#br0" timeOffset="34850.57">14592 1627 0,'0'27'15,"0"-14"1,0 0-16,0 0 0,0 1 0,0 12 16,0 0-16,0-12 0,0 12 15,0 1-15,0-14 0,0 13 0,0-12 16,0 12-16,0-13 0,0 14 15,0-14-15,0 0 0,0 0 0,0 1 16,0-1-16,-13-13 0,13 13 0,0 0 16,13 1-1,-13-1 1</inkml:trace>
  <inkml:trace contextRef="#ctx0" brushRef="#br0" timeOffset="35350.49">14592 1707 0,'0'0'0,"13"-14"0,-13 1 15,13 13-15,0 0 0,1-13 16,-1 13 0,0 13-16,0-13 0,1 13 15,-1 1-15,-13-1 0,0 0 16,0 0-16,-13 0 15,13 1-15,-14-1 0,14 0 0,-13 0 16,13 1-16,-13-1 0,13 0 16,0 0-16,13 1 15,-13-1 1,13-13-16,-13 13 0,14-13 0,-14 13 16,13-13-16,-13 13 0,13 1 15,-13-1-15,0 0 16,0 0-1,-13 1-15,0-14 0,13 13 16,-27-13-16,14 13 0,0-13 16,-1 0-16,-12 13 0,13-13 15,0 0-15,-14 0 0,14 0 16,13-13 0</inkml:trace>
  <inkml:trace contextRef="#ctx0" brushRef="#br0" timeOffset="42083.96">12925 2103 0,'13'0'15,"-13"14"1,0-1-16,0 0 0,0 0 15,0 1-15,0-1 0,0 26 16,0-12-16,-13-14 16,13 0-16,0 1 15,0-1-15,0 0 0,13 0 16,-13 1-16</inkml:trace>
  <inkml:trace contextRef="#ctx0" brushRef="#br0" timeOffset="42464.46">13123 2130 0,'0'0'0,"-13"0"16,0 13 15,13 0-31,0 1 0,0-1 16,0 0-16,-13 0 0,26 0 15,-13 1-15,0-1 0,13 0 16,-13 0-16,13 1 0,1-1 16,-1-13-16,0 0 0,0 13 15,0-13-15,1 0 0,-14-13 0,13 13 16,0 0-16,0-13 0,1 13 0,-1-14 16,0 1-16,-13 0 15,0 0-15,0-1 0,0 1 16,0 0-16,-13 0 15,13 0-15,-13 13 16,-1-14-16,1 14 0,0-13 16,0 13-16,-1 0 15,-12 0-15</inkml:trace>
  <inkml:trace contextRef="#ctx0" brushRef="#br0" timeOffset="42792.19">13295 2090 0,'0'13'16,"14"1"0,-14-1-16,0 0 15,0 0-15,13-13 0,-13 14 16,13-1-16,-13 0 0,13-13 15,0 13-15,1-13 16,-1 0-16,0 0 0,14 0 16,-14 0-16,0 0 15,-13-13-15,13 0 16,-13 0-16,0-1 16,0 1-16,0 0 15,-13 0-15,0 13 16,0 0-1,-1 0-15,1 0 0,-13 13 16,12 0-16,1-13 16</inkml:trace>
  <inkml:trace contextRef="#ctx0" brushRef="#br0" timeOffset="43018.91">13084 2434 0,'39'0'0,"1"-13"16,-27 13-16,14-13 0,26-1 16,-27 14-16,1 0 0,-1-13 15,0 13-15,14 0 0,0-13 16,-14 13-16,-12 0 0,-1 0 0,0 0 15,0 0-15,0 0 0</inkml:trace>
  <inkml:trace contextRef="#ctx0" brushRef="#br0" timeOffset="43250.42">13031 2514 0,'-13'0'15,"26"0"-15,0 0 32,0 0-17,14 0-15,-14 0 0,0 0 16,14-14-16,-14 14 0,40-13 16,-27 13-16,1-13 0,-1 13 15,-13-13-15,14 13 0,-1-14 0,1 1 16,-14 0-16,27 0 0</inkml:trace>
  <inkml:trace contextRef="#ctx0" brushRef="#br0" timeOffset="44248.1">15399 1773 0,'-13'0'0,"52"13"31,-26-13-31,1 0 0,12 13 0,14-13 16,-14 0-16,27 0 0,-13 0 16,13 13-16,26-13 0,-52 0 15,12 0-15,27-13 0,-39 13 16,-1 0-16,1 0 0,-1 0 16,-12-13-16,12 13 0,-13 0 15,0 0-15,1-13 0</inkml:trace>
  <inkml:trace contextRef="#ctx0" brushRef="#br0" timeOffset="44543.89">15875 1601 0,'26'13'16,"-12"0"-16,-1-13 0,0 13 16,-13 1-16,13-14 0,1 13 0,12 0 15,-13 0-15,14 1 0,-27-1 16,13-13-16,0 13 0,0 0 16,-13 0-16,14-13 0,-14 27 15,0-14-15,0 0 0,-14 14 16,14-14-16,-13 0 0,13 1 15,-13-1-15,13 0 0,-13-13 0,13 13 16,-13 0-16</inkml:trace>
  <inkml:trace contextRef="#ctx0" brushRef="#br0" timeOffset="44906.14">16814 1601 0,'0'39'31,"-13"-39"-31,13 14 16,0-1-16,0 0 0,0 0 16,-13 14-16,13-14 0,0 0 0,-13 0 15,13 1-15,0-1 0,-14 0 0,14 0 16,0 1-16,0-1 0,0 0 15,0 0-15</inkml:trace>
  <inkml:trace contextRef="#ctx0" brushRef="#br0" timeOffset="45271.34">16960 1654 0,'-13'26'32,"13"-13"-17,0 1-15,0-1 0,13 0 16,-13 0 0,0 0-16,13 1 0,0-14 15,0 13-15,1-13 16,-1 0-16,0 0 0,14 0 15,-14 0 1,-13-13-16,13-1 0,-13 1 16,0 0-16,-13 0 15,13 0-15,0-1 16,-13 14-16,13-13 0,0 0 16,-14 13-16,1 0 0,0 0 15,0 13 1,-1-13-16</inkml:trace>
  <inkml:trace contextRef="#ctx0" brushRef="#br0" timeOffset="45831.39">17343 1521 0,'-13'14'15,"13"-1"-15,0 0 16,0 0-16,0 1 16,0-1-16,27 13 15,-27-13-15,13-13 0,0 14 16,0-14-16,1 0 16,-1-14-16,13 14 15,-13 0-15,1-13 0,-1 13 0,0-13 16,0 0-16,1 0 0,-1 13 15,-13-14-15,13 1 0,0 0 16,-26 26 31,0 0-47,0 14 0,-1-14 0,1 13 16,0 1-16,-14 13 0,14-14 15,0 0-15,-13 1 0,12-1 0,1 1 16,0-1-16,0 1 15,-1-14-15,1 13 0,0-12 16,13-1-16,-13 0 0,13 0 16,-13-13-16,39-13 31</inkml:trace>
  <inkml:trace contextRef="#ctx0" brushRef="#br0" timeOffset="46303.21">18071 1733 0,'-13'-13'15,"53"13"1,-40-13 0,13 13-16,0 0 0,13 0 15,-12 0-15,-1 0 0,27-14 16,-14 14-16,0 0 0,-12 0 15,12 0-15,-13-13 0,1 13 0,-1 0 16,13 0-16,-12 0 0,-1 0 16,0-13-16</inkml:trace>
  <inkml:trace contextRef="#ctx0" brushRef="#br0" timeOffset="46604.86">18230 1548 0,'26'13'0,"14"14"16,-27-14-1,0 0-15,1-13 0,-1 13 16,0 0-16,0 1 0,1-1 15,-1 0-15,-13 0 0,13 1 16,-13-1-16,0 0 0,13-13 0,-13 13 0,0 0 16,-13 1-16,13-1 0,-13 13 15,0-12-15,-1-1 0,1 0 0,0 0 16,0 1-16,13-1 0,-14 0 16,1 0-16,0-13 15</inkml:trace>
  <inkml:trace contextRef="#ctx0" brushRef="#br0" timeOffset="47236.85">19460 1521 0,'-13'0'0,"-53"27"16,53-14-1,-1 0-15,14 1 0,-13-14 0,13 13 16,-13 0-16,13 0 15,0 0-15,13 1 16,0-28 0,1 14-16,-14-13 15,13 13-15,0-13 0,0 0 16,0 0-16,1 13 0,-14-14 16,13 14-16,-13-13 0,13 13 15,0 13 16,-13 1-31,-13-1 0,13 0 16,0 0-16,0 0 0,0 1 16,0-1-16,0 0 0,0 0 0,0 1 15,-13-1-15,13 0 0,0 0 16,0 0-16,13 1 16,-13-1-16,13-13 15</inkml:trace>
  <inkml:trace contextRef="#ctx0" brushRef="#br0" timeOffset="47619.98">19685 1614 0,'-13'-13'16,"0"26"-16,-1-13 0,14 13 15,-13-13-15,13 13 0,-13-13 0,13 14 16,-13-1-16,13 0 0,0 0 16,0 1-16,0-1 15,13 0-15,0 0 0,-13 0 16,13-13-16,14 14 0,-14-14 16,0 0-16,0 0 0,1 0 15,-1 0-15,0 0 0,0 0 0,-13-14 16,14 14-16,-1 0 0,-13-13 15,0 0-15,0 0 0,0 0 16,0-1-16,0 1 0,-13 0 16,13 0-16,-14 13 0,14-14 0,-13 1 15,0 13-15,13-13 0,-13 13 16,-1 0-16,1 0 0,0-13 16,0 26-16,0-13 15,-1 0-15</inkml:trace>
  <inkml:trace contextRef="#ctx0" brushRef="#br0" timeOffset="48395.9">20399 1746 0,'0'-26'78,"0"13"-78,0-1 15,14 1-15,-14 0 0,0 0 16,13 13-16,-13-14 16,13 14 15,0 14-31,-13-1 0,0 0 16,14-13-16,-14 13 15,13 1-15,0-1 16,0-13-1,0-13 1,1-1 0,-1 1-1,-13 0-15,0 0 0,13 13 0,-13-14 16,0 1-16,13 13 0,-13-13 0,0 0 16,14 0-16,-14-1 15,13 14 16</inkml:trace>
  <inkml:trace contextRef="#ctx0" brushRef="#br0" timeOffset="48688.08">20677 1614 0,'0'13'0,"27"14"31,-27-14-31,13-13 16,-13 13-16,13-13 0,0 0 0,1 13 16,12-13-16,-13 0 0,0 0 15,1-13-15,-1 13 16,0 0-16,0-13 0,1 0 0,-14-1 16,0 1-16,0 0 15,0 0-15,-14 13 0,14-13 16,-13-1-16,0 14 15,0-13-15,-1 13 0,1 13 16,-13-13-16,-1 14 0,14-14 16,-13 26-16,12-13 15</inkml:trace>
  <inkml:trace contextRef="#ctx0" brushRef="#br0" timeOffset="49037.44">20082 2037 0,'26'-13'16,"-12"13"-16,-1 0 0,0 0 0,13-13 16,1 13-16,52-13 0,-39 13 15,39-14-15,-52 14 16,13-13-16,-14 13 0,0 0 0,-12 0 15,12 0-15,1 0 0</inkml:trace>
  <inkml:trace contextRef="#ctx0" brushRef="#br0" timeOffset="49271.05">20029 2090 0,'0'13'0,"26"-13"15,-12 0 1,12 0-16,-13 14 0,14-14 0,-1 0 16,14 0-16,-14 0 0,1 0 15,39 0-15,-26-14 0,-14 14 16,14 0-16,-14 0 0,-12 0 16,12 0-16,-13 0 15,0 0-15,1 0 0,-1 0 16,0 0-16,0-13 15,1 13-15</inkml:trace>
  <inkml:trace contextRef="#ctx0" brushRef="#br0" timeOffset="53416.2">4392 8453 0,'0'53'31,"13"-26"-31,-13 12 0,14 1 16,-14 26-16,13 0 0,0 14 0,13-1 15,-12 27-15,-1 0 0,0 13 16,27 132-16,-27-132 15,0 0-15,27 120 0,-27-120 16,14-14-16,-14 15 0,0-15 0,0-25 16,1-1-16,-14 14 0,13-14 15,-13-13-15,0 14 0,13-14 0,-13 0 16,0-13-16,0-14 0,-13 1 16,13 0-16,0-14 0,0-12 0,0 12 15,-13-13-15,13 0 0,0 1 16,-27-41-1,27 1-15,-13-1 16,13-12-16,0-1 0,0 0 0</inkml:trace>
  <inkml:trace contextRef="#ctx0" brushRef="#br0" timeOffset="56229.37">4366 8771 0,'26'0'0,"40"-27"31,-53 27-31,14-13 0,-1 13 0,1-13 16,13 13-16,-1-13 0,1 13 0,13-13 16,-14-1-16,14 14 0,0-13 15,13 0-15,1 13 0,12-13 0,0-1 16,-12 1-16,12 13 0,80-26 15,-80 12-15,14 14 0,-1-13 16,1 0-16,13 0 0,13 13 16,-13-13-16,13-1 0,-27 1 0,133 0 15,-93 0-15,-13-1 16,14 14-16,-14-13 0,-13 13 0,-1-13 16,15 0-16,12 13 0,0-13 0,-13 13 15,-13-14-15,13 1 0,13 13 0,1-13 16,-27 13-16,13-13 0,13-1 15,-13 14-15,13-13 0,-26 13 0,13-13 16,-13 0-16,13 13 0,13-14 0,-26 14 16,-13-13-16,13 13 15,13-13-15,-14 0 0,120 0 0,-132 13 16,13-14-16,92 1 16,-105 0-16,-1 13 0,1-13 15,13 13-15,-27-14 0,14 14 0,-1-13 16,1 13-16,-14-13 0,14 13 0,-14-13 15,1 13-15,12-14 0,-12 14 0,-1 0 16,1-13-16,-14 13 0,13 0 16,0-13-16,1 13 0,-14 0 0,13-13 15,-13 13-15,1 0 0,-14 0 0,13 0 16,-13-13-16,0 13 0,13 0 16,-13 0-16,0 0 0,13 0 0,-13-14 15,-1 14-15,15 0 0,-14 0 16,-1 0-16,1 0 0,-13 0 0,13 0 15,0 0-15,-13 0 0,12 0 16,1 0-16,0 0 0,-13 0 0,13 0 16,-13 0-16,13 14 0,-14-14 0,1 0 15,13 0-15,0 0 0,-14 0 16,14 0-16,0 0 0,0 0 0,0 0 16,-13 0-16,13 0 0,0 0 15,0 0-15,-14 0 0,14 0 0,-13 0 16,0 0-16,-1 0 0,1 0 15,0 0-15,12 0 0,-12 0 0,-13 0 0,12 0 16,1-14-16,-14 14 0,14 0 16,-13 0-16,12 0 0,-12 0 15,12 0-15,-12 0 0,-1 0 0,1 0 16,-14 0-16,14 0 0,-1 0 0,0 0 16,-12 0-16,12 0 0,-13 0 15,1 0-15,-1 0 0,13 14 0,-12-14 16,-1 0-16,-13 13 0,13-13 0,0 0 15,-13 13-15,13-13 0,1 13 16,-14 0-16,13 1 0,0-1 16,0 13-16,-13-12 0,14-1 0,-1 13 15,-13-12-15,13 25 0,0-12 16,0 12-16,14 28 0,-14-41 16,0 14-16,1-1 0,-1 1 15,0 0-15,14-1 0,-1 54 16,0-40-16,1 0 0,-14 0 15,14 0-15,-1 0 0,1 0 16,39 52-16,-40-52 0,1 0 0,-1 0 16,0 13-16,1-13 0,13 0 0,-14 0 15,1 13-15,-1-13 0,40 66 16,-39-66-16,-1 0 0,27 53 16,-27-53-16,-12 13 15,12-26-15,-13 26 0,1-13 0,-1 0 16,0-1-16,0-12 0,-13 26 15,14-13-15,-14 0 0,0-13 0,0 13 16,13 0-16,-13-14 0,0 14 0,0 0 16,0 0-16,-13-13 0,13 26 15,0-26-15,-14 12 0,1 1 0,13-13 16,-13 13-16,13-13 0,-13 13 0,-1-14 16,1 1-16,13 0 0,-13-1 0,0 14 15,-1-26-15,14 12 16,-13 1-16,0-13 0,0-1 0,0 14 15,13-14-15,-14-13 0,1 1 0,13-1 16,-13 13-16,13-12 0,-13-1 16,-1 0-16,1-13 0,13 13 0,-13 0 15,0 1-15,-14-1 0,14 0 16,-13-13-16,-1 13 0,1 1 0,-14-1 16,0 0-16,-13-13 0,14 13 15,-14 1-15,-13-1 0,-1-13 0,1 13 16,-66 0-16,66 0 0,-13-13 15,-1 14-15,1-1 0,-1-13 0,1 13 16,-14-13-16,1 13 0,12-13 16,-12 14-16,-1-1 0,1-13 0,12 13 15,-12-13-15,-1 13 0,-13 1 16,14-14-16,-1 13 0,0 0 0,1 0 16,-1 0-16,-26 1 0,13-1 15,0 0-15,1 0 0,-107 14 16,119-14-16,-26-13 0,-79 26 15,105-12-15,-13-14 0,14 13 16,-14 0-16,13-13 0,-12 13 0,-107 1 16,119-14-16,-13 0 0,1 13 15,-14-13-15,13 13 0,13-13 0,-13 0 16,0 13-16,1-13 0,-1 0 16,13 14-16,-13-14 0,0 0 0,14 0 15,-14 0-15,0 0 0,14 13 16,-14-13-16,13 0 0,1 0 0,-1 0 15,0 0-15,-12 0 0,12 0 16,0 0-16,1 0 0,-1 0 0,1 0 16,12 0-16,-105 0 0,92 0 15,1 0-15,12 0 0,1 0 16,0 0-16,-80 0 0,79 0 16,1 0-16,13 0 0,0 0 0,-14 0 15,28 0-15,-15 13 0,1-13 16,13 0-16,-13 0 0,13 0 0,-13 0 15,13 0-15,-13 13 0,13-13 16,0 0-16,-13 0 0,26 0 0,-65 0 16,65 0-16,13 0 0,-12 0 15,12 0-15,-12 0 0,12 0 16,-13 13-16,14-13 0,-1 0 0,-12 0 16,12 0-16,1 0 0,-1 0 0,1 0 15,-14 14-15,27-14 0,-27 0 16,1 0-16,12 0 15,1 0-15,-27 13 0,26-13 0,14 0 16,-13 0-16,-1 0 0,14 0 0,-13 0 16,12 0-16,1 0 0,-13 0 15,12 13-15,-12-13 0,13 0 16,-1 0-16,-12 0 0,13 0 0,0 0 16,-1 0-16,-12 0 0,13 0 15,-1 13-15,-12-13 0,13 0 0,-1 0 16,1 0-16,0 0 0,-27 0 15,27 0-15,0 0 0,0 0 0,-1 0 16,1 0-16,0 0 0,-13 14 16,12-14-16,1 0 0,0 0 0,0 0 15,-1 0-15,1 0 0,0 0 0,0 0 16,-14 0-16,14-14 0,0 14 16,0 0-16,-14 0 0,14 0 0,-27 0 15,14 0-15,12 0 16,-25 0-16,12 0 0,14 0 15,-13 0-15,12-13 0,-12 13 0,13 0 16,-14 0-16,14 0 0,0 0 16,-14 0-16,14 0 0,-13 0 0,12 0 15,1 0-15,-13 0 0,13 0 0,-14 0 16,14 0-16,0 0 0,-1 0 16,-12 0-16,-1 0 0,14 0 15,0 0-15,0 0 0,0 0 16,-1 0-16,1-13 0,0 13 15,-14 0-15,14-13 16,0 13-16,0 0 0,-1 0 16,14-14-16,-13 14 0,0 0 15,0-13-15,0 13 16,-1-13 0,1 0-16,0 0 15,0-1 16,13 1-31,-14 0 16,14 0 0,0-1-16,-13 1 0,13 0 15,0 0-15,0-1 0,0 1 16,0 0-16,-13-13 0,13 12 16,0-12-16,0-1 0,0-12 0,-13-1 15,13 0-15,0 1 0,0-1 16,-14-13-16,14 13 0,0-39 15,0 39-15,-13 1 0,13-1 0,0 14 16,0-1-16,0 1 0,-13 12 0,13-12 16,0 13-16,0-14 0,-13 14 15,13 0-15,0-14 0,0 14 0,-13 0 16,13 0-16,0-1 0,-14 1 0,14 0 16,-13 0-16</inkml:trace>
  <inkml:trace contextRef="#ctx0" brushRef="#br0" timeOffset="59506.94">2672 10279 0,'14'0'15</inkml:trace>
  <inkml:trace contextRef="#ctx0" brushRef="#br0" timeOffset="62646.44">2222 9379 0,'0'-13'0,"0"40"78,0-14-78,14 0 15,-14 0-15,13 14 0,-13-14 0,0 0 16,13 1-16,-13-1 0,13 0 16,-13 0-16,0 0 0,14 1 15,-14-1-15,13-13 0,-13 13 0,0 0 16,13-13-16,0 14 0</inkml:trace>
  <inkml:trace contextRef="#ctx0" brushRef="#br0" timeOffset="62899.86">2527 9432 0,'-27'27'31,"14"-14"-15,13 0-16,-13 1 0,0 12 16,-1-13-16,1 14 0,0-14 0,0 13 15,-1 1-15,1-14 0,0 14 0,13-14 16,-13 13-16,0-13 0,-1 1 16,1-1-16,13 0 0,-13 0 15,0 1-15,13-1 0,-14 0 0,14 0 16,0 0-1</inkml:trace>
  <inkml:trace contextRef="#ctx0" brushRef="#br0" timeOffset="63258.83">2580 9578 0,'0'-13'16,"0"39"15,0-13-31,-14 1 16,14-1-16,-13 0 0,13 0 16,0 1-16,-13-1 0,13 0 15,-13 0-15,13 0 0,0 1 0,0-1 16,-13 0-16,13 0 15,0 1-15,0-1 16,0 0-16,0 0 16,13-13-16,-13 13 15,13-13-15,0 0 16,0 0 0,1 0-16,-1 0 15,0 0 1,0 0-16,1-13 0</inkml:trace>
  <inkml:trace contextRef="#ctx0" brushRef="#br0" timeOffset="63479.07">2527 9697 0,'13'-13'47,"0"13"-47,0 0 0,1 0 15,-1 0-15,0 0 0,0 0 0,1 0 16,12 0-16,-13-13 0,1 13 16,-1 0-16,0 0 0,0 0 15</inkml:trace>
  <inkml:trace contextRef="#ctx0" brushRef="#br0" timeOffset="63695.2">2633 9565 0,'0'-14'31,"0"1"-31,13 13 0,0-13 16,0 13-16,1 0 0,-14-13 16,13 13-16,0 0 0,0 0 0,0 0 15,1 0-15,-1 0 0</inkml:trace>
  <inkml:trace contextRef="#ctx0" brushRef="#br0" timeOffset="64008.76">2897 9525 0,'0'0'0,"-26"13"15,13-13-15,-1 13 16,14 1-16,0-1 16,14 0-16,-1 0 15,0-13-15,0 14 16,0-14-16,1 13 0,-1 0 0,0-13 15,-13 13-15,13 1 0,1-14 16,-1 13-16,0-13 0,-13 13 16,0 0-16,-13 0 15,0 1-15,-1-1 16,1 0-16,-13-13 0,12 13 0,-12 1 16,13-1-16,-27 0 15,14 0-15,12-13 0,1 0 0,13 13 16,-13-13-16</inkml:trace>
  <inkml:trace contextRef="#ctx0" brushRef="#br0" timeOffset="64900.27">7210 7818 0,'13'14'16,"-13"-1"-16,13-13 0,1 13 16,-14 0-16,13 1 15,0-14-15,-13 13 0,13 0 0,0 0 16,-13 1-16,14-14 0,-1 13 0,-13 0 15,13-13-15,-13 13 0,13 0 16,1-13-16,-14 14 0,13-14 16,0 0-16,14 0 15,-14 0-15,0-14 16,0 14-16,-13-13 0,13 13 0,1-13 16,-1 0-16,0 0 0,-13-1 15,0 1-15,13 13 0,-13-13 16,14 0-1,-41 26 1,27 0 0,-13 0-16,0 1 0,-1-1 15,14 13-15,-13-13 0,0 14 0,0-1 16,-14-12-16,14 12 0,13-13 0,-26 27 16,12-27-16,1 0 15,13 1-15,-13-1 0,13 0 0,0 0 16,13-13-1</inkml:trace>
  <inkml:trace contextRef="#ctx0" brushRef="#br0" timeOffset="65241.29">7726 7924 0,'0'14'47,"0"-1"-47,0 0 0,0 0 16,0 0-16,0 1 15,0-1-15,0 0 0,0 0 16,0 1-16,-13-1 0,13 0 0,0 0 16,0 0-16,0 1 15,13-14-15,-13 13 0,0 0 16,13 0-16,0-13 15,1 14-15,-1-14 16,0 0-16,0 0 0,0 0 16,1 0-16,-1 0 15,0 0-15,0 0 0,1 0 16,-1 0 0,-13-14-16</inkml:trace>
  <inkml:trace contextRef="#ctx0" brushRef="#br0" timeOffset="65416.29">7766 8109 0,'-27'-13'15,"54"26"-15,-27-26 47,13 13-47,0 0 0,0 0 16,0-13-16,1 13 0,-1 0 15,0 0-15,0-13 0,1 13 16,-14-13-16</inkml:trace>
  <inkml:trace contextRef="#ctx0" brushRef="#br0" timeOffset="65656.59">7686 7990 0,'-13'0'0,"26"0"0,-39 0 0,26-13 16,13 13-1,0 0 1,0-13-16,1 13 0,-1 0 0,0 0 0,14-13 16,-14 13-16,13 0 0,-13-13 15,14 13-15,-14 0 0,14 0 16,12-14-16,-25 14 0,-1 0 16,13-13-16,1 13 31,-14 0-31</inkml:trace>
  <inkml:trace contextRef="#ctx0" brushRef="#br0" timeOffset="66772.17">8612 7964 0,'-13'-13'15,"-27"13"1,27 0-16,0 0 0,-27 13 16,14 0-16,-1 0 15,14-13-15,0 14 0,0-1 0,-1 0 16,14 0 0,0 1-16,0-1 0,14 0 15,-1-13-15,0 13 0,0-13 16,0 13-16,1-13 0,-1 14 15,0-14-15,0 13 0,1-13 16,-14 13-16,13-13 0,-13 13 16,-13 1-1,-1-14-15,1 13 0,0-13 16,0 13-16,-14-13 0,14 13 16,-13-13-16,12 0 0,-12 14 0,13-14 15,-1 0-15,1 0 0,0 0 16,13-14-1</inkml:trace>
  <inkml:trace contextRef="#ctx0" brushRef="#br0" timeOffset="67692.97">12938 7832 0,'-13'13'16,"0"-40"31,13 14-32,0 0 1,0 0-16,0 0 0,0-1 16,0 1-16,0 0 0,13 0 15,-13-1-15,0 1 0,0 0 16,26 26 15,-26 0-15,14-13-16,-14 14 0,0-1 15,13-13-15,-13 13 0,13 0 16,0 1-16,1-14 0,-14 13 16,13-13-16,0 0 15,0 0 1,0 0-16,-13-13 16,14 13-16,-14-14 0,0 1 15,13 0-15,-13 0 0,0-1 16,13 1-16,-13 0 15,0 0-15,0-1 16,0 1 15</inkml:trace>
  <inkml:trace contextRef="#ctx0" brushRef="#br0" timeOffset="68055.23">13348 7567 0,'-13'27'15,"0"-14"-15,13 0 0,0 0 16,0 0-16,0 1 16,13-14-16,-13 13 0,13 0 0,0 0 15,1 1-15,-1-1 16,27 0-16,-27-13 0,0 0 15,0 0-15,1 0 0,12 0 0,-13 0 16,0 0-16,1 0 0,-1 0 0,0-13 16,0 13-16,1-13 0,-1-1 15,-13 1-15,13 0 16,-13 0-16,0-1 0,0 1 16,0 0-16,-13 0 0,0 0 0,-1-1 15,1 14-15,-27-13 16,27 0-16,-13 13 0,-1 0 15,1 0-15,13 0 0,-14 0 0,1 0 16,-1 0-16,14 13 0,-13-13 0,12 0 16,-12 0-16,13 13 0,-1-13 0</inkml:trace>
  <inkml:trace contextRef="#ctx0" brushRef="#br0" timeOffset="70839.96">2262 11919 0,'-13'14'31,"13"-1"-15,0-40 15,-13 14-31,13 0 16,0 0-16,0 0 0,0-1 15,0 1-15,0 0 0,0 0 16,0-1-16,0 1 0,0 0 0,13-13 31,0 26 1,0 13-32,-13 0 15,14-13-15,-14 13 0,0 0 0,13-13 16,-13 14-16,13-1 0,0-13 15,-13 13-15,14-13 0,-14 13 0,13 1 16,0-1-16,0-13 16,0 0 15,1-13-31,-1-1 16,-13 1-16,0 0 15,0 0-15,0-1 0,0 1 0,0 0 16,13 0-16,-13 0 0,0-1 15,0 1-15,0 0 0,0 0 16,0-1-16,0 1 16,-13 13-16</inkml:trace>
  <inkml:trace contextRef="#ctx0" brushRef="#br0" timeOffset="71239.87">2566 11668 0,'-13'27'16,"13"-14"0,0 0-16,0 0 15,0 1-15,0-1 0,0 0 16,0 0-16,13 0 0,1 1 15,-14-1-15,13-13 0,-13 13 16,13 0-16,0-13 0,1 0 16,-1 0-16,0 14 0,0-14 0,1 0 15,-1-14-15,0 14 16,0 0-16,0-13 0,1 13 0,-14-13 16,13 13-16,-13-13 0,13-1 15,-13 1-15,0 0 16,0-13-16,-13 26 0,13-14 15,-13 1-15,-1 0 0,1 0 16,0 13-16,13-14 0,-13 14 16,0-13-16,-1 13 0,1 0 0,0 0 15,0 0-15,-1 0 0,1 0 0,0 0 16,0 0-16,-1 0 0,1 0 16,0 13-16,0-13 0,0 14 15</inkml:trace>
  <inkml:trace contextRef="#ctx0" brushRef="#br0" timeOffset="77708.09">2394 12065 0,'0'-13'0</inkml:trace>
  <inkml:trace contextRef="#ctx0" brushRef="#br0" timeOffset="77851.89">2474 12052 0</inkml:trace>
  <inkml:trace contextRef="#ctx0" brushRef="#br0" timeOffset="78010.86">2553 12039 0</inkml:trace>
  <inkml:trace contextRef="#ctx0" brushRef="#br0" timeOffset="89950.84">7038 11470 0,'40'0'47,"-27"0"-47,0 0 0,0 0 16,1 0-16,-1 0 0,0 0 15,13 0-15,-12 0 0,-1 0 0,0 0 16,14 0-16,-14 0 0,0 0 16,0 0-16,0 0 0,1 0 15,-1 0 1,-40 13 0,14-13-16,-13 0 15,13 0-15,-14 13 0,14-13 16,-14 0-16,14 13 0,-26-13 15,25 0-15,1 14 0,0-14 16,0 0-16,-1 0 16,1 0-16,40 13 31,-14-13-31,0 0 0,14 0 0,-14 0 16,0 0-16,0 0 0,14 0 0,-14 0 15,0 0-15,14 0 0,-14 0 0,0 0 16,0 0-16,0-13 0,1 26 15,-1-26-15,0 13 16,-39 0 47,12 0-48,1 0 16,13-27 1235,13 14-610</inkml:trace>
  <inkml:trace contextRef="#ctx0" brushRef="#br0" timeOffset="90786.79">7197 11562 0</inkml:trace>
  <inkml:trace contextRef="#ctx0" brushRef="#br0" timeOffset="93017.95">15610 9737 0,'0'0'0,"14"0"0,-41 26 31,14 1-15,0-14-16,0 13 0,-1 1 0,1-1 16,0 1-16,-14-1 0,14 1 0,0-1 15,0 0-15,-1 1 16,1-14-16,0 14 0,0-14 0,0 0 16,-1 14-16,1-14 0,13 0 0,-13-13 15,0 26-15,-1-26 16,14 14-16,-13-14 15</inkml:trace>
  <inkml:trace contextRef="#ctx0" brushRef="#br0" timeOffset="93283.8">15372 9842 0,'14'-13'16,"12"26"0,27 27-1,-40-27-15,14 1 16,-14-1-16,0 0 0,0 0 0,1 1 16,-1-1-16,0 0 0,0 0 0,0 0 15,1 1-15,-1-1 16,-13 0-16,13-13 0,-13 13 0,0 1 15,13-1 1</inkml:trace>
  <inkml:trace contextRef="#ctx0" brushRef="#br0" timeOffset="93577.9">15597 9723 0,'0'-13'0,"0"26"0,0-13 47,-13 14-47,13-1 0,0 0 0,0 14 15,0-14-15,-13 0 0,13 13 0,0-12 16,-13 12-16,13 1 0,0-1 0,-14-13 15,14 14-15,0-14 16,-13 13-16,13-12 0,0-1 0,0 0 16,-13 0-16,13 1 0,0 12 0,-13 1 31</inkml:trace>
  <inkml:trace contextRef="#ctx0" brushRef="#br0" timeOffset="93864.95">15214 9935 0,'13'0'16,"-26"0"-16,39 0 0,0 0 0,-12-13 16,12 13-16,1 0 0,-1 0 0,14-13 15,-14 13-15,1 0 0,12 0 16,-12 0-16,-1 0 0,1-14 0,-1 14 15,1 0-15,-1 0 0,1 0 0,-14 0 16,13 0-16,-13 0 0,1 0 16,-1 0-16,0 0 0,0 0 15,1 0-15,-1 0 16,0 0-16</inkml:trace>
  <inkml:trace contextRef="#ctx0" brushRef="#br0" timeOffset="96723.78">2447 9962 0,'0'-14'16</inkml:trace>
  <inkml:trace contextRef="#ctx0" brushRef="#br0" timeOffset="100098.7">13904 9975 0,'0'13'250,"13"0"-141,0-13-46</inkml:trace>
  <inkml:trace contextRef="#ctx0" brushRef="#br0" timeOffset="100834.72">14261 10636 0,'13'0'0,"-13"-13"62</inkml:trace>
  <inkml:trace contextRef="#ctx0" brushRef="#br0" timeOffset="103231.9">2553 12105 0</inkml:trace>
  <inkml:trace contextRef="#ctx0" brushRef="#br0" timeOffset="103703.95">2672 12065 0,'14'0'31,"-14"13"-15,13-13 46</inkml:trace>
  <inkml:trace contextRef="#ctx0" brushRef="#br0" timeOffset="107322.12">18296 9895 0,'0'14'16,"-13"-1"-16,13 0 15,-14-13-15,14 13 16,0 1-16,-13-14 15,13 13-15,13-40 79,-13 14-64,0 0-15,0 0 16,0-1-16,14 1 0,-14 0 0,0 0 15,0-1-15,0 1 0,13 0 0,-13 0 16,0 0-16,0-1 0,0 1 16,13 0-1,14 26 1,-27 0 0,13-13-16,-13 14 0,13-1 15,0 0-15,-13 0 0,14 0 0,-1 1 16,0 12-16,0-26 0,0 13 15,1 1-15,-1-1 16,0 0 0,0-13-16,1-13 15,-14 0 1,0-1-16,0 1 16,13 0-16,-13 0 0,0-14 0,0 14 15,0 0-15,0-14 16,0 14-16,0 0 0,0 0 15,0-1-15,0 1 32</inkml:trace>
  <inkml:trace contextRef="#ctx0" brushRef="#br0" timeOffset="107710.9">18613 9684 0,'0'26'47,"0"-13"-31,0 1-16,14-1 0,-14 0 16,0 0-16,0 1 15,13-1-15,-13 0 0,0 0 0,13 0 16,0 1-16,1-1 0,-14 0 15,13-13-15,0 13 16,0-13-16,0 0 0,1-13 16,-1 13-16,-13-13 15,13 0-15,-13-1 16,0 1-16,0 0 0,13 0 16,-13 0-16,-13-1 0,13 1 15,0 0-15,-13 0 16,0-1-16,-1 14 15,1-13-15,0 13 16,0 0-16,0 0 0,-1 0 16,1 0-16,13 13 15,-13-13-15,26 14 16</inkml:trace>
  <inkml:trace contextRef="#ctx0" brushRef="#br0" timeOffset="108086.69">19090 9750 0,'66'0'16,"-40"0"-16,-12 0 16,25 0-16,-12-13 15,-1 13-15,14 0 0,-14 0 16,1 0-16,-14 0 0,13-14 15,-12 14-15,-1 0 0,13 0 16,-12 0-16,-1-13 0,0 13 16,-13-13 15</inkml:trace>
  <inkml:trace contextRef="#ctx0" brushRef="#br0" timeOffset="108420.73">19381 9618 0,'39'0'47,"-25"0"-47,-1 13 0,0-13 15,0 13-15,1-13 16,-1 13-16,0-13 0,0 14 0,0-1 16,1 0-16,-1-13 0,13 13 15,-26 0-15,14 1 0,-14-1 16,0 0-16,0 0 16,0 1-16,-14-1 0,1 0 15,0 0-15,0 0 0,-1 1 16,1-1-16,0-13 0,13 13 15,-13-13-15,13 13 0,-13-13 0,13 14 16</inkml:trace>
  <inkml:trace contextRef="#ctx0" brushRef="#br0" timeOffset="108920.67">20227 9512 0,'0'26'31,"0"-13"-31,0 14 16,0-14-16,0 27 16,0-27-16,0 0 0,14 14 15,-14-14-15,0 0 0,0 0 16,0 1-16,0-1 15,0 0-15,13-13 16</inkml:trace>
  <inkml:trace contextRef="#ctx0" brushRef="#br0" timeOffset="109154.68">20161 9578 0,'27'-13'15,"-14"13"1,0 0-16,0-14 0,1 14 16,-1 0-16,13-13 0,-12 13 15,-1 0-15,0 0 0,0 0 16,0-13-16,1 13 0,-1 13 15,0-13-15,0 0 0,1 0 16,-1 0-16</inkml:trace>
  <inkml:trace contextRef="#ctx0" brushRef="#br0" timeOffset="109487.65">20518 9697 0,'27'-13'0,"-1"-14"15,-26 14-15,14 13 16,-14-13-16,0 0 0,13-1 16,-13 1-1,-13 13 1,-1 13-1,1-13-15,13 14 16,-13-14-16,13 13 0,-13 0 0,13 0 16,0 1-1,13-1-15,0 0 16,14-13-16,-14 0 16,0 13-16,14-13 0,-14 0 15,0 0-15,13-13 0</inkml:trace>
  <inkml:trace contextRef="#ctx0" brushRef="#br0" timeOffset="109744.92">20823 9591 0,'-14'0'0,"28"0"0,-41 0 16,14 0 0,13 13-1,0 1-15,0-1 16,0 0-16,0 0 15,0 1-15,0-1 0,0 0 16,0 0-16,0 0 16,0 1-16,0-1 15,0 0-15,-13-13 0,13 13 16,-13 1-16,-1-14 0,1 13 16</inkml:trace>
  <inkml:trace contextRef="#ctx0" brushRef="#br0" timeOffset="109980.53">21008 9512 0,'0'-13'0,"0"26"0,0-40 0,0 67 46,0-27-46,0 0 16,0 27-16,13-27 16,-13 1-16,0-1 0,0 0 15,13 0-15,-13 14 0,0-14 16,14-13-16,-14 26 0,13-12 16</inkml:trace>
  <inkml:trace contextRef="#ctx0" brushRef="#br0" timeOffset="110164.57">20915 9710 0,'0'0'0,"14"-13"16,-1 13-1,0 0-15,0-13 0,0 13 0,1 0 16,-1 0-16,0-13 0,0 13 15,1 0-15,12-14 0,-13 14 0,27 0 16,-27-13-16,0 13 16</inkml:trace>
  <inkml:trace contextRef="#ctx0" brushRef="#br0" timeOffset="110607.27">21643 9393 0,'-53'-14'15,"13"54"17,40-27-32,0 1 15,14-1-15,-1 27 16,-13-27-16,13 0 0,0 0 0,0 14 16,1-1-16,12 1 15,-13-1-15,1-13 16,-1 14-16,-26-14 15,13 0 1,-14-13-16,-12 0 0,-1 13 16,14-13-16,0 0 15,-13 0-15,12-13 16,1 13-16,0 0 0,13-13 16</inkml:trace>
  <inkml:trace contextRef="#ctx0" brushRef="#br0" timeOffset="111554.69">22013 9512 0,'-13'-13'15,"26"26"-15,-39-26 0,-1 26 16,14-13-16,0 0 0,0 13 15,0-13-15,-1 13 0,-12 0 16,26 1-16,-13-14 0,13 13 0,-14 0 16,14 0-16,0 1 15,14-14-15,-1 13 16,0-13-16,0 0 0,1 0 16,-1 0-16,0 0 15,0 0-15,0-13 0,1 13 0,-14-14 16,13 14-16,0-13 0,0 0 15,1 0-15,-14-1 16,0 1-16,0 0 31,-14 39 1,14-12-17,14-1-15,-1 0 16,0-13-1,0 0-15,0 0 16,1 0-16,-1 0 16,0 0-16,0-13 15,1 13-15,-14-13 16,13 13-16,-13-14 0,13 14 16,0-13-1,1 26 16,-1-13-31,-13 14 0,13-1 16,-13 0-16,13-13 0,-13 13 16,13 1-16,-13-1 0,14 0 0,-14 0 15,13 1-15,0-1 16,-13 13-16,0-13 16,0 1-16,0-1 15,-13 0-15,0-13 16,-1 13-16,1-13 15,13 14-15,-13-14 0,0 0 16,13-14 15,13 1-31,0 0 16,0 13-16,-13-13 16,14 13-16,-1-14 0,0 14 0,-13-13 0,13 13 15,1-13-15,-1 13 0,0-13 16,0 0-16,1 13 15,-1-14-15,0 1 0,0 0 16,0 13 0,-13-13-16,14 13 15,-14 13 1,0 0 0,0 0-16,0 1 15,0-1-15,0 0 16,0 0-1,0 0-15</inkml:trace>
  <inkml:trace contextRef="#ctx0" brushRef="#br0" timeOffset="111707.69">22476 9485 0,'14'93'16,"-41"-199"-16,14 106 0,39 13 0,-65-26 16,25 13-1,1 0-15</inkml:trace>
  <inkml:trace contextRef="#ctx0" brushRef="#br0" timeOffset="112002.04">22595 9538 0,'0'13'0,"-26"-39"0,52 66 0,-26-67 15,0 67 1,0-27-16,0 0 16,14 1-1,-14-1 1,13-13-1,0-13 1,0 13-16,1 0 16,-1 0-1,0 0 1,0 0 0,0 0-16,1 0 15,-1 0 1</inkml:trace>
  <inkml:trace contextRef="#ctx0" brushRef="#br0" timeOffset="112422.95">23072 9472 0,'-14'0'15,"28"0"-15,-41 13 16,14-13-16,0 14 0,13-1 16,-13 0-1,13 0-15,0 0 0,0 1 16,0 12-16,0-13 15,0 1-15,0-1 0,0 0 0,0 0 16,-14 1-16,14-1 16,-13 0-16,0-13 15,13 13-15,-13-13 0,13 13 16,13-39 15,0 26-31,0-13 16,1 13-16,-1-13 0,26-1 15,-25 14-15,12-13 16,1 0-16,-14 13 16,0-13-16,0-1 0</inkml:trace>
  <inkml:trace contextRef="#ctx0" brushRef="#br0" timeOffset="113022.1">23839 9221 0,'-27'13'0,"27"0"0,-13 0 16,13 1-16,-13-1 15,13 13-15,0-12 0,0-1 16,13 0-16,40 13 31,-26-26-31,-14 0 0,13-13 16,1 13-16,-14-13 15,13 13-15,-12-13 0,-1 0 0,27-27 16,-27 27-16,0-1 0,0 1 16,1 0-16,-1 0 15,-26 39 1,13-13-16,-14 1 15,-25 52-15,25-40 16,-158 212 15,119-171-31,40-54 16,-13 13-16,26-13 16,-13 1-16,105-28 46</inkml:trace>
  <inkml:trace contextRef="#ctx0" brushRef="#br0" timeOffset="113352.51">24104 9631 0,'13'-13'15,"-26"26"-15,39-26 0,-26-1 0,13 14 16,-13-13-16,13 0 0,-13 0 16,14-1-16,-14 1 15,0 0-15,0 0 16,-14 13 0,1 0-16,0 13 15,0-13-15,0 13 16,-1 0-16,1 1 0,13-1 15,-13 0-15,13 0 16,0 1-16,0-1 16,0 0-16,13-13 0,0 13 15,1-13-15,-1 0 16,0 14-16,0-14 0,0 0 0,1-14 16,12 14-16,-13 0 0</inkml:trace>
  <inkml:trace contextRef="#ctx0" brushRef="#br0" timeOffset="113633.04">24434 9485 0,'-26'0'0,"52"0"0,-65-13 0,12 26 31,14-13-31,13 14 16,-13-14-16,13 13 0,0 0 15,0 0-15,13-13 16,-13 13-16,0 1 0,13-1 0,-13 0 15,13 0-15,-13 1 0,14-1 16,-14 0-16,0 0 16,0 1-1,0-1-15,-14-13 0,14 13 0,-13-13 16,0 0-16,0 13 0,-14-13 16,14 13-16,0-13 0,0 0 15,-1 14-15,1-14 0,0 0 0,-14 13 16,1-13-16,13 0 0</inkml:trace>
  <inkml:trace contextRef="#ctx0" brushRef="#br0" timeOffset="114715.94">17648 9948 0,'53'0'16,"-40"0"-1,0 0-15,0 0 0,1 0 0,-1 0 16,0 0-16,13-13 16,-12 13-16,-1 0 15,0-13-15,0 13 0,1-13 16</inkml:trace>
  <inkml:trace contextRef="#ctx0" brushRef="#br0" timeOffset="114966.03">17806 9763 0,'14'0'16,"12"13"0,-13-13-16,1 14 0,-1-1 15,0 0-15,14 0 16,-27 0-16,13-13 0,-13 27 15,0-14-15,0 0 0,0 1 16,-13-1-16,-1 13 16,1-12-16,0-1 0,0 0 15,-1 0-15,1 0 0,0 1 0,-14-1 16,14 0 0</inkml:trace>
  <inkml:trace contextRef="#ctx0" brushRef="#br0" timeOffset="116180.7">16761 9882 0,'14'27'31,"-1"-14"-31,-13 0 16,0 0-16,0 1 16,0-1-16,13 0 0,-13 0 15,0 0-15,0 1 0,0 12 16,0-13-16,0 1 0,0 12 15,0-13-15,0 1 0,0-1 16,0 0 0,0 0-16</inkml:trace>
  <inkml:trace contextRef="#ctx0" brushRef="#br0" timeOffset="116411.58">16788 9882 0,'13'0'16,"-26"0"-16,26-13 0,0 13 16,1-13-1,-1 13-15,0 0 0,0 0 16,0-14-16,1 14 0,-1 14 15,0-14-15</inkml:trace>
  <inkml:trace contextRef="#ctx0" brushRef="#br0" timeOffset="116604.08">16775 9975 0,'-14'0'0,"41"13"16,-14-13 0,66-13 15,-65 13-31,-1 0 0,0 0 0,14 0 16,-14 0-16,0-13 15</inkml:trace>
  <inkml:trace contextRef="#ctx0" brushRef="#br0" timeOffset="116820.54">17145 9856 0,'-13'26'31,"0"14"-15,13-27-1,0 0-15,0 1 0,0 91 63</inkml:trace>
  <inkml:trace contextRef="#ctx0" brushRef="#br0" timeOffset="117181.3">17079 9895 0,'0'-13'15,"0"26"-15,0-39 0,13 13 0,-13-1 16,13 14-16,1-13 16,-1 0-16,13 13 15,-13 0-15,14 0 16,-14 0-16,0 13 0,1-13 16,-1 13-16,0 1 15,-13-1-15,13 0 0,-26 14 16,0-14-16,13 0 15,-13-13-15,-1 13 16,1 1-16,0-1 0,0-13 16,-1 13-16,14 0 15</inkml:trace>
  <inkml:trace contextRef="#ctx0" brushRef="#br0" timeOffset="118016.75">16986 11126 0,'0'0'0,"0"-14"15,0 41 17,0-14-32,0 14 15,0-14-15,0 0 0,0 0 16,-13 1-16,13-1 0,0 13 16,0-13-16,0 1 0,0-1 15,0 0-15,0 0 16</inkml:trace>
  <inkml:trace contextRef="#ctx0" brushRef="#br0" timeOffset="118351.05">16973 11060 0,'0'-14'0,"0"1"16,13 13-16,14 0 31,-1 0-31,-13 13 16,1-13-16,-14 14 0,13-1 15,0 0-15,-13 0 0,0 0 16,0 1-16,-13-1 15,13 0-15,-13-13 0,13 13 0,-14 1 16,-12 12-16,13-26 16,-1 0-16,14 13 15,-13-13-15,0 0 0</inkml:trace>
  <inkml:trace contextRef="#ctx0" brushRef="#br0" timeOffset="118904.08">17251 11337 0,'-13'-26'47,"13"13"-32,0-1-15,0 1 16,0 0-16,0 0 16,13 13-16,-13-13 15,0-1-15,0 1 0,13 26 47,0 1-47,-13-1 16,14 0-1,-14 0-15,13-13 16,-13 13-16,13-13 16,-13 14-16,13-14 15,0 0 1,-13-14-1,14 1-15,-14 0 16,0 0-16,13 0 0,-13-1 16,0 1-16,0 0 0,13-14 15,-13 14-15,0-13 0,0 12 16,0 1-16,0 0 0,0 0 0,0 0 16,0-1-1,-26 14 1,12 0-1</inkml:trace>
  <inkml:trace contextRef="#ctx0" brushRef="#br0" timeOffset="119330.79">16999 11126 0,'0'-14'0,"0"41"62,-13-14-62,13 0 0,0 1 16,0 12-16,0-13 0,0 40 16,0-40-16,0 14 0,-13-1 15,13-12-15,0 12 0,0-13 0,0 27 16,0-27-16,0 0 15,0 1-15,0-1 0,0 0 16,13-26 15,-13 0-15,13 13-16</inkml:trace>
  <inkml:trace contextRef="#ctx0" brushRef="#br0" timeOffset="119573.63">17052 11112 0,'14'-13'15,"-28"26"-15,28-39 0,-1 26 0,0-13 16,0 0-16,1 13 15,-14-14-15,13 14 0,0 0 0,0-13 16,0 13-16,1 0 0,-1-13 16,0 13-1,0 13-15</inkml:trace>
  <inkml:trace contextRef="#ctx0" brushRef="#br0" timeOffset="119812.74">16920 11245 0,'27'-13'31,"-14"13"-31,0 0 16,0 0-16,0 0 15,1 0-15,-14-14 0,13 14 16,0 0-16,0-13 0,1 13 16,-1 0-16,0 0 0,0 0 15</inkml:trace>
  <inkml:trace contextRef="#ctx0" brushRef="#br0" timeOffset="120246.89">17899 11126 0,'0'0'0,"40"0"32,-27 0-32,0 0 15,0 0-15,1 0 0,25 0 16,-25 0-16,-1 0 0,0 0 16,0-14-16,1 14 0,-1 0 15,13-13-15,-13 13 16</inkml:trace>
  <inkml:trace contextRef="#ctx0" brushRef="#br0" timeOffset="120499.35">18084 10941 0,'40'0'15,"-27"0"1,0 13-16,14-13 15,-14 13-15,0 0 0,1-13 0,-1 13 16,-13 1-16,13-1 0,-13 0 16,-26 93 15,-1-80-31,27-12 16,-26-1-16,12 0 15,14 0-15</inkml:trace>
  <inkml:trace contextRef="#ctx0" brushRef="#br0" timeOffset="121397.7">18653 10874 0,'13'0'16,"1"14"0,-1-1-1,0 0-15,0 0 16,0 1-16,1-1 0,-1-13 15,-13 13-15,26-13 16,-12 13-16,25-26 16,-25 13-16,-1 0 0,26-13 15,-25 0-15,12-1 16,-13 1-16,1 0 0,-1 0 0,0-1 16,-13 1-16,13 13 0,-13-13 15,14 13-15,-14-13 0,13-1 16,-40 28-1,27-1 1,-13 0-16,0 0 0,0 14 0,-1-1 16,-12 1-16,13-1 15,-27 27-15,27-26 0,-14-1 16,14 0-16,0-12 0,0 12 0,-1-13 16,14 1-16,-13-1 0,13 0 15,-13 0 1,39-13-1</inkml:trace>
  <inkml:trace contextRef="#ctx0" brushRef="#br0" timeOffset="121787.31">19116 10927 0,'0'-13'32,"-13"40"-17,13-14 1,-13 0-16,13 0 0,0 0 16,-14 1-16,14-1 0,0 0 0,-13 0 15,13 1-15,0-1 16,-13 0-16,13 0 0,0 0 15,0 1-15,0-1 16,0 0 0,13-13-16,0 0 31,1 0-15,12 0-1,-13 0 1,1 0-16,-14-13 15,13 13-15,0-13 16</inkml:trace>
  <inkml:trace contextRef="#ctx0" brushRef="#br0" timeOffset="121968.16">19076 11060 0,'-13'0'31,"40"0"1,-14 0-17,0 0-15,0-14 0,14 1 32</inkml:trace>
  <inkml:trace contextRef="#ctx0" brushRef="#br0" timeOffset="122138.79">19050 10901 0,'-13'0'0,"39"0"47,-13 0-47,1 0 0,12 13 16,-13-13-16,27 0 15</inkml:trace>
  <inkml:trace contextRef="#ctx0" brushRef="#br0" timeOffset="122384.89">19381 10874 0,'0'0'16,"-13"14"15,13 12-16,0-13-15,0 1 16,0-1-16,0 0 0,0 0 0,13 0 16,-13 1-16,0-1 15,0 0-15,0 0 0,0 1 16,-13-1-16,13 0 16,-14-13-16,14 13 0,-13 0 15</inkml:trace>
  <inkml:trace contextRef="#ctx0" brushRef="#br0" timeOffset="122651.52">19685 10888 0,'13'0'0,"0"0"0,1 0 16,12-14-16,-13 14 15,1 0-15,-1 0 0,0 0 16,0 0-16,1-13 0,-1 13 15,0 0-15,0 0 0,0-13 16,1 13-16</inkml:trace>
  <inkml:trace contextRef="#ctx0" brushRef="#br0" timeOffset="123010.82">19778 10769 0,'26'0'0,"-13"0"16,1 13-16,-14 0 15,13-13-15,26 66 32,-39-53-32,0 14 0,0-14 15,0 0-15,0 1 0,-13 12 16,-26 27 15</inkml:trace>
  <inkml:trace contextRef="#ctx0" brushRef="#br0" timeOffset="123475.18">20426 10623 0,'26'13'47,"-12"-13"-47,12 0 0,-13 0 16,0 0-16,14-13 0,-1 13 0,1-13 15,-14 13-15,14-13 0,-1-1 0,0-12 16,1 13-16,-14 13 16,0-27-16,14 1 15,-27 13-15,13 13 0,-13-14 16,-13 41 15,13-14-31,-13 0 0,13 14 0,-14-1 16,1 14-16,0-1 15,13-12-15,-13 13 0,-1-14 16,14-13-16,-13 27 16,13-27-16,0 0 0,0 14 15,0-14-15,13 0 16,1 1-16,-1-14 16</inkml:trace>
  <inkml:trace contextRef="#ctx0" brushRef="#br0" timeOffset="124058.8">20955 10716 0,'26'-67'32,"-26"54"-32,-13 0 47,0 39-47,13-12 15,-13-14-15,13 13 0,-13 0 16,13 0-16,0 1 0,0-1 15,0 0 1,0 0-16,13-13 0,0 14 16,0-14-16,0 0 0,1 0 15,-1-14-15,0 14 16,0 0-16,1-13 0,-1 0 16,0 0-16,-13-1 15,13 14-15,-13-13 16,0 0-16,14 13 15,-14-13-15,13 26 32,-13 0-17,13-13-15,-13 13 0,0 1 16,13-1-16,-13 0 16,13 0-16,-13 1 15,0-1-15,-13-13 16,13 13-16,-13 0 15,0-13-15</inkml:trace>
  <inkml:trace contextRef="#ctx0" brushRef="#br0" timeOffset="124253.1">21325 10504 0,'14'0'0,"-28"0"0,28 13 32,-14 0-32,-14 14 15,14-14-15,0 0 0,0 1 16,-13 25 0,13-26-16,0 14 15,-13 52 1,0-65-16</inkml:trace>
  <inkml:trace contextRef="#ctx0" brushRef="#br0" timeOffset="124445.76">21233 10742 0,'13'-13'31,"0"0"-31,0 13 0,1-14 15,-1 14 1,0 0-16,0-13 0,1 13 16,-1 0-16,-13-13 0,13 13 0,0 0 15,-13-13-15,14 13 16</inkml:trace>
  <inkml:trace contextRef="#ctx0" brushRef="#br0" timeOffset="124946.26">22437 10398 0,'-27'-13'0,"-12"13"31,25 0-31,1 0 16,0 0-16,13 13 0,-13-13 0,-1 0 16,1 13-16,0 1 15,13-1-15,13 13 16,-13-12-16,13-1 15,-13 0-15,14-13 0,-1 13 0,0 0 16,-13 1-16,13-1 0,1 0 0,-1 0 16,0 1-1,-13-1-15,0 0 16,-13 0-16,0 0 16,-1-13-16,1 14 0,0-14 15,-27 13-15,0-13 16,14 13-16,0-13 0,12 0 15,1 0-15,0 0 0,0 0 16,-1 0-16,1-13 0,0 13 16</inkml:trace>
  <inkml:trace contextRef="#ctx0" brushRef="#br0" timeOffset="126013.89">22529 10504 0,'-13'-13'16,"-13"13"15,26 13-31,-14-13 0,14 13 16,-13 0-16,13 1 15,0-1-15,0 0 16,0 0-16,0 1 0,13-14 16,-13 13-16,14 0 0,-1-13 15,0 13-15,0-13 16,14-13 0,-14 13-1,-13-13-15,13 13 0,-13-13 0,13 13 16,-13-14-16,0 1 15,14 13 1,-14-13-16,0 39 63,0-12-48,13-1 1,0-13-16,0 0 15,1 0 1,12 0-16,-13 0 16,-13-13-16,13 13 0,-13-14 15,14 1-15,-1 0 16,-13 0 0,0 39 30,0-13-14,13 1-32,0-14 15,1 0 17,-1-14-32,0 14 15,0-13 1,1 13 15,-1 13-15,0-13-16,-13 14 15,13-1-15,-13 0 16,13 0-16,-13 0 16,14 1-16,-14-1 0,0 0 15,0 0-15,-14 1 16,14-1-16,0 0 0,-13-13 15,13 13-15,-13 1 0,0-1 16,13-40 15,13 14-15,0 0-16,-13 0 0,13-1 0,1 1 16,-1 0-16,0 0 0,0 13 15,-13-14-15,14 1 0,-1 13 0,0-13 16,0 13-16,-13-13 0,14 13 0,-1 0 15,0 0 1,0 0-16,0 0 0,-13 13 16,14 0-16,-1 0 31,-13 1-31,-13-1 16,13 0-1</inkml:trace>
  <inkml:trace contextRef="#ctx0" brushRef="#br0" timeOffset="126455.81">23125 10544 0,'0'13'16,"0"0"-1,0 0-15,0 1 32,0-1-17,13-26 1,0 13 0,0 0-1,1 0-15,-1 0 16,0 0-1,0 0-15,0 0 16,1 0-16,-1 13 16,0-13-16,0 0 0,1 0 15,12 0 1</inkml:trace>
  <inkml:trace contextRef="#ctx0" brushRef="#br0" timeOffset="127140.21">24196 10623 0,'0'-26'32,"0"12"-32,0 1 15,0 0-15,13 0 0,-13-1 16,0 1-16,14 0 0,-14 0 16,0 0-16,13-1 0,-13 1 15,13 0 1,0 39-1,-13-12 1,14-14-16,-14 13 0,0 0 16,13 0-16,-13 0 0,0 1 15,13-14-15,-13 26 0,13-26 16,-13 13-16,13 1 0,1-14 16,-1 0-1,0 0 1,0 0-16,-13-14 0,14 1 15,-1 0-15,0 13 16,-13-13-16,13-1 0,-13 1 0,14-26 16,-1 25-16,-13 1 0,13 0 15,-13 0-15,0-1 16,0 1-16,0 0 16,-13 26-1,0-13 1,-1 13-16,14 1 15</inkml:trace>
  <inkml:trace contextRef="#ctx0" brushRef="#br0" timeOffset="127656.83">24580 10411 0,'-13'14'62,"13"-1"-62,0 0 16,-14 0-16,14 1 15,0-1-15,0 0 16,0 0 0,0 0-16,0 1 0,14-14 15,-14 13-15,13-13 16,0 0-16,-13 13 16,13-13-16,14 0 15,-14 0-15,0 0 16,0-13-1,1 13-15,-14-13 16,13-1-16,-13 1 0,0-40 31,-13 40-15,13 0-16,-14 13 0,14-13 0,-13 13 16,0-14-16,0 14 15,-1 0-15,-12 0 16,13 14-16,0-14 0,-1 13 15,1 0-15,0-13 0,13 13 16</inkml:trace>
  <inkml:trace contextRef="#ctx0" brushRef="#br0" timeOffset="152783.63">8559 10160 0,'0'-13'15,"0"0"1,-26 39 47,13-26-63,13 13 0,-14-13 15,14 13-15,-13-13 0,0 14 0,13-1 16,-13-13-16,-1 13 15</inkml:trace>
  <inkml:trace contextRef="#ctx0" brushRef="#br0" timeOffset="152983.46">8652 10147 0,'-13'13'63,"-1"-13"-63,14 13 0,-13-13 15,13 13-15</inkml:trace>
  <inkml:trace contextRef="#ctx0" brushRef="#br0" timeOffset="157323.59">12250 9962 0,'27'0'47,"-14"0"-32,0 0-15,0 0 16,1 0 0,-1 0-1,0 0-15</inkml:trace>
  <inkml:trace contextRef="#ctx0" brushRef="#br0" timeOffset="157512.73">12250 10001 0,'-13'13'16,"39"-13"-1,-12 0-15,-1 0 16,0 0-16,0 14 0</inkml:trace>
  <inkml:trace contextRef="#ctx0" brushRef="#br0" timeOffset="161279.45">265 10054 0,'0'40'31,"0"-27"-15,0 0-16,0 14 0,0-14 0,0 13 16,0-12-16,0-1 0,-14 0 0,14 14 15,0-14-15,0 0 0,0 0 16,0 1-16,0-1 0,14 0 0,-14 0 15,0 0-15,13 1 16</inkml:trace>
  <inkml:trace contextRef="#ctx0" brushRef="#br0" timeOffset="161899.2">476 10134 0,'-13'26'31,"13"-13"-15,0 0-16,0 1 0,0 12 15,0-13-15,0 1 0,0-1 0,13 0 16,-13 0-16,13 1 0,-13-1 16,14-13-16,-14 13 0,13-13 15,0 0-15,0 0 0,-13 13 0,14-13 16,-1 0-16,0-13 0,0 13 15,-13-13-15,14 13 0,-14-13 16,13 13-16,-13-14 0,0 1 16,0 0-16,-13 0 15,13-14-15,-14 14 0,1 0 16,0-1 0,0 14-16,-1-13 0,1 13 15,0 0-15,0 0 16,-1 13-16,1-13 15</inkml:trace>
  <inkml:trace contextRef="#ctx0" brushRef="#br0" timeOffset="162263.48">767 10094 0,'0'0'0,"-13"26"31,13-12-31,-13-1 16,13 0-16,0 0 0,0 0 15,0 1-15,0-1 16,13-13-16,-13 13 0,0 0 0,13-13 16,1 14-16,-1-14 15,0 13 1,0-13-16,0-13 0,1 13 15,-1 0-15,0-14 0,0 1 16,-13 0 0,0 0-16,0-1 15,-13 14-15,13-13 0,-13 13 16,13-13-16,-13 13 0,-1 0 16,-12 0-16,13 0 0,0 0 15,13 13-15,-14-13 0,1 13 0,0-13 16</inkml:trace>
  <inkml:trace contextRef="#ctx0" brushRef="#br0" timeOffset="162479.6">1111 10041 0,'13'0'0,"-13"13"47,-13 14-47,0-14 16,13 0-16,-26 27 0,26-27 15,-14 0-15,1 0 0,13 1 16,-13-1-16,0 0 0,13 0 16,0 1-16,-14-14 0,14 13 0</inkml:trace>
  <inkml:trace contextRef="#ctx0" brushRef="#br0" timeOffset="162651.7">966 10120 0,'-14'-13'0</inkml:trace>
  <inkml:trace contextRef="#ctx0" brushRef="#br0" timeOffset="162789.67">1138 10186 0,'0'0'0,"13"0"0</inkml:trace>
  <inkml:trace contextRef="#ctx0" brushRef="#br0" timeOffset="163482.69">225 11404 0,'0'0'0,"13"26"31,-13-13-15,0 0-16,0 1 0,0-1 0,0 0 0,0 0 15,0 1-15,0-1 16,0 0-16,0 0 0,0 1 0,0-1 16,13 0-16,-13 0 0</inkml:trace>
  <inkml:trace contextRef="#ctx0" brushRef="#br0" timeOffset="163855.87">397 11470 0,'-13'0'0,"13"13"46,0 13-46,0-12 16,13-1-16,-13 0 0,13-13 16,-13 13-16,13 1 0,1-1 15,-1-13-15,13 0 16,-13 0 0,-13-13-16,14 13 15,-14-14-15,0 1 16,-14 0-1,14 0-15,-13-1 0,0 14 16,13-13 0,-13 13-16,0 0 0,-1 0 15,1 0 1</inkml:trace>
  <inkml:trace contextRef="#ctx0" brushRef="#br0" timeOffset="164167.57">529 11456 0,'0'0'0,"13"14"31,1-14-31,-14 13 0,0 0 16,13-13-16,-13 13 0,0 1 15,13-1-15,-13 0 16,13-13-16,1 13 15,-1-13-15,0 0 16,0 0-16,0 0 16,-13-13-16,14 13 0,-1-13 15,-13 0-15,13-1 16,-26-12 0,13 13-16,-13-1 15,-1 1-15,1 13 16,0 0-16,0 0 15,0 0 1,-1 13-16</inkml:trace>
  <inkml:trace contextRef="#ctx0" brushRef="#br0" timeOffset="164395.53">900 11337 0,'13'0'0,"-13"-13"16,0 40 15,-13-14-31,13 0 0,-14 0 16,14 1-16,0-1 16,-13 0-16,13 0 0,-13 14 0,0-14 15,-1 13-15,14-12 0,-13-1 16,13 0-16,-13 0 0,13 1 15,-13-14-15,13 13 0</inkml:trace>
  <inkml:trace contextRef="#ctx0" brushRef="#br0" timeOffset="164577.81">767 11443 0,'0'0'0</inkml:trace>
  <inkml:trace contextRef="#ctx0" brushRef="#br0" timeOffset="164739.9">979 11523 0,'13'0'31,"-13"-14"-15</inkml:trace>
  <inkml:trace contextRef="#ctx0" brushRef="#br0" timeOffset="166683.51">5054 11298 0,'13'0'16</inkml:trace>
  <inkml:trace contextRef="#ctx0" brushRef="#br0" timeOffset="168654.55">6720 10094 0,'14'-13'0</inkml:trace>
  <inkml:trace contextRef="#ctx0" brushRef="#br0" timeOffset="172839.55">3519 5728 0</inkml:trace>
  <inkml:trace contextRef="#ctx0" brushRef="#br0" timeOffset="178083.63">8652 10213 0,'0'-27'0</inkml:trace>
  <inkml:trace contextRef="#ctx0" brushRef="#br0" timeOffset="186490.08">1773 5622 0,'0'-13'47,"-27"13"-32,1 0 1,13 13-16,-14-13 16,14 0-16,-14 14 0,1-14 0,0 13 15,-1-13-15,-13 26 0,14-26 16,13 14-16,-14-14 0,14 13 16,0-13-16,0 13 0,-1-13 15,1 13-15,0 0 0,0-13 16,13 14-16,-14-14 0,14 13 15,0 0-15,-13 0 0,13 1 16,0-1-16,0 0 0,0 0 16,-13 14-16,13-1 0,0 1 15,-13 12-15,13-12 0,-14 12 0,14 1 16,-13 0-16,13 0 0,-13-14 0,13 14 16,-13-1-16,0-12 0,13-1 15,-14-12-15,14 12 0,-13 0 0,13 1 16,0-1-16,-13-12 0,13 12 0,-13-13 15,13 14-15,-14-14 0,14 0 16,0 0-16,0 1 0,-13-1 0,13 0 16,0 14-16,-13-14 0,13 0 15,0 0-15,0 1 16,0-1 0,0 0-16</inkml:trace>
  <inkml:trace contextRef="#ctx0" brushRef="#br0" timeOffset="192943.43">2566 12184 0,'0'-13'16,"0"0"-1,14-1 1,-1 14 15</inkml:trace>
  <inkml:trace contextRef="#ctx0" brushRef="#br0" timeOffset="193053.29">2646 12184 0</inkml:trace>
  <inkml:trace contextRef="#ctx0" brushRef="#br0" timeOffset="193905.74">8030 7990 0,'-13'-13'47</inkml:trace>
  <inkml:trace contextRef="#ctx0" brushRef="#br0" timeOffset="196319.34">7911 8057 0</inkml:trace>
  <inkml:trace contextRef="#ctx0" brushRef="#br0" timeOffset="198831.36">8612 11562 0,'0'14'0,"13"-14"32,1 0 15,-14 13 15,0 0-46,-14 0-16,14 0 0,0 1 0,0-1 15,0 0-15,-13 14 0,13-14 0,0 0 16,0 0-16,0 1 0,0 12 16,-13-13-16,13 0 0,0 1 15,0-1-15,0 0 0,0 0 16,0 1-16,0-1 15,0-26 48,0-1-63</inkml:trace>
  <inkml:trace contextRef="#ctx0" brushRef="#br0" timeOffset="199131.51">8718 11523 0,'0'0'16,"-13"0"-16,0 0 15,-1 13 1,1-13-16,0 13 16,0 0-16,-1-13 0,14 14 15,-13-14-15,0 13 0,0 0 16,-1 0-16,14 0 0,-13-13 0,0 14 16,0-1-16,13 0 0,-13-13 15,13 13-15,-14-13 0,14 14 16</inkml:trace>
  <inkml:trace contextRef="#ctx0" brushRef="#br0" timeOffset="199460.69">8612 11562 0,'0'0'16,"13"0"-16,1 14 16,-1-1-1,0-13-15,-13 13 0,13-13 16,1 13-16,-1 0 0,0-13 16,0 14-16,0-1 15,1-13-15,-1 13 0,0-13 16,-13 13-16,13-13 0,1 14 31,-1-14-15</inkml:trace>
  <inkml:trace contextRef="#ctx0" brushRef="#br0" timeOffset="199910.32">5490 11496 0,'-13'13'31</inkml:trace>
  <inkml:trace contextRef="#ctx0" brushRef="#br0" timeOffset="202195.94">13692 6085 0,'0'0'16,"27"0"-1,-1 0-15,-13 0 0,14 0 16,-1 0-16,1 0 0,-1 0 0,1 0 15,-1 0-15,1 0 0,-1 0 16,-13 0-16,14 0 0,-14 0 16,13 0-16,-12 0 0,-1 0 0,0 0 15</inkml:trace>
  <inkml:trace contextRef="#ctx0" brushRef="#br0" timeOffset="202757.72">13811 6112 0,'66'0'15,"-52"0"-15,-1 13 0,13-13 16,-12 0-16,-1 0 0,13 0 16,-13 0-16,1 0 0,-1 0 0,0 0 15,0 0-15,1 0 0,-1 0 16,0 0-1,0 0-15,1 0 16,-1 0 0,-40 0 265,27 13-250</inkml:trace>
  <inkml:trace contextRef="#ctx0" brushRef="#br0" timeOffset="204638.24">5543 11496 0,'13'13'110</inkml:trace>
  <inkml:trace contextRef="#ctx0" brushRef="#br0" timeOffset="205611.33">7276 11536 0,'-26'0'62</inkml:trace>
  <inkml:trace contextRef="#ctx0" brushRef="#br0" timeOffset="206643.23">7250 11536 0,'-14'13'31,"14"-39"422,14 12-281,-14 1-125,13 13-47,-13-13 31,13 0-31</inkml:trace>
  <inkml:trace contextRef="#ctx0" brushRef="#br0" timeOffset="209703.26">2778 12171 0,'13'13'32,"1"-13"-32</inkml:trace>
  <inkml:trace contextRef="#ctx0" brushRef="#br0" timeOffset="-207451.21">2342 11946 0,'13'0'78,"-13"-13"-62</inkml:trace>
  <inkml:trace contextRef="#ctx0" brushRef="#br0" timeOffset="-206201.97">13494 7686 0,'-13'0'16</inkml:trace>
</inkml:ink>
</file>

<file path=ppt/ink/ink30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2:20:53.296"/>
    </inkml:context>
    <inkml:brush xml:id="br0">
      <inkml:brushProperty name="width" value="0.05292" units="cm"/>
      <inkml:brushProperty name="height" value="0.05292" units="cm"/>
      <inkml:brushProperty name="color" value="#0070C0"/>
    </inkml:brush>
  </inkml:definitions>
  <inkml:trace contextRef="#ctx0" brushRef="#br0">9737 4088 0,'39'0'16,"-25"0"-16,12 0 0,0 0 0,14 0 15,0-13-15,13 13 0,0 0 16,26 0-16,-13 0 0,14-14 0,12 14 16,-12 0-16,12 0 0,1-13 15,-1 13-15,1 0 0,0-13 16,-1 13-16,1 0 0,-1-13 0,1 13 15,79 0-15,-93 0 0,1 0 16,-27 0-16,0 0 0,52 0 16,-65 0-16,-13 0 0,-1 0 15,0 0-15,1 0 0,-14 0 0,0 0 16,14 0-16,-14 0 0,0 0 16,1 0-16,-14 13 15,-27-13 1</inkml:trace>
  <inkml:trace contextRef="#ctx0" brushRef="#br0" timeOffset="379.18">11086 4154 0,'172'-13'31,"-132"13"-31,13 0 0,13 0 16,-13 0-16,0-13 0,26 13 0,53 0 16,-66 0-16,1 0 15,-1 0-15,-13 0 0,0 0 0,-1 0 16,15 0-16,-28 0 0,14 0 15,-13 13-15,-14-13 0,1 0 0,-1 0 16,-13 0-16,1 0 0,-1 0 0,0 0 16,0 0-16,1 0 0,-1 0 15,0 0-15,0 0 16,1 0 0</inkml:trace>
  <inkml:trace contextRef="#ctx0" brushRef="#br0" timeOffset="1427.43">17886 4128 0,'370'-14'31,"-224"14"-31,-67 0 0,1 0 16,-1 0-16,0 0 0,1 0 15,-1 0-15,-13 0 0,0 0 16,0 0-16,-13 0 0,14 14 0,-15-14 0,1 0 16,14 0-16,-28 0 0,14 0 0,0 0 15,-13 13-15,-14-13 0,14 0 16,-27 0-16,14 0 0,-14 0 15,13 0-15,-13 0 0,1 13 0,-1-13 16,-40 13 0,1-13-1,13 0-15</inkml:trace>
  <inkml:trace contextRef="#ctx0" brushRef="#br0" timeOffset="1785.46">18494 4233 0,'67'0'16,"-134"0"-16,173 0 0,-53 0 0,0 0 0,13 0 15,0 0-15,14 0 0,-1 0 0,0 0 16,1 0-16,-14 14 0,13-14 16,-12 0-16,-15 0 0,15 13 0,-15-13 15,1 0-15,0 13 0,-13-13 0,13 0 16,-27 13-16,14-13 0,-13 0 16,-14 0-16,13 13 0,-13-13 0,1 0 15,-1 0-15,0 0 0,0 0 0,-39 0 47,13 0-47,-14 0 0,1-13 16,-14 13-16</inkml:trace>
  <inkml:trace contextRef="#ctx0" brushRef="#br0" timeOffset="2644.29">1085 5159 0,'26'-13'0,"-13"13"15,1 0-15,12-13 0,1 13 0,-1-13 16,14 13-16,-1-14 0,1 1 16,13 13-16,-13-13 0,13 0 15,-14 13-15,41-13 0,-27-1 16,-27 1-16,1 13 0,12 0 0,-12-13 15,-14 13-15,13 0 0,-12 0 16,-1-13-16</inkml:trace>
  <inkml:trace contextRef="#ctx0" brushRef="#br0" timeOffset="2915.12">1032 5292 0,'92'-14'32,"-78"14"-32,-1-13 0,13 13 0,-12 0 15,-1 0-15,0-13 16,14 13-16,-14 0 0,0 0 0,0 0 0,0 0 15,1 0-15,-1 0 16,-13 13-16</inkml:trace>
  <inkml:trace contextRef="#ctx0" brushRef="#br0" timeOffset="6105.29">13388 5067 0,'0'-13'0,"26"13"0,-12 0 16,12 0-16,1 0 15,25-14-15,15 14 0,12-13 0,0 13 16,14-13-16,0 13 0,12-13 0,14-1 16,1 14-16,-15-13 0,14 0 15,-13 13-15,-13-13 0,13 13 0,-14-14 16,1 14-16,-1-13 0,-12 13 0,-14 0 15,-13-13-15,0 13 0,-13 0 0,-14 0 16,0 0-16,1 0 0,-14 0 16,14 0-16,-14-13 0,0 13 15,0 0-15,-13 13 47</inkml:trace>
  <inkml:trace contextRef="#ctx0" brushRef="#br0" timeOffset="6841.3">17978 5014 0,'146'-13'32,"-93"13"-32,13 0 0,0-14 0,-13 14 15,26 0-15,-26 0 0,106-13 16,-93 13-16,14 0 0,-27-13 15,13 13-15,-13 0 0,13 13 0,-13-13 16,-14 0-16,1 0 0,0 0 16,-14 0-16,1 0 0,-14 0 0,13 0 15,-12 0-15,-1 0 0,0 0 0,0 0 16</inkml:trace>
  <inkml:trace contextRef="#ctx0" brushRef="#br0" timeOffset="7129.44">18468 5133 0,'53'-13'0,"-106"26"0,132-26 0,-52 13 15,-1 0-15,1 0 0,-1 0 0,1 0 16,12 0-16,-12-14 0,-1 14 16,1 0-16,-1 0 0,1 0 0,-1 0 15,-13 0-15,0 0 0,1 0 0,-1 0 16,0 0-16,0 0 16,1 14-16,-1-14 15,-26 13 1,13 0-16,-14-13 15</inkml:trace>
  <inkml:trace contextRef="#ctx0" brushRef="#br0" timeOffset="8707.98">15028 7157 0,'0'-26'31,"-13"52"0,13-13-31,0 0 0,-13 14 0,13-14 16,0 14-16,-13-1 0,13 0 15,0-12-15,0 12 0,-14-13 0,14 14 16,0-14-16,0 0 0,-13 14 0,13-14 16,0 0-16,0 0 0,0 1 15,0-1-15,0 0 16,13 0-16,1-13 16</inkml:trace>
  <inkml:trace contextRef="#ctx0" brushRef="#br0" timeOffset="9011.95">15518 7223 0,'0'0'0,"0"-13"0,-13 26 62,13 0-62,-14 1 0,14-1 16,-13 0-16,0 13 0,13-12 0,-13 12 16,-1-13-16,14 1 0,-13 12 15,0-13-15,13 1 0,-13 12 16,0-13-16,13 0 0,-14 1 0,14-1 15,-13-13-15,13 13 0</inkml:trace>
  <inkml:trace contextRef="#ctx0" brushRef="#br0" timeOffset="9203.02">15306 7355 0,'-13'-13'16,"13"0"-16,13 13 15,0 0 1</inkml:trace>
  <inkml:trace contextRef="#ctx0" brushRef="#br0" timeOffset="9394.2">15637 7461 0,'-27'-13'62</inkml:trace>
  <inkml:trace contextRef="#ctx0" brushRef="#br0" timeOffset="10127.99">15928 7289 0,'26'0'31,"-12"0"-31,-1 0 0,0 0 16,0 0-16,1 0 0,-1 0 0,0 0 0,13 0 16,-12 0-16,-1 0 0,0 0 15,0 0-15,1 0 0,-1 0 16,0 0-16,0 0 16,0 0-16,1 0 0,-1 0 15</inkml:trace>
  <inkml:trace contextRef="#ctx0" brushRef="#br0" timeOffset="10451.99">16021 7183 0,'52'14'31,"-38"-14"-31,-1 13 0,27-13 16,-27 13-16,13-13 0,-13 13 16,14-13-16,-14 14 0,0-14 15,1 13-15,-1 0 0,0-13 0,0 13 16,1 0-16,-1-13 0,-13 14 0,13-1 15,-13 0-15,0 0 16,0 1-16,-13-1 0,13 0 16,-13 0-16,13 1 0,-14-1 15,1-13-15,0 13 0,13 0 0,-13-13 16,-1 13-16,14 1 16</inkml:trace>
  <inkml:trace contextRef="#ctx0" brushRef="#br0" timeOffset="12146.12">16920 7197 0,'-13'0'16,"26"0"-16,-39 0 0,12 0 0,1 13 16,0 0-16,0 0 15,0 1-15,13-1 0,-14-13 0,14 13 16,0 0-16,-13 0 0,13 1 15,0-1-15,13-13 16,-13 13-16,14-13 0,12 0 16,-13-13-1,0 13-15,-13-13 0,14 13 16,-1-14-16,0 1 0,0 0 0,1 0 16,-14 0-16,13-1 15,-13 1-15,13 13 16,-26 27 15,13-14-31,13 0 16,-13 0-16,0 0 0,13-13 15,-13 14-15,13-14 0,1 13 0,-1-13 16,0 0-16,0 0 0,1-13 16,-1 13-16,0-14 15,0 1-15,1 0 0,-1 0 16,0 0-16,-13-1 0,13-12 0,0-27 15,1 27-15,-14-1 0,0 14 16,13-14-16,-13 1 0,0-1 16,0 14-16,0 0 15,13 0-15,-13 0 0,0-1 32,-13 41-17,13-14-15,0 0 0,0 0 16,0 14-16,0-14 0,0 14 0,0-14 15,0 13-15,0-12 0,0 12 16,13-13-16,-13 0 0,0 14 0,13-14 16,1 0-16,-14 1 0,13-1 0,0 0 15,0 0-15,1-13 16,-14 13-16,13-13 0,0 0 0,0 14 16,0-14-16,1 0 15,-1 0-15,0-14 0,0 14 16,1-13-16,-1 0 15,0 13-15,-13-13 0,13 13 16,-13-13-16,13 13 0,-13-14 0,14 14 16,-14-13-16,13 0 15,-13 0 1,0-1 0,-27 28-1,27-1 1,-13 0-16,0 0 15,13 1-15,-13-1 16,13 0-16,0 0 16,0 0-16,13-13 15,0 0 1,0 0 0,1 0-16,-1 0 0,0-13 15,0 13-15,1 0 16,-1 13-16,0-13 0,-13 14 15,13-14-15,-13 13 16,0 0-16,0 0 0,0 1 16,0-1-16,-13 0 0,13 0 0,-13 1 15,13-1-15,-13 0 16,13 0 0,-14-13-16,41-26 31,-14 13-16,0-1-15,1 1 16,-1 0-16,0-14 0,0 14 0,0 0 16,1 0-16,-1-1 0,0 1 15,0 0-15,-13 0 0,14 0 16,-14-1-16,0 1 16,-14 26 46,14 1-46,0-1-1,0 0-15,0 0 16,0 0 0,0 1-1,0-1-15,14 0 16,-1-13-1,0 0 17,14 0-32,-14 0 15,0-13 1,0 13 0,0-13-1,1 13-15,-1-14 16,0 14-1</inkml:trace>
  <inkml:trace contextRef="#ctx0" brushRef="#br0" timeOffset="12646">17965 7223 0,'0'-13'0,"13"26"15,-13 0 1,0 1-16,0-1 16,-13 0-16,13 0 15,0 0-15,-13 1 0,13-1 16,0 0-1,-13-13-15,13 13 16,13-39 15,0 13-15,-13-1 0,13 1-16,1 0 0,-1 13 15,-13-13-15,13 13 0,0-13 16,-13-1-16,14 14 0,-1-13 0,13 0 15,-12 13-15,-1 0 0,0-13 16,13 13-16</inkml:trace>
  <inkml:trace contextRef="#ctx0" brushRef="#br0" timeOffset="14264.56">18084 7250 0,'-53'13'31,"40"0"-31,13 0 0,-13-13 0,0 13 16,-1 1-16,14-1 0,-13-13 15,0 13-15,13 0 0,-13 1 16,13-1-16,0 0 15,0 0-15,13-13 0,0 14 16,0-14 0,1-14-16,-1 14 0,0 0 15,0-13-15,1 0 0,-14 0 16,13 13-16,0-14 0,0 1 0,1 0 16,-14 0-16,13-1 0,0 1 0,0 0 15,0 0 1,1 26-1,-14 0-15,0 0 0,0 1 16,0 12-16,0 1 0,-14 12 0,14-12 16,-13 12-16,0 14 0,0-13 15,0 0-15,-1-1 0,1-12 0,0 13 16,0-14-16,13-13 0,-14 14 0,1-14 16,13 0-16,-13 0 0,0 1 15,-1-14-15,1 13 16,0-26-16,0 13 15,0-14-15,13 1 16,0 0-16,0 0 16,0 0-16,0-1 0,0 1 0,13-13 15,-13 12-15,13 1 0,0-13 0,0 12 0,1-12 16,-1 0-16,0 12 0,27-39 16,-27 27-16,0-1 15,14 1-15,-14 0 0,0 12 0,0 1 0,1-13 16,-14 12-16,13 1 0,0 0 0,0 0 15,1-1-15,-14 1 16,13 13-16,-13-13 0,0 26 63,13 0-63,-13 1 15,0-1 1,13-13-16,0 0 15,1 0-15,-1 0 16,0 0-16,0-13 0,1 13 16,25 39-1,-25-25 1,-14-1-16,13 0 0,-13 0 0,0 1 16,0 12-16,0-13 0,0 14 0,-13-14 15,13 13-15,0-12 0,-14 12 16,14-13-16,0 1 0,-13-1 0,13 0 15,0 0-15,-13-13 0,13 13 0,-13 1 16,13-41 15,0 14-31,0 0 16,13-27-16,0 27 0,0-14 16,1 1-16,-1-1 0,0 1 15,13 0-15,-12-1 16,-1 14-16,13-14 0,-12 14 15,-1 0-15,0 0 0,0-1 0</inkml:trace>
  <inkml:trace contextRef="#ctx0" brushRef="#br0" timeOffset="14443.12">18878 7223 0,'13'0'31,"0"13"16</inkml:trace>
  <inkml:trace contextRef="#ctx0" brushRef="#br0" timeOffset="17686.18">15888 9234 0,'40'0'32,"-27"0"-32,14 0 0,-1 0 0,-13 0 15,27 0-15,26 0 0,-39 0 16,12 0-16,-12 0 16,12 0-16,-12-13 0,-1 13 0,14 0 15,-27 0-15,14 0 0,-1 0 0,1 0 16,-14 0-16,0 0 0,0 0 15,1 0-15,-1 0 0,0-13 0,0 13 16,0 0-16,1 0 16,-14-14-1</inkml:trace>
  <inkml:trace contextRef="#ctx0" brushRef="#br0" timeOffset="18028.39">16444 9088 0,'26'0'47,"-12"14"-47,-1-14 0,0 0 15,0 13-15,0-13 0,14 0 0,-14 13 16,0-13-16,14 13 16,-14-13-16,0 0 0,1 14 0,-1-14 15,0 13-15,0-13 0,-13 13 0,13-13 16,1 13-16,-14 1 0,13-14 16,-13 13-16,0 0 15,-13-13-15,13 13 0,-14 0 0,1 1 16,0-1-16,0 0 0,0 0 0,-14 1 15,1-1-15,-1 13 0,1-13 16,-1 1-16,1-1 0,-14 0 16</inkml:trace>
  <inkml:trace contextRef="#ctx0" brushRef="#br0" timeOffset="19187.97">14380 9247 0,'-26'13'0,"26"1"15,-14-1-15,14 0 0,-13 27 16,0-14-16,13 1 0,0-1 0,-13 1 16,13-1-16,-13-13 0,13 14 15,0-14-15,0 13 0,-14-12 16,14-1-16,0 0 0,0 0 0,0 1 16,0-41 15,14 14-16,-14 0-15,0-14 0,0 1 0,13-1 16,-13-12-16,13 12 0,0 1 16,-13 12-16,13-12 0,-13 0 15,14 12-15,-14 1 0,13 0 0,0 0 0,-13-1 16,13 1-16,-13 0 16,14 13-16,-1 0 15,0 0-15,-13 13 0,0 0 16,13 1-16,-13-1 0,13 13 0,-13-12 15,0 12-15,14 0 0,-14 1 16,0-14-16,13 14 0,-13-14 0,0 13 16,0-12-16,13-1 0,-13 0 15,0 13-15,0-12 0,13-1 16</inkml:trace>
  <inkml:trace contextRef="#ctx0" brushRef="#br0" timeOffset="19769.08">14340 9538 0,'0'0'0,"14"-13"16,-1 0 0,0 13-16,0 0 0,1 0 15,-1-13-15,0 13 0,13 0 0,-12-14 16,12 14-16,1 0 0,-14-13 0,13 13 15,-12-13-15,12 13 0,-13-13 16,0-1-16,1 14 0,-1-13 0,0 0 0,0 0 16,-13-1-16,14 1 0,-14 0 15,0 0-15,0 0 0,0-1 16,0 1-16,0 0 16,0 0-16,-14 39 31,1-13-31,13 1 0,0-1 0,0 13 15,-13 14-15,13-14 0,0 1 16,0-14-16,0 0 0,-13 1 16,13-1-16,0 0 0,0 0 0,0 0 15,13-26 17,0 0-17,-13 0-15,13 0 0,14-14 16,-27 14-16,13 0 0,0 13 15,1-14-15,-1 14 0,0-13 16,13 26-16,-12 1 16,-14-1-16,0 0 0,0 0 15,0 1-15,-14-1 16,14 0-16,-13 0 0,13 0 0,-13 14 16,0-27-16,0 13 0,13 0 15,-14-13-15,14 14 0,-13-14 16,13 13-16,27-40 31</inkml:trace>
  <inkml:trace contextRef="#ctx0" brushRef="#br0" timeOffset="20020.16">15028 9247 0,'0'-13'0,"0"26"0,-13-26 0,0 26 16,0-13-1,13 13-15,-14 1 16,1-1-16,13 0 0,-13 14 0,13-14 16,0 0-16,-13 0 0,13 0 0,0 1 15,0-1-15,13 0 0,-13 0 16,0 1-16,13-1 0,-13 0 0,0 0 16,13-13-16,-13 14 0,14-14 0,-1 13 15,0-13-15,0 0 16,1 13-16,-14-26 0,26 13 15,-13 0-15,0 0 0,14-13 0,-14 13 0,14 0 16</inkml:trace>
  <inkml:trace contextRef="#ctx0" brushRef="#br0" timeOffset="22152.95">17489 8493 0,'-13'0'0,"13"-13"16,13 13-1,-13-13-15,13 13 16,0 0-16,1 0 0,-1 0 15,0 0-15,14 0 0,-14 0 16,13 0-16,1 0 0,-1 0 0,1 0 16,-14 0-16,13 0 0,1-14 15,-14 14-15,13 0 0,-12 0 0,-1 0 16,0 0-16,0 0 0,1-13 16,-28 0 15,1 13-31,13-13 0,-13 13 0,0 0 15,-1 0-15,1 0 16,0 0 0,0 0-16,0 13 0,-1 0 15,14 0-15,-13 1 0,13-1 16,-13 0-16,13 0 0,-13 1 16,13 12-16,-14-13 0,14 0 15,0 1-15,-13-1 0,13 13 0,0-12 16,0-1-16,0 0 15,0 0-15,0 1 0,13-1 16,1 0-16</inkml:trace>
  <inkml:trace contextRef="#ctx0" brushRef="#br0" timeOffset="22671.2">17965 8639 0,'13'-14'0,"-26"28"0,26-41 0,1 27 16,-14-13-16,0 0 0,0-1 31,-14 14-31,1 0 16,0 0-16,0 14 15,0-1-15,-1-13 16,1 13-16,13 0 15,-13-13-15,13 14 0,0-1 16,0 0-16,13-13 16,0 13-16,1-13 15,-1 0-15,0 0 0,0 0 16,14 0-16,-14 0 0,0-13 0,0 13 16,1 0-16,-1-13 0,0 13 15,0-13-15,1-1 0,-1 14 16,-13-13-16,13 0 0,-13 0 15,13-1 1,0 28 15,-13-1-15,0 13-16,0-12 16,0-1-1,0 0-15,-13 0 16,13 1-16,-13-14 15,13 13-15,-13-13 16</inkml:trace>
  <inkml:trace contextRef="#ctx0" brushRef="#br0" timeOffset="22867.57">18349 8401 0,'13'-27'16,"-26"54"-16,26-67 0,0 53 47,-13 0-47,0 1 0,0-1 0,0 0 15,0 0-15,0 14 0,-13-14 0,13 0 16,0 0-16,0 14 0,0-14 16,0 0-16,-13 0 0,13 1 0,0-1 15,0 0-15,0 0 0,0 1 16</inkml:trace>
  <inkml:trace contextRef="#ctx0" brushRef="#br0" timeOffset="23063.99">18322 8572 0,'14'-13'0,"-28"26"0,28-39 0,12 26 16,-13-13-16,1 13 0,-1-13 15,0 13-15,13-14 0,-12 14 16,-1-13-16,13 13 0,-12 0 16,-1-13-16,13 13 0,-12 0 0,-1 0 15,0 13-15,0-13 16</inkml:trace>
  <inkml:trace contextRef="#ctx0" brushRef="#br0" timeOffset="24019.44">17740 9194 0,'14'27'31,"-1"-14"-31,0 0 16,0-13-16,-13 13 15,13-13-15,1 14 0,-1-14 0,-13 13 16,13-13-16,0 0 0,1 0 0,-1 0 16,0 13-16,14-26 0,-14 13 15,0 0-15,0 0 0,0-13 0,1 13 16,-1-14-16,13 14 0,-26-13 0,14 13 16,-1-13-16,0 0 15,0 0-15,1-1 16,-41 28 15,14-1-15,0 13-16,-14-13 0,14 14 15,-14-1-15,14 1 0,-13-1 0,-1 1 16,14-1-16,-13 14 0,-1-14 16,14-12-16,0-1 0,-1 13 0,1-13 15,13 1-15,-13-1 0,0 0 16,13 0-16,0 1 15,13-14 1,0 0-16</inkml:trace>
  <inkml:trace contextRef="#ctx0" brushRef="#br0" timeOffset="24340.41">18164 9353 0,'0'0'15,"0"-13"-15,0 39 32,-14-13-17,14 1-15,0-1 0,-13 27 16,0-27-16,13 0 0,-13 0 16,13 14-16,0-14 0,-13 0 0,13 0 15,0 1-15,0-1 0,0 0 16,0 0-16,0 1 0,13-1 15,-13 0 1,13-13-16,0 0 0,0 0 16,14 13-16,-14-13 0,14-13 15,-14 13-15,0 0 0,0 0 16,0 0-16,1-13 0,-1 13 0,0 0 16,0-13-16,1-1 0</inkml:trace>
  <inkml:trace contextRef="#ctx0" brushRef="#br0" timeOffset="24508.05">18217 9512 0,'13'0'31,"0"0"-31,0 0 0,0-13 0,1 13 16,-1 0-16,0-14 0,0 14 15,1 0-15</inkml:trace>
  <inkml:trace contextRef="#ctx0" brushRef="#br0" timeOffset="24696.12">18137 9393 0,'40'-14'16,"-27"1"0,14 13-16,-14 0 0,0 0 15,13 0-15,1 0 0,-1 0 0,-12 0 16,12 0-16,1 0 0</inkml:trace>
  <inkml:trace contextRef="#ctx0" brushRef="#br0" timeOffset="25023.99">18732 9327 0,'-26'0'15,"26"13"-15,-13 0 16,13 0-1,0 0-15,13 1 16,-13-1-16,0 0 16,13 0-16,-13 1 0,13-1 0,-13 0 15,0 0-15,14 1 0,-14-1 16,0 0-16,0 0 16,-14 0-16,1 1 15,0-14-15,0 13 0,0 0 0,-1-13 16,-12 13-16,13-13 0,-27 14 15,14-14-15,12 0 0,-25 13 16,25-13-16</inkml:trace>
  <inkml:trace contextRef="#ctx0" brushRef="#br0" timeOffset="26423.16">18322 9909 0,'0'0'0,"53"0"0,-39 0 16,12 0-16,-13 0 0,14 0 0,-1 0 15,1 0-15,-1 0 0,14 0 0,-1-14 16,1 14-16,0-13 0,-1 0 16,1 0-16,0 13 0,0-14 0,-14 1 15,0 13-15,1-13 0,-1 0 0,-12 13 16,12-13-16,-13-1 0,1 14 16,-1-13-16,13 0 0,-13 0 15,1-1-15,-1 1 0,0 0 0,0 0 16,-13-14-16,14 14 0,-1 0 0,0-14 15,-13 14-15,13-13 0,-13-1 16,14 14-16,-14-13 0,0 12 0,0 1 16,0-13-16,0 12 0,0-12 0,0 13 15,-14-14-15,1 14 0,0-13 16,0 12-16,-1 1 0,-12-13 16,-1-1-16,1 14 0,0-13 0,-14 12 15,13 1-15,-12-13 0,-1 12 0,0 1 16,1-13-16,-1 12 0,0 1 15,1 0-15,-1 0 0,0 0 0,-39-14 16,52 14-16,-12 13 0,12-13 16,1 13-16,-14-14 0,14 14 15,-1 0-15,1 0 0,-1 0 0,1 0 16,-14 0-16,14 0 0,-14 14 0,14-14 16,-14 0-16,0 13 0,14-13 15,-14 0-15,0 13 0,14 0 16,-1-13-16,1 0 0,-14 14 0,1-1 0,12 0 15,1 0-15,-1-13 0,1 13 16,-1 1-16,1-1 0,-1 0 0,14 0 16,-13 1-16,12-1 0,-12-13 15,13 13-15,-1 14 0,-25-1 16,26-13-16,-1 0 0,1 14 16,0-14-16,0 0 0,-1 14 0,14-14 15,-13 13-15,13 1 0,-13-14 0,13 0 16,0 14-16,0-14 0,0 14 0,0-14 15,0 13-15,0-13 0,13 14 16,-13-14-16,13 14 0,1-14 0,-14 13 16,13-12-16,13 12 0,-12-13 15,12 0-15,0 14 0,-12-14 0,12 14 16,1-14-16,-1 0 0,1 0 16,-1 0-16,0 1 0,-12-1 0,12-13 15,1 13-15,-1-13 0,1 13 0,-1-13 16,0 14-16,1-14 0,-1 0 15,-12 0-15,12 0 0,1 13 0,-14-13 16,13 0-16,14 0 0,-27 0 16,0 13-16,14-13 15,-14 0-15,0 0 0,1 0 0,-1 0 16,0 0-16,13-13 0,-12 13 0,-1 0 16,0 0-16,0 0 0,1 0 0,25 0 15,-26-13-15,1 13 16,-1 0-16,0 0 0,0 0 15,1-14-15,-1 14 16,0 0-16,0 0 0,1 0 16,-1 0-1,0 0 1,0 0 0,0 0-1,1 0 1</inkml:trace>
  <inkml:trace contextRef="#ctx0" brushRef="#br0" timeOffset="27367.06">18574 10147 0,'0'26'15,"0"14"1,13-14-16,-13 1 0,0-1 15,0 14-15,0 0 0,0-1 16,-13 1-16,13 0 0,0-1 0,0 1 16,0-13-16,0-1 0,-13 0 0,13 1 15,0-1-15,0-12 0,0-1 16,-14 0-16,14 0 0,0 1 0,0-1 16,0-40 15</inkml:trace>
  <inkml:trace contextRef="#ctx0" brushRef="#br0" timeOffset="27620.85">18680 10041 0,'-27'0'16,"54"0"-16,-67 0 0,27 13 0,-1-13 0,-12 27 0,0-14 16,12 13-16,-12 1 0,-1-14 15,1 13-15,-1 1 0,1-1 0,0 1 16,12-1-16,-12 1 0,13-14 0,-1 13 16,1-12-16,0-1 0,13 0 15,-13 14-15,13-14 16,0 0-16</inkml:trace>
  <inkml:trace contextRef="#ctx0" brushRef="#br0" timeOffset="27849.02">18547 10094 0,'0'0'0,"27"0"0,-27 13 16,13-13-16,0 13 0,0-13 15,1 14-15,-1-1 0,0 0 0,0 0 16,1 0-16,12-13 0,-13 14 0,14 12 16,-14-13-16,13 1 15,-12-14-15,-1 13 0,0 0 0,0-13 16,1 13-16,-1-13 0,0 0 0,-13 14 16,13-14-16,0 0 0,1 0 15</inkml:trace>
  <inkml:trace contextRef="#ctx0" brushRef="#br0" timeOffset="31096.99">18111 11377 0,'-13'-26'16,"39"39"15,-26 0-16,13 0-15,0 1 0,-13 12 16,14 67 0,-14-80-16,0 13 15,0-12-15,0-1 0,0 0 0,-14 0 16,14 0-16,0 1 0,-13-14 16,13 13-16,-13-26 15,13-1 1,0 1-16,13-13 0,-13 13 15,13-14-15,27-52 16,-13 52-16,-14 1 0,0 13 16,0-14-16,14 14 0,-14 0 0,13-14 15,-12 27-15,-1-13 0,0 0 16,0 13-16,14 0 16,-14 13-1</inkml:trace>
  <inkml:trace contextRef="#ctx0" brushRef="#br0" timeOffset="32397.47">18455 11483 0,'0'-13'16,"13"13"-16,-13-14 0,13 14 15,-13-13-15,0 0 0,13 0 16,-13 0-16,0-1 15,-26 28 32,26-1-47,-13-13 0,13 13 0,0 0 16,0 0 0,0 1-16,13-1 0,0 0 15,0-13-15,1 0 16,-1 0-16,0 0 15,0 0-15,1 0 0,-1 0 16,13 0-16,-13-13 0,1 13 0,-14-13 0,13 13 16,0 0-16,0-14 0,1 14 15,-14-13-15,13 13 0,-13-13 16,13 13-16,-13-13 16,-13 0-1,0 13 1,13 13-1,-14 0-15,1-13 16,13 13-16,-13-13 16,13 13-16,0 1 0,0-1 15,13-13 1,0 0 0,1-13-1,-1-1-15,0 14 16,0 0 15,-13 14-31,13-1 16,-13 0-1,14-13-15,-1 0 32,0-13-32,0 0 15,1 13-15,-14-14 0,13 1 16,-13-13-16,13 13 0,0-27 15,1 13-15,-14 1 0,13-1 16,-13 1-16,13 0 0,-13 12 16,0-12-16,13 13 0,-13-1 0,0 1 15,0 0-15,13 13 0,-13-13 0,-26 39 32,26-13-17,0 1-15,-13-1 0,13 13 0,-13 14 16,13-27-16,0 0 0,0 1 15,0-1-15,0 0 0,0 14 0,0-14 16,13 0-16,-13 0 16,13 1-16,0-1 15,0-13-15,1-13 16,12 13-16,-13-14 16,1 14-16,-1-13 0,0 0 15,0-14-15,1 14 0,-1 0 0,0-14 16,-13 14-16,26 0 15,-26 0-15,14 0 0,-14-1 16,13 1-16,-40 26 31,27 1-31,-13-1 16,13 0-16,-13-13 16,13 13-16,0 0 0,0 1 15,0-1-15,0 0 16,0 0-16,13-13 31,0 0-31,1 0 31,-1 0-31,0 14 16,0-1 0,-13 0-16,14 0 15,-14 1-15,0-1 0,13 0 0,-13 0 16,13 0-16,-13 14 15,0-14-15,0 0 0,0 27 16,0-27-16,0 1 0,0-1 0,0 0 16,-13 0-16,13 0 0,0-39 47,0 13-47,13 0 15,0-1-15,-13 1 0,14 0 0,-1 0 16,0 13-16,0-14 0,0 1 15,1 0-15,-1 0 0,0-1 16,0 1-16,1 0 0</inkml:trace>
  <inkml:trace contextRef="#ctx0" brushRef="#br0" timeOffset="32817.15">19619 10980 0,'0'27'16,"-13"-14"-1,13 0-15,0 0 0,-14 14 0,14-14 16,-13 13-16,13-12 0,-13 12 0,13 1 15,-13-1-15,13-13 0,0 1 16,0-1-16,0 0 0,-14-13 16,14 13-16,27-26 31,-14 0-31,0 13 0,-13-13 16,14-1-16,-1 14 0,0-13 15,0 13-15,1 0 16,12 0-1,-13 13-15,0-13 16,1 14-16,-1-14 16,0 13-16,0-13 0,1 13 15,-1-13-15,0 0 16</inkml:trace>
  <inkml:trace contextRef="#ctx0" brushRef="#br0" timeOffset="33235.14">20016 11126 0,'-14'-14'16,"-12"1"0,13 26-1,0-13-15,-1 0 16,1 14-16,0-14 16,0 13-16,13 0 0,-14 0 15,14 1-15,0-1 16,14 0-1,-1-13-15,0-13 16,0 0 0,1 13-16,-1 0 0,-13-14 15,13 14-15,0 0 16,0 0-16,1 0 16,-1 0-16,-13 14 15,0-1-15,13-13 16,-13 13-16,13-13 0,-13 13 15,14-13-15,-1 0 32,0 0-32,0-13 0,14 0 15,-27 0-15,13 13 16,-13-14-16,13 14 0,-13-13 16,13 13-16,-13-13 15,14 13-15,-14-13 0,13-1 16</inkml:trace>
  <inkml:trace contextRef="#ctx0" brushRef="#br0" timeOffset="38884.83">20174 11126 0,'14'26'47,"-14"-13"-31,0 1-16,13-1 15,-13 0-15,0 0 0,13-13 16,-13 14-16,0-1 0,13-13 16,-13 13-16,14-13 0,-14 13 0,13-13 15,-13 13-15,13-13 16,0 0-16,14 0 15,-27-13-15,13 13 0,0-13 16,0 13-16,-13-13 16,14 13-16,-14-13 0,13-1 0,0 1 15,-13 0-15,13 13 16,-13-13-16,0-1 16,14 1-1,-1 0 1,0 13-1</inkml:trace>
  <inkml:trace contextRef="#ctx0" brushRef="#br0" timeOffset="39052.98">20558 11112 0,'13'0'0,"-26"0"0,40 14 16,-27-1-1,13 0-15,-13 0 16,0 1-16,13-1 0,-13 0 15,0 0-15,13 1 16,-13-1-16,0 0 16,0 0-1</inkml:trace>
  <inkml:trace contextRef="#ctx0" brushRef="#br0" timeOffset="39185.83">20611 11060 0,'-13'0'0,"0"0"15</inkml:trace>
  <inkml:trace contextRef="#ctx0" brushRef="#br0" timeOffset="39524.69">20717 11112 0,'0'14'0,"13"-1"16,-13 0-16,0 0 16,0 1-16,0-1 15,0 0-15,0 0 16,0 1-16,0-1 15,27-26 32,-14 13-31,-13-14 0,13 14-1,0 0-15,0 0 16,1-13-1,-1 13-15,0 0 16,0 0-16</inkml:trace>
  <inkml:trace contextRef="#ctx0" brushRef="#br0" timeOffset="39839.83">20955 11139 0,'0'-13'0,"-13"26"15,13 0 1,-13 0-16,13 1 16,0-1-16,0 0 0,13 27 15,-26-27-15,13 0 0,0 27 16,0-27-16,-14 0 16,14 14-16,0-14 0,-13 0 0,13 1 15,-13-1-15,13 0 16,-13-13-16,13 13 15,0-39 17,13 13-32,0-14 0,0 14 15,1 0-15,-1-27 0,0 27 16,13-1-16,-12 1 0,-1 0 16,0 0-16,27-14 0</inkml:trace>
  <inkml:trace contextRef="#ctx0" brushRef="#br0" timeOffset="40004.48">21325 11086 0,'0'-13'15,"-13"0"1,13-1 15,-13 14-15</inkml:trace>
  <inkml:trace contextRef="#ctx0" brushRef="#br0" timeOffset="41245.31">17767 11205 0,'13'40'31,"-13"-14"-31,0 1 0,13 12 0,-13 14 16,0-13-16,0 13 0,0 13 0,0 0 0,0 0 16,-13 80-1,13-93-15,0-14 0,0 14 16,0-13-16,0-13 0,0-1 0,0 0 0,0-12 16,0-1-16,0 0 0,13 14 15,0-54 1</inkml:trace>
  <inkml:trace contextRef="#ctx0" brushRef="#br0" timeOffset="41967.66">17767 11152 0,'53'-26'15,"-106"52"-15,132-66 0,-39 27 0,0 13 16,12-26-16,28 13 0,-14-1 0,27 1 16,-14-13-16,40 12 0,0-12 15,13 13-15,1-14 0,-1 14 0,159-40 16,-145 27-16,12 12 0,1-12 16,0 0-16,-1-1 0,160-13 15,-159 14-15,-14 13 0,14-1 16,-27-12-16,1 13 0,-1 13 0,-40-13 15,1-1-15,-14 14 0,1 0 16,-27-13-16,0 13 0,-27 0 0,1 0 16,12 0-16,-12 0 0,-14 0 15,0 0-15,0 0 16,1 0-16,-1 0 16,-13 13-16,0 1 15,0-1-15,0 0 0,0 0 16,0 0-16,0 27 15,0-13-15,0-1 0,0 27 16,0-13-16,0-1 0,13 41 16,0-27-16,14-14 0,-14 1 15,14 13-15,-14-27 0,26 54 16,-25-54-16,-1 1 0,13 12 0,-12-12 16,-1-1-16,-13-12 0,13 12 15,0-13-15,-13 14 0,13-14 0,-13 0 16,14 0-16,-14 1 0,0-1 15,0 0-15,-14 0 0,14 1 0,-13-1 16,0 0-16,-13 0 0,-14 0 16,0 14-16,-13-14 0,0 14 0,-13-14 15,-13 13-15,-1 1 0,-25-1 0,-1 1 16,-13-1-16,0-13 0,-14 14 16,1-1-16,-159 27 0,146-26 15,-14-1-15,-146 27 0,147-27 16,-1 1-16,-145 26 0,145-27 15,27 14-15,-14-14 16,14 14-16,0-13 0,26-1 0,-13 14 16,26-14-16,14-13 0,-80 40 15,80-26-15,-1-14 0,14 13 0,0-12 16,13 12-16,13-26 0,1 13 16,25-13-16,-12 0 0,13 0 0</inkml:trace>
  <inkml:trace contextRef="#ctx0" brushRef="#br0" timeOffset="131934.79">14658 9591 0,'0'-13'0,"0"0"31,0-1-15,0 1 15,13 0-15,0 0 0,1 13-1,-14-13-15,13 13 16,0 0-16,0 0 15,1 0 1,-1 0-16,0 0 0,0 13 16,0-13-16,1 0 15,-14 13 1,13-13-16,-13 13 16,0 0-1,-13 1 1,-1-14-16,14 13 15,-13-13-15,0 13 0,0-13 16,13 13 0,-13-13-16,-1 14 0,1-14 15,0 13-15</inkml:trace>
  <inkml:trace contextRef="#ctx0" brushRef="#br0" timeOffset="134216.54">18719 9353 0,'13'-13'47,"1"13"-31,-1 0-16,0 0 15,0 0 1,1 0-16,-14-13 15,13 13-15,0 0 16,0 0 31</inkml:trace>
  <inkml:trace contextRef="#ctx0" brushRef="#br0" timeOffset="135678.49">22013 11086 0,'27'0'0,"79"-13"31,-93 13-31,13 0 16,1-13-16,-1 13 0,1 0 15,-1 0-15,-13-14 0,14 14 0,-14 0 16,0 0-16,1 0 0,-1 0 15,0 0-15,0-13 16</inkml:trace>
  <inkml:trace contextRef="#ctx0" brushRef="#br0" timeOffset="136123.74">22106 10967 0,'0'0'0,"0"-13"0,-27 26 47,27 0-47,-13-13 0,0 13 16,0 1-16,0-1 0,-1-13 15,14 13-15,-13 0 0,0-13 16,13 14-16,-13-1 0,-1 0 16,1 0-16,13 0 15,0 1-15,-13-14 16,26 13-16,-13 0 15,13-13-15,-13 13 16,14-13-16,-1 0 0,-13 14 0,13-14 16,0 0-16,1 13 0,-1-13 0,0 0 15,0 0-15,0 0 16,1 0-16,-1 13 0,0-13 16,0 0-16,1 0 0,-1 0 15,0 0 1,0 13-16,1-13 0</inkml:trace>
  <inkml:trace contextRef="#ctx0" brushRef="#br0" timeOffset="193292.39">5186 7871 0,'92'-13'0,"-78"13"0,-1 0 16,13 0-16,-12 0 16,-1 0-16,13 13 0,-12-13 15,-1 0-15,0 14 0,0-14 0,0 13 16,-13 0-16,14-13 0,-1 13 15,-13 1-15,13-1 0,-13 26 16,13-25-16,-13 12 0,0-13 0,14 14 16,-14-1-16,0 14 0,13 0 0,-13-14 15,13 14-15,-13-1 0,13-12 16,-13 13-16,13-14 0,-13 1 0,0-1 16,14 0-16,-14 1 0,0-1 0,13-12 15,-13 12-15,0 0 0,13 1 16,-13-1-16,0 1 0,0-14 15,13 14-15,-13-14 0,0 0 0,0 0 16,0 14-16,0-14 0,0 0 16,0 14-16,0-14 15,-13 0-15,13 0 16,-13 1-16,0-14 0,-1 13 0,1-13 16,-13 13-16,-1 0 0,1 0 15,-1 1-15,-12-1 0,-1-13 0,0 13 16,1 0-16,-1 1 0,0-1 15,1-13-15,-1 13 0,0 0 0,14-13 16,-1 0-16,14 0 0,-13 0 0,-14 0 16,13-13-16,1 13 0</inkml:trace>
  <inkml:trace contextRef="#ctx0" brushRef="#br0" timeOffset="194216.53">2236 7752 0,'-53'0'0,"0"14"16,40-14-16,-14 0 0,-26 13 15,14 0-15,12-13 0,1 0 16,-1 13-16,1-13 0,-14 0 15,14 13-15,-1-13 0,14 0 0,-14 0 16,1 14-16,13-14 0,0 0 0,-1 0 16,1 0-16,0 13 0,0-13 15,-1 0-15,1 0 0,13 13 16,-13 0-16,0 1 16,13-1-16,-13 13 15,13-12-15,0-1 0,0 13 0,-14 1 16,14 12-16,0 1 0,0 0 15,0-1-15,0 14 0,0-13 0,0 53 16,0-54-16,0 1 0,0 0 16,0-1-16,0-12 0,0-1 0,-13 1 15,13 12-15,0-12 0,0 26 16,-13-40-16,13 13 0,0-12 16,0-1-16,0 0 0,0 0 0,-13 1 15,13-1-15,0 0 0,0 0 16,0 1-16,13-1 15,-13 0 1,13-13-16,0 0 16,1 13-16,-1-13 0,0 0 15,13 0-15,-12-13 16,-1 13-16,0 0 0,0 0 0,1 0 16,12-13-16,-13 13 0,0 0 15</inkml:trace>
  <inkml:trace contextRef="#ctx0" brushRef="#br0" timeOffset="196056.4">1879 9194 0,'-27'0'31,"14"0"-15,0 0-16,-1 0 16,-12 0-16,13 0 15,-14 0-15,14 0 0,0 0 0,0 0 16,-1 0-16,14 14 15,-13-14-15,0 0 0,0 0 0,-1 0 16,14 13-16,-13-13 0,0 13 16,13 0-16,-13 0 0,13 14 15,0-14-15,0 14 0,0-14 16,0 13-16,0 1 0,0 12 0,0-12 16,0-1-16,0 14 0,0 0 0,-13-1 15,13-12-15,0 13 0,0-1 16,0-12-16,0-1 0,0 1 0,-14-1 15,14 0-15,0-12 0,0 12 16,-13-13-16,13 14 0,0-14 0,0 0 16,0 1-16,-13-1 0,13 0 15,0 0-15,0 0 16,0 1-16,0-1 16,0 0-16,13-13 15,-13 13-15,13-13 0,1 14 16,-1-14-16,0 0 0,0 13 0,0-13 15,1 0-15,-1 0 0,13 0 16,-12 0-16,12-13 0,0 13 16,1-14-16,13 14 0,-1-13 0,1 0 15,13 13-15,-13-13 0</inkml:trace>
  <inkml:trace contextRef="#ctx0" brushRef="#br0" timeOffset="196807.58">4723 9221 0,'53'0'31,"-40"0"-31,0 0 0,0 0 16,14-13-16,-14 13 0,14 0 15,-1 0-15,-13 0 0,14 0 16,-1 0-16,-13 0 0,1 0 0,12 0 16,-13 0-16,1 0 0,-1 0 15,0 0-15,0 0 0,0 0 16,1 0-16,-14 13 0,13-13 15,-13 13-15,13 0 0,-13 0 16,0 1-16,13-1 0,-13 13 0,14-12 16,-14 12-16,13 0 0,-13 1 0,13-1 15,0 14-15,-13-13 0,14-14 0,-14 13 16,13 1-16,-13-1 0,0 1 16,13-14-16,-13 13 0,13-12 0,-13 12 15,0-13-15,0 0 0,0 1 0,13-1 16,-13 0-16,0 0 15,-13 1-15,13-1 0,0 0 0,-13 0 0,0 0 16,13 1-16,-13-1 0,-14 0 16,14 0-16,-14 1 0,1-1 0,-1 0 15,-12 0-15</inkml:trace>
  <inkml:trace contextRef="#ctx0" brushRef="#br0" timeOffset="198731.37">2064 10464 0,'-27'-13'47,"14"13"-32,0-13-15,0 13 0,-1 0 16,1 0-16,0 0 0,0-13 15,-1 13-15,1 0 0,-13 0 16,13 0-16,-1 0 0,1 0 0,0 0 16,0 0-16,-1 0 0,14-14 0,-13 14 15,-13 0-15,12 0 16,1 0 0,0 0-16,13 14 15,-13-1-15,0 0 16,13 0-16,0 1 0,0-1 15,0 13-15,0 1 0,0-1 0,-14 14 16,14-1-16,0 14 0,0-13 0,0 0 16,0-1-16,0 1 0,0 0 0,0 0 15,0-14-15,0 0 16,0 14-16,0-13 0,0 12 16,0-12-16,0-14 0,0 13 0,0-12 15,0-1-15,14-13 0,-14 13 16,0 0-16,0 1 0,0-1 15,13 0 1,0 0-16,0-13 16,0 0-1,1 0-15,-1 0 0,0 0 16,0 0-16,1 0 0,-1 0 0,0 0 16,0-13-16,14 13 0,-14-13 15,13 13-15,1-13 0,13-1 0</inkml:trace>
  <inkml:trace contextRef="#ctx0" brushRef="#br0" timeOffset="199780.52">4326 10292 0,'53'0'16,"-106"0"-16,119 0 0,-39 0 0,-1-13 0,-13 13 0,27 0 15,-14 0-15,1 0 0,-1-13 16,14 13-16,-14 0 0,14 0 0,-13-13 15,-1 13-15,14 0 0,-14-14 0,1 14 16,-1 0-16,-13 0 0,14-13 16,-14 13-16,13 0 0,-12 0 15,-1 0-15,0 0 0,-13-13 0,13 13 16,1 0-16,-1 0 0,0 0 16,0 0-16,1 0 15,-1 0 1,0 0-1,0 0 17,-13 13-17,13-13 1,-13 13 0,14-13-16,-14 14 15,13-14 1,-13 13-16,0 0 15,0 0-15,0 1 16,13-1-16,-13 0 0,0 0 16,13 0-16,-13 14 15,14-14-15,-1 0 0,13 27 0,-26-13 16,27-1-16,-14 0 0,0 1 16,0 13-16,1-14 0,-1 0 15,0 14-15,0-13 0,1 12 0,-1-12 16,0 12-16,0-12 0,1-1 0,-1 14 15,0-13-15,0-1 0,-13-13 0,13 14 16,1-1-16,-14-13 0,13 14 16,-13-14-16,13 13 0,-13-12 0,13-1 15,-13 0-15,0 0 0,14 1 0,-14-1 16,0 0-16,0 0 0,-14 1 16,14-1-16,-13 0 0,13 0 0,-26 0 15,-1 1-15,-12 12 0,-1 1 0,-13-1 16,-13-13-16,0 14 0,-1 12 15,-12-12-15,-14-1 0,-12 14 0,12-13 16,-92 25-16,105-25 16</inkml:trace>
  <inkml:trace contextRef="#ctx0" brushRef="#br0" timeOffset="36310.17">13705 5252 0,'27'0'0,"-1"0"0,-12 0 15,25 0-15,-12-13 0,12 13 16,1 0-16,13 0 0,-13 0 16,13-13-16,-14 13 0,14 0 0,-13 0 15,13-14-15,-13 14 0,12 0 0,-12-13 16,0 13-16,-14 0 0,1 0 0,-1-13 16,1 13-16,-14 0 0,13 0 15,-12 0-15,-1 0 0,0 0 0,0 0 16,0 0-16,1-13 15,-1 13 1,0 13 0,0 0-1,1-13-15,12 0 0</inkml:trace>
  <inkml:trace contextRef="#ctx0" brushRef="#br0" timeOffset="37222.86">18455 5186 0,'132'0'15,"-106"0"-15,-12 0 16,12 0-16,1 0 0,-1 0 0,0 0 16,1 0-16,-1 0 0,1 0 0</inkml:trace>
  <inkml:trace contextRef="#ctx0" brushRef="#br0" timeOffset="37438.38">18838 5199 0,'27'13'62,"-14"-13"-62</inkml:trace>
  <inkml:trace contextRef="#ctx0" brushRef="#br0" timeOffset="39693.77">7832 1098 0,'0'26'0,"0"41"31,0-41-31,0 1 0,-14-1 0,14 0 16,0 1-16,-13-1 0,13-12 15,0 12-15,0-13 0,-13 27 16,13-27-16,0 0 0,0 1 16,0-1-16,0 0 0,0-39 46,0 12-46,0-12 0,13 0 16,-13-1-16,0 1 0,13-14 0,1 0 16,-14 14-16,13-14 15,0 14-15,0-1 0,-13 14 0,14 0 16,-14-1-16,13 1 0,-13 0 0,13 13 16,0-13-16,1 26 15,-1-13-15,0 13 0,0 0 16,-13 1-16,13-1 0,1 0 0,-1 14 15,-13-14-15,13 13 0,-13-12 16,13 12-16,-13-13 0,0 14 16,14-14-16,-14 80 15,0-80 1</inkml:trace>
  <inkml:trace contextRef="#ctx0" brushRef="#br0" timeOffset="40254.36">7818 1389 0,'40'-13'31,"-27"13"-31,27-13 0,-13-1 16,-1 14-16,14-13 0,-14 0 15,1 0-15,25-27 0,-38 27 16,12 0-16,-13-1 0,1-12 0,-1 13 16,0-1-16,-13 1 0,13 0 15,-13 0-15,14-1 0,-14 1 16,13 0-16,-13 39 31,-13-12-31,13-1 16,-14 13-16,14 1 0,-13 13 0,0-14 15,13 0-15,-13 14 0,13-13 0,-14-14 16,14 0-16,-13 14 0,13-14 0,0 0 16,-13-13-16,13 13 0,0 0 15,0 1-15,0-54 32,13 40-17,-13-13-15,13 0 0,1-1 16,-1 1-16,-13 0 0,13 0 0,0 13 15,1-14-15,-1 14 16,0 14-16,0-14 0,0 13 16,-13 0-1,0 0-15,0 1 0,-13-1 16,13 0-16,-13 0 0,0 0 16,13 1-16,-13-1 0,13 0 15,-14-13-15</inkml:trace>
  <inkml:trace contextRef="#ctx0" brushRef="#br0" timeOffset="40467.12">8414 1191 0,'13'-14'0,"-26"28"0,26-41 16,-26 40 15,0 1-31,-1-1 0,1 13 16,13-12-16,-13 12 0,0-13 0,-1 14 15,14-1-15,-13-13 0,13 14 0,0-14 16,-13 14-16,13-14 0,0 0 16,13 0-16,-13 0 0,13 1 15,-13-1-15,14 0 0,-1 0 0,0-13 16,0 14-16,1-14 0,-1 0 0,13 0 16,-13 0-16,14 0 0</inkml:trace>
  <inkml:trace contextRef="#ctx0" brushRef="#br0" timeOffset="40740.76">9036 1230 0,'-14'0'16,"28"0"-16,12 0 16,14 0-1,-27 14 1,0-14-16,0 0 0,14 0 0,-14 0 16,0 0-16,1 0 0,12 0 0,-13 0 15,0 0-15,-13-14 0,14 14 0</inkml:trace>
  <inkml:trace contextRef="#ctx0" brushRef="#br0" timeOffset="41049.77">9062 1045 0,'0'0'0,"40"13"15,-27 1 1,0-14-16,0 13 0,1 0 16,12 0-16,-13 0 0,14 1 0,-1-1 15,1 13-15,-1-12 0,-13-1 0,1 0 16,12 0-16,-13 1 0,0 12 16,1-13-16,-1 0 0,-13 1 15,13-14-15,-13 13 0,0 0 0,0 0 16,0 1-16,-13-1 0,13 0 0,-13-13 15,-1 13-15,1 1 0,0-1 16,-13 0-16,-1 0 0,14 0 0,0-13 16,-14 14-16,14-14 0,0 0 0,0 0 15</inkml:trace>
  <inkml:trace contextRef="#ctx0" brushRef="#br0" timeOffset="43457.81">10107 1098 0,'0'-13'16,"13"39"15,-13-13-31,14 1 0,-14-1 16,13-13-16,-13 13 0,13 0 15,0-13-15,0 14 0,1-14 16,-1 0-16,0-14 16</inkml:trace>
  <inkml:trace contextRef="#ctx0" brushRef="#br0" timeOffset="43669.95">10438 1045 0,'0'0'0,"13"-13"0,-13 0 16,-26 39 15,12-13-31,1 1 0,0-1 16,-14 13-16,14 14 0,0-14 0,-13 1 16,12-1-16,1 14 0,0-14 0,-14 1 15,14-1-15,13-12 0,-13 12 16,0-13-16,-1 1 0,14-1 0,-13 0 15,13 13-15,-13-12 16,13-1-16,0 0 0,13 0 16</inkml:trace>
  <inkml:trace contextRef="#ctx0" brushRef="#br0" timeOffset="44053.07">10491 1442 0,'13'0'16,"0"-13"-16,40-53 31,-53 52-31,13 1 0,-13 0 0,0 0 15,0-1-15,14 14 0,-14-13 16,0 0-16,-14 0 0,1 0 16,0 13-1,0 13-15,-1 0 16,1 0-16,0 0 0,0 1 16,13-1-16,0 0 0,-13 0 0,13 1 15,0-1-15,0 0 0,0 0 16,0 1-16,13-1 15,-13 0-15,13-13 0,0 13 0,14 0 16,-14-13-16,0 0 0,0 0 16,14 0-16,-1 0 0,-13 0 0,14 0 15</inkml:trace>
  <inkml:trace contextRef="#ctx0" brushRef="#br0" timeOffset="44381.51">10941 1244 0,'-27'0'16,"54"0"-16,-67 13 0,27-13 0,-1 0 0,1 0 15,13 13-15,-13-13 0,13 13 16,-13 0-16,13 1 16,0-1-16,13 0 15,-13 0-15,0 1 0,13-1 0,0 13 16,-13-12-16,14-1 0,-1 13 15,-13-13-15,0 1 16,13-1-16,-26 0 0,13 0 0,-13 1 16,13-1-16,-14 0 0,1 0 15,0-13-15,0 14 0,-1-1 16,-12-13-16,13 13 0,0-13 16,-1 0-16,1 13 0,0-13 0,0 0 15,-1 0-15,1 0 0</inkml:trace>
  <inkml:trace contextRef="#ctx0" brushRef="#br0" timeOffset="44838.62">11695 1416 0,'79'-14'16,"-66"14"-16,14 0 15,-1 0-15,1 0 0,-14 0 0,13 0 16,1 0-16,-1 0 0,1 0 0,-14-13 15,0 13-15,14 0 16,-14 0-16,0 0 0,0 0 0,0 0 0,14 0 16,-14 0-1,0-13 1,1 13-16,-14-13 16</inkml:trace>
  <inkml:trace contextRef="#ctx0" brushRef="#br0" timeOffset="45133.05">12039 1244 0,'26'0'32,"-13"13"-17,14-13-15,-14 13 0,0-13 16,0 13-16,1-13 0,12 13 15,-13-13-15,1 14 0,-1-1 0,0 0 16,0-13-16,0 13 0,1-13 0,-14 14 16,13-1-16,0 0 15,-13 0-15,0 1 0,-13 12 16,0-13-16,-1 0 0,-25 14 16,12-1-16,1-12 0,-1-1 15,1 13-15,13-12 0,-14-1 16,14 0-16,-13-13 0,12 13 0,1-13 15,0 13-15</inkml:trace>
  <inkml:trace contextRef="#ctx0" brushRef="#br0" timeOffset="50386.73">10213 1204 0,'13'0'93,"0"0"-77,1 0 15,-1 13 16,-26-26 203,-1 13-219,1 0-15,0 0 0,13-13-16,-13 13 15,-1 0 1,1 0-16,0-14 16,0 14 15,0 0-31,-1-13 31,1 13-15,0-13 15,0 0 0,13-1 0,-14 14-31,14-13 16,0 0 0,-13 13-1,13-13-15,-13 0 32,13-1-32,-13 14 31,13-13-16,-14 0 48,14 0 171,-13 13-46,0 13-173</inkml:trace>
  <inkml:trace contextRef="#ctx0" brushRef="#br0" timeOffset="73078.3">13176 1058 0,'0'-26'0,"-26"26"31,26 13-15,-13-13-16,13 13 0,-14 1 16</inkml:trace>
  <inkml:trace contextRef="#ctx0" brushRef="#br0" timeOffset="73496.86">13044 1085 0,'26'-27'0,"-12"14"16,-28 26 31,1-13-47,0 14 0,0-14 0,13 13 15,-13-13-15,13 13 16,-14-13-16,14 13 0,-13 0 16,26 14-16,-13-14 15,14 0-15,-1 1 16,-13-1-16,13 0 0,0 0 0,0 1 15,1-1-15,-14 0 0,13 0 0,-13 0 16,13-13-16,-13 14 0,0-1 0,0 0 16,-13 0-16,13 1 0,-13-1 15,-1 0-15,1-13 0,0 13 0,-13 1 16,12-1-16,1 0 0,-13-13 0,12 13 16,1-13-16,0 13 0,0-13 15,-1 0-15,1 0 16</inkml:trace>
  <inkml:trace contextRef="#ctx0" brushRef="#br0" timeOffset="73830.75">13229 1124 0,'0'27'31,"0"-14"-16,-13 0-15,13 1 0,13-1 0,-13 13 0,0-12 16,13-1-16,-13 0 0,14 0 16,-1 0-16,0 1 0,0-14 15,1 13-15,12-13 0,-13 0 0,0 0 16,1 0-16,-1 0 0,0 0 0,0-13 16,1 13-16,-1-14 0,-13 1 15,0 0-15,0 0 0,-13 0 16,13-1-16,-14-12 0,-12 13 0,13-1 15,-14 1-15,1-13 0,13 26 0,-14-14 16,14 14-16,0-13 0,-14 13 16,14 0-16,0 0 0,-14 13 0,14-13 15,0 14-15,0-14 0,13 13 16</inkml:trace>
  <inkml:trace contextRef="#ctx0" brushRef="#br0" timeOffset="73991.04">13547 1058 0,'26'-13'16,"-52"26"-16,65-26 0,-39 26 16,14 1-1,-14-1-15,0 13 16,-14-13-16,14 14 16,-13 13-16,0-14 0,0-13 15,13 14-15,-14-14 0,1 0 0,13 0 16</inkml:trace>
  <inkml:trace contextRef="#ctx0" brushRef="#br0" timeOffset="74122.83">13454 1177 0,'13'-26'31</inkml:trace>
  <inkml:trace contextRef="#ctx0" brushRef="#br0" timeOffset="74622.96">14486 833 0,'-66'40'31,"39"-13"-31,1 12 0,-1-26 0,14 27 16,-13 0-16,-1 0 0,14-14 0,0 14 15,0-1-15,13-12 0,0-14 16,0 14-16,0-14 0,0 13 0,0-13 16,13 1-16,-13-1 0,13-13 0,-13 13 15,13 0-15,1-13 0,-14 14 16,13-14-1,0-14-15,-13 1 16,0 0-16,0-14 16,-13 14-16,13 0 15,-13 13-15,13-13 0,-14 0 16,1 13-16,0 0 0,13-14 0,-13 14 16,13-13-16,-14 13 0,1 0 15,26-26 1,1 12-16</inkml:trace>
  <inkml:trace contextRef="#ctx0" brushRef="#br0" timeOffset="74945.82">14526 966 0,'-27'26'32,"27"-13"-32,-13 1 15,13-1-15,-13 13 0,13 1 0,0-14 16,-14 13-16,14-12 0,14 12 0,-14-13 15,0 1-15,13 12 0,0-13 16,0 1-16,1-14 0,-1 13 0,0-13 16,0 13-16,1-13 0,-1 0 0,0 0 15,0 0-15,0-13 0,1 13 16,-1-13-16,0-1 16,-13 1-16,0 0 0,0 0 0,0-1 15,-13 1-15,13 0 0,-13 0 0,-1-1 16,1 1-16,0 0 0,-13 0 15,12 13-15,1-13 0,-13 13 16,12 0-16,-12 0 0,-1 0 0,14 0 0,0 13 16,0-13-16,0 0 0,-1 13 0</inkml:trace>
  <inkml:trace contextRef="#ctx0" brushRef="#br0" timeOffset="75113.82">14843 939 0,'27'-13'15,"-54"26"-15,80-39 0,-40 26 16,0 0 0,1 13-16,-14 0 15,0 0-15,0 1 0,-14 12 16,14 1-16,-13-1 0,0 14 0,0-14 16,-14 14-16,1 13 0,13-27 15,-1-12-15,1-1 0,0 0 16</inkml:trace>
  <inkml:trace contextRef="#ctx0" brushRef="#br0" timeOffset="75337.92">14764 1058 0,'26'0'32,"-13"0"-17,1 0-15,-1 0 16,0 0 0,0 0-16</inkml:trace>
  <inkml:trace contextRef="#ctx0" brushRef="#br0" timeOffset="76054.11">13494 1865 0,'0'-13'0,"0"26"16,0 1 0,0-1-16,13 13 0,-13-13 0,13 14 0,-13-1 15,13-12-15,-13 12 0,14 1 16,-14-1-16,0 0 0,13-12 0,-13 12 16,0-13-16,0 1 0,0 12 15,0-13-15,0 0 0,0 1 16,-13-14-16,13 13 0,-14-26 31,14-1-15,0 1-16,14 0 0,-14 0 0,13 0 15,-13-1-15,13 1 0,-13 0 16,13 0-16,-13-14 0,14 14 0,-14-13 16,0 12-16,0 1 0,0 0 15,0 0-15,0-1 0,-14 1 16,14 0-16,-13 13 15,13-13-15,-13 13 0,0 0 16,-1 13-16,1-13 0,13 13 16</inkml:trace>
  <inkml:trace contextRef="#ctx0" brushRef="#br0" timeOffset="76381.12">13732 1958 0,'0'0'0,"0"13"0,-13 0 16,13 1-16,0-1 0,0 0 15,0 0-15,13 1 0,-13-1 16,13 0-16,-13 0 0,13-13 0,1 13 16,-1-13-16,0 14 0,0-14 0,0 0 15,1 0-15,-1 0 0,0 0 0,0 0 16,1 0-16,-14-14 15,13 1-15,-13 0 0,0 0 16,-13-14-16,13 14 0,-14 0 16,14 0-16,-13-1 0,0 1 15,13 0-15,-13 0 0,-1-1 16,1 14-16,0 0 16,0 0-16,0 0 0,-1 14 0,1-14 15,0 13-15,13 0 0,-13-13 16,13 13-16,13 1 15</inkml:trace>
  <inkml:trace contextRef="#ctx0" brushRef="#br0" timeOffset="76529.1">14116 1892 0,'13'0'0,"-26"0"0,39 13 31,-26 0-31,0 0 16,0 1-1,0-1-15,-13 0 0,13 0 0,-13 1 16,13-1-16,-14 0 0,14 0 0</inkml:trace>
  <inkml:trace contextRef="#ctx0" brushRef="#br0" timeOffset="76673.65">14023 1971 0,'-13'-13'32</inkml:trace>
  <inkml:trace contextRef="#ctx0" brushRef="#br0" timeOffset="76755.11">14142 2037 0,'13'0'31</inkml:trace>
  <inkml:trace contextRef="#ctx0" brushRef="#br0" timeOffset="77289.94">15240 1707 0,'-13'-27'0,"26"54"0,-39-54 16,12 27-16,1 0 0,0 0 15,0 0-15,-14 13 0,1-13 16,12 14-16,-12-1 0,13 0 0,-14 0 16,14 0-16,0 1 0,0-14 0,-1 13 15,1 0-15,0 0 16,13 1-16,13-14 15,14 0 1,-14-14-16,0 14 0,14-13 16,-14 13-16,0-13 0,0 13 15,-13-13-15,13 13 0,1 0 0,-14-14 16,13 14-16,-13 14 16,13-1-16,-13 0 0,0 0 15,0 1-15,0-1 0,0 13 0,0-12 16,-13 12-16,13-13 0,0 14 0,0-14 15,-13 13-15,26-12 0,-13-1 0,0 0 16,13 0-16,0 1 16,1-14-16</inkml:trace>
  <inkml:trace contextRef="#ctx0" brushRef="#br0" timeOffset="77669.08">15465 1720 0,'13'-53'31,"-26"40"-31,-14 39 16,14-26 0,0 27-16,0-1 0,0 0 0,-14 1 15,14-1-15,0 14 0,-1-13 16,1-1-16,0-13 0,13 14 0,0-14 16,0 0-16,0 14 0,0-14 15,0 0-15,13 0 0,-13 1 0,13-14 16,-13 13-16,14-13 0,-1 13 15,0-13-15,0 0 0,1 0 16,-1 0-16,0-13 0,0 13 16,0-13-16,1-1 0,-14 1 15,13 0-15,0 0 0,-13-1 0,13-12 16,-13 13-16,14-1 0,-14-12 0,0 13 16,0 0-16,0-1 0,-14 14 0,14-13 15,0 0-15,-13 0 0,0-1 16,0 14-16,-1 0 15,14-13-15,-26 26 0,13-13 16</inkml:trace>
  <inkml:trace contextRef="#ctx0" brushRef="#br0" timeOffset="77877.62">15928 1746 0,'0'27'31,"-13"-14"-31,13 13 0,-14-12 16,1 12-16,0-13 0,0 14 16,0-1-16,-1 1 0,1-14 0,0 13 15,0-12-15,-14 12 0,14-13 0,0 1 16,-1-1-16,1 0 0,0 0 15</inkml:trace>
  <inkml:trace contextRef="#ctx0" brushRef="#br0" timeOffset="78014.79">15703 1918 0,'-13'-13'16,"13"0"-16</inkml:trace>
  <inkml:trace contextRef="#ctx0" brushRef="#br0" timeOffset="78136.62">15928 1971 0,'13'0'16,"-26"0"-16,26 13 0,0-13 31,-13 14-31,-13-1 15,0-13-15</inkml:trace>
  <inkml:trace contextRef="#ctx0" brushRef="#br0" timeOffset="78477.66">14023 2540 0,'53'-26'0,"-106"52"0,132-52 0,-39 12 0,0 1 16,26 0-16,0 0 0,0-1 0,13 1 15,1 0-15,-1 0 0,1-1 0,-1 14 16,14-13-16,-1 0 0,-12 13 16,-1-13-16,14 0 0,-14 13 15,0-14-15,-13 14 0,14-13 0,-14 0 16,-13 13-16,0-13 0,-14 13 0,1-14 0,0 14 16,-14-13-16,-12 13 0,12-13 15</inkml:trace>
  <inkml:trace contextRef="#ctx0" brushRef="#br0" timeOffset="78835.27">13692 1707 0,'212'-40'31,"-133"27"-31,-13-1 0,14 1 0,-1 0 16,1 0-16,12 0 0,-13-14 15,14 14-15,-14 0 0,1-1 0,-1 1 16,1 0-16,-1 0 0,-13 13 0,-13-14 16,-13 14-16,-1-13 0,1 13 15,-13 0-15,-1 0 0,-13 0 16,0 0-16,14 0 0,-14 0 0,0 0 16,1 0-16</inkml:trace>
  <inkml:trace contextRef="#ctx0" brushRef="#br0" timeOffset="79253.69">15981 992 0,'26'-13'16,"-52"26"-16,66-39 0,-27 26 0,13 0 0,-13 0 15,1 0-15,-1 13 0,13-13 0,1 26 16,-1-12-16,1 12 0,-1 1 16,-13-1-16,14 14 0,-14-14 0,0 14 15,1-14-15,-14 14 0,13-14 16,-13 14-16,0-13 0,0-1 0,0 1 16,0-1-16,-13 0 0,13 1 0,0 13 15,-14-27-15,14 13 0,0 1 0,-13-1 16,13 1-16,-13-1 0,13 1 15</inkml:trace>
  <inkml:trace contextRef="#ctx0" brushRef="#br0" timeOffset="79419.63">16259 2011 0,'0'13'15,"13"-13"32,0 0-31</inkml:trace>
  <inkml:trace contextRef="#ctx0" brushRef="#br0" timeOffset="83604.44">5636 8440 0,'13'-13'47,"0"13"-32,0-13-15,1 13 0,-1 0 16,13 0-16,-13 0 0,14 0 0,-1 0 16,1 0-16,13 13 0,-14 0 15,14 0-15,-1 1 0,-12 12 0,12-13 16,-12 14-16,-1-14 0,-12 13 0,12 1 15,-13 13-15,1-14 0,-1 1 16,0 12-16,-13-12 0,0-1 0,-13 14 16,13 0-16,-13-14 0,-1 14 0,1-1 15,-13-12-15,-1 13 0,1-14 0,-14 0 16,14 1-16,-14-1 16,13 1-16,-12-14 0,-41 27 15,27-14-15,1-13 0,-1 14 0,-14-14 16,1 0-16,0 1 0,0-1 15,0-13-15,13 13 0,0-13 0,13 13 16,1-13-16,12 0 0,1 0 0,13 0 16,-1-13-16,1 13 0,0 0 15,0 0-15,39 13 32,-13 0-32,14-13 0,-14 14 0,13-1 15</inkml:trace>
  <inkml:trace contextRef="#ctx0" brushRef="#br0" timeOffset="84093.7">5305 9366 0,'79'-13'31,"-52"13"-31,12 0 0,-12 0 0,13 0 16,12 0-16,1 13 0,0-13 0,13 13 15,1 1-15,12-1 0,-13 0 16,0 0-16,0 1 0,1 12 0,-1 1 16,0-14-16,0 26 0,-13-12 0,0-1 15,0 14-15,0-13 0,-14 12 16,14 1-16,13 52 0,-39-39 16,-1 0-16,1 0 0,-14 0 0,0-13 15,-13 13-15,13-14 16,-13 14-16,0-13 0,-13 0 0,0-1 15,0 1-15,0 13 0,-14-13 0,1-1 16,-14 1-16,14 0 0,-14-1 16,-13 1-16,13-13 0,-13-1 0,-26 14 15,39-14-15,1-13 0,-1 1 16,0-1-16,0-13 0,14 0 0,0 0 16,-1 0-16,1 0 0</inkml:trace>
  <inkml:trace contextRef="#ctx0" brushRef="#br0" timeOffset="124306.56">847 3387 0,'0'13'62,"13"27"-46,-13-1-16,0 1 16,0 0-16,0-1 15,0 1-15,0 0 16,0 13-16,0-27 16,0-13-16,0 14 15,0-14-15,0 13 16,0-12-1,0-1-15,0 0 16,0 0-16,0 1 16,0-1-1,0 0 1,0 14 0,0-41 187,0-25-203,0 12 15,13 14 1,-13-14-16,0 1 16,0 13 93,0 0-93,0-1-1,0 1 1,-13 0-1,13-27-15,0 27 16,-13 0-16,13-1 16,0-12-16,0 0 15,0 12-15,0 1 16,0-13-16,0 12 16,0 1-1,0-13-15,0 12 0,0 1 16,0 0-1,13 0 48,0-27-47,-13 27-1,0 0 1,13 13-16,1-14 15,-14 1-15,0 0 16,0 0 0,0 0-1,26 13 204,14 0-203,-14 0-16,14 0 15,13 0-15,0 0 16,26 0-16,-26 0 16,0 0-16,-13 0 15,-1 0-15,-12 0 16,12 0-16,-12 0 15,-1 0-15,1 0 16,-1 0 0,-12 0-16,-1 0 15,0 0-15,13 0 16,-12 0 0,-1-14-16,0 14 15,14-13 1,-1 13-16,-13 0 78,0 0-62,1 0-16,-1 0 15,-13-13-15,26 13 16,1-13-16,-1 13 15,-26-14 1,14 14-16,12 0 16,-13 0-16,14 0 15,-14-13-15,13 13 16,-12 0 0,-1-13-16,0 13 0,0 0 15,1 0 1,-1 0 31,0-13-32,0 13-15,0 0 16,1 0 15,-1 0 47,0 0-46,0 0-17,1 0-15,-1 13 16,0 13-1,0-12-15,0 12 16,14 1-16,-27-1 16,0 0-16,13 14 15,-13-27-15,13 14 16,-13-14-16,0 13 16,14-12-1,-1-1-15,-13 27 16,0-27-1,0 0-15,0 14 16,0-14-16,0 0 16,0 0-1,0 0-15,0 1 16,0 12-16,0 1 16,0-1-1,0-13-15,0 27 16,0-27-16,0 14 15,0-1-15,0-13 16,13 14-16,0-1 16,-13-12-1,0-1-15,0 0 16,0 0-16,0 0 16,0 14-16,0-14 15,0 14 1,0-14-1,-26-13 204,-1 0-203,14 0-16,-13 0 15,-1 0-15,1 0 16,-1 0 0,-12 0-16,25 0 15,1 0-15,-13 13 16,-1-13-16,-12 0 16,-1 0-1,0 13-15,-13 1 0,14-14 16,-1 0-1,0 0-15,1 0 16,-1 0-16,27 0 0,-1 0 16,-12 0-16,0 0 15,-1 0 1,1 0-16,-1 0 16,-13 0-16,14 0 15,0 0-15,-1 0 16,1 0-16,12 0 0,-12 0 15,-14 0 1,14 0-16,-14 0 16,-13 0-16,27 0 15,-14 0-15,27 0 16,-14 0-16,14 0 16,0 0-16,0 0 15,-1 0-15,1 0 47,0 0-31,0 0 31,-1 0-32,1 0 16,0 0-15,0 0 93,0 0-62,-1 0-15,1-27-17,0 1 1,13 12 15,0 1 0,0 0 79,0 0 62,-13-1-157,-1-12 1</inkml:trace>
</inkml:ink>
</file>

<file path=ppt/ink/ink30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2:29:37.017"/>
    </inkml:context>
    <inkml:brush xml:id="br0">
      <inkml:brushProperty name="width" value="0.05292" units="cm"/>
      <inkml:brushProperty name="height" value="0.05292" units="cm"/>
      <inkml:brushProperty name="color" value="#0070C0"/>
    </inkml:brush>
  </inkml:definitions>
  <inkml:trace contextRef="#ctx0" brushRef="#br0">18111 648 0,'-13'-13'31,"39"13"-31,-13 0 16,0-13-16,1 13 0,-1 0 15,13 0-15,-12 0 0,12 0 0,-13 0 16,14 0-16,-14 0 0,13 0 0,-12 0 16,-1 0-16,0 13 0,0-13 15</inkml:trace>
  <inkml:trace contextRef="#ctx0" brushRef="#br0" timeOffset="196.41">18177 781 0,'-13'13'32,"26"0"-17,0-13 1,0 0-16,1 0 15,12 0-15,-13 0 0,14 0 0,-1 0 16,14 0-16,-14-13 0,1 13 0,12 0 16,1-13-16</inkml:trace>
  <inkml:trace contextRef="#ctx0" brushRef="#br0" timeOffset="433.28">19354 423 0,'0'-13'15,"-13"40"1,-13 25 0,26-38-1,-14-1-15,1 13 0,13-12 0,-13 12 16,0-13-16,13 14 0,0-14 15,-14 0-15,14 0 0,0 1 0,0-1 16,0 0 0</inkml:trace>
  <inkml:trace contextRef="#ctx0" brushRef="#br0" timeOffset="769.4">19447 489 0,'-13'-13'0,"-1"0"15,1 13 1,0 13-16,0 0 16,0 1-16,13-1 0,0 0 15,0 0-15,0 1 16,0-1-16,0 0 0,0 14 0,13-27 16,0 13-16,0 0 0,0 0 0,1-13 15,-1 13-15,0-13 0,14 0 0,-14 14 16,0-14-16,0-14 0,0 14 15,1 0-15,-1-13 0,0 0 16,0 0-16,-13-14 16,-13 14-16,13 0 0,-13 0 15,0-1-15,13 1 16,-14 13-16,1-13 0,0 13 16,0 0-16,0 0 0,-1 0 15</inkml:trace>
  <inkml:trace contextRef="#ctx0" brushRef="#br0" timeOffset="1088.79">19645 476 0,'0'27'32,"-13"-27"-17,13 13-15,0 0 0,0 0 16,0 1-16,0-1 0,0 0 0,13 0 15,-13 1-15,14-14 0,-1 13 0,0 0 16,0-13-16,14 13 0,12-13 16,-25 0-16,12 0 0,1 0 15,-14 0-15,0 0 0,0-13 16,0 13-16,1-13 0,-1 0 16,-13-1-16,-13-12 15,13 13-15,-14 13 0,1-14 16,0 1-16,0 0 0,0 13 15,-1 0-15,1 0 0,0 0 16,0 0-16,-1 0 0,1 0 0,0 0 16</inkml:trace>
  <inkml:trace contextRef="#ctx0" brushRef="#br0" timeOffset="1420.94">20082 463 0,'0'-13'32,"0"39"-17,0-13-15,0 1 0,0-1 16,0 0-16,0 0 16,13 1-16,-13-1 0,13-13 15,1 13-15,-1 0 0,0-13 16,0 0-16,0 0 0,1 0 15,-1 0-15,13 0 16,-12-13-16,-1 13 16,-13-13-16,0 0 0,0-1 15,0 1-15,-13 0 0,13 0 16,-14-1-16,1 1 0,0 0 16,13 0-16,-13 13 0,-1 0 15,14-13-15,-13 13 0,0 0 16,0 0-16,0 0 0,-1 0 0,1 0 15,13 13-15,-13-13 0</inkml:trace>
  <inkml:trace contextRef="#ctx0" brushRef="#br0" timeOffset="1945.8">20704 331 0,'13'13'31,"-13"0"-31,0 0 0,0 1 0,0 12 16,0 1-16,0-1 0,0 0 16,0 1-16,-13 13 0,13-14 0,0 1 15,0-1-15,-14 0 0,14 1 16,0-1-16,0-12 0,0 12 15,-13-13-15,0 53 16,13-52 0,-13-41 15,13 14-31,13 0 0,-13-14 0,0-39 16,13 26-16,0 1 15,-13-14-15,14 13 0,-1 0 16,0 1-16,0 12 0,1-12 0,12 12 15,-13 14-15,-13 0 0,13 0 0,1-1 16,-1 1-16,0 13 16,0 0-16,1 13 0,-1-13 15,-13 14-15,0-1 0,0 0 0,13 0 16,-26 0-16,13 1 0,0 12 0,-13-13 16,13 1-16,-14 12 0,1-13 15,0 0-15,0 14 0,-1-14 0,1 0 16,0 1-16,13-1 0,-13-13 0,13 13 15,-13 0-15,-1-13 16</inkml:trace>
  <inkml:trace contextRef="#ctx0" brushRef="#br0" timeOffset="2436.4">21087 397 0,'0'26'47,"0"14"-47,0-27 16,-13 0-16,13 14 0,0-1 0,0 1 0,-13-1 16,13-12-16,0 12 0,-13 0 15,13-12-15,0 12 0,0-13 16,-14 1-16,14-1 0,0 0 15,0 0-15,0 1 0,-13-1 0,13-40 47,0 14-47,0-13 0,13-1 16,1-13-16,-14 1 0,13-1 0,0 0 16,0 1-16,1 12 0,25-52 15,-26 52-15,1 14 0,-1-13 16,0 13-16,0-1 0,-13 1 15,14 13-15,-14-13 0,13 13 0,0 0 16,-13 13-16,13-13 16,-13 13-16,0 1 0,13-1 0,-13 0 15,-13 0-15,13 14 0,0-14 0,0 13 16,-13-12-16,0 12 0,13-13 0,-13 14 16,-1-14-16,1 0 0,0 14 15,0-14-15,-1 0 0,1 0 16,13 1-16,-13-1 0,0-13 0,13 13 15,-13 0-15,-1-13 0</inkml:trace>
  <inkml:trace contextRef="#ctx0" brushRef="#br0" timeOffset="2713.18">21444 331 0,'0'0'16,"0"-13"-16,14 13 0,-14 26 31,0-13-31,0 0 0,0 1 16,0 12-16,-14-13 0,14 1 16,0 12-16,-13 0 0,13 1 15,0-14-15,-13 0 0,13 1 16,0-1-16,-13 0 0,13 0 15,0 1-15,0-1 0,0 0 0,-13-13 16,13 13-16,0 0 0,-14 1 16,14-1-1,-13-13-15</inkml:trace>
  <inkml:trace contextRef="#ctx0" brushRef="#br0" timeOffset="3085.05">19632 952 0,'66'-26'15,"-39"13"-15,26 13 0,-14-13 16,14 13-16,0-14 0,0 1 16,0 13-16,13-13 0,-13 13 0,0 0 15,0-13-15,0 13 0,0 0 0,0 0 16,-14 0-16,1 0 0,-27 0 15,14 0-15,-1 0 0,-13 0 0,1 0 16,-1 0-16,0 0 0,0 0 16,-39 13-1,-1 0-15</inkml:trace>
  <inkml:trace contextRef="#ctx0" brushRef="#br0" timeOffset="3389.78">19235 1072 0,'40'13'0,"-14"-13"15,160 0 1,-120 0-16,13 13 16,-13-13-16,0 0 0,1 0 0,-15 0 0,15 0 15,-15 0-15,1 0 0,14 0 16,-28 0-16,14-13 0,-13 13 15,-14 0-15,1 0 0,-1 0 0,-13 0 16,1 0-16,12 0 0,-13 0 0,1 0 16,-1 0-16,0 0 15,0 0-15,1 0 16,-14-13-16,0-1 16,13 1-1,-13 0 1</inkml:trace>
  <inkml:trace contextRef="#ctx0" brushRef="#br0" timeOffset="5426.5">6376 1984 0,'0'27'31,"-13"-14"-31,13 53 16,-13-26-16,13 0 0,-13 26 0,13 0 16,-13 13-16,13 1 0,0-1 0,0 14 15,0 26-15,0-13 0,0 13 16,13 13-16,-13-13 0,0 0 15,13 0-15,-13 13 0,0-13 0,0 0 16,0 1-16,-13-15 0,13-12 0,0 0 16,-13-14-16,13 14 0,0-14 15,-14 0-15,14-13 0,-13 1 0,13-1 16,0-13-16,0-14 0,-13 1 0,13 13 16,-13-27-16,13 1 15,-14 13-15,1-14 0,13-13 16,-13-13-16,0-13 15,13 0-15,0 0 0,0-14 16</inkml:trace>
  <inkml:trace contextRef="#ctx0" brushRef="#br0" timeOffset="7796.86">6284 2024 0,'40'0'15,"-27"0"-15,0 0 16,13 0-16,1 0 0,-1-13 15,14 13-15,-13 0 0,25 0 16,-12 0-16,13-13 0,-13 13 0,13 0 16,0 0-16,-1-14 0,1 14 0,0 0 15,13 0-15,-13 0 0,14 0 0,-15 0 16,15-13-16,-15 13 0,15 0 16,-14 0-16,26 0 0,-26 0 0,13 0 15,-13 0-15,13-13 0,0 13 0,-13 0 16,0 0-16,0 0 0,0 0 15,0 0-15,0 0 0,0-13 0,0 13 16,-14 0-16,14 0 0,0 0 0,-13 0 16,-1 0-16,-12-14 0,13 14 15,-14 0-15,14 0 0,-14 0 0,1 0 16,-1 0-16,1 0 0,-1 0 0,0-13 16,-12 13-16,12 0 15,1 0-15,12 0 0,-25 0 16,-1-13-16,13 13 0,-13 0 15,1 0-15,-1 0 0,0 0 16,0 0-16,1 0 16,-1 0-16,-13-13 15,13 13 1,0 0 0,1 0-1,-1 0 16,0 13-15,-13 0 0,13 0-1,-13 1 1,0-1-16,0 0 0,0 0 16,0 1-16,0-1 0,0 0 15,0 14-15,0-14 0,0 13 0,-13 1 16,13-1-16,0 1 0,0-1 0,0 14 15,0-1-15,0-12 0,0-1 16,0 14-16,0 0 0,0-14 16,0 14-16,0-14 0,0 1 15,0-1-15,13 1 0,-13-1 0,0 14 0,0-14 16,0 1-16,0-1 0,0 1 16,0-1-16,13 1 0,-13-1 0,0 1 15,0-1-15,0 0 0,0 1 0,0-1 16,0-12-16,14 12 0,-14 0 0,0-12 15,-14 12-15,14-13 0,0 14 16,0-1-16,0-12 0,0 12 0,0-13 16,0 14-16,0-1 0,0-13 0,-13 14 15,13-1-15,0 1 0,0-1 16,-13 1-16,13-1 0,0 1 0,0-1 16,-13 0-16,13 1 0,0-1 15,-13 14-15,-1-13 0,14 12 0,-13-12 16,13-1-16,-13 14 0,13-14 0,-13 14 15,13-14-15,-14 1 0,1 13 16,13-14-16,-13 14 0,13-14 0,-13 14 16,13-14-16,-14 1 0,14 13 15,0-14-15,-13 0 0,13 14 0,0-13 16,-13-14-16,13 26 0,0-12 0,0-1 16,-13 1-16,13-14 0,0 14 15,0-1-15,0 0 0,0 1 0,0 13 16,0-14-16,0 1 15,0-14-15,0 13 0,0-13 0,0 14 16,0-14-16,0 14 0,0-14 0,13 0 16,-13 0-16,0 0 0,0 1 0,0-1 15,0 0-15,0 0 0,0 1 16,0 12-16,0-13 0,0 1 16,-13 12-16,13-13 0,0 0 15,0 1-15,0-1 0,-13 0 16,13 0-16,0 1 0,0-1 15,0 0-15,-14-13 0,14 13 16,0 1-16,0-1 16,-13 0-16,13 0 0,0 0 15,-13-13-15,13 14 16,0-1-16,-13 0 16,13 0-1,-14 1-15,14-1 16,-13 0-1,0-13 1,13 13 0,-13-13-1,-1 0-15,1 14 0,0-14 16,0 0-16,-14 0 0,14 0 16,0 13-16,-14-13 0,1 0 0,-1 0 15,1 0-15,-14 13 0,14-13 16,-1 0-16,-25 0 0,12 13 0,13-13 15,1 0-15,-53 0 0,26 13 16,13-13-16,-53 14 16,67-14-16,-14 0 0,14 0 15,-14 0-15,0 13 0,1-13 0,12 0 16,-26 0-16,14 13 0,-1-13 0,0 0 16,-13 13-16,14-13 0,-28 0 15,28 0-15,12 14 0,1-14 16,-1 0-16,1 0 0,-1 0 0,14 13 15,-13-13-15,-1 0 0,14 0 0,-13 0 16,12 0-16,-12 0 0,13 0 0,-14 0 16,14 0-16,-13 13 0,-1-13 15,14 0-15,-14 0 0,1 0 0,13 13 16,-14-13-16,14 0 0,-13 0 0,-1 0 16,14 14-16,-14-14 0,14 0 15,-13 0-15,13 0 0,-1 0 16,-12 0-16,-1 13 0,1-13 15,13 0-15,-27 13 0,27-13 16,-14 0-16,14 0 0,0 13 16,-14-13-16,14 0 0,-13 13 15,13-13-15,-1 0 0,1 0 16,0 0-16,0 0 0,-1 0 16,1 0-16,0 14 15,13-28-15,-27 14 16,14-13-1,13 0 1,0 0-16,-13-27 16,13 27-1,0 0-15,-13-27 0,13 0 16,0 1-16,0 12 16,-13 14-16,13 0 0,0-1 15,0 1-15,0 0 0,0 0 16,0-1-16,0 1 0,0 0 15,-14 0-15,14 0 16,0-1 0,0 1-1,0 0 1,0 0 31,0-14-32</inkml:trace>
  <inkml:trace contextRef="#ctx0" brushRef="#br0" timeOffset="10064.96">12382 1707 0,'0'13'15,"0"-26"-15,0 39 0,0-13 0,0 0 16,14 1-16,-14-1 16,0 0-16,0 0 0,0 1 15,13-1-15,0-13 31,0 0-31,1 0 0,12-13 0,-13-1 16,27 1-16,-14 0 16,1 0-16,-14-1 0,14 14 15,-1-13-15,14-13 0,-27 13 16,13 13-16,-12-14 0,-1 1 0,0 13 16,0-13-16,1 13 15,-14-13-15,13 13 0,0 0 16,-13-14-16,13 14 15,1 0-15,-14 14 16,13-14-16,-13 13 16,13-13-16</inkml:trace>
  <inkml:trace contextRef="#ctx0" brushRef="#br0" timeOffset="10849.96">17846 1759 0,'0'0'15,"-13"14"1,13-1-1,0 13-15,0-12 16,13-1 0,-13 0-16,13-13 0,1 13 15,12-13-15,-13 0 0,1 0 16,-1 0-16,40-13 0,-27 13 16,1 0-16,12-13 15,-12 13-15,-1-13 0,1 13 0,-1 0 16,1-14-16,-1 14 0,14-13 15,-14 0-15,-13 13 0,14-13 16,-14 13-16,0 0 0,1-14 16,-1 14-16,-40 14 31,14-14-31</inkml:trace>
  <inkml:trace contextRef="#ctx0" brushRef="#br0" timeOffset="11944.99">1627 3426 0,'0'-13'32,"13"40"-17,1-27-15,-14 13 16,13-13-1,-13 13-15,13-13 0,0 13 16,1-13-16,-1 0 0,13 0 16,-13 0-16,1 0 15,-1-13-15,0 13 0,0 0 16,-13-13-16,14 13 0,-1 0 0,-13-13 16,13 13-16,-13-14 0,13 14 15,-13-13-15,14 13 16,-14-13-16,13 26 47,-13 0-47,0 14 0,0-14 0</inkml:trace>
  <inkml:trace contextRef="#ctx0" brushRef="#br0" timeOffset="12479.1">1773 4379 0,'0'13'31,"13"0"-31,0-13 16,0 14-1,1-14-15,12-14 16,-13 14-16,1 0 16,12-13-16,0 0 0,1 13 15,-1-13-15,1-1 0,-14 14 0,53-26 16,-53 13-16,14-1 0,-1 14 16,-12-13-16,-1 13 15,0-13-15,0 13 0,0 0 16,1-13-16,-1 13 15,0-13 17,0 13-17,1 0 1,-1 0-16,0 0 0</inkml:trace>
  <inkml:trace contextRef="#ctx0" brushRef="#br0" timeOffset="40895.55">8136 4180 0,'-13'-13'16</inkml:trace>
  <inkml:trace contextRef="#ctx0" brushRef="#br0" timeOffset="43073.65">1614 3426 0,'13'27'63,"-13"-14"-48,0 0-15,13 0 16,-13 1-16,0-1 16,0 0-1,14-13 1,-14 13-16,26-26 16,-13 0-1,1 13-15,-1-13 0,0 13 16,13-14-16,-12 1 0,12 0 15,-13 0-15,14 13 0,-14-13 0,14-1 16,12 1-16,-12 0 0,-1 0 16,-13 13-16,14-14 0,-1 1 0,-12 13 15,12-13-15,-13 13 0,0-13 0,1 13 16,-1 0-16,0-13 0,0 13 16,1 0-16,-1-14 0,0 14 15,0 0 1,0 0-16,-13-13 15</inkml:trace>
  <inkml:trace contextRef="#ctx0" brushRef="#br0" timeOffset="46252.74">3585 2553 0,'13'27'31,"1"-14"-15,-14 0-16,13 0 15,0 1-15,-13-1 16,0 0-16,13 0 0,-13 1 0,13-14 16,1 13-16,-14 0 0,13-13 0,0 0 15,-13 13-15</inkml:trace>
  <inkml:trace contextRef="#ctx0" brushRef="#br0" timeOffset="46477.7">3942 2553 0,'-26'13'32,"13"1"-32,-1-1 15,1 0-15,0 0 0,-14 14 0,14-1 16,0 1-16,-13-1 0,12-13 15,1 14-15,0-14 0,0 0 16,-1 14-16,14-14 0,-13 0 0,0 1 0,0-1 16,13 0-16,-14 13 15,1-12-15,13-1 16</inkml:trace>
  <inkml:trace contextRef="#ctx0" brushRef="#br0" timeOffset="46811.68">3969 2686 0,'0'0'0,"-13"26"16,13-13-16,0 0 15,0 1-15,-14-1 0,14 0 16,0 0-16,0 1 0,-13-1 0,13 0 16,0 0-16,0 1 0,0-1 0,0 0 15,0 0-15,0 0 16,0 1-16,0-1 16,13-13-16,-13 13 0,14-13 15,-14 13-15,13-13 0,0 0 16,0 0-16,0 0 15,1 0-15,-1 0 0,0 0 16,0 0-16,1 0 0,-14-13 16</inkml:trace>
  <inkml:trace contextRef="#ctx0" brushRef="#br0" timeOffset="47000.48">3929 2858 0,'0'0'16,"13"-14"0,1 14-16,-1 0 15,0-13-15,0 13 0,14 0 0,-14 0 16,0-13-16,14 13 0,-14-13 16,0 13-16,0 0 0,1-14 0,-1 14 15,0 0-15</inkml:trace>
  <inkml:trace contextRef="#ctx0" brushRef="#br0" timeOffset="47177.15">3969 2699 0,'0'0'0,"0"-13"16,13 13-1,0-14-15,0 14 0,1 0 16,12-13-16,-13 13 0,1 0 0,-1 0 15,0 0-15,14 0 0,-14 0 16,13 0-16</inkml:trace>
  <inkml:trace contextRef="#ctx0" brushRef="#br0" timeOffset="47493">4379 2633 0,'0'0'0,"-13"0"0,-1 0 0,14 13 31,0 0-31,0 0 16,14 1-16,-1-1 0,0-13 16,-13 13-16,13 0 0,1 0 15,-1 1-15,0-1 0,13 27 31,-26-27-15,-13 0-16,0 0 16,0 1-16,-14-1 15,1 0-15,13 0 0,-54 14 16,54-14-16,-13 0 16,-1 0-16,14-13 0</inkml:trace>
  <inkml:trace contextRef="#ctx0" brushRef="#br0" timeOffset="48479.68">3744 4630 0,'-13'-13'46,"13"0"-46,13-14 0,-13 14 16,0 0-16,0 0 0,0-1 16,0 1-16,0 0 0,0 0 15,13-1-15,-13 1 16,13 13 0,1 13-1,-14 1 1,13-1-16,0 0 0,0 0 15,-13 1-15,13-1 0,1-13 0,-1 13 16,0 0-16,0-13 16,-13 14-16,14-14 0,-1 0 15,0 0-15,0 0 16,-13-14-16,14 1 16,-14 0-16,0-14 15,0 14-15,0 0 0,0 0 0,0-1 16,0-25-16,0 26 0,0-1 15,0 1-15,0 0 0,0 0 16,0-1 0,0 1-16,-14 13 0</inkml:trace>
  <inkml:trace contextRef="#ctx0" brushRef="#br0" timeOffset="48830.67">4048 4379 0,'13'13'0,"-13"0"16,0 1-16,0-1 16,14 0-16,-1 0 0,-13 0 15,13 1-15,0-1 0,1-13 16,-1 13-16,0-13 0,0 13 0,14-13 15,-14 0-15,0 0 0,0 0 0,1 0 16,12 0-16,-13-13 16,0 13-16,1-13 0,-1 13 0,-13-13 15,13 13-15,-13-27 16,13 14-16,-13 0 0,-13 0 0,13-1 16,0 1-16,-13 0 0,13 0 15,-13 13-15,-1-14 0,1 14 16,0-13-16,0 13 0,-14 0 0,1 0 15,-1 13-15,1-13 0,-53 27 16,39-14-16,13 0 0,-25 14 16,25-27-16,14 13 0,0 0 15,-1-13-15</inkml:trace>
  <inkml:trace contextRef="#ctx0" brushRef="#br0" timeOffset="50609.7">12938 2606 0,'40'0'16,"-27"0"-1,0 0-15,1-13 0,12 13 0,0 0 16,1 0-16,-14 0 0,27 0 0,-14-13 15,-13 13-15,14 0 0,-1 0 16,-12 0-16,-1 0 0,0 0 0,0 0 16,1 0-16,-1-14 0,0 14 15,-39 14 17,12-14-32,1 13 0,0-13 15,-14 0-15,14 0 0,-13 13 0,-1-13 16,1 0-16,13 13 0,-14-13 15,1 0-15,-1 14 0,14-14 0,-13 0 16,12 0-16,1 13 0,0-13 0,0 0 16,13 13-1,13-13 1,0 0-16,0 0 0,1 0 0,12 0 16,0 0-16,1 0 0,-14-13 15,14 13-15,-1 0 0,-13 0 0,14 0 16,-14-13-16,0 13 0,0 0 0,1 0 15,-1 0-15,0 0 16,-39 0 31,12 13-47,1-13 16,0 0-16,0 0 0,-1 0 15,1 0-15,0 0 0,13 13 0,-13-13 0,0 0 16,-1 0-16,-12 0 15,13 0-15,13 13 16,-14-13-16,1 0 31</inkml:trace>
  <inkml:trace contextRef="#ctx0" brushRef="#br0" timeOffset="51977.95">18441 2646 0,'27'0'31,"13"0"-15,-27 0-16,13 0 0,1 0 15,-1 0-15,1 0 0,12 0 16,-12 0-16,-14 0 0,27 0 16,-27 0-16,0 0 0,0 0 0,1 0 15,-41 13 17,14 0-32,-14-13 15,-12 0-15,12 0 16,14 0-16,-13 14 0,-1-14 0,1 0 15,-1 0-15,14 0 0,0 0 0,0 0 16,-14 13-16,54-13 31,-14 13-15,0-13-16,14 0 0,-14 0 0,0-13 16,13 13-16,-12 0 0,12 0 15,-13 0-15,14 0 16,-14 0-16,0 0 0,0 0 0,1 0 15,-1 0 1,0-13-16,0 13 16,1 0-1,-1 0 1</inkml:trace>
  <inkml:trace contextRef="#ctx0" brushRef="#br0" timeOffset="59655.37">12290 3241 0,'-13'13'47,"-1"1"-47,1-14 31,13 13-31,-13 0 31,26-26 32,0 13-63,-13-13 15,14 13 1,-28 13 62,1-13-78,0 13 16</inkml:trace>
  <inkml:trace contextRef="#ctx0" brushRef="#br0" timeOffset="61064.42">17820 3254 0,'-27'14'47,"14"-1"-31,0-13-16,13 13 15,-13-13-15,13 13 16,13-26 46,-13 0-46,13 13-16,-26 13 78,0 0-62</inkml:trace>
  <inkml:trace contextRef="#ctx0" brushRef="#br0" timeOffset="158800.92">13441 3135 0,'-13'0'16,"39"-13"0,-13 13-1,1 0-15,-1 0 0,0 13 16,0-13-16,0 0 0,1 0 0,-1 0 16,13 0-16,-12 0 0,-1 0 15,0 0-15,0 0 0,0 0 16,1 0-16,-1 0 15,0 0-15,0 0 16</inkml:trace>
  <inkml:trace contextRef="#ctx0" brushRef="#br0" timeOffset="159181.01">13560 3149 0,'-13'26'31,"-1"-13"-31,14 0 16,0 1-16,-13-1 0,13 0 15,0 0-15,0 1 0,-13-1 16,13 0-16,0 0 0,0 1 16,-13-1-16,13 0 15,0 0-15,0 0 16,-13 1-16</inkml:trace>
  <inkml:trace contextRef="#ctx0" brushRef="#br0" timeOffset="159499.53">13785 3215 0,'-27'26'31,"27"-13"-15,-13-13-16,13 14 0,0-1 16,-13-13-16,13 13 0,0 0 15,-13 1-15,13-1 16,-14 0-16,14 0 16,0 0-1</inkml:trace>
  <inkml:trace contextRef="#ctx0" brushRef="#br0" timeOffset="159885.1">13758 3149 0,'14'-14'0,"38"1"15,-38 26 1,-1-13-16,0 0 15,0 14-15,1-14 0,-1 13 16,-13 0-16,0 0 16,-13 0-1,13 1-15,-14-14 0,1 13 0,0 0 16,0 0-16,-53 14 16,52-14-1,1-13-15,13 13 0,-13-13 16</inkml:trace>
  <inkml:trace contextRef="#ctx0" brushRef="#br0" timeOffset="175600.16">18904 3188 0,'0'-13'0,"14"39"31,-14-12-31,0-1 0,0 0 16,0 0-16,0 1 15,0-1-15,0 0 16,0 14-16,0-14 16,0 0-16,0 0 0,0 0 15,0 1-15</inkml:trace>
  <inkml:trace contextRef="#ctx0" brushRef="#br0" timeOffset="176031.18">18971 3135 0,'53'-13'32,"-40"13"-32,0-13 0,0 13 15,0 0-15,1 0 16</inkml:trace>
  <inkml:trace contextRef="#ctx0" brushRef="#br0" timeOffset="176255.69">18944 3241 0,'-13'0'0,"53"-13"31,-27 13-15,0 0-16,0 0 16,1 0-16,-1 0 0,0 0 15</inkml:trace>
  <inkml:trace contextRef="#ctx0" brushRef="#br0" timeOffset="176921.21">19275 3360 0,'-13'-26'62,"13"13"-62,-14-1 16,14 1 0,0 0-16,0 0 15,-13-1-15,13 1 16,0 0 15,27 26 0,-14 0-15,0-13-16,0 14 0,1-14 16,-14 13-16,13-13 0,0 0 15,-13 13-15,13-13 16,1 0-1,-1 0 1,-13-13 0,13 0-16,-13-1 15,0 1-15,0 0 16,0-14 0,0 14-1,0 0-15,0 0 16,0 0-1</inkml:trace>
  <inkml:trace contextRef="#ctx0" brushRef="#br0" timeOffset="194633.28">13494 3903 0,'-27'13'16,"27"0"-1,0 0-15,0 1 0,0 12 16,0-13-16,-13 80 16,13-67-1,0-12-15,0-1 0,0 0 16,0 0-16</inkml:trace>
  <inkml:trace contextRef="#ctx0" brushRef="#br0" timeOffset="195002.94">13507 3850 0,'13'0'0,"0"0"16,1-14-16,-1 14 0,0 0 16,0 0-16,1 0 15,-14-13-15,26 13 16,-13 0-16,0 0 16,-13 13-1</inkml:trace>
  <inkml:trace contextRef="#ctx0" brushRef="#br0" timeOffset="195203.88">13467 4022 0,'0'0'16,"14"13"15,-1-13-31,13 0 15,-13 0-15,1 0 16,-1-13-16,0 13 0,0 0 16,1 0-16,-1 0 0,0 0 0,0 0 15</inkml:trace>
  <inkml:trace contextRef="#ctx0" brushRef="#br0" timeOffset="195436.03">13877 3903 0,'-13'13'31,"13"0"-15,-13 0-16,13 1 0,0-1 15,-13 53 1,-1-66-16,14 26 15,0-12-15,0-1 16,0 0 0</inkml:trace>
  <inkml:trace contextRef="#ctx0" brushRef="#br0" timeOffset="195819.34">13811 3889 0,'13'-13'16,"-13"0"-16,14 13 0,-14-13 15,13 13-15,0-14 0,0 14 16,1-13-16,-1 13 0,0 0 0,0 0 16,1 0-16,-1 0 0,0 0 0,0 0 15,0 0-15,1 0 0,-1 13 16,0 1-16,-13-1 16,0 0-16,-13-13 15,13 13-15,-27 14 16,14-27-16,0 13 0,0 0 0,0 1 15,-1-14-15,1 13 0,0-13 16,0 0-16,-1 13 0,1-13 16,0 13-16</inkml:trace>
  <inkml:trace contextRef="#ctx0" brushRef="#br0" timeOffset="199904.91">18706 3889 0,'26'14'47,"-12"-14"-31,39 13-1,-40-13-15,0 0 16,0 0-16,1 0 0,-1 0 0,0 0 16,0 0-16,0 0 0,1 0 15,-1 0 1,0 0-16,0 0 15</inkml:trace>
  <inkml:trace contextRef="#ctx0" brushRef="#br0" timeOffset="200192.06">18825 3929 0,'-13'13'31,"13"1"-15,-13-1-16,13 0 0,0 0 0,-14 0 0,14 1 16,0-1-16,-13 0 0,13 0 15,0 1-15,0-1 0,-13 0 16,13 0-16,0 1 0,0-1 0,-13-13 15,13 13-15,0 0 0,0 0 16,0 1 0</inkml:trace>
  <inkml:trace contextRef="#ctx0" brushRef="#br0" timeOffset="200827.91">18944 4180 0,'0'14'15,"-13"-1"-15,13 0 16,0-39 46,0 12-62,13 14 16,-13-13-16,0 0 0,0 0 16,0 0-16,0-1 0,13 1 0,-13 0 15,0 0-15,0-1 0,14 14 0,-14-13 16,0 0-16,0 0 0,13-1 15,0 1 1,0 26 0,1-13-16,-14 14 15,13-14-15,0 13 0,-13 0 16,13-13-16,0 13 0,-13 1 0,14-14 16,-1 13-16,-13 0 0,13-13 15,0 13-15,1 1 0,-1-14 16,-13 13-16,13-13 15,0 0-15,14 0 16,-27-13 0,13 13-16,-13-14 0,13 1 15,-13 0-15,0 0 16,0-1-16,13 1 0,-13 0 0,0 0 16,0-1-16,0 1 0,14 0 0,-14 0 15,0 0-15,0-1 16,0 1-16,13 0 15,-13 0 1</inkml:trace>
  <inkml:trace contextRef="#ctx0" brushRef="#br0" timeOffset="203378.92">4075 4710 0,'13'0'0,"0"13"16,0-13-16,1 0 15,-1 0-15,-13-13 0,26 13 0,-13 0 16,1 0-16,12-14 0,-13 14 0,14 0 16,-1-13-16,-13 0 0,14 13 15,-1-13-15,1-1 0,-1 1 0,-12 0 16,12 13-16,-13-13 0,14 0 15,-14-1-15,0 1 0,0 0 16,1 0-16,-1-1 0,13-39 16,-26 40-16,0 0 0,14 0 0,-14 0 15,0-14-15,-14 14 16,14 0-16,0-1 0,-13-12 0,13 13 16,-13-1-16,13 1 0,-13 0 0,-1 0 15,1 0-15,-13-1 0,12 1 16,-25 0-16,12 0 0,1 13 15,-1-14-15,1 14 0,-1 0 0,-12 0 16,12-13-16,1 13 0,-14 0 16,1 13-16,-1-13 0,0 0 0,-13 0 15,14 14-15,12-14 0,-13 13 16,14-13-16,-1 0 0,1 13 0,0 0 16,-14-13-16,13 14 0,1-1 15,-1-13-15,1 13 0,0 0 0,-1 14 16,1-14-16,-1 0 0,14 0 0,0 1 15,-14-1-15,14 13 0,0-12 16,0-1-16,-1 13 0,1-13 0,0 1 16,13-1-16,-13 13 0,13-12 0,0-1 15,-14 0-15,14 0 0,0 1 16,0-1-16,0 0 0,0 0 0,0 0 16,14 1-16,-14-1 0,0 0 0,13 0 15,-13 1-15,13-1 0,0 0 16,-13 0-16,14-13 15,-1 13-15,0 1 0,0-1 16,0-13-16,1 13 0,-1-13 16,0 13-16,0-13 15,14 0 1,-14 0-16,0 0 16,1 0-16,-1 0 15</inkml:trace>
  <inkml:trace contextRef="#ctx0" brushRef="#br0" timeOffset="205123.91">18693 2077 0,'0'-13'31,"0"0"-31,-13-1 16,13 1-1,-14 13-15,14-13 16,-13 13-16,13-13 0,-13 13 15,13-14-15,-13 14 0,-1 0 16,1-13-16,0 0 0,0 13 16,0-13-16,-14 13 0,1-14 15,12 14-15,-12-13 0,13 13 16,-14 0-16,14-13 0,0 13 16,-14 0-16,14 0 0,0-13 0,-14 13 15,14 0-15,0 0 0,0 0 0,-1 0 16,1 0-16,0 0 0,0 0 15,0 13-15,-1-13 0,1 0 0,0 13 16,-14-13-16,27 13 0,-13 1 16,0-14-16,0 13 0,0 0 15,-1 0-15,1-13 0,0 14 0,0-1 16,-1 0-16,14 0 0,-13 1 0,0-14 16,0 13-16,13 0 0,-14 0 0,14 0 15,-13 14 1,0-14-16,13 0 0,-13 14 15,13-14-15,0 0 0,0 14 0,0-14 16,0 0-16,0 0 0,0 1 16,0-1-16,0 13 0,13-12 0,-13 12 15,13-13-15,-13 14 0,13-14 0,1 0 16,-1 14-16,0-14 0,0 0 16,1 14-16,-1-14 0,13 0 0,-12 0 15,-1 0-15,13 1 0,-13-1 0,14 0 16,-1 0-16,-12 1 0,12-14 0,0 13 15,1-13-15,-1 13 16,-12-13-16,12 0 0,1 0 0,-1 0 16,-13 13-16,14-13 0,-1 0 0,1 0 15,-1 0-15,-13 0 0,14 0 0,-1 0 16,1 0-16,-1 0 0,-13 0 16,14 0-16,-1 0 0,1 0 0,-1-13 15,14 13-15,13-13 0,-27 13 16,1-13-16,-1 13 0,1-14 15,-1 1-15,1 13 0,-1-13 16,0 0-16,1-1 0,-1 1 0,-12 0 16,12 0-16,-13 0 0,1-1 0,-1 1 15,0 0-15,0-14 0,14 1 16,-27 13-16,13-1 0,-13-12 16,0 13-16,13 0 0,-26-1 0,13-12 15,0 13-15,-13-1 0,13-12 16,-14 13-16,1-14 0,0 14 0,0 0 15,0 0-15,-14-1 0,14-12 0,-14 13 16,1-1-16,-14 1 0,14-13 0,-1 13 16,-12-1-16,12 14 0,1-13 15,-40 0-15,26 13 0,13 0 16,-12-13-16,12 13 0,-12 0 16,12 0-16,-13 0 0,14 13 0,0-13 15</inkml:trace>
  <inkml:trace contextRef="#ctx0" brushRef="#br0" timeOffset="207668.33">4696 2619 0,'-26'-26'16,"13"26"-16,-1-13 15,1 13-15,-13 0 0,13-14 16,-14 14-16,14-13 0,-14 13 15,1-13-15,-1 13 0,-12-13 0,-1 13 16,0-13-16,-13 13 0,14-14 0,-1 14 16,-13-13-16,14 0 0,-14 13 15,13-13-15,-13 13 0,13-14 0,-13 14 16,14-13-16,-14 13 0,13-13 0,0 13 16,-13-13-16,14 13 0,-1 0 15,0 0-15,14 0 0,-14 13 16,1-13-16,-1 13 0,0 0 0,1 1 15,-1-1-15,0 0 0,14 0 16,-14 14-16,14-14 0,-1 13 0,14 1 16,-14-1-16,14 1 0,-13-1 15,12 14-15,1-14 0,13 1 0,-13-1 16,13 1-16,0-1 0,0 27 16,13-26-16,0 12 0,1-12 0,-1-1 15,0 1-15,0-1 0,1 1 16,-1-14-16,13 13 0,1-12 15,-1 12-15,1-13 0,-1 0 0,14 1 0,0-1 16,-14 0-16,14-13 0,-1 13 16,-12-13-16,12 0 0,1 0 15,13 0-15,0 0 0,-13 0 0,13-13 16,0 13-16,-1-13 0,1 13 0,0-13 16,0-1-16,-13 1 0,26 0 15,-26 0-15,-1 0 0,14-1 0,-13 1 16,13 0-16,-13 0 0,-1-1 0,1-12 15,0 13-15,-1-1 0,1 1 0,0 0 16,-14 0-16,14-14 0,92-52 31,-105 66-31,-14 0 16,0-14-16,14 14 0,-14 0 16,0-1-16,-13 1 0,13-13 0,0 12 15,-13 1-15,14-13 0,-1-27 16,-13 40-16,0-1 15,0-12-15,0 13 0,0-14 0,-13 14 16,13 0-16,-14-14 0,1 14 0,0-13 16,0 12-16,-14-12 0,1 13 0,-1-1 15,-12-12-15,12 13 0,-12 0 16,-1-1-16,13 1 0,-12 0 16,-1 13-16,14-13 0,-1 13 0,1 0 15,12 0-15,-12-14 0,0 14 16,12 0-16,1 0 0,0 14 0,0-14 15,-1 0-15,14 13 0,-13-13 16</inkml:trace>
  <inkml:trace contextRef="#ctx0" brushRef="#br0" timeOffset="209141.03">13666 2051 0,'-14'-27'15,"14"14"1,-13 0-16,0-1 15,13 1-15,-13 0 0,0 13 0,-1-13 16,1-1-16,0 1 16,0 0-16,-1 0 0,1 0 0,-13 13 15,-1-14-15,14 1 0,-13 0 0,-1 13 16,1-13-16,-1 13 0,1-14 16,-14 14-16,14 0 0,-1-13 0,1 13 15,-1 0-15,1 0 0,-1 0 0,1 0 16,-1 0-16,1 0 0,0 0 15,-1 0-15,1 13 0,-1-13 0,1 14 16,-1-14-16,1 13 0,-1-13 0,1 13 16,-14 0-16,14 14 0,-1-14 0,1 0 15,-1 0-15,1 1 0,13 12 16,-14-13-16,14 1 0,0-1 0,-14 0 16,14 0-16,0 14 0,0-14 15,-1 0-15,1 14 0,13-14 16,-13 13-16,0-12 0,13 12 0,0-13 15,0 0-15,0 14 0,0-14 0,0 14 16,0-1-16,0 1 0,13-14 16,-13 13-16,13 1 0,0-1 0,1 1 15,-14-1-15,13 1 0,0-1 0,0-13 16,0 14-16,1-14 0,-1 13 16,13-12-16,-12-1 0,-1 0 0,0 0 15,14 14-15,-14-27 0,0 13 16,13 0-16,-12 0 0,-1-13 0,13 14 15,-12-14-15,12 0 0,-13 13 16,14-13-16,-1 0 0,1 0 0,-1 0 16,1-13-16,-1 13 0,14-14 0,-1 1 15,1 0-15,-13 13 0,12-13 16,-26 0-16,14-1 0,-1 14 0,1-13 16,-1 0-16,1 0 0,-14 13 0,13-14 15,1 1-15,-14 0 0,14 13 0,-14-13 16,0-1-16,14 1 0,-14 0 15,0 0-15,13 0 0,-12 13 0,-1-14 16,0 1-16,-13 0 0,13 0 16,1-1-16,-1 1 0,-13 0 0,13 13 15,-13-13-15,13-1 0,-13 1 16,13 0-16,-13 0 0,14 0 16,-14-1-16,0 1 0,13 0 15,-13 0-15,0-1 0,0 1 0,0 0 16,0 0-16,0-1 0,0 1 0,0 0 15,0-13-15,0 12 0,0 1 0,-13 0 16,13 0-16,-14-1 0,1 1 16,0 0-16,0 0 0,13 0 0,-27-1 15,14 14-15,0-13 0,-14 0 0,14 0 16,-13 13-16,13 0 0,-14 0 0,14-14 16,0 14-16,-14 14 0,14-14 15,-14 0-15,14 0 0,0 0 16</inkml:trace>
  <inkml:trace contextRef="#ctx0" brushRef="#br0" timeOffset="210155.24">14063 3149 0,'0'-14'16,"0"41"31,0-14-47,13-13 16,-13 26-16,0-12 15,0-1-15,0 0 16,0 0-16,0 1 15,0-1 1,13-13 0,0 0-16,1-13 15,-1-1-15,0 14 0,0-13 16,0 0-16,1 0 0,12-14 16,1 1-16,-14 13 0,13-1 0,-12 1 15,-1 0-15,0 0 0,0-1 0,14 1 16,-14 0-16,0 0 0,0-1 15,1 14-15,-14-13 0,13 13 16,0-13-16,0 0 16,0 13-1,-13-13 1,-13 39 46</inkml:trace>
  <inkml:trace contextRef="#ctx0" brushRef="#br0" timeOffset="211489.16">19500 4061 0,'0'-13'31,"0"40"0,0-14-15,13 0-1,-13 0-15,0 1 16,0-1-16,0 0 16,13 0-1,0-13 1,1 0-16,-1-13 15,0 13-15,14-13 0,12-14 16,1 14-16,-14-13 0,1 12 0,-1 1 16,14 0-16,-27 0 0,14-1 15,-1 1-15,-13 0 0,14 13 0,-14-13 16,0 0-16,1 13 0,-1-14 16,0 14-16,0-13 0,0 13 0,1-13 15,-1 13-15,0 0 0,-13-13 16,13 13-16,1 0 15,-14-14-15,13 14 16,0 0-16,-39 14 47,12-14-47,1 0 16,0 13-16</inkml:trace>
  <inkml:trace contextRef="#ctx0" brushRef="#br0" timeOffset="212683.98">19513 4075 0,'0'-14'15,"0"28"64,0-1-64,0 0-15,0 0 0,0 1 16,0-1-1,13 0-15,-13 0 16,0 0 0,0 1 15,13-14-15,1 0-1,-1 0 16,0-14-15,0 14 0,1-13-16,-1 13 15,0-13 1,0 13-16,1-13 0,-1 0 16,0 13-16,0-14 0,0 14 15,1-13-15,-1 13 0,0-13 16,14 13-16,-14-13 0,0 13 15,0-14-15,1 14 0,-1-13 0,0 13 16,13-13-16,-12 13 0,-1 0 0,0-13 16,0 13-16,-13-14 0,14 14 15,-1 0-15,0-13 0,0 13 0,0 0 16,1-13-16,-1 13 16,0 0-16,-13-13 15,13 13 1,1 0-1,-1-13 17,-26-1 202</inkml:trace>
  <inkml:trace contextRef="#ctx0" brushRef="#br0" timeOffset="213407.18">12779 4114 0</inkml:trace>
  <inkml:trace contextRef="#ctx0" brushRef="#br0" timeOffset="214699.88">12991 3903 0,'53'-14'15,"-27"14"1,-12 0-16,52-26 0,-27 13 16,1 13-16,13-14 0,0-12 0,0 13 15,0-14-15,13 14 0,-13 0 16,13-14-16,0 14 0,0-13 0,-13 12 16,13-12-16,1 13 0,-1-14 0,-13 1 15,13 13-15,-13-14 0,0 14 16,13-14-16,-13 14 0,0-13 0,-1 13 15,-12-1-15,13 1 0,-13 0 0,-1 0 16,1-1-16,0 1 0,0 0 16,-1 13-16,-12-13 0,-1 0 0,1 13 15,-14-14-15,13 14 0,-13-13 0,1 13 16,-1 0-16,0 0 0,-13-13 0,13 13 16,1 0-16,-1 0 15,-13-13 1,0-1-1,-13 14 17</inkml:trace>
  <inkml:trace contextRef="#ctx0" brushRef="#br0" timeOffset="-214464.72">14883 3201 0,'26'0'16,"-13"0"-1,1 0-15,-1 0 0,0 0 0,0 0 16,1 0-16,-1 0 0,0 0 0,0 0 15,1 0-15,-1 0 0,0 0 16,0 0-16,-13 14 0,13-14 16,1 0-16,-1 39 31,-26-25-31,13-1 16,-14-13-16,1 13 0,0 0 0,0 1 15,0-1-15,-1 13 0,-12-13 0,-1 1 16,14 12-16,-13-13 0,-1 1 15,-12-1-15</inkml:trace>
  <inkml:trace contextRef="#ctx0" brushRef="#br0" timeOffset="-213736.81">13057 3784 0,'-13'13'47,"13"0"-47,-13-13 0,0 13 16,-1 0-16,14 1 0,-13-1 0,0 0 15,0 14-15,-1-14 0,1 0 16,0 0-16,0 1 0,-1-1 0,14 0 15,-13 0-15,13 0 0,-13 1 16,13-1-16,0 0 16,13 0-16,0 1 15,1-14-15,-1 0 0,13 0 16,-12 13-16,-1-13 0,13 0 0,-12 0 16,12 13-16,-13-13 0,14 0 0,-14 0 15,13 0-15,-12 13 0</inkml:trace>
  <inkml:trace contextRef="#ctx0" brushRef="#br0" timeOffset="-207023.59">7223 7197 0,'-26'0'15,"12"0"-15,67 13 31,-39-13-31,12 0 0,0-13 16,1 13-16,-1 0 0,14 0 0,-13 0 16,-1 0-16,14 0 0,-14 0 0,1 0 15,-1 0-15,1 0 0,-1 0 16,-13-14-16,0 14 0,1 0 0,-1 0 16,0 14-16,-39-14 31,12 13-31,-12-13 15,0 0-15,-27 13 0,13-13 0,0 13 16,-13 1-16,0-14 0,0 13 0,14-13 16,-1 13-16,0-13 0,-26 13 15,53-13-15,0 13 0,0-13 16,-1 0-16,41 14 31,-14-14-31,14 0 0,-1 0 0,0 0 16,1 0-16,-1 0 0,1 0 0,12 0 15,-12 0-15,-1 0 0,1 0 16,-1 0-16,-12 0 16,12 0-16,14 0 0,-27 0 15,0 0-15,0 0 0,1 0 16,-1 0-16,0 0 16,0 0-16,1 0 31</inkml:trace>
  <inkml:trace contextRef="#ctx0" brushRef="#br0" timeOffset="-205957.36">9962 6747 0,'-14'-13'15,"1"26"16,13 0-31,0 0 0,-13 1 16,13 12-16,-13 0 0,-1 1 16,1 13-16,13-14 0,-13 14 0,0-1 15,13-12-15,-14-1 0,14 1 16,0-14-16,-13 14 0,13-1 16,0-13-16,0 0 0,0 1 0,-13 12 15,13-13-15,0 1 0,0-1 16,0 0-16</inkml:trace>
  <inkml:trace contextRef="#ctx0" brushRef="#br0" timeOffset="-205367.92">9935 6601 0,'106'-39'31,"-80"39"-31,-12 0 0,12-14 0,-13 14 16,14 0-16,-14-13 0,0 13 16,0 0-16,1 0 0,-1 0 15,0 0-15,0 0 16,1-13-16,-1 13 16,0 13-1,-13 14 1,0-14-16,0 13 15,0-12-15,0 12 0,0 1 16,0-1-16,0 14 0,0 39 16,0-39-16,0-1 0,0 1 15,0-13-15,0-1 0,0 0 0,0 1 16,0 13-16,0-14 0,0 1 16,0-1-16,0-13 0,0 14 0,-13-1 15,13-13-15,0 1 0,-13 12 0,-1-13 16,14 0-16,-13 1 0,0 12 15,-14-13-15,1 1 0,13-1 16,0-13-16,-14 13 0,1 0 0,12-13 16,-12 14-16,-1-14 0,1 0 15,13 13-15,-14-13 0,14 0 16,-13 0-16,12 0 0,1 13 0,-13-26 16</inkml:trace>
  <inkml:trace contextRef="#ctx0" brushRef="#br0" timeOffset="-204677.55">13137 7051 0,'-14'0'0,"67"-13"32,-26 13-32,-1 0 0,1 0 0,26 0 15,-1 0-15,-12 0 0,13 0 16,0 0-16,13 0 0,-13-13 0,0 13 16,13 0-16,-13 0 0,-13 0 0,13 13 15,-14-13-15,-12 0 0,-1 0 16,1 0-16,-1 0 0,-13 0 0,1 0 15,-1 0-15,0 13 0,-26 0 32,0 1-32</inkml:trace>
  <inkml:trace contextRef="#ctx0" brushRef="#br0" timeOffset="-204312.72">12819 7263 0,'79'-13'15,"-52"13"-15,66 0 16,-41-14-16,15 14 0,-15 0 16,15 0-16,-1-13 0,-13 13 0,0 0 15,0 0-15,13 0 0,-13-13 16,-1 13-16,1 0 0,-13 0 0,0 0 15,13 0-15,-27 0 0,1 0 16,-14 0-16,0 0 0,14 0 0,-14 0 16,0 0-16,0 0 15,0 0-15,1 0 16,-14-13-16,13 13 16,0 0-1,0 0 16</inkml:trace>
  <inkml:trace contextRef="#ctx0" brushRef="#br0" timeOffset="-200127.85">12753 4577 0,'0'-13'0,"0"0"16,0 0-1,-13 13-15,13-14 16,-14 1-1,14 0-15,-13 13 0,13-13 16,-13-1-16,0 1 0,0 13 0,-1-13 0,1 0 16,0 0-16,-14 13 15,14-14-15,0 1 0,0 13 0,-1-13 16,-12 13-16,13-13 0,0 13 0,-1-14 16,1 14-16,0-13 0,0 13 0,-1 0 15,1-13-15,-13 13 0,12-13 16,1 13-16,-13 0 0,13-14 0,-1 14 15,-12 0-15,13-13 0,-14 13 0,14 0 16,-13-13-16,12 13 16,-12 0-16,13 0 0,-14-13 0,14 13 15,0 0-15,-1 0 0,-12 0 0,13 0 16,-14 0-16,14 0 0,0 0 16,-14 0-16,14 0 0,0 0 0,-14 13 15,14-13-15,-13 0 0,13 13 0,-14-13 16,14 0-16,0 13 0,-14-13 0,14 14 15,0-14-15,-14 13 0,14-13 16,0 13-16,0-13 0,-14 13 0,14-13 16,0 14-16,-1-14 0,1 13 0,0-13 15,0 13-15,0 0 0,-1-13 16,1 14-16,0-1 0,0-13 0,-1 13 16,1 0-16,13 0 0,-13 1 15,0-14-15,-1 26 0,1-13 16,0 1-16,13-1 0,-13 0 15,0 0-15,13 1 0,-14-1 0,14 0 16,-13 0-16,13 0 0,0 1 16,-13-1-16,13 0 0,0 0 15,0 1-15,-13-1 0,13 0 16,0 0-16,0 0 0,13 1 16,-13-1-16,0 0 0,0 0 0,0 1 15,13-1-15,-13 0 0,0 14 0,13-14 16,-13 0-16,14 0 0,-1 0 0,-13 1 15,13-1-15,0 0 0,-13 0 16,13 1-16,1-1 0,-1 0 16,0 0-16,0 1 0,14-1 0,-14 0 15,14 13-15,-14-26 0,13 14 16,-13-1-16,1-13 0,12 13 16,-13-13-16,1 0 0,12 13 0,-13-13 15,14 0-15,-14 0 0,13 14 0,-12-14 16,12 0-16,1 0 0,-14 0 15,13 0-15,-13 0 0,14 0 16,-14 0-16,14 0 0,-14 0 0,0 0 0,14 0 16,-14 0-16,0 0 0,13 0 15,-12 0-15,12 0 0,-13-14 16,1 14-16,12 0 0,-13 0 0,1-13 16,12 13-16,-13 0 0,14-13 0,-14 13 15,0 0-15,0-13 0,1 13 16,-1 0-16,0-14 0,0 14 0,0 0 15,1-13-15,-1 13 0,0-13 0,14 13 16,-14-13-16,0 13 16,0-13-16,1 13 0,-1-14 15,0 14-15,0-13 0,14 0 0,-14 13 16,0-13-16,0 13 0,1-14 0,-1 14 16,0-13-16,0 0 15,1 13-15,-1-13 0,0-1 0,0 1 16,-13 0-16,27 0 0,-14 0 15,0-1-15,0-12 0,1 13 16,-14-1-16,13 1 0,-13 0 16,13 0-16,-13-1 0,0 1 0,13 0 15,-13 0-15,0 0 0,0-1 0,0 1 16,-13 0-16,13 0 0,0-1 16,-13-12-16,0 13 0,-1-14 15,1 14-15,13 0 0,-13 0 0,0-1 16,-1 14-16,14-13 0,-13 0 0,0 0 15,13-1-15,-13 14 0,13-13 16,-13 0-16,-1 13 16,14-13-16,-13 0 0,0 13 15,0 13 1,-1 0 0,14 0-16,-13-13 0,0 13 0</inkml:trace>
  <inkml:trace contextRef="#ctx0" brushRef="#br0" timeOffset="-199417.68">12065 5464 0,'-13'26'31,"13"-13"-15,-13 1-16,13-1 0,0 0 0,0 0 16,-14 0-16,14 14 0,0-14 15,-13 0-15,13 1 0,0-1 0,0 0 16,0 0-16,0 1 0,-13-1 0,13 0 15,0 0-15,0 0 0,0 1 16,0-1 0</inkml:trace>
  <inkml:trace contextRef="#ctx0" brushRef="#br0" timeOffset="-198849.91">11853 5636 0,'-13'-14'0,"26"54"47,-13-27-31,14 1-16,-14-1 0,0 0 16,0 0-16,13 0 0,-13 1 15,0-1-15,13-13 0,-13 13 16,0 0-16,0 1 0,13-1 15,-13 0 1,13 0 0,1-13-1,-1 0 1,0 0-16,0 0 16,1-13-16,-1 13 15,0-13-15,0 13 0,1 0 16,-1-13-16,0 13 0,-13-14 0,13 14 0,0 0 15,1-13-15,-1 13 0,-13-13 16,13 13-16,0-13 0,1 13 16,-1 0-16,-13-14 15,13 14-15,0-13 16</inkml:trace>
  <inkml:trace contextRef="#ctx0" brushRef="#br0" timeOffset="-196176.04">12012 5728 0,'-13'13'63,"0"1"-63,-1-1 15,14 0-15,-13-13 0,13 13 16,0 1-16,-13-14 15,13 13-15,0 0 16,-13 0 0,13 1 31</inkml:trace>
  <inkml:trace contextRef="#ctx0" brushRef="#br0" timeOffset="-194096.7">12356 3003 0,'-13'-13'16,"13"0"-1,-13 13-15,13-14 16,-14 14 0,1-13-16,13 0 0,-13 13 0,13-13 15,-13 13-15,-1-14 0,1 14 0,-13 0 16,13-13-16,-14 13 0,14-13 16,-14 13-16,14 0 0,-13-13 0,-1 13 15,14 0-15,-13 0 0,12 0 0,-12 0 16,13 0-16,-1 0 0,-12 0 15,13 0-15,-14 0 0,14 13 0,-13-13 16,12 13-16,1 0 0,0-13 0,-14 14 16,14-1-16,0 0 0,0 0 15,0 1-15,-1-1 0,14 0 0,-13 0 16,0 0-16,13 1 0,-13-1 16,13 0-16,0 14 0,0-14 15,0 0-15,0 0 0,0 1 0,0-1 16,0 0-16,13 13 0,-13-12 15,13-1-15,-13 0 0,13 0 16,1 1-16,-14-1 0,13 0 0,0 0 0,0 1 16,0-14-16,14 13 0,-14 0 0,0 0 15,1-13-15,-1 13 0,13-13 16,-13 14-16,1-14 0,-1 0 0,13 0 16,-12 13-16,-1-13 0,0 0 15,14 0-15,-14 0 0,0 0 0,0-13 16,0 13-16,14 0 0,-14 0 15,0-14-15,1 14 0,-1 0 0,0 0 16,0-13-16,14 13 0,-14-13 0,0 13 16,0-13-16,1 13 0,-1-13 15,0 13-15,0-14 0,1 14 0,-14-13 16,13 13-16,0-13 0,0 13 0,-13-13 16,13-1-16,1 14 0,-14-13 15,13 0-15,0 0 0,-13-1 16,13 1-16,-13 0 0,14 0 15,-14 0-15,0-1 16,0 1-16,13 0 16,-13 0-16,0-14 15,0 14-15,0 0 16,-13 13-16,13-14 16,0 1-16,0 0 15,-14 0-15,14 0 16,-13 13-1,13-14-15,-13 14 16,13-13-16,-13 0 16,-1 0-1,1 13 1,13-14 0,-13 14-16,0-13 15,0 13 1,13-13-1,-14 13-15,1 0 32,0-13-17,0 13 1,-1 0 0,1 0 15,0 0-16,0 0 1,0 0 0,-1 0 15,1 0 16,26-13 62</inkml:trace>
  <inkml:trace contextRef="#ctx0" brushRef="#br0" timeOffset="-192992.8">11377 8639 0,'-13'0'16,"26"-14"15,0 14-15,1 0-16,-1 0 15,0 0-15,0 0 0,0 0 16,1 0-16,-1 0 0,0 14 0,0-14 16,1 0-16,-1 0 0,0 0 0,14 0 15,-14 0-15</inkml:trace>
  <inkml:trace contextRef="#ctx0" brushRef="#br0" timeOffset="-192624.58">12263 8692 0,'14'0'0,"-14"-14"16,13 14-16,0 0 16,0 0-16,1-13 0,12 13 15,-13 0-15,0 0 0,1 0 16,-1-13-16,0 13 0,0 0 16,1 0-16,-1 13 15</inkml:trace>
  <inkml:trace contextRef="#ctx0" brushRef="#br0" timeOffset="-192372.02">12171 8771 0,'0'13'0,"26"-13"31,-12-13-16,-1 13-15,0 0 0,0 0 16,0 0-16,1 0 0,-1 0 16,0 0-16,0 0 0,1 0 15,-1 0 1,0 0-16,0 0 16</inkml:trace>
  <inkml:trace contextRef="#ctx0" brushRef="#br0" timeOffset="-190379.65">14883 8520 0,'13'13'46,"0"-13"-46,0 0 0,1 0 0,-1 13 0,0-13 16,14 0-16,-14 0 0,13 0 16,1 0-16,-1 13 0,1-13 15,-1 0-15,1 0 0,-14 0 0,13 0 16,1 0-16,-1 0 0,14-13 0,-27 13 16,27 0-16,-27-13 0,27 13 15,-14 0-15,-13-13 0,14 13 0,-1-14 16,1 14-16,-14-13 0,14 0 0,-14 13 15,13-13-15,-13-1 0,1 1 0,-1 0 16,0 0-16,0 0 0,1-1 16,-1 1-16,0 0 0,-13-14 0,0 14 15,13 0-15,-13 0 0,0-1 0,0 1 16,0 0-16,0-13 16,-13 12-16,13 1 0,0 0 0,-13 0 15,0-1-15,-1-12 0,1 13 0,0-1 16,0 1-16,-1 0 0,1 0 0,-13-14 15,13 14-15,-14 0 0,1-14 16,-1 14-16,1 0 0,-1 0 0,1 0 16,-1-1-16,1 1 0,-1 0 15,1-14-15,-1 27 0,1-13 0,0 0 16,-1 0-16,14-1 0,-14 14 16,1-13-16,-1 13 0,1-13 0,-27 0 15,27 13-15,-1-13 0,1 13 16,-1-14-16,1 14 0,-1 0 15,-12-13-15,12 13 0,1 0 0,-1-13 16,1 13-16,-1 0 0,1-13 0,-1 13 16,1 0-16,-14-14 0,14 14 15,-1 0-15,1 0 0,-1 0 0,-12 0 16,-27-13-16,26 13 0,-13 0 16,13-13-16,-13 13 0,1 0 0,-1-13 15,0 13-15,0 0 0,0-14 16,-13 14-16,0-13 0,-1 13 15,1-13-15,0 13 0,0-13 0,-13 13 16,12-13-16,1 13 0,0-14 16,13 14-16,-13 0 0,0-13 0,0 13 15,0 0-15,13-13 0,-13 13 16,13 0-16,0 0 0,0-13 0,0 13 16,0 0-16,13 0 0,-13 0 0,14 0 15,12 0-15,-12 0 0,-1 0 0,0 0 16,14 0-16,-14 0 0,14 0 0,-14 0 15,0 0-15,14 0 0,-1 0 16,-12 0-16,12 0 0,1 0 0,-27 0 16,26 0-16,1 13 0,-27-13 15,27 0-15,-1 13 16,1-13-16,-1 0 0,1 13 16,-1-13-16,1 14 0,-1-14 0,1 13 15,-1-13-15,1 13 0,-1-13 0,1 13 16,0 0-16,-1 1 0,1-14 15,-1 26-15,1-13 0,-1 1 0,1-1 16,-1 0-16,-12 14 16,12-1-16,1-13 0,-1 14 0,1-14 15,-54 80 1,67-80-16,-26 26 16,25-25-16,14-1 0,-13 13 0,0 1 15,0-14-15,-1 13 0,14-12 0,-13 12 16,13 1-16,-13-14 0,13 13 15,0 1-15,0-14 0,0 13 0,0-12 16,0 12-16,0 1 0,13-14 0,-13 13 16,13 1-16,1-14 0,-14 13 15,39 14-15,-12-13 16,-14-14-16,13 13 0,1-13 0,-1 14 0,1-14 16,12 0-16,1 1 0,-13 12 15,12-13-15,1 1 0,13-1 0,-13 0 16,-1 0-16,14-13 0,0 13 0,0 1 15,0-14-15,0 13 0,0-13 0,0 0 16,0 0-16,13 0 16,-13 13-16,0-13 0,66 0 15,-66 0-15,0 0 0,-1 0 0,1 0 16,0 0-16,13 0 0,-13 0 16,0 0-16,13 0 0,-13 0 0,13 0 15,-13 0-15,14 0 0,-15 13 0,28-26 16,-14 26-16,0-13 0,0 0 0,-13 0 15,13-13-15,-13 13 0,0 0 16,0 0-16,0 0 0,0-13 0,0 13 16,-14 0-16,1 0 0,0-13 15,-14 13-15,14 0 0,-14 0 0,1-14 16,-1 14-16,1 0 0,13 0 16,-14-13-16,0 13 0,1 0 0,-1 0 15,1-13-15,-1 13 0,1 0 0,-1 0 16,1 0-16,-1-13 0,1 13 15,-1 0-15,1 0 0,-14 0 0,13 0 16,1 0-16,-1-13 0,-13 13 16,14 0-16,-14 0 0,0 0 15,0 0-15,14 0 16,-14 0-16,0-14 0,1 14 0,12 0 16,1-13-16,-1 13 0,0-13 0</inkml:trace>
  <inkml:trace contextRef="#ctx0" brushRef="#br0" timeOffset="-189037.97">19182 6919 0,'-13'13'47,"13"0"-47,0 1 0,-13-1 0,13 0 15,0 0-15,0 0 0,0 14 16,0-14-16,0 14 0,0-1 0,0-13 15,0 1-15,0 12 0,0-13 16,0 0-16,0 14 0,0-14 0,0 0 16,0 1-16,0-1 0,0 0 15,0 0-15,0-39 47,0 13-47,13-1 0,-13-12 16,0 13-16,0-14 0,0 1 0,13-1 15,-13 1-15,0-14 0,0 14 16,0-1-16,14 1 0,-14-1 0,0 1 16,0 13-16,13-14 0,-13 14 0,0 0 15,0-1-15,13 1 0,-13 0 16,13 0-16,-13 0 0,13 13 16,1 0-16,-1 0 0,-13 13 15,13-13-15,0 13 0,1 0 0,-14 14 16,13-14-16,-13 0 15,13 14-15,-13-14 0,0 13 0,13-12 16,-13 12-16,0-13 0,0 0 0,0 14 16,0-14-16,14 14 0,-14-14 15,0 0-15,0 0 0,0 1 16,0-1-16,0 0 16,0 0-1,0 0 1,13-26 46</inkml:trace>
  <inkml:trace contextRef="#ctx0" brushRef="#br0" timeOffset="-188477.93">19156 7144 0,'26'-13'47,"-12"13"-47,-1 0 16,0 0-16,-13-14 0,13 14 0,14 0 15,-14 0 1,0 0 0,0-13-16,1 13 15,-1 0 1,0 0-16</inkml:trace>
  <inkml:trace contextRef="#ctx0" brushRef="#br0" timeOffset="-187708.92">19513 6879 0,'0'-13'15,"0"39"1,0-12-16,0-1 15,0 0-15,0 0 0,0 1 16,0-1-16,0 0 0,0 0 0,0 0 16,13 1-16,-13-1 0,0 0 15,0 0-15,0 1 0,0-1 16,0 0 0,0-39 30,-13 12-46,13-12 16,0 13 0,0-1-16,13 14 0,-13-13 15,0 0-15,13 0 0,-13 0 16,14 13-16,-1 0 0,0-14 16,40 14-1,-26 0 1,-14 0-16,0 0 0,0 14 0,0-14 15,1 13-15,-14 0 16,0 0 0,0 0-16,-14-13 0,14 14 15,-13-14-15,0 13 0,0-13 16,0 13-16,-1-13 0,1 0 16,0 0-16,0 13 15,-1-26 1</inkml:trace>
  <inkml:trace contextRef="#ctx0" brushRef="#br0" timeOffset="-187388.9">19923 6826 0,'-13'0'15,"0"0"-15,-1 13 16,1 1-16,0-1 16,13 0-16,-13 0 0,13 1 15,0-1-15,0 0 0,0 0 16,0 1-16,13-14 15,-13 13-15,13-13 0,0 13 16,1-13-16,-1 0 0,0 13 16,14-13-1,-1 0-15,-26-13 16,13 13-16,0 0 0,1 0 16</inkml:trace>
  <inkml:trace contextRef="#ctx0" brushRef="#br0" timeOffset="-187093.67">20227 6839 0,'0'0'0,"27"0"31,-14-13-31,0 13 0,1 0 16,-1 0-16,0 0 0,0 0 0,0 0 16,1 0-16,-1 0 0,0-13 15,0 13-15,14 0 16,-14-13-1</inkml:trace>
  <inkml:trace contextRef="#ctx0" brushRef="#br0" timeOffset="-186824.8">20346 6720 0,'27'0'15,"-14"0"-15,0 0 16,1 14-16,-1-14 0,0 0 0,0 13 16,1-13-16,-1 13 0,0-13 15,0 13-15,0-13 0,1 14 0,-1-1 16,0-13-16,-13 13 0,0 0 0,13-13 16,-13 13-16,-13 1 0,13-1 15,-13 0-15,13 0 16,-13 1-16,-1-14 0,1 13 0,0 0 15,0 0-15,0-13 0,-14 14 0</inkml:trace>
  <inkml:trace contextRef="#ctx0" brushRef="#br0" timeOffset="-186080.94">20849 6588 0,'0'0'0,"13"27"47,1-14-47,-1 0 15,0-13-15,-13 13 0,13 1 16,1-1-16,-1-13 0,0 13 16,0-13-16,14 0 15,-14 0-15,0 0 16,0 0-16,1-13 0,-1 13 0,0-13 16,0-1-16,1 1 15,-14 0-15,13 0 16,-13-1-16,-27 28 47,14-1-32,13 0-15,-13 0 0,0 14 0,-1-14 16,14 13-16,-13-12 0,0 12 0,0-13 16,13 1-16,-14-1 0,14 13 0,-13-13 15,13 1-15,-13-1 16,13 0-16,0 0 0,0 1 15,13-14-15</inkml:trace>
  <inkml:trace contextRef="#ctx0" brushRef="#br0" timeOffset="-185748.36">21259 6707 0,'-13'13'16,"13"1"0,0-1-16,-13 0 15,13 0-15,0 14 16,0-14-1,13-13-15,-13 13 0,13 0 16,0 1 0,1-1-16,-1-13 15,0 0-15,0 0 0,1 0 16,-1 0 0,0 0-16</inkml:trace>
  <inkml:trace contextRef="#ctx0" brushRef="#br0" timeOffset="-185584.92">21299 6813 0,'13'-13'31,"0"13"-31,-13-13 0,14 13 16,-1 0-16,0-14 15,0 14-15</inkml:trace>
  <inkml:trace contextRef="#ctx0" brushRef="#br0" timeOffset="-185425.2">21299 6694 0,'-13'0'15,"13"-13"1,13 13-1,0 0-15,0-13 16,1 13-16,-1 0 16,0 0-16,0 0 0,14 0 0</inkml:trace>
  <inkml:trace contextRef="#ctx0" brushRef="#br0" timeOffset="-185125.71">21616 6628 0,'-13'0'16,"-13"13"0,26 0-1,0 1-15,0-1 16,13-13-16,-13 13 0,0 0 0,13 0 16,-13 1-16,13-1 0,-13 0 0,14 0 15,-14 1-15,13-1 0,-13 0 16,0 0-1,-13-13-15,13 13 0,-14-13 16,14 14-16,-13-14 0,0 0 16,0 13-16,0-13 0,-1 0 15,1 0-15,0 13 0,0-13 16,-1 0-16</inkml:trace>
  <inkml:trace contextRef="#ctx0" brushRef="#br0" timeOffset="-184825.63">21947 6641 0,'40'0'32,"-27"0"-32,0 0 0,1 0 15,-1-13-15,0 13 0,13 0 16,-12 0-16,-1-13 15,0 13-15,0 0 0,1 0 16,-14-14-16</inkml:trace>
  <inkml:trace contextRef="#ctx0" brushRef="#br0" timeOffset="-184524.69">22027 6469 0,'26'0'0,"-13"0"0,40 27 16,-40-27 0,1 13-16,-1-13 0,0 13 0,0 0 15,1-13-15,-1 13 0,-13 1 0,13-1 16,-13 0-16,13 0 0,-13 1 15,0-1-15,0 0 0,-13 0 0,13 1 16,-13-1-16,13 13 0,-13-13 16,-1 1-16,1-1 0,13 0 0,-13 0 15,13 1-15,-13-14 0,13 13 16,-14-13-16,14 13 0</inkml:trace>
  <inkml:trace contextRef="#ctx0" brushRef="#br0" timeOffset="-183834.77">22569 6297 0,'53'0'15,"-40"0"1,14 0-16,-1 0 16,14 0-16,-14-13 0,27 13 15,-26 0-15,-14 0 0,0 0 16,0-13-16,0 13 0,1 0 16,-1 0-16,0 0 0,0 0 15,1 0-15,-14 13 16,0 0-1,0 0-15,0 1 0,-14-1 16,14 0-16,-13 0 0,13 0 0,-13 14 16,13-14-16,-13 14 0,13-1 0,-14-13 15,14 1-15,-13 12 0,13-13 16,0 0-16,0 1 0,-13-1 16,13 0-16,0 0 0,0 1 0,0-1 15,0 0 1</inkml:trace>
  <inkml:trace contextRef="#ctx0" brushRef="#br0" timeOffset="-183613.06">22609 6535 0,'0'-13'0,"39"0"16,-25 13 0,25 0-16,-26 0 0,1 0 15,12 0-15,1 0 0,-1 0 0,-13 0 16,14-13-16,-1 13 0,1 0 16,-1 0-16,-13 0 0,14 0 0,-1 0 15,1-14-15,-1 14 0,-13 0 0</inkml:trace>
  <inkml:trace contextRef="#ctx0" brushRef="#br0" timeOffset="-183367.65">23574 6297 0,'-39'13'15,"39"1"1,-14-14-16,1 13 0,13 0 0,-13 0 15,0 0-15,0 1 0,13-1 0,-14 13 16,1-12-16,0 12 0,0-13 16,13 14-16,-14-14 0,1 0 0,13 0 15,-13 14-15,0-14 0,13 0 16,-14 1-16,14-1 16,0 0-16</inkml:trace>
  <inkml:trace contextRef="#ctx0" brushRef="#br0" timeOffset="-183197.11">23283 6443 0,'0'-14'31,"14"1"-16,-1 26 1,0-13-16</inkml:trace>
  <inkml:trace contextRef="#ctx0" brushRef="#br0" timeOffset="-183032.33">23588 6575 0,'13'-13'15,"0"13"32</inkml:trace>
  <inkml:trace contextRef="#ctx0" brushRef="#br0" timeOffset="-170264.93">10332 10001 0,'-13'0'16,"0"0"15,52 0 0,-26 0-31,1 0 0,12 0 0,1 0 16,-1 0-16,1 0 0,-1 0 0,14 0 16,-14 0-16,14 0 0,-14 0 15,1 0-15,-1 0 0,-13 0 0,14 0 16,-14 0-16,0 0 0,1 0 0,-1 0 16</inkml:trace>
  <inkml:trace contextRef="#ctx0" brushRef="#br0" timeOffset="-169977.07">10226 10134 0,'80'0'31,"-67"0"-31,40 0 15,-27-14-15,1 14 0,-1 0 0,14 0 16,-14-13-16,-13 13 0,14 0 16,-1 0-16,-12 0 0,-1 0 0,0-13 15,0 13-15,0 0 0,1 0 16,-1 0-16,0 0 16,0 0-1,1 0-15,-1 0 16</inkml:trace>
  <inkml:trace contextRef="#ctx0" brushRef="#br0" timeOffset="-168789.06">13692 9379 0,'-26'53'15,"26"-26"1,0-1-16,0 1 0,0-1 16,0 14-16,0 0 0,-14-1 15,14 1-15,0-14 0,0 1 0,0-1 16,0 1-16,0-1 0,0 1 0,0-14 15,0 13-15,0-12 0,0-1 16,0 0-16,0 0 0,0 1 0,0-1 16</inkml:trace>
  <inkml:trace contextRef="#ctx0" brushRef="#br0" timeOffset="-167804.76">13652 9247 0,'0'0'0,"40"-13"0,-27 13 0,14 0 0,-1-13 16,1 13-16,26 0 0,-14 0 0,14 0 15,0 0-15,0 0 0,0 0 16,0 0-16,0 0 0,13-13 0,0 13 16,0 0-16,14 0 0,-1 0 0,-13 0 15,14 0-15,-27 0 16,13 0-16,0-14 0,0 14 0,-13 0 16,0 0-16,0 0 0,0-13 0,-14 13 0,1 0 15,0 0-15,-14 0 16,1-13-16,-1 13 0,1 0 0,-14 0 15,13 0-15,1-13 0,-1 13 0,1 0 16,-1 0-16,1-14 0,-1 14 0,-13 0 16,14 0-16,-1-13 15,1 13-15,65-13 16,-79 13-16,14 0 0,-14 0 16,0 0-1,1-13-15,12 13 16,-13 0-16,0 0 15,1 0-15,-1 0 16,0 0-16,0 0 16,1 0-1,-1 0 1,0 0 0,0 0-1,-13 13 1,0 0-16,0 0 15,0 1-15,0-1 0,0 13 16,0-12-16,-13 12 0,13 0 16,-13 1-16,13 13 0,-13-1 0,13 1 15,-14 0-15,14-1 0,-13-12 16,13 12-16,-13 1 0,13-13 0,-13 12 16,13-12-16,0 12 0,-14-12 15,14-1-15,0 1 0,-13-1 0,13 1 16,0-1-16,0 1 0,0-1 0,0 1 15,0-14-15,0 13 0,-13-13 0,13 14 16,0-14-16,0 14 0,0-14 0,0 0 16,13 0-16,-13 1 0,0-1 15,0 0-15,0 0 0,0 0 16,0 1 0,0-1-16,0 0 15,-13-13 16,0 0-31,-14 0 16,14 0-16,-13 0 0,-14 13 16,0-13-16,-66 0 0,27 0 15,0 0-15,-1 14 0,1-14 0,-14 13 16,1-13-16,-14 0 0,13 13 16,-13-13-16,1 13 0,12-13 0,0 0 15,1 14-15,-1-14 0,14 13 16,-14-13-16,27 0 0,13 13 0,0-13 15,14 0-15,12 0 0,1 0 16,-1 0-16,14 0 0,0 0 16</inkml:trace>
  <inkml:trace contextRef="#ctx0" brushRef="#br0" timeOffset="-166389.1">19817 9988 0,'53'0'31,"-26"0"-31,-14 0 0,27 0 15,-14 0-15,27 0 0,0-13 0,0 13 16,0 0-16,13 0 0,-13 0 0,0 0 16,-14 0-16,1 0 0,-13 0 15,-1 0-15,0 0 0,-12 0 0,-1 0 16,0 0-16,0 0 0</inkml:trace>
  <inkml:trace contextRef="#ctx0" brushRef="#br0" timeOffset="-165957.12">19460 10160 0,'0'0'0,"53"13"0,145-26 31,-145 13-31,0 0 15,13 0-15,1-13 0,12 13 0,-26 0 16,13 0-16,-13 0 0,13 0 0,-13-13 16,-13 13-16,-1 0 0,1 0 15,-13 0-15,-1 0 0,-13 0 0,14 0 16,-14 0-16,0 0 0,0 0 0,1 0 16,-1 0-16,-13-14 0,13 14 15,0 0-15,1 0 16,-14-13 46,0 0 1,0 0-48</inkml:trace>
  <inkml:trace contextRef="#ctx0" brushRef="#br0" timeOffset="-162091.08">4286 10583 0,'-26'-13'16,"13"0"30,39 13-14,-13 0-32,0 0 0,1 0 0,-1 0 15,0-13-15,0 13 0,14 0 16,-14 0-16,0 0 0,14 0 16,-14 0-16,0 0 0,14 0 15,-14 0 1,0 0-1,-13 13-15,0 0 16,0 0-16,0 1 0,0-1 16,0 0-16,0 0 15,0 0-15,0 1 0,0-1 0,0 0 16,-13 0-16,13 1 0,0-1 0,0 0 16,0 0-16,0 1 15,0-1 1,13-13-16,-13 13 15</inkml:trace>
  <inkml:trace contextRef="#ctx0" brushRef="#br0" timeOffset="-161865.74">4352 10795 0,'-13'0'15,"26"-26"17,1 26-32,-1-14 0,0 14 0,0-13 15,27 13-15,-27-13 16,0 13-16,14-13 0,-14 13 0,0-14 16,27 14-16,-13-13 15,-14 13-15</inkml:trace>
  <inkml:trace contextRef="#ctx0" brushRef="#br0" timeOffset="-161666.43">4921 10504 0,'0'0'16,"-13"-13"-16,0 39 31,0-13-31,-1 1 16,14-1-16,-13 0 0,13 14 15,-13-14-15,13 0 0,-13 0 0,-1 14 16,14-14-16,-13 0 0,0 0 16,13 1-16,-13 12 0,13-13 15</inkml:trace>
  <inkml:trace contextRef="#ctx0" brushRef="#br0" timeOffset="-161500.83">4577 10623 0,'-13'-13'15,"40"13"17,-1 13-32,-13-13 15</inkml:trace>
  <inkml:trace contextRef="#ctx0" brushRef="#br0" timeOffset="-161356.85">5027 10689 0,'-26'13'16</inkml:trace>
  <inkml:trace contextRef="#ctx0" brushRef="#br0" timeOffset="-156560.65">22000 3043 0,'0'13'47,"13"-13"-31,-13 13-16,0 0 0,14 1 16,-1-1-16,-13 0 15,13 0-15,-13 1 0,13-14 0,-13 13 16,13 0-16,1 0 0,-1-13 15,-13 13-15,13-13 0,0 0 16,1 0-16,-1 0 16</inkml:trace>
  <inkml:trace contextRef="#ctx0" brushRef="#br0" timeOffset="-156364.43">22291 3082 0,'0'-13'16,"-13"13"-16,-14 13 15,27 1-15,-13-14 16,0 26-16,0-13 0,0 1 16,-1-1-16,1 13 0,-13 27 15,12-40-15,1 14 0,13-14 0,-13 14 16,13-14-16,-13 0 0,13 0 16,-14 0-16,14 1 0,0-1 0,0 0 15,0 0-15</inkml:trace>
  <inkml:trace contextRef="#ctx0" brushRef="#br0" timeOffset="-156053.95">22357 3201 0,'0'27'31,"-13"-14"-31,13 0 16,-13 1-16,13 12 16,-13-13-16,13 1 15,0-1-15,0 0 0,-14 0 0,14 0 16,0 1-16,0-1 16,14 0-16,-14 0 15,13-13-15,0 14 16,0-14-16,1 0 15,-1 0-15,0 0 0,0-14 16,0 14-16,1 0 16,-1 0-16,-13-13 0</inkml:trace>
  <inkml:trace contextRef="#ctx0" brushRef="#br0" timeOffset="-155722">22344 3347 0,'-13'-13'0,"26"26"0,0-39 32,1 26-32,-1 0 15,0 0-15,0 0 0,0-14 0,1 14 16,-1 0-16,0-13 0,14 13 16,-27-13-16,13 13 15,0-13-15,-13-1 16,-13 1-1,0 0-15,-1 13 16,14-13-16,-13 13 0,0-14 16,26 1 15,0 13-31,1 0 16,-1 0-16,0 0 0,0 0 15,0 0-15,27 0 16,-13-13-16,-1 13 0,-13 0 15</inkml:trace>
  <inkml:trace contextRef="#ctx0" brushRef="#br0" timeOffset="-155471.14">22794 3149 0,'13'0'15,"-26"0"-15,0 13 47,13 0-47,0 0 16,0 0-16,0 1 0,0-1 15,13 0-15,-13 0 0,0 1 16,0-1-16,13 13 0,-13-12 16,0-1-16,0 0 15,-13 0-15,0 0 16,-1 1-16,1-14 16,13 13-1,-13-13-15,0 0 0</inkml:trace>
  <inkml:trace contextRef="#ctx0" brushRef="#br0" timeOffset="-155246.84">22992 3241 0,'14'-13'0,"-28"26"0,41-26 0,-14 13 16,0-13-16,0 13 15,1 0-15,-1 0 0,0 0 0,0-14 16,14 14-16,-14 0 16,14 0-16,-14 0 0,13 0 15</inkml:trace>
  <inkml:trace contextRef="#ctx0" brushRef="#br0" timeOffset="-154919.06">23191 3082 0,'0'-13'0,"0"26"0,26-13 47,-13 0-47,1 14 15,-1-14-15,0 13 0,0 0 16,1 0-16,-1 1 16,0 12-16,0-13 15,-13 0-15,0 1 0,0-1 16,-13 0-16,13 0 15,-13 1-15,13-1 0,-13 0 16,-1 0-16,14 1 0,-13-14 16,13 13-1</inkml:trace>
  <inkml:trace contextRef="#ctx0" brushRef="#br0" timeOffset="-154472.15">23760 3003 0,'-27'-13'16,"54"26"-16,-67-26 0,13 13 15,14 0-15,0 13 0,0 0 16,0-13-16,-1 13 0,1 1 16,0-1-1,0-13-15,13 13 0,13-13 16,13 0 0,-12 0-1,-1 0-15,0 0 0,0-13 0,0 13 16,1-13-16,-1 13 0,0 0 15,0 0 1,-13 13 0,0 0-16,0 0 15,0 1-15,0-1 0,0 0 16,-13 0-16,13 14 0,0-14 16,-13 0-16,13 0 0,0 1 15,0-1-15,0 0 0,0 0 16,0 1-16</inkml:trace>
  <inkml:trace contextRef="#ctx0" brushRef="#br0" timeOffset="-154124.28">23998 3029 0,'-14'-13'0,"-12"13"16,26 13-1,-13 1-15,0-1 0,-1 0 16,14 14-16,-13-14 0,13 0 16,0 0-16,0 1 0,0-1 0,13-13 15,-13 13-15,14 0 16,-1-13-16,13 13 16,-13-13-16,1 0 15,-1 0-15,0-13 16,0 13-16,-13-13 0,0 0 0,0 0 15,14-1-15,-14 1 0,-14 13 16,14-13-16,0 0 0,-13 13 16,13-14-16,-13 1 0,-14 0 15,14 13-15,0 0 0,-13 13 16,12-13-16,1 0 16,0 13-16,0-13 0</inkml:trace>
  <inkml:trace contextRef="#ctx0" brushRef="#br0" timeOffset="-153884.27">24196 2963 0,'-79'225'141</inkml:trace>
  <inkml:trace contextRef="#ctx0" brushRef="#br0" timeOffset="-153733.65">24117 3056 0,'-13'-13'16</inkml:trace>
  <inkml:trace contextRef="#ctx0" brushRef="#br0" timeOffset="-152708.89">23482 3426 0,'0'0'0,"26"0"16,14 0-1,-14 0-15,14 0 0,-13 0 16,25 0-16,1 0 0,-13-13 0,13 13 16,0 0-16,0 0 0,53-13 15,-53 13-15,-1-13 0,1 13 16,-13-14-16,13 14 0,-13-13 0,-1 0 15,-12 0-15,-1 13 0,14-13 0,-27-1 16,14 1-16,-1 0 16,27-14-16,-40 1 0,14-1 15,-14 14-15,0-13 0,0-1 0,-13 14 16,14-13-16,-14-1 0,0-13 16,-14 1-16,-12-54 0,-1 40 15,1 0-15,-53-39 16,26 39-16,0 0 0,0 13 0,-13-13 15,0 14-15,13-1 0,-106-13 16,80 27-16,-1-1 0,-12 14 16,-1 0-16,-39-1 0,26 14 0,0 0 15,-26 14-15,13-1 0,-146 27 16,133-14-16,13 0 0,-119 54 16,132-27-16,-13 0 0,26-14 15,1 28-15,-1-15 0,14 1 16,26-13-16,0 13 0,13 0 0,14-13 15,-14 52-15,40-52 0,0 0 16,53 65-16,-14-65 16,107 79-16,-67-79 0,14 13 15,13-14-15,0-12 0,13 13 16,0-14-16,0 0 0,0-12 0,0-1 16,79-13-16,-105 0 15,0 0-15,79-13 0,-80-1 16,-12-12-16,-14 13 0,66-27 15,-79 14-15</inkml:trace>
  <inkml:trace contextRef="#ctx0" brushRef="#br0" timeOffset="-152360.41">24262 3149 0</inkml:trace>
  <inkml:trace contextRef="#ctx0" brushRef="#br0" timeOffset="-142032.7">10306 11404 0,'-14'0'15,"41"-14"17,-14 14-32,13 0 0,1 0 15,-1 0-15,1 0 0,26 0 0,-14-13 16,1 13-16,0 0 0,-14 0 15,14 0-15,-14-13 0,14 13 0,-27 0 16,14 0-16,-1 0 0,1 0 16,-14 0-16,40 0 15</inkml:trace>
  <inkml:trace contextRef="#ctx0" brushRef="#br0" timeOffset="-141731.48">10319 11523 0,'13'0'0,"66"13"16,-52-13-16,-1 0 15,1 0-15,12 0 16,-12 0-16,-1 0 0,1 0 0,-1 13 15,1-13-15,-1 0 0,1 0 0,-14 0 16,13 0-16,-12 0 0,-1 0 16,13 0-16,-13 0 0,1 0 15,-1 0-15,0 0 0,0 0 16,1 0-16,-1 0 16,0-13-1,0 13-15,1 0 0,-1 0 16</inkml:trace>
  <inkml:trace contextRef="#ctx0" brushRef="#br0" timeOffset="-140575.61">14248 11443 0,'40'0'15,"-14"0"1,-13 0-16,27 0 0,-14 0 16,27 0-16,0 0 0,0 0 0,0 0 15,13 0-15,-13 0 0,0 0 0,13 0 16,-13 0-16,0 0 0,0-13 16,0 13-16,-14 0 0,1 0 0,-13 0 15,-1 0-15,14 0 0,-14 0 16,-13 0-16,1 0 15,-1 0-15</inkml:trace>
  <inkml:trace contextRef="#ctx0" brushRef="#br0" timeOffset="-140351.91">14552 11523 0,'0'0'0,"13"13"16,1-13-16,-1 13 0,0-13 0,0 0 16,0 0-16,14 0 0,-1 13 0,-12-13 15,52 0-15,-40 0 16,1 0-16,12 0 0,-12 0 0,12 0 16,28 0-16,-28 0 0,14 0 15,-13 0-15,13-13 0,0 13 16,-14-13-16</inkml:trace>
  <inkml:trace contextRef="#ctx0" brushRef="#br0" timeOffset="-139063.14">20320 11390 0,'26'14'0,"1"-14"0,132 0 31,-120 0-31,14 0 0,0 0 16,0 0-16,0 0 0,0 0 0,0 0 16,13 0-16,-13 0 0,0 0 0,0 0 15,-14 0-15,1 0 0,-13 0 16,-1 0-16,-13 13 0,0-13 0,1 0 15,-1 0-15,0 0 0</inkml:trace>
  <inkml:trace contextRef="#ctx0" brushRef="#br0" timeOffset="-138861.02">20717 11562 0,'79'0'0,"-52"0"0,12 0 0,1 0 16,13 0-16,0 0 0,0 0 0,0 0 16,-14 0-16,14 0 0,-13 0 15,0 0-15,-14 0 0,14 0 16</inkml:trace>
  <inkml:trace contextRef="#ctx0" brushRef="#br0" timeOffset="-138652.92">22675 11456 0</inkml:trace>
  <inkml:trace contextRef="#ctx0" brushRef="#br0" timeOffset="-137341.45">3678 12091 0,'53'-13'0,"-106"26"0,145-26 0,-65 13 15,12 0-15,14-13 0,0 13 0,0 0 16,27-13-16,-1 13 0,0 0 0,1-13 16,-1 13-16,14 0 0,79-14 15,-80 14-15,-12-13 0,12 13 16,-12 0-16,12 0 0,-12-13 16,-14 13-16,-13 0 0,0 0 15,0 0-15,13 0 0,-40 0 16,14 13-16,-27-13 0,0 0 15</inkml:trace>
  <inkml:trace contextRef="#ctx0" brushRef="#br0" timeOffset="-137022.6">3664 12435 0,'265'-26'31,"-199"13"-31,14-1 0,-1 14 16,0-13-16,1 13 0,-1-13 0,0 13 16,1-13-16,-1 13 0,-13-13 15,67 13-15,-80 0 0,-1-14 16,28 14-16,-40 0 0,-14 0 15,0 0-15,-12 0 0,12 0 16,-13 14-16,1-14 0,-28 13 31,1-13-15,13 13-16,-13-13 0</inkml:trace>
  <inkml:trace contextRef="#ctx0" brushRef="#br0" timeOffset="-135289.04">7157 3294 0</inkml:trace>
  <inkml:trace contextRef="#ctx0" brushRef="#br0" timeOffset="-133871.71">357 3215 0,'0'26'31,"0"-13"-15,0 1-16,0-1 0,13-13 0,-13 13 15,0 0-15,0 1 0,-13-1 16,13 0-16,0 0 0,0 0 0,0 1 16,0-1-16,0 0 0,0 0 15</inkml:trace>
  <inkml:trace contextRef="#ctx0" brushRef="#br0" timeOffset="-133533.11">516 3294 0,'0'-13'0,"13"26"46,-13 0-46,13-13 0,-13 14 16,14-1-16,-1-13 16,0 0-16,0 13 0,1-13 15,-1 0 1,0-13-16,0 13 16,-13-13-16,0-1 15,0 1 1,-13 13-16,13-13 0,-13 13 0,0-13 15,-1-1-15,1 14 0,0 0 16,13-13-16,-13 13 16,-1 0-16,1 0 15,0-13-15</inkml:trace>
  <inkml:trace contextRef="#ctx0" brushRef="#br0" timeOffset="-133020.91">384 2910 0,'-40'27'0,"80"-54"0,-93 67 0,40-27 0,-1 14 15,-12-1-15,13 1 0,-1-1 16,-25 40-16,25-26 0,1 0 15,-13 39-15,26-39 0,-13-1 16,13-12-16,0 13 0,13-14 16,0 53-16,0-52 0,0-1 15,27 27-15,-13-40 0,-1 14 16,1-14-16,-14-13 0,13 13 16,1 1-16,-1-14 0,1 0 15,-1 0-15,0 0 0,1-14 0,-1 14 0,1-13 16,13 0-16,-14 0 15,40-14-15,-39 14 0,12-40 16,-12 27-16,-14-1 0,0 1 16,27-40-16,-27 39 0,-13 1 15,13-1-15,-13 1 0,14-27 16,-14 26-16,-14-12 0,14-14 16,-13 13-16,0 14 0,0-14 15,-1 27-15,1-14 0,-13 1 16,-1 13-16,14-1 0,-13 1 15,12 0-15,1 0 0,-13 13 16,12 0-16,-12-14 0,0 14 0,12 0 16,-12 14-16,-1-14 0,14 0 15,-13 13-15,12 0 0,-12-13 0,13 13 0,-14-13 16,1 14-16</inkml:trace>
  <inkml:trace contextRef="#ctx0" brushRef="#br0" timeOffset="-132592.86">794 2474 0,'-13'26'31,"-1"-26"-15,14 27-16,0-14 0,-13 0 15,13 14-15,-13-1 0,13-13 0,-13 14 16,13-1-16,0 1 0,-14-14 0,14 13 16,0-12-16,-13-1 0,13 13 0,0-12 15,-13-1-15,13 0 0,0 0 16,-13 1-16,13-1 0</inkml:trace>
  <inkml:trace contextRef="#ctx0" brushRef="#br0" timeOffset="-132254.78">609 2712 0,'0'0'16,"-14"13"0,14 0-1,0 1-15,0-1 16,0 0-16,0 0 16,14 1-16,-14-1 15,13 0-15,0 0 16,0 1-16,-13-1 15,13-13-15,1 13 16,-1-13 0,0 0-16,0-13 15,1 13-15,-1 0 0,-13-13 0,13-1 16,0 1-16,1 13 0,-14-13 16,13 0-16,0-1 0</inkml:trace>
  <inkml:trace contextRef="#ctx0" brushRef="#br0" timeOffset="-131491.16">622 2011 0,'13'13'31,"0"0"-31,0 1 16,-13-1-16,14 0 0,-14 0 16,13 0-16,-13 1 0,13-1 0,-13 0 15,0 0-15,0 1 0,13-1 0,-13 0 16,0 0 0,14 0-16,-28-52 46,14 26-46,14-1 16,-14-12-16,0 13 0,0-1 16,13 1-16,-13 0 0,0-13 0,13 12 15,-13 1-15,13 0 16,-13 0-16,27 13 0,-14 0 16,0 0-1,0 0-15,1 0 0</inkml:trace>
  <inkml:trace contextRef="#ctx0" brushRef="#br0" timeOffset="-131133.41">1019 1984 0,'-14'-13'0,"14"0"0,-13 13 16,-13 13-1,12 0-15,1 1 16,0-1-1,13 0-15,-13-13 0,13 13 0,0 1 16,0-1 0,13 0-16,0-13 15,0 0 1,1-13 0,-1 13-16,-13-13 15,13 13-15,-13-14 0,13 1 16,1 26 31,-1 1-32,-13-1 1,13 0-16,-13 0 16</inkml:trace>
  <inkml:trace contextRef="#ctx0" brushRef="#br0" timeOffset="-130815.99">1111 1971 0,'13'0'16,"1"13"15,-14 1-15,0-1-16,0 0 15,13-13-15,-13 13 16,0-26 31,13 0-47,-13 0 16,13-1-16,1-12 15,-14 13-15,13 13 16,-13-14-16,13 14 0,-13-13 15,13 13-15,1 13 16,-14 1-16</inkml:trace>
  <inkml:trace contextRef="#ctx0" brushRef="#br0" timeOffset="-130560.29">1283 2064 0,'27'-27'0,"-27"14"15,13 13-15,-13-13 0,13 0 16,0-1-16,-13 1 0,14 0 16,-14 0-16,0-1 0,0 1 15,0 0 1,-27 26 0,27 0-16,-13 1 15,13-1-15,-13 0 0,13 0 16,0 1-16,0-1 0,0 0 15,0 0-15,13 1 16,0-1 0</inkml:trace>
  <inkml:trace contextRef="#ctx0" brushRef="#br0" timeOffset="-130313">609 2447 0,'-14'-13'15,"80"-13"1,-39 12-16,13 1 0,52-26 16,-52 25-16,13 1 15,0-13-15,0 12 0,0 1 0,-14 0 16,14 0-16,-13-1 0,0 1 0,26 0 15,-40 13 1,-13-13-16</inkml:trace>
  <inkml:trace contextRef="#ctx0" brushRef="#br0" timeOffset="-129040.89">661 2461 0,'106'-27'31,"-66"14"-31,0 0 0,52-1 16,-52 1-16,0 0 0,-1 13 16,1-13-16,-14 0 0,27-1 15,-39 14-15,12 0 0,-13-13 0,14 13 16,-14 0-16,0-13 15,0 13-15,1 0 16,-1 0-16,0 0 16,0-13-1,1 13 32,-1 0-16,-26-14 313,13 1-281,-14 13 140,1 0 31,13-13-234,-13 13 31,0 0-15,-1 0 15</inkml:trace>
  <inkml:trace contextRef="#ctx0" brushRef="#br0" timeOffset="-126109.93">7197 3188 0,'0'93'0,"0"-80"15,53 146 1,-27-133-1,-13-13-15,14 14 0,-1-1 0,-13-12 16,14-1-16,-14-13 0,14 13 16,-1 0-16,0-13 0,-12 14 0,12-14 15,1 0-15,-1 0 0,-13 0 16,27 0-16,-14 0 0,1 0 0,13-14 16,-1 1-16,1 0 0,0 13 15,26-27-15,-40 14 0,1-13 16,26-1-16,-40 14 0,0 0 15,14-14-15,-14 14 0,0 0 16,0-14-16,0 14 0,1 0 16,-14-13-16,13 12 0,0-12 0,-13 13 0,13-14 15,-13 14-15,0-14 0,0 14 16,0-13-16,0-1 0,0 14 16,0-13-16,-13 12 0,0-25 15,13 12-15,-13 14 0,13 0 0,-14 0 16,1-1-16,13 1 0,-13 0 15,0 0-15,0-1 0,-1 1 0,1 0 16,-13 0-16,12 0 0,-12-1 0,13 1 16,-14 13-16,1-13 0,13 0 15,-14 13-15,1-14 0,12 14 0,-12 0 16,13-13-16,0 13 0,-14 0 0,-13-13 16,27 13-16,-13 0 0,12 0 15,1 0-15,-13 0 0,13 0 16,-1 0-16,-12 0 0,-1 0 15,14 13-15,0-13 0,-14 0 0,14 13 0,-13-13 16,13 14-16,-1-14 0,-12 13 16,13-13-16,-1 0 0,1 13 15,0 0-15,0-13 0,-1 14 16,1-1-16,0-13 16,13 13-16,-13-13 0,0 13 15,-1 0 1,14 1-1,-13-14 1,0 13 0,13 0 31,-13-13-16,13 13 281,13 1-280,-13-1-17</inkml:trace>
  <inkml:trace contextRef="#ctx0" brushRef="#br0" timeOffset="-123289.09">11761 4220 0,'-13'0'16,"26"13"0,0-13-16,0 0 0,0 0 15,14 14-15,-14-14 16,0 0-16,14 0 0,-1 0 0,1 0 15,-1 0-15,1 0 0,-1 0 0,1 0 16,-1 0-16,0-14 0,1 14 16,-1 0-16,1 0 0,-14 0 0,14-13 15,-1 13-15,-13 0 0,14 0 0,-14-13 16,13 13-16,-12 0 0,-1-13 16,0 13-16,0 0 0,0-14 15,1 14-15,-1-13 0,13 0 16,-12 13-16,-14-13 0,13 0 15,0 13-15,-13-14 0,13 1 0,-13 0 16,14 13-16,-14-13 0,0-1 0,13 1 16,-13 0-16,0 0 0,13-1 15,-13 1-15,0 0 0,0 0 16,0 0-16,0-1 0,0-12 16,0 13-1,0-1-15,0 1 0,0 0 0,-13 0 16,13-1-16,0 1 0,-13 0 15,13 0-15,-14 0 16,14-1-16,-13 14 0,13-13 16,-13 0-16,0 13 0,13-13 0,-14 13 15,14-14-15,-26 14 0,26-13 16,-13 13-16,-1-13 0,1 13 16,0 0-16,0-13 0,0 13 15,-1 0-15,-12 0 16,13-14-16,-14 14 0,1 0 15,13 0-15,-1 0 0,-12 0 16,13 0-16,-1-13 0,1 13 0,-13 0 16,12 0-16,1 0 0,0 0 15,-13 0-15,12 0 0,1 0 16,0 0-16,0 13 0,-14-13 16,14 0-16,0 0 0,-1 0 15,1 0-15,0 0 0,0 0 16,-14 14-16,14-14 0,0 0 15,0 0-15,-14 13 0,14-13 0,-13 0 16,12 13-16,1-13 0,-13 13 0,12-13 16,1 14-16,-13-14 15,12 13-15,1-13 0,-26 13 0,25 0 16,1-13-16,0 14 0,0-1 16,-1-13-16,14 13 0,-13-13 0,0 13 15,0 0-15,13 1 0,-14-14 16,1 13-16,13 0 0,-13 0 15,0 1-15,13-1 0,-13-13 0,13 13 16,0 0-16,-14 14 16,14-14-16,-13 0 0,13 14 15,0-14-15,0 0 16,0 0-16,0 1 16,0-1-16,0 0 0,13 0 15,-13 1-15,0-1 16,0 0-16,14-13 15,-14 13-15,0 0 16,0 1-16,13-14 16,-13 13-16,13 0 31,-13 0-15,13-13-16,0 14 15,1-14 16,-1 0-31,13 0 16,-12 13 0,-1-13-1,0 0-15,0 0 16,1 0-16,-1 0 0,0 0 16,0 0-16,14 0 15,-27-13-15,13 13 0,13 0 16,-12 0-1,-1 0-15,0 0 0,0 0 16,1 0-16,-1 0 0,0 0 16,0 0-16,0-14 0,14 14 15,-14 0 1,0 0-16,1 0 16,-1-13-1,0 13 1,-13 13-1,13-13 1,-13 14-16,13-14 16,-13 13-16</inkml:trace>
  <inkml:trace contextRef="#ctx0" brushRef="#br0" timeOffset="-121863.7">8136 3268 0,'13'13'47,"0"-13"-47,1 13 16,-1-13-16,0 13 0,14 1 16,-14-14-16,13 13 15,-13 0-15,27 0 0,-13 0 0,52 27 16,-53-27-16,14 1 0,0 12 15,-1-13-15,14 14 0,-13-14 0,0 13 16,-1-12-16,1-1 16,0 13-16,13-12 0,-14-1 0,28 13 15,-14-13-15,13 1 0,-13 12 0,13-13 16,-13 1-16,0 12 0,-1-13 16,15 1-16,25 12 0,-26 0 15,-26-26-15,79 40 0,-66-27 16,-13-13-16,52 27 0,-39-14 15,-13 0-15,0 1 0,-1-1 16,1 0-16,0-13 0,-14 13 0,1 0 16,12-13-16,-25 14 0,12-14 15,0 13-15,1 0 0,-1-13 16,-12 13-16,12-13 0,-13 0 0,1 14 16,-1-14-16,0 0 0,0 0 0,0 13 15,1-13-15,-1 0 16,0 13-1,0-13 1,-39-13 47,13 0-48</inkml:trace>
  <inkml:trace contextRef="#ctx0" brushRef="#br0" timeOffset="-121469.02">10411 3876 0,'14'13'63,"-1"1"-63,0-1 15,0 0-15,1 0 16,-1 1-16,13-1 0,-13 0 0,1 0 16,-1 0-16,13 1 0,-12-1 0,-1-13 15,0 13-15,0 0 0,0 1 16,1-1-16,-1-13 0,0 13 0,0 0 15,1 1-15,-1-1 16,-13 0-16,13-13 0,-13 13 16,0 0-16,0 1 15,0-1-15,-13 0 0,-14 14 16,1-14-16,-1 13 16,1-13-16,-14 1 0,14-1 0,-1 0 15,1 0-15,0-13 0,-1 14 0,-13-14 16,14 0-16,-27 0 0,0-14 0</inkml:trace>
  <inkml:trace contextRef="#ctx0" brushRef="#br0" timeOffset="-119701.03">8387 3281 0,'-26'0'15,"13"-13"1,-1 13 0,1 0-16,0 0 15,0-14-15,-1 14 16,-12 0-1,26-13-15,-13 13 16,0 0-16,-1 0 16,1-13-16,0 13 15,0 0-15,-1 0 16,1 0-16,0 0 16,0 0-16,-1 0 15,1 0 1,0 0-1,0 0 1,0 0 31,13 13-31,0 0-1,0 1 1,0-1-1,13 0-15,0 0 16,-13 1-16,13-1 0,-13 0 16,13 0-16,-13 0 0,14 14 0,-1-14 15,-13 0-15,13 1 0,0-1 16,-13 0-16,14 0 0,-14 0 0,13 1 16,0-1-16,-13 0 0,13-13 15,-13 13-15,14 1 16,-14-1-16,13-13 15,-13 13-15,13 0 32,-26-26 77,13 0-93,0 0-16,-13-1 15,13 1-15,0 0 16,-14 0-16,14-1 0,-13 1 16,13 0-16,0 0 0,-13 0 0,13-1 15,0 1-15,-13 0 0,13 0 16,-14-1-16,14 1 0,-13 0 15,13 0-15,0 0 0,-13-1 16,13 1-16,0 0 16,-13 13-1,13-13-15,0-1 16,-14 1 15,14 0 47,-13 13-31,40-13 31,-14 26-62,0-13-16,0 0 16,1 0-16,-1 0 15,0 13-15,0-13 0,1 0 16,-1 0-16,13 0 0,-13 0 15,1 0-15,-1 0 0,-13 13 0,13-13 16,0 0-16,1 0 16,-1 0-16,0 0 15,0 0 1,1 0 15,-14 14 0</inkml:trace>
  <inkml:trace contextRef="#ctx0" brushRef="#br0" timeOffset="-117692.2">22688 6959 0,'93'-14'0,"-67"14"0,14-13 16,-1 13-16,14-13 0,0 13 15,-13 0-15,13-13 0,40 13 16,-54-14-16,1 14 0,0 0 16,-14 0-16,0 0 0,27-13 15,-39 13-15,12 0 0,-13 0 16,1 0-16,-41 13 31,1-13-31,12 14 0</inkml:trace>
  <inkml:trace contextRef="#ctx0" brushRef="#br0" timeOffset="-117359.05">22807 7025 0,'-26'0'0,"12"0"31,54 13-16,-27-13-15,14 0 0,-1 0 0,14 0 16,13 0-16,0 13 0,-14-13 16,14 0-16,0 0 0,-13 0 15,0 0-15,-1 0 0,-12 0 0,12 0 0,-12 0 16,-1 0-16,14 0 16,-13 0-16,-1 0 15,-13 0-15,0 0 0,1 0 16,-1 0-16,0 0 0,0 0 15,1 0 1,-1 0 0,0 0-1,0 0 17</inkml:trace>
  <inkml:trace contextRef="#ctx0" brushRef="#br0" timeOffset="-110637.08">11800 8083 0,'-13'-13'31,"13"0"-15,-13 13-1,0-14 1,0 1 15,13 0-31,-14 13 0,14-13 16,-13 13-16,13-14 0,-13 14 0,0-13 15,-1 13-15,14-13 0,-13 0 16,0 0-16,-14 13 0,14-14 16,0 1-16,0 13 0,0-13 0,-14 13 15,14-13-15,0 13 0,-14-14 0,14 14 16,0-13-16,-14 13 0,-12 0 16,25 0-16,-12 0 0,13 0 0,-14 13 15,14-13-15,-14 14 0,1-14 0,13 13 16,-14 0-16,14 0 15,-13 1-15,12-1 0,1 0 0,-13 0 16,12 0-16,1 1 0,0-1 0,0 13 16,0-12-16,-1-1 0,14 13 0,-13-13 15,0 1-15,13 12 0,0-13 16,-13 14-16,13-14 0,0 0 0,0 14 16,0-14-16,0 13 0,0-12 0,0-1 15,13 13-15,-13-12 16,0 12-16,13-13 0,-13 1 0,13-1 0,1 0 15,-14 0-15,13 0 0,0 1 16,0-1-16,0 0 0,14 0 16,-14 1-16,0-14 0,14 13 15,-14-13-15,0 13 0,1-13 0,-1 0 16,0 0-16,13 0 0,-12 13 0,-1-13 16,0 0-16,0 0 0,1 0 15,-1 0-15,0 0 0,0 0 0,1 0 16,-1 0-16,0 0 0,0 0 0,14 0 15,-27-13-15,13 13 0,0 0 16,0 0-16,1-13 0,-1 13 16,0 0-16,-13-13 0,13 13 0,1-14 15,-1 14-15,0-13 0,-13 0 0,13 13 16,0-13-16,-13-1 0,14 14 16,-1-13-16,-13 0 0,13 13 15,-13-13-15,13 0 0,1 13 0,-14-14 16,0 1-16,13 13 0,-13-13 15,13 0-15,0-1 0,-13 1 16,0 0-16,14 13 0,-14-13 16,13-1-16,-13 1 0,13 0 15,-13 0-15,13 0 0,-13-1 16,13 1-16,-13 0 0,0 0 16,14-1-16,-14 1 15,13 13-15,-13-13 16,0 0-16,0-1 15,13 14-15,-13-13 16,0 0-16,0 0 16,0 0-16,0-1 15,0 1 1,0 0-16,0 0 16,0-1-1,0 1 1,-13 0-1,13 0 1,-13 13 15,-1-13 1,1 13 139,40 13 126,-14-13-281,0 0-16,0 0 16,1 0-16</inkml:trace>
  <inkml:trace contextRef="#ctx0" brushRef="#br0" timeOffset="-109044.45">12938 8043 0,'-13'-13'31,"13"0"-31,-13 13 16,-1-13-16,1 13 16,0-14-16,0 1 0,-14 13 15,14-13-15,0 13 0,0-13 0,-14 13 16,14 0-16,-14-13 0,14 13 15,-13 0-15,13-14 0,-14 14 16,1 0-16,12 0 0,-12-13 0,13 13 16,-1 0-16,-12 13 0,13-13 0,-14 0 15,14 0-15,0 0 0,-14 14 16,14-14-16,-13 0 0,12 13 0,1-13 16,-13 13-16,13-13 0,-1 13 0,1-13 15,0 13-15,0-13 0,-1 14 0,1-1 16,0-13-16,0 13 15,0-13-15,-1 13 0,1 1 0,0-1 16,0 0-16,13 0 0,-14 0 16,1 1-16,13-1 0,-13 0 15,13 0-15,-13 1 0,-1 25 16,14-25-16,-13-1 0,13 13 0,0-13 16,-13 1-16,13-1 0,0 13 15,0-12-15,0 12 0,-13 1 16,13-14-16,0 13 0,0-13 0,13 1 15,-13 12-15,0-13 0,0 1 0,13-1 16,-13 13-16,0-13 0,13 1 16,-13-1-16,14 0 0,-14 0 15,13 1-15,-13-1 0,13-13 0,0 13 0,-13 0 16,14-13-16,-1 14 16,0-14-16,-13 13 0,13-13 0,1 13 15,-1-13-15,13 13 0,-13-13 16,1 0-16,25 0 0,-25 0 15,-1 0-15,0-13 0,13 13 16,-12 0-16,25 0 0,-25-13 16,12 13-16,-13-13 0,1 13 15,12 0-15,-13-14 0,14 14 0,-14-13 16,13 0-16,-12 13 0,-1-13 16,13 13-16,-12-14 0,-1 14 0,0-13 15,13 0-15,-12 13 0,-1-13 0,13-1 16,-12 1-16,12 0 15,-26 0-15,13 0 0,14-1 16,-27 1-16,13 13 0,0-13 16,-13 0-16,13 13 0,1-14 0,-14 1 15,13 0-15,0 0 16,-13 0-16,13 13 0,-13-14 16,14 1-16,-1 0 0,-13 0 0,13-1 15,-13 1 1,13 0-16,-13 0 0,14-1 0,-14 1 15,0 0-15,13 0 16,-13 0-16,0-1 0,0 1 0,0 0 16,0 0-16,0-1 15,0 1-15,0 0 0,0 0 16,-13-1-16,-1 1 0,14 0 16,-13 0-16,0 0 0,0-1 15,-1 14-15,1-13 16,0 13-16,0-13 0,-1 13 0,1 0 15,0-13-15,0 13 0,0 0 0,-14 0 16,14 0 0,0 0-16,-1 0 0,1 13 0,0-13 15</inkml:trace>
  <inkml:trace contextRef="#ctx0" brushRef="#br0" timeOffset="-107919.96">4657 8202 0,'0'-26'31,"-14"52"0,14-13-31,0 14 0,0-14 16,-13 0-16,13 14 0,0-14 0,0 13 15,0-12-15,-13 12 0,13-13 0,0 1 16,0 12-16,0-13 16,0 0-16,0 1 0,13-1 15,-13 0-15,13-39 32,-13 12-17,0 1-15,0-13 0,0-14 16,14 14-16,-14-1 0,0 1 0,0-1 15,13 1-15,-13-1 0,0 1 16,13 13-16,-13-14 0,13 14 0,1-14 16,-1 14-16,0 13 15,0 0 1,0 13-16,1-13 16,-14 14-16,13-1 0,-13 0 0,13 0 15,0 1-15,-13 12 0,14-13 0,-14 1 16,13 12-16,-13-13 0,13 0 15,-13 14-15,0-14 0,13 0 0,-13 1 16,0-1-16,0 0 0,0 0 0,14 1 16,-14-1-16</inkml:trace>
  <inkml:trace contextRef="#ctx0" brushRef="#br0" timeOffset="-107721.95">4617 8374 0,'13'-13'31,"0"13"-31,1 0 16,-1 0-16,0 0 0,0-13 0,1 13 15,-1 0-15,0 0 0,13-14 0,-12 14 16,12 0-16,-13-13 0</inkml:trace>
  <inkml:trace contextRef="#ctx0" brushRef="#br0" timeOffset="-106870.97">5133 8189 0,'-40'0'15,"40"13"1,-13 0-16,0 1 0,0-1 16,13 0-16,0 0 0,-14 0 15,14 1-15,0-1 0,0 0 0,0 0 16,0 1-16,0-1 0,14 0 16,-1 0-16,0-13 0,-13 14 15,13-14-15,0 0 0,1-14 0,-1 14 16,0 0-16,0-13 0,14 13 15,-14-13-15,0-27 0,1 27 16,-1 0-16,0-27 0,0 14 16,-13-1-16,13-13 15,-13 27-15,0-13 0,0 12 16,0 1-16,0 0 0,0 0 16,0 0-16,0-1 0,-13 28 46,13-1-46,0 0 0,0 0 0,0 14 16,0-14-16,0 13 0,13 1 16,-13-14-16,14 14 15,-1-14-15,-13 0 16,26 13-16,-12-26 16,-1 14-16,0-14 0,0 0 0,1 0 15,-1 0-15,0-14 16,0 14-16,0-13 15,1 0-15,-1 0 16,0 0-16,-13-1 16,13 14-1,-13-13-15,14 13 16,-1 13 15,0 1-15,0-1-1,14-13 48,-27-13-63,13 13 31,-13 13-15,13-13-1,0 0 1,1 0 0,-1 0-1,0 0 1,-13-13 0,13 13-16</inkml:trace>
  <inkml:trace contextRef="#ctx0" brushRef="#br0" timeOffset="-106628.11">5186 8189 0,'0'-13'16,"26"-1"-1,-12 14-15,-1 0 0,13 0 16,-13-13-16,1 13 0,12 0 16,-13 0-16,14 0 0</inkml:trace>
  <inkml:trace contextRef="#ctx0" brushRef="#br0" timeOffset="-106055.5">5861 8109 0,'-14'-13'0,"1"13"15,0 0 1,0 0-16,13 13 0,-14-13 0,1 0 16,0 14-16,0-1 15,-1 0-15,14 0 16,0 1 0,0-1-16,0 0 15,14-13 1,-1 0-16,0 0 15,0 0 1,1 0 0,-1 0-1,0-13 1,0 13-16,1 0 16,91-106 30,-91 93-46,-14 0 0,13-14 16,0 1-16,-13-1 16,13 14-1,-26 53 17,13-27-32,0 27 15,0-1 1,0-26-16,13 1 15,-13-1-15,0 13 0,13-12 16,-13-1-16,14-13 16,-14 13-16</inkml:trace>
  <inkml:trace contextRef="#ctx0" brushRef="#br0" timeOffset="-105624.99">6284 7964 0,'-13'13'0,"13"0"15,-14 27 16,28-40-31,-14 13 0,13-13 0,13 14 16,-12-14-16,-1 0 16,0 0-16,13 0 0,-12 0 0,25 0 15,-25-14-15,12 1 16,1 0-16,-14 0 16,0 13-16,-13-14 15,-13 41 1,0-14-1,-14 27-15,14-27 16,0 0-16,-1 14 16,1-14-16,-13 27 15,12-27-15,1 0 0,0 14 0,13-14 16,0 0-16,0 0 0,13 0 16,0-13-1</inkml:trace>
  <inkml:trace contextRef="#ctx0" brushRef="#br0" timeOffset="-105068.27">6588 8202 0,'40'-26'16,"-27"12"-16,-13 1 15,13 0-15,1 0 0,-14-1 16,13 1-16,-13 0 16,-13 0-1,-1 13 1,1 13-16,0 0 16,0 0-1,-1 1-15,14-1 0,-13 0 16,13 0-16,-13 14 15,26-14-15,14 0 16,-14-13-16,40-13 16,-14 0-1,-12 0-15,-14-1 16,27-12-16,-27 26 16,-13-13-16,0-1 0,13 14 15,-13-13-15,13 0 16,-13 39 15,0-12-15,0-1-1,0 0-15,0 0 0,0 14 16,-13-14-16,13 0 16,0 1-16,-13-1 15,-13 13 1,12-13-16,-12 1 15,13-1-15,-1-13 0,1 13 16,-13 0-16</inkml:trace>
  <inkml:trace contextRef="#ctx0" brushRef="#br0" timeOffset="-104704.89">4710 8811 0,'0'-14'16,"0"28"-16,26-41 16,0 27-16,54-13 15,-1 0-15,80-14 0,26 1 16,-52 13-16,158-14 15,0 14 1,-14-14-16,-12 14 0,-27 0 16,-132 13-16,238-13 15,-291-1-15,0 14 16,-27 0-16,27 0 16,-40 0-16,14 0 0,-27-13 15,13 13-15,-66-13 16,27 13-1,-1 0-15,-26 13 16</inkml:trace>
  <inkml:trace contextRef="#ctx0" brushRef="#br0" timeOffset="-102532.93">5199 8956 0,'0'0'0,"-13"-13"16,0 13 0,-1 0-16,1 0 15,0 13-15,13 0 0,-13-13 0,-1 14 16,14-1-16,-13 13 0,13-12 0,-13-1 16,13 13-16,-13-13 15,13 1-15,13 12 16,-13-13-16,0 1 0,13-1 0,-13 0 15,13 0-15,1 1 16,-1-14-16,0 13 0,0-13 16,1 0-16,-1 0 0,0 0 15,0-13-15,1 13 0,-1-14 16,-13 1-16,13 0 0,-13-14 16,0 14-16,0 0 0,0-14 15,0 14-15,0-13 0,-13 13 0,0-14 16,-1 14-16,14-14 15,-13 14-15,0 13 0,0-13 0,-1 0 16,1-1-16,0 14 16,0 0-16,-14 0 15,14 14 1,13-1 0,13 0-16,-13 0 15,13-13-15,-13 14 0,14-14 16,-1 13-16,0 0 0,0 0 15,1-13-15,-1 0 0,0 14 16,0-1-16,1 0 0,-1-13 16,0 13-16,0-13 0,0 13 15,14 14-15,-14-27 0,0 13 16,1 0-16,-1 1 16,0-14-1,-13 13-15,13-13 0,-13 13 16,14-13-1,-1-13 1,-13 0 0,13-1-16,-13 1 0,0 0 15,0 0-15,0-1 0,0 1 0,13 0 16,-13 0-16,0 0 16,0-1-16,0 1 0,0 0 15,0 0-15,0-1 16,0 1-1,13 0 17,1 26-1,-14 0-15,13 1-1,-13-1-15,13-13 16,-13 13-16,13 0 15,-13 1-15,14-14 0,-14 13 16,13 0-16,-13 0 16,13-13-16,-13 13 15,13 1-15,0-14 16,-13 13 0,14-13-16,-1 13 31,0-26-16,-13 0-15,0-1 16,0 1-16,0 0 16,0 0-16,0 0 15,0-1-15,0 1 16,0 0-16,0 0 16,0-1-1,13 1 16,1 13-31,-1 0 16,0 0-16,-13-13 16,13 13-16,1-13 0,-1 13 15,-13-14 1,0 1 0,-13 13-1,-1 13 1,14 1-1,0-1 1,0 0-16,0 0 16,14 1-16,-1-1 15,0-13 1,0 0 0,0 0-16,1 0 15,-1 0-15,-13 13 16,13-13-16,0 13 15,-13 1 1,0-1-16,14 0 16,-14 0-1,0 0 1,0-39 31,13 13-47,-13 0 15,13-1-15,0 1 0,-13 0 16,14 13-16,-1 0 16,-13-13-16,13 13 0,0 0 15,0 0-15,1 0 0</inkml:trace>
  <inkml:trace contextRef="#ctx0" brushRef="#br0" timeOffset="-101756.36">6178 8943 0,'-26'0'31,"-1"0"-31,14 0 0,0 0 16,-1 13-16,1-13 16,0 13-16,0-13 0,-1 14 15,1-1-15,0-13 0,13 13 0,-13 0 16,13 1-16,-13-14 0,13 13 16,0 0-16,13 0 15,0-13 1,0 0-16,0 0 15,1 0-15,-1 0 16,0 0 0,0 0-1,-13 13 1,14-13-16,-1 0 16,13 0-1,-12-13 1,-14 0-16,13 13 0,-13-13 0,13 0 15,-13-1-15,13-12 16,-13 13-16,13-1 0,-13-12 16,0 13-16,0-1 0,14 1 15,-14 0-15,0 0 0,0 0 0,0-1 16,-14 41 15,14-14-31,0 0 16,-13 0-16,13 14 0,0-14 0,0 0 15,0 1-15,0-1 0,13 0 0,-13 0 16,0 1-16,14-14 0,-14 13 16,13-13-16,0 0 0,0 0 15,1-13-15,-1 13 0,0-14 16,0 1-16,27-13 0,-27-1 16,-13 14-16,13 0 0,1 13 15,-14-14-15,13 1 0,0 26 31,-13 1-31,-13-14 16,13 13-16,0 13 16,0-12-16,0-1 0,0 0 0,0 0 15,0 1-15,13-1 0,0 0 16,-13 0-16,14-13 0,12 13 16</inkml:trace>
  <inkml:trace contextRef="#ctx0" brushRef="#br0" timeOffset="-101268.95">6548 8877 0,'-13'26'16,"13"-13"0,13 1-1,1-1-15,-1-13 16,0 0-16,0 0 0,1 0 0,25-13 15,-25 13-15,-1-14 16,26 1-16,-25 0 0,-1 13 16,0-26-16,0 26 0,-13-14 15,14 1-15,-28 26 32,14 1-17,-13-1-15,0 0 0,13 13 16,-13-12-16,-1 12 0,1-13 15,0 14-15,0-1 0,0 1 16,-1-1-16,14-13 0,-13 14 16,13-14-16,-13 0 15,26 1-15,-13-1 16</inkml:trace>
  <inkml:trace contextRef="#ctx0" brushRef="#br0" timeOffset="-100940.6">6892 9009 0,'-13'0'16,"0"13"-1,13 1 1,-13-1-16,13 0 16,0 0-16,0 0 15,0 27 17,0-27-32,13 1 0,0-14 15,0 13 1,14-13-16,-1 0 15,-12-13 1,-1 13-16</inkml:trace>
  <inkml:trace contextRef="#ctx0" brushRef="#br0" timeOffset="-100681.86">6906 9102 0,'-14'-14'0,"41"1"16,-14 13-16,0-13 16,1 13-16,-1-13 15,0 13-15,-13-13 16,13-1 0,-26 1-1,13 0 1,0 0-1,13-1 1,0 14 0,1-13-16</inkml:trace>
  <inkml:trace contextRef="#ctx0" brushRef="#br0" timeOffset="-100441.62">7210 9009 0,'26'27'16,"-52"-54"-16,52 67 15,-12-40-15,-14 13 0,13 0 16,-26 0-16,-1 1 16,1-1-1,-13 0-15,12-13 0,-12 13 0,13 1 16,-14-1-16,1-13 0,-1 13 0,-26 0 15,27-13-15,0 14 0,-1-14 16,1 0-16</inkml:trace>
  <inkml:trace contextRef="#ctx0" brushRef="#br0" timeOffset="-99426.96">11853 3096 0,'-13'0'32</inkml:trace>
  <inkml:trace contextRef="#ctx0" brushRef="#br0" timeOffset="-96849.53">12343 4194 0,'-27'13'15,"14"-26"48</inkml:trace>
</inkml:ink>
</file>

<file path=ppt/ink/ink30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2:35:17.689"/>
    </inkml:context>
    <inkml:brush xml:id="br0">
      <inkml:brushProperty name="width" value="0.05292" units="cm"/>
      <inkml:brushProperty name="height" value="0.05292" units="cm"/>
      <inkml:brushProperty name="color" value="#0070C0"/>
    </inkml:brush>
  </inkml:definitions>
  <inkml:trace contextRef="#ctx0" brushRef="#br0">5728 1283 0,'-26'0'0,"65"0"16,-25 0 0,25 0-16,1 0 0,13 0 0,0-13 15,13 13-15,0 0 0,14-13 0,-1 13 16,0-13-16,-13 13 16,14-14-16,-1 14 0,-26 0 0,0-13 15,13 13-15,-26 0 0,13-13 0,-14 13 0,1 0 16,-13 0-16,-1 0 0,1 13 15,-14-13-15,0 0 0,-13 13 16</inkml:trace>
  <inkml:trace contextRef="#ctx0" brushRef="#br0" timeOffset="279.88">5834 1508 0,'0'0'0,"27"0"0,-1 0 0,0 0 0,1 0 16,26-13-16,0 13 0,0-13 15,13 13-15,0-14 0,13 14 16,-13-13-16,1 13 0,-1-13 0,-13 13 16,0 0-16,0-13 0,-1 13 0,1 0 15,0-13-15,-13 13 0,0 0 0,-14 0 16,1-14-16,-14 14 0,0 0 15,13 0-15,-12 0 0,-1 0 16,0 0-16,0 0 0</inkml:trace>
  <inkml:trace contextRef="#ctx0" brushRef="#br0" timeOffset="1693.83">2434 4683 0,'0'-13'0,"0"0"0,0-1 31,0 54 0,0-27-31,0 1 0,0 12 16,0-13-16,0 14 0,0-14 15,0 13-15,-13-12 0,13 12 0,0-13 16,0 14-16,0-14 0,-13 13 0,13-12 16,0-1-16,0 0 0,0 0 15,0 1-15,0-1 16,0 0 0</inkml:trace>
  <inkml:trace contextRef="#ctx0" brushRef="#br0" timeOffset="2093.44">2633 4749 0,'0'-13'31,"-14"39"-15,1-12-16,13-1 15,0 0-15,0 0 0,0 1 0,0 12 16,0-13-16,0 1 0,13 12 0,-13-13 16,14 0-16,-1 1 0,-13-1 0,13-13 15,0 13-15,1-13 0,-1 13 16,13-13-16,-13 0 0,1-13 16,-1 13-16,0 0 0,0-13 0,1 13 0,-1-13 15,0 13-15,0-14 16,-13 1-16,14 0 0,-14 0 0,0 0 15,13-1-15,-26 1 0,13 0 0,0 0 16,0-1-16,-14 1 0,1 13 0,0-13 16,0 0-16,-14-1 15,14 14-15,0 0 0,-1 0 16,1 0-16,0 0 0,0 0 0,0 0 0,-1 14 16,1-14-16,0 13 15,13 0 1</inkml:trace>
  <inkml:trace contextRef="#ctx0" brushRef="#br0" timeOffset="2447.9">2844 4749 0,'14'0'0,"-14"13"31,0 1-31,0-1 16,0 0-16,0 0 0,13 1 15,-13-1-15,13 0 0,0 0 16,0 1 0,1-14-16,-1 13 0,0-13 0,0 0 15,1 0-15,-1 0 0,0-13 16,13 13-16,-26-14 0,14 14 16,-1-13-16,0 0 15,-13 0-15,0-1 0,0 1 16,0 0-16,-13 0 0,13-1 0,-13 1 15,-1 13-15,1-13 0,0 0 16,0 13-16,13-13 0,-13 13 0,-14 0 16,14 0-16,0 0 0,-1 0 0,1 13 15,0 0-15,-13-13 0,12 13 0,1 0 16,0 1-16,13-1 0,-13 0 16,13 0-16</inkml:trace>
  <inkml:trace contextRef="#ctx0" brushRef="#br0" timeOffset="2687.72">3360 4617 0,'13'-13'31,"1"39"-15,-28-26-16,14 13 0,0 1 0,-13 12 15,13-13-15,-13 14 0,13-1 16,-13-13-16,0 14 0,-1-1 16,1 14-16,0 0 0,13-27 15,-13 0-15,13 0 0,-14 1 0,14-1 16,0 0-16,-13-13 16</inkml:trace>
  <inkml:trace contextRef="#ctx0" brushRef="#br0" timeOffset="2847.99">3149 4749 0,'-14'-13'31</inkml:trace>
  <inkml:trace contextRef="#ctx0" brushRef="#br0" timeOffset="2988.41">3440 4802 0,'0'0'0,"-27"13"31</inkml:trace>
  <inkml:trace contextRef="#ctx0" brushRef="#br0" timeOffset="19004.49">10160 2461 0,'-13'-14'94,"0"14"-78,-1-13-1,-12 13 1,13-13-16,-1 13 15,-12 0-15,13-13 16,-1 13-16,-12 0 0,13 0 0,0 0 16,-14-14-16,14 14 0,-14 0 0,14 0 15,-13 0-15,-1 0 0,14 14 16,-13-14-16,-1 0 0,14 13 0,-14-13 16,1 13-16,0-13 0,12 13 15,-25 1-15,25-1 0,-12 0 16,13 0-16,-14 14 0,14-14 0,0 0 15,0 0-15,-1 14 0,1-14 0,0 14 16,0-14-16,13 13 0,-14-12 16,14-1-16,0 13 0,0-13 0,0 1 15,0 12-15,14-13 0,-14 14 16,0-14-16,13 14 0,-13-14 0,13 13 16,0-13-16,1 14 0,-14-14 0,13 14 15,0-14-15,0 0 0,0 0 0,14 0 16,-14 1-16,0-1 15,1 0-15,-1-13 0,0 13 0,14-13 16,-14 14-16,13-14 0,1 13 0,-1-13 16,14 0-16,-14 0 0,1 0 15,-1 0-15,14 0 0,-14-13 0,1 13 16,12 0-16,-12-14 0,-1 14 0,1 0 16,-1-13-16,1 13 0,12 0 15,-12-13-15,26 13 16,-40-13-16,14 13 0,12-14 0,-12 14 15,-1-13-15,14 0 0,-27 13 16,14-13-16,-14 13 0,0-13 16,0 13-16,14-14 0,-14 14 15,0-13-15,0 0 0,1 13 0,-1-13 16,0 13-16,0-14 0,0 1 16,1 0-16,-1 0 0,-13 0 15,13 13-15,-13-14 0,0 1 0,13 0 16,-13 0-16,0-1 0,0 1 15,0 0-15,0 0 0,0-1 16,0 1-16,0 0 0,0 0 0,0 0 16,0-1-16,-13 1 0,13 0 15,0 0-15,-13-14 16,0 14-16,-1 0 16,14-1-16,-13 1 0,0 13 0,0-13 15,13 0-15,-13 0 0,-1 13 16,1-14-16,13 1 0,-13 13 0,-80-53 31,67 40-31,13 0 16,-1 13-16,-12-14 15,13 14-15,-1-13 0,-12 13 0,0 0 16,12-13-16,-12 13 0,-1 0 0,-26 0 16,27-13-16,-14 13 15,14 0-15,-1 0 0,-12 0 0,12 0 0,1 13 16,-14-13-16,14 0 0,-14 13 15,13 0-15,14-13 0,-13 14 0,-1-1 16,14 0-16</inkml:trace>
  <inkml:trace contextRef="#ctx0" brushRef="#br0" timeOffset="20643.78">10186 3678 0,'-13'0'15,"13"-14"-15,-13 14 0,0-13 16,0 13 0,13-13-16,-14 13 0,1-13 0,0 13 15,0-13-15,-27-1 16,40 1-16,-27 13 15,14-13-15,0 13 0,13-13 16,-13 13-16,0 0 0,-1-14 0,1 14 16,0 0-16,0 0 0,-1-13 15,1 13-15,0 0 0,0 0 0,-1 0 16,1 0-16,0 0 0,0 0 16,0 0-16,-1 0 0,1 0 15,0 0-15,0 0 0,-1 13 0,-12-13 16,13 0-16,0 14 0,-1-1 0,-12-13 15,13 13-15,-14 0 0,14 1 0,-14-1 16,1 13-16,0-13 16,12 1-16,1-1 0,0 13 0,-14-12 15,14-1-15,0 0 0,0 14 16,-1-14-16,1 13 0,13-13 16,-13 14-16,0-14 0,0 14 0,13-14 15,0 13-15,-14-12 0,14 12 0,0-13 16,0 0-16,0 1 0,0-1 15,0 13-15,0-12 0,0-1 0,0 0 16,14 0-16,-14 1 0,13-1 0,-13 0 16,13 13-16,-13-12 0,26 12 15,-12 1-15,-1-14 16,0 0-16,14 0 0,-14 0 0,0 1 16,0-1-16,14 0 0,-14 0 15,0 1-15,0-14 0,14 13 0,-14-13 16,0 13-16,14 0 0,-14-13 0,0 14 15,14-14-15,-14 0 0,13 13 16,-12-13-16,25 13 0,-12-13 16,-1 0-16,-13 0 0,14 13 15,-1-13-15,-12 0 0,12 0 0,-13 0 16,14 0-16,-14 0 0,13 0 16,-12 0-16,-1 0 0,13 0 0,-12 0 15,-1 0-15,0 0 0,14 0 0,-14 0 16,0-13-16,0 13 0,0 0 15,1 0-15,-1 0 0,0 0 0,0-13 16,1 13-16,-1 0 0,0 0 0,0 0 16,1-13-16,-1 13 0,0 0 0,0 0 15,0-14-15,1 14 0,-1-13 16,0 13-16,0-13 16,1 13-16,-1 0 0,0-13 15,0-1-15,1 14 16,-1-13-16,0 0 15,0 13-15,-13-13 0,13 13 0,1-14 16,-1 1-16,0 0 16,0 0-16,-13 0 15,14 13-15,-14-14 0,13 1 0,-13 0 16,13 13-16,-13-13 16,0-1-16,13 1 0,-13 0 15,0 0-15,0-14 16,0 14-16,0-13 0,0 12 15,0 1-15,0 0 0,0-14 0,-13 14 16,13-13-16,0 13 0,-13-40 16,0 39-16,-1-12 0,1-1 15,0 1-15,0 0 0,-1 12 0,1-12 16,0 13-16,0-14 0,-14 14 16,14 0-16,0-1 0,-14-12 0,1 13 15,13 0-15,-14-1 0,1 1 0,-14 13 16,0-13-16,1 0 0,12 13 0,-12 0 15,12 0-15,-13 0 0,1 0 16,-1 0-16,0 13 0,14-13 0,-14 0 16,-13 13-16</inkml:trace>
  <inkml:trace contextRef="#ctx0" brushRef="#br0" timeOffset="24787.71">10636 3876 0,'0'13'15</inkml:trace>
  <inkml:trace contextRef="#ctx0" brushRef="#br0" timeOffset="26663.49">8149 5583 0,'13'0'16,"-39"-14"109,13 28-94</inkml:trace>
  <inkml:trace contextRef="#ctx0" brushRef="#br0" timeOffset="28811.16">10319 5001 0,'-13'-27'47,"-1"27"-31,14-13 0,-13 13-16,0-13 15,-27-1 1,27 1-1,0 13-15,-1 0 16,1 0-16,0-13 0,0 13 0,-14 0 0,14 0 16,0 0-16,0 0 0,-14-13 15,14 13-15,-14 0 0,14 0 16,-13 0-16,13 13 0,-14-13 0,1 0 16,12 0-16,-12 0 0,-14 13 15,27-13-15,-13 13 0,12-13 16,-12 14-16,13-14 0,-1 13 0,1-13 15,-13 13-15,13 0 0,-1 1 0,1-1 16,0 0-16,0 0 0,-1 1 16,1 12-16,0-13 0,0 0 0,-1 14 15,1-14-15,13 0 0,-13 1 0,13-1 16,-13 13-16,13-12 0,-13-1 0,13 0 16,-14 0-16,14 0 15,0 14-15,0-14 0,0 0 0,-13 1 0,13-1 16,0 0-16,0 0 0,0 1 15,0-1-15,0 0 16,0 0-16,0 0 0,13 1 16,-13-1-16,14 13 15,-14-12-15,13-1 0,-13 0 16,13-13-16,-13 13 0,13 0 16,0-13-16,-13 14 0,14-14 0,-1 13 15,0 0-15,0-13 0,1 13 16,-1-13-16,-13 14 0,13-14 15,0 0-15,1 0 0,-1 13 0,0-13 16,0 0-16,0 0 0,1 13 0,-1-13 16,13 0-16,-12 0 0,-1 0 15,0 0-15,0 0 0,14 0 16,-14 13-16,0-13 0,0 0 0,1 0 16,12 0-16,-13 0 0,1 0 0,-1 0 15,0 0-15,0 0 0,0 0 16,1 0-16,-1 0 0,0 0 0,0 0 15,1 0-15,-1-13 0,0 13 0,0 0 16,1 0-16,-1 0 0,0 0 16,0 0-16,0 0 15,1-13-15,-1 13 0,0 0 0,0 0 16,1 0-16,-1-13 0,0 13 0,0 0 16,1 0-16,-1-14 0,0 14 15,0 0-15,0 0 0,1-13 16,-1 13-16,0 0 0,-13-13 15,13 13-15,1 0 16,-1-13-16,0 13 16,-13-14-16,13 14 0,1-13 15,-1 13-15,-13-13 0,13 13 16,-13-13-16,13 13 16,-13-13-16,13-1 0,-13 1 15,14 13-15,-14-13 16,13 13-16,-13-13 0,13-1 15,-13 1 1,0 0-16,13 0 16,-13 0-16,0-1 15,14 14-15,-14-13 16,0 0-16,0 0 16,0-1-16,13 14 0,-13-13 15,0 0-15,0 0 16,-13-1-1,13 1-15,0 0 0,0 0 16,0 0-16,-14-14 16,14 14-1,-13 0-15,13-1 0,0 1 16,-13 0-16,13 0 0,-13-1 16,13 1-16,-14 0 15,-25-40 16,39 40-31,-13 13 0,-1-13 0,1-1 16,0 14-16,0-13 0,-14 0 16,14 13-16,0 0 0,-1-13 0,-12 13 15,13 0-15,0 0 0,-14 0 16,14 13-16,-14-13 0,14 0 0,-13 13 16,-1-13-16</inkml:trace>
  <inkml:trace contextRef="#ctx0" brushRef="#br0" timeOffset="32484.73">10332 6363 0,'-13'0'0,"13"-13"16,-13 13 0,13-13-1,-14 0-15,1 13 16,13-14-16,-13 14 16,13-13-16,-13 13 15,-1 0-15,14-13 0,-13 13 16,0-13-16,0 13 0,-1 0 15,14-14-15,-13 14 0,0-13 0,-13 13 16,-27-13 0,26 13-16,1-13 0,12 13 15,-12 0-15,0-14 0,-1 14 0,1 0 0,12 0 16,-12 0-16,-1-13 0,14 13 16,-13 0-16,13 0 0,-1 0 15,-12 0-15,13 0 0,-1 13 0,1-13 16,0 0-16,-13 14 0,12-14 15,1 13-15,-13 0 0,12-13 0,1 13 16,-13 1-16,12-1 0,-12 0 0,13 14 16,0-14-16,-1 0 0,1 0 0,0 0 15,13 14-15,-13-14 0,13 0 16,-14 1-16,14 12 0,0-13 0,0 14 16,0-14-16,0 0 0,0 14 0,0-14 15,14 13-15,-14-12 16,13 12-16,0 14 0,0-27 15,1 13-15,-1-12 0,0 12 0,0-13 16,0 1-16,1 12 0,-1-13 16,13 0-16,-12 1 0,-1-1 0,0 0 15,14 0-15,-14 1 0,13-1 0,-13-13 16,14 13-16,-14-13 0,14 13 0,-1-13 16,-13 0-16,14 14 15,-1-14-15,1 0 0,-14 0 0,13 0 16,1 0-16,-1 0 0,1 0 0,12 0 15,-12 0-15,26-14 16,-27 14-16,-13 0 0,14 0 0,-1-13 16,1 13-16,-1 0 0,-12-13 15,12 13-15,0-13 0,-12 13 0,12-14 16,-13 14-16,14 0 0,-14-13 16,14 0-16,-14 13 0,13-13 0,-13-1 15,27 1-15,-27 0 0,1 13 16,-1-13-16,0 0 0,0-1 15,0 1-15,1 0 0,-1 13 16,-13-13-16,13-1 0,0 1 16,-13 0-16,0 0 0,14 0 15,-14-1-15,0 1 16,0 0-16,0 0 16,0-1-16,0 1 0,-14 13 15,14-13-15,0 0 0,0-1 16,-13 1-16,13 0 15,-13 0-15,0 0 0,-1-1 16,1 1-16,0 0 0,0 0 0,-14-1 16,14 1-16,-13 0 0,-40-14 15,39 1-15,1 13 0,-14 0 16,13-1-16,-12 14 0,-1-13 0,14 0 16,-1 13-16,1-13 0,-14 13 15,14 0-15,-14 0 0,13 0 0,1 0 16,-1 0-16,1 13 0,-14-13 15,14 0-15</inkml:trace>
  <inkml:trace contextRef="#ctx0" brushRef="#br0" timeOffset="37984.07">8202 5569 0,'0'-26'63,"0"13"-47,13 13-1,-13-13 1,14-1-1,-1 14-15,-13-13 0,13 13 16,-13-13-16,13 13 0,0-13 16,1 13-16,-1-14 0,0 1 15,0 13-15,1-13 0,-1 0 0,13 0 16,-12-1-16,12 1 0,0 13 16,-12-13-16,12 0 0,1-1 0,25 1 15,-25 13-15,-1-13 0,-12 13 16,12-13-16,14 13 0,-14 0 0,1-14 15,-1 14-15,1 0 0,-1 0 16,1 0-16,-14-13 0,13 13 0,1 0 16,-1 0-16,-13 0 0,14 0 0,-14 0 15,14 0-15,-14 0 0,0 0 16,0 0-16,0-13 0,1 13 0,-1 0 16,0 0-16,0 0 15,1 0-15,-1 0 31,0 0-15,-13-13 31</inkml:trace>
  <inkml:trace contextRef="#ctx0" brushRef="#br0" timeOffset="38599.48">9062 5120 0,'0'13'47,"13"0"-47,0-13 15,-13 13-15,14-13 16,-1 14-16,0-14 0,-13 13 0,13-13 15,1 13-15,-1-13 0,0 0 0,0 13 16,1-13-16,-1 14 16,0-14-16,0 0 0,0 13 0,14 0 15,-14-13-15,0 0 0,1 13 16,-1-13-16,0 13 16,0-13-1,-13 14-15,-13-1 16,0 0-1,0-13-15,13 13 16,-14-13-16,1 14 0,0-14 0,0 13 16,-14 0-16,14-13 15,0 13-15,0-13 0,-1 14 0,1-1 16,-13 0-16,12-13 0,1 13 0,0 0 16,0 1-16,-1-14 0,1 13 0,0-13 15,13 13-15</inkml:trace>
  <inkml:trace contextRef="#ctx0" brushRef="#br0" timeOffset="41820.94">8162 6178 0,'0'26'0,"0"1"0,0-14 0,14 0 0,-14 14 15,0-14-15,13 14 0,-13-14 0,13 26 16,0-12-16,1-1 0,12 1 15,0 13-15,14 12 0,0-25 16,26 13-16,-26-14 16,-1 1-16,-12-14 0,12 0 0,1 13 15,0-12-15,0-1 0,-1 0 16,1 0-16,-14 1 0,1-14 0,-1 13 16,1-13-16,-14 13 0,27-13 15,-14 0-15,-13 13 0,1-13 16,-1 0-16,13 0 0,-12 0 15,-1 0-15,0 0 0,0 0 16,0 0-16,1 0 31,-1 0-31,-13-13 16</inkml:trace>
  <inkml:trace contextRef="#ctx0" brushRef="#br0" timeOffset="42214.48">8969 6588 0,'27'13'31,"-27"1"-31,13-14 0,-13 13 16,13 0-16,1-13 0,-1 13 15,0 1-15,-13-1 0,13 0 0,0 0 16,1 0-16,-1-13 0,0 14 0,-13-1 15,13 0-15,-13 0 0,14 1 16,-14-1-16,0 0 0,0 0 16,0 0-16,-14 1 0,1 12 0,0-13 15,0 1-15,-1-1 0,1 13 0,-13-12 16,13-1-16,-1 0 0,1 0 16,0 0-16,0-13 0,-14 27 15,14-27-15</inkml:trace>
  <inkml:trace contextRef="#ctx0" brushRef="#br0" timeOffset="47783.44">5622 3929 0,'14'0'16,"-1"0"-16,0 0 0,0 0 15,1 0-15,-1 0 0,0 0 0,0 0 16,0 0-16,14 0 0,-1-13 15,1 13-15,-1 0 0,14-13 0,0-1 16,-14 1-16,14 0 0,-1-14 0,-12 14 16,13 0-16,-14 0 0,1 0 15,-1-1-15,0 1 0,1 0 16,-14 0-16,14 13 0,12-27 0,-25 14 16,-1 0-16,0-1 0,0 1 15,0 0-15,1-13 0,-1 12 0,-13 1 16,13-13-16,-13 12 0,13 1 15,-13-13-15,0 12 0,0 1 16,0 0-16,0-13 0,-13-1 16,0 14-16,0-14 0,-14 14 0,14-13 15,-13 13-15,-1-1 0,1 1 0,-1-13 16,1 12-16,-1 1 0,1 0 16,-1 0-16,1-1 0,-1 14 0,1-13 15,-1 13-15,1-13 0,-14 13 0,14 0 16,-1 0-16,1 0 0,-14 0 15,14 0-15,-1 0 0,-12 13 16,-1 0-16,0-13 0,1 14 0,-1 12 16,13-13-16,-12 1 0,-1 12 15,14 1-15,-14-1 0,14 0 0,-1 1 16,1-1-16,-1 1 0,1 12 0,-1-12 16,-26 66-16,27-54 15,26-12-15,-13-1 0,-1 14 16,1-14-16,13 1 0,0-1 0,0-13 15,0 14-15,0-1 0,0-12 16,13 12-16,1-13 0,12 14 16,14-14-16,-14-13 15,1 0-15,12-13 0</inkml:trace>
  <inkml:trace contextRef="#ctx0" brushRef="#br0" timeOffset="48744.32">6099 3347 0,'26'-26'16,"-13"26"0,1-14-16,-1 1 0,0 0 15,27-14-15,-14 14 0,14-27 0,0 14 16,52-40-16,-52 39 16,66-39-16,-40 27 0,-13 12 15,66-26-15,-53 27 0,0-1 16,13 1-16,1-1 0,-14 1 15,13-1-15,1 14 0,-1-13 16,0-1-16,1 14 0,92-27 16,-93 27-16,1 0 0,-14 13 0,13-13 15,-13-1-15,0 14 0,-13-13 16,0 13-16,0 0 0,0 0 0,0 0 16,-13 0-16,-14 0 0,14 0 0,-1 0 15,-12 0-15,-1 0 0,1 13 16,-1-13-16,1 0 0,-14 0 0,13 14 15,-12-14-15,-1 0 0,0 0 16,0 13-16,1-13 0,-1 0 0,0 13 31,0-13-31,1 0 16,-1 0 0,0 13 15</inkml:trace>
  <inkml:trace contextRef="#ctx0" brushRef="#br0" timeOffset="49120.92">8771 2461 0,'0'-14'15,"13"41"17,0-27-32,1 0 0,-1 13 15,0-13-15,0 13 0,1-13 16,-1 14-16,13-1 0,-13-13 0,1 13 15,-1-13-15,13 13 0,-12 0 16,-1-13-16,0 0 0,0 14 0,1-1 16,-1 0-16,0 0 15,0-13-15,-13 14 0,0-1 16,0 0-16,-13 0 0,0 1 16,0 12-16,-14-13 0,-13 14 0,14-1 15,-27-13-15,0 14 0,0-1 0,13 1 16,-12-1-16,12-13 15,0 1-15,0-1 0,14 0 0,13-13 0</inkml:trace>
  <inkml:trace contextRef="#ctx0" brushRef="#br0" timeOffset="50042.48">17595 3016 0,'13'13'15,"0"-13"-15,0 0 0,1 0 0,-1 0 16,0 0-16,14 0 0,-1 0 16,-13 0-16,14 0 0,26 0 15,-40 0-15,13 0 0,-12 0 0,12 0 16</inkml:trace>
  <inkml:trace contextRef="#ctx0" brushRef="#br0" timeOffset="50412.52">17555 3122 0,'40'13'31,"-27"-13"-31,0 0 0,14 0 16,-1 0-16,-13 0 0,14 0 15,-1 0-15,1 0 0,-1 0 0,-13 0 16,14 0-16,-14 0 0,14 0 0,-14 0 16,0 0-16,0 0 0,1 0 0,-1 0 15,0 0-15,0 0 0,0 0 16,1 0 0,-1 0-1,0 0-15,0 0 31</inkml:trace>
  <inkml:trace contextRef="#ctx0" brushRef="#br0" timeOffset="52560.55">6085 3995 0,'0'-13'31,"14"26"-16,-1 0 1,-13 1-16,13-1 0,0-13 0,1 13 16,-1 0-16,0 14 15,0-14-15,0 0 0,14 1 0,-1 12 0,1-13 16,-1 14-16,14-14 0,-14 0 16,1 14-16,-1-14 0,1 0 15,-1 0-15,1 0 0,12 1 0,28 12 16,-41-13-16,1 1 0,12-1 15,-12 0-15,12 0 0,-12 1 16,-1-1-16,1 0 0,-1-13 0,14 13 16,0 0-16,-14-13 0,14 14 0,-1-14 15,-12 0-15,13 13 0,-14-13 16,14 0-16,-14 0 0,14 0 0,-14 0 16,14 0-16,-14 0 0,14 0 0,-13 0 15,12 0-15,-12-13 0,-1 13 0,14 0 16,-14 0-16,14-14 0,-14 14 15,14 0-15,0-13 0,0 13 16,-14 0-16,14 0 0,-14-13 0,14 13 16,-14 0-16,1 0 0,12-13 15,-12 13-15,-1 0 0,1-13 16,12 13-16,-12 0 0,26-14 0,-27 14 16,1-13-16,-1 13 0,1 0 15,-14 0-15,13-13 0,1 13 16,-14 0-16,14 0 0,-1-13 0,14 13 15,-27-14-15,13 14 0,1 0 0,-14-13 16,13 13-16,-12 0 0,12-13 16,-13 13-16,1 0 0,12-13 15,-13 13-15,1 0 0,-1 0 0,0-14 16,0 14-16,0 0 0,1 0 16,-1-13-16,0 13 15,0 0-15,1 0 0,-1-13 16,0 13-1,0 0-15,1 0 16,-1 0 0,-13-13-1,13 13 17,0 0-1</inkml:trace>
  <inkml:trace contextRef="#ctx0" brushRef="#br0" timeOffset="53290.63">8758 4075 0,'0'13'31,"13"0"-15,-13 0-16,13-13 15,-13 14-15,13-14 16,1 13-16,-1 0 0,0-13 16,0 13-16,14 0 0,-14-13 15,0 14-15,14-1 0,-14-13 16,0 13-16,0-13 16,1 0-16,-1 13 0,0-13 0,0 0 15,1 0-15,-14 14 0,13-14 16,0 0-1,0 13-15,-13 0 32,0 0-17,0 0-15,-13-13 0,13 14 0,-13-1 16,13 0-16,-13 14 0,-1-14 0,1 0 16,0 14-16,-14-14 0,1 13 0,13 1 15,-1-14-15,-12 0 0,13 14 16,0-14-16,-14 0 0,14 0 0,0 1 15,-27 12-15,27-13 0,-1-13 16,1 13-16,13 1 0,-13-14 16,0 0-16,0 13 0,-1-13 15,14 13-15,-13-13 0</inkml:trace>
  <inkml:trace contextRef="#ctx0" brushRef="#br0" timeOffset="54459.78">17793 4194 0,'0'0'0,"40"0"32,-27 0-32,0 0 0,1 0 0,-1 0 15,13 0-15,-12 0 0,-1 0 0,13 0 16,1 0-16,-14 0 0,0 0 16,14 0-16,-14 0 0,0 0 0,0 0 15,1 0-15</inkml:trace>
  <inkml:trace contextRef="#ctx0" brushRef="#br0" timeOffset="54818.43">17714 4286 0,'40'0'0,"-27"0"15,0 0-15,0 0 0,14 0 16,-14 0-16,13 0 0,27 0 16,-39 0-16,12 0 0,0 0 15,1 0-15,-1 0 0,1 0 0,-1 0 16,1-13-16,-14 13 0,13 0 16,-12 0-16,-1 0 0,0 0 0,0 0 15,1 0-15,-1 0 0,0 0 16,0 0-16,0 0 15,1 0 1,-1 0 0</inkml:trace>
  <inkml:trace contextRef="#ctx0" brushRef="#br0" timeOffset="56175.55">8295 5662 0,'0'-13'62,"13"0"-62,0 13 16,14-14-16,-14 14 0</inkml:trace>
  <inkml:trace contextRef="#ctx0" brushRef="#br0" timeOffset="56407.7">9856 5292 0,'-14'0'0</inkml:trace>
  <inkml:trace contextRef="#ctx0" brushRef="#br0" timeOffset="58472.5">6046 5464 0,'0'-14'0,"13"14"15,-13-13-15,13 13 0,-13-13 16,13 13-16,1-13 0,-1 0 0,0 13 16,14-14-16,-14 1 0,26 0 15,1 0-15,-13-1 0,12 1 0,1 0 16,0 0-16,13-1 0,-14 1 0,1 0 15,13 0-15,-13 0 0,13 13 16,-14-14-16,14 1 0,0 0 16,-13 13-16,13-13 0,0 13 0,-1-14 15,1 14-15,0-13 0,-13 13 0,13 0 16,0-13-16,-14 13 0,1 0 16,0 0-16,-14 0 0,14 0 0,-14 0 15,27 0-15,0 0 0,-13 0 0,13 0 16,0 0-16,-13 0 0,-1 0 15,1 0-15,0 0 0,-14 0 0,14 0 16,-1 0-16,-12 0 0,13 0 0,-14 0 16,14 0-16,-14 0 0,1 13 15,12-13-15,-12 0 0,-1 0 0,1 0 16,-14 0-16,13 0 0,1 0 0,-1 13 16,14-13-16,-27 0 15,14 0-15,-14 0 0,0 0 16,0 0-16,1 0 0,-1 14 0,0-14 15,0 0-15,0 0 0,1 0 0,-1 0 16,0 0 0,0 0-16,1 0 15</inkml:trace>
  <inkml:trace contextRef="#ctx0" brushRef="#br0" timeOffset="58847.52">8401 5001 0,'-14'0'0,"41"13"15,-14 0 1,0-13-16,14 13 0,-14-13 16,13 14-16,1-1 0,-14-13 0,13 13 15,1 0-15,-14-13 0,14 13 0,-14 1 16,13-14-16,-12 13 0,-1-13 15,13 13-15,-13 0 0,1-13 16,-14 14-16,13-14 0,-13 13 16,-13 0-1,-1 0-15,-12 1 0,0-1 0,-14 0 16,0 0-16,0 0 0,-12 14 0,12-14 16,-13 0-16,13 1 15,1-1-15,-41 13 0,41-12 16,-1-1-16</inkml:trace>
  <inkml:trace contextRef="#ctx0" brushRef="#br0" timeOffset="59927.39">18349 5583 0</inkml:trace>
  <inkml:trace contextRef="#ctx0" brushRef="#br0" timeOffset="62170.8">6032 5874 0,'0'13'0,"14"0"0,-1 0 16,-13 14-16,13-14 0,0 14 16,14-1-16,-14 14 0,14-14 15,-1 14-15,0 0 0,41 39 16,-28-39-16,1-1 0,0 1 16,-1 0-16,1-1 0,13-12 15,0 13-15,-13-1 0,13-12 0,-1 12 0,1-12 16,13-1-16,-13 1 0,14-1 15,-1 1-15,0-14 0,0 13 0,0-12 16,0-1-16,0 13 0,-13-13 0,13 1 16,-13-1-16,-13 0 0,13 0 0,0-13 15,0 14-15,-13-1 0,12 0 16,1-13-16,-13 13 0,0 1 0,-1-14 16,1 13-16,-13-13 0,-1 0 15,0 0-15,1 0 0,-1 13 16,1-13-16,-14 0 0,14 0 0,-1-13 15,0 13-15,-12 0 0,-1 0 0,13 0 16,-12 0-16,-1 0 0,0-13 0,0 13 16,1 0-16,-1 0 0,0 0 15,0 0-15,0 0 16,1-14-16,-1 14 16,0 0 15,-13-13 78,-13 0-46</inkml:trace>
  <inkml:trace contextRef="#ctx0" brushRef="#br0" timeOffset="62628.38">8334 6800 0,'27'13'31,"-14"-13"-31,0 13 0,1-13 0,-1 13 16,0 1-16,0-14 0,14 13 0,-14-13 15,0 13-15,0 0 0,1-13 16,-1 14-16,0-1 0,0-13 0,0 13 16,1 0-16,-14 1 0,0-1 15,0 0-15,0 0 0,-14 14 16,1-14-16,-13 13 0,-1 1 0,14-14 15,-13 0-15,-1 14 0,14-14 16,-13 0-16,12 0 0</inkml:trace>
  <inkml:trace contextRef="#ctx0" brushRef="#br0" timeOffset="63939.24">17820 6813 0,'39'0'15,"-12"0"-15,-1 0 0,-12 0 0,12 0 16,14 0-16,-14 0 0,27 0 15,-13 0-15,-1 0 0,1 0 0,0 13 16,-1-13-16,-12 0 0,13 0 0,-14 0 16,1 0-16,-1 0 0,0 0 15,-12 0-15,-1 13 0,0-13 16,27 14 0</inkml:trace>
  <inkml:trace contextRef="#ctx0" brushRef="#br0" timeOffset="64276.6">17912 6998 0,'0'0'16,"27"0"-16,-1 0 15,-13 0-15,1 13 16,12-13-16,1 0 0,-1 0 0,1 0 15,12 0-15,-12 0 0,12 0 0,-12 0 16,12 0-16,-12 14 0,-1-14 16,14 0-16,-13 0 0,-14 0 0,13 0 15,1 0-15,-14 0 0,13 0 16,-12 0-16,-1 0 0,0 13 16,0-13-16,1 0 15,-1 0-15,0 0 16,0 0-16,0 0 31</inkml:trace>
  <inkml:trace contextRef="#ctx0" brushRef="#br0" timeOffset="67971.84">18759 2659 0,'172'-13'15,"-146"13"1,14 0-16,-13 13 0,12-13 0,-12 27 0,-1-14 15,1 0-15,-1 13 0,-13 1 16,1 13-16,-1-14 0,-13 14 16,0-1-16,-13 1 0,13 13 0,-14 0 15,-12 13-15,13-13 0,-1 13 0,1 0 16,0-13-16,-14 13 0,14 0 0,0 14 16,-27 65-1,27-78-15,0 12 0,0 0 0,-1-13 0,1 14 16,13-1-16,-13-13 0,26 14 0,-13-14 15,13 0-15,-13-13 0,14 13 0,12-13 16,1-13-16,-1 13 0,0-14 16,14 1-16,-13 0 0,-1-14 0,14 1 15,-14-14-15,1 13 0,-1-26 16,-13 13-16,14-13 0,-14 14 0,0-14 16,1 0-16,-1 0 15,0-14-15,0 14 0,0 0 16,1 14-1,-14-1 1,0 0 0,0 14-16,0-1 0,0 14 0,13 13 15,-13 0-15,13 13 0,0-13 0,1 13 16,-14 13-16,26-13 0,-13 0 0,0 14 0,1-14 16,-1 13-16,0 1 15,0-14-15,1 13 0,-1-13 0,0 14 16,0-14-16,1 0 0,-14 0 0,0 0 15,13 1-15,-13-1 0,-13-13 0,13-14 16,0 27-16,-14-26 0,1 13 16,-13 26-16,12-39 0,1-13 15,-13-1-15,12 0 0,1 1 0,0-27 16,0 13-16,0-13 0,-1 0 0,1-13 16,0 0-16,0-14 0,-14-12 15,14-28-15,13 14 0,-13-13 0,13 0 16,0-13-16</inkml:trace>
  <inkml:trace contextRef="#ctx0" brushRef="#br0" timeOffset="68367.44">20320 4564 0,'0'0'16,"0"27"0,0-14-16,0 0 15,13 13-15,-13 1 0,0-1 16,0 1-16,0 12 0,0-12 0,0 26 16,0-27-16,0 1 0,0-1 15,-13-13-15,13 14 0,0-14 0,0 0 16,0 1-16,0-1 0,0 0 15</inkml:trace>
  <inkml:trace contextRef="#ctx0" brushRef="#br0" timeOffset="68682.64">20585 4683 0,'-14'27'31,"14"-14"-16,0 0-15,0 0 0,0 14 16,0-14-16,14 0 0,-14 0 0,13 1 16,0-1-16,0 0 0,1 0 0,-1-13 15,0 0-15,13 14 0,-12-14 0,12-14 16,-13 14-16,14 0 0,-14-13 16,0 13-16,0-13 0,1 0 0,-14-1 15,13 14-15,-13-13 0,0 0 0,0 0 16,-13-1-16,13 1 0,-14 0 0,1 0 15,0 13-15,0-13 16,0-1-16,-1 14 0,1 0 0,0-13 0,0 13 16,-1 0-16,1 0 0,0 0 15,0 0-15</inkml:trace>
  <inkml:trace contextRef="#ctx0" brushRef="#br0" timeOffset="68951.57">20862 4696 0,'0'14'0,"0"-28"0,0 41 16,14-14-16,-14 0 0,0 0 16,13 1-16,-13-1 15,0 0-15,13 0 0,0 1 0,1-1 16,-1 0-16,0-13 0,0 13 0,27-13 16,-27 0-16,0 0 15,1 0-15,-1 0 0,0 0 0,14-13 16,-27 0-16,13 13 0,-13-13 15,0-1-15,0 1 0,-13 0 16,13 0-16,-14-1 0,14 1 16,-13 0-16,0 13 0,13-13 0,-13 13 15,-1-13-15,1 13 0,0 0 16,0 0-16</inkml:trace>
  <inkml:trace contextRef="#ctx0" brushRef="#br0" timeOffset="69126.83">21378 4564 0,'0'0'0,"14"0"0,-14 13 15,0 1 1,0-1-16,0 0 0,-14 13 0,14-12 16,-13 12-16,13-13 0,-13 14 0,13-14 15,-13 13-15,-1 1 0,14-14 0,-13 0 16,13 14-16,-13-14 0,0 0 15,13 1-15,-14-14 0,14 13 0,-13 0 16</inkml:trace>
  <inkml:trace contextRef="#ctx0" brushRef="#br0" timeOffset="69248.61">21193 4723 0,'0'0'0,"13"-13"15,1 13-15</inkml:trace>
  <inkml:trace contextRef="#ctx0" brushRef="#br0" timeOffset="69355.45">21365 4789 0,'27'13'15,"-54"-26"-15,67 26 0,-27-13 0,-13 13 16,13-13-16,0 0 31,1-13-15</inkml:trace>
  <inkml:trace contextRef="#ctx0" brushRef="#br0" timeOffset="70526.66">2500 5345 0,'27'-14'31,"-14"14"-31,53-13 16,-13 0-16,-13 0 0,-1-1 0,14 1 16,-13 13-16,13-13 0,-13 0 0,-14 13 15,1 0-15,-14-13 0,0 13 16,0 0-16,0 0 0,-39 26 15,0-13-15,-14 0 16,0 1-16,-13 12 0,-13-13 0,0 1 16,13 12-16,-13-13 15,26 1-15,1-1 0,-1 0 0,13 0 16,14-13-16,0 13 0,0-13 0,39 14 31,1-28-31,12 14 0,14-13 16,-13 13-16,26-13 0,0 0 0,-26 0 15,13-1-15,-13 14 0,-14-13 0,0 13 16,-12 0-16,-1 0 0,0-13 16,-39 39-1,-1-26-15,-12 14 0,-1-1 16,-13 13-16,0-13 0,13 1 16,1-1-16,-1 0 0,-13 0 15,40-13-15,13 14 0,-13-14 16,39 0-1,133-27 17,-120 14-32,-12 13 0,-1 0 0,-12-13 0,-1 13 15,0 0-15,0 0 0,1-14 0,-41 28 47,14-14-47,0 0 0,-1 13 16,1-13-16,0 0 15</inkml:trace>
  <inkml:trace contextRef="#ctx0" brushRef="#br0" timeOffset="71355.48">2805 5437 0,'26'-13'31,"-52"13"-31,12 0 0,1 0 16,-13 0-16,12 13 0,-12-13 16,-67 13-1,80-13 1,53 0-1,-27-13-15,14 0 0,-1 13 16,0-13-16,1 0 0,-14 13 16,14 0-16,-14-14 0,0 14 0,0-13 15,1 13-15,-41 0 32,14 0-32,0 0 15,-1 0-15,1 13 0,0-13 0,0 0 16,-1 0-16,1 0 15,0 14 1,13-1 15,13 0-15,0-13 15,-13 13 0,14-13 48</inkml:trace>
  <inkml:trace contextRef="#ctx0" brushRef="#br0" timeOffset="73820.73">2011 4643 0,'0'0'0,"-27"0"0,14-13 0,0 0 16,13 0-16,-13 0 15,13-1-15,-14 14 0,14-13 0,-13-13 16,13 12-16,-13 1 0,13 0 16,-13-14-16,13 14 0,-13-13 0,13-1 15,-14 1-15,1 13 0,13-14 16,-13-13-16,13 14 0,-13-14 0,13 14 16,-14-14-16,14 14 0,0-14 15,-13 14-15,13-1 0,0-13 0,0 1 16,-13 12-16,13 1 0,0-14 0,0 14 15,0-14-15,13 0 0,-13 1 0,0-1 16,13 0-16,-13 1 0,14 12 0,-1-13 16,0 1-16,0-1 0,-13 14 15,27-1-15,-27-13 0,26 14 16,-13 0-16,1-14 0,-1 13 0,13 1 16,-12-14-16,-1 14 0,13-1 15,27-39-15,-40 40 0,14-1 16,-1-12-16,1 12 0,-14 1 0,13-1 15,1 1-15,-1-1 0,-12 1 0,12-1 16,1 1-16,-1-1 0,0 1 16,1 0-16,-1-1 0,1 1 0,-1 12 15,14-12-15,-14-1 0,1 14 0,13-13 16,-14-1-16,1 14 0,12-13 16,-12 12-16,39-25 15,-26 12-15,-1 14 0,-12 0 0,12 0 16,1-14-16,-14 14 0,14 0 15,0-14-15,0 14 0,12 0 0,-12-1 16,13-12-16,-13 13 0,13 0 0,0-1 16,-14 1-16,14 0 0,13-14 0,-13 14 15,13 0-15,-13-13 0,80-14 16,-67 27-16,0-1 0,0 1 16,0-13-16,0 12 0,0 1 15,14 0-15,-14-13 0,0 12 0,14 1 16,-14 0-16,13 0 0,0-1 0,1 1 15,-1 0-15,14 0 0,-14 13 16,1-14-16,-1 1 0,0 0 0,1 13 16,12-13-16,1 0 0,-14 13 15,14-14-15,-1 1 0,14 13 0,-13-13 16,-1 0-16,14 13 0,-13-14 0,13 14 16,13-13-16,0 0 0,-13 0 15,26 13-15,-39-13 0,12 13 16,-12 0-16,39-14 0,-26 14 0,0-13 15,0 13-15,0 0 0,-14 0 0,173-13 16,-159 13-16,0 0 0,-1 0 16,1 0-16,26-13 15,-26 13-15,106 0 0,-14 0 16,1 0-16,-93 13 16,-14-13-16,14 0 0,-13 0 0,-14 0 15,106 0-15,1 13 16,78-13-16,-171 0 15,65 0-15,-65 0 16,0-13-16,79 13 16,0 0-16,0 0 15,0 0-15,0 0 16,-80 0-16,-12 0 0,92 0 16,-14 0-16,14 0 15,-92 0-15,78 13 16,-78-13-16,-1 0 0,93 13 15,-93-13-15,1 0 0,-1 0 16,1 14-16,12-14 0,80 0 16,-92 0-16,-1 13 0,14-13 0,-14 0 15,14 0-15,-14 0 0,14 0 0,-14 0 16,13 0-16,1 0 0,-14 0 16,14 0-16,-14-13 0,14 13 0,-14 0 15,1 0-15,-1 0 0,1 0 0,-14 0 16,13 0-16,-13 0 0,-13 0 15,27 0-15,-14 0 0,-13 0 16,13 0-16,0 0 0,-13 0 0,13 0 16,-13 0-16,79 0 0,-79 0 15,13 0-15,0 0 0,0 0 0,-13 0 16,14 0-16,-15 13 0,1-13 16,0 0-16,0 13 0,0-13 0,0 13 15,0-13-15,-13 13 0,13-13 16,-1 14-16,1-1 0,-13-13 0,13 13 15,-13 0-15,-1 1 0,1-1 16,0-13-16,-1 13 0,-12 0 0,39 14 16,-53-14-16,14 0 0,-1 0 15,1 1-15,-14 12 0,13-13 16,-12 1-16,-1-1 0,13 0 0,-13 0 16,1 0-16,-1 1 0,0 12 0,0-13 15,1 1-15,-1-1 0,-13 0 16,26 14-16,-12-14 15,-1 0-15,-13 0 0,13-13 0,0 13 16,-13 1-16,13-14 0,1 13 0,-1-13 16,-13 13-16,13-13 15,0 0-15,-13 13 0,14-13 0,-1 0 0,0 0 16,0 14 0</inkml:trace>
  <inkml:trace contextRef="#ctx0" brushRef="#br0" timeOffset="74322.36">17767 2103 0,'-13'0'16,"13"14"0,0-1-16,0 0 15,13 14 1,-13-14-16,13 0 0,0 0 15,-13 0-15,13-13 0,1 14 16,-1-1-16,0 0 0,-13 0 0,13-13 16,1 14-16,-1-14 0,-13 13 0,13-13 15,0 13-15,1-13 0,-1 0 16,0 0 0,0 0-16,0-13 0,1 13 15,-1-13-15,-13-1 0,13 1 0,0 13 16,-13-13-16,14 0 0,-1-1 0,-13 1 15,13-13-15,-13 13 0,13-1 16,1-12-16,-1 13 0,0-1 0,-13-12 16,13 13-16,0 0 0,1-1 0,-14 1 15,13 0-15,0 0 0,0-1 16,1 14-16,-1 0 16,0 0-1</inkml:trace>
  <inkml:trace contextRef="#ctx0" brushRef="#br0" timeOffset="74884.37">21339 5212 0,'13'0'31,"-13"14"-31</inkml:trace>
  <inkml:trace contextRef="#ctx0" brushRef="#br0" timeOffset="77187.34">6152 9088 0,'-27'14'78</inkml:trace>
  <inkml:trace contextRef="#ctx0" brushRef="#br0" timeOffset="77971.36">7501 9194 0,'13'0'16,"-13"27"78</inkml:trace>
  <inkml:trace contextRef="#ctx0" brushRef="#br0" timeOffset="80603">11165 9036 0,'0'-14'62</inkml:trace>
  <inkml:trace contextRef="#ctx0" brushRef="#br0" timeOffset="81432.21">12621 9102 0,'26'0'16,"-13"-14"0,1 14-16,12 0 0,0 0 15,-12 0-15,12 0 0,1 0 0,-1 0 16,1-13-16,25 13 0,-25 0 15,-1-13-15,-12 13 0,12 0 16,-13 0-16,14 0 0,-14 0 0,0-13 16,0 13-16,1 0 0,-1 0 15</inkml:trace>
  <inkml:trace contextRef="#ctx0" brushRef="#br0" timeOffset="81830.44">12621 9221 0,'119'0'63,"-80"-13"-48,200-1 64,-226 14-79,0 0 0,0 0 15,0 0 1</inkml:trace>
  <inkml:trace contextRef="#ctx0" brushRef="#br0" timeOffset="85590.25">11536 3069 0,'26'27'31,"-12"-14"-31,12-13 0,-13 0 0,14 13 16,-1-13-16,1 13 0,-1-13 0,14 0 15,-1 0-15,1 0 0,13 0 16,-13-13-16,13 13 0,-14-13 0,-12 13 16,12 0-16,-12-13 0,13-1 0,-14 14 15,1-13-15,-14 13 0,13-13 16,1 0-16,-14-1 0,13 1 0,-12 13 15,-1-13-15,13-13 0,-13 12 0,1 1 16,-1 0-16,0 0 0,0-14 16,1 14-16,-1 0 0,0-14 15,0 14-15,-13-13 0,14 12 0,-14-12 16,13 13-16,-13-1 0,0-12 0,0 13 16,0 0-16,0-1 0,0 1 0,-13-13 15,13 12-15,-14 1 0,14-13 16,-13 12-16,0 1 0,0 0 0,-14-13 15,14 12-15,0 1 0,-1 0 0,-12 0 16,0-14-16,12 14 0,-12 0 16,13-1-16,-14 1 0,1 0 0,13 0 15,-14 0-15,1-1 0,-1 14 0,14-13 16,-14 0-16,-12 13 0,12-13 16,1 13-16,-1 0 0,-12-14 15,12 14-15,1 0 0,-1 0 0,-12 0 16,-14 0-16,26 14 0,1-14 15,-1 0-15,1 13 0,-1-13 16,14 0-16,-13 13 0,-1-13 0,14 13 16,-13 1-16,-1-14 0,14 13 0,-14 0 15,14 0-15,-13 0 0,13 1 0,-1-1 16,-12 0-16,13 14 0,-1-14 16,1 13-16,0 1 0,0-1 15,-1-13-15,14 14 0,-13-1 0,13 1 0,-13-1 16,13-12-16,-13 12 0,13 0 15,0 1-15,0-14 0,0 14 16,0-1-16,0-13 0,0 14 0,0-14 16,13 13-16,-13-12 0,13-1 0,0 13 15,-13-12-15,14-1 0,25 26 16,-25-39-16,-1 14 0,27-1 16,-14 0-16,0 0 0,1-13 15,-1 0-15,-12 14 0</inkml:trace>
  <inkml:trace contextRef="#ctx0" brushRef="#br0" timeOffset="86546.63">12144 5133 0,'-13'-40'15,"13"27"-15,-13 0 16,0 0-16,-1 13 15,1-14-15,-13 1 0,13 0 0,-14 0 16,1-1-16,-14 1 0,0 0 0,14 0 16,-14-1-16,0 1 0,1 0 15,12 13-15,-12-13 0,12 13 16,1 0-16,-1 0 0,1 13 0,-14-13 16,0 13-16,1 0 0,-1 1 0,14-1 15,-1 13-15,1 1 0,-1 13 16,1-14-16,12 0 0,-12 14 0,26 0 15,-13 0-15,0-1 0,13 1 16,0 0-16,0-1 0,13 1 0,0 0 0,0 13 16,0-14-16,14 14 15,-1-13-15,1 0 0,13-1 0,26 14 16,-27-13-16,1-14 0,0-12 0,13 12 16,-14 0-16,1-12 0,0-1 15,-1 0-15,14-13 0,-13 13 16,0-13-16,-14 0 0,14 0 0,0-13 15,12 13-15,-12-13 0,0 0 0,0-1 16,-1-12-16,14 0 0,-26 12 16,12-25-16,1 12 0,-14 1 0,14-14 15,13-39-15,-40 39 0,14 0 16,-14 1-16,-13-1 0,0 0 16,0 1-16,0-1 0,-13 0 0,-1 0 15,1 1-15,-13-1 0,-1 0 0,-12 14 16,-1-1-16,0-12 0,-13 26 0,0-14 15,-13 14-15,13 0 16,0 13-16,1 0 0,-1-14 0,0 14 16,0 14-16,0-14 0,13 13 0,1-13 15,-1 13-15,13 0 0,1 1 0,13-1 16</inkml:trace>
  <inkml:trace contextRef="#ctx0" brushRef="#br0" timeOffset="89373.37">2090 10464 0,'0'14'47</inkml:trace>
  <inkml:trace contextRef="#ctx0" brushRef="#br0" timeOffset="89982.34">4524 10570 0,'-26'-13'16</inkml:trace>
  <inkml:trace contextRef="#ctx0" brushRef="#br0" timeOffset="91394.54">8850 10491 0,'14'0'46,"-1"0"-46,0 0 16,0 0-16,0 13 0,1-13 16,-1 0-16,0 0 0,14 13 15,-14-13-15,13 0 0,-12 0 16,12 0-16,0 0 0,1 13 0,-1-13 16,1 0-16,-1 0 0,1-13 0,-1 13 15,1 0-15,-1 0 0,1 0 0,-1-13 16,0 13-16,14 0 0,-27-13 15,14 13-15,-1-13 0,-12 13 0,12-14 16,0 14-16,-12-13 0,-1 13 0,13-13 16,-12 13-16,-1-13 0,0 13 15,0-14-15,1 14 0,12-13 16,0-13-16,-12 26 0,-1-14 16,13-12-16,-26 13 0,14 0 15,-1-1-15,0 1 0,-13 0 16,13 0-16,-13-1 0,0 1 15,0 0-15,0 0 0,0-1 0,0 1 16,0 0-16,0 0 0,-13-14 16,13 14-16,0 0 0,-13 0 0,0-1 15,-1-12-15,1 13 0,0-14 0,-14 1 16,1-1-16,13 14 0,-14-13 16,1 12-16,-14-12 0,14 13 15,-14-1-15,14 1 0,-14 0 0,0 0 16,-13 0-16,14-1 0,-14 14 0,0-13 15,13 13-15,-13 0 0,13 0 16,14 0-16,-27 13 0,27-13 0,-14 0 16,27 0-16,-14 0 0</inkml:trace>
  <inkml:trace contextRef="#ctx0" brushRef="#br0" timeOffset="93042.73">18309 2553 0,'-13'-26'31,"13"13"-31,-13 13 0,13-14 16,-14 14-16,1-13 0,0 0 0,0 0 15,0-1-15,-14 1 0,14 13 0,-27-26 16,14 12-16,-14 1 0,0 0 15,-13 13-15,14-13 0,-14 13 16,0-13-16,0 13 0,0 0 0,0 0 16,13 0-16,-12 0 0,-1 0 15,0 13-15,0-13 0,0 13 0,0 0 16,13 0-16,-13 1 0,14-1 0,-1 0 16,14 14-16,-14-14 0,13 13 15,14-12-15,-13 12 0,-1 0 0,14 1 16,13-1-16,-13 1 0,13-1 0,0 1 15,0-1-15,0 1 0,0 12 0,13 1 16,0 0-16,0-14 0,1 14 16,12 0-16,1-14 0,-1 14 15,14-1-15,-1-12 0,1-1 0,0 1 0,13-1 16,0 1-16,0-14 0,-1 0 16,1 0-16,53 14 15,-66-27-15,13 0 0,0 0 0,0 0 16,0 0-16,0 0 0,-1-13 0,-12 13 15,13-14-15,0 1 0,-13 13 16,13-13-16,-14 0 0,1-1 0,0 1 16,-1 0-16,-12 0 0,12 0 0,-12-1 15,-1 1-15,27-13 0,-26 12 16,-1 1-16,-13 0 16,1 0-16,12-1 0,-13 1 0,1 0 15,12-13-15,-13 12 0,0 1 0,1 0 16,-1 0-16,0-1 0,-13 1 0,13-13 15,1 13-15,-14-1 0,13 1 16,-13-13-16,0 12 0,13 1 0,-13-27 16,0 14-16,0 13 0,0-14 15,-13 14-15,13-13 0,-13 12 16,13-12-16,-14 13 0,1-14 0,0 1 16,-14 13-16,1-14 0,0 1 0,-1 12 15,1-12-15,-14 13 0,14-1 0,-14 1 16,0 0-16,0 0 0,1 0 15,-41-1-15,27 1 16,14 13-16,-14 0 0,0 0 0,0 13 16,0-13-16,13 14 0,-12-1 0,12 0 15,-13 0-15,0 14 0,13-14 16</inkml:trace>
  <inkml:trace contextRef="#ctx0" brushRef="#br0" timeOffset="95067.35">18984 5331 0,'13'-13'15,"-13"0"1,0 0 0,-13-1-1,13 1-15,0 0 0,-13 13 0,13-13 16,-14 0-16,-12-27 15,13 27-15,-1-1 0,-12-12 16,0 13-16,12-14 0,-12 1 0,-1 13 16,1-14-16,-1 1 0,1 12 0,0-12 15,-14 13-15,0-1 0,14 1 16,-27-13-16,13 13 0,0 13 0,1-14 16,-14 1-16,0 13 0,13 0 0,-13-13 15,0 13-15,1 0 0,-1 0 16,0 13-16,0-13 0,0 13 0,0 1 15,13-14-15,-13 26 0,14-13 0,-14 0 16,13 14-16,0-14 0,-13 14 16,27-1-16,-14 1 0,1-1 0,12 0 15,1 1-15,12-1 0,-12 1 0,13 13 16,0-14-16,-1 14 0,14-14 0,0-13 16,0 14-16,0-1 15,0 14-15,14 0 0,-1-14 0,13 14 16,-13-1-16,14-12 0,26 52 15,-14-52-15,41 39 0,-40-40 16,12 1-16,41 13 16,-53-14-16,13-13 0,-14 0 0,1-13 15,0 14-15,13-1 0,-14-13 0,1 0 16,-13 13-16,12-13 0,-12 0 16,26-13-16,-14 13 0,14 0 0,-13-13 15,13-1-15,-14 1 0,1 0 0,0 0 16,0-14-16,-1 1 0,1-1 0,0-12 15,-14-1-15,0 14 16,1-14-16,-14 0 0,0 0 0,1 1 16,-1-1-16,-13-13 0,0 14 0,0-14 15,-13 13-15,-1 0 0,1 1 0,-13 12 16,-1 1-16,-12-14 0,-14 13 16,0 14-16,-13-13 0</inkml:trace>
  <inkml:trace contextRef="#ctx0" brushRef="#br0" timeOffset="96919.18">12078 10623 0,'-26'-13'16,"65"13"15,-25 0-31,-1 0 0,13-13 16,1 13-16,13 0 0,-1-14 15,1 14-15,13-13 0,-14 13 16,1-13-16,13 13 0,-13 0 0,-14-13 15,14 13-15,-14 0 0,-12-14 0,12 14 16,1 0-16,-14 0 0,0 0 16,0-13-16,0 13 0,1 0 15</inkml:trace>
  <inkml:trace contextRef="#ctx0" brushRef="#br0" timeOffset="97479.65">12105 10755 0,'79'14'31,"-66"-28"-31,14 14 0,-1 0 16,-13 0-16,14 0 0,-1 0 0,1 0 15,-1-13-15,1 13 0,-14 0 0,13 0 16,1 0-16,-14 0 16,0 0-16,1-13 0,12 13 0,-13 0 15,0 0-15,1 0 16,-1 0-16,0 0 16,0 0-16,1 0 15,-1 0 32,0 0-16,0 0 63,-13-13 0,14 13-79</inkml:trace>
  <inkml:trace contextRef="#ctx0" brushRef="#br0" timeOffset="99347.04">17754 3043 0,'39'0'47,"-26"0"-47,1 0 0,-1-14 0,0 14 16,0 0-16,1 0 0,-1 0 0,0 0 15,0 0-15,-39 27 31,13-27-15,-1 0-16,1 0 0,0 13 16,0-13-16,-1 0 0,1 13 15,0-13-15,0 0 0,0 0 16,-1 0-16,41 14 31,-14-14-31,13-14 16,-12 14-16,-1 0 0,0 0 15,0 0-15,1 0 16,-54 0 15,27 0-31,-1 0 16,1 0-16,0 0 0,0 0 0,0 14 16,-1-14-16,1 0 0,0 0 15,0 13 1</inkml:trace>
  <inkml:trace contextRef="#ctx0" brushRef="#br0" timeOffset="100256.82">18772 2342 0,'0'-14'31,"13"41"16,1-14-32,-1-13 1,0 0-16,0 0 16,1 0-16,25-13 0,1 13 0,0-27 15,26 14-15,-13-13 0,13-1 0,0 1 16,13-1-16,1-12 0,12-1 16,1 0-16,0-13 0,-14 0 0,14 0 15,-14 1-15,13-1 0,-12 13 0,-14 0 16,0 14-16,-13-1 0,0 1 0,0-1 15,-13 14-15,-14 0 0,1 0 16,-14 0-16,0 13 0,0-14 0,0 14 16,1-13-16,-1 13 15,0-13-15,0 13 16,-39 13 31,13 0-47,-1 1 0,-25-1 15,12 0-15,-39 27 16,26-27-16</inkml:trace>
  <inkml:trace contextRef="#ctx0" brushRef="#br0" timeOffset="101145.04">18825 2249 0,'0'26'62,"0"-12"-46,0-1-16,13 0 16,-13 0-16,0 1 31,0 12-16,14-26 1,-1 0 0,0 0-16,0 0 15,0 0-15,14 0 16,-14-13-16,14 0 0,52-1 16,-39-12-16,-1 13 0,14-1 0,0 1 15,0 0-15,-13-14 0,26 14 16,-13 0-16,-13 0 0,12 0 0,-12-1 0,13 1 15,-13 0-15,-1 0 0,1-1 16,0 1-16,-14 13 0,1-13 16,-14 13-16,13-13 0,-12 13 0,-1 0 15,0-13-15,0 13 0,1 0 0,-1 0 16,0-14-16,0 14 16,0 0-1,1-13-15,-41 40 63,14-27-63</inkml:trace>
  <inkml:trace contextRef="#ctx0" brushRef="#br0" timeOffset="104879.23">7686 3360 0,'0'13'0,"13"-13"31,1 0-15,-1 0 31,0 0 234,0 0-218,1 0-17,-14-13 579,13 13-609,-13-13-16,13 0 0</inkml:trace>
  <inkml:trace contextRef="#ctx0" brushRef="#br0" timeOffset="106334.46">11483 2381 0,'0'13'0,"-13"-13"16,-1 14 46,14-1 16</inkml:trace>
  <inkml:trace contextRef="#ctx0" brushRef="#br0" timeOffset="107858.94">18296 5913 0,'-13'0'0</inkml:trace>
  <inkml:trace contextRef="#ctx0" brushRef="#br0" timeOffset="109025.69">7289 5781 0,'-13'80'0,"26"-67"16,-13 0-16,13 13 0,1 1 15,-1-1-15,13 1 0,80 52 16,0-39-1,-66-40-15,-14 13 16,14-13-16,0 0 0,-14 0 16,14-13-16,13 13 0,-27 0 0,14-13 15,0-1-15,-14 1 0,0 0 0,-12 0 16,12-1-16,-13-12 0,1 13 16,-1 0-16,0-14 0,-13 14 0,0-14 15,0 1-15,0 0 0,-13-1 0,0-13 16,-1 14-16,1-1 0,-13-12 15,-1 12-15,1 14 0,-1-13 0,-12 12 16,12-12-16,1 13 16,-1 13-16,1-14 0,-1 14 15</inkml:trace>
  <inkml:trace contextRef="#ctx0" brushRef="#br0" timeOffset="110270.83">11615 5503 0,'-13'14'0</inkml:trace>
  <inkml:trace contextRef="#ctx0" brushRef="#br0" timeOffset="113143.19">6403 11986 0,'-13'0'0,"-14"0"32</inkml:trace>
  <inkml:trace contextRef="#ctx0" brushRef="#br0" timeOffset="113648.27">6337 11906 0,'92'-13'31,"-65"13"-31,-1-13 0,1 13 15,12-13-15,28-1 0,-41 14 16,1 0-16,12-13 0,-26 13 16,14 0-16,-14-13 0,0 13 0,1 0 15,-1 0-15,-53 13 32,27 0-32,-14-13 15,1 14-15,0-14 0,-1 13 0,-39-13 16,39 13-16,14-13 0,-13 0 15,13 0-15,-1 13 0,1-13 16,53-13 0</inkml:trace>
  <inkml:trace contextRef="#ctx0" brushRef="#br0" timeOffset="116100.09">7488 12052 0,'26'0'31,"-13"0"-31,-13-13 16,27 13-16,-14 0 0,0 0 15,14 0-15,-14 0 0,0 0 16,27 0-16,0-14 16,-27 14-16,0 0 0,0 0 15,1 0-15,-1 0 0,0 0 0,0 0 16,-52 0 15,25 0-31,1 14 16,-13-14-16,-1 0 0,1 0 0,-1 13 15,1-13-15,-14 13 0,14-13 16,-1 0-16,1 0 0,12 13 0,-12-13 16,13 0-16,0 0 0,-1 0 0,54 0 46,-27 0-46,0 0 0,14 0 0,-14 0 16,14 0-16,-1 0 0,-13 0 16,14 0-16,-14 0 0,0 0 15,0 0-15,1 0 16,-41 13 15,14-13-31,-13 0 0,12 0 16,-12 0-16</inkml:trace>
  <inkml:trace contextRef="#ctx0" brushRef="#br0" timeOffset="117767.24">8916 11946 0,'27'13'0,"39"14"31,-53-14-31,14-13 0,-1 0 16,1 13-16,12-13 0,-12 0 15,13 0-15,-14 0 0,27-13 0,-13 13 16,-1-13-16,41-1 15,-41 1-15,1 0 0,0 0 16,-14-1-16,-13 1 0,14 0 0,13-13 16,-14 12-16,-13 1 0,0 0 15,1 0-15,-1 13 0,0-14 0,-13 1 16,13 0-16,-13 0 0,0 0 0,0-1 16,0-12-16,0 13 0,0-1 15,0 1-15,0-13 0,-13 12 16,0-25-16,0 12 0,13 1 15,-27-27-15,14 26 16,-13 1-16,-27-53 16,39 52-16,-12 1 0,-14-27 15,14 26-15,-27-12 0,26 12 16,-12 14-16,-1 0 0,0-1 16,1 1-16,-41 0 0,41 0 15,12 13-15,-52 0 0,26 13 16,0-13-16,0 13 0,0 0 15,-13 14-15,13-14 0,0 14 16,0-1-16,0 1 0,-39 39 16,39-27-16,13 1 0,0 0 15,1 13-15,12-14 0,1 1 0,-14 53 16,40-54-16,-13 1 0,26 13 16,-13-13-16,13-1 0,14 27 15,-14-39-15,40 26 16,-27-27-16,1 1 0,-1-1 15,14-13-15,-14 1 0,14-1 16,26 13-16,-39-26 0,-1 0 16</inkml:trace>
  <inkml:trace contextRef="#ctx0" brushRef="#br0" timeOffset="118307.08">10358 12197 0,'40'0'16,"-27"0"-16,14 0 0,-1-13 16,14 13-16,0 0 0,13 0 0,-14-13 15,14 13-15,0 0 0,0-13 0,-13 13 16,13 0-16,0 0 0,-1 0 0,1-14 15,0 14-15,0 0 0,0 0 16,40 0-16,-54 0 16,-12 0-16,-1 0 0,1 0 0,-1 0 0,-13-13 15,1 26-15,-1-13 0,0 0 16</inkml:trace>
  <inkml:trace contextRef="#ctx0" brushRef="#br0" timeOffset="118603.12">10358 12422 0,'93'0'0,"-186"0"0,239 0 0,-80 0 16,66 0-16,-52 0 15,-1 0-15,-13-13 0,14 13 0,-1 0 16,-26 0-16,13 0 0,-13 0 0,0 0 16,0 0-16,0 0 0,0 0 15,0 0-15,-14 0 0,14 0 16,-26 0-16,12 0 0,-25 0 16,-1 0-16,0 0 15,-39-13 1</inkml:trace>
</inkml:ink>
</file>

<file path=ppt/ink/ink30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2:37:55.170"/>
    </inkml:context>
    <inkml:brush xml:id="br0">
      <inkml:brushProperty name="width" value="0.05292" units="cm"/>
      <inkml:brushProperty name="height" value="0.05292" units="cm"/>
      <inkml:brushProperty name="color" value="#0070C0"/>
    </inkml:brush>
  </inkml:definitions>
  <inkml:trace contextRef="#ctx0" brushRef="#br0">17013 1839 0,'-14'119'16,"14"-66"-1,-13 0-15,0 0 0,0 13 0,13 0 16,-13 0-16,-1 0 0,1 14 0,0-14 15,0 0-15,-1 0 0,1 0 16,0-13-16,0 13 0,13-13 16,-13-13-16,13 0 0,-14-1 0,14 14 15,0-40-15,0 14 0,-13-14 16,13 14-16,0-14 0,0 0 16,0 0-16,0 0 0,0 1 15,13-14-15,1 0 16,-1 0-16,13-14 0,1 14 15,12-13-15,14 0 0,0 0 16,13 0-16,0-1 0,14 14 0,-14-13 16,13 0-16,14 13 0,0-13 0,-1 13 15,1 0-15,13-14 0,39 14 16,-13 0-16,1 0 0,12 0 0,-12 0 16,12 0-16,1 0 0,-1 0 0,1 0 15,-1 14-15,1-14 0,-1 0 16,-13 0-16,1 0 0,-27 13 15,-1-13-15,-12 0 0,0 13 0,-14-13 16,0 13-16,-12-13 0,-15 14 0,1-14 16,-13 0-16,0 13 0,-14-13 0,-13 0 15,14 0-15,-14 0 0,0 0 16,1 0-16,-1 0 0,0 0 16,0 0-1,-26-13 1,0 13-16,-14 0 0,14-14 0</inkml:trace>
  <inkml:trace contextRef="#ctx0" brushRef="#br0" timeOffset="1986.25">18997 4220 0,'13'0'15,"1"0"-15,12 0 16,14-13-16,-1 13 0,14 0 15,0 0-15,0-13 0,27 13 0,-14 0 16,13 0-16,0 0 0,1-14 16,-14 14-16,0 0 0,13 0 0,-26 0 15,13 0-15,1 0 0,-14 0 0,-1 0 16,15 0-16,-14 0 0,-14 0 0,1 14 16,-14-14-16,1 0 0,13 0 15,-40 13-15,13-13 0</inkml:trace>
  <inkml:trace contextRef="#ctx0" brushRef="#br0" timeOffset="2225.92">19368 4260 0,'26'13'15,"-13"-13"-15,14 0 16,-1 0-16,27 0 0,0 13 15,13-13-15,0 0 0,80 13 16,-93-13-16,26 0 0,-13 14 16,-13-14-16,0 0 0,13 0 0,-13 0 15,0 13-15,-13-13 0,-1 0 16,-12 0-16,-1 0 0,-12 0 0,12 0 16,-13 0-16</inkml:trace>
  <inkml:trace contextRef="#ctx0" brushRef="#br0" timeOffset="3328.89">2170 5583 0,'0'0'0,"52"0"16,134-14-1,-120 14-15,13 0 0,1-13 16,-1 13-16,0 0 0,14-13 0,-14 13 15,1 0-15,12-13 0,-12 13 0,-14 0 16,13-13-16,-13 13 0,0 0 16,-13 0-16,0-14 0,119 14 31,-158 0-31</inkml:trace>
  <inkml:trace contextRef="#ctx0" brushRef="#br0" timeOffset="3596.81">2619 5715 0,'27'13'16,"39"-26"-1,-40 13-15,27 0 0,0 0 0,-13 0 16,26 0-16,-13 0 0,0 0 0,0 0 15,0 0-15,13 0 0,-13 0 16,0 0-16,-14 0 0,1 0 16,0 0-16,-14 0 0,1 0 0,-1 0 15,1 13-15,-14-13 0,13 0 0,-12 0 16,25 0-16,-12 0 16,-14 0-16,0 0 0,0 0 15</inkml:trace>
  <inkml:trace contextRef="#ctx0" brushRef="#br0" timeOffset="4153.75">8692 5371 0,'26'13'0,"27"-13"16,-27 0-16,1 14 16,52-14-16,-39 0 0,13 13 15,39-13-15,-39 0 0,0 0 16,-13 13-16,0-13 15,26 0-15,-13 0 0,-27 13 16,1-13-16,-1 0 0,-13 0 16</inkml:trace>
  <inkml:trace contextRef="#ctx0" brushRef="#br0" timeOffset="4418.6">8824 5569 0,'40'0'15,"-27"0"-15,0 0 0,13 0 16,1 0-16,13 14 0,-14-14 16,14 0-16,-14 0 0,14 0 0,-14 0 15,14 0-15,-13 0 0,-1 0 16,0 0-16,1 0 0,-1 0 15,-12 0-15,12 0 0,-13 0 0,0 0 16,1 0-16,-1 0 0,0 0 0,0 0 16,1 0-16</inkml:trace>
  <inkml:trace contextRef="#ctx0" brushRef="#br0" timeOffset="5745.44">17304 5530 0,'53'0'15,"-14"0"-15,1 0 0,13 0 0,0 0 16,26 0-16,1 0 0,-1 0 0,14 0 16,-14 0-16,0 0 15,1 0-15,-1 0 0,0 0 0,-12 0 16,-14 0-16,-1 0 0,1 13 16,0-13-16,-13 0 0,-14 0 0,1 0 15,26 13 1</inkml:trace>
  <inkml:trace contextRef="#ctx0" brushRef="#br0" timeOffset="6144.98">17383 5609 0,'-40'13'0,"80"-26"0,-80 40 16,40-14-1,14-13-15,-1 0 0,13 0 0,1 13 16,26-13-16,-14 0 0,14 13 0,27-13 16,-14 14-16,13-14 0,-13 0 15,14 13-15,-14-13 0,13 13 0,-13-13 16,1 0-16,-15 0 0,1 13 0,14-13 16,-28 0-16,14 13 15,0-13-15,-26 0 0,12 0 0,-12 14 16,-1-14-16,1 0 0,-1 0 0,-13 0 0,14 13 15,-14-13-15,0 0 0,0 0 16,1 0-16,-1 0 16,0 0-16,0 0 0,1 13 15,-1-13 1,-40-13 31,14 13-47,-13 0 15,-1 0-15,-26 0 0,-13-13 16</inkml:trace>
  <inkml:trace contextRef="#ctx0" brushRef="#br0" timeOffset="8234.9">1826 6813 0,'66'-13'16,"-40"13"-1,27 0-15,0 0 0,26-13 0,1 13 0,-1-14 16,14 14-16,-1-13 0,14 13 16,0 0-16,13-13 0,13 13 15,-13-13-15,-13 13 0,0 0 16,-13-14-16,13 14 0,-14 0 0,14-13 0,-13 13 15,-1 0-15,1-13 0,-14 13 16,1 0-16,-1-13 0,0 13 0,-26 0 16,0 0-16,0 0 0,0 0 0,-13 0 15,-14-13-15,1 13 0,-1 0 16,1 0-16,-14 0 0,13 0 16,-13 0-16,1 0 0,-1 0 0,13 0 15,-12 0 1,-1-14 46,-26 14 204,13-13-235,13 0-31,0 13 16</inkml:trace>
  <inkml:trace contextRef="#ctx0" brushRef="#br0" timeOffset="8926.21">4524 5768 0,'0'79'31,"0"-39"-31,0 26 0,0 0 0,0 14 16,0-14-16,-13 13 0,13 1 16,0-1-16,0 14 0,0-27 15,0 13-15,-13-13 0,13 0 0,0-13 16,0 0-16,13-13 0,-13 0 15,0-14-15,0 0 0,0 1 0,0-14 16,13 0-16,-13 1 0,0-1 0</inkml:trace>
  <inkml:trace contextRef="#ctx0" brushRef="#br0" timeOffset="10362.89">4313 5847 0,'0'0'0,"26"0"0,-13-13 15,1 13-15,-1 0 0,13 0 0,1 0 16,-1-13-16,14 13 0,0 0 0,13 0 15,-1 0-15,1-13 0,0 13 16,0 0-16,27 0 0,-1 0 0,-13 0 16,13 0-16,1-14 0,-1 14 15,1 0-15,78 0 0,-78-13 16,12 13-16,1 0 0,-14 0 16,14-13-16,-1 13 0,14 0 0,-13 0 15,0 0-15,-1-13 0,14 13 0,-13 0 16,12 0-16,1 0 15,27 0-15,-28 13 0,1-26 0,146 13 16,-120 0-16,-26 0 0,26 0 16,0 0-16,1 0 0,12 0 0,-13 0 15,1-14-15,-1 14 0,0 0 0,1 0 16,-1 0-16,-26-13 0,13 13 0,13 0 16,0 0-16,-26 0 0,13 0 15,-13 0-15,26 0 0,-26 0 16,26 0-16,-12 0 0,-15 0 0,1 13 15,0-13-15,0 0 0,0 0 0,13 0 16,-13 0-16,-1 0 0,1 0 16,0 0-16,-13 0 0,13 0 0,-1 0 15,-12 0-15,105 0 0,-105 0 16,-14 0-16,14 0 0,0 0 16,-14 0-16,14 0 0,-14 0 15,0 0-15,1 14 0,-1-14 0,-13 0 0,14 0 16,-1 0-16,0 0 0,-13 0 15,1 0-15,-14 0 0,13 0 16,0-14-16,-13 14 0,13 0 0,-13 0 16,13 0-16,-13 0 0,13 0 0,-13 0 15,0 0-15,0-13 0,26 13 16,-39 0-16,-14 0 0,14 0 16,-14 0-16,1-13 0,-1 13 0,14 0 15,-27 0-15,1 0 0,-1 0 16,0 0-16,0-13 0,0 13 15,1 0-15,12 0 16,-13 0-16,1 0 16,-1 0-1,-13 13-15,13 0 0,-13 0 16,0 1-16,13 12 16,-13 1-16,0-1 0,0 14 15,0-1-15,13 1 0,-13 0 16,0 13-16,0-14 0,0 14 0,0 40 15,14-40-15,-14-13 0,0 12 0,13-12 16,-13 0-16,13 39 16,-13-39-16,13 0 0,-13-1 15,14-12-15,-14-1 0,13 1 16,-13-14-16,0 13 0,0-12 0,0-1 16,0 0-16,13 0 0,-26 14 15,13-14-15,-13-13 16,-1 26-16,-12-26 0,13 0 15,-14 14-15,1-14 0,-1 0 16,-78 13-16,52-13 0,-14 0 16,-65 0-16,53 0 0,-1 0 15,-12 0-15,-1 0 0,1 0 0,-14 0 16,0 0-16,0 0 0,-26 0 16,-14 0-16,-132-13 0,133 13 15,-1 0-15,1 0 0,-1 0 16,1 0-16,-1 0 0,1 0 15,-14 0-15,14 0 0,-160 0 16,147 0-16,-1 0 0,-304 0 16,304 0-16,0 13 0,0-13 15,1 0-15,12 0 0,-13 0 16,1 13-16,-1-13 0,0 0 0,-145 13 16,145-13-16,14 14 0,-146-14 15,145 13-15,-158 0 16,172-13-16,-14 13 0,14 0 15,-1-13-15,1 14 0,0-14 0,0 13 16,-120 0-16,146-13 16,1 13-16,12-13 0,-13 0 15,14 14-15,-107-1 0,106-13 16,14 13-16,-13-13 0,12 13 0,1-13 16,-1 0-16,1 14 0,13-14 0,0 0 15,-40 13 1,53-13-16,0 13 0,0-13 0,-39 13 15,52-13-15,13 0 0,-39 0 16,40 13-16,13-13 0,-14 0 0,1 0 16,12 0-16,-12 0 15,13 0-15,-1 0 0,-12 0 16,13 0-16,26-13 47</inkml:trace>
  <inkml:trace contextRef="#ctx0" brushRef="#br0" timeOffset="13093.71">19500 6429 0,'13'-13'0,"13"53"15,-12-14-15,-1 1 16,0 12-16,14 14 0,-27 0 0,13 0 16,0 0-16,0 0 0,-13 13 15,14-13-15,-1 0 0,-13 0 0,13-13 16,-13 13-16,13-14 0,-13 14 15,13-13-15,-13-1 0,14 1 0,-14-13 16,13-14-16,-13 13 16,0-12-16,13-1 0,-13 0 0,0 0 15,0 0 1,13-39-16,-13 13 16,0 0-16,0-1 0,0-25 15</inkml:trace>
  <inkml:trace contextRef="#ctx0" brushRef="#br0" timeOffset="13489.07">19606 6376 0,'0'-13'31,"-14"26"-31,1 1 0,0 12 16,0 1-16,-1-1 0,1 1 16,-13 12-16,13-12 0,-1 12 0,1-12 15,-13 13-15,12-14 0,1 0 0,0 1 16,13-1-16,-13-12 0,0 12 16,13 0-16,-14-12 0,14-1 15,0 0-15,-13-13 0,13 13 16</inkml:trace>
  <inkml:trace contextRef="#ctx0" brushRef="#br0" timeOffset="13771.93">19354 6390 0,'14'0'0,"-28"0"0,41 13 16,-14-13-16,0 13 0,14 0 0,-1 1 16,1-1-16,12 13 0,-12-12 15,12 12-15,-12 0 0,13-12 0,-1 12 16,-12-13-16,-1 14 0,1-14 16,-1 0-16,-13 1 0,14-1 0,-14 0 15,0 0-15,0 0 0,1-13 16,-14 14-16,13-1 0,0-13 0,0 13 15,-13 0-15,14-13 16,-14 14-16</inkml:trace>
  <inkml:trace contextRef="#ctx0" brushRef="#br0" timeOffset="15254.75">19963 7805 0,'0'-13'16,"-40"39"0,27-12-16,0 12 0,-14 1 0,1 12 15,-1 1-15,1 13 0,-1-13 0,1 12 16,-1-12-16,14 0 0,0 0 16,13-14-16,-13 0 0,13 1 15,0-1-15,0-12 0,0 12 0,13 1 16,0-14-16,0 0 0,1-13 0,-1 0 15,0 13-15,0-26 0,14 13 16,-14 0-16,14-13 0,-1-14 0,0 14 16,-12-13-16,12-1 0,-13 14 15,1-14-15,-1 14 0,0 0 0,0 0 16,-13 0-16,13-1 0,-13 1 16,14 0-16,-14 39 31,0-12-31,-14-1 15,14 13-15,0-13 0,-13 14 0,13-14 16,0 14-16,0-14 0,0 0 0,0 0 16,0 1-16,13-1 0,1 0 15,-1-13-15,0 0 16,0 0-16,1 0 0,12-13 16,-13 13-16,1-13 0,-1-1 0,0 1 15,0-13-15,-13 12 0,13-12 0,-13 13 16,0-1-16,0-12 0,-13 13 15,13 0-15,-13-1 0,13 1 0,-13 13 16,0-13-16,-1 13 0,-12-13 0,13 13 16,-1 0-16,1 0 0,-13 13 15,12-13-15,1 0 0,0 13 0,0-13 16,0 0-16,13 13 0,13 1 16,0-14-1,0 0-15,14 0 16,-14 13-16,0-13 0,14 0 0,-14 0 15,13 0-15,1 0 0,-1 13 16,1-13-16,-14 13 0,13-13 0,-12 13 16,-1 1-16,0-1 0,0-13 15,1 13-15,-14 0 0,0 1 0,13-1 16,-13 0-16,0 0 0,0 1 16,0-1-16,0 0 0,13-13 15,0-13 16,0 0-31,1 13 0,-1-14 16,-13 1-16,13 13 0,0-13 0,1 13 16,-1 0-16,0-13 15,0 13-15,1 0 0,-1 0 0,0 0 0,0 0 16,0 13-16,1-13 16,-1 13-16,0-13 0,0 13 15,-13 1-15,14-14 0,-14 13 16,13-13-16,0 13 0,0-13 0,-13 13 15,14-13-15</inkml:trace>
  <inkml:trace contextRef="#ctx0" brushRef="#br0" timeOffset="15917.84">21206 7752 0,'0'27'16,"-13"-14"-16,13 13 0,-13 1 15,0 13-15,-1-1 0,14 1 16,-13 13-16,0-13 0,13 12 16,-13-12-16,13 13 0,0-13 0,-13-14 15,13 1-15,0-1 0,13-13 16,-13 14-16,0-14 0,0 0 0,0 1 16,0-1-16,0 0 15,-13-26 1,13 0-16,-14 13 0,1-14 15,0 1-15,0 0 0,-1 13 16,1-13-16,0 13 0,0-14 0,-1 14 16,1 0-16,-13 0 0,13 0 0,-14 0 15,14 14-15,-14-1 0,14-13 16,0 13-16,-14 0 0,14 1 16,0 12-16,13-13 0,0 0 15,0 1-15,13-14 0,0 13 16,1-13-16,12 0 0,1 0 15,-1 0-15,14-13 0,13-1 0,-14 14 16,1-13-16,39-26 0,-39 25 16,-13 1-16,-1 0 0,-13 13 0,0-13 15,1 13-15,-1 0 16,0-14-16,0 14 0,1 14 16,-14-1-16,13 0 15,-13 0-15,0 1 0,0-1 16,0 0-16,0 0 0,-13-13 15,13 13-15,0 1 0,0-1 0,0 0 16,0 0-16</inkml:trace>
  <inkml:trace contextRef="#ctx0" brushRef="#br0" timeOffset="16021.93">21431 8215 0,'0'0'16,"-26"0"-16,13 0 0</inkml:trace>
  <inkml:trace contextRef="#ctx0" brushRef="#br0" timeOffset="16268.96">21736 7951 0,'13'0'0,"-26"0"0,26 26 32,-13-13-32,0 1 0,0 12 15,0 1-15,0-1 0,0 14 16,0 13-16,0-14 0,0 1 0,0-14 16,0 41-16,0-28 0,0-12 15,13-1-15,-13 1 0,0-14 16,13 0-16,-13 14 0,0-14 0,13-13 15,-13 13-15,0 0 0,14 0 16</inkml:trace>
  <inkml:trace contextRef="#ctx0" brushRef="#br0" timeOffset="16570.83">21603 8440 0,'-13'0'16,"0"-13"-1,26 0 1,0 0 0,14 13-16,-14 0 0,13-14 0,1 14 15,-1 0-15,1-13 0,12 13 16,-12 0-16,-14 0 0,14 0 16,-14 0-16,0 0 0,0 0 0,1 0 15,-1 13-15,0-13 0,0 14 16,0-14-16,-13 13 0,14 0 15,-14 0-15,13 0 0,-13 1 0,0-1 16,0 0-16,0 0 0,0 1 16,0-1-16,0 0 15,-13-13-15,13 13 16</inkml:trace>
  <inkml:trace contextRef="#ctx0" brushRef="#br0" timeOffset="16694.74">22040 8176 0</inkml:trace>
  <inkml:trace contextRef="#ctx0" brushRef="#br0" timeOffset="17433.25">22304 8242 0,'0'0'0,"-26"13"15,26 0-15,-13 0 0,13 1 16,-14-1-16,1 0 0,13 14 16,-13-14-16,13 13 0,-13-12 0,13-1 15,0 13-15,0-13 0,0 1 0,0-1 16,0 0-16,13-13 0,-13 13 15,13-13-15,-13 14 0,13-14 16,1 0-16,12 0 0,-26-14 16,13 14-16,14-26 0,-27 13 15,0-1-15,13 1 0,-13 0 16,0 0-16,0 0 0,-13-1 16,13 1-16,-13 13 0,13-13 0,-14 0 15,14-1-15,-13 14 0,0-13 16,0 0-16,-1 13 15,28 13 17,-1-13-32,0 13 15,0-13-15,1 14 0,-1-14 16,0 13-16,-13 0 0,13-13 0,1 13 16,-1 1-16,0-14 0,-13 13 15,13 0-15,0-13 0,-13 13 0,14-13 16,-14 13-16,13 1 0,-13-1 15,13-13 1,0 0 0,1 0-1,-1-13-15,0 13 16,0-14 0,0 14-16,1 0 0,-1 0 15,0 0-15,14 0 16,-14 0-1,0 0-15,0 14 0,1-14 16,-1 0-16,0 0 0,-13 13 16,13-13-16,0 0 0,1 0 0,-1 0 15,0 0-15</inkml:trace>
  <inkml:trace contextRef="#ctx0" brushRef="#br0" timeOffset="18710.56">23006 8361 0,'0'-13'16,"0"-1"-16,-14 1 47,1 26-16,0-13-15,13 14-1,0-1 48,13-13-63,-13 13 15,13-13-15,-13 13 16,14-13-16,-14 14 0,13-14 16,0 0-1,0 0-15,0 0 16,1 0-16,-1 0 0,0-14 15,0 14-15,1 0 16,-1-13-16,0 13 16,-13-13-16,13 13 0,-13-13 15,14 13-15,-1-14 16,0 1 15,0 13 47,-26-26-31,0 12-31,0 1-1,-1 13-15,14-13 16,-13 13-16,0 0 0,0-13 0,-1 13 16,1 0-16,-13 0 15,26 13-15,-14-13 16,1 0-16,13 13 0,-13-13 0,0 0 16,0 13-16,-1 1 0,14-1 15,-13-13-15,13 13 0,0 0 16,0 1-16,0-1 15,13 0 1,1-13-16,12 0 16,-13 0-16,0 0 15,1 0-15,-1-13 0,0 13 0,0 0 16,1-13-16,-1 13 0,0-14 0,0 14 16,1-13-1,-1 13-15,0 0 16,0 0-1,-13 13-15,0 1 16,13-1 0,-13 0-16,14-13 15,-1 0-15,0 0 16,14 0-16,-14-13 16,13 13-16,-13-13 0,1-1 15,-1 1-15,0 0 0,0-14 0,14 1 16,-14 0-16,14-14 0,-14 13 0,13-12 15,-13-14-15,14 13 16,-14-13-16,0 14 0,1-1 0,-1 13 16,0 1-16,-13-1 0,13 14 0,-13 0 15,0 0-15,0 39 16,-13-13 0,0 27-16,0 0 0,-1 0 0,14-1 15,-13 1-15,13 0 0,0-1 16,0 14-16,13-13 0,-13-14 0,14 14 15,-1-14-15,0 14 0,0-27 16,1 14-16,-14-14 0,13 0 0,0 1 16,0-14-16,0 13 0,1-13 0,-1 0 15,0 0-15,0 0 0,1 0 16,-1 0-16,0-13 16</inkml:trace>
  <inkml:trace contextRef="#ctx0" brushRef="#br0" timeOffset="19257.68">20690 9525 0,'-13'-26'0,"26"52"0,-26-13 32,0 14-32,13-1 15,-13 14-15,13 0 0,-13 12 0,13 15 16,-14-1-16,14 0 0,-13 0 0,13-13 16,-13 13-16,13-13 0,0 0 15,0-13-15,0 13 0,0-14 0,0-12 16,13-1-16,-13 1 0,0-14 0,13 0 15,-13 0-15</inkml:trace>
  <inkml:trace contextRef="#ctx0" brushRef="#br0" timeOffset="19605.43">20611 9657 0,'0'0'0,"79"-198"15,-52 171-15,-1 14 16,1 0-16,-14 0 0,13 13 0,1 0 16,-1 0-16,1 13 0,13 0 15,-14 0-15,0 14 0,1-14 0,-14 14 16,-13-1-16,13-13 0,-13 14 0,0-14 15,-13 13-15,0 1 0,0-1 0,-14 1 16,1-1-16,13 1 16,-14-1-16,1-13 0,-1 1 0,14-1 15,-14 0-15,14 0 0,-13-13 0,13 0 16,-1 13-16,1-13 0,0 0 0,0 0 16,-1 0-1</inkml:trace>
  <inkml:trace contextRef="#ctx0" brushRef="#br0" timeOffset="19916.77">21074 9790 0,'27'26'0,"-54"-52"0,67 52 16,-27-13-16,-13 0 0,13 1 0,-13 12 15,13-13-15,-13 14 0,0-1 0,0 1 16,0-1-16,-13 14 0,0-14 15,13 14-15,-13-13 0,0-14 0,13 0 16,0 0-16,-14 0 0,14 1 0,-13-1 16,13-40 15,0 1-31,13 0 0,1-1 16,-1-13-16,0 1 0,0 12 0,14-12 15,-14 12-15,13 1 0,-12-1 16,12 14-16,-13-14 0,0 14 0,1 13 15,12-13-15,-13 0 0,14 13 16,-14-13-16,0 13 0,1 0 16,12 0-16,-13-14 0</inkml:trace>
  <inkml:trace contextRef="#ctx0" brushRef="#br0" timeOffset="20249.74">21762 9697 0,'-26'13'0,"52"-26"0,-79 39 0,40-12 16,0-1-16,-1 0 0,1 14 0,0-1 15,0 0-15,13-12 0,-14 12 16,14 1-16,0-14 0,14 0 0,-14 14 16,13-14-16,0 0 0,0-13 0,1 13 15,12-13-15,1 13 0,-1-13 16,0-13-16,14 0 0,-13 0 0,-1 13 15,14-27-15,-27 1 0,13 13 16,-12-14-16,-1 1 0,0 12 0,-13-12 16,0 13-16,0 0 0,-13-14 15,0 1-15,-1 12 0,-12 14 16,13-13-16,0 0 0,-14 13 0,14 0 16,-14-13-16,14 13 0,-13 0 15,12 13-15,1-13 0,0 0 0</inkml:trace>
  <inkml:trace contextRef="#ctx0" brushRef="#br0" timeOffset="20676.87">22093 9366 0,'0'0'0,"13"-26"0,0 26 0,-13 26 31,0-13-31,0 1 15,0 12-15,0 1 0,0 12 16,-13 1-16,13 0 0,-13-1 0,13 1 0,0 13 16,-14-13-16,14-1 0,-13 1 0,13 0 15,-13-14-15,13 1 0,-13-14 16,13 13-16,0-12 0,0-1 0,0 0 16,-13 0-16,39-39 31,-26 13-31,13-1 0,0-12 15,14-1-15,-14 1 0,14-1 0,-1 1 16,-13 13-16,1 0 0,-1-1 16,13 1-16,-13 0 0,1 13 15,-1 0-15,-13-13 0,13 13 0,0 0 16,1 13-16,-1-13 0,-13 13 16,0 0-16,0 1 0,0-1 15,-13 0-15,-1 0 0,1 0 16,0 1-16,-27 25 15,14-25-15,13-1 0,-1 0 0,-12 0 0,13 1 16,-1-14-16,1 13 0,0-13 16,0-13-1</inkml:trace>
  <inkml:trace contextRef="#ctx0" brushRef="#br0" timeOffset="20836.59">22714 9816 0,'0'-13'31,"-13"13"-15</inkml:trace>
  <inkml:trace contextRef="#ctx0" brushRef="#br0" timeOffset="36245.04">7514 9803 0,'13'-27'16,"-13"14"-16,14 0 0,-14 0 15,13-1 1,-13 1-16,13 0 15,-13 0-15,13 0 0,1-1 16,-14 1-16,13 0 0,0-14 0,0 14 16,0 0-16,14 0 0,-14-1 15,14-12-15,-1 13 0,1 0 0,12-14 16,-12 14-16,12 0 0,1-1 0,0 1 16,-14 0-16,14 13 0,-14-13 15,1 13-15,-1 0 0,1-14 0,-14 14 16,13 0-16,1 0 0,-1 0 0,-12 0 15,12 0-15,0 14 0,-12-14 16,12 0-16,1 13 0,-14-13 0,13 13 16,-12-13-16,-1 13 0,13 1 15,-13-1-15,1-13 0,-1 13 0,0 0 16,0 1-16,1-14 0,-1 13 16,0 0-16,-13 0 0,26 0 15,-26 1-15,14-1 0,-1 0 16,0 0-16,0 1 15,-13-1 1,14-13-16,-14 13 16,13-13-1,-13 13 17,-13-13-1</inkml:trace>
  <inkml:trace contextRef="#ctx0" brushRef="#br0" timeOffset="36724.47">8480 9631 0,'13'26'47,"0"-26"-47,1 14 0,-1-1 16,0-13-16,0 13 15,0-13-15,1 13 16,-1-13-16,0 0 16,0 0-16,1 0 0,-1 0 15,0 0-15,0 0 0,1-13 16,-1 13-16,0-13 16,0 0-16,-13-1 0,13 1 15,-13 0-15,14 13 0,-1-40 16,-13 27-16,13 13 0,-13-13 15,0-1-15,13 1 0,-13 0 0,0 0 16,14 0 0,-14-1-16,0 1 15,0 0 1</inkml:trace>
  <inkml:trace contextRef="#ctx0" brushRef="#br0" timeOffset="42284.74">12634 9036 0,'0'-14'78,"0"1"-62,13 0 0,-13 0-16,13-1 0,1-12 15,-14 13-15,13-1 0,0 1 0,0 0 16,0-13-16,14-1 0,-1 1 16,-12 12-16,12 1 0,1-13 0,-1 12 15,0 1-15,-12-13 0,12 26 0,1-13 16,-1-1-16,1 1 0,-1 0 15,0 13-15,1-13 0,-1 13 0,14-14 16,-14 14-16,1 0 0,-1-13 16,1 13-16,13 0 0,-14 0 0,0 0 15,-12 0-15,12 0 0,1 0 16,-1 13-16,1-13 0,-1 0 0,-13 14 16,14-14-16,-14 13 0,27 0 15,-27 0-15,13 1 0,-13-1 16,1-13-16,-1 13 0,0 0 0,0 0 15,1 1-15,-1-1 0,-13 0 0,13 0 16,0 1-16,-13-1 0,14 0 0,-1 0 16,-13 1-1,13-1-15,-13 0 16,13 0-16,-13 0 31,13-13-31,1 0 47</inkml:trace>
  <inkml:trace contextRef="#ctx0" brushRef="#br0" timeOffset="42841.78">13798 8705 0,'0'-13'15,"13"39"32,0-13-47,-13 0 16,0 1-16,14-14 16,-14 13-16,0 0 0,13-13 0,-13 13 15,0 1-15,13-14 0,-13 13 0,0 0 16,13-13-16,-13 13 0,0 1 15,14-1-15,-14 0 16,0 0 0,0 0-1,-14-13-15,14 14 16,-13-1-16,0 0 16,0-13-16,13 13 0,-14-13 0,1 14 15,0-14-15,-13 13 0,12 0 16,1-13-16,0 13 0,-14 1 0,14-14 15,0 13-15,0-13 0,-1 13 0,1-13 16,0 13-16,0-13 0,0 0 16,-1 13-16,1-13 15</inkml:trace>
  <inkml:trace contextRef="#ctx0" brushRef="#br0" timeOffset="44457.59">17026 9287 0</inkml:trace>
  <inkml:trace contextRef="#ctx0" brushRef="#br0" timeOffset="46254.06">8837 10835 0,'13'0'0,"1"-14"16,-1 14-16,0 0 0,0 0 15,0-13-15,14 13 0,-14-13 0,14 13 16,12-13-16,-12 0 0,12-1 16,-12 1-16,13 0 0,-14-14 0,1 27 15,-1-13-15,0 0 0,-12 0 0,12-1 16,-13 1-16,1-13 15,-1 13-15,0-14 0,0 14 0,0-14 16,-13 14-16,14-13 0,-1-1 0,-13 1 16,0 13-16,13-14 0,-13 1 15,0-40 1,0 39-16,-106-198 31,80 199-15,-80-54-16,80 54 15,-27-1-15,26 27 0,14-13 16,-13 0-16,-1 13 0,1 0 16,-1 0-16,1 0 0,-14 0 0,-13 13 15,13 0-15,1 1 0,-1-1 0,0 0 16,14 14-16,-27-1 0,13 14 16,1-14-16,12 14 0,-13 0 0,14-1 15,-14 14-15,14-13 0,-1 0 0,1 12 16,-1-12-16,14 13 0,-13 0 0,13-13 15,13-14-15,-14 14 0,14-1 16,0 1-16,0-13 0,0-1 0,14 1 16,-14-1-16,13 0 0,0 1 0,0-14 15,0 0-15,1 14 0,-1-14 16,13 0-16,1 1 0,-14-14 0,14 13 16,12-13-16,-12 13 0,-1-13 15,14 0-15,-1 0 0,-12 0 16,13-13-16,-1 13 0,1 0 0,-14-13 15,1 13-15</inkml:trace>
  <inkml:trace contextRef="#ctx0" brushRef="#br0" timeOffset="47508.86">8824 10927 0,'0'27'0,"0"-14"0,0 0 15,0 0-15,0 14 0,0-14 16,0 14-16,0-1 0,0 0 0,13 1 16,-13 13-16,13-14 0,1 14 15,-1-14-15,13 14 0,-13-14 0,14 1 16,-1-1-16,14 14 0,13-14 15,-13 1-15,13-1 0,0 1 0,13-1 16,-13 1-16,13-1 0,0-13 0,0 14 16,0-14-16,0 14 0,14-14 0,-14 0 15,0 0-15,13 14 0,54-14 16,-54 0-16,-13 0 0,159 1 16,-93-14-1,-66 0-15,-13 0 0,14 0 16,-15 0-16,15 0 0,-14 0 15,-1-14-15,1 14 0,0 0 0,-13 0 16,0 0-16,-14-13 0,1 13 0,-14 0 16,13 0-16,-13 0 0,1 0 15,-1 0-15,0 0 0,0-13 16,1 13-16,-1 0 0,0 0 16,0-13-1,-13 0 16</inkml:trace>
  <inkml:trace contextRef="#ctx0" brushRef="#br0" timeOffset="47934.09">11218 11589 0,'-13'0'31,"26"26"0,1-26-31,-14 13 16,13-13-16,53 40 15,-40-27 1,1 1-16,-14-1 16,0 0-16,1-13 0,-1 13 0,13 1 15,-13-14-15,-13 13 0,14-13 16,-1 13-16,0 0 0,-13 0 16,13-13-16,-13 14 0,0-1 0,0 0 15,0 0-15,-13 14 0,0-14 16,0 13-16,-14 1 0,14-1 15,-13 1-15,-14 13 0,0-14 0,14 0 16,-14 14-16,0-27 0,1 27 0,12-13 16,1-14-16,-14 0 0,14 13 15,-1 1-15,-13-1 0</inkml:trace>
  <inkml:trace contextRef="#ctx0" brushRef="#br0" timeOffset="84530.48">15729 11311 0,'14'0'31,"-1"13"-15,0-13-16,0 0 0,1 0 16,-1 0-16,0 0 15,0 0-15,1 13 0,-1-13 0,0 0 16,0 0-16,0-13 15,1 26-15,-1-13 16</inkml:trace>
  <inkml:trace contextRef="#ctx0" brushRef="#br0" timeOffset="84714.63">15729 11509 0,'14'14'32,"12"-14"-32,-13 0 15,1 0-15,-1-14 0,0 14 16,0 0-16,1 0 0,12-13 0,-13 13 16,14-13-16,-1 13 0,1-13 0</inkml:trace>
  <inkml:trace contextRef="#ctx0" brushRef="#br0" timeOffset="85033.64">16298 11311 0,'-13'40'31,"0"-27"-31,13 0 16,0 0-16,0 1 0,13 12 0,-13-13 15,0 0-15,13 1 0,1 12 16,-14-13-16,13 1 0,0-14 0,0 13 15,0 0-15,14-13 0,-14 0 16,14 0-16,-14 0 0,13 0 0,1 0 16,-14-13-16,0 0 0,14-1 0,-14 14 15,0-13-15,-13 0 0,13 0 16,-13-1-16,0 1 0,0 0 16,0 0-16,-13 0 0,0-1 0,0 14 15,-1-13-15,1 0 0,0 13 0,-13-13 16,12 13-16,-12 0 0,13 0 15,-14-14-15,14 14 0,-14 0 0,-25 14 16,25-14 0,14 0-16,-14 0 0</inkml:trace>
</inkml:ink>
</file>

<file path=ppt/ink/ink30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2:38:58.569"/>
    </inkml:context>
    <inkml:brush xml:id="br0">
      <inkml:brushProperty name="width" value="0.05292" units="cm"/>
      <inkml:brushProperty name="height" value="0.05292" units="cm"/>
      <inkml:brushProperty name="color" value="#0070C0"/>
    </inkml:brush>
  </inkml:definitions>
  <inkml:trace contextRef="#ctx0" brushRef="#br0">8758 1310 0,'66'-14'15,"291"-38"1,-264 38-16,-1 14 16,14-13-16,26 13 0,-26 0 0,0-13 15,0 13-15,0 0 0,0 0 0,-1 0 16,1 0-16,-13 0 0,-1 0 0,1 0 16,-14 0-16,1 13 0,-14-13 15,-13 0-15,-13 0 0,12 0 0,-25 0 16,-1 13-16,1-13 0,-14 0 15</inkml:trace>
  <inkml:trace contextRef="#ctx0" brushRef="#br0" timeOffset="309.11">8983 1521 0,'185'-13'16,"-106"13"0,1 0-16,12 0 0,14-13 15,-13 13-15,12 0 0,1-13 0,27 13 16,-28 0-16,1-14 0,-13 14 0,-1 0 16,1 0-16,-14 0 0,1 0 15,-14-13-15,0 13 0,-26 0 0,13 0 16,-14 0-16,-12 0 0,-14 0 0,14 0 15,-14 0-15,0 0 0,0 0 16,0 0-16,1 0 0,-1 0 16</inkml:trace>
  <inkml:trace contextRef="#ctx0" brushRef="#br0" timeOffset="5574.23">9194 5794 0,'0'-13'0,"14"13"16,-14 13 0,13 1-16,-13 12 0,13 40 15,0-26-15,-13 0 16,13 26-16,-13 0 0,0-13 0,0 0 15,0 0-15,0 0 0,0-1 16,0 1-16,-13-13 0,13 0 0,0-1 16,0-12-16,0-1 0,0-12 0,0 12 15,0 40 1</inkml:trace>
  <inkml:trace contextRef="#ctx0" brushRef="#br0" timeOffset="7399.28">9128 5755 0,'27'-14'16,"-1"14"-1,-13 0-15,1 0 0,12 0 0,0 0 16,-12 0-16,12 0 0,14 0 16,-14 0-16,14 0 0,13 0 0,0 0 15,0 0-15,0 0 0,13 0 0,-13 0 16,13-13-16,-13 13 0,26 0 16,-26 0-16,13 0 0,14 0 0,52 0 15,-66 0-15,0 0 0,0 0 16,-13 0-16,13 0 0,-13 0 15,13 0-15,-13 0 0,0 0 16,0 0-16,13 0 0,-13 0 0,0 0 16,0 13-16,0-13 0,0 0 0,0 0 15,0 0-15,0 0 0,0 0 16,-1 0-16,15 0 0,-14 0 0,-1 0 16,15 0-16,-14 0 0,13 0 0,0 0 15,-13 0-15,26 0 0,-13 0 16,-13 0-16,13 0 0,14 0 15,-14 0-15,0 14 0,13-14 0,-26 0 16,13 0-16,-13 0 0,13 13 16,-13-13-16,0 0 0,13 0 0,1 13 15,12-13-15,-13 0 0,-13 0 0,26 13 16,-26-13-16,13 0 0,-13 0 0,0 14 16,27-14-16,-14 0 0,66 13 15,-79-13-15,13 0 0,-13 0 16,0 0-16,13 0 0,-13 13 0,0-13 15,0 0-15,0 0 0,0 0 16,-14 0-16,14 0 0,0 13 0,-13-13 16,-14 0-16,14 0 0,-13 0 0,12 0 15,-12 0-15,12 0 0,-12 0 16,-14 0-16,14 0 0,-1 0 16,0 0-16,-12 0 0,12 0 0,-13 0 15,14 0-15,-14 0 0,13 0 16,41 0-1,-54 0-15,0-13 0,14 13 16,-14 0-16,0 0 0,0 0 0,0 0 16,14 0-16,-14-13 0,0 13 0,14 0 15,-14 0-15,14 0 0,-14 0 0,0-13 16,13 13-16,-12 0 0,12 0 0,-13-14 16,1 14-16,12 0 0,-13 0 15,1 0-15,-1-13 0,0 13 0,13 0 16,-12 0-16,-1 0 0,0-13 15,0 13-15,1 0 0,-1 0 16,13 0-16,-12-13 0,-1 13 0,0 0 16,0 0-16,0 0 0,1-14 0,-1 14 15,0 0-15,0-13 16,1 13-16,-1 0 0,0 0 16,0 0-16,0 0 0,-13-13 15,14 13-15,-1 0 16,0 0-1,0 13 17,-13 0-17,0 1 1,14-1-16,-14 0 0,0 0 16,0 1-16,0-1 0,0 0 15,0 14-15,0-1 0,0-13 0,0 14 16,0-1-16,-14 1 0,14-14 0,0 13 15,0 1-15,0-14 0,0 13 16,0 1-16,0-14 0,0 14 0,0-14 16,0 13-16,0-13 0,0 1 0,14-1 15,-14 13-15,0-12 0,0-1 16,0 0-16,0 0 0,0 1 16,0-1-16,13 0 0,-13 0 15,0 0-15,0 1 16,0-1-16,0 0 15,0 0 17,0 1-17,-13-14 1,-1 13 0,1-13-16,0 0 0,-14 0 15,14 0 1,0 0-16,0 0 0,0 0 0,-14 0 15,14 0-15,-14 0 0,1 0 0,0 0 16,-1 0-16,-26 0 0,0 0 16,14 0-16,-28 0 0,14 0 0,1 0 15,-1 0-15,0-13 0,-13 13 0,13 0 16,-14 13-16,1-26 0,0 13 0,0 0 16,0 0-16,13 0 0,-26 13 15,12-13-15,-12-13 0,0 13 0,-1 13 16,1-13-16,-14 0 0,14 0 0,0 0 15,-1 0-15,1 0 0,-1 0 16,-12 0-16,13 13 0,-1-13 16,14 0-16,-13 0 0,26 0 0,-13 13 15,13-13-15,-27 0 0,14 0 0,0 0 16,13 0-16,-13 14 0,13-14 16,-13 0-16,0 0 0,13 0 0,-27 13 15,27-13-15,-26 0 0,13 13 0,13-13 16,-13 0-16,0 0 0,13 13 15,0-13-15,0 0 0,0 13 0,0-13 16,0 0-16,14 14 0,-14-14 0,13 0 16,0 0-16,-13 13 0,14-13 0,12 0 15,1 0-15,-14 0 0,14 0 16,-14 0-16,13 0 0,-12 0 0,12 13 16,-12-13-16,12 0 0,-13 0 15,14 0-15,0 0 0,-1 0 16,1 0-16,12 0 0,-12 0 0,13 0 15,0 0-15,-1 0 0,1 0 0,0 0 16,0 0-16,13 13 0,-14-13 16</inkml:trace>
  <inkml:trace contextRef="#ctx0" brushRef="#br0" timeOffset="8381.78">18812 5808 0,'0'0'0,"-13"0"0,13-14 16,-14 41-1,14-14-15,0 14 16,-13 12-16,0 1 0,0 13 0,-14 0 16,14-14-16,-13 14 0,26 0 15,-14-13-15,1 0 0,0-1 0,0 1 16,13 0-16,-14-14 0,14 1 16,0-1-16,-13 1 0,13-1 0,0-13 15,0 0-15,0 1 0,0-1 16,0 0-16,-13 0 0,13 1 0,13-14 15,0-14 1,1 14 0</inkml:trace>
  <inkml:trace contextRef="#ctx0" brushRef="#br0" timeOffset="9511.84">18693 5768 0,'159'-27'31,"-107"14"-31,-12 13 16,13 0-16,0 0 0,0-13 0,13 13 15,-13 0-15,26 0 0,1-13 0,-1 13 16,0 0-16,1 0 0,-1 0 16,1 0-16,-1 0 0,0 0 0,1 0 15,-1 0-15,0 0 0,1 0 0,-1 0 16,-26 0-16,13 0 0,-13 0 15,13 13-15,-13-13 0,0 0 0,0 0 16,0 0-16,0 0 0,-13 0 0,-14 0 16,14 0-16,-14 0 0,1 0 15,-1 0-15,1 0 0,-14 0 0,0 0 16,0 0-16,1 0 0,-1 0 16,0 0-16,0 0 0,0 0 15,1 0 1,-1 0-1,-13 13-15,13 0 16,-13 1 0,13-1-1,-13 0-15,0 0 0,14 1 0,-14-1 16,0 0-16,0 14 0,13-1 16,-13 0-16,0 14 0,0 0 0,13-1 15,-13 1-15,0 0 0,13-14 0,-13 14 16,0-14-16,0 1 0,13-1 15,-13 1-15,0-1 0,0-12 16,0 12-16,0-13 0,0 0 0,0 14 16,0-14-16,0 0 0,0 1 0,0-1 15,0 0-15,0 0 0,-13 1 16,0-1-16,0 0 16,0-13-16,-1 0 0,1 13 0,0-13 15,-14 0-15,1 0 0,0 0 0,-1 0 16,1 0-16,-27-13 0,0 13 15,0 0-15,-13-13 0,-14 13 16,14-13-16,-13 13 0,13 0 0,-14-14 0,14 14 16,0 0-16,0-13 0,0 13 15,0 0-15,13 0 0,-14 0 16,15-13-16,-15 13 0,15 0 0,-1 0 16,-14 0-16,15 0 0,-1 0 0,0 0 15,13 0-15,-13 0 0,0 0 16,0 0-16,0 0 0,0 0 0,14 13 15,-14-13-15,13 0 0,0 0 0,14 0 16,-14 0-16,14 0 0,-14 0 16,14 0-16,-1 0 0,-12 0 0,12 0 15,-13 0-15,27 0 0,-13 0 0,-1 0 16,1 0-16,13 13 0,-1-13 16,1 0-16,0 0 0,-14 0 15,14 0-15,0 0 16,0 0-16,0 0 15,-1 0 1,1 0 0,0 0-1,0 0 17,-1 0 14</inkml:trace>
  <inkml:trace contextRef="#ctx0" brushRef="#br0" timeOffset="13059.56">22397 5966 0,'-13'14'15,"0"-14"-15,13 13 16,-14 0-16,14 13 0,0-12 0,-13 12 15,13-13-15,0 14 0,0-14 0,0 14 16,0-14-16,0 13 0,13-13 16,-13 1-16,14-1 0,-1 13 0,0-26 15,0 14-15,0-1 0,1-13 0,12 13 16,-13-13-16,1 0 0,-1 0 16,13 0-16,-13 0 0,1-13 0,-1 13 15,0-13-15,0-1 0,1 1 16,-14 0-16,13 0 0,-13-1 0,0-12 15,0 13-15,0 0 0,0-1 0,0 1 16,0 0-16,-13-14 0,-1 14 16,1 0-16,0 0 15,-14 13-15,14 0 0,0 0 0,0 0 16,0 0-16,-14 0 0,14 0 16,-14 0-16</inkml:trace>
  <inkml:trace contextRef="#ctx0" brushRef="#br0" timeOffset="13342.15">22093 6204 0,'0'0'0,"26"-13"16,-13 13-16,1 0 0</inkml:trace>
  <inkml:trace contextRef="#ctx0" brushRef="#br0" timeOffset="13539.11">21908 6337 0,'13'13'16,"0"-13"-16,13 0 0,-12 0 16,-1-13-16,0 13 15,0 0-15,1-13 0,-1 13 0</inkml:trace>
  <inkml:trace contextRef="#ctx0" brushRef="#br0" timeOffset="13937.99">21471 6165 0,'-13'13'16,"13"0"-16,0 0 0,0 1 15,0 12-15,0-13 16,0 1-16,0-1 0,0 0 0,0 0 16,13 1-16,-13-1 0,0 0 0,0 0 15,0 0-15,13 1 16,-13-1-16,0 0 0,13-13 16,-13 13-16</inkml:trace>
  <inkml:trace contextRef="#ctx0" brushRef="#br0" timeOffset="14207.19">21471 6204 0,'0'-13'0,"0"26"0,13-39 0,-13 13 15,13 13-15,1 0 0,-14-13 16,13 13-16,0 0 15,0 0-15,-13 13 16,14 0-16,-28 0 16,14 0-16,-13 1 15,0-1-15,13 0 16,-13 0-16,-1 1 0,1-1 16,0 0-16</inkml:trace>
  <inkml:trace contextRef="#ctx0" brushRef="#br0" timeOffset="14436.83">21643 6138 0,'13'-13'31,"-26"40"-31,13-14 0,-13 0 16,13 0-16,0 0 0,0 1 15,0-1-15,-14 13 0,14-12 0,0-1 16,0 0-16,0 14 0,0-14 0,0 0 16,0 0-16,0 0 0,0 1 15,0-1-15,0 0 0,0 0 16,14-13-16,-14 14 16</inkml:trace>
  <inkml:trace contextRef="#ctx0" brushRef="#br0" timeOffset="14794.68">21669 6337 0,'0'-13'16,"0"26"-16,14-13 31,-14 13-16,-14 0-15,14 0 16,0 1-16,14-14 0,-14 13 16,0 0-16,0 0 15,13-13-15,-13 14 0,0-1 16</inkml:trace>
  <inkml:trace contextRef="#ctx0" brushRef="#br0" timeOffset="15146.46">21722 6324 0,'0'-14'0,"0"28"0,0-41 0,14 27 15,-14-13 1,26 26 0,-26 0-1,13-13-15,-13 14 16,13-1-16,-13 0 0,14 0 16,-14 0-16,0 1 0,0-1 15,0 0-15,0 0 16,0 1-16,-14-1 0,1 0 15,13 0-15,-13 1 0,0-1 16,0-13-16,-1 13 0,1 0 16,0-13-16,0 13 0,-1-13 15</inkml:trace>
  <inkml:trace contextRef="#ctx0" brushRef="#br0" timeOffset="47313.24">12144 7289 0,'27'0'125,"-1"0"-125,1 0 16,39 0-16,26 0 16,14 0-16,-13 0 15,-40 0-15,53 0 16,-14 0-16,27 0 16,0 0-16,-26 13 15,0-13-15,-14 14 16,0-14-16,27 13 15,13 0-15,-13-13 16,26 0 0,-26 0-16,27 0 15,-28 0-15,14 0 0,40-13 16,-66 13-16,13-13 16,-40 13-16,13-14 15,14 14 1,-27 0-16,-13 0 15,0 0-15,39-13 16,-39 0-16,-13 13 0,0 0 16,-14-13-16,27 0 15,-27 13 1,14 0-16,-13 0 16,12-14-16,54 14 15,-27 0-15,40 0 16,-14 0-16,1 0 15,26 0-15,-26 0 16,65 0-16,-105 0 16,-13 0-16,0 0 15,-14 0-15,-13 0 16,14 0-16,13 0 16,26 0-1,0 14-15,13-1 16,27-13-16,40 26 0,-27-26 15,-27 13-15,41 1 16,-28-14-16,1 0 16,-40 0-1,-13 0-15,0 0 16,-13 0-16,13 0 16,-40 0-16,0 0 0,1 0 15,-1 0 126,13 0-79,-13 0-30,-13-14-32,14 1 15,-1-13 1,0-1-16,0 1 15,-13 13-15,14-67 16,12-26-16,1 14 16,-27 65-16,0 1 0,0-27 15,0 13-15,0 1 16,0 12 0,0 1-16,0-1 15,0 14-15,0 0 16,0-14-16,0 14 15,0 0 1,0 0-16,0-1 16,0 1-1,-27 13 188,1 0-187,-1 0-16,1 0 16,12 0-16,-12 0 15,-14 0-15,14 0 16,-14 0-16,14 0 16,-27 0-16,0 0 15,-27 0-15,14-13 16,-13 13-16,-27-13 15,0 13-15,0 0 16,-13 0-16,14 0 16,-41 0-16,27 0 15,26 0-15,-92 0 16,93 0 0,-14 0-16,26 0 0,41 0 15,-14 0-15,0 0 16,13 0-16,14 0 15,12 0 1,-12 0-16,0 0 16,-1 0-16,-13 0 15,1 0-15,-14 0 0,-13 0 16,39 0-16,-39 0 16,13 0-1,0 0-15,-39 0 16,39 0-16,0 0 15,13 0-15,0 0 16,14 0-16,13 0 16,-1 0-16,-12 0 15,13 0-15,-14 0 16,1 0-16,-1 0 16,-12 0-16,12 0 15,-39 0-15,26 0 16,-12 0-16,-1 0 15,-14 0-15,28 0 16,-1 0-16,0 0 16,14 0-16,-1 0 15,1 0-15,13 0 16,-14 0 0,14 0-16,-27 0 15,14 0-15,0 0 16,-14 0-16,13 0 15,-39 13-15,13 0 0,0-13 16,0 0 0,-13 0-16,27 0 15,-14 0-15,13 0 16,-13 0-16,13 0 16,1 0-16,12 0 15,1 0-15,-1 0 16,-12 0-16,25-13 15,-12 13-15,0 0 16,12 0-16,1 0 16,0 0-1,-14 0-15,1 0 16,-40 0-16,39 0 16,-12 0-16,-14 0 15,13 0-15,-26 0 16,0 0-16,-14 0 15,1 0-15,-27 0 16,66 0 0,14 0-16,13 0 15,-14 0-15,1 0 16,13 0-16,-1 0 0,1 0 16,0 0-16,-14 0 15,14 0 1,-13 0-16,-1 0 15,-12 0-15,12 0 16,14 0-16,-14 0 16,1 0-16,0 0 15,-14 0-15,0 0 16,14 0-16,-1 0 16,-26 0-16,40 0 15,-13 0-15,-14 0 16,14 0-16,12 0 15,1 0-15,0 0 16,0 0 0,-1 0 77,1 0-77,13 13 0,-13-13-1,13 13-15,-13-13 16,13 14 0,-14-1-1,1 0 1,13 0-1,-13 1 1,13-1-16,0 13 16,0-12-1,-13 25-15,13-26 16,0 14 0,0-1-16,0-12 15,-13-1-15,13 26 16,0-25-16,0 25 15,0-12-15,0 26 16,0-27-16,0-13 16,0 14-16,0-14 15,0 0 17,0 1-1,0-1-31,0 0 15,0 0 1,0 14 0,0-1-16,0 1 15,0-14 17,0 13-32,0-12 15,0-1-15,0 0 16,0 13-1,0-12 1,0-1 0,0 0 15,26-13 141,-13 0-157,0 0-15,14 0 16,-1 0-16,1 0 16,-14 0-16,0 0 15,1 0-15,12 0 16,0 0 0,-12 0-1,-1 0 16,0 0-15,0 0-16,1 0 31,-1 0-15,0 0-16,0 0 16,1 0-1</inkml:trace>
  <inkml:trace contextRef="#ctx0" brushRef="#br0" timeOffset="51785.93">17238 8943 0,'0'13'47,"13"14"-47,27-27 16,-1 0-16,14 26 15,66-13-15,27 1 16,-27-14 0,-27 13-16,54-13 0,26 0 15,40 0 1,-27 13-16,0-13 15,-13 0-15,-13 0 16,13 0-16,-40 0 16,-26 0-16,-40 0 15,-26 0-15,13 0 16,-40 0-16,0 0 16</inkml:trace>
  <inkml:trace contextRef="#ctx0" brushRef="#br0" timeOffset="53832.22">3400 10464 0,'0'0'0,"40"0"31,-14 0-31,0 0 15,1 0-15,-1 0 0,14 0 16,13 0-16,-13 0 0,13 0 0,0 14 16,-1-14-16,-12 0 0,0-14 0,-14 14 15,14 0-15,-14 0 0,1 0 16,-1 14-16,1-28 0,-1 14 0,-12 0 16,-1 0-16,13 0 0,-13 0 15,1 0-15,-1 0 0,-53 0 31,14 0-31,-1 0 16,1 0-16,-1 0 0,-26 0 0,14 0 16,-14 14-16,0-14 15,26 0-15,-25 0 0,25 0 0,1 0 16,-1 13-16,14-13 0,-14 0 0,14 0 16,0 0-16,0 13 15,39-13 1,-13 0-16,1 0 0,12 0 15,14 0-15,-14 13 0,14-13 0,-14 0 16,27 0-16,-13 0 0,0-13 16,-14 13-16,14 0 0,-14 0 15,1 0-15,-14 0 0,14 0 0,-14 0 16,0 0-16,0 0 0,0 0 0,1 0 16,-1 0-16,-13 13 0,13-13 15,0 13 1</inkml:trace>
  <inkml:trace contextRef="#ctx0" brushRef="#br0" timeOffset="54838.98">2818 11218 0,'40'0'31,"92"14"-15,-93-14-16,1 0 15,13 0-15,-13 0 0,-1 0 0,1 0 16,0 0-16,-14 0 0,14 0 0,-14 0 16,1 0-16,-1 0 0,1 0 15,-14 0-15,13 0 0,-12 0 0,-1 0 16,0 13-16,0-13 16,-39 13 15,13-13-31</inkml:trace>
  <inkml:trace contextRef="#ctx0" brushRef="#br0" timeOffset="55117.88">2858 11351 0,'0'0'0,"-40"26"16,66-26 0,-26 13-1,27-13-15,-14 0 0,13 0 16,1-13-16,-1 13 0,1 0 15,12 0-15,-12 0 0,13 0 0,-14-13 16,1 13-16,12 0 0,-12 0 0,12 0 16,-12-13-16,-1 13 0,14 0 15,-14 0-15,-12 0 0,-1 0 16,0 0-16,0 0 0,1 0 16,-1 0-16,0 0 15,0 0 1,0 0-16,1 0 15,-1 0-15,0 0 0</inkml:trace>
  <inkml:trace contextRef="#ctx0" brushRef="#br0" timeOffset="55874.89">5067 11099 0,'66'0'31,"-40"0"-31,41 0 15,-41 0-15,14 0 0,-1 0 0,-12 0 16,26 0-16,-14 0 0,14 0 16,-13 0-16,-14 0 0,27-13 0,-13 13 15,-13 0-15,12 0 0,-12 0 0,12 0 16,-12-13-16,-1 13 0,-12 0 16,12 0-16,-13 0 0,0 0 0,1 0 15,-1 0-15,0 0 16,-39 0 15,12 13-31,1-13 0</inkml:trace>
  <inkml:trace contextRef="#ctx0" brushRef="#br0" timeOffset="56357.97">5159 11258 0,'27'0'0,"-14"0"15,14 0-15,-14 0 0,13 0 0,1 0 16,-1 0-16,14 0 0,-14 0 16,1 0-16,-1 0 0,1 0 0,-1 0 15,1 0-15,-1 0 0,0 0 0,1 0 16,-14 0-16,14 0 0,-14 0 15,0 0-15,14 0 0,-14 0 0,0 0 16,0 0-16,0 0 0,1 0 16,-1 0-16,0 0 15,0 0-15,1 0 16,-1 0 31,0 0-32,-13-13 95,0 0-110,-13-1 15</inkml:trace>
  <inkml:trace contextRef="#ctx0" brushRef="#br0" timeOffset="56999.03">5556 10597 0,'13'-27'16,"1"14"0,-1 0-16,0-1 15,0 14-15,1-13 0,-1 13 16,0-13-16,14 0 0,-1 0 16,0 13-16,-12-14 0,12 14 0,1-13 15,-1 13-15,1 0 0,-1 0 16,0 0-16,1 0 0,-14 0 0,14 0 15,-14 0-15,13 13 0,-13-13 0,14 14 16,-14-14-16,0 0 0,1 13 0,25 0 16,-39 0-1,14-13-15,-1 0 0,-13 13 0,13-13 16,-13 14-16,13-14 0,-13 13 16,13-13-16,-13 13 15,0 0 1,14-13-1</inkml:trace>
  <inkml:trace contextRef="#ctx0" brushRef="#br0" timeOffset="57369.01">6152 10411 0,'0'0'0,"26"0"47,-26 14-47,13-14 0,-13 13 0,13-13 16,1 13-16,-1-13 0,0 13 15,0 1-15,14-1 16,-14 0-16,-13 0 0,13 0 16,1 1-16,-1-1 15,-13 0-15,0 0 0,-13 1 16,13-1-16,-14-13 0,1 13 16,0 0-16,0 0 0,-1 1 0,1-1 15,0 0-15,0 0 0,-1-13 16,1 14-16,0-1 0,0-13 0,13 13 15,0 0-15</inkml:trace>
  <inkml:trace contextRef="#ctx0" brushRef="#br0" timeOffset="58217.95">8149 11046 0,'13'14'0,"1"-14"15,-1 13-15,0-13 16,0 0-16,1 13 16,12-13-16,0 0 0,-12 0 15,-1 0-15,13 0 0,-12 0 0,12 0 16,1 0-16,-1 0 0,0 0 16,1-13-16,-1 13 0,14-13 0,-14-1 15,1 14-15,13-13 0,-14 0 16,1-14-16,-1 14 0,14-13 15,-14-1-15,14-12 16,-27 12-16,0 1 0,1-1 0,-14 1 16,0-1-16,13 14 0,-13-13 0,0-1 15,0 14-15,-13-14 0,13 1 16,-14 0-16,1-1 0,-13 1 0,12 12 16,-12-12-16,-1 13 0,1 0 0,-14-1 15,14 1-15,-1 0 0,1 13 16,-14-13-16,14 13 0,13 0 0,-27 13 15,13-13-15,1 13 0,-14 0 0,14 1 16,-14-1-16,14 13 0,-1 1 16,1-1-16,-1 1 0,1-1 15,13 0-15,-1 14 0,1-13 0,0-1 16,13 1-16,0-1 0,0-13 0,0 14 16,13-1-16,-13 1 0,13-1 15,1 1-15,-1-1 0,0-13 0,0 0 16,1 14-16</inkml:trace>
  <inkml:trace contextRef="#ctx0" brushRef="#br0" timeOffset="59783.83">7382 10081 0,'0'0'0,"40"13"15,-27-13 1,0 13-16,13 0 0,-12 1 0,25-1 16,-12-13-16,-1 13 0,14 0 0,-14 0 15,14 1-15,-13-1 0,-1-13 16,1 13-16,12 0 0,-12 1 15,-14-14-15,0 13 0,0-13 0,1 13 16,-1-13-16,0 0 0,0 13 16,1-13-16</inkml:trace>
  <inkml:trace contextRef="#ctx0" brushRef="#br0" timeOffset="60051.79">7792 10094 0,'26'13'16,"-12"0"-16,-1 1 0,0-1 16,14 13-16,-14 1 15,27-1-15,-27-13 16,0 1-16,-13 12 0,13-13 0,0 1 15,-13-1-15,14-13 0,-14 13 0,0 0 16,0 0-16,0 1 16,0-1-16,-14-13 0,14 13 0,-13-13 0,0 13 15,0-13-15,13 14 0,-27-14 0,14 0 16,0 0-16,0 0 0</inkml:trace>
  <inkml:trace contextRef="#ctx0" brushRef="#br0" timeOffset="60651.2">7355 9988 0,'-39'-13'32,"25"13"-32,1 0 15,0 0 1,0 0 0,0 13-1,-1 0 1,14 0-1,0 1-15,0-1 16,0 0-16,0 0 16,14 1-16,-14-1 15,0 0-15,0 0 0,13 1 0,-13-1 0,0 0 16,0 0-16,13 0 0,-13 1 0,13-1 16,-13 0-16,0 0 15,0 1-15,13-14 16,-13 13-16,0 0 15,0 0 1</inkml:trace>
</inkml:ink>
</file>

<file path=ppt/ink/ink30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2:40:14.251"/>
    </inkml:context>
    <inkml:brush xml:id="br0">
      <inkml:brushProperty name="width" value="0.05292" units="cm"/>
      <inkml:brushProperty name="height" value="0.05292" units="cm"/>
      <inkml:brushProperty name="color" value="#0070C0"/>
    </inkml:brush>
  </inkml:definitions>
  <inkml:trace contextRef="#ctx0" brushRef="#br0">2712 5715 0,'26'0'63,"27"13"-48,40 0-15,39-13 16,-26 0-16,26 0 15,-65 0-15,-1 0 16,0 0-16,-40 0 16,-13 0-16,1 0 15</inkml:trace>
  <inkml:trace contextRef="#ctx0" brushRef="#br0" timeOffset="871.18">5477 5808 0,'26'0'46,"27"0"-46,13 13 16,1 13-16,25 1 16,-39-14-16,66 13 15,27 14-15,-41-27 16,1 1-16,-40-14 16,14 13-16,-27-13 15,-27 0-15,-13 0 0,1 0 16,-1 0-1,-26 0 126,-1 0-125,-12-13-16,13 13 15,-14-14-15</inkml:trace>
  <inkml:trace contextRef="#ctx0" brushRef="#br0" timeOffset="3774.75">3201 7713 0,'0'-14'140,"0"1"-124,0 0-16,14-14 16,-1 1-16,-13 0 15,13 12-15,-13 1 16,13-13-16,-13-1 16,27-13-16,-1 27 15,-12-26-15,-1 12 16,26-13-16,-25 27 15,12-13-15,1-1 16,-1 1 0,-26 13-1,26-1 1,1 14 0,-1-13-1,-12 0-15,12 13 16,1 0-16,-1 0 15,14 0-15,-14 0 16,-13 0-16,1 13 16,25-13-16,-25 0 15,12 13-15,-13-13 16,0 14 0,1-14-16,-1 13 15,0-13-15,0 0 16,1 0-16,12 13 15,-13 0 1,14 14-16,12-1 16,-25 14-16,-1-27 15,13 14-15,-12-1 16,-1 0-16,0 1 16,-13-14-16,13-13 15,1 13-15,12 27 16,-26-13-1,13-1-15,0 0 0,-13 1 16,14-1-16,-14-12 31,-27-14 94,1 0-109,-1-14 0,14 14-1,-13 0-15</inkml:trace>
  <inkml:trace contextRef="#ctx0" brushRef="#br0" timeOffset="4397.24">3969 7673 0,'13'13'78,"0"0"-62,0 1-1,14 12-15,-14-13 16,0 14-16,1-27 16,-1 13-16,0 13 15,-13-12 17,13-14-32,-13 13 0,14-13 31,-1 0-16,0 0 1,-13-13-16,0-1 16,26-12-1,-12 0-15,-14 12 16,13-25-16,-13-14 16,0 26-16,0 1 15,0-1-15,0-12 16,0 25-16,0-12 15</inkml:trace>
  <inkml:trace contextRef="#ctx0" brushRef="#br0" timeOffset="6070.26">2937 10530 0,'0'-26'125,"0"-14"-109,0-13-16,0 14 0,0-1 15,13 14-15,14-27 16,-27 26-16,0 1 16,26-1-16,-13 14 15,0-13 1,1 12-16,-1-12 16,0 13-16,0-1 0,14-12 15,-1 13-15,-12-14 16,-1 27-16,13-13 15,1-13 1,-14 12-16,13 14 16,1 0-16,-1 0 15,14-13-15,-14 13 16,-12 0-16,12 0 16,14 0-16,-1 0 15,-25 0-15,12 0 16,14 13-16,-14 14 15,1-14-15,-1 13 16,-13-12-16,14 12 16,13 1-1,-27-14-15,0 0 16,0 0-16,1 1 0,12 12 16,-26-13-16,26 14 15,-26-14-15,27 0 16,-14 27-16,-13-27 15,13 0 1,1 1-16,-1 12 16,-13 0-16,13-12 15,0 12 1,-13-13 0,14 14-16,-41-40 171,-13-1-171,40 1 0,-26 0 16,-1 0-16</inkml:trace>
  <inkml:trace contextRef="#ctx0" brushRef="#br0" timeOffset="6924.07">3770 10332 0,'0'13'93,"27"0"-93,-14 1 0,13 12 16,-26-13-16,40 14 16,-13 13-16,-14-14 15,0 0-15,14-12 16,-14 12-1,0 1-15,0-27 16,0 13-16,1-13 31,-1-13 1,0 13-17,0-27-15,1 1 16,-14-14-16,13 0 15,-13 14-15,13-1 16,-13-39-16,0 27 16,13-1-16,-13-13 15,0 13-15,0 1 16,0 12-16,14 1 16,-14 12-16,26 1 15,-26-13-15,0 12 16</inkml:trace>
</inkml:ink>
</file>

<file path=ppt/ink/ink30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2:40:45.448"/>
    </inkml:context>
    <inkml:brush xml:id="br0">
      <inkml:brushProperty name="width" value="0.05292" units="cm"/>
      <inkml:brushProperty name="height" value="0.05292" units="cm"/>
      <inkml:brushProperty name="color" value="#FFFFFF"/>
    </inkml:brush>
    <inkml:brush xml:id="br1">
      <inkml:brushProperty name="width" value="0.05292" units="cm"/>
      <inkml:brushProperty name="height" value="0.05292" units="cm"/>
      <inkml:brushProperty name="color" value="#0070C0"/>
    </inkml:brush>
  </inkml:definitions>
  <inkml:trace contextRef="#ctx0" brushRef="#br0">2831 5583 0,'13'0'47,"14"0"-32,-14-14-15,13 14 16,1 0-16,-1 0 0,1 0 0,26 0 16,-14-13-16,14 13 0,0 0 15,0 0-15,13 0 0,-13 0 0,13 0 16,0 0-16,14 0 0,-1 0 15,1 0-15,-1 0 0,0 0 16,1 0-16,12 13 0,-12-13 0,12 0 16,1 0-16,-14 0 0,14 0 0,0 0 15,-1 0-15,-13 0 0,14 0 16,0 0-16,-1 0 0,1 0 0,-14 0 16,1 0-16,-1-13 0,0 13 0,1 0 15,-1 0-15,1 0 0,-1 0 0,-13 0 16,-13-13-16,0 13 0,0 0 15,0 0-15,0 0 0,-14 0 0,-12 0 16,-1 0-16,1 0 0,-1 0 0,1 0 16,-14 0-16,0 0 0,14 0 15,-14 0-15,0 0 0,0 0 16,0 0-16,1 0 16,-54 0 30,40 13-30,-13-13-16</inkml:trace>
  <inkml:trace contextRef="#ctx0" brushRef="#br0" timeOffset="578.71">7051 5596 0,'0'0'0,"66"0"0,-39 0 0,12 0 16,-12 0-16,13 0 0,-14 0 16,14 0-16,-1 13 0,-12-13 0,13 0 15,-14 0-15,14 0 0,-14 0 0,14 0 16,-14 13-16,-12-13 15,12 0-15,0 0 0,1 0 0,-14 0 16,14 0-16,-14 0 0,0 0 0,0 0 16,1 14-16,-1-14 0,0 0 0,13 0 15,-12 0 1,-14-14 0,0 1-1</inkml:trace>
  <inkml:trace contextRef="#ctx0" brushRef="#br1" timeOffset="9591.24">17701 463 0,'-14'-13'0,"14"39"31,0-13-31,0 1 0,0-1 16,0 0-16,0 0 0,0 14 0,0-14 15,0 14-15,0-14 0,0 13 0,0-13 16,0 14-16,0-14 0,0 0 16,0 1-16,0-1 0,14 0 0,-14 0 15,0 1-15,0-1 0,13-13 16</inkml:trace>
  <inkml:trace contextRef="#ctx0" brushRef="#br1" timeOffset="9956.45">17634 437 0,'27'-40'32,"-14"40"-32,0 0 0,1-13 15,-1 13-15,13 0 0,-12 0 0,-1 0 16,0 13-16,0-13 0,0 0 15,1 13-15,-1-13 0,0 13 0,-13 1 16,13-14-16,-13 13 0,0 0 0,0 0 16,0 0-16,-13 1 15,13-1-15,-13 0 0,0 0 16,-1 1-16,1-14 0,13 13 0,-13 0 16,0-13-16,0 0 0,13 13 15,-14-13 1</inkml:trace>
  <inkml:trace contextRef="#ctx0" brushRef="#br1" timeOffset="10242.62">18031 397 0,'0'0'0,"14"0"31,-28 26-15,14-12-16,-13-1 0,13 0 0,0 13 16,0-12-16,0 12 0,0-13 0,0 14 15,0-1-15,0-12 0,0 12 16,0-13-16,13 14 0,-13-14 0,0 0 16,14 14-16,-14-14 0,13 0 0,0 0 15,-13 1-15,13-14 16,1 13-16,-1-13 0,0 0 15,0 0-15,0 0 0,1-13 0,-1 13 16,0-14-16</inkml:trace>
  <inkml:trace contextRef="#ctx0" brushRef="#br1" timeOffset="10460.6">18336 542 0,'0'0'16,"0"-13"-16,-14 13 15,14 13 1,-13 1 0,13-1-16,0 0 0,0 0 15,-13 1-15,13-1 0,0 0 0,0 0 16,0 0-16,-13 1 0,13-1 16,0 0-16,0 0 0,0 1 15,13-14-15,-13 13 0</inkml:trace>
  <inkml:trace contextRef="#ctx0" brushRef="#br1" timeOffset="10878.35">18296 542 0,'0'0'0,"13"-13"15,-13 0-15,13 13 0,1-13 0,-1 13 16,0 0-16,0 0 16,1 0-16,-1 0 0,0 0 15,0 0-15,-13 13 0,-13 13 31,0-12-31,0-1 0,-1-13 16,14 13-16,-13-13 0,13 13 0,-13-13 16,13 14-16,-13-14 0,13 13 15,0 0 1,0 0-16,13 0 16,0 1-16,0-14 15,1 0-15,-1 13 0,0-13 16,0 0-16,0 0 0,1 0 0,-1 0 15,0 0-15,14 0 0,-14 0 16,0 0-16,0-13 16</inkml:trace>
  <inkml:trace contextRef="#ctx0" brushRef="#br1" timeOffset="11166.42">18534 344 0,'13'0'15,"1"0"-15,-1 13 16,0 0-16,0-13 0,14 27 16,-14-14-16,0 0 0,0 14 0,1-14 0,-1 13 15,0-12-15,0 12 0,-13-13 16,13 14-16,-13-14 0,0 14 0,0-14 15,0 0-15,0 0 0,0 14 16,0-14-16,-13 0 0,13 0 0,-13 1 16,13-1-16,0 0 15</inkml:trace>
  <inkml:trace contextRef="#ctx0" brushRef="#br1" timeOffset="11459.27">19341 476 0,'66'-26'31,"-53"26"-31,27 0 16,-27 0-16,1 0 15,-1 0-15,0 0 0,0 0 0,0 0 16</inkml:trace>
  <inkml:trace contextRef="#ctx0" brushRef="#br1" timeOffset="11666.86">19315 582 0,'26'0'16,"-13"0"-1,1 0-15,-1 0 0,0-13 16,0 13-16,0 0 0,1 0 16,-1 0-16,0 0 15,0 0-15,1 0 16</inkml:trace>
  <inkml:trace contextRef="#ctx0" brushRef="#br1" timeOffset="12483.36">20241 238 0,'26'-13'16,"-13"13"-1,1 0-15,-1 0 0,0 0 0,0 0 16,0 0-16,1-13 0,-41 26 31,14 0-15,0-13-16,-14 13 0,14-13 15,-13 14-15,12-14 0,1 0 0,0 13 16,0-13-16,-1 13 16,1-13-16,0 13 15,26 1 1,0-14-16,1 13 15,-1-13-15,0 13 0,0-13 16,1 0-16,-1 13 0,0-13 0,0 0 16,-13 13-16,14-13 0,-1 0 15,-13 14-15,-13-1 16,-1 0 0,1-13-16,0 0 0,0 13 15,-1-13-15,1 14 0,0-14 16,0 13-16,-1-13 0,1 13 15,0-13-15,13 13 0,-13 0 0</inkml:trace>
  <inkml:trace contextRef="#ctx0" brushRef="#br1" timeOffset="12759.05">19883 675 0,'67'-27'31,"-41"27"-31,0-13 0,1 13 16,13 0-16,-1-13 0,14 13 0,-13-13 0,13 13 16,-13 0-16,12 0 0,-25 0 0,13 0 15,-14 0-15,1 0 0,-1 0 16,-13 0-16,14-14 0,-14 14 0,0 0 15,0 0-15,1 0 0,-1 14 16,0-14-16</inkml:trace>
  <inkml:trace contextRef="#ctx0" brushRef="#br1" timeOffset="13163.33">20055 873 0,'14'-26'15,"-1"26"-15,0 0 16,0 0-1,-13 13-15,14-13 16,-14 13-16,0 0 16,0 1-1,0-1 1,13 0-16,0 0 16,-13 0-1,13-13-15,-13 14 16,-13-1-16,0 0 15,0 0 1,-1-13-16,1 14 0,0-14 16,0 0-16,-1 13 0,1-13 15,0 0-15,13-13 16</inkml:trace>
  <inkml:trace contextRef="#ctx0" brushRef="#br1" timeOffset="13470.36">20360 807 0,'0'-13'31,"-14"39"-15,1-13-16,13 1 0,-13-1 0,13 0 16,-13 0-16,13 1 0,-13-1 0,13 0 15,0 0-15,0 0 0,0 1 16,13-14-16,-13 13 0,13-13 15,0 13-15,0-13 0,1 0 16,-1 13-16,0-13 0,0-13 16,1 13-1,-14-13 1,-14 0-16,1 13 16,0 0-1,-14 0-15,14 0 16</inkml:trace>
  <inkml:trace contextRef="#ctx0" brushRef="#br1" timeOffset="13802.84">20677 873 0,'13'-13'0,"-39"26"47,39 0-31,0 1-1,1-1-15,-1 0 16,0-13-16,-13 13 15,13-13-15,-13 13 16,-13-13 0,0 14-16,0-14 15,-1 13-15,-12-13 0,13 13 16,-14-13-16,1 13 0,-1-13 0,1 14 16</inkml:trace>
  <inkml:trace contextRef="#ctx0" brushRef="#br1" timeOffset="14598.69">20770 847 0,'13'0'16,"0"-14"-16,0 14 15,1 0 1,-1 0-16</inkml:trace>
  <inkml:trace contextRef="#ctx0" brushRef="#br1" timeOffset="15202.36">20730 847 0,'13'0'0,"1"-14"15</inkml:trace>
  <inkml:trace contextRef="#ctx0" brushRef="#br1" timeOffset="17038.55">20598 1058 0,'13'14'31,"-13"-28"16</inkml:trace>
  <inkml:trace contextRef="#ctx0" brushRef="#br1" timeOffset="18050.68">20505 1098 0</inkml:trace>
  <inkml:trace contextRef="#ctx0" brushRef="#br1" timeOffset="19967.68">20241 251 0,'26'-13'16,"-13"13"-1,1 0-15,-1 0 16,0 0-16,-13-13 0,13 13 15,14 0-15,-14 0 16,0 0-16,0 0 16,1-13-16,-1 13 15,-40 0 32,14 13-31,0-13-16,0 0 15,-1 0-15,1 0 16,0 0-16,0 13 0,0-13 16,-1 0-1,1 0-15,0 0 16,13 13-16,-13-13 16,-1 14-1,1-14 1,13 13-1,-13-13 1,13 13-16,-13 0 16,13 1 15,-14-14-15,14 13-1,-13 0 48,40-13 46,-14-13-93,0 13-1,0 13 1,1-13-16,-1 0 16,0 0-1,0 13 16,-13 0-15,0 1 15,0-1-31,-13-13 16,13 13-16,-13-13 0,13 13 16,-13 1-1,-1-14-15,14 13 16,-13-13-16,13 13 0,-13-13 15,0 13 1,-1-13 0,14 13-16,-13-13 15,0 0 1,0 0 15,0 14-15,-1-14 62,1 0 0</inkml:trace>
  <inkml:trace contextRef="#ctx0" brushRef="#br1" timeOffset="44670.27">10901 4538 0,'0'-14'0,"-66"1"31,52 13-31,1 0 0,-13 0 16,-1 0-16,14 0 0,-13 0 0,-1 0 15,-13 13-15,14-13 0,0 0 0,-1 14 16,1-14-16,12 13 0,-25 0 15,12-13-15,14 0 0,0 13 16,0-13-16,13 14 0,-14-14 0,1 13 16,0 0-16,0 0 15,13 0-15,-14 1 0,14-1 0,-13 0 16,13 0-16,-13 1 0,13 12 0,0 0 16,0 1-16,-13 13 15,13-1-15,-13 1 0,13 13 0,0-13 16,-14 13-16,14-14 0,-13 14 0,13 0 15,0-13-15,-13 13 0,13-14 16,-13 1-16,13 0 0,0-1 0,-14-12 16,14-1-16,0 1 0,0-14 0,-13 13 15,13-12-15,0 12 0,0 1 16,-13-27-16,13 26 16,0-13-16,0 1 15,0-1-15,13 0 16,0-13-1,1 0-15,12-13 16,-13 13-16,14 0 0,12 0 0,1-13 16,13 13-16,0-14 0,0 14 15,0 0-15,0 0 0,13 0 0,0 0 16,13 0-16,1 0 0,-1 0 0</inkml:trace>
  <inkml:trace contextRef="#ctx0" brushRef="#br1" timeOffset="45795.02">13917 5702 0,'0'0'0,"40"0"0,-27 0 15,0 13-15,0-13 0,1 0 0,-1 0 16,0 0-16,0 0 16,1 0-16,-14 13 15,13-13-15,0 0 0,-13 13 16,13 1-16,-13-1 15,14-13-15,-14 13 0,0 0 16,0 1-16,0-1 0,13 13 0,-13-12 16,0 12-16,13 0 0,-13 1 0,0-1 15,13 1-15,-13-1 0,13 14 16,-13 0-16,0-14 0,14 14 16,-14-1-16,13-12 0,-13-1 0,13 14 0,-13-13 15,13-1-15,-13 0 0,0 1 0,14-14 16,-14 14-16,13-1 0,-13-13 15,0 14-15,13-14 0,-13 0 16,0 0-16,0 14 0,13-14 0,-13 0 16,0 1-16,0-1 15,0 0-15,0 0 16,14-13-16,-28 14 16,14-1-1,-13-13-15,0 0 0,13 13 16,-13-13-16,-1 0 0,-12 13 0,13-13 15,-14 0-15,-12 13 0,-1-13 0,0 14 16,0-1-16,1-13 0,-1 13 16,0 0-16,1-13 0,12 14 15,14-14-15,-13 0 0,12 13 0,1-13 16,0 0-16,0 0 0</inkml:trace>
  <inkml:trace contextRef="#ctx0" brushRef="#br1" timeOffset="47158.38">18415 5411 0,'0'0'0,"-26"0"0,65 0 31,-12 0-31,12 0 0,1 0 16,13 0-16,13 0 0,13 0 16,1 13-16,-1-13 0,14 0 15,-14 0-15,1 13 0,-1-13 0,0 0 16,1 0-16,-14 13 0,0-13 0,-13 0 15,0 0-15,0 14 0,-14-14 16,-12 0-16,-1 0 0,-12 0 0,-1 0 16,-13 13-16,-40-13 15,14 0 1</inkml:trace>
  <inkml:trace contextRef="#ctx0" brushRef="#br1" timeOffset="47383.16">18349 5530 0,'0'0'0,"-40"13"0,120 0 31,-41-13-31,14 13 0,13-13 16,0 0-16,14 0 0,-1 14 0,1-14 16,-1 0-16,0 0 0,-13 13 15,1-13-15,-14 0 0,-1 0 0,-12 0 16,0 0-16,-14 0 0,-12 0 0,12 0 15,-13 0-15,0 0 16,1-13-16,-14-1 16,-14 14-16</inkml:trace>
  <inkml:trace contextRef="#ctx0" brushRef="#br1" timeOffset="47885.63">18918 4538 0,'0'0'0,"92"0"0,-52 0 16,53 0-16,-40 0 16,-1 0-16,15 0 0,-14 0 0,-1 0 15,1 0-15,13 0 0,-13 0 0,0 0 16,-13 0-16,13 13 0,-13-13 0,-14 0 15,1 0-15,-14 0 0,13 0 16,-13 13-16</inkml:trace>
  <inkml:trace contextRef="#ctx0" brushRef="#br1" timeOffset="48134.68">18759 4604 0,'-27'0'0,"54"0"0,-54 13 16,54-13 0,-1 0-16,14 0 0,13 0 0,13 0 15,14 13-15,-14-13 0,13 0 0,0 0 16,14 0-16,-14 0 0,1 13 16,-1-13-16,-13 0 0,0 0 0,-13 0 15,0 14-15,0-14 0,-13 0 16,-14 0-16,1 0 0,-14 0 15,13 0-15,-12 13 0,-1-13 0,-40 0 32,14 0-32</inkml:trace>
  <inkml:trace contextRef="#ctx0" brushRef="#br1" timeOffset="48863.77">17529 4670 0,'-27'66'16,"14"-26"-16,0 13 0,-1 0 15,14-1-15,-13 15 0,0-1 16,0-13-16,0 0 0,-1 0 0,14-14 15,-13 1-15,13 0 0,0-1 16,0-12-16,0-1 0,0-13 0,-13 14 16,13-14-16,0 0 0,0 1 0,26-54 31,-26 0-15,14 1-16,-1-28 0,0 14 0,0-13 15,0 0-15,1 0 0,-1 0 16,0 13-16,14 0 0,-14 13 0,0 1 15,0-1-15,-13 27 0,14-14 0,-14 14 16,13 13-16,-26 26 16,13 14-1,-14 0-15,1 13 0,0 13 0,0-13 16,-1 13-16,-12-13 0,13 13 16,-1-13-16,1 0 0,0-13 15,13-1-15,-13 1 0,13 0 0,-13-14 16,13 1-16,0-1 0,-14-13 0,14 0 15,0 1-15,0-1 0,14-13 16</inkml:trace>
  <inkml:trace contextRef="#ctx0" brushRef="#br1" timeOffset="49806.21">22278 4882 0,'-13'13'16,"-1"0"-16,14 0 0,-26 27 0,13-14 15,0 27-15,-1-13 0,1 13 0,0-13 16,0 13-16,13-1 0,-14-12 16,14 0-16,-13 0 0,13-1 0,-13-12 15,13-14-15,0 13 0,0 1 0,-13-14 16,13 0-16,0 0 0,0 1 16,0-1-16,-14 0 15,28-53 1,-14 14-16,0-14 15,13 1-15,0-1 0,0-79 16,1 53-16,-1 13 0,0-13 16,0 13-16,1 13 0,-1 0 0,-13 1 15,13 12-15,-13 14 0,13 0 16,-13 0-16,0-1 0,0 1 0,0 53 31,0-1-31,-13 1 0,13 0 16,-13 13-16,0 13 0,-1-13 0,1 0 15,13-14-15,-13 1 0,13 0 0,-13 0 16,13-1-16,-14 1 0,14-14 0,-13 1 16,13-1-16,0-13 15,0 1-15,0 12 0,-13-13 16,26 1-16</inkml:trace>
  <inkml:trace contextRef="#ctx0" brushRef="#br1" timeOffset="50156.87">22714 5305 0,'0'0'0,"14"-13"15,-1 13-15,0-14 16,14 14-16,-14 0 0,27 0 0,-14 0 16,27-13-16,-13 13 0,-1 0 0,1 0 15,0 0-15,-14 0 0,1 0 0,-1 0 16,1 0-16,-14 0 0,0 0 15,0 0-15,0 0 0,1 0 16,-1 0-16,-53 13 31,27-13-31</inkml:trace>
  <inkml:trace contextRef="#ctx0" brushRef="#br1" timeOffset="50547.3">22847 5146 0,'-13'0'0,"-54"27"16,41-27-1,-14 13-15,-26 13 16,13-12-16,13-1 0,-26 13 16,27-13-16,12 1 0,14-1 0,-13 0 15,12-13-15,1 13 16,0-13-16,0 14 0,13-1 0,-14-13 0,14 13 16,14 0-1,-14 1-15,13-1 0,0 0 16,14 0-16,-14-13 0,0 13 15,0-13-15,14 14 0,-14-14 0,13 0 16,-12 13-16,-1-13 0,0 0 16,13 13-16,-12-13 0,-1 0 0,0 0 15,0 0-15,14 0 0,-14 0 0,0-13 16,1 13-16,12 0 0</inkml:trace>
  <inkml:trace contextRef="#ctx0" brushRef="#br1" timeOffset="51388.99">23614 4948 0,'0'-14'32,"-13"28"-32,0-1 0,-1 0 15,1 0-15,0 14 0,0-14 16,-1 14-16,1-1 0,0-13 16,13 14-16,-13-14 0,13 0 0,0 0 15,-13 1-15,13-1 0,0 0 0,0 0 16,0 1-16,13-14 0,-13 13 15,13-13-15,-13 13 0,13-13 16,0 0-16,14-13 0,-14 13 16,0 0-16,1-13 0,-1 13 0,0 0 15,0-14-15,1 14 16,-14-13-16,13 13 0,0 0 16,-13 13-1,0 1 1,0-1-1,0 0-15,0 0 0,0 0 16,13 1 0,0-14-1,1 0-15,-1 0 16,0 0-16,-13-14 0,13 14 16,-13-13-16,0 0 0,14 13 15,-14-13-15,-14 0 16,14-1-16,-13 1 15,0 0 1,0 26 15,13 0-15,0 1-16,13-1 16,-13 0-1,13-13-15,-13 13 0,13 0 16,-13 1-1,14-14-15,-14 13 16,13-13-16,0 0 16,0 0-16,0 0 15,1-13 1,-1 13-16,0 0 16,0 0-1,1 0-15,-1 0 16,-13 13-16,13-13 15</inkml:trace>
  <inkml:trace contextRef="#ctx0" brushRef="#br1" timeOffset="51892.2">24368 4961 0,'-26'0'15,"12"0"-15,14 13 16,-13 0-16,0 14 0,0-14 0,0 14 16,-14-14-16,14 13 0,0 1 0,13-14 15,-14 0-15,14 14 0,-13-14 16,13 0-16,0 0 0,-13 1 0,13-1 15,0 0-15,-13 0 16,13 0 0,-14-13-1,1-13-15,0 13 16,13-13-16,-13 13 0,0 0 16,-1 0-1,1 0-15,0 0 16,0 0-16,13 13 15,13-13 1,0 0-16,0 13 0,1-26 16,-1 13-16,0 0 0,13 0 0,-12 0 15,-1 0-15,0 0 0,0 0 16,1 0-16,-1 0 0,0 0 16,0 0-16,1 0 0,-14 13 0,13-13 15,-13 14-15,13-1 16,-26 0-16,13 0 15,0 1-15,-13-1 16,13 0 0</inkml:trace>
  <inkml:trace contextRef="#ctx0" brushRef="#br1" timeOffset="52212.13">24686 4974 0,'-40'80'16,"27"-54"-16,-1 0 15,1 1-15,0 13 0,0-14 16,0-13-16,-1 14 0,1-14 0,0 13 16,0-12-16,13-1 0,-14 13 0,1-12 15,13-1-15,-13 0 0,0 0 16</inkml:trace>
  <inkml:trace contextRef="#ctx0" brushRef="#br1" timeOffset="52455.57">24448 5358 0,'13'-13'0,"-26"26"0,26-40 16,0 27-16,-13-13 15,13 13-15,-13-13 0,13 13 0,1 0 16,-1-13-16,0 13 0,0 0 15,14 0 1,-14 0-16,0 0 16,-13 13-16,13-13 0,-13 13 0,14-13 15,-14 13-15,0 1 32,0-1-17</inkml:trace>
  <inkml:trace contextRef="#ctx0" brushRef="#br1" timeOffset="53087.87">24844 5292 0,'-39'0'16,"39"13"0,-14-13-16,14 13 0,-13 0 15,13 1 1,0-1-16,13-13 15,1 0 1,-1 0-16,0 0 16,-13-13-1,13 13-15,-13-14 0,14 1 0,-14 0 16,0 0-16,0-1 31,13 41 0,0-27-31,-13 13 16,13-13-16,-13 13 16,14-13-16,-14 14 0,13-14 15,0 0-15,0 13 16,0-13-16,1 0 16,-1 0-1,0-13-15</inkml:trace>
  <inkml:trace contextRef="#ctx0" brushRef="#br1" timeOffset="53212.05">24911 5212 0,'-14'-26'16,"14"13"-1</inkml:trace>
  <inkml:trace contextRef="#ctx0" brushRef="#br1" timeOffset="53337.66">24871 5252 0,'0'0'16,"-13"0"-16</inkml:trace>
  <inkml:trace contextRef="#ctx0" brushRef="#br1" timeOffset="69302.88">19275 6945 0,'0'-13'0,"13"-13"31,-13 12-15,-13 28 15,13 12-31,-13-13 0,-1 27 16,14 0-16,-13-1 0,0 28 0,0-15 15,13 15-15,-13-15 0,-1 15 0,1-14 16,13-14-16,-13 14 0,13-13 15,-13 0-15,13-1 0,0 1 0,-14 0 16,14-14-16,0 1 0,0-14 0,0 13 16,0-13-16,-13 1 0,13-1 15,0 0-15,13-13 16,1-13 0</inkml:trace>
  <inkml:trace contextRef="#ctx0" brushRef="#br1" timeOffset="70174.03">19368 6826 0,'0'0'15,"13"0"-15,0-13 0,13 13 0,-12 0 0,12 0 16,14-13-16,-1 13 0,14 0 16,0 0-16,0-13 0,0 13 0,0 0 15,0 0-15,0 0 0,13-14 0,0 14 16,0 0-16,14 0 15,-27 0-15,13-13 0,-13 13 0,0 0 16,0 0-16,-1-13 0,-12 13 0,0 0 16,-14 0-16,14-13 0,-14 13 15,1 0-15,-1 0 0,-12 0 0,12 0 16,-13-14-16,14 14 0,-14 0 0,0 0 16,0 0-16,14 0 0,-14-13 15,0 13-15,1 0 0,-1 0 0,0 0 16,0-13-16,0 13 0,1 0 15,-1 0-15,0 0 16,0 0-16,1 0 16,-14 13-1,13 0-15,-13 1 16,0-1 0,13 0-16,-13 0 0,0 1 0,0 12 15,13-13-15,-13 14 0,0-1 0,14 14 16,-1-14-16,-13 14 0,13 0 15,-13-1-15,13-12 0,-13 13 0,13-1 16,-13 1-16,14 0 0,-1-1 0,-13-12 16,13 12-16,-13-12 0,13-1 15,-13 1-15,14-1 0,-14-13 0,0 14 16,13-14-16,-13 14 0,0-14 0,0 0 16,13 14-16,-13-14 0,0 13 15,0-13-15,0 1 16,0-1-16,13 0 0,-13 0 0,0 1 15,0-1-15,0 0 16,0 0-16,13-13 16,-13 14-16,0-1 15,-13 0 1,13 0 0,-13-13-16,0 0 0,0 0 0,-14 13 15,-13-13-15,-12 14 0,12-14 16,-40 13-16,14 0 0,-26 0 15,12 1-15,-39 12 0,0-13 0,0 14 16,0-14-16,-13 13 0,-1 1 0,14-1 16,0 1-16,0-1 0,13 1 0,1 12 15,-1-12-15,0-1 0,40 1 16,0-1-16,13 1 0,0-1 0,13-13 16</inkml:trace>
  <inkml:trace contextRef="#ctx0" brushRef="#br1" timeOffset="75019.32">9115 9975 0</inkml:trace>
  <inkml:trace contextRef="#ctx0" brushRef="#br1" timeOffset="78243.09">12607 12012 0,'14'0'0,"-14"-13"47,-14 13-31,14-13-16,-13 13 15,0 0-15,0-14 0,-1 14 16,1 0-16,0 0 16,-13 0-16,12 14 0,1-14 15,0 13-15,0 0 0,-14-13 0,1 27 16,12-14-16,1 0 15,13 0-15,-13 0 0,0 1 0,13-1 16,0 0-16,0 0 0,0 1 16,0-1-16,13-13 0,13 0 15,-12 0 1,-1-13-16,0 13 0,0-14 0,1 1 16,-1 0-16,13 0 0,-12-1 0,-1 1 15,0 0-15,-13 0 0,13 13 16,0-13-16,1-1 0,-1 28 31,-13-1-31,0 0 16,0 0-16,0 14 0,0-14 15,0 13-15,-13-12 0,13 12 0,0 1 16,0-14-16,0 13 0,-14 14 16,14-27-16,0 0 0,0 1 15,0-1-15,0 0 0,0 0 16,14 0-16,-1-13 15,0 0-15,0-13 16,-13 0-16</inkml:trace>
  <inkml:trace contextRef="#ctx0" brushRef="#br1" timeOffset="78587.16">12779 12091 0,'0'0'0,"0"-13"0,0 0 0,0 0 16,-26 26 15,26 0-16,-13 0-15,13 14 0,-14-14 0,14 0 16,-13 14-16,13-1 0,0-12 0,0-1 16,0 13-16,0-13 0,13 1 15,-13-1-15,14 0 0,-1 0 16,0-13-16,-13 14 0,27-14 16,-14 0-16,0-14 0,0 14 15,14-13-15,-14 0 0,0 0 16,0-1-16,-13 1 0,0 0 0,14 0 15,-14 0-15,0-1 0,-14 1 16,14 0-16,0 0 0,-13-1 0,0 1 16,0 13-16,0-13 0,-1 13 15,1 0-15,0 0 0,0 0 0,-1 0 16,1 0-16,0 0 0,0 0 16,-1 13-16,1-13 0,0 13 15,39-13 1</inkml:trace>
  <inkml:trace contextRef="#ctx0" brushRef="#br1" timeOffset="78800.14">13070 12025 0,'0'0'0,"27"-13"0,-14 13 16,0-13-16,-13 39 31,0-12-31,0-1 16,-13 0-16,13 0 0,0 0 0,-13 14 15,13-14-15,-13 0 0,13 14 16,-14-14-16,14 0 0,-13 1 0,13 12 16,-13-13-16,13 0 0,-13 1 15,13-1-15,-13 0 0,13 0 16</inkml:trace>
  <inkml:trace contextRef="#ctx0" brushRef="#br1" timeOffset="78917.36">12978 12118 0,'0'0'0</inkml:trace>
  <inkml:trace contextRef="#ctx0" brushRef="#br1" timeOffset="79058.11">13176 12211 0,'13'0'15,"1"-14"17</inkml:trace>
  <inkml:trace contextRef="#ctx0" brushRef="#br1" timeOffset="79407.24">13692 12158 0,'27'13'16,"-14"-13"-1,13 0-15,-12 0 0,-1 0 0,13 0 16,-13 0-16,14 0 0,-14 0 0,14 0 15,-14 0-15,0 0 0,14 0 16,-14 0-16,0 0 0,0 0 0,0 0 16,1 0-16,-1 0 0,0 0 15,-13-13-15</inkml:trace>
  <inkml:trace contextRef="#ctx0" brushRef="#br1" timeOffset="79698.57">13877 12065 0,'27'-13'16,"-14"13"0,0 13-16,1-13 0,-1 0 0,0 13 15,0-13-15,0 13 0,1-13 0,-1 14 16,0-1-16,0 0 0,1 0 0,-1 1 15,0-1-15,-13 0 16,13 0-16,-13 1 0,0-1 0,0 0 16,-13 0-16,13 0 0,-13 1 0,0-1 15,-1 0-15,1 0 0,13 1 16,-13-14-16,0 13 0,-1 0 16,1 0-16,0-13 15</inkml:trace>
  <inkml:trace contextRef="#ctx0" brushRef="#br1" timeOffset="83583.46">14618 11933 0,'-13'26'32,"13"-13"-32,0 1 15,-13-14-15,13 26 0,-13-13 0,13 1 16,0-1-16,-14 0 0,14 0 0,0 0 16,-13 1-16,13-1 15,0 0-15,0 0 0</inkml:trace>
  <inkml:trace contextRef="#ctx0" brushRef="#br1" timeOffset="83812.09">14830 12039 0,'13'0'0,"0"0"31,-13 13-31,0 13 16,0-13 0,-13 1-16,13-1 0,-13 0 15,13 0-15,-13 1 0,13-1 16,-14 0-16,14 0 16</inkml:trace>
  <inkml:trace contextRef="#ctx0" brushRef="#br1" timeOffset="84338.56">15214 11959 0,'0'0'16,"13"0"-16,0 0 15,0 0-15,-13 13 0,13-13 16,-13 14-16,0-1 0,0 0 16,-13-13-16,13 13 0,-13 1 15,0-1-15,13 0 0,-13 0 0,-1 0 16,14 1-16,-13-14 15,13 13 1,0 0-16,0 0 16,13-13-1,1 0-15,-1 0 0,0 0 16,0 0-16,0 0 16,14 0-16,-14-13 0,0 13 15,1 0-15,-1-13 0,0 13 0,0-13 0,1 13 16,-1 0-16,0-14 15,0 14-15,0 0 16,1 14 0,-14-1-1,0 0-15,0 14 16,0-14 0,-14 0-16,14 0 0,0 1 15,0-1-15,14 0 16</inkml:trace>
  <inkml:trace contextRef="#ctx0" brushRef="#br1" timeOffset="84710.23">15822 11919 0,'13'14'16,"-26"12"0,0-13-16,13 1 15,0-1 1,0 0-16,13 0 15,-13 1-15,13-1 16,-13 0-16,0 0 16,14-13-16,-14 13 0,0 1 15,-14-1 1,14 0-16,-13 0 0,13 1 16,13-14 15</inkml:trace>
  <inkml:trace contextRef="#ctx0" brushRef="#br1" timeOffset="84884.4">16034 12078 0,'13'0'16,"-13"13"0,0 1-1,0-1-15,-13 0 0,0 14 16,-1-14-16,1 0 0,13 0 15,-13 1-15,13-1 0,0 0 0,0 0 16,0 0-16</inkml:trace>
  <inkml:trace contextRef="#ctx0" brushRef="#br1" timeOffset="85310.7">16656 12078 0,'-40'27'15,"27"-27"1,-1 13-16,1-13 0,-13 13 0,12-13 16,1 13-16,0-13 0,0 14 15,0-1-15,-1-13 0,1 13 16,26 0-1,1 1 1,-1-14-16,0 0 16,0 13-16,14-13 0,-14 0 0,0 0 0,14 0 15,-14 0-15,0 0 0,0 0 16,1 0-16,12 0 0,-13-13 16,0 13-16,1-14 0</inkml:trace>
  <inkml:trace contextRef="#ctx0" brushRef="#br1" timeOffset="85482.14">16775 12105 0,'-14'-14'16,"1"28"-1,13-1-15,-13-13 0,13 13 16,-13 0-16,13 1 0,0-1 0,-14 13 16,14-12-16,0-1 0,0 0 15,-13 0-15,13 14 0,0-14 16,0 0-16,0 0 0,0 1 0,0-1 15,13-13-15</inkml:trace>
  <inkml:trace contextRef="#ctx0" brushRef="#br1" timeOffset="85677.24">16880 12250 0,'14'0'31,"-14"27"-16,-14-27-15,14 13 0,0 0 16,0 0-16,-13 1 0,13-1 16,0 0-16,-13-13 0,13 13 0,0 0 15,0 1-15,0-1 0,13 0 16,0-13-16</inkml:trace>
  <inkml:trace contextRef="#ctx0" brushRef="#br1" timeOffset="86078.08">17410 12078 0,'-40'0'31,"27"0"-31,-1 0 0,1 13 16,0-13-16,13 14 0,-13-14 15,13 26 1,0-13-16,13 1 15,-13-1-15,13 0 0,-13 0 16,13-13-16,-13 14 0,0-1 16,0 0-16,14 0 0,-28 0 15,14 1-15,0-1 16,-13-13-16,13 13 16,-13-13-16</inkml:trace>
  <inkml:trace contextRef="#ctx0" brushRef="#br1" timeOffset="86246.15">17502 12197 0,'27'27'16,"-27"-14"-16,0 0 16,-14 0-16,14 1 0,0 12 15,-13-13-15,13 1 0,-13-1 16,13 0-16,-13 0 0,13 0 0,0 1 15,0-1-15,0 0 16,13-13-16</inkml:trace>
  <inkml:trace contextRef="#ctx0" brushRef="#br1" timeOffset="86631.8">18018 12025 0,'-13'14'0,"26"-28"0,-39 41 16,12-14-16,14 0 0,0 0 15,-13 1-15,13-1 0,0 0 0,0 0 16,0 1-16,0 12 0,13-13 0,-13 1 16,14-1-16,-14 0 0,13 0 15,0 0-15,0 1 16,-26-41 15,0 27-15,0 0-16,13-13 0,-14 13 0,1 0 15,0 0 1,0-13-16</inkml:trace>
  <inkml:trace contextRef="#ctx0" brushRef="#br1" timeOffset="86820.99">18203 12158 0,'14'0'0,"-1"26"31,-13-13-31,0 14 0,-13-14 16,13 0-16,-14 0 15,14 1-15,0-1 0,-13 0 16,13 0-16,0 1 16,13-14-1</inkml:trace>
  <inkml:trace contextRef="#ctx0" brushRef="#br1" timeOffset="87159.18">18627 11946 0,'13'-13'15,"0"13"1,14 13-16,-14 0 16,0 0-16,-13 1 15,13-14-15,-13 13 0,0 0 16,13 0-16,-13 1 0,0-1 0,0 0 15,0 0-15,0 0 0,0 1 0,0-1 16,-13 0-16,13 0 0,0 1 16,0-1-16,-13 0 15</inkml:trace>
  <inkml:trace contextRef="#ctx0" brushRef="#br1" timeOffset="87446.89">18666 12144 0,'14'-13'16,"-14"0"0,13 13-16,0 0 0,0-13 15,0 13-15,1 0 16,-1 0-16,0-14 0,0 14 0,1 0 16,-1 0-16,0 0 0,0-13 0,1 13 15,12 13 1,-13-13-16,0 14 15,1-1-15,-14 0 16,0 0-16,0 1 0,0-1 16,0 0-16,-14 0 0,14 1 15,0-1-15,-13 0 0,0 0 16,13 0-16,-13-13 0,13 14 16</inkml:trace>
  <inkml:trace contextRef="#ctx0" brushRef="#br1" timeOffset="87863.47">19209 11946 0,'-40'13'31,"40"0"-15,-13 1-16,26-14 0,-13 13 0,0 13 16,0-12-16,0-1 0,0 0 15,0 0-15,0 14 0,-13-14 0,13 0 16,0 0-16,0 1 0,-13-1 0,13 0 16,0 0-16,-14-13 0,1 14 15,40-41 16,-14 14-15,0 0-16,0-1 0,1 1 0,-1 0 16,0 0-16,0-1 0,-13 1 0,13 0 15,-13 0-15,0 0 0,0-1 16,0 1-16,0 0 16,-13 13-16,13-13 0,-13 13 0,0 0 15,0-14-15,-1 14 0,-12 0 16,13 14-16,-1-14 15,14 13 1</inkml:trace>
  <inkml:trace contextRef="#ctx0" brushRef="#br1" timeOffset="88050.32">19368 12052 0,'13'53'31,"-26"-40"-31,-1 0 16,1 27-16,0-27 16,0 0-16,-1 14 0,1-14 15,13 0-15,0 0 0,0 1 16</inkml:trace>
  <inkml:trace contextRef="#ctx0" brushRef="#br1" timeOffset="88482.12">19566 11946 0,'0'0'16,"-27"0"-16,14 0 0,0 0 0,0 13 16,0-13-16,-1 0 0,1 0 0,0 13 15,0 1 1,26-1 0,0-13-1,0 0-15,1 0 0,-1 0 0,0 0 16,0-13-16,0 26 0,1-26 0,-1 26 15,0-13-15,0 0 0,1 0 16,-14 13-16,13-13 0,0 13 16,-13 1-16,0-1 15,0 0-15,0 0 16,13-13-16,-13 13 0,-13 1 16,13-1-16,0 0 0,0 0 15,0 1-15,-13-1 0,26-13 16,-13 13-1</inkml:trace>
  <inkml:trace contextRef="#ctx0" brushRef="#br1" timeOffset="88695.17">19923 12078 0,'0'0'0,"0"13"31,0 14-15,0-14-16,-13 0 0,13 1 16,-13-1-16,13 0 0,-14 0 0,1 1 15,13-1-15,-13 0 0,13 0 16,-13 0-16,0 1 0</inkml:trace>
  <inkml:trace contextRef="#ctx0" brushRef="#br1" timeOffset="88907.38">20161 11933 0,'0'0'0,"0"-14"16,-13 41 15,0-14-31,13 0 0,0 1 15,-13-1-15,-1 0 0,14 0 16,-13 1-16,13-1 0,-13-13 0,13 13 16,0 0-16,0 0 15,13-13-15</inkml:trace>
  <inkml:trace contextRef="#ctx0" brushRef="#br1" timeOffset="89173.56">20294 11986 0,'-14'13'16,"14"0"0,0 0-16,0 1 15,0-1-15,14-13 0,-14 13 16,13-13-16,0 0 0,0 13 16,0-26-1,1 13-15,-1 0 0,0-13 16,-13 0-16,0-1 15,-13 1-15,13 0 16,-13 13-16,-1-13 0,-12-1 16,13 14-16,0-13 0,-1 13 15,-12 0-15,13 0 0,-1 0 16,1 0-16</inkml:trace>
  <inkml:trace contextRef="#ctx0" brushRef="#br1" timeOffset="93255.41">14499 11814 0,'-13'0'0,"39"-14"47,-12 1-47,-1 13 0,0-13 0,0 0 16,14 13-16,-14-13 0,0 13 15,14-14-15,-14 14 0,0-13 0,14 13 16,-14-13-16,0 13 0,0 0 15,1 0-15,-1 0 0,0 0 16,0 0-16,0 0 0,1 0 0</inkml:trace>
  <inkml:trace contextRef="#ctx0" brushRef="#br1" timeOffset="93555.68">15266 11787 0,'-13'0'0,"26"0"0,1-13 31,-1 13-15,0-13-16,0 13 16,1 0-16,-1 0 0,-13-13 15,13 13-15,0 0 0,1 0 16,-1 0-16,0 0 0,-13-14 0,13 14 16</inkml:trace>
  <inkml:trace contextRef="#ctx0" brushRef="#br1" timeOffset="93903.61">15809 11774 0,'26'-13'0,"-52"26"0,66-26 16,-40 0-16,13 13 0,0-14 0,0 14 15,0-13-15,1 13 0,-1-13 16,0 13-16,0-13 0,1 13 16,-1 0-16,-13-14 0,13 14 15,0 0-15,1 0 0</inkml:trace>
  <inkml:trace contextRef="#ctx0" brushRef="#br1" timeOffset="94295.06">16616 11919 0,'53'-39'15,"-40"26"1,0-1-16,0 14 0,14-13 16,-14 13-16,0-13 0,1 0 0,-1 13 15,0 0-15,0-14 0,1 14 16,-1 0-16,0-13 0</inkml:trace>
  <inkml:trace contextRef="#ctx0" brushRef="#br1" timeOffset="94663.07">17449 11919 0,'13'-13'31,"1"13"-16,-14-13-15,13 13 0,0-13 16,0 0-16,1 13 0,-1-14 16,0 1-16,0 13 0,1-13 0,12 0 15,-13 13-15,0 0 0,1-14 0,-1 14 16</inkml:trace>
  <inkml:trace contextRef="#ctx0" brushRef="#br1" timeOffset="94987.21">17992 11893 0,'13'-26'31,"0"26"-31,-13-14 16,13 14-16,1-13 0,-1 0 0,0 13 15,0-13-15,1-1 0,-1 14 0,13-13 16,-13 0-16,1 13 15,-1 0-15,0-13 0,0 13 0</inkml:trace>
  <inkml:trace contextRef="#ctx0" brushRef="#br1" timeOffset="95304.72">18666 11814 0,'14'-14'31,"-1"1"-31,0 13 0,-13-13 16,13 13-16,0-13 0,1 13 15,-1-13-15,0 13 16,0 0-16,1 0 16,-1 0-16</inkml:trace>
  <inkml:trace contextRef="#ctx0" brushRef="#br1" timeOffset="95590.81">19116 11853 0,'13'-13'32,"1"0"-32,-1 0 15,0 13 1,0-14-16,1 14 16,-14-13-16,13 13 0,0-13 15,0 13-15</inkml:trace>
  <inkml:trace contextRef="#ctx0" brushRef="#br1" timeOffset="95862.3">19513 11840 0,'26'-26'16,"-12"12"0,-1 14-1,-13-13-15,13 13 0,-13-13 16,13 13-16,-13-13 0,14 13 0,-1-13 15,0 13-15</inkml:trace>
  <inkml:trace contextRef="#ctx0" brushRef="#br1" timeOffset="96652.46">20466 11589 0,'0'0'0,"-14"0"0,1 13 0,0-13 16,0 13-16,-1-13 0,1 13 15,0 1-15,0-1 0,13 0 16,-14-13-16,1 13 0,0 1 0,0-1 0,0 0 15,-1 0-15,1-13 0,13 14 16,-13-1-16,0-13 0,13 13 16,-14 0-16,1 0 15</inkml:trace>
  <inkml:trace contextRef="#ctx0" brushRef="#br1" timeOffset="97075.22">20241 11628 0,'26'0'16,"-26"14"0,13-14-16,-13 13 15,14-13-15,-14 13 0,13 0 0,0 1 16,0-1-16,0 0 0,1 0 0,-1 1 15,0-1-15,0 0 0,1 13 16,-1-26-16,0 14 0,0-1 0,1 0 16,-1-13-16,0 13 0,0-13 0,-13 14 15,13-14-15,1 13 16</inkml:trace>
  <inkml:trace contextRef="#ctx0" brushRef="#br1" timeOffset="98222.99">20492 11483 0,'-13'-13'15,"0"-1"1,13 1-16,-14 13 0,14-13 16,-13 0-16,0 13 15,13-13-15,-13 13 16,13-14-16,-14 14 0,1 0 15,0 0-15,0-13 0,-1 13 0,1 0 16,0 0-16,0 0 16,0 0-16,-1 0 0,-12 0 15,13 0-15,-1 0 0,1 13 16,0-13-16,0 0 16,-1 14-16,1-14 0,0 13 0,0-13 15,13 13-15,-13 0 0,-1 0 0,1 1 16,0-1-16,0 0 0,-1 0 15,1 1-15,13-1 0,-13 0 16,0 0-16,-1 1 0,14-1 0,-13 0 16,0 0-16,13 0 0,-13 1 15,13-1-15,-13 0 0,13 0 0,-14 1 16,14-1-16,-13 0 0,13 0 16,0 1-16,-13-1 0,13 0 0,0 0 15,0 0-15,-13 1 0,13-1 0,0 0 16,0 0-16,0 1 0,-14-1 0,14 0 15,0 0-15,0 0 16,0 1-16,0-1 0,14 0 16,-14 0-16,0 1 0,13-1 15,-13 0-15,13 0 16,-13 1-16,13-1 0,1 0 0,-14 0 16,13 0-16,0 1 0,0-1 15,0 0-15,1 0 0,-1 1 16,0-1-16,0 0 0,1-13 0,-1 13 15,0 1-15,0-14 0,1 13 0,-1 0 16,0-13-16,0 13 0,0-13 0,14 0 16,-14 13-16,0-13 0,1 14 15,-1-14-15,13 0 0,-12 0 0,-1 0 16,0 0-16,13 0 0,-12 13 16,-1-13-16,0-13 0,14 13 15,-14 0-15,0 0 0,14 0 0,-14-14 16,0 14-16,0-13 0,0 13 0,14-13 15,-14 0-15,14 0 16,-14 13-16,0-14 0,0 14 16,1-13-16,25-40 15,-26 40 1,-13 0-16,14-1 0,-1 1 0,-13-13 16,13 13-16,-13-1 0,0 1 0,13 0 15,-13 0-15,0-14 0,14 14 0,-14 0 16,0-14-16,0 14 0,0-13 15,0 12-15,0-12 0,0 13 16,0-14-16,0 1 0,0-1 0,-14 1 16,1-14-16,0 14 0,13-1 15,-27 1-15,14 13 0,-13-14 0,13 1 16,-14 12-16,14 1 0,-14 0 0,1 0 16,-1-1-16,1 14 0,0 0 15,-14 0-15,13 0 0,1 0 16,-1 0-16,-12 0 0,12 0 0,1 14 0,-14-14 15</inkml:trace>
  <inkml:trace contextRef="#ctx0" brushRef="#br1" timeOffset="102556.23">10213 12224 0,'0'0'0,"-13"-13"15,-1-1-15,1 41 32,13-1-17,-13-13-15,13 14 0,0-1 16,0-12-16,0 12 0,-13 0 0,13 1 15,0-1-15,0-12 0,0 12 16,0-13-16,0 1 0,0-1 16,-13 0-16,13 0 0,0 0 0,0 1 15,0-41 17,0 14-32,0 0 0,0-14 15,0-12-15,13-1 0,-13 0 0,13 1 16,0 12-16,0-13 0,1 14 15,-1 0-15,0-1 0,0 14 0,1 0 16,-1-1-16,0 14 0,0-13 0,1 13 16,-1 0-16,0 0 0,0 0 15,-13 13-15,13-13 0,-13 14 0,0-1 16,0 0-16,-13 14 0,0-14 0,0 13 16,0 1-16,-14-1 0,1 1 0,-1-1 15,14-13-15,-14 0 16,1 1-16,13-1 0,0 0 0,-14-13 15,14 13-15,0-13 0,13 14 0,-14-14 16,1 0-16,13 13 0,0 0 31,13 0-31,1-13 0,-1 0 16,0 0-16,0 14 0,1-14 0,-1 0 16,13 0-16,-13 0 0,14 0 15,-14 0-15,14 0 0,-1-14 0,-13 14 16,14 0-16,-14-13 0,13 13 0,-12-13 15,12 13-15,-13-13 0,1 13 16,-1-14-16,0 1 0,0 13 16,-13-13-16,14 0 0,-14-1 15,13 14-15,-13-13 0,-13 13 32,-14 13-32,14-13 15,0 14-15,-1-1 16,1 0-16,13 0 15,13 1 1,1-14-16,-1 0 16,0 0-16,0 0 15,1-14-15,-1 14 0,0 0 16,0-13-16,0 0 0,1 13 0,-1-13 16,0 13-16,0-14 0,1 14 15,-14-13-15,13 13 16,0 0-16,0 0 15,-13 13 1,13-13-16,1 14 16,-1-14-1,0 0 1,0 0-16,-13-14 0,14 14 0,-1-13 16,0 13-1,-13-13 1,27 26-1,-27 0 1,0 1 0,13-1-16,-13 0 15,-13-13-15,13 13 16</inkml:trace>
  <inkml:trace contextRef="#ctx0" brushRef="#br1" timeOffset="103007.97">10835 12290 0,'13'79'62,"0"-66"-46,40-26 93,-132-66-109,224 158 0,-132-79 0,1 0 16,-1 0-16</inkml:trace>
  <inkml:trace contextRef="#ctx0" brushRef="#br1" timeOffset="103271.41">11112 12263 0,'0'27'32,"0"-14"-32,0 0 15,0 1-15,0-1 0,-13 0 16,13 0-16,0 0 15,0 1-15,0-1 16,0 0 0</inkml:trace>
  <inkml:trace contextRef="#ctx0" brushRef="#br1" timeOffset="103407.66">11139 12105 0,'0'0'0,"-13"0"0,-1 0 16,1 13-1</inkml:trace>
  <inkml:trace contextRef="#ctx0" brushRef="#br1" timeOffset="103964.31">11284 12197 0,'0'0'0,"0"14"0,0-1 16,0 0-16,0 0 16,0 0-1,0 1-15,0-1 16,0 0-1,14-13 1,-1-13 15,0 13-31,0-13 16,1-1-16,-1 1 16,0 0-16,0 13 15,-13-13-15,14 13 0,-14-13 0,13 13 16,-13-14-16,13 1 15,0 13 1,0 13 0,-13 1-16,0-1 15,0 0-15,0 0 16,0 14-16,-13-1 0,13-13 16,0 14-16,-13-1 0,13-13 0,-13 27 15,13-27-15,-13 1 0,13-1 16,0 0-16,0 0 15,13-39 1,0 13-16,13-14 16,-12-13-16,-1 14 0,13 0 15,1-14-15,-1 13 0,1-12 16,-14 12-16,13 1 0,-12 13 0,-1-1 0,0-12 16,0 26-16,1-13 0,-14-1 15,0 1-15,13 13 16</inkml:trace>
  <inkml:trace contextRef="#ctx0" brushRef="#br1" timeOffset="105062.09">9816 13679 0,'-13'13'0,"13"-26"31,0 0-15,0-1-16,0 1 16,13 13-16,-13-13 0,0 0 15,0 0-15,13 13 0,-13-14 0,0 1 16,13 13-1,1 13 1,-1 1-16,0-1 16,0 0-16,1 0 0,-1 0 15,0 1-15,0-14 16,1 13-16,-1-13 16,13 0-16,-13-13 15,1 13-15,-14-14 0,13 1 16,-13 0-16,13 0 15,-13 0-15,0-1 0,0-12 0,0 13 16,0-1-16,0 1 0,0 0 0,0 0 16,0 0-1,0-1-15</inkml:trace>
  <inkml:trace contextRef="#ctx0" brushRef="#br1" timeOffset="105351.55">10120 13494 0,'0'26'0,"0"-13"15,0 1-15,0-1 0,0 0 16,0 0-16,0 1 0,14-1 0,-14 0 16,13 0-16,-13 0 0,13-13 15,27 27 1,-27-27-16,0 0 15,0 0-15,1 0 0,-14-13 16,13 13-16,-13-14 0,0 1 0,0 0 16,0 0-16,0 0 0,0-1 15,-13 14-15,13-13 16,0 0-16,-14 13 0,14-13 0,-13 13 16,0 0-16,0 0 0,-1 0 15,1 13-15,0-13 0,13 13 16,-13-13-16,13 13 15</inkml:trace>
  <inkml:trace contextRef="#ctx0" brushRef="#br1" timeOffset="105578.15">10372 13401 0,'0'-26'16,"13"52"15,-13-13-31,0 1 0,0-1 0,0 0 16,13 0-16,-13 1 0,0 12 15,0-13-15,0 14 0,0-14 16,0 0-16,0 14 0,13-14 0,-13 13 16,0-13-16,0 1 15</inkml:trace>
  <inkml:trace contextRef="#ctx0" brushRef="#br1" timeOffset="105763">10358 13626 0,'0'0'0,"0"-13"0,0 0 15,0-1 1,0 1 0,14 13-16,-14-13 0,13 13 15,0-13-15,0 13 16,1-14-16,-1 14 15,0-13-15,0 13 0,14 0 0,-14-13 16,13 13-16,1 0 0,-1-13 16,14 13-16,-14 0 0</inkml:trace>
  <inkml:trace contextRef="#ctx0" brushRef="#br1" timeOffset="106846.23">11205 13375 0,'0'0'0,"-40"79"16,40-52-16,-13-14 15,13 0-15,0 13 0,-13-12 0,13 12 16,0-13-16,0 1 16,0 25-16,0-26 0,0 1 15,0-1-15,0-53 47,0 14-47,13-1 0,-13 1 16,13-14-16,1 1 0,-1-1 15,-13 13-15,13-12 0,0 25 0,1-12 16,-1 13-16,0 0 0,-13-1 0,13 14 16,0 0-16,1 0 15,-14 14-15,0-1 16,0 13-16,-14-13 0,1 14 0,0-14 15,13 14-15,-13-14 0,0 13 16,-1-12-16,1-1 0,13 0 16,-13 0-16,0 0 0,13 1 0,-14-14 15,14 13-15,-13 0 16,26 0 0,-13 1-16,14-14 15,-1 0-15,0 0 16,0 13-16,1-13 15,-1 0-15,0 0 0,0 0 0,14-13 16,-14 13-16,0 0 0,14-14 16,-14 14-16,0 0 0,0-13 15,1 0-15,-1 13 0,0-13 0,0 13 16,0-14-16,1 1 0,-1 0 16,-13 0-16,0 0 15,0-1 1,-13 14-16,-1 0 15,1 14 1,0-14-16,13 13 0,-13-13 16,13 13-16,-13 0 0,13 0 0,-14-13 15,14 14-15,0-1 0,0 0 16,14 0 0,-14 1-16,13-14 0,0 0 15,0-14-15,0 14 16,1 0-16,-1-13 0,0 0 0,-13 0 15,13-1-15,1 14 0,-14-13 16,13 0-16,0 0 0,0 0 31,1 26-15,-14 0-16,0 0 16,13-13-16,-13 13 0,13 1 15,-13-1 1,13-13-16,0 0 0,1 0 31,-1 0-31,0 0 16,-13 13-1,13-13 1,-13 13-16,14 1 16,-14-1-16,13 0 15,-13 0 1</inkml:trace>
  <inkml:trace contextRef="#ctx0" brushRef="#br1" timeOffset="106967.88">11734 13454 0,'-13'-13'15</inkml:trace>
  <inkml:trace contextRef="#ctx0" brushRef="#br1" timeOffset="107554.14">11787 13454 0,'0'13'0,"0"1"16,0-1-16,0 0 31,0 0-15,13-13 0,1-13 15,-1 13 0,0 0-31,-13-13 16,13 13-16,1 0 15,-14-13-15,13 13 16,-13-14-16,13 14 16,-13-13-1,13 13-15,0 13 31,-13 1-31,0-1 16,0 0-16,0 0 0,0 0 0,0 1 16,0-1-16,0 0 0,0 0 15,0 14-15,-13-14 0,13 0 0,0 0 16,0 1-16,-13-1 0,13 0 16,0 0-16,0-39 62,0 13-62,13-1 0,-13 1 0,13 0 16,1 13-16,-1-13 0,0 0 0,0-1 15,14 1-15,-1 0 0,1 0 16,12-1-16,1 1 0,0 13 16,13-13-16,0 13 0</inkml:trace>
  <inkml:trace contextRef="#ctx0" brushRef="#br1" timeOffset="108714.41">12859 13401 0,'-27'53'31,"14"-40"-31,13 1 0,0-1 16,-13 13-16,13-13 0,0 1 0,-13 12 15,13-13-15,0 1 0,0-1 16,0 0-16,0 0 0</inkml:trace>
  <inkml:trace contextRef="#ctx0" brushRef="#br1" timeOffset="109091.96">13018 13414 0,'0'0'0,"-14"0"0,1 0 15,13 14-15,-13-14 16,13 13-16,-13 0 0,13 0 16,0 1-16,0-1 0,0 0 0,0 0 15,13 0-15,-13 1 0,13-1 0,0 0 16,1 0-16,-1 1 0,0-14 16,0 13-16,0-13 0,1 0 0,-1 0 15,0 0-15,14 0 0,-14 0 0,-13-13 16,13 13-16,0-14 0,-13 1 15,13 0-15,-13 0 0,0-1 16,0-12-16,0 13 0,-13 0 0,13-14 16,-13 14-16,0 0 0,0-14 15,13 14-15,-14 0 0,1 13 0,0-14 16,0 14-16,-1-13 0,1 13 16,0 0-16,0 0 0,0 0 0,-1 13 15,14 1 1</inkml:trace>
  <inkml:trace contextRef="#ctx0" brushRef="#br1" timeOffset="109338.53">13877 13309 0,'-13'0'0,"26"0"0,-39 13 0,13-13 16,-1 13-16,1-13 0,0 13 16,0 14-16,0-14 0,-14 13 15,14 1-15,-14-1 0,14-12 0,0 12 0,-14 0 16,14 1-16,0-14 0,0 14 16,13-14-16,-13 0 15,-1 0-15,14 0 0,-13 1 0,13-1 0,-13 0 16,13 0-16</inkml:trace>
  <inkml:trace contextRef="#ctx0" brushRef="#br1" timeOffset="109518">13547 13428 0,'0'0'0,"-14"-14"31,14 1-31,0 40 47,0-14-47,14-13 15</inkml:trace>
  <inkml:trace contextRef="#ctx0" brushRef="#br1" timeOffset="109692.59">13838 13652 0</inkml:trace>
  <inkml:trace contextRef="#ctx0" brushRef="#br1" timeOffset="110046.07">14407 13481 0,'0'0'0,"26"0"47,-13 0-47,14 0 15,-14 0-15,0 0 0,0 0 0,14 0 16,-14 0-16,0 0 0,1 0 16,-1 0-16,0 0 0,0 0 15,0 0-15,1-14 0,-1 14 16</inkml:trace>
  <inkml:trace contextRef="#ctx0" brushRef="#br1" timeOffset="110359.07">14592 13295 0,'13'0'31,"13"14"-31,-12-14 0,-1 13 15,0-13-15,0 13 0,-13 0 16,14 0-16,-1-13 0,-13 14 0,13-1 16,-13 0-16,13 0 0,-13 1 15,0-1-15,0 0 16,-13 0-16,0 1 0,0-1 16,-1 0-16,1 0 0,0 0 0,-14 1 15,14-1-15,0 0 0,-13 0 16,12 1-16,-12-1 0,13-13 15,-1 13-15,1-13 0,0 13 0,0-13 0</inkml:trace>
  <inkml:trace contextRef="#ctx0" brushRef="#br1" timeOffset="136923.87">17886 1640 0,'0'-13'16,"-13"26"0,-1 1-16,14-1 15,-13 13-15,13-12 0,-13-1 0,13 13 16,-13-13-16,13 14 0,-14-1 16,14-12-16,-13-1 0,13 13 0,-13-12 15,13-1-15,0 0 0,-13 0 0,13 0 16,0 1-16,0-1 0,-13-13 0,13 13 15,0 0 1,0 1-16,-14-41 47,14 14-31,0 0-16,0-1 0,0 1 0,14 0 15,-14-13-15,0 12 0,0-12 16,0-1-16,0 1 0,13 13 0,-13-14 15,13 1-15,-13 13 0,13-14 0,0 14 16,1-14-16,-1 14 0,0 0 0,0 13 16,1-13-16,12 0 0,-13 13 15,1 0-15,-1 0 0,0 0 16,0 13-16,0-13 0,1 13 0,-1 0 16,-13 0-16,13 1 0,-13-1 0,0 0 15,0 0-15,0 1 0,0-1 16,-13 0-16,13 13 0,-13-12 0,-1-1 15,1 0-15,0 0 0,-13 1 0,12-1 16,1 0-16,0 0 0,0-13 16,-1 14-16,1-1 0,0-13 15</inkml:trace>
  <inkml:trace contextRef="#ctx0" brushRef="#br1" timeOffset="137225.82">18283 1574 0,'0'-13'15,"-14"13"-15,1 13 0,0 1 16,0-1-16,0 0 0,-1 13 0,-12 1 15,13 13-15,-1-14 0,-12 0 16,13 14-16,13-13 0,-13-14 16,13 13-16,-14-12 0,14 12 0,0-13 15,0 0-15,0 1 0,0 12 0,0-13 16,14-13-16,-1 14 0,-13-1 0,13 0 16,0-13-16,0 13 0,1-13 15,-1 0-15,0 0 0,0 0 0,1 0 16,-1 0-16,0-13 0,13 13 0,-12-13 15</inkml:trace>
  <inkml:trace contextRef="#ctx0" brushRef="#br1" timeOffset="137666.99">18402 2011 0,'-27'-27'15,"27"14"-15,0 0 16,0 0-16,0-1 16,0 1-16,14 0 0,-14 0 15,0 0-15,0-1 0,0 1 0,13 13 16,-13-13-16,13 26 31,-13 0-31,13 1 0,0-1 16,-13 0-16,14 0 0,-1 0 15,-13 1-15,13-14 16,0 13-16,1-13 0,-1 0 16,0 0-16,0 0 15,-13-13-15,14-1 16,-14 1-16,13 0 0,-13 0 15,0 0-15,0-1 0,13 1 16,-13-40 0,0 40-1</inkml:trace>
  <inkml:trace contextRef="#ctx0" brushRef="#br1" timeOffset="138177.89">18666 1773 0,'14'0'0,"-1"26"16,-13-13-16,0 1 15,0 12-15,0-13 16,0 14-16,0-1 16,0-13-16,0 1 0,13-1 15,-13 13-15,0-12 0,0-1 16,0 0-1,0 0-15,0-52 47,0 25-47,0-12 0,0-1 0,13 1 16,-13 13-16,13-14 0,1 14 0,-14 0 16,13-14-16,-13 14 0,13 13 15,0-13-15,-13 0 0,14 13 16,-1 0-16,0-14 15,0 28-15,-13-1 16,-13 0-16,0 0 16,0 1-16,-1-1 0,14 0 0,-13 0 15,0-13-15,0 14 0,-1-1 16,1-13-16,13 13 0,-13 0 16,26 0-1,0 1 1,1-14-16,-1 13 0,0-13 15,-13 13-15,13-13 0,1 0 16,-1 0-16,0 13 0,0-13 16,1 0-16,-1 0 15,0 0 1,0 0-16,0 0 16</inkml:trace>
  <inkml:trace contextRef="#ctx0" brushRef="#br1" timeOffset="138459.07">18825 1574 0,'0'-13'0,"0"26"0,-13-26 16,26 0-16,14 26 16,-14 0-1,13 1-15,1-1 0,-1 13 16,-13-13-16,14 14 0,-1-1 0,-12 1 15,-1-1-15,0 1 0,0-1 0,-13 1 16,0-14-16,0 13 0,0 1 16,-66 79-1,53-80-15,0-13 0,-1 1 16,1-1-16,0 0 0,0 0 0,-1 0 16,1 1-1</inkml:trace>
  <inkml:trace contextRef="#ctx0" brushRef="#br1" timeOffset="138718.38">19368 1733 0,'39'-13'16,"-26"13"0,1 0-16,-1 0 0,0 0 15,0 0-15,1 0 0,-1 0 16,-13 13-16,0 0 0</inkml:trace>
  <inkml:trace contextRef="#ctx0" brushRef="#br1" timeOffset="138886.32">19301 1984 0,'27'0'0,"-54"0"0,67 0 15,-27 0-15,1 0 0,-1-13 16,0 13-16,0 0 16,0 0-16</inkml:trace>
  <inkml:trace contextRef="#ctx0" brushRef="#br1" timeOffset="140535.93">17754 1931 0,'-14'0'31,"14"-13"1,-13 26-1,13 1-31,0-1 16,0 0-16,0 0 15,0 1-15,0-1 16,0 0-16,0 0 15,0 1-15,0-1 16,0 0-16,0 0 16</inkml:trace>
  <inkml:trace contextRef="#ctx0" brushRef="#br1" timeOffset="140816.21">17873 1865 0,'0'-13'16,"-27"26"15,14-13-31,0 0 0,13 14 0,-14-14 16,1 0-16,0 13 16,0-13-16,13 13 0,-13-13 0</inkml:trace>
  <inkml:trace contextRef="#ctx0" brushRef="#br1" timeOffset="141846.92">19301 1759 0,'-13'-13'15,"0"13"1,39-13 31,-12 0-47,-1 13 16,0 0-16,0 0 0,1 0 0,-1 0 15,0 0-15,0-13 16,0 13-16,1 13 0</inkml:trace>
  <inkml:trace contextRef="#ctx0" brushRef="#br1" timeOffset="142114.97">19262 2024 0,'39'-13'15,"1"0"1,-27 13-1,1 0 1</inkml:trace>
  <inkml:trace contextRef="#ctx0" brushRef="#br1" timeOffset="143337.94">20069 1601 0,'13'-13'16,"0"13"-1,0 13-15,1-13 16,-14 13-16,0 0 0,-14 0 16,14 1-16,-13-1 0,13 0 15,-13 0-15,13 1 16,-13-14-16,13 13 0,0 0 16,13 0-1,-13 0-15,13-13 16,0 14-16,1-14 15,-14 13-15,13-13 0,-13 13 16,0 0 0,-13 1-16,-1-1 0,1-13 15,0 13-15,0 0 0,-1-13 16,1 0-16,0 14 16,0-14-16,26-27 31,0 14-31</inkml:trace>
  <inkml:trace contextRef="#ctx0" brushRef="#br1" timeOffset="143634.09">20201 1680 0,'26'-40'0,"-79"107"0,120-134 0,-107 107 16,93-93-16,-40 40 0,0 0 15,1 13-15,-41 26 32,27-13-17,-13 1-15,0 12 0,13-13 0,-14 14 16,14-14-16,0 0 0,0 14 15,0-14-15,0 0 0,14 0 0,-1 1 16,-13-1-16,13-13 0,0 13 16,1-13-16,-1 0 0,0 0 0,-13 13 15,13-13-15,0-13 0,1 0 16,-14 0 0,-14-1-1,1 1 1,0 13-16,0 0 0,0-13 15,-1 13-15,1 0 16,13-13 0</inkml:trace>
  <inkml:trace contextRef="#ctx0" brushRef="#br1" timeOffset="143928.95">20452 1654 0,'-13'26'31,"13"-13"-31,-13-13 16,13 14-16,0-1 0,0 0 16,0 0-16,0 0 0,13 1 0,0-1 15,1-13-15,-1 13 0,0-13 16,0 0-16,0 0 0,1 0 16,12 0-16,-13 0 0,1-13 0,-1 0 15,0-1-15,-13 1 0,13 13 16,-13-13-16,0 0 0,0-14 0,0 14 15,0 0-15,0 0 0,-13-1 16,13 1-16,-13 13 0,13-13 16,-13 13-16,-14 13 15,14 0-15,13 1 16,0-1-16,0 0 16</inkml:trace>
  <inkml:trace contextRef="#ctx0" brushRef="#br1" timeOffset="144218.19">20995 1574 0,'0'-13'0,"-14"40"15,1-14 1,-13 13-16,-1 1 0,1 12 16,-14 1-16,14 0 0,-14-14 0,14 14 15,-14 0-15,13-14 0,1 0 0,0 1 16,-1-14-16,1 14 0,12-14 16,1 0-16,0 0 0,0 1 0,-1-1 15,14 0-15</inkml:trace>
  <inkml:trace contextRef="#ctx0" brushRef="#br1" timeOffset="144618.31">20836 1958 0,'0'0'0,"13"-13"0,0-1 15,1 28 1,-14 12 15,-14-26-31,14 13 0,-13-13 16,13 14-1,-13-1-15,26 0 16,-13 0-16,0 1 16,13-14-16,-13 13 0,14-13 15,-14 13-15,0 0 16,-14 14-16,1-14 16,0-13-16,0 13 0,-1-13 15,14 13-15,-13-13 0,0 14 16,0-14-16,0 0 0,-1 13 0</inkml:trace>
  <inkml:trace contextRef="#ctx0" brushRef="#br1" timeOffset="144921.88">21101 1826 0,'-14'53'31,"1"-40"-31,0 0 16,0 13-16,-1-12 0,14 12 0,-13-13 16,0 14-16,13-14 0,0 0 15,-13 14-15,13-14 0,13 0 16,-13 0-16,0 1 0,13-14 16,-13 13-16,13-13 0,-13 13 15,14-13-15,-1 0 16,-13-13 31,-13 0-47,-1 13 15,1-14-15,0 14 16</inkml:trace>
  <inkml:trace contextRef="#ctx0" brushRef="#br1" timeOffset="145282.25">21312 1998 0,'-26'0'15,"12"0"-15,1 0 16,13 13-16,-13-13 0,13 13 16,-13-13-16,13 13 0,0 1 15,0-1-15,13 0 0,-13 0 16,0 0-16,13 1 0,-13-1 16,13 0-1,-13 0-15,-13 1 16,0-1-16,0 0 15,0-13-15,-1 0 16,1 13-16,-13-13 0,12 13 0,1-13 16,0 0-16,-13 0 0,12 0 0,1 0 15,0 0-15,0 0 0</inkml:trace>
  <inkml:trace contextRef="#ctx0" brushRef="#br1" timeOffset="146528.81">20955 238 0,'93'-13'32,"-80"13"-32,0 0 15,0 13-15,1-13 16,-1 13-16,0 1 15,-13-1-15,0 0 0,13 0 0,-13 1 16,13 12-16,1 0 0,-14 1 16,13-1-16,0 14 0,0 0 0,1-14 15,-1 14-15,0 0 0,0 12 0,-13-12 16,13 0-16,1 0 0,-14-1 16,13 1-16,-13 0 0,13-14 15,-13 0-15,0-12 0,0 12 0,0-13 0,0 1 16,0 12-16,0-13 15,0 1-15,-13-1 0,13 0 16,-13 0-16,-1-13 0,1 13 0,-13-13 16,13 14-16,-14-14 0,1 0 15,-1 0-15,-12 0 0</inkml:trace>
  <inkml:trace contextRef="#ctx0" brushRef="#br1" timeOffset="147444.1">17529 238 0,'-40'0'0,"0"13"31,27-13-31,13 14 0,-13-14 15,13 13-15,-13 0 0,13 0 16,0 1-16,-14 12 0,14-13 16,-13 14-16,13-1 0,-13 14 0,0-14 15,-1 14-15,1 0 0,0-1 0,0 1 16,13 0-16,-13-14 0,-1 14 16,14 0-16,-13-14 0,0 14 0,13-27 15,0 13-15,-13 1 0,13-14 16,0 13-16,-14-26 0,14 27 0,0-14 15,0 0-15,0 1 0,0-1 0,0 0 16,0 0-16,14 1 16,-1-1-16,0-13 15,-13 13-15,13-13 0,1 13 0,-1-13 16,0 0-16,0 13 0,0-13 16,1 14-16,-1-14 0,0 13 0,0 0 15</inkml:trace>
  <inkml:trace contextRef="#ctx0" brushRef="#br1" timeOffset="147999.12">17568 1495 0,'-26'0'15,"52"0"-15,-65 0 0,25 0 0,1 0 16,0 0-16,0 0 0,-1 13 16,1-13-16,0 0 0,0 13 0,0 1 15,-1-14 1,1 13-16,0 0 0,13 0 0,-13 14 16,13-14-16,-14 13 0,1 27 15,13-26-15,-13-1 0,0 1 16,13-1-16,-13 14 0,-1 13 15,14-27-15,0-13 0,-13 14 0,13-14 16,0 14-16,-13-14 0,13 13 16,0-12-16,0-1 0,-13 0 0,13 0 15,0 0-15,0 1 0,0-1 0,0 0 16,0 0-16,0 1 0,13-1 16,-13 0-16,0 0 0,13 0 15,0 1-15,1-1 0,-1-13 16,13 13-16,-13-13 0,14 13 15,13-13-15,-1 0 0,14 0 16,0 0-16,26-13 0,-12 0 0</inkml:trace>
  <inkml:trace contextRef="#ctx0" brushRef="#br1" timeOffset="148795.06">21074 1296 0,'93'0'31,"-80"0"-31,0 0 0,14 0 15,-1 0-15,-13 0 0,14 0 0,-14 14 16,13-14-16,-12 0 0,-1 0 0,0 13 16,0-13-16,1 13 0,-1 0 15,-13 1-15,13-1 16,-13 0-16,13 14 0,-13-14 0,0 0 0,0 13 16,13 1-16,-13-1 0,14-12 15,-14 12-15,0 14 0,13-14 16,-13 14-16,0-14 0,13 14 0,-13 26 15,13-39-15,-13-1 0,0 1 16,0-1-16,14-13 0,-14 14 16,0-1-16,0-13 0,13 14 0,-13-14 15,0 14-15,13-14 0,-13 13 16,0-13-16,0 1 0,0 12 0,13-13 16,-13 1-16,0 12 0,0-13 0,0 0 15,0 1-15,0-1 0,0 0 16,0 14-16,0-14 0,-13-13 15,13 13-15,-13 0 0,0 14 0,-1-14 16,-12 0-16,-14 14 0,1-14 16,-1 0-16,-13 14 0,0-1 15,0-13-15,-53 27 0,53-14 16,0-12-16,1 12 0</inkml:trace>
  <inkml:trace contextRef="#ctx0" brushRef="#br1" timeOffset="-136460.04">10517 7011 0,'0'27'15,"0"92"1,0 13-16,27-13 16,-1-13-1,-26-26-15,13 12 16,1 1-16,-14-40 16,0-14-16,13-25 0,-13-1 15,0 0 1,-13-79 124,-14-27-140,1-13 16,-1 14-16,-12-54 16,-1 1-16,0 52 15,27-13 1,-40-26-16,40 39 16,13 41-16,-13 12 15,13 27-15,0-1 16,0 1 140,52 0-156,-12 13 16,53-13-16,-1 13 15,41 0-15,25 0 16,41 0-16,-27 0 16,-13 0-16,-27 0 15,13 0-15,14 0 16,-13 0-16,-27 0 15,-27 0-15,14-13 16,53 13-16,-53 0 16,0 0-1,13 0-15,0 0 16,26 0-16,-26 0 16,-13 0-16,0 0 15,13 0-15,26 0 16,-39 0-16,27 0 15,-1 0-15,53 0 16,-26 0-16,13 0 16,-13 0-16,-27 0 15,53 0-15,-106 0 16,14 0-16,0 0 16,-80 0-1</inkml:trace>
</inkml:ink>
</file>

<file path=ppt/ink/ink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08.773"/>
    </inkml:context>
    <inkml:brush xml:id="br0">
      <inkml:brushProperty name="width" value="0.025" units="cm"/>
      <inkml:brushProperty name="height" value="0.025" units="cm"/>
      <inkml:brushProperty name="ignorePressure" value="1"/>
    </inkml:brush>
  </inkml:definitions>
  <inkml:trace contextRef="#ctx0" brushRef="#br0">35 1,'4'2,"1"1,-1-1,0 0,1-1,0 1,-1-1,7 1,-3 0,0 0,0 0,-1 1,1 0,9 5,-16-7,0 0,0-1,0 1,0 0,0 0,0 0,-1 0,1 0,0 0,-1 0,1 0,0 0,-1 0,1 0,-1 0,0 0,1 0,-1 0,0 1,0-1,0 0,1 0,-1 0,0 1,-1-1,1 0,0 0,0 0,0 1,-1-1,1 0,-1 0,1 0,-1 0,1 0,-1 0,0 0,1 0,-1 0,-1 1,-1 1,0 1,0-1,-1 0,1 0,-1-1,1 1,-1-1,0 1,-6 1,6-2,1 0,-1 0,0 0,1 0,-1 1,1 0,-6 5,48 8,-38-16,1 1,0 0,-1 0,1 0,-1 0,0 0,1 0,-1 0,0 0,0 0,1 1,-1-1,0 0,0 1,-1-1,1 1,0 0,0-1,-1 1,1-1,-1 1,1 0,-1 0,0-1,0 1,1 0,-1-1,0 1,-1 0,1 0,0-1,0 1,-1 0,1-1,-1 1,0 0,1-1,-1 1,0-1,0 1,0-1,0 1,0-1,0 0,-3 2,0 1,-1 0,1 0,-1-1,0 0,0 0,-1 0,1-1,-1 1,1-1,-1-1,0 1,-8 0,-5 0,1-2</inkml:trace>
</inkml:ink>
</file>

<file path=ppt/ink/ink31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2:43:27.611"/>
    </inkml:context>
    <inkml:brush xml:id="br0">
      <inkml:brushProperty name="width" value="0.05292" units="cm"/>
      <inkml:brushProperty name="height" value="0.05292" units="cm"/>
      <inkml:brushProperty name="color" value="#0070C0"/>
    </inkml:brush>
  </inkml:definitions>
  <inkml:trace contextRef="#ctx0" brushRef="#br0">5927 11509 0,'0'14'94,"-14"39"-78,14 52-16,0-12 15,0-27-15,0 13 16,-13-12-16,13 25 16,0 1-16,0-53 15,0-1 1,0 14-16,0-40 0,0 1 15,0-1-15,0 0 16,0 13-16,0 1 16,0-1-16,0 1 15,-13-27-15,13 26 16,0-12 0,0-1-16,0 0 0,0 0 31,-26-26 63,26 0-79,0-14 1,0 1-16,0 13 15,0-1-15,0 1 16</inkml:trace>
  <inkml:trace contextRef="#ctx0" brushRef="#br0" timeOffset="6399.98">12158 6019 0,'13'0'125,"13"0"-125,14 0 15,0 0-15,13 0 16,52 0-16,1 0 16,27 13-1,12 1-15,14-1 0,-27-13 16,-26 0-16,0 0 15,-14 13-15,41-13 16,12 0-16,-13 0 16,1 0-16,-14 0 15,53 0-15,-40 0 16,-13-13 0,27 0-16,-27-1 15,26 14-15,-26 0 16,14 0-16,-28 0 15,15 0-15,38 0 0,-39 0 16,14 0 0,-14 0-16,13 0 15,-13 0-15,-66 0 16,-13 0-16,13 0 16,-27 0-16,0 0 15,1 0-15,13 0 16,-14 0-16,27 0 15,-27 0-15,1 0 16,26 0-16,-27 0 16,1 0-16,-1 0 15,1 0-15,-14 0 16,27 0-16,-1 0 16,1 0-1,0 0-15,-14 0 0,1 0 16,25 0-16,94-13 15,-120 0 1,-12 13-16,-1 0 16,40 0 171,-27 0-171,54-13-16,-1 13 0,-13 0 15,-13 0-15,13 0 16,-13 0-16,-40 0 16,27 0-16,-27 0 15,1 0 1</inkml:trace>
  <inkml:trace contextRef="#ctx0" brushRef="#br0" timeOffset="8171.97">5861 6879 0,'26'0'78,"14"0"-78,13 0 16,-14 0-16,41 0 15,52 13-15,-53-13 16,54 0-16,-14 0 16,-27 14-1,41-14-15,39 13 0,-40-13 16,13 13-16,27-13 15,-145 0-15,-14 0 16</inkml:trace>
  <inkml:trace contextRef="#ctx0" brushRef="#br0" timeOffset="9117.37">9247 6945 0,'0'14'63,"66"-1"-63,27 0 15,26 13-15,40-26 16,39 14-16,27 12 16,26-13-16,14-13 15,0 14-15,52-14 16,-26 0-16,-145 0 15,-67 0-15,-26 0 16,-27 0 0</inkml:trace>
  <inkml:trace contextRef="#ctx0" brushRef="#br0" timeOffset="10627.11">9141 2236 0,'-13'13'15,"26"-26"-15,-39 39 0,26-13 0,-13 1 0,13-1 16,0 0-16,-14 0 0,14 1 15,-13-1-15,13 13 0,0-13 0,-13 1 16,13 12-16,0-13 0,-13 1 0,13-1 16,0 0-16,0 0 0,0 1 15,-13-1-15,13 0 0,0 0 16</inkml:trace>
  <inkml:trace contextRef="#ctx0" brushRef="#br0" timeOffset="10914.81">9036 2196 0,'26'-26'16,"-52"52"-16,65-66 0,-12 40 15,-14 0-15,0 0 0,0 0 0,14 0 0,-14 0 16,14 14-16,-14-14 0,0 13 15,0-13-15,0 13 0,1 0 16,-14 0-16,-14 1 16,14-1-16,-13 0 0,0 0 15,0 1-15,0-14 0,13 13 16,-14-13-16,1 13 0,0-13 16,0 13-16,-1-13 15</inkml:trace>
  <inkml:trace contextRef="#ctx0" brushRef="#br0" timeOffset="11163.9">9499 2156 0,'-27'14'31,"27"-1"-31,-13 0 15,13 0-15,-13 0 0,13 14 16,0-14-16,0 0 0,-14 14 0,14-14 16,0 0-16,0 14 0,0-14 15,14 0-15,-14 14 0,0-14 0,0 0 16,13 0-16,-13 1 0,13-14 0,-13 13 16,13-13-16,1 13 0,-1-13 15,0 0-15</inkml:trace>
  <inkml:trace contextRef="#ctx0" brushRef="#br0" timeOffset="11618.53">9684 2434 0,'-13'13'16,"-1"-39"15,14 13-15,0-1-16,0-12 0,0 13 16,14-14-16,-14 14 0,13-13 0,0-1 15,0 14-15,-13 0 0,13-1 16,1 1-16,-14 0 0,13 13 0,0 0 15,-13-13-15,13 26 16,-26 13 0,0-26-16,0 14 0,-1-1 15,1 0-15,13 0 0,-13-13 16,0 14-16,0-1 0,13 0 16,-14-13-16,14 13 0,0 1 15,0-1 1,14-13-16,-1 13 0,0-13 15,0 0-15,0 0 0,1 0 16,-1 0-16,0 0 0,0 0 0,1 0 16,-1 0-16,0 0 0,0-13 15,0 13-15,-13-13 0,14 13 0</inkml:trace>
  <inkml:trace contextRef="#ctx0" brushRef="#br0" timeOffset="11836.2">9895 2103 0,'0'-13'0,"40"13"16,-27 0 0,14 13-16,-14-13 0,0 14 15,14-1-15,-14 0 0,0 0 0,0 14 16,1-14-16,-1 13 0,-13-12 0,0 12 16,0-13-16,0 14 0,0-1 0,-13-12 15,-1 12-15,14-13 0,-13 14 0,0-14 16,0 0-16,13 0 0,-14 14 15</inkml:trace>
  <inkml:trace contextRef="#ctx0" brushRef="#br0" timeOffset="12048.59">10544 2249 0,'39'-13'0,"-78"26"0,92-26 0,-40 13 16,0 0-16,0 0 0,0 0 16,1 0-16,-14 13 15,-14 0 1</inkml:trace>
  <inkml:trace contextRef="#ctx0" brushRef="#br0" timeOffset="12192.43">10451 2355 0,'0'13'31,"13"-13"-15,1 13-16,-1-13 15,0 0-15,0 0 0,0 0 16,1-13-16,-1 13 0,0 0 0,14 0 15,-14 0-15,0 0 0</inkml:trace>
  <inkml:trace contextRef="#ctx0" brushRef="#br0" timeOffset="12634.67">11298 2236 0,'-80'0'31,"54"0"-31,13 0 0,-1 13 16,1-13-16,0 0 16,0 0-16,-1 13 0,1-13 15,13 13-15,13 1 16,1-14-16,-14 13 16,13-13-16,0 0 0,0 13 0,1 0 15,-1-13-15,-13 14 0,13-14 16,-13 13-1,-13 0-15,0 0 16,-1-13-16,1 0 0,0 13 0,0-13 16,-1 0-16,1 14 0,0-14 15,0 0-15,0 13 0,-1-13 0,1 0 16,0 0 0</inkml:trace>
  <inkml:trace contextRef="#ctx0" brushRef="#br0" timeOffset="13041.06">11695 2222 0,'-27'14'15,"14"-1"-15,-14 0 0,-12 14 16,-1-1-16,-13 14 16,-13-14-16,13 14 0,0 0 0,0-14 15,0 14-15,0-1 0,-39 28 16,52-41-16,14 1 0,-1-1 16,14-13-16,0 0 0,0 1 0,-1-1 15,1 0-15</inkml:trace>
  <inkml:trace contextRef="#ctx0" brushRef="#br0" timeOffset="13380.07">11311 2606 0,'53'0'31,"-53"13"-31,0 1 16,-13-1-16,13 0 15,-14-13-15,14 13 16,0 1-16,0-1 16,0 0-16,14 0 15,-14 0-15,13 1 16,-13-1-16,0 0 15,-13 0-15,13 1 16,-14-14-16,14 13 0,-13 0 0,0 0 16,0-13-16,13 14 0,-14-14 0,1 13 15,0-13-15</inkml:trace>
  <inkml:trace contextRef="#ctx0" brushRef="#br0" timeOffset="13655.16">11549 2646 0,'0'40'31,"0"-27"-31,0 0 0,0 0 16,0 0-16,13 1 15,-13-1-15,14-13 0,-1 13 16,0-13-1,0 0-15,0-13 16,-13 0 0,0-1-1,-13 14 1,0-13-16,0 13 0,0 13 31</inkml:trace>
  <inkml:trace contextRef="#ctx0" brushRef="#br0" timeOffset="13971.67">11906 2672 0,'0'-13'16,"-26"26"31,26 1-47,0-1 15,0 0-15,13-13 0,-13 13 16,0 0-16,0 1 0,0-1 16,0 0-1,0 0-15,-13 1 0,13-1 16,-13-13-16,-1 13 15,1-13 1,13-13 0</inkml:trace>
  <inkml:trace contextRef="#ctx0" brushRef="#br0" timeOffset="14484.51">13110 2474 0,'-13'-27'16,"13"14"-16,-13 13 0,13-13 0,0 0 0,0-1 16,0-12-16,0 13 15,0 0-15,13-14 0,-13 14 0,13-14 0,-13 14 16,13 0-16,1 0 0,-14-1 16,13 14-16,0-13 0,0 13 0,-13-13 15,-13 39 1,-53 14-1,39-13 1,-12-14-16,-14 27 0,13-27 0,14 0 16,12 0-16,1-13 0,0 13 15,0 1-15,0-14 0,-1 0 0,14 13 16,-13-13-16,40 13 16,-14-26-1,0 13-15,13 0 0,1 0 16,-14 0-16,14-13 0,-1 13 0,14 0 0,-14 0 15,-13-14-15,14 14 0,-1 0 16,-12 0-16,-1-13 0,0 13 16,0 0-16,0 0 15</inkml:trace>
  <inkml:trace contextRef="#ctx0" brushRef="#br0" timeOffset="14871.51">14539 2130 0,'-13'40'31,"13"-14"-15,0-13-16,-14 0 0,14 1 15,0-1-15,0 0 0,0 0 16,0 1-16,0-1 0,0 0 0,0 0 16,0 1-16,0-1 0,0 0 0,14 0 15,-14 0-15</inkml:trace>
  <inkml:trace contextRef="#ctx0" brushRef="#br0" timeOffset="15112.44">14539 2156 0,'13'-39'0,"-26"78"0,39-92 16,-12 40-16,-1 0 15,0 13-15,13 0 16,-12 0-16,-1 0 0,0 0 0,0 0 16,1 13-16,-1 0 15,-13 1-15,13-14 0,-13 13 0,-13 0 16,13 0-16,0 1 0,-13-1 0,-14 13 15,14-26-15,0 13 16,-1 1-16,1-1 0,0-13 0,0 13 16,0-13-16</inkml:trace>
  <inkml:trace contextRef="#ctx0" brushRef="#br0" timeOffset="15347.04">15028 1958 0,'0'0'0,"-39"13"16,39 0-16,-14-13 15,-12 14-15,13 12 0,-14-13 16,14 14-16,-13-1 0,12 1 0,1-14 16,13 0-16,-13 14 0,0-14 0,13 0 15,0 13-15,0-12 0,0-1 16,0 0-16,0 0 0,13 1 0,-13-1 15,13 0-15,0 0 0,1-13 0,-1 14 16,13-14-16,-13 13 0,1-13 16,12 0-16,-13 0 0</inkml:trace>
  <inkml:trace contextRef="#ctx0" brushRef="#br0" timeOffset="15712.49">15134 2381 0,'-13'-13'16,"0"-13"0,13-1-1,0 14-15,0 0 0,0-1 16,0 1-16,0 0 0,0 0 0,0-1 16,0 1-16,0 0 15,13 13 1,0 13-1,0-13-15,1 13 16,-1-13-16,0 14 16,0-14-16,1 0 0,-1 0 15,13 0-15,-13 0 16,-13-14-16,14 14 0,-1-13 16,-13 0-1,13 13-15,-13-13 0,0 0 0,13 13 16,-13-14-16,0 1 0,14 0 0,-14 0 15,13 13-15,-13-14 0,13 1 16</inkml:trace>
  <inkml:trace contextRef="#ctx0" brushRef="#br0" timeOffset="16112.01">15438 2130 0,'14'26'0,"-28"-52"0,28 66 0,-14-27 0,0 0 16,13 0-16,-13 0 15,0 1-15,13-14 0,-13 13 0,0 0 16,0 0-16,0 1 16,13-41 15,-13 14-31,0 0 16,14-1-16,-14-12 0,13 0 0,13-1 15,-12 1-15,-1 12 0,-13 1 16,26-13-16,-13 26 0,-13-13 15,14 13-15,-1 0 0,0 0 16,-13 13 0,0 13-1,-13-26-15,0 13 0,13 1 0,-14-1 16,1-13-16,13 13 0,0 0 0,-13-13 16,13 14-16,0-1 15,13 0 1,0-13-16,1 13 0,-1-13 15,0 0-15,0 0 0,1 0 0,-1 0 16,0 0-16,13-13 0,-12 13 16,-1 0-16,-13-13 0,13 13 0,0-13 15,-13-1-15</inkml:trace>
  <inkml:trace contextRef="#ctx0" brushRef="#br0" timeOffset="16354.5">15796 1759 0,'13'0'0,"-26"0"0,52 14 16,-39-1-16,27 0 16,-14 0-16,0 14 0,14-1 15,-1 1-15,-13 12 0,14-12 16,-14-1-16,0 1 0,-13-1 0,14 1 16,-14-1-16,0-13 0,0 14 0,0-14 15,-14 14-15,1-14 0,0 13 16,0-13-16,13 14 0,-14-14 0,1 0 15,0 1-15,0-1 0,-1 0 16</inkml:trace>
  <inkml:trace contextRef="#ctx0" brushRef="#br0" timeOffset="16554.5">16457 2051 0,'27'-14'0,"-54"28"0,67-28 0,-27 14 0,0 0 16,0 0-1,1 0-15,-41 14 16</inkml:trace>
  <inkml:trace contextRef="#ctx0" brushRef="#br0" timeOffset="16706.43">16325 2156 0,'26'14'32,"-13"-14"-32,1 0 0,-1 0 15,0 0-15,0 0 0,14 0 16,-14 0-16,0 0 0,14 0 0,-14 0 15,0 0-15,0-14 0,1 14 0,-1 0 16,0 0-16</inkml:trace>
  <inkml:trace contextRef="#ctx0" brushRef="#br0" timeOffset="17227.73">17224 1826 0,'27'-14'0,"-54"28"0,67-28 0,-13 14 15,-14 0-15,0 0 16,0 14-16,0-14 0,-13 13 15,14-13-15,-14 13 0,13 0 16,-13 1-16,0-1 16,13-13-16,-13 13 0,13 0 15,1 0 1,-14 1-16,13-14 0,-13 13 16,0 0-16,0 0 15,0 1-15,-13-14 0,13 13 16,-14-13-16,14 13 0,-13 0 0,0-13 15,0 0-15,-1 14 0,1-14 16,0 13-16</inkml:trace>
  <inkml:trace contextRef="#ctx0" brushRef="#br0" timeOffset="17527.68">17608 1812 0,'-26'14'31,"26"-1"-31,-27 0 16,27 0-16,-13 1 0,13 12 15,-13-13-15,13 0 0,0 1 0,0-1 16,0 0-16,13 0 16,0 1-16,0-1 0,1-13 15,-1 0-15,0 13 0,0-13 16,14-13-16,-14 13 15,-13-13 1,-13-1-16,-1 1 16,1 13-16,0 0 15,0 0-15,-14 0 16,14 0-16,0 0 16</inkml:trace>
  <inkml:trace contextRef="#ctx0" brushRef="#br0" timeOffset="17822.53">17859 1892 0,'0'-13'0,"0"39"16,0-13 0,0 0-1,0 1-15,14-14 0,-14 13 16,13 0-16,0-13 15,-13 13-15,13-13 16,1-13 0,-14 0-16,0 0 15,0-1-15,-14 1 0,14 0 16,0 0-16,-13 0 0,13-1 16,-13 14-16,0 0 15,-1 0-15,1 14 16,0-14-16,0 13 15,-1 0-15,1 0 0,0 0 0</inkml:trace>
  <inkml:trace contextRef="#ctx0" brushRef="#br0" timeOffset="18056.33">17158 2368 0,'0'0'0,"66"-26"16,-39 26 0,13-14-16,-1 14 0,14 0 15,-13-13-15,13 13 0,0-13 0,-14 13 16,14-13-16,0 13 0,-13 0 0,0 0 16,-14 0-16,0 0 0,1 0 15,-14 0-15,14 0 0,-1 0 16,-13 13-16</inkml:trace>
  <inkml:trace contextRef="#ctx0" brushRef="#br0" timeOffset="18394.65">17251 2394 0,'26'-13'15,"14"13"-15,-27 13 0,0-13 16,1 0-16,-1 14 0,0-14 16,-13 13-16,13 0 15,-13 0-15,0 1 16,14-1-16,-14 0 16,0 0-1,13-13-15,-13 14 0,0-1 16,13 0-16,-13 0 15,0 0-15,-13 1 16,13-1 0,-13-13-16,13 13 0,-14-13 0,1 13 15,0-13-15,0 14 16,-1-14-16,1 0 16</inkml:trace>
  <inkml:trace contextRef="#ctx0" brushRef="#br0" timeOffset="18699.56">17701 2434 0,'-14'-13'31,"1"13"-31,-13 13 16,12 0-1,14 1 1,0-1-16,0 0 0,14 0 16,-14 1-16,0-1 15,0 0-15,0 0 16,0 0-16,-14 1 16,1-1-16,0 0 15,0-13-15,0 13 0,-1 1 16,1-14-16,0 0 0,13 13 15,-13-13-15,-1 0 16</inkml:trace>
  <inkml:trace contextRef="#ctx0" brushRef="#br0" timeOffset="19440.46">17767 2394 0,'0'-13'15,"-13"13"-15,-1 13 16,1 1-16,0-1 16,0 0-16,-14 14 0,14-1 15,-14 1-15,14-1 0,0 0 0,0 1 16,0-14-16,-1 14 0,14-14 0,0 0 16,0 0-16,-13 1 0,26-1 0,-13 0 15,0 0-15,14 0 16,-1-13-16,-13 14 0,13-14 0,0 0 15,0 0-15,1 0 0,12 0 0,-13 0 16,1-14-16,-1 14 0,-13-13 0,13 0 16,0 13-16,-13-13 0,0 0 15,14-1-15,-14 1 0,-14 0 16,14 0-16,-13-1 0,0 1 16,0 0-16,-1 13 0,1-13 15,0 13-15,0 0 0,-1 0 16,1 0-16,0-14 15</inkml:trace>
  <inkml:trace contextRef="#ctx0" brushRef="#br0" timeOffset="19754.68">17992 2434 0,'-14'0'0,"1"0"16,0 0-16,0 0 16,0 0-16,-1 0 0,14 13 15,0 1-15,0-1 16,14 0-16,-1 0 16,-13 1-16,13-14 0,-13 13 15,13 0-15,-13 0 0,13-13 16,-13 13-16,0 1 15,0-1-15,-13-13 16,13 13-16,-13-13 0,0 13 0,-14-13 16,14 14-16,-13-14 0,-1 13 0,1-13 15,-1 0-15,-12 13 0,-1-13 16,-13 0-16,0 0 0</inkml:trace>
  <inkml:trace contextRef="#ctx0" brushRef="#br0" timeOffset="20852.93">10425 2990 0,'-14'26'15,"1"-13"-15,13 80 16,13-53 0,1-14-16,12 14 0,-13 0 0,27-1 15,-14 1-15,14 0 0,0-1 0,-1-12 16,1-14-16,13 13 0,-13-12 15,13-14-15,-14 13 0,14-13 0,0 0 16,0 0-16,0-13 0,0-1 0,-13 1 16,13 0-16,-1 0 0,-12-14 0,0 14 15,13-13-15,-14-1 0,1-12 16,13 12-16,-13 1 0,-1-1 0,1 1 16,0-1-16,0 14 0,-1-13 0,1 12 15,13-12-15,-14 13 0,1-1 16,0 14-16,13-13 0,0 13 15,-14 0-15,14 0 0,0 13 0,0-13 0,13 14 16,0-1-16,1 0 0,-1 14 16,-13-14-16,0 0 0,-1 13 15,1-12-15,-13-1 0,0 0 0,-14 14 16,14-14-16,-14 0 0,1 0 0,-14 1 16,0-14-16,1 13 0,-1-13 15,0 13-15,0-13 0,-13 13 0,13-13 16,1 0-16,12 0 15,-26-13-15,13 13 16,1-13-16,-1 0 0,53-40 16,-26 26-16,13 1 0,52-14 15,-52 14-15,13 12 0,67 1 16,-67 13-16,0 0 0,0 13 16,0-13-16,0 14 0,1 12 15,-1-13-15,-13 0 0,13 1 0,0-1 16,13 0-16,-13 0 0,14 1 0,-1-1 15,1 0-15,-1-13 0,0 13 16,93-13-16,-79 14 0,-14-14 16,1-14-16,-14 14 0,0 0 0,0-13 15,0 0-15,0 0 0,-13-1 0,0 1 16,0-13-16,-13-1 16,13 1-16,-14-1 0,1-12 0,0 12 0,0-13 15,-1 14-15,-12 13 0,-14-14 16,13 14-16,-12 13 0,-14-13 0,13 0 15,-26 13 1,-1 0-16,1 0 0,-13 0 16,12 13-16,-12-13 0,13 13 15</inkml:trace>
  <inkml:trace contextRef="#ctx0" brushRef="#br0" timeOffset="48983.73">19103 5755 0,'0'79'16,"0"-52"0,0 25-16,0-25 0,0 26 15,0-27-15,13 14 16,-13-27-16,0 14 0,0-1 15,0-13-15,0 1 0,0-1 0,0 0 16,-13 0-16,13 0 0,0 1 16</inkml:trace>
  <inkml:trace contextRef="#ctx0" brushRef="#br0" timeOffset="49342.67">18971 5741 0,'0'0'0,"13"-26"0,13 0 16,-12 26-16,-1 0 0,0 0 0,27 0 16,-14 0-16,14 13 15,-14 0-15,1 0 0,-1 0 16,-13 1-16,1-1 0,-1 0 16,-13 0-16,0 1 15,0-1-15,0 0 0,-13 0 0,13 1 16,-27 12-16,14-26 15,0 13-15,0 0 0,-1 1 16,1-14-16,13 13 0,-13-13 16</inkml:trace>
  <inkml:trace contextRef="#ctx0" brushRef="#br0" timeOffset="49621.31">19487 5596 0,'-40'53'31,"13"-27"-31,14 1 0,0 12 0,-13 1 16,12-13-16,1 12 0,0 1 0,13-14 16,-13 27-16,13-26 0,0-1 15,0-13-15,0 14 0,0-14 16,0 0-16,13 14 0,-13-14 0,13 0 15,0 1-15,1-1 0,-1-13 16,0 0-16,0 0 16,0 0-16,1 0 0,-1-13 15,0 13-15,0-14 16</inkml:trace>
  <inkml:trace contextRef="#ctx0" brushRef="#br0" timeOffset="50030.37">19632 5847 0,'0'-13'0,"-13"106"15,26-173-15,-13 54 0,0 52 32,0-12-32,-13-1 0,13 26 15,-13-12-15,13 13 16,-14-14-16,14-13 0,0 27 16,0-27-16,0 0 0,0 1 15,-13-1-15,13 0 0,0 0 16,0 1-1,-13-54 17,26 27-32,-13-40 0,0 13 15,13-39 1,-13 39-16,14 0 0,-1 1 0,13-28 16,-12 41-1,-1 26-15,0 0 0,0 0 16,0 0-16,1 13 0,12 0 15,-13 14-15,1-14 0,-1 27 16,0-27-16,0 0 0,-13 27 16,14-27-16,-1 27 15,-13-27-15,0 0 0,0 1 16,0-1-16,0 0 0,0 0 16,0 0-16</inkml:trace>
  <inkml:trace contextRef="#ctx0" brushRef="#br0" timeOffset="50351.68">19606 6046 0,'0'0'0,"-14"-14"0,1 14 0,0 0 15,39 0 17,-12 0-17,-1 0-15,13 0 0,1-13 16,-1 13-16,1-13 0,39 0 15,-53 13-15,27-13 16,-27-1-16,13 14 16,-12-13-16,-1 13 0,0 0 15,0 0 1,1 0 0,-14 13-16,0 1 0,13-1 15,-13 0-15,0 0 16,0 0-16,13 1 15,-13-1-15,0 0 0,0 0 16,13-13-16,-13 14 16</inkml:trace>
  <inkml:trace contextRef="#ctx0" brushRef="#br0" timeOffset="50648.33">19950 5530 0,'0'0'0,"39"26"32,-12-13-32,-14 14 0,13-1 15,1 1-15,-14-1 0,14 14 0,-14-14 16,13 41-16,-13-41 0,1 14 15,-14-14-15,0 1 0,0-1 16,-14 27-16,14-27 0,-13-12 16,13 12-16,-13 1 0,13-14 0,-13 0 15,13 0-15,0 1 0,-13-1 16,13 0-16</inkml:trace>
  <inkml:trace contextRef="#ctx0" brushRef="#br0" timeOffset="50913.58">20585 5781 0,'0'0'15,"79"-13"1,-66 13-16,0 0 16,1 0-16,-1 0 0</inkml:trace>
  <inkml:trace contextRef="#ctx0" brushRef="#br0" timeOffset="51080.68">20452 5966 0,'66'0'31,"-52"-13"-31,-1 13 0,0 0 16,0 0-16,1-13 0,12 13 15,1 0-15,-14 0 0,-13-13 16</inkml:trace>
  <inkml:trace contextRef="#ctx0" brushRef="#br0" timeOffset="52082.63">21471 5609 0,'13'-26'15,"0"26"-15,1 0 0,-1-14 0,0 14 16,0 0-1,1-13 1,-41 26 0,14 1-16,0-14 15,-1 0-15,-12 13 0,13-13 16,13 13-16,-27-13 0,27 13 16,-13-13-16,13 14 0,0-1 15,0 0-15,13-13 16,-13 13-16,13-13 0,1 14 15,-1-1-15,-13 0 0,13-13 0,14 26 16,-27-12-16,13-14 16,-13 13-16,0 0 0,0 0 15,-13 1-15,-1-1 16,1 0-16,0-13 0,0 13 0,-1-13 16,1 14-16,-13-14 0,13 0 15,-1 13-15,1-13 0,0 0 0,0 0 16,-1 0-16,1 0 0,0 0 0</inkml:trace>
  <inkml:trace contextRef="#ctx0" brushRef="#br0" timeOffset="52344.88">22000 5649 0,'-53'40'32,"40"-14"-32,-27-13 0,14 14 15,-14 12-15,0-12 0,1 13 0,-14-1 16,0 1-16,13 0 0,-13-1 0,14 1 16,-14-14-16,13 14 0,-39 26 15,39-39-15,13-1 0,-12 14 16,12-27-16,14 0 0,0 1 15,0-14-15,13 13 16,-14-13-16</inkml:trace>
  <inkml:trace contextRef="#ctx0" brushRef="#br0" timeOffset="52837.05">21431 6152 0,'0'0'0,"13"-14"0,14 14 0,-27 14 15,13-14-15,0 0 16,-13 13-16,0 0 16,0 13-16,-13-12 15,13-1-15,-13-13 16,13 13-16,13 0 15,0-13 1,-13 14-16,14-14 0,-1 13 16,0 0-16,-13 0 0,13 1 15,-13-1-15,-13 0 16,0 0-16,0 0 0,-14 1 16,14-1-16,0 0 0,-1-13 15,-12 13-15,13-13 0,0 14 0,-1-14 16,1 0-16,0 0 15,0 0 1,26-14-16,0 1 0</inkml:trace>
  <inkml:trace contextRef="#ctx0" brushRef="#br0" timeOffset="53148.37">21736 6125 0,'0'0'16,"-14"27"-1,1-27-15,13 13 0,-13 0 16,0 13-16,-1-12 0,1-1 16,0 13-16,0-12 0,13-1 0,-14 27 15,14-27-15,0 0 0,0 0 16,14-13-16,-14 13 0,13 1 16,0-1-16,0-13 15,1 0 1,-1 0-16,-13-13 15,0-1 1,-13 14-16,13-13 16,-14 13-16,1 0 0,0 0 15,0 0 1,-1 0-16,1 0 16</inkml:trace>
  <inkml:trace contextRef="#ctx0" brushRef="#br0" timeOffset="53583.77">21960 6204 0,'-26'14'16,"13"-1"-1,13 0 1,13 0-1,-13 1-15,0-1 0,13-13 0,-13 26 16,13-12-16,-13-1 0,14 13 16,-1-13-16,-13 1 15,13-1-15,-13 0 0,-13 0 16,13 1-16,-27-1 16,14-13-16,0 13 15,0-13-15,0 0 0,-1 0 0,1 0 16,0 0-16,0 0 0,-1-13 15,1 0-15,13-1 0,0 1 16,0 0-16</inkml:trace>
  <inkml:trace contextRef="#ctx0" brushRef="#br0" timeOffset="54878.97">22251 5689 0,'14'0'16,"-1"0"-16,-13-14 15,13 14-15,0 0 16,1 0-16,-1 0 0,0 0 16,14 0-16,-14 0 0,0 0 15,0 0-15,0 0 16</inkml:trace>
  <inkml:trace contextRef="#ctx0" brushRef="#br0" timeOffset="55091.77">22238 5847 0,'0'14'16,"27"-14"-1,-14 0-15,0 0 16,14 0-16,-14 0 15,0-14-15,0 14 16,1 0-16</inkml:trace>
  <inkml:trace contextRef="#ctx0" brushRef="#br0" timeOffset="57715.48">23138 5556 0,'-40'13'16,"27"-13"0,13 14-16,-27 25 15,14-12-15,0-14 0,13 14 16,-13-14-16,13 13 0,-13 1 16,13-14-16,0 0 0,0 0 0,0 1 15,13-1-15,-13 0 0,13-13 16,-13 13-16,13-13 0,0 14 0,14-14 15,-14 0-15,14 0 16,-14-14-16,0 14 16,-13-13-16,13 13 0,1-13 0,-14 0 15,13-1-15,0 1 0,-13 0 0,0 0 16,13-1-16,-13 1 0,0 0 16,0 0-16,0 0 0,0-1 15,-13 1-15,13 0 0,-13 13 16,13-13-16,-27-1 0,14 14 15,0 0-15,-14 0 16,14 14 0</inkml:trace>
  <inkml:trace contextRef="#ctx0" brushRef="#br0" timeOffset="57890.46">23402 5715 0,'0'-13'15</inkml:trace>
  <inkml:trace contextRef="#ctx0" brushRef="#br0" timeOffset="59174.56">23654 5569 0,'-27'40'32,"14"-40"-32,13 13 0,-13 1 15,13-1-15,-13 0 0,13 0 16,-14 14-16,14-14 0,0 0 15,0 0-15,0 1 0,0-1 16,0 0-16,14-13 0,-14 13 16,13 1-16,0-14 15,0 0-15,1 0 16,12 0-16,-13 0 16,0 0-16,1 0 0,-1-14 15,0 1-15,0 0 16,1 0-16,-14-1 0,0 1 15,13 0-15,-13 0 0,0-14 16,0 14-16,0 0 0,-13 0 16,13-1-16,0 1 0,-14-13 15,1 12-15,0 1 16,0 13-16,-1 0 16,1-13-16,-13 26 15,13-13-15,-1 0 16,14 13-16</inkml:trace>
  <inkml:trace contextRef="#ctx0" brushRef="#br0" timeOffset="59423.26">24011 5556 0,'0'27'16,"0"-14"-16,-13 0 16,13 14-16,-14-1 15,14 1-15,-13-14 0,13 13 16,-13-13-16,13 1 0,0-1 16,-13 0-16,13 0 0,0 1 15,0-1-15,0 0 16</inkml:trace>
  <inkml:trace contextRef="#ctx0" brushRef="#br0" timeOffset="60912.41">24223 5569 0,'26'0'31,"-13"0"-15,1 0-1,-14 14-15,0-1 16,-14 0-1,1 0-15,0 1 16,13-1-16,-13-13 16,13 13-16,-14-13 0,14 13 15,14 1 1,-1-14-16,0 0 16,0 13-16,1 0 15,-1-13-15,0 13 0,0 0 16,-13 1-16,13-1 15,-13 0-15,0 0 16,-13-13-16,13 14 0,-39 12 16,25-13-16,1-13 15,0 0-15,0 14 0,-14-14 16,14 13-16,0-13 0,-1 0 16,1 0-16,0 0 0,0 0 15</inkml:trace>
  <inkml:trace contextRef="#ctx0" brushRef="#br0" timeOffset="75410.52">19050 7501 0,'-26'13'31,"26"0"-15,0 1-16,-14-1 0,14 0 15,0 0-15,0 1 0,-13 12 0,13-13 16,-13 27-16,13-27 16,-13 27-16,-1-27 0,14 0 15,-13 14-15,13-14 0,0 0 16,0 0-16,-13 1 0,13-1 16,0 0-1</inkml:trace>
  <inkml:trace contextRef="#ctx0" brushRef="#br0" timeOffset="75777.1">18957 7580 0,'53'-53'31,"-39"53"-31,-1 0 0,0-13 16,13 13-16,-12 0 0,-1 0 15,0 13-15,14-13 0,-27 14 16,13-14-16,-13 26 0,0-13 15,0 1-15,-13-1 16,-1 0-16,1 0 16,0-13-16,0 13 0,-1 1 15,1-1-15,0-13 0,-13 13 16,12-13-16,1 13 16</inkml:trace>
  <inkml:trace contextRef="#ctx0" brushRef="#br0" timeOffset="76032.39">19341 7355 0,'-13'40'15,"0"-27"-15,13 1 16,-14 25-16,1-12 0,0 12 0,0-12 15,13 13-15,-14-1 16,14-12-16,-13-1 0,13-13 16,0 14-16,0-14 0,0 27 15,0-27-15,0 0 0,0 0 0,0 14 16,13-14-16,-13 0 16,14-13-16</inkml:trace>
  <inkml:trace contextRef="#ctx0" brushRef="#br0" timeOffset="76462.62">19460 7646 0,'0'0'0,"-13"27"31,13-1-31,0-12 16,-13-1-16,13 0 16,0 0-16,0 1 0,0-1 15,0 0-15,-14 0 0,14 0 16,14-39 15,-14 13-31,0 0 16,0-14-16,13 1 0,-13 12 15,13-12-15,0-1 0,-13 1 0,14 13 16,-1 0-16,-13-1 0,13 1 16,0 0-16,0 0 0,1 13 15,-1 13-15,0 0 16,0 14-16,-13-14 0,14 0 16,-14 0-16,0 14 0,0-14 15,13 0-15,-13 0 0,0 1 0,0-1 16,0 0-16,0 0 0,0 1 0,0-1 15,0 0-15,-13 0 16,13 0-16</inkml:trace>
  <inkml:trace contextRef="#ctx0" brushRef="#br0" timeOffset="76641.91">19447 7779 0,'0'-13'31,"13"-1"-15,0 14-16,14 0 16,-14 0-16,0 0 0,0 0 15,1 0-15,-1 0 16,13 0-16,-12 0 0,-1 0 16</inkml:trace>
  <inkml:trace contextRef="#ctx0" brushRef="#br0" timeOffset="76907.48">19831 7660 0,'13'0'0,"26"39"31,-39-25-15,0-1-16,-26 13 15,26-12-15,-13-1 0,13 0 16,-13-13-16,13 13 0,0 0 15,0 1 1,13-1 0,0-13-16,0 0 15,0 0-15,14 0 16,-14-13-16,0 13 0,1 0 16,-1-14-16,0 1 15</inkml:trace>
  <inkml:trace contextRef="#ctx0" brushRef="#br0" timeOffset="77166.42">19883 7289 0,'0'0'0,"27"0"0,-14 13 15,0 1-15,1-1 0,-1 0 16,0 14-16,0-1 0,27 67 15,-27-54-15,0-12 16,1-1-16,-14 14 0,0-14 0,0 27 16,-14-13-16,14-13 0,-13 12 15,0-12-15,0-1 0,-1-13 0,1 14 16,0-14-16,13 0 16,-13 1-16,0 12 0,-1-26 15,14 13-15</inkml:trace>
  <inkml:trace contextRef="#ctx0" brushRef="#br0" timeOffset="77416.22">20360 7673 0,'79'-13'16,"-66"13"-16,1 0 15,-1 13-15</inkml:trace>
  <inkml:trace contextRef="#ctx0" brushRef="#br0" timeOffset="77607.73">20333 7832 0,'40'0'31,"-27"0"-31,0 0 0,1 0 15,-1 0-15,0 0 0,0 0 16,1 0-16,12 0 16,-13 0-16</inkml:trace>
  <inkml:trace contextRef="#ctx0" brushRef="#br0" timeOffset="78939.7">21087 7369 0,'0'0'0,"27"13"15,-14-13-15,0 13 0,-13 0 16,13-13-16,-13 14 0,0-1 15,-13 0-15,13 0 0,-13 0 16,0 14-16,-14-1 0,14-12 16,0-14-16,-14 26 0,14-26 15,0 13-15,0-13 16,39 14 15,-13-14-31,1 0 16,-1 13-16,0-13 15,0 13-15,1-13 0,-1 13 16,-13 0 0,0 1-16,-13-1 15,-1 0-15,1-13 0,13 13 16,-13-13-16,0 14 0,-14-14 0,14 13 16,0-13-16,-1 13 15,-12-13-15,13 0 16,13-13-16,0 0 15</inkml:trace>
  <inkml:trace contextRef="#ctx0" brushRef="#br0" timeOffset="79279.75">21272 7395 0,'-13'13'31,"0"1"-31,0-1 0,13 0 0,-13 13 16,-1-12-16,1 12 0,13-13 16,0 1-16,0 12 0,0 1 15,0-14-15,0 0 0,13 0 16,1 0-16,-14 1 16,26-14-16,-13 13 15,0-13-15,1-13 16,-1 13-16,-13-14 15,-13 1 1,13 0 0,-14 13-16,1 0 15,0 0-15,0 0 0,0 0 16,-1 0-16</inkml:trace>
  <inkml:trace contextRef="#ctx0" brushRef="#br0" timeOffset="79607.38">21484 7461 0,'0'0'16,"-40"13"0,40 1-16,-13-1 0,13 0 15,-13 0-15,13 1 16,0 12-16,13-13 15,0 1-15,-13-1 16,14-13-16,12 13 0,-13-13 16,1 0-16,-1 0 15,0 0-15,0-13 0,1 0 16,-1 13-16,-13-14 0,0-12 16,0 13-16,-13-1 0,13 1 15,-14-13-15,14 12 0,-26-12 16,26 13-16,-13 0 0,-1-1 15,1 14-15,0 0 0,0 0 16,-1 0-16,1 14 0,0-1 16,13 0-16,-13 0 0,0 0 0,-1 1 15</inkml:trace>
  <inkml:trace contextRef="#ctx0" brushRef="#br0" timeOffset="79947.27">20929 7964 0,'26'-13'0,"-13"13"0,14 0 0,26 0 16,-27-13-16,67 13 15,-40 0-15,-14-14 0,14 14 16,-13-13-16,0 13 0,-14 0 0,0 0 16,14-13-16,-13 13 0,-14 0 0,13 0 15,-12 0-15,12-13 0,-13 13 16,0 0-16,1 0 0</inkml:trace>
  <inkml:trace contextRef="#ctx0" brushRef="#br0" timeOffset="80673.31">20968 8162 0,'13'-13'0,"-13"0"0,14 13 15,-1 0-15,13 0 16,-12 0-1,-1 13-15,0 0 16,-13 1-16,0-1 31,13 0-15,1-13-16,-14 13 16,13-13-16,0 0 0,-13 14 15,13-14-15,0 13 0,1 0 16,-14 0-16,13-13 0,-13 27 15,0-14-15,-13 13 16,-1-26-16,1 14 0,0-1 16,0 0-16,0-13 0,-1 13 0,1-13 15,0 0-15,0 14 0,-1-14 16,1 0-16,0-14 16,39 1-1,-12 0-15,-1 0 16</inkml:trace>
  <inkml:trace contextRef="#ctx0" brushRef="#br0" timeOffset="80976.28">21418 8149 0,'0'0'16,"-26"27"0,12-14-16,14 0 15,-13 0-15,0 1 0,13-1 16,-13 0-16,13 0 0,0 14 15,0-14-15,0 0 0,0 0 16,13-13-16,-13 14 16,13-14-16,14 13 15,-14-26-15,0 13 16,-13-14-16,13 14 16,-26-26-1,-13 13 1,12 13-16,14-14 15,-13 14-15,0 0 0,0 0 16,-1 0 0</inkml:trace>
  <inkml:trace contextRef="#ctx0" brushRef="#br0" timeOffset="81336.52">21630 8215 0,'-40'0'32,"40"14"-17,-13-14-15,13 13 0,0 0 31,13 0-31,-13 0 0,13 1 16,0-1-16,1 0 16,-14 0-1,13-13-15,-13 14 0,0-1 16,-13 0-16,-1 0 16,1-13-16,0 14 0,0-14 15,0 0-15,-1 0 16,1 13-16,0-26 15,0 13-15,13-14 0,-14 14 16,14-13-16,14 0 0</inkml:trace>
  <inkml:trace contextRef="#ctx0" brushRef="#br0" timeOffset="81594.57">21960 7805 0,'53'-13'31,"-39"13"-31,-1 0 0,0 0 0,13 0 16,-12 0-16,-1 0 16</inkml:trace>
  <inkml:trace contextRef="#ctx0" brushRef="#br0" timeOffset="81786.53">21934 7938 0,'13'0'32,"14"13"-32,-14-13 0,0 0 15,0 0-15,1 0 16,-1 0-16,0 0 0,0 0 16,0 0-16</inkml:trace>
  <inkml:trace contextRef="#ctx0" brushRef="#br0" timeOffset="90687.16">22807 7660 0,'-40'26'15,"40"-13"1,-13 1-16,0 12 0,13-13 16,-13 1-16,13-1 0,0 13 0,-14-13 15,14 1-15,0-1 0,0 0 16,0 0-16,0 1 0,0-1 0,14 0 16,-14 14-16,13-27 0,-13 13 15,13-13-15,0 0 16,1 0-16,-1 0 0,0 0 15,0-13-15,-13-1 16,14 14-16,-14-13 0,0 0 0,13 0 16,-13-1-16,0 1 0,0 0 15,-13 0-15,13-14 16,0 14-16,-14 0 0,14-14 16,-13 27-16,13-13 0,-13 13 15,13-13-15,-13 13 0</inkml:trace>
  <inkml:trace contextRef="#ctx0" brushRef="#br0" timeOffset="90831.36">23019 7766 0,'-27'-14'15</inkml:trace>
  <inkml:trace contextRef="#ctx0" brushRef="#br0" timeOffset="91262.57">23310 7673 0,'0'0'0,"-27"-13"0,14 13 16,0 0-16,-14 0 0,14 0 0,0 0 16,0 13-16,-14-13 0,14 0 0,0 13 15,0-13-15,-1 0 0,1 13 16,0-13-16,13 14 0,-13-1 15,26-13 1,13 13-16,-12-13 16,12 0-16,-13 0 0,1 0 15,12 0 1,-13 0-16,0 0 16,1 13-16,-14 1 15,13-14-15,-13 13 0,0 0 16,0 0-16,0 0 0,0 1 15,-13-1-15,13 0 0,0 0 16,0 1-16,0-1 0,-14 0 16,14 0-16,0 1 15,14-1 1</inkml:trace>
  <inkml:trace contextRef="#ctx0" brushRef="#br0" timeOffset="91820.36">23548 7660 0,'-13'13'32,"13"0"-17,0 0-15,0 1 0,0-1 16,0 0-16,0 0 0,-14 1 15,1 12-15,13-13 0,-13 0 16,-13 14 0,-1-14-16,14-13 15,0 13 1,-1-26 0,28 0-16,-1 0 15,0-1-15,0 1 16,1 0-16,12 0 15,-26 0-15,13-1 0,0-12 16,1 13-16,-14-1 16,0 1-16,13 0 0,-13 0 15,0-1-15,-13 1 16,13 0-16,-14 13 0,1 0 16,0 0-1,0 0-15,0 0 16,13 13-16</inkml:trace>
  <inkml:trace contextRef="#ctx0" brushRef="#br0" timeOffset="92099.18">23680 7633 0,'0'13'31,"-13"14"-31,0-14 0,13 14 15,-13-14-15,13 0 0,0 14 16,0-14-16,0 0 16,13 0-16,-13 0 15,13-13-15,0 14 16,0-28 15,-39 1-15,0 13-1,12 0-15,1 0 0,0 0 16,-14 0 0,27-13-16</inkml:trace>
  <inkml:trace contextRef="#ctx0" brushRef="#br0" timeOffset="92850.5">23786 6324 0,'40'-14'16,"-27"14"-16,0 0 16,0 14-16</inkml:trace>
  <inkml:trace contextRef="#ctx0" brushRef="#br0" timeOffset="93028.46">23707 6443 0,'26'0'16,"-13"0"-1,14 0-15,-1 0 16,-13-14-16,1 14 0,12 0 16,-13 0-16,1 0 0</inkml:trace>
  <inkml:trace contextRef="#ctx0" brushRef="#br0" timeOffset="93786.45">24249 6271 0,'0'-14'15,"0"41"1,0-14-16,0 0 16,0 1-16,0-1 0,-13 0 15,13 0-15,0 0 0,0 1 16,0-1-16,0 0 0,0 0 16,0 1-16,0-1 15</inkml:trace>
  <inkml:trace contextRef="#ctx0" brushRef="#br0" timeOffset="93958.52">24434 6416 0,'14'-13'0</inkml:trace>
  <inkml:trace contextRef="#ctx0" brushRef="#br0" timeOffset="94343.97">24606 6231 0,'13'0'16,"-13"13"-1,-13 0 1,13 1-1,-13-1-15,13 0 16,13 0 0,-13 1-16,13-14 15,-13 13-15,14-13 0,-14 13 16,13-13-16,-13 13 0,0 0 16,0 1-16,0-1 15,-13 0-15,-1 0 16,1-13-16,0 14 0,0-14 15,13 13-15,-13-13 16,-1 13 0</inkml:trace>
  <inkml:trace contextRef="#ctx0" brushRef="#br0" timeOffset="94561.39">24963 6204 0,'0'14'16,"0"-1"-1,0 0-15,-13-13 0,0 27 16,0-14-16,13 0 0,-27 14 16,27-14-16,-13 0 0,-13 0 15,12 0-15,1 14 16,0-27-16,13 13 0,-13 0 15</inkml:trace>
  <inkml:trace contextRef="#ctx0" brushRef="#br0" timeOffset="94712.88">24633 6324 0,'0'-14'0,"0"28"0,0-41 31,13 27-31</inkml:trace>
  <inkml:trace contextRef="#ctx0" brushRef="#br0" timeOffset="94870.41">25043 6363 0,'13'0'0</inkml:trace>
  <inkml:trace contextRef="#ctx0" brushRef="#br0" timeOffset="95410.35">23918 7620 0,'14'0'0,"25"-13"32,-26 13-32,1 0 0,-1 0 15</inkml:trace>
  <inkml:trace contextRef="#ctx0" brushRef="#br0" timeOffset="95583.43">23892 7713 0,'26'13'47,"-12"-13"-32,-1 0-15,0 0 16,0 0-16,-13-13 0</inkml:trace>
  <inkml:trace contextRef="#ctx0" brushRef="#br0" timeOffset="96078.33">24514 7514 0,'-14'-13'0,"28"26"0,-54-26 16,14 13 0,12 13-16,1-13 0,0 0 15,-14 13-15,14 1 16,0-14-16,13 13 0,13 0 31,0-13-31,1 0 0,-1 0 16,0 0-16,0-13 15,1 13-15,-1 0 0,0 0 16,0 0-16,0 13 16,-13 0-1,0 1-15,0-1 16,0 0-16,0 0 0,0 0 0,-13 1 16,13-1-16,0 0 0,-13 0 15,13 1-15,0-1 16,0 0-16,0 0 15,13-13-15</inkml:trace>
  <inkml:trace contextRef="#ctx0" brushRef="#br0" timeOffset="96598.32">24659 7501 0,'0'0'0,"-13"0"0,13 13 31,0 0-16,0 1 1,0 12-16,0-13 0,-13 1 16,13-1-16,0 0 15,-14 13-15,14-12 16,-13-1-16,13 0 0,-13-13 16,0 13-1,26-39 16,-13 13-31,26-14 16,-12 27-16,-14-13 0,13 0 16,0 0-16,0-1 0,1-12 15,-1 13-15,0-1 0,-13 1 16,0 0-16,0 0 0,0-1 16,-13 1-1,13 0-15,-13 13 16,-1 0-1,1 0 1,13 13-16,-13-13 0,26 13 16</inkml:trace>
  <inkml:trace contextRef="#ctx0" brushRef="#br0" timeOffset="96727.54">24778 7541 0,'13'0'31</inkml:trace>
  <inkml:trace contextRef="#ctx0" brushRef="#br0" timeOffset="97159.31">24990 7435 0,'26'-27'16,"-12"41"0,-1-14-16,0 13 15,0 0-15,-13 0 16,0 0-16,0 1 15,0 12 1,0-13-16,0 1 0,-13-1 16,13 0-16,0 0 15,-13-13-15,13 14 0,0-1 16,-13-13-16,13 13 16,-14-13-16,14 13 15</inkml:trace>
  <inkml:trace contextRef="#ctx0" brushRef="#br0" timeOffset="97324.59">24963 7594 0,'-13'-14'31,"26"14"-31,1 0 16,12 0-1,-13 0-15,14-13 16,-14 13-16,0 0 0,0-13 15,1 13-15,-1 0 0</inkml:trace>
  <inkml:trace contextRef="#ctx0" brushRef="#br0" timeOffset="97558.62">25387 7448 0,'-13'-40'16,"13"54"-16,-27-1 16,27 0-16,-13-13 0,13 13 15,-13 0-15,-1 1 0,14-1 16,-13-13-16,0 13 0,13 0 0,-13-13 16,13 14-16,-14-14 0,14 13 15,-13 0-15,0 0 16</inkml:trace>
  <inkml:trace contextRef="#ctx0" brushRef="#br0" timeOffset="97712.47">25215 7474 0,'0'-13'0,"-13"13"0,39 0 47,-13 13-47</inkml:trace>
  <inkml:trace contextRef="#ctx0" brushRef="#br0" timeOffset="97843.18">25360 7567 0,'0'0'15</inkml:trace>
  <inkml:trace contextRef="#ctx0" brushRef="#br0" timeOffset="100335.16">19050 9829 0,'-13'13'16,"13"1"-16,0-1 16,0 0-16,0 27 0,-13-27 15,13 14-15,0-1 0,-14 0 16,14 1-16,-13 13 16,13-14-16,0 1 0,-13-14 0,13 13 15,0 1-15,0-14 0,-13 0 0,13 0 16,0 1-16,0-1 0,0 0 15,0 0-15</inkml:trace>
  <inkml:trace contextRef="#ctx0" brushRef="#br0" timeOffset="100754.55">18957 9856 0,'0'0'16,"14"-14"-16,-1 1 0,0 13 0,0-13 0,1 13 16,-1 0-16,0 0 0,0 13 15,14-13-15,-14 0 0,0 13 0,14 1 16,-14-1-16,0 0 0,0 0 16,1 14-16,-1-1 0,-13-12 0,0-1 15,-13 0-15,13 0 0,-27 27 16,14-27-16,0 0 15,-1 1-15,-12-1 0,13 0 0,-1-13 16,-12 13-16,13-13 0,0 0 16,-1 14-16,1-14 0,0-14 15,26 1 1</inkml:trace>
  <inkml:trace contextRef="#ctx0" brushRef="#br0" timeOffset="101105.47">19539 9697 0,'-26'13'31,"13"0"-31,0 1 0,-1 12 15,-12 1-15,13-1 0,-14 0 0,14 1 16,-27 52-16,14-39 0,13 13 16,-14-13-16,14-14 15,0 14-15,13-1 0,-14-12 0,14-1 16,0 1-16,0-1 0,0-12 0,0 12 16,0-13-16,14 14 0,-14-14 15,13 0-15,-13 0 0,26 1 16,-12-1-16,-1-13 0,0 0 15,0 0-15,1 0 0,25-13 16,-26 13-16,14-14 0,-1 1 16,1 0-16,-1 0 0,-13-1 0</inkml:trace>
  <inkml:trace contextRef="#ctx0" brushRef="#br0" timeOffset="101504.72">19619 9922 0,'0'26'47,"0"-12"-47,0-1 0,0 0 0,-13 13 16,13 1-16,0-14 0,-14 14 15,14-14-15,0 0 0,-13 14 16,13-1-16,-13-13 0,13 0 15,0 14-15,-13-14 0,13 0 16,0 1-16,13-1 16</inkml:trace>
  <inkml:trace contextRef="#ctx0" brushRef="#br0" timeOffset="102156.29">19579 10041 0,'13'0'16,"-13"-13"-16,14 13 0,-1-14 15,0 14-15,0-13 16,1 13-16,-1 0 16,-13 13 15,-13 1-16,-1-1-15,14 0 16,0 0 15,14 1-31,-1-14 0,-13 13 0,13-13 16,0 0-16,0 13 0,14 0 16,-14 1-16,0-1 0,1 0 15,-14 0 1,0 0-16,-14 1 15,1-14-15,0 13 0,-27 0 16,27-13-16,0 0 0,-27 13 16,27-13-16,0 0 0,-1 0 15,1 0-15,0 14 16</inkml:trace>
  <inkml:trace contextRef="#ctx0" brushRef="#br0" timeOffset="102507.62">19989 9882 0,'0'-13'16,"0"39"-1,0-12-15,-13 25 16,13-25-16,0 12 0,-13 0 16,0 1-16,13-14 0,-14 14 15,14-1-15,-13 1 0,13-14 0,-13 0 16,13 27-16,-13-27 0,13 0 15,0 0-15,-14 1 0,14-1 16,0 0 0,14-13-1,-1 0-15,0 0 16,0-13-16</inkml:trace>
  <inkml:trace contextRef="#ctx0" brushRef="#br0" timeOffset="103089.32">20294 9988 0,'-27'26'15,"27"-12"1,-13-1-16,13 0 16,-13 14-16,-1-14 15,14 0-15,-13 14 0,13-14 16,0 0-16,-13 13 0,13-12 16,-13-1-1,13 0-15,0 0 16,0-39 31,0 13-47,0-1 15,0 1-15,13 0 0,-13 0 0,13-27 16,0 14-16,-13-1 0,14 1 16,-1-1-16,0 14 0,-13 0 15,13 0-15,1-1 0,-14 1 0,13 0 16,0 0-16,0 13 15,0 0-15,1 0 16,-14 13-16,13-13 16,-13 13-16,13 0 0,-13 1 15,0-1-15,13 13 0,-13-13 16,0 1-16,0-1 16,0 0-16,0 27 15,0-27-15,0 0 16,0 1-16,0-1 15,14-13-15,-28 13 16</inkml:trace>
  <inkml:trace contextRef="#ctx0" brushRef="#br0" timeOffset="103303.18">20188 10160 0,'39'0'47,"-25"0"-47,-1 0 16,13-13-16,-12 13 16,12 0-1,-13 0-15,14-13 0,-14 13 16,0 0-16</inkml:trace>
  <inkml:trace contextRef="#ctx0" brushRef="#br0" timeOffset="104204.13">20611 10147 0,'-13'26'31,"13"-13"-31,0 1 16,0-1-16,0 0 15,0 0 1,0 1-16,0-1 15</inkml:trace>
  <inkml:trace contextRef="#ctx0" brushRef="#br0" timeOffset="104846.4">20651 9684 0,'0'-13'16,"26"26"-16,-26 0 15,13-13-15,1 13 0,-1 0 0,0 14 16,14 26-16,-14-27 16,13 27-16,-26-40 0,13 14 15,1 26-15,-1-27 0,-13-13 16,0 40-16,13-39 16,-26 12-16,13-13 0,0 1 0,0 12 15,-13-13-15,13 0 0,-14 1 0,14-1 16,-13 0-16,13 0 0,0 1 15,-13-14-15,13 13 0,0 0 16,13-13 0</inkml:trace>
  <inkml:trace contextRef="#ctx0" brushRef="#br0" timeOffset="105301.39">21259 9922 0,'40'0'31,"-27"0"-15,0 0-16,1 0 0,-1 13 0,0-26 15,0 26-15,1-13 0</inkml:trace>
  <inkml:trace contextRef="#ctx0" brushRef="#br0" timeOffset="105466.83">21206 10067 0,'27'0'31,"-1"0"-31,-13 0 0,1 0 15,12-13-15,1 13 0,-14 0 0,0 0 16,0-13-16,1 13 0</inkml:trace>
  <inkml:trace contextRef="#ctx0" brushRef="#br0" timeOffset="106146.56">18957 11761 0,'-13'53'31,"13"-40"-31,0 0 16,0 14-16,0-14 0,0 0 0,-13 0 16,13 14-16,0-14 0,0 0 0,0 0 15,0 1-15,0-1 0,0 0 16,0 0-16,0 1 0,0-1 16,0 0-16</inkml:trace>
  <inkml:trace contextRef="#ctx0" brushRef="#br0" timeOffset="106519.38">18931 11800 0,'66'-39'32,"-53"39"-32,1 0 0,-1 13 0,0-13 15,0 0-15,0 13 0,-13 0 0,14-13 16,-14 14-16,13-1 0,-13 13 15,0-12-15,-13 12 16,-1-26-16,14 13 0,-13 0 16,-13 1-1,13-14-15,-1 13 16,1-13-16</inkml:trace>
  <inkml:trace contextRef="#ctx0" brushRef="#br0" timeOffset="106803.45">19394 11536 0,'-13'40'15,"-14"-1"1,14-12-16,0 12 0,-14 41 15,14-41-15,13 1 0,-13-13 16,0 12-16,13-12 0,0-1 16,0 1-16,0-14 0,0 13 0,0 1 15,0-14-15,13 0 0,-13 14 0,13-14 16,0 0-16,-13 0 0,14 1 16,-1-14-16,0 0 15,0 13-15,14-13 16,-14-13-16</inkml:trace>
  <inkml:trace contextRef="#ctx0" brushRef="#br0" timeOffset="107055.22">19553 11893 0,'0'-13'31,"0"39"-16,0-13-15,0 1 0,-14 12 16,14-13-16,0 1 16,0-1-16,0 0 0,0 0 15,-13 14-15,13-14 0,0 0 16,0 14-16,0-14 16,0 0-1</inkml:trace>
  <inkml:trace contextRef="#ctx0" brushRef="#br0" timeOffset="107549.47">19566 11919 0,'66'14'31,"-53"-14"-15,-13 13-16,14 0 15,-14 0-15,-14 1 16,28-1 15,-1 0-15,0-13-16,-13 13 15,13 1-15,-13-1 16,0 0-16,0 13 16,-13-26-16,13 14 15,-13-1-15,0 0 0,-1 0 16,1 1-16,0-14 16,13 13-16,-13-13 0</inkml:trace>
  <inkml:trace contextRef="#ctx0" brushRef="#br0" timeOffset="107965.11">20002 11655 0,'0'53'31,"0"-40"-31,0 14 16,0-14-16,0 13 0,0 27 15,0-26-15,0-1 0,0-13 0,0 40 16,0-40-16,0 1 0,0 12 15,0-13-15,0 1 0,0-1 16,14 0-16</inkml:trace>
  <inkml:trace contextRef="#ctx0" brushRef="#br0" timeOffset="108419.4">20333 11827 0,'-13'53'31,"13"-40"-31,0 0 0,-13 0 16,13 1-16,0 12 0,0-13 16,-13 1-16,13 12 0,0-13 0,0 1 15,0-1-15,-14-13 0,14 13 0,0 0 16,0 0-16,0-39 47,0 0-47,0 12 0,0-12 0,14 13 15,-14-14-15,13-13 0,-13 1 16,13 12-16,-13 1 0,13 13 0,-13-1 16,27-25-16,-14 26 15,0-1-15,0 14 16,14 14-16,-14-1 15,0 0-15,1 0 0,-14 0 16,13 1-16,-13 12 0,13-13 16,-13 1-16,0-1 0,0 0 15,13 13-15,-13-12 0,0 12 16,0-13-16,0 1 0,-13 12 16,13-13-16,0 1 0,0-1 0,0 0 15,-13-13-15,13 13 0</inkml:trace>
  <inkml:trace contextRef="#ctx0" brushRef="#br0" timeOffset="108616.01">20267 12025 0,'-13'0'0,"0"0"31,39 0-31,-13-13 15,1 13-15,-1 0 0,0 13 16,0-13-16,0 0 0,14 0 16,-14-13-16,0 13 0,27 13 15,-27-13-15,1 0 16</inkml:trace>
  <inkml:trace contextRef="#ctx0" brushRef="#br0" timeOffset="108934.8">20664 11986 0,'13'13'15,"-26"0"1,13 0-16,0 1 0,-13-1 16,0 0-16,-1 0 15,1 0-15,0 1 0,13-1 16,-13 0-16,-1-13 0,14 13 15,-13 1 1,26-1 0,1 0-16,-1-13 15,0 0-15,0 0 16,1 0-16,-1 0 0,0 0 16,0 0-16,0-13 0,14 13 15,-27-13-15,13 13 0,0-14 16,-13 1-16,0 0 0,14 13 15</inkml:trace>
  <inkml:trace contextRef="#ctx0" brushRef="#br0" timeOffset="109181.24">20730 11615 0,'13'0'0,"-26"0"0,40 0 16,-14 0-16,0 13 0,0 1 15,27 25-15,-14-12 16,1-1-16,-1 27 0,-12-26 16,-1-1-16,0 27 15,-13-27-15,0 1 0,0-1 16,-13 1-16,0 13 0,-1-14 0,1 0 16,0 1-16,13-1 0,-27 1 15,27-14-15,0 0 0</inkml:trace>
  <inkml:trace contextRef="#ctx0" brushRef="#br0" timeOffset="109449.35">21352 11721 0,'26'0'32,"-12"0"-32,-1 0 0,0 0 15,0 0-15,0 0 0,14 0 16,-14 0-16,-13 13 15</inkml:trace>
  <inkml:trace contextRef="#ctx0" brushRef="#br0" timeOffset="109607">21405 11840 0,'0'0'0,"39"-13"16,-25 13-16,-1 0 15,0 0-15,0-13 0,1 13 0,-1-14 16,0 14-16,0-13 16,1 13-16,-1-13 15</inkml:trace>
  <inkml:trace contextRef="#ctx0" brushRef="#br0" timeOffset="111700.1">12806 12422 0,'-13'27'16,"-14"105"15,27-92-31,0-1 0,0 41 16,0-41-16,0 1 0,0 0 15,13-1-15,-13 1 0,14-13 0,-1 12 16,0 1-16,0-14 0,1 14 0,-1 0 16,13-14-16,-13 1 0,14 12 15,26 14-15,-40-26 0,14-1 16,39 14-16,-27-14 0,-12-12 15,12 12-15,1-13 16,13 1-16,-13-1 0,39 13 16,-39-26-16,92 27 15,-79-14-15,40 0 0,-40 0 16,-14-13-16,67 14 16,-66-14-16,13 0 0,39 13 15,-52-13-15,13 0 0,40 0 16,-41 0-16,54 0 15,-53 0-15,66 0 0,0 0 16,-53 0-16,14-13 0,65 13 16,-65 0-16,-1-14 15,-13 14-15,14 0 0,-1 0 0,67-13 16,-67 0-16,0 0 0,67-1 16,-67 1-16,-13 0 0,14 0 15,-14 0-15,13-1 0,53-12 16,-65 26-16,-14-13 15,-14-1-15,67 1 0,-66 0 16,13 0-16,26-14 0,-39 14 16,13 0-16,-27 13 0,14-13 15,-1-1-15,14-12 0,-26 13 16,-1 13-16,-12-14 0,25-12 16,-26 26-16,1-13 0,-1 13 15,0-14-15,0 1 0,14 0 16,-14 13-16,-13-13 0,27 0 15,-14-1-15,-13 1 0,26 0 16,-13 0-16,1-14 16,-1 1-16,0 13 0,14-27 15,-27 27-15,13-14 0,13-13 16,-26 14-16,13 13 0,1-27 16,-1 14-16,-13-14 0,13 13 15,14-39-15,-27 27 0,13 12 16,13-52-16,-26 39 0,14 0 15,12-39 1,-13 39-16,0 1 0,14-41 16,-14 41-16,14-28 0,-14 41 15,0-14-15,14-13 0,-27 27 16,13-1-16,0 1 0,0 0 16,0 12-16,-13-12 0,27-14 15,-14 14-15,0 13 0,1-40 16,12 13-16,-26 27 0,27-40 15,-14 40-15,-13-14 0,13 1 16,0-1-16,-13 14 0,13-14 16,1 14-16,-14 0 0,0 0 15,13 0-15,-13-1 0,13-12 16,-13 13-16,0-1 0,13 1 16,1 0-16,-1 0 0,-13-1 15,13 1-15,0 0 0,-13 0 16,14 0-16,-1 13 0,0-27 15,13 14-15,-12 0 0,-1 13 0,0-14 16,0 1-16,14-13 0,-14 12 16,27 1-16,-27 0 15,0 13-15,0-13 0,14 0 0,-14-1 16,14 14-16,12-26 16,-26 26-16,14-13 0,-14-1 15,0 14-15,14-13 0,-1 0 16,-12 13-16,-1 0 0,0-13 0,13 0 15,-12 13-15,-1 0 0,0-14 16,0 14-16,14-13 16,-14 0-16,13 0 15,-12-1-15,-1 14 0,0 0 16,0-13-16,1 0 16,-1 13-16,0-13 0,0-1 15,1 14-15,-1 0 0,0-13 16,13 0-16,-12 0 0,-1 0 15,0 13-15,0-14 16,1 1-16,-1 13 0,-13-13 16,26 0-16,-26-1 15,14 14-15,-1-13 16,-13 0 0,13 0-1,-26-1 1,13 1-16,0 0 15,13 13-15,-13-13 16</inkml:trace>
  <inkml:trace contextRef="#ctx0" brushRef="#br0" timeOffset="112103.04">18891 10464 0,'27'14'47,"-14"-14"-47,0 0 0,0 0 15,1 0-15,-1 13 16,0-13-16,0 0 0,1 13 0,-1 0 16,0 0-16,0 1 15,0-1-15,-13 0 0,14 0 0,-14 1 16,13-1-16,-13 13 0,0 1 16,0-1-16,13-13 0,-13 1 15,-13-1-15,13 13 0,0-12 0,0 12 16,0-13-16,-13 0 0,13 14 15,0-1-15,-14 1 0,14-1 16,-13-12-16,13-1 0,0 0 16,0 0-16</inkml:trace>
  <inkml:trace contextRef="#ctx0" brushRef="#br0" timeOffset="117959.24">19566 11933 0,'0'-14'78,"0"1"-62,0 0 0,0 0-1,0 0-15,0-1 16,0 1 0,0 0-16,0 0 15,13-1 16,0 14-15,1-13-16,-1 13 16,0 0-1,0 0-15,1 0 0,-1 0 16,0 0-16,0 13 16,0-13-16,1 14 15,-1-1 1,-13 0-1,0 0-15,0 1 16,0-1 0,-13 0-16,-1 0 15,1 0 1,0-13-16,13 14 0,-13-14 16,0 0-16,-1 0 0,14 13 15,-13-13-15,0 0 16,0 0-1,13 13 1,-14-13 0,1 0-1,0 0 32,13 13-31,-13-13-1,-1 0 1,41-13 109,-14 13-109,0 0-16,1 0 15,-1 0 1,0 0-16,-13 13 16,13-13-16,1 0 15,-1 14 1,0-14-1,-13 13-15,13-13 16,-13 13 0,0 0-1,13-13 1,-13 14 0,-13-1-1,13 0 16,0 0-15,0 0 0,-13-13-1,13 14 1,0-1 15,-13 0-15,0 0 15,-1-13-31,14 14 16,-13-14-16,0 0 15,0 13 1,-1-13 0,1 0-16,-13 0 31,12 0-16,1 0 1,0 0 0,13-13-1,-13 13 1,0 0 15,-1 0 0</inkml:trace>
  <inkml:trace contextRef="#ctx0" brushRef="#br0" timeOffset="141978.32">19553 9962 0,'0'-14'16,"13"14"62,-13-13-47,-13 26 110</inkml:trace>
  <inkml:trace contextRef="#ctx0" brushRef="#br0" timeOffset="142614.26">19553 10067 0,'0'-13'78,"0"0"-78,0 0 16,0-1-1,0 1-15,0 0 16,0 0-16,13 13 0,-13-27 15,0 14-15,13 0 16,-13 0-16,13-1 16,1 1-1,-1 13-15,0 0 16,0-13-16,14 13 16,-14 0-1,0 13-15,0-13 16,1 0-16,-1 13 15,0 1-15,-13-1 32,0 0-32,0 0 15,-13 1-15,0-1 16,13 0 0,-14-13-16,14 13 0,-13-13 15,0 13-15,0-13 16,13 14-1,-13-14 1,-1 0-16</inkml:trace>
  <inkml:trace contextRef="#ctx0" brushRef="#br0" timeOffset="144053.21">21934 9750 0,'0'0'0,"-13"0"0,13 13 16,-13 0 0,-1 1-16,1 12 15,0-13-15,13 0 0,-13 14 16,13-14-16,-14 67 31,14-67-31,14-13 0,-14 13 0,13 0 16,0 0-16,0-13 15,1 0-15,-1 0 0,0 14 16,13-28-16,-12 14 16,-1-13-16,0 0 0,0 0 15,-13 0-15,14-40 16,-1 39-16,-13 1 15,0 0-15,0 0 0,0-1 0,0 1 16,-13 0 0,13 0-16,-14 0 0,14-1 0,-13 14 15,0-13-15,0 0 16,-1 13-16,14-13 0,-13 13 16,0 0-1,0 0-15,13 13 0</inkml:trace>
  <inkml:trace contextRef="#ctx0" brushRef="#br0" timeOffset="144226.65">22119 9856 0,'13'0'63</inkml:trace>
  <inkml:trace contextRef="#ctx0" brushRef="#br0" timeOffset="144636.89">22490 9750 0,'-27'-13'0,"54"26"0,-67-26 0,13 13 16,14 0-16,0 0 0,-13 13 15,12-13-15,1 0 16,13 13-16,-13-13 0,0 13 0,13 1 15,-14-14-15,28 13 16,-1-13 0,0 0-16,0 0 15,14 0-15,-14 0 16,0 0-16,0 0 16,1 13-16,-1 0 15,-13 0 1,0 1-16,0-1 0,0 0 15,0 0-15,0 1 0,-13-1 16,13 0-16,-14 14 16,14-14-16,0 0 15,14 0-15,-14 0 0,13-13 16,0 0-16</inkml:trace>
  <inkml:trace contextRef="#ctx0" brushRef="#br0" timeOffset="144987.18">22939 9776 0,'67'0'16,"-54"0"-1,0 0-15,0 0 0,14 0 0,12 0 16,-25 0 0,-1 0-16</inkml:trace>
  <inkml:trace contextRef="#ctx0" brushRef="#br0" timeOffset="145164.03">23006 9856 0,'-14'0'16,"41"13"0,-1-13-1,-13 0 1,1 0-16,12 0 0,-13 0 16,14 0-16,-14 0 0,14 0 15,12 0-15,-26 0 0</inkml:trace>
  <inkml:trace contextRef="#ctx0" brushRef="#br0" timeOffset="145580.94">23707 9671 0,'-27'-27'15,"54"54"-15,-67-54 16,27 27-16,0 0 16,-1 13-16,-12 1 0,-1-1 15,14 0-15,13 0 16,-13-13-16,13 13 0,13 1 31,0-14-31,1 0 16,12 0-1,1-14-15,-14 14 16,0-13-16,0 26 31,0-13-31,-13 14 16,-13 52 0,0-53-1,13 13 1,0-12-16,0-1 15,13 0-15,0-13 16,1 0-16</inkml:trace>
  <inkml:trace contextRef="#ctx0" brushRef="#br0" timeOffset="145972.95">23984 9671 0,'14'0'16,"-41"13"-1,14-13 1,0 13-16,0 0 0,13 0 0,-14-13 16,-12 40-16,26-27 15,-13 27 1,13-14 0,13-26-16,-13 14 0,13-14 15,0 13-15,1-13 16,12-13-1,-13-1-15,14-12 16,-27 13-16,13 0 0,-13-1 16,0 1-16,0 0 15,0 0-15,-13-14 16,-14 14 0,14 13-16,-13 0 0,12 0 15,-12 0-15,-1 0 16,14 0-1,0 13-15,0-13 16,39 13 0</inkml:trace>
  <inkml:trace contextRef="#ctx0" brushRef="#br0" timeOffset="146204.04">24209 9631 0,'27'-13'16,"-54"26"-16,67-13 31,-40 26-15,0-12-16,-13 12 15,13-13-15,-27 27 16,27-27-16,-13 14 16,0-14-1,0 13-15,-1-13 16,1 14-16,0-14 15</inkml:trace>
  <inkml:trace contextRef="#ctx0" brushRef="#br0" timeOffset="146343.45">24064 9763 0,'-13'-26'15,"26"12"17</inkml:trace>
  <inkml:trace contextRef="#ctx0" brushRef="#br0" timeOffset="146514.1">24421 9869 0,'13'0'16</inkml:trace>
  <inkml:trace contextRef="#ctx0" brushRef="#br0" timeOffset="149662.29">20638 12052 0,'13'0'16,"-13"-13"15,13 13-15,-13-14-1,13 14 1,-13-13-16,0 0 15,13 13 1,-13-13-16,0-1 16,-13 14-1,13-13-15,-13 13 16,0 0-16,13-13 0,-13 13 16,-1 0-16,1 0 0,0 0 15,0 0-15</inkml:trace>
  <inkml:trace contextRef="#ctx0" brushRef="#br0" timeOffset="150734.19">22384 11483 0,'0'-13'0,"0"39"47,0 1-31,0-14-16,0 0 0,0 0 16,-13 1-16,13-1 0,0 0 0,0 13 15,0-12-15,-14 25 16,14-25-1,0-1-15,0 0 16,0 0 0,14-13-1</inkml:trace>
  <inkml:trace contextRef="#ctx0" brushRef="#br0" timeOffset="151263.95">22622 11536 0,'0'-13'31,"-27"39"-15,27-13-16,0 1 15,-13-14-15,13 13 0,0 0 0,0 0 16,0 0-16,-13 1 0,26-14 16,-13 26-16,0-13 15,13-13-15,-13 14 0,14-14 16,-1 13-16,0-13 15,0 0-15,1 0 16,-1 0-16,0 0 16,-13-13-16,13 13 15,0-14-15,-13 1 0,14 13 16,-14-13-16,0 0 16,0-1-16,0 1 0,0-13 15,-14 26-15,14-13 16,-13-1-16,13 1 15,-13 13-15,-13-13 16,12 13-16,1 0 16,0 0-16,0 13 15,-1-13 1,14 13-16</inkml:trace>
  <inkml:trace contextRef="#ctx0" brushRef="#br0" timeOffset="151531.06">23045 11470 0,'0'0'0,"0"-14"16,-13 41 15,0-14-31,13 0 15,-13 1-15,13-1 0,-14 27 16,1-27-16,0 0 0,0 13 16,13-12-16,-14 12 15,14-13-15,-13-13 0,13 14 16,-13-1-16,13 0 0,0 0 16,-13 1-1</inkml:trace>
  <inkml:trace contextRef="#ctx0" brushRef="#br0" timeOffset="151685.1">22847 11549 0,'0'0'15,"-13"0"-15</inkml:trace>
  <inkml:trace contextRef="#ctx0" brushRef="#br0" timeOffset="151828.38">23151 11721 0</inkml:trace>
</inkml:ink>
</file>

<file path=ppt/ink/ink31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2:46:19.569"/>
    </inkml:context>
    <inkml:brush xml:id="br0">
      <inkml:brushProperty name="width" value="0.05292" units="cm"/>
      <inkml:brushProperty name="height" value="0.05292" units="cm"/>
      <inkml:brushProperty name="color" value="#0070C0"/>
    </inkml:brush>
  </inkml:definitions>
  <inkml:trace contextRef="#ctx0" brushRef="#br0">5411 8480 0,'26'0'156,"40"0"-140,0 0-16,-13 0 15,0 0-15,27 0 16,-14 0 0,-13 0-16,0 0 15,-14-13-15,-12 13 16,-14 0 0</inkml:trace>
  <inkml:trace contextRef="#ctx0" brushRef="#br0" timeOffset="988.68">6800 8506 0,'13'0'63,"27"0"-48,-14 0-15,14 0 16,0 0-16,12 14 16,41-1-16,-14 0 15,1-13-15,-14 13 16,13 0-16,-13-13 15,-13 0 1,0 0-16,-26 0 16,-14 0-16,0 0 0</inkml:trace>
  <inkml:trace contextRef="#ctx0" brushRef="#br0" timeOffset="4720.72">16854 7673 0,'13'26'32,"27"67"-17,13 39-15,0-13 16,-14 0-16,14 14 16,-13 25-16,13-12 15,-27-40-15,-12-14 0,-1-12 16,0-1-16,-13-39 15,0 0 1,13-40-16,-13 13 16,-13-66 62,-13 26-78,26 1 15,-27-27-15,27 13 16,-26 1-16,26-28 16,-27 1-16,14 13 15,0 0-15,0 1 16,-1-28-16,-12 1 16,-1 26-16,14-13 15,-27-27-15,27 27 16,0-13-16,-40-14 15,53 27 1,-40 0-16,27-14 0,-13 1 16,13 53-16,13 12 15,-14-12-15,14 13 32,-13 13-17,40 0 157,12 0-172,14 0 16,-26-14-16,12 14 15,14-13-15,0 13 16,26-13-16,-39 0 16,-13 13-1,12 0-15,-12 0 16,-1 0-16,1 0 15,12 0-15,1 0 16,26 0-16,-39 0 16,12 0-16,14 0 15,0 0-15,27 0 16,-28 0-16,1 0 16,-13 0-16,-13 13 0,12-13 15,-26 0-15,27 0 16,-27 0-1,1 0 1,-1 0 15,0 0-15,0 0-16,1 0 16,-1 0-1,0 0 1,0 0-1,0 0 1,1 0 15,-14 13 1,13 0-32,0 54 0,-13-41 15,0 14 1,13 13-16,-13-27 15,0 14-15,14-1 0,-14 1 16,0 66 0,0-66-1,0-1-15,13 1 16,-13 0-16,13-14 16,-13 1-16,0 12 0,0-25 15,13 12 1,-13 0-16,0-12 15,13-14 1,-13 13 0,0 0 62,0 0-63,-13 1 95,-26-1-110,12-13 15,-13 0-15,-12 0 16,-15 13-16,14-13 16,-26 0-16,39 13 15,-13 1-15,14-1 16,-27-13-16,-1 13 16,15 13-16,12-26 15,-26 14-15,26-1 16,0 0-16,1-13 15,-1 0-15,0 27 16,1-27-16,-1 13 16,0 0-16,1-13 15,-14 13 1,13-13-16,0 0 0,1 0 16,12 0-1,-26 0-15,27 13 16,13-13-16,-1 14 15,1-14-15,0 0 16</inkml:trace>
  <inkml:trace contextRef="#ctx0" brushRef="#br0" timeOffset="14016.95">21365 6152 0,'66'-14'0,"14"1"32,-67 13-32,0 0 15,-13 13-15,13-13 16,-13 14-16,0-1 0,14 13 15,-14-13-15,0 14 0,0 13 0,0-1 16,13 54-16,-13-53 0,0 13 16,13 13-16,-13-27 0,0 28 15,13 25-15,0-26 0,-13-13 16,14 53-16,-14-53 0,13-13 16,-13 13-16,13-1 0,-13 1 15,13-13-15,-13 13 0,14-13 0,-14-1 16,13 1-16,0 39 15,-13-52-15,0 13 0,13-1 16,-13-12-16,0-1 0,14 14 16,-14-27-16,0 0 0,0 1 15,0-1-15,0 0 0,-14-13 16,14 13-16,-13-13 0,0 13 0,-27-13 16,14 14-16,-14-14 0,-13 13 15,0 0-15,-13-13 0,-80 27 16,67-14-16,0 0 0,-80 14 15,66-1-15,14-13 0,0 0 16,-1 1-16,14-1 0,13 13 16,0-12-16,27-1 0</inkml:trace>
  <inkml:trace contextRef="#ctx0" brushRef="#br0" timeOffset="19652.89">20717 10081 0,'0'-14'0</inkml:trace>
  <inkml:trace contextRef="#ctx0" brushRef="#br0" timeOffset="20443.79">4154 11060 0,'0'13'31,"13"-13"-15,0-13-16,1 13 16,-1 0-16,0 0 15</inkml:trace>
  <inkml:trace contextRef="#ctx0" brushRef="#br0" timeOffset="20777.06">6152 11020 0,'-14'13'31</inkml:trace>
  <inkml:trace contextRef="#ctx0" brushRef="#br0" timeOffset="23274.87">3691 5292 0,'0'26'31,"0"-13"-31,13 14 16,-13 26-16,0-27 15,13 1-15,-13-1 0,0 1 16,0-1-16,14-13 0,-14 40 16,0-40-16,0 14 0,0-14 15,13 0-15,-13 1 0,0 12 16,0-13-16,0 0 15,-13-39 1,-1 0 0,14-1-16,-26-92 15,-1 26-15,27 1 16,0 39-16,0-40 16,0 54-16,14-1 0,12-53 15,1 67 1,12-14-16,-25 27 15,12 0-15,-13 26 16,27 0-16,-40 0 16,13 1-16,-13 25 15,-13-25-15,-27 78 16,27-52-16,-13-14 0,-14 27 16,27-40-16,-27 27 15,27-13-15,-1-14 16,14 0-1,0 0-15,14-13 0,25 27 16,-12-27-16,26 13 16,-27-13-16,1 0 0,-1 0 15,1 13-15,-1-13 0,53 0 16,-52 0-16,26 0 16,-40 13-16,27-13 15,-14 0 1,-13 0-1,1 0-15,-1 0 16,0 0 0,0 0-1</inkml:trace>
  <inkml:trace contextRef="#ctx0" brushRef="#br0" timeOffset="25490.52">4696 9644 0,'0'0'16,"14"13"15,-14 1-15,0-1-16,0 0 0,0 0 15,0 0-15,0 1 0,0 12 16,0-13-16,0 1 0,13 25 16,-13-26-1,0 1-15,0-1 16,-13-40 15,13 14-15,0-13-16,0 13 0,0-14 0,0-39 15,0 26-15,0 14 16,13-27-16,0 26 0,0 1 16,0-14-16,1 27 15,12-13-15,-13 26 16,14 0 0,-27 13-1,0 13-15,-27 14 16,14-27-16,-13 27 15,12-27-15,1 0 16,0 1 0,13-1-16,-13-13 0,13 13 15,13 0 1,0-13-16,0 0 16,1 0-16,-1 0 15,0 14-15,0-14 0,1 0 16,-1 0-16,0 0 0,0 0 15,1 0-15,-1 0 16,0 0-16,0 13 16,0-13-1,1 0 17,-1 0 14,0 0 64</inkml:trace>
  <inkml:trace contextRef="#ctx0" brushRef="#br0" timeOffset="26366.26">4736 9763 0,'-13'13'31,"0"-26"63,13 0-78,0 0-1,0-27 1,0 27-16,0 0 0,0-14 0,0 14 15,0-14-15,13-26 16,-13 40-16,13-13 0,0-1 16,-13 14-16,13 0 15,1 0-15,-14-1 0,13 14 0,0-13 16,0 13-16,14 0 16,-27 13-16,13-13 15,-13 14-15,0-1 0,0 0 16,-13 0-16,13 14 0,-13-14 15,-1 13-15,1-12 16,-13 12-16,26-13 16,-40 14-16,40-14 15,-26 0-15,26 1 0,-14-14 16,14 13 0,14-13-1,12 13-15,-13-13 16,0 0-16,14 0 15,-14 0-15,14 0 16,-14 13-16,27-13 16,-27 0-16,0 0 0,0 0 15,0 0-15,1 0 16,-1 0-16,0 0 31</inkml:trace>
  <inkml:trace contextRef="#ctx0" brushRef="#br0" timeOffset="28196.02">3426 9684 0,'0'13'16,"14"-13"15</inkml:trace>
  <inkml:trace contextRef="#ctx0" brushRef="#br0" timeOffset="29920.91">6403 10372 0,'-13'13'16,"39"-13"15,1 0-31,-14 0 16,40 0-16,-14 0 0,-12 0 16,39-13-16,-39 13 15,12 0-15,27 0 0,-39-14 16,-1 14-16,14 0 15,-27 0-15,0 0 0,14-13 16,-14 13-16,-39 27 31,-14-27-15,27 13-16,-14-13 0,-26 13 16,27 0-16,-14-13 0,14 14 15,-1-14-15,14 0 0,-27 13 16,27-13-16,0 0 0,0 0 0,13 13 15,-14-13-15,54 0 32,-27-13-32,1 13 0,12 0 0,27-13 15,-27 13-15,54-14 16,-67 14-16,13-13 16,-12 13-1,12 0-15,-66 13 31,27-13-15,0 0-16,-27 0 16,27 14-16,-27-14 15,27 0-15,0 0 16,0 0-16,39 13 31,-13-13-31,14-13 16,-14 13-16,14 0 0,12 0 15,-26 0-15,1-14 16,-1 14 0,-40 0-1,14 0 1,-26 0-16,25 0 0,1 0 16,-27 0-16,27 0 15,-13 0-15,13 0 0,-1 0 16,54 0 15,-27 0-15,0-13-16,14 13 15,-14 0-15,0 0 0,27 0 16,-27 0 0,0-13-16,-52 13 31,26 0-16,-1 0-15,1 13 16,0-13-16,0 0 16,-1 0-1,28 13 17,-1-13-17,0 0-15,0 0 0,1-13 16,12 13-16,-13 0 15,0 0-15,1 0 16,-1 0 0,0-13-16,0 13 15,1 0 17,-14-13-1,0-1 0,-14 14-15,14-13-1,-13 13 1</inkml:trace>
  <inkml:trace contextRef="#ctx0" brushRef="#br0" timeOffset="40677.01">4551 12197 0,'26'0'0,"-12"0"0,-1-13 15,0 13-15,0 0 16,0 0-16,1 0 0,12 0 16,-13 0-16,1-13 0,-1 13 15,-53 13 16,14 0-15,12-13-16,1 0 0,0 0 16,13 14-16,-13-14 0,0 0 15,-1 13 1,41-13 0,-14 0-1,0 0-15,0 0 0,1 0 16,-1 0-16,-40-13 47,14 13-47,0 0 15,0 0-15,0 0 0,-1 0 16</inkml:trace>
  <inkml:trace contextRef="#ctx0" brushRef="#br0" timeOffset="44472.88">6668 12144 0,'13'-13'32,"13"13"-17,-13 0-15,1 0 0,25 0 16,-25 0-16,-1 0 0,0 0 15,13 0-15,-12 0 0,-1 0 16,13 0-16,-12 0 0,-1 0 16,0 0-16,0 0 0,-39 0 47,13 0-47,-1 13 15,-25-13-15,25 0 16,-12 0-16,13 0 0,0 0 15,-1 0-15,1 0 0,0 0 16,-14 0-16,67 0 47,-27 0-47,1 0 0,-1 0 0,13 0 16,-13 0-16,1 0 15,-1 0-15,0 0 0,14 0 16,-54 0 31,14 0-47,0 0 0,-14 0 0,14 0 15,0 0-15,-14 14 0,14-14 0,0 0 16,0 0-16,-1 0 0,1 0 16,0 0-16,0 0 0</inkml:trace>
  <inkml:trace contextRef="#ctx0" brushRef="#br0" timeOffset="51520.3">17383 939 0,'0'-13'16,"0"39"78,-13-26-94,13 14 15,0-1-15,0 0 16,0 0-16,0 1 0,0-1 16,0 0-16,13 0 0,-13 1 15,0-1-15,13 0 0,-13 0 16,14-13-16,-1 0 16,0 13-1,0-26-15,0 13 0,1-13 16,-1 0-16,0 0 15,0-14-15,1 14 0,-1 0 16,0-1 0,0 1-16,1 13 31,-1 0-15,0 13-1,0 1-15,0-14 0,-13 13 16,14-13-16,-1 0 0,0 13 15,0-13 1,1 0 0,-1 0-16,-13-13 0,13 0 15,-13-1-15,13 1 16,-13 0-16,0 0 0,0-1 16,0 1-16,0 0 0,0 0 15,0 0-15,0-1 0,0 1 0,0 0 16,0 0-16,0-1 15</inkml:trace>
  <inkml:trace contextRef="#ctx0" brushRef="#br0" timeOffset="51728.14">17926 913 0,'13'13'16,"-13"0"0,13-13-16,-13 13 15,0 1-15,0-1 16,0 0-16,13-13 0,-13 13 16,0 1-16,0-1 15,0 0 1</inkml:trace>
  <inkml:trace contextRef="#ctx0" brushRef="#br0" timeOffset="51865.28">17978 860 0,'-26'-13'15</inkml:trace>
  <inkml:trace contextRef="#ctx0" brushRef="#br0" timeOffset="52116.14">18084 701 0,'0'0'0,"14"13"16,-14 1-1,13-1 1,-13 13-16,0-12 0,0-1 0,0 13 16,0-13-16,13 14 0,-13-14 0,0 0 15,0 14-15,0-14 0,0 0 16,0 0-16,0 1 0,0-1 15,0 0-15,0 0 16</inkml:trace>
  <inkml:trace contextRef="#ctx0" brushRef="#br0" timeOffset="52368.46">18283 648 0,'0'0'0,"13"-13"0,-26 39 31,13-12-15,0-1-16,0 13 0,0-12 0,0-1 15,0 13-15,0 1 0,0-14 0,0 13 16,0 1-16,0-14 0,0 0 16,0 14-16,13-1 0,-13-13 15,13 1-15,-13-1 16,0 0-16,13-13 0,-13 13 15,14-13-15,-1 0 0,0 0 16,0 0-16</inkml:trace>
  <inkml:trace contextRef="#ctx0" brushRef="#br0" timeOffset="52644.4">19010 794 0,'14'13'32,"-14"0"-32,0 0 15,0 1-15,13 12 16,-13-13-16,13-13 0,-13 27 15,0-14-15,13 0 0,-13 0 16,0 1-16,0-1 0,-13 0 16</inkml:trace>
  <inkml:trace contextRef="#ctx0" brushRef="#br0" timeOffset="53296.07">19288 582 0,'13'13'32,"-13"1"-32,14-1 0,-14 26 15,0-12-15,0-14 16,0 14-16,0-1 0,13 1 0,-13-1 15,0 27-15,13-40 16,-13 27-16,13-27 0,-13 13 16,14-26-16,-14 14 0,0-1 15,13 0-15</inkml:trace>
  <inkml:trace contextRef="#ctx0" brushRef="#br0" timeOffset="53463.8">19248 939 0,'0'-13'0,"14"0"31,-1 13-31,0 0 0,0-13 0,27 13 16,-27-14-16,14 14 0,-1-13 16,1 13-16,-1-13 15,-13 13-15,1-13 0,-1-1 16</inkml:trace>
  <inkml:trace contextRef="#ctx0" brushRef="#br0" timeOffset="53629.49">18931 741 0,'26'-13'15,"-12"13"1,12 0-16</inkml:trace>
  <inkml:trace contextRef="#ctx0" brushRef="#br0" timeOffset="54173.4">20069 701 0,'13'13'15,"0"1"-15,-13-1 16,13 0-16,-13 0 0,0 1 0,0 12 15,0-13-15,0 0 0,0 1 0,0-1 16,0 0-16,0 0 0,0 1 16,0-1-16,0 0 15,0 0 1,-13-13-16,13-13 31,0 0-15,0 0-16,0-1 0,13-12 15,1-1-15,-1 1 0,0 0 16,0 12-16,0-12 0,14-1 16,-14 14-16,14 0 0,-1 0 15,-13 13-15,1 0 0,12 0 16</inkml:trace>
  <inkml:trace contextRef="#ctx0" brushRef="#br0" timeOffset="54760.52">20558 688 0,'0'-13'0,"-13"13"16,0 13 0,-1-13-16,14 13 15,-13-13-15,0 13 0,0 1 16,0-1-16,-1 0 15,1 0-15,13 1 16,0-1-16,0 0 16,13 0-1,1-13 1,-1 0-16,0 0 0,0-13 16,0 0-16,14 0 15,-27-1-15,13 14 0,0-26 16,1 13-16,-1 13 0,-13-14 15,13 1-15,0 0 32,-13 39-1,0-12-31,14-1 16,-14 0-1,13 0 1,0-13-1,0 0 1,0 0-16,1-13 16,-1 13-16,0 0 31,-13 13-15,13-13-16,-13 14 0,0-1 15,0 0 1,0 0-16,0 0 15,0 1 1</inkml:trace>
  <inkml:trace contextRef="#ctx0" brushRef="#br0" timeOffset="54876.82">20743 675 0</inkml:trace>
  <inkml:trace contextRef="#ctx0" brushRef="#br0" timeOffset="55204.74">20823 728 0,'0'0'0,"13"26"15,-13-13 1,0 1 0,0-1-1,13-13 1,0 0 15,1 0-31,-1 0 16,0 0-1,0 0-15,1 0 32,-1 0-17</inkml:trace>
  <inkml:trace contextRef="#ctx0" brushRef="#br0" timeOffset="56175.96">22000 556 0,'-40'0'31,"27"13"-31,0-13 16,0 13-16,0 0 0,-1 1 0,-25 25 15,39-12-15,-14-14 0,1 0 16,13 0-16,-13 1 0,13-1 0,0 13 16,0 1-1,13-14-15,0 0 0,14 0 16,-14-13-1,14-13-15,-14 0 16,0 0-16,0 0 16,-13-1-16,0 1 0,0 0 0,13 0 15,-26-14-15,13 14 16,0-14-16,0 14 0,-13 13 16,13-13-16,0 0 15,0 0-15,-13 13 0,39 13 47,-13-13-47,1 13 16,-1-13-16,0 13 15,0 0-15,1 1 16,-1-1-16,0 0 16,0 0-1,-13 1 1,13-14-16,1 13 31,-1-26 16,0 13-31,0 0-1,1 0 1,-1 13-1,0 0 1,0-13 0,-13 13-16,14-13 15,-14 14-15,13-14 16</inkml:trace>
  <inkml:trace contextRef="#ctx0" brushRef="#br0" timeOffset="57193.2">18706 1627 0,'0'40'15,"0"-27"-15,0 14 16,0-14-16,0 13 0,0 1 0,0-14 16,0 13-16,0-12 0,0-1 15,0 13-15,0-12 0,0-1 0,0 0 16,0 0-16,0 0 0,0 1 16,0-54 15,0 27-16,0 0-15,13-14 0,-13 14 0,0-14 16,0 14-16,0-13 16,0 12-16,0-12 0,0 0 15,0 12-15,13 1 0,-13 0 16,14 39 15,-14-12-31,0-1 0,0 0 0,13 0 16,-13 0-16,0 1 0,0-1 0,0 0 15,13-13-15,-13 13 0,0 1 0,13-1 16,1-26 15,-1 13-31,-13-14 0,13 1 16,-13 0-16,13 0 0,1-1 0,-14 1 16,13 0-16,0 0 15,0 0-15,0 13 31,1 13-31,-14 0 0,13 0 16,-13 0-16,0 1 0,13-1 16,-13 0-16,0 0 0,0 1 15,0-1-15,13 0 0,-26 0 0,26 1 16,-13-1-16,0 0 0,14-13 0,-14 13 16,13-13-16,0 0 0</inkml:trace>
  <inkml:trace contextRef="#ctx0" brushRef="#br0" timeOffset="57759.8">19248 1693 0,'0'0'16,"-26"0"-16,-27 27 31,40-27-31,0 13 0,-1 0 15,14 0-15,-13 1 0,0-1 0,13 0 16,-13 0-16,13 1 16,0-1-16,0 0 15,0 0-15,0 1 16,13-14-16,0 0 16,0-14-16,1 14 15,-1-13-15,13 13 16,-26-13-16,14 13 0,-1 0 0,0-13 15,0 13 1,0 13-16,1-13 0,-1 13 16,0 0-16,-13 1 15,13-14-15,-13 13 16,14 0 0,-14 0-1,13-13-15,0-13 31,-13 0-31,13 0 16,-13-1-16,14 1 0,-1 0 16,0 13-16,0-27 15,0 27-15,1-13 16,12 26 0,-13-13-16,-13 14 0,14-1 15,-1 0 1,-13 0-16,0 1 0,0-1 15,0 0-15,0 0 16,0 0-16</inkml:trace>
  <inkml:trace contextRef="#ctx0" brushRef="#br0" timeOffset="57884.91">19513 1680 0,'0'-13'0</inkml:trace>
  <inkml:trace contextRef="#ctx0" brushRef="#br0" timeOffset="58325.69">19751 1773 0,'0'0'16,"13"-14"-16,-13 1 0,14 0 15,-41 26 32,27 0-31,-13 14-16,13-14 15,0 0-15,0 14 16,0-14-16,13-13 16,0 0-16,14 0 15,-1-13 1,-12 0-16,-1 13 16,0-14-16,0 14 0,0-13 0,-13 0 15,14 13-15,-1 0 0,-13-13 0,13 13 16,0 0-16,1 0 15,-1 0 1,-13 13-16,13-13 0,-13 13 16,13 0-16,-26 1 15,13-1 1,0 0-16,-13-13 0,13 13 16,-13 1-16,-1-14 15</inkml:trace>
  <inkml:trace contextRef="#ctx0" brushRef="#br0" timeOffset="58939.95">20545 1574 0,'-13'-13'16,"-1"13"15,1 13-16,13 1-15,-13-1 16,13 0-16,0 0 0,0 0 16,0 14-1,0-14-15,13-13 16,-13 13-16,40 1 16,-27-14-1,0 0-15,1-14 16,-1 14-16,0 0 15,0 0-15,1 0 16,-1 14 0,-13-1-16,13-13 15,-13 13-15,13-13 0,0 0 16,-13 13-16,14-13 16,-1-13-16,0 0 15,0 13-15,-13-13 0,14-1 16,-1-12-16,-13 13 15,13-1-15,0-12 0,0 13 16,-13 0-16,14-1 0,-1-12 31,-13 52-15,0-12 0</inkml:trace>
  <inkml:trace contextRef="#ctx0" brushRef="#br0" timeOffset="60060.76">20968 1667 0,'13'-27'0,"-13"14"16,0 0 0,-13 13 15,0 13-31,0-13 15,0 13-15,13 1 16,0-1-16,-14 0 16,28 0-16,12-13 15,-13 0 1,0 0-16,27-13 16,-27 13-16,1-13 0,12 0 0,1 13 15,-14-14-15,0 1 0,0 13 0,14-13 16,-14 0-16,0 0 15,0 13 1,-26 26 0,0-26-16,13 13 15,-13 0-15,-1-13 0,1 27 16,13-14-16,-13 0 16,13 1-16,0-1 15,13-13 1,14 0-1,-14-13-15,0-1 0,0 1 16,1-13-16,-1-1 0,0 14 16,0-13-16,-13-1 15,13 1-15,1 12 0,-14-12 16,13 13-16,-13-1 0,0 1 0,13 0 16,-13 0-16,0 0 0,-13 39 31,13-13-16,-13 0-15,13 14 0,0-14 0,0 0 16,0 1-16,0-1 0,0 0 0,13 0 16,-13 1-16,13-1 0,0 0 15,1-13-15,-1 0 16,0 0-16,0 13 0,1-13 0,-1-13 16,0 13-16,0 0 15,14-13-15,-14 13 16,-13-13-16,-13 39 47,-1-13-47,14 0 0,-13-13 0,13 14 15,-13-1-15,0 0 0,13 0 16,0 1 0,13-14-1,0 0 1,0 0-16,1-14 0,-1 14 0,13-26 15,-26 13-15,14-1 0,-1 1 16,0 0-16,0-13 0,14-14 16,-14 13-16,0 1 0,0-27 15,1 27-15,-14 12 0,13-12 16,-13 13-16,13-1 16,-26 41 15,0-14-31,13 0 15,-14 14-15,14-14 16,0 13-16,0-12 16,0-1-16,0 0 0,0 0 15,14 1-15,-1-14 16,0 0 0,0 0-16,1 0 0,-1 0 15,0 0-15,0 0 16,1 0-16,-1 0 15,-13 13 1,13-13-16,-13 13 0,0 0 16,0 1-1,13-1 1</inkml:trace>
  <inkml:trace contextRef="#ctx0" brushRef="#br0" timeOffset="60180.97">21855 1389 0,'0'-13'32</inkml:trace>
  <inkml:trace contextRef="#ctx0" brushRef="#br0" timeOffset="60739.02">22000 1429 0,'13'26'32,"-13"-13"-17,0 1-15,0-1 16,0 0-16,0 0 0,-13 1 16,13-1-16,0 0 15,0 0-15,0 1 16,0-1-1,27-26 32,-14 13-31,-13-14 0,13 14-16,0-13 0,0 13 15,1-13-15,-1 13 16,0-13-16,0 13 15,1-14-15</inkml:trace>
  <inkml:trace contextRef="#ctx0" brushRef="#br0" timeOffset="61054.87">22212 1455 0,'0'0'0,"0"13"31,0 1-31,13-1 0,-13 0 15,0 0-15,-13 1 0,13-1 0,0 13 16,-13 14-16,13-14 16,-14-12-16,1 25 0,0-12 15,13-14-15,-13 0 0,13 0 16,-14 1 0,1-1-16,26-26 31,-13-1-31,27-12 15,-14 13-15,0-14 0,14 1 16,-14 26-16,0-13 0,0-14 16,1 27-16,-14-13 0,13 0 15,-13 0-15,13 13 16,-13-14-16,0 1 0</inkml:trace>
  <inkml:trace contextRef="#ctx0" brushRef="#br0" timeOffset="62561.18">23164 1323 0,'0'-13'15,"-13"-1"1,0 14 0,-14 0-1,14 0-15,0 14 16,0-14-16,-1 13 0,1-13 16,0 13-16,0-13 0,0 13 15,-1-13-15,14 14 16,14-1-1,-1 0 1,0-13-16,13 0 0,-12 13 0,-1-13 16,13 14-16,-12-14 0,-1 13 0,0-13 15,0 13-15,1 0 0,-1 0 0,-13 1 16,13-1-16,-13 0 0,-13 14 16,0-14-16,-1 0 0,-12 0 15,13 1-15,-1-1 0,1-13 16,0 13-16,0-13 15,-1 13-15,1-26 16,13 0 0,13 0-1,-13-1-15,27-25 0,-1 25 16,-12 1-16,12-13 0,1-1 16,-14 14-16,13 0 0,-13 0 15,1-1-15,-1 14 16,0 0-16,0 14 15,1-14-15,-1 13 16,-13 0-16,0 0 16,13-13-16,-13 13 0,0 1 15,0-1-15,0 13 16,0-12-16</inkml:trace>
  <inkml:trace contextRef="#ctx0" brushRef="#br0" timeOffset="63226.49">23574 1363 0,'0'39'31,"14"-39"-31,-14 14 0,0-1 16,0 0-16,13-13 16,-13 13-16,0 0 15,13 1-15,-13-1 16,13-13-16,1-13 31,-1-1-15,-13 1-16,13 0 15,-13 0-15,13 0 16,-13-1 0,13 14-16,1-13 15,-1 13 1,0-13-16,0 13 0,1 0 16,-1 0-16,-13-13 0,13 13 15,0 0-15,0 0 0,-13-14 0,14 14 16,-1 0-1,-13 14 17,0-1-32,0 0 0,-13 0 15,26-13 1,-13 14-16,0-1 16,13-13-16,0 0 15</inkml:trace>
  <inkml:trace contextRef="#ctx0" brushRef="#br0" timeOffset="63385.67">23455 1244 0,'-13'0'0</inkml:trace>
  <inkml:trace contextRef="#ctx0" brushRef="#br0" timeOffset="63770">24130 1336 0,'0'0'16,"0"27"-1,0-1 1,0-13-16,-13-13 15,13 14-15,0-1 0,0 0 32,13-13-1,0-13-15,0 0-16,1 13 15,-1 0 1,0 0-1,0 0-15,-13 13 16,14-13-16,-14 13 16</inkml:trace>
  <inkml:trace contextRef="#ctx0" brushRef="#br0" timeOffset="64128.66">24686 1085 0,'-14'26'31,"14"-13"-31,-13 1 0,13 12 16,-13-13-16,13 14 0,-13 13 16,13-27-16,0 26 15,0-25-15,-14-1 0,14 13 16,0-12-16,0-1 0,0 0 15,0 0-15,0 1 16,14-14-16</inkml:trace>
  <inkml:trace contextRef="#ctx0" brushRef="#br0" timeOffset="64992.96">24527 1296 0,'0'-13'32,"26"26"-17,-12-13-15,-1 0 16,0 0-16,0 0 0,0 0 16,1 0-16,-1 0 0,0 0 15,0-13-15,1 13 0,-1-13 0,0 13 16,-13-13-16,13 0 15,1-1-15,-14 1 0,13 0 0,0-14 16,-13 14-16,0 0 16,0 0-16,0-1 0,13 14 15,-13-13-15,0 0 0,-26 39 32,26-12-17,-13 12-15,13-13 16,-14 1-16,1 12 15,13-13-15,-13 1 0,13 12 16,-13-13-16,13 0 16,0 1-16,0-1 15,13 0 1,0-13 0,0 13-1,1-13 1,-1 0-16,-13 14 0,13-14 0,0 0 15,0 0-15,1 0 16,12 0-16,-13 0 16,1 0-16,-1-14 0,0 14 15,0-13 1,-13 0-16,0 0 31,-13 13-15,0 13 15,13 0-15,0 0-1,13-13-15,0 0 16,1 0-16,-1 0 16,0 0-16,-13-13 0,13 13 15,0 0-15,1-13 0,-1 0 0,13-14 16,-12 14-16,-1 0 0,0-27 15,0 27-15,0 0 16,-13-1-16,14 1 0,-14 0 16,13 0-16,-26 39 47,13-13-47,0 1 0,0-1 15,0 0-15,0 14 0,0-14 16,0 0-16,0 13 0,0-12 15,0-1-15</inkml:trace>
  <inkml:trace contextRef="#ctx0" brushRef="#br0" timeOffset="65157.37">24963 1257 0,'27'-40'31,"-14"40"-31,0 0 16,14 0-16,-14 0 0,0-13 16,14 13-16,-14 0 0,0 0 15,0 0-15</inkml:trace>
  <inkml:trace contextRef="#ctx0" brushRef="#br0" timeOffset="65853.16">21696 2222 0,'0'67'31,"0"-54"-31,0 0 0,0 27 16,0-14-16,0-13 0,0 14 15,-13-14-15,13 14 0,0-14 0,0 0 16,0 0-16,0 1 0,0-1 0,0 0 15</inkml:trace>
  <inkml:trace contextRef="#ctx0" brushRef="#br0" timeOffset="66312.53">21788 2262 0,'0'0'0,"0"-13"31,0 53-15,0-27-16,0 0 16,0 0-16,0 1 15,14-1-15,-14 0 0,0 0 16,13 0-16,-13 1 0,0-1 15,13 0-15,-13 0 16,13-13-16,-13 14 0,14-14 16,-14 13-16,13-13 15,0 0-15,0 0 16,1 0-16,-14-13 16,13 13-16,0-14 0,0 1 15,0 13 16,1 0-15,-14 13 0,13-13-16,0 14 15,0-1 1,1-13 0</inkml:trace>
  <inkml:trace contextRef="#ctx0" brushRef="#br0" timeOffset="66533.82">21431 2394 0,'40'0'15,"-27"0"-15,0-13 16,14 13-16,-1 0 0,27-13 15,-13 13-15,53-13 16,-54 0-16,14 13 0,27-14 16,-41 1-16,1 0 0,0 13 15,-1 0-15,1-13 0</inkml:trace>
  <inkml:trace contextRef="#ctx0" brushRef="#br0" timeOffset="67388.25">22781 2196 0,'-27'13'31,"27"0"-31,-13 1 0,13-1 16,0 0-16,0 0 0,0 1 16,0-1-16,0 0 15,0 14 1,13-27-16,0 0 15,1-14 1,-14 1-16,13 13 16,0-13-16,-13 0 0,13-1 15,-13 1 1,14 0 0,-14 39 15,13-12-16,-13-1-15,13-13 16,0 13-16,0-13 16,1 0-16,-1-13 15,0 13-15,-13-13 16,13 13-16,-13-14 0,14 1 16,-14 0-16,0 0 15,0-1-15,13 14 0,-13-13 0,0 0 16,0 0-1,0 52 32,13-25-47,-13-1 16,13 0-16,1-13 0,-1 0 16,13 13-16,-13-13 0,1 0 15,-1 0-15,0 0 16,0 0-16,14-13 0,-14 13 15,0-13-15,1 0 0,-1 13 16,-13-14 0,-27 14 15,27 14-31,-13-1 16,13 0-1,0 0-15,13 1 16,1-14-16,-1 0 15,0 13-15,0-13 0,0 0 16,1 0-16,12 0 0,-13 0 16,1-13-16,-1 13 0</inkml:trace>
  <inkml:trace contextRef="#ctx0" brushRef="#br0" timeOffset="68132.13">23402 2262 0,'14'-13'16,"-28"26"-16,41-26 0,-27 0 0,-13-1 31,-1 14-15,1 0-1,0 14 1,0-14-16,-1 13 16,14 0-1,14 0 17,-1-13-17,-13 14 1,13-14-16,0 13 31,1-13-15,12-13-1,-13 13-15,1-14 16,-1 1-16,0 0 16,0 0-16,-13-1 15,13 1-15,1 0 16,-14 0-16,13-14 0,-13 14 15,13 13-15,-13-13 16,-26 26 15,26 0-15,-14 1-16,14-1 0,-13 13 16,0-13-16,13 1 0,0-1 15,0 0-15,0 0 0,13 1 16,0-14-16,1 0 15,-1 0-15,0 0 0,0-14 16,1 14-16,-1-13 16,0 13-16,0-13 0,1 0 0,-1-1 15,13-25-15,-13 26 16,1-27-16,-1 27 0,0-1 16,0-12-16,-13 13 0,14 13 15,-14-13-15,13-1 16,-13 41 15,-13-14-31,13 0 16,0 0-16,0 1 15,0-1-15,-14 0 16,14 0-16,14 1 16,-14-1-1,13 0 1,0-13-1</inkml:trace>
  <inkml:trace contextRef="#ctx0" brushRef="#br0" timeOffset="68317.86">23402 2170 0,'-26'0'0,"52"0"0,-65 0 16,78 0 15,-25 0-15,12 0-16,-13-14 0,40 14 15,-26 0-15,-1 0 0,1 0 16,-1-13-16,1 13 0,25 0 0,-25-13 16,13 13-16,-14 0 0,-13 0 15</inkml:trace>
  <inkml:trace contextRef="#ctx0" brushRef="#br0" timeOffset="68964.72">23892 2209 0,'26'-39'31,"-12"25"-15,-14 1 0,-14 26 15,14 1-15,0-1-1,0 0-15,14-13 16,-1 13-1,0-13-15,0 0 16,0-13-16,1 13 16,-1 0-1,0 0-15,0 0 16,1 13 0,-1-13-1,-13 13 1,13-13-1,0 0 17,1-13-17,-1 0-15,0 13 16,13-13-16,-26 0 0,14 13 16,-1 0-16,-13-14 0,13 14 15,0 0-15</inkml:trace>
  <inkml:trace contextRef="#ctx0" brushRef="#br0" timeOffset="69514.39">24196 2103 0,'0'-13'16,"13"26"0,-13 1-1,14-14-15,-28 13 0,14 0 16,0 0 0,14 1-1,12-28 32,-13 14-31,1 0-1,-1 0 1,0 0 0,0 0-1,0 0 1,1 0 31,-14-13-32,13 13-15,0 0 32,0-13-32,14 26 31,-14-13-16,0 0 1,1 0 0</inkml:trace>
  <inkml:trace contextRef="#ctx0" brushRef="#br0" timeOffset="70105.56">24659 2090 0,'-13'-13'31,"0"13"1,-1 0-17,1 13-15,0 0 16,13 1-1,0-1 1,13 0 0,0-13-1,1 0 17,-1 0-32,0 0 15,-13-13 1,13 13-16,-13-13 15,14 13-15,-1-14 32,0 28 30,0-1-31,1-13-15,-1 0 15,0 0-31,0 0 16,0 0 15,1 0-31,-1-13 0,0 13 16,-13-14-1</inkml:trace>
  <inkml:trace contextRef="#ctx0" brushRef="#br0" timeOffset="71252.69">21868 3096 0,'-27'-27'31,"14"40"-15,0 1-16,0-14 0,-1 13 16,1 0-16,-13 14 0,13-14 15,13 0-15,-14 13 0,1-26 16,13 27 0,-13-14-16,26 0 0,0-13 31,1 0-16,-1-13-15,0 0 16,-13 0-16,13-1 0,-13 1 16,13 0-16,1 0 15,-14 0-15,13 13 16,-13 13 15,0 0-31,13-13 0,-13 13 16,0 0-16,13-13 0,1 14 15,-1-14-15,0 0 0,0 0 16,1 0-16,-1 0 0,0 0 16,13 0-16,-12 0 15,-1-14-15,0 14 0,0-13 16,-13 0-16,14 13 16,-14-13-16,0 0 15,0-1 1,13 41 31,0-27-47,-13 13 0,0 0 15,0 0-15,13-13 16,-13 14-16,0-1 0,0 0 16,0 0-16,-13 1 15,13-1-15,0 0 16,-13-13-1,13 13-15</inkml:trace>
  <inkml:trace contextRef="#ctx0" brushRef="#br0" timeOffset="71652.03">22662 3016 0,'-27'0'16,"54"0"-16,-67 13 0,27-13 0,-1 14 15,14-1 1,14 0-16,-14 0 15,13-13-15,-13 14 0,13-1 16,0 0-16,-13 0 0,14-13 16,-14 14-16,13-14 0,-13 13 15,13-13-15,-13 13 0,13 0 16,-13 0-16,0 1 16,-13-14-1,13 13-15,-26 0 16,12-13-16,-12 13 15,13-13-15,-1 0 0,-12 0 16,13 0-16,-1 0 0,1 0 16,0 0-1</inkml:trace>
  <inkml:trace contextRef="#ctx0" brushRef="#br0" timeOffset="72344.74">22966 3056 0,'-13'-13'0,"-1"-1"31,1 28-16,0-14-15,0 0 0,-1 13 16,1 0-16,0 0 16,0 1-16,0-1 15,13 0-15,-14-13 0,14 13 16,0 1-16,14-1 16,-1-13-1,0 0 1,0 0-1,0 0-15,-13-13 16,14-1-16,-1 14 0,-13-13 16,13 0-16,0 13 0,-13-13 15,14-1-15,-14 1 16,13 13 0,-13-13-16,0 39 46,0-12-30,0-1-16,0 0 16,0 0-1,13-13 1,0 0-16,1 0 16,-1-13-16,0 13 0,0 0 15,-13-13-15,13 13 16,1 0-16,12 0 31,-13 13-15,-13 0-16,14-13 15,-14 14-15,13-14 16,-13 13-16,13-13 16</inkml:trace>
  <inkml:trace contextRef="#ctx0" brushRef="#br0" timeOffset="72496.89">23151 2950 0,'-13'0'15,"13"-13"-15,-13 13 31</inkml:trace>
  <inkml:trace contextRef="#ctx0" brushRef="#br0" timeOffset="72959.69">23389 2752 0,'0'0'16,"13"0"-16,-13 13 16,0 0-16,0 0 15,0 14-15,0-14 0,0 14 16,0-14-16,0 13 0,0 1 16,0-14-16,0 13 15,0-12-15,0-1 16,0 0-16,0 0 15,-26-13 48,13 0-47,-1 13-16,1 1 0,0-14 15,0 13-15,0 0 0,13 0 16,-14-13-1,14 14-15,0-1 16,40 0 15,-27-13-31,0 0 0,1 0 16,-1 0-16,-13-13 0,26 13 16,-12-13-16,-1 13 15,-13-14-15,13 14 0</inkml:trace>
  <inkml:trace contextRef="#ctx0" brushRef="#br0" timeOffset="73212.98">24104 2924 0,'13'0'16,"-13"13"0,0 0-16,0 0 15,0 1-15,13-14 0,-13 13 0,0 0 16,13 0-16,-13 0 16,0 1-16,13-1 15</inkml:trace>
  <inkml:trace contextRef="#ctx0" brushRef="#br0" timeOffset="73347.87">24183 2831 0,'0'-13'16</inkml:trace>
  <inkml:trace contextRef="#ctx0" brushRef="#br0" timeOffset="73613.19">24487 2606 0,'0'0'0,"0"13"31,0 1-31,0-1 0,-13 0 16,13 27-16,0-27 0,0 13 15,-13 14-15,13-27 16,0 14-16,0-14 16,0 14-16,0-14 0,0 0 15,0 0-15,13 0 0,-13 1 16,13-14-1</inkml:trace>
  <inkml:trace contextRef="#ctx0" brushRef="#br0" timeOffset="73778.82">24381 2871 0,'-13'0'0,"26"-13"31,1 13-31,-1 0 0,0-14 15,0 14-15,14-13 0,-14 13 16,27-13-16,-14 0 0,1 13 16,12-14-16,-12 1 0,-1 0 0,-13 13 15,14-13-15</inkml:trace>
  <inkml:trace contextRef="#ctx0" brushRef="#br0" timeOffset="74843.84">22119 3903 0,'-13'26'32,"13"1"-32,0-1 0,0-13 15,0 0-15,0 1 16,0-1-16,13 0 0,-13 0 16,13-13-16,-13 14 15,14-14-15,-1-14 16,0 14-16,-13-13 0,13 13 15,1-13-15,-1 0 0,0-1 16,0 1-16,0 0 16,1 13-1,-1 0 1,-13 13-16,13 0 16,-13 1-16,13-14 0,-13 13 15,14-13 1,-1 0-16,0 0 15,0 0 1,-13-13-16,14-1 0,-14 1 16,13 0-1,-13-13-15,0 12 16,0 1 0,13 0-1</inkml:trace>
  <inkml:trace contextRef="#ctx0" brushRef="#br0" timeOffset="75011.73">22529 3903 0,'13'0'16,"-13"13"0,0 0-16,0 0 0,0 1 15,0-1-15,0 0 16,0 0-16,0 0 0,0 14 15,0-14 1,0 0 0</inkml:trace>
  <inkml:trace contextRef="#ctx0" brushRef="#br0" timeOffset="75148.64">22595 3810 0,'-13'-13'0,"0"13"31</inkml:trace>
  <inkml:trace contextRef="#ctx0" brushRef="#br0" timeOffset="75604.09">22688 3691 0,'13'26'31,"0"-12"-31,-13-1 0,0 0 16,0 27-16,0-14 0,0-13 15,0 14-15,-13 26 0,13-40 16,0 14-16,0-14 0,0 0 15,0 0-15,0 14 16,0-14-16,0 0 0,13-13 31,1 0-31,-1-26 16,-13 12-16,13 1 0,0-26 16,1 12-16,-14 14 0,13-14 15,0 1-15,-13-1 0,13 1 16,-13 0-16,14 12 0,-14 1 15,0 0-15,13 0 16,0 39 0,-13-13-1,-13 1-15,13-1 0,0 13 16,-13 14-16,13-27 0,0 14 16,0 12-16,0-25 15,0 12-15,13 0 0,-13-12 16,0-1-16,26 0 0</inkml:trace>
  <inkml:trace contextRef="#ctx0" brushRef="#br0" timeOffset="75965.23">23270 3691 0,'13'53'32,"1"-40"-17,-14 14-15,-14-1 0,14-13 16,0 27-16,0-27 0,0 0 16,-13 1-16,13-1 0,0 0 0,0 0 15,0 1 1,0-41 15,13 14-31,-13 0 16,14-14-16,-1 14 0,13-53 15,-13 53-15,1-14 0,12 1 16,-13 12-16,1 1 0,-1-13 16,0 26-16,0 0 15,1 0-15,-1 0 16</inkml:trace>
  <inkml:trace contextRef="#ctx0" brushRef="#br0" timeOffset="76475.02">23627 3664 0,'0'0'16,"-26"14"0,13-14-16,-1 13 15,1-13-15,-13 13 0,26 0 16,-14 1-16,1-1 0,0-13 15,13 13-15,-13 0 0,13 1 16,0-1 0,13 0-16,0-13 15,0 0-15,14-13 16,-14 13-16,0-13 0,27-14 16,-13 1-1,-14 12-15,13 1 16,-26 0-16,13 13 15,-13-13-15,14 26 32,-14 0-32,0 0 15,0 1-15,13-1 16,-13 0-16,13-13 16,0 0-1,1 0-15,-1 0 16,0 0-16,0 0 0,-13-13 0,13 13 15,1 0-15,-1-13 16,0 13 15,0 13-31,-13 0 16,0 0 0,0 1-1,-13-1-15,13 0 16</inkml:trace>
  <inkml:trace contextRef="#ctx0" brushRef="#br0" timeOffset="76621.28">23892 3585 0,'0'0'0,"0"-13"16,-13 26 15</inkml:trace>
  <inkml:trace contextRef="#ctx0" brushRef="#br0" timeOffset="76910.17">23984 3678 0,'14'13'16,"-14"0"0,0 0-1,13-13-15,13 0 16,-12 0 0,-1-13-16,0 13 0,0 0 15,14-13-15,-14 13 0,0 0 16,0 0-1,1 0-15,-1 0 16,-13 13 0</inkml:trace>
  <inkml:trace contextRef="#ctx0" brushRef="#br0" timeOffset="77325.16">22648 4313 0,'265'-106'31,"-199"93"-31,0-14 15,0 14-15,1 0 0,-1-14 0,66 1 16,-79 13-16,0-1 0,0 14 16,-14 0-16,1-13 0,-13 13 0,-14 0 15,0 13-15,0-13 0,0 0 16,-39 27 0,-27-1-16,13-12 0,1-1 15</inkml:trace>
  <inkml:trace contextRef="#ctx0" brushRef="#br0" timeOffset="77496.91">22820 4339 0,'-53'13'16,"106"-26"-16,-119 40 0,53-27 0,0 0 15,39-14 1,14 14 0,0-13-16,-1 0 0,14-14 0,13 14 15,-13 0-15,0 0 0,53-27 16,-66 27-16,13 0 0,-14-1 0,1 1 15,0 0-15,-14 0 0,14-14 16</inkml:trace>
  <inkml:trace contextRef="#ctx0" brushRef="#br0" timeOffset="66069.47">12409 12158 0,'40'0'15,"-14"0"-15,120-27 16,-93 27-16,-1 0 0,1-13 16,0 13-16,-13-13 0,13 13 15,0 0-15,0-14 0,-14 14 0,1 0 16,-13 0-16,-1 0 0,0 0 16,-12 0-16,-1 0 0</inkml:trace>
  <inkml:trace contextRef="#ctx0" brushRef="#br0" timeOffset="66315.73">12462 12263 0,'-27'14'0,"14"-14"16,40 0-1,-1 0-15,1 0 0,-1 0 16,27 0-16,0 0 0,0 0 0,0 0 15,0 0-15,-14 0 0,14-14 0,-13 14 16,0 0-16,-1 0 0,-12 0 16,-1-13-16,1 13 0,-1 0 0,27-13 15,-40 13-15,14 0 0,26-13 16,-27 0-16,1 13 0,-1-14 16</inkml:trace>
  <inkml:trace contextRef="#ctx0" brushRef="#br0" timeOffset="66764.36">16126 12118 0,'27'13'16,"-14"-13"-16,27 0 0,-27 0 15,13 0-15,67 0 16,105 0 0,-131-13-16,38 13 15,-52-13-15,14 13 0,38 0 16,-52-14-16,0 14 0,-13 0 15,-14 0-15,-12 0 0,12 0 0,-13 0 16,0 0-16</inkml:trace>
  <inkml:trace contextRef="#ctx0" brushRef="#br0" timeOffset="66956.11">16841 12290 0,'13'0'0,"13"0"0,-12-13 16,12 13-16,-13 0 0,14-14 16,-1 1-16,40 0 15,-39 0-15,-1 13 0,-12 0 0,-1-13 16,0 13-16,-26-14 16,-14 14-16,-12 0 15,-14 0-15,-40 0 0</inkml:trace>
  <inkml:trace contextRef="#ctx0" brushRef="#br0" timeOffset="67665.31">6496 12965 0,'0'0'0,"52"-14"0,-25 14 0,-1 0 16,14 0-16,-13 0 0,25-13 0,1 13 15,0 0-15,0 0 0,0 0 0,0 0 16,13 0-16,14 0 0,-28-13 15,54 13-15,-40 0 16,-26-13-16,13 13 0,-13 0 0,-1 0 16,-12 0-16,-1 0 0,1 0 0,-14 0 15,13 0-15</inkml:trace>
  <inkml:trace contextRef="#ctx0" brushRef="#br0" timeOffset="68345.39">6694 13070 0,'119'14'15,"-66"-14"-15,0-14 16,13 14-16,0 0 0,14 0 15,-14 0-15,13-13 0,-13 13 0,-13-13 16,0 13-16,13 0 0,0-13 0,-13 13 16,66-13-16,-66 13 15,0 0-15,-13-14 0,13 14 0,-27 0 16,1 0-16,26-13 0,-40 13 16,0 0-16,27 0 0,-27 0 15,0 0 1,0 0-16,1 0 15,-14 13 17,-14-13-1,1 0-15,13 14-1,-13-14 32</inkml:trace>
</inkml:ink>
</file>

<file path=ppt/ink/ink31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2:47:54.143"/>
    </inkml:context>
    <inkml:brush xml:id="br0">
      <inkml:brushProperty name="width" value="0.05292" units="cm"/>
      <inkml:brushProperty name="height" value="0.05292" units="cm"/>
      <inkml:brushProperty name="color" value="#0070C0"/>
    </inkml:brush>
  </inkml:definitions>
  <inkml:trace contextRef="#ctx0" brushRef="#br0">11655 4643 0,'26'0'16,"-12"-13"-16,12 13 16,1 0-16,12 0 0,1-13 15,13 13-15,0 0 0,0 0 0,0-13 16,-1 13-16,94 0 15,-67 0-15,1 0 0,78-13 16,-78 13-16,-1 0 0,1 0 16,-1 0-16,0-14 0,1 14 0,-14 0 15,0 0-15,-13 0 0,0 0 0,39 0 16,-65 0-16,-1 0 0,1 0 16,-14 0-16,14 0 0,-1 0 15,-13 0-15,0 0 0,1 0 16,-1 0-16</inkml:trace>
  <inkml:trace contextRef="#ctx0" brushRef="#br0" timeOffset="1035.04">16867 4617 0,'0'0'0,"-13"0"0,53-13 31,65 13-15,-52 0-16,53 0 15,-53 0-15,13 0 0,80 0 16,-80 0-16,13 13 0,40-13 15,-52 0-15,52 13 16,-66-13-16,-1 0 0,-12 0 16,13 13-16,-13-13 0,-14 0 0,1 0 15,-1 0-15,-13 0 0,1 0 16,-1 0-16,0 0 0,-39 14 31,12-14-31,1 0 0,-13 13 16,-14-13-16,14 0 0,-14 13 15,0-13-15</inkml:trace>
  <inkml:trace contextRef="#ctx0" brushRef="#br0" timeOffset="1535.11">17291 4762 0,'105'0'16,"-78"-13"-16,26 13 15,-14 0-15,14 0 0,0 0 16,13 0-16,-13-13 0,0 13 0,0 0 16,53 0-16,-53 0 0,-13 0 15,39 0-15,-53 0 16,27 0-16,-26 0 0,-14 0 16,13 0-16,-12 0 0,-1 0 0,0 0 15,0 0-15,14 0 16,-14 0-1,0 0-15,1 0 16,-1 0 31,0 0-16,-39 0 125</inkml:trace>
  <inkml:trace contextRef="#ctx0" brushRef="#br0" timeOffset="4134.06">4273 7990 0,'0'0'0,"0"-13"16,13 40 31,-13-14-47,0 0 0,0 0 15,0 14-15,0-1 0,0-13 16,13 1-16,-13-1 0,0 0 16,0 0-16,0 14 15,0-14-15,0 0 0,0 1 16,0-1-16,0-40 47,-13 14-47,13 0 0,0 0 0,-13-40 15,13 26-15,-13-39 16,13 26-16,-13 14 0,13-40 16,13 53-16,-13-14 15,0 14-15,13 0 0,-13-1 0,13 1 16,-13 0-16,13 0 0,1 13 16,-1-13-16,0 13 0,0 0 0,1 0 15,12 13-15,-13-13 0,1 13 16,-14 0-16,13 0 15,-13 1-15,0-1 0,0 0 16,-13 0-16,13 1 0,-14-1 0,1 0 16,13 0-16,-13 1 0,-14-1 15,27 0-15,-26 0 16,13 0-16,-1-13 16,14 14-16,-13-14 15,26 13 1,1-13-16,12 13 15,-13-13-15,1 0 0,25 13 16,-25-13-16,-1 0 0,0 0 16,0 0-16,0 0 15,14 14-15,-14-14 0,0 0 16,1 0-16,-1 13 16,0-13-1,0-13 110</inkml:trace>
  <inkml:trace contextRef="#ctx0" brushRef="#br0" timeOffset="6015.74">5014 7633 0,'0'-13'31,"0"39"-31,0-12 0,0-1 16,-13 27-16,13-14 0,0 1 15,0 25-15,0-25 0,-14-1 16,14 14-16,0-27 15,-13 27-15,13-27 16,0 0-16,0 14 0,0-14 16,0 0-16,0 1 15,13-41 17,-13 14-32,14 0 0,-14-40 15,13 26-15,0-12 0,-13-1 16,13 0-16,-13 1 0,14-41 15,-14 54-15,13-1 0,-13-12 16,13 25-16,-13 1 0,0 0 0,0-14 16,0 54 15,0-14-31,0 14 0,-13 12 16,0 41-16,13-41 0,-14 1 15,14 0-15,-13-1 0,0 1 16,0 39-16,13-52 0,0-1 15,-14 27-15,14-40 0,0 14 16,0-1-16,0-12 16,0-1-16,0 0 0,0 0 15,14-39 1,-14 13 0,0-14-16,0 1 15,13-14-15,-13-13 0,13 13 0,-13-12 16,13-68-16,1 81 0,-14-54 15,0 40-15,0 14 0,0-1 16,0 0-16,0 14 0,0-1 16,0 14-16,0 0 0,0 39 31,0 1-31,0 12 0,0 14 16,-14 53-16,14-40 0,0-26 15,-13 53-15,13-40 0,0-14 16,-13 41-16,13-41 15,0-12-15,0-14 0,0 13 0,-13-12 16,13 25-16,13-25 16,-13-1-16,0 0 0,13 0 15,0-26 1,-13 0 0,0 0-16,14-1 0,-14-12 15,13-1-15,-13 1 0,13-27 16,-13 27-16,0-1 0,0 1 15,0 12-15,0-12 0,0-14 16,0 27-16,0 0 0,0-27 16,-13 27-16,13 0 0,0-1 15,0 1 1,0 0 0</inkml:trace>
  <inkml:trace contextRef="#ctx0" brushRef="#br0" timeOffset="8331.58">5424 7726 0,'0'-13'0,"0"39"32,0-13-32,0 14 15,0-14-15,0 0 16,0 0-16,0 1 0,0-1 15,0 0-15,0 0 0,0 1 16,0-1-16,0 0 31</inkml:trace>
  <inkml:trace contextRef="#ctx0" brushRef="#br0" timeOffset="8496.84">5411 7633 0,'0'0'0,"0"-13"16,-13 13-16</inkml:trace>
  <inkml:trace contextRef="#ctx0" brushRef="#br0" timeOffset="8830.06">5596 7541 0,'0'26'16,"0"-13"-16,0 1 16,0 12-16,0-13 0,0 14 15,13-1-15,-13-13 0,0 14 16,0-1-16,0-12 0,0-1 15,0 0-15,0 0 0,13 0 16,-13 1-16,0-1 16,0 0-16</inkml:trace>
  <inkml:trace contextRef="#ctx0" brushRef="#br0" timeOffset="9015.15">5543 7818 0,'0'-13'31,"0"0"-31,13 0 16,0 13-16,1 0 16,-1-13-16,0 13 0,0-14 15,1 14-15,-1-13 0,0 13 0,14 0 16</inkml:trace>
  <inkml:trace contextRef="#ctx0" brushRef="#br0" timeOffset="9497.92">5887 7646 0,'0'-13'0,"-13"40"47,13-14-47,0 0 16,0 0-16,13 1 15,-13-1-15,13 0 16,0 0 0,1-13-16,-1 0 15,0-13-15,0 13 16,-13-13-16,14 13 0,-1-13 15,0-1 1,13 14 15,-26 14-15,14-14 0,-1 0-16,0 0 15,0 0 1,1 0-16,-1-14 15,0 14-15,-13-13 16,13 13-16,-13-13 0,0 0 16,14-1-16,-14 1 0,0 0 31,0 0 0</inkml:trace>
  <inkml:trace contextRef="#ctx0" brushRef="#br0" timeOffset="9687.75">6191 7594 0,'13'-14'0,"1"28"15,-1-1 1,-13 0 0,13-13-16,-13 13 15,0 0-15,0 1 16,13-1-1,-13 0-15,-13-13 16,13 13-16</inkml:trace>
  <inkml:trace contextRef="#ctx0" brushRef="#br0" timeOffset="9831.89">6178 7474 0,'0'0'0,"-13"0"16,0 0-1</inkml:trace>
  <inkml:trace contextRef="#ctx0" brushRef="#br0" timeOffset="10063.62">6324 7355 0,'0'14'16,"13"12"0,-13-13-16,0 1 0,0-1 15,0 0-15,0 0 0,-13 0 16,13 14-16,0-14 0,0 0 0,0 27 15,0-27-15,0 1 16,0-1 0</inkml:trace>
  <inkml:trace contextRef="#ctx0" brushRef="#br0" timeOffset="10778.02">5715 8017 0,'0'0'16,"13"13"0,-13 0-1,13 1-15,-13-1 0,0 0 16,14 13-16,-14-12 0,0-1 16,0 0-16,0 0 0,0 1 15,0-1-15,13-13 16,-13 13-16,0-39 47,0 12-47,0-12 15,0 13-15,0-1 0,13-12 16,-13 13-16,13 0 16,1 13-1,-14-14-15,13 14 16,0 14-16,0-14 0</inkml:trace>
  <inkml:trace contextRef="#ctx0" brushRef="#br0" timeOffset="11281.75">6019 8030 0,'-13'0'31,"0"0"-31,0 0 0,-1 13 0,1-13 15,0 27 1,0-14-16,13 0 0,0 0 16,-14-13-16,14 14 15,14-1-15,-14 0 16,13-13-16,0 0 16,0-13-1,1 13-15,-1-13 0,0-1 16,0 1-16,0 0 15,1 0 1,-1 13 0,0 0-1,0 0 1,-13 13-16,14-13 16,-1 0-1,0 0 1,0 0-16,1-13 15,-1 13 1,0-13 0,0 26-1,0 0 1,-13 0 0,14-13-1,-14 13 1,13-13-1</inkml:trace>
  <inkml:trace contextRef="#ctx0" brushRef="#br0" timeOffset="11427.61">6178 7951 0,'0'0'0,"-13"0"0,0 0 15</inkml:trace>
  <inkml:trace contextRef="#ctx0" brushRef="#br0" timeOffset="11746.34">6297 7977 0,'13'27'16,"-13"-14"-1,14 0 1,-14 0 0,13-13-16,0 0 31,0-13-16,0 13-15,1 0 0,-1 0 16,0-13 0,0 13-16,1 0 31,-1-13-15,-13-1-1</inkml:trace>
  <inkml:trace contextRef="#ctx0" brushRef="#br0" timeOffset="12093.79">6522 7250 0,'0'0'0,"0"26"16,-13 0-1,13 1-15,0-14 0,0 0 16,0 14-16,0-14 0,0 14 16,0-14-16,0 13 0,0-13 0,0 14 15,13-14-15,-13 0 0,0 1 0,0-1 16</inkml:trace>
  <inkml:trace contextRef="#ctx0" brushRef="#br0" timeOffset="20662.68">13176 8083 0</inkml:trace>
  <inkml:trace contextRef="#ctx0" brushRef="#br0" timeOffset="28505.7">12105 6720 0,'26'0'46,"-13"-13"-30,1 13-16,-1-13 16,0 13-1,-39 13 17,12-13-32,1 0 0,-13 13 15,12 1-15,1-14 0,0 0 16,0 13-16,0-13 0,-1 13 0,1-13 15,13 13-15,-13-13 16,13 14-16,13-1 16,0 0-1,1-13 1,12 13-16,-13 0 16,0-13-16,1 14 15,-1-14-15,-13 13 16,0 0-1,0 0-15,-27-13 16,27 14-16,-13-14 0,0 13 16,0-13-16,0 0 0,-14 13 15,14-13-15,0 13 0,-14-13 16,14 0-16,0 14 0,-1-14 16</inkml:trace>
  <inkml:trace contextRef="#ctx0" brushRef="#br0" timeOffset="28810.71">12449 6601 0,'0'0'0,"13"0"15,-26 14 1,-1-1-16,14 13 0,-13-12 16,0 12-16,0 0 0,-27 41 15,27-41-15,-14 0 0,1 27 16,-1-26-16,14-1 0,-26 27 16,25-40-16,1 14 15,0-14-15,0 0 0,-1 14 16,1-14-16,13 0 15</inkml:trace>
  <inkml:trace contextRef="#ctx0" brushRef="#br0" timeOffset="29249.75">12396 6906 0,'0'-14'16,"13"14"-16,0 14 15,-13-1-15,0 0 16,0 0 0,-13 1-16,13-1 0,-13-13 15,13 26 1,0-13 0,0 1-1,13-14-15,-13 13 16,13-13-1,-13 13-15,-13 0 16,13 1-16,-13-1 16,-1 0-16,1 0 15,0-13-15,0 0 0,13 14 16,-13-14-16,-1 13 16</inkml:trace>
  <inkml:trace contextRef="#ctx0" brushRef="#br0" timeOffset="29545.75">12541 6892 0,'13'0'16,"-26"27"0,13-14-1,0 0-15,0 1 0,0-1 16,0 0-16,0 0 0,0 0 15,13 1-15,-13-1 16,14-13-16,-1 13 0,0-13 16,0 0 15,-26-13 0,0 13-15,0 0-16,-1 0 15,1 0-15,0 0 16</inkml:trace>
  <inkml:trace contextRef="#ctx0" brushRef="#br0" timeOffset="29865.67">12713 6919 0,'0'0'15,"13"13"1,-13 0-16,14-13 16,-14 14-16,13-1 15,0-13 1,0 0-16,1 13 0,12-26 16,-13 13-16,1-13 15,-14-1 1,0 1-1,0 0-15,-14 0 0,1 13 16,13-14-16,-13 14 16,0 0-16,-1 0 0,1 0 15,0 0-15,0 0 0,-1 0 16,1 14-16,0-14 0,0 0 0,0 13 16,-1 0-16</inkml:trace>
  <inkml:trace contextRef="#ctx0" brushRef="#br0" timeOffset="30545.03">11708 6562 0,'0'0'0,"-27"132"32,14-92-32,13-1 0,-13 41 15,13-41-15,0 1 0,0-13 16,0 12-16,13-12 0,14 39 15,-14-53-15</inkml:trace>
  <inkml:trace contextRef="#ctx0" brushRef="#br0" timeOffset="30850.51">12726 6257 0,'0'0'0,"40"14"0,-13-1 15,-1 0-15,1 14 0,-1-1 0,14 14 16,-14-1-16,14 1 0,13 53 15,-40-54-15,0 1 0,14 53 16,-27-54-16,0 1 16,-14 13-16,1-13 0,0-1 15,-27 41-15,27-41 0,-13-12 16,12-1-16,1 1 0,0-14 0</inkml:trace>
  <inkml:trace contextRef="#ctx0" brushRef="#br0" timeOffset="32977.16">15240 6535 0,'26'0'31,"-12"0"-31,-1 0 0,-13 13 15,13-13-15,0 14 16,-13-1 0,0 0-1,14-13-15,-14 13 16,13-13-16,-13 14 0,13-14 16,-13 13-16,13-13 0,-13 13 15,14 0-15,-1 1 16,-13-1-16,13 0 0,-13 0 15,-13 0-15,13 1 16,-13-14-16,13 13 16,-14 0-16,1-13 0,-27 27 0,27-27 15,0 0-15,0 13 0,-1-13 16,1 0-16</inkml:trace>
  <inkml:trace contextRef="#ctx0" brushRef="#br0" timeOffset="33299.66">15478 6548 0,'0'14'31,"0"12"-15,0-13-16,0 1 0,0-1 15,0 0-15,0 0 16,13 1-16,-13-1 0,14-13 15,-1 13-15,0-13 0,0 13 16,1-13-16,-1 0 0,0 0 16,0-13-1,0 0 1,-26 0 0,0 13-16,0 0 15,0-14-15,-1 14 16,1 0-16,0 14 0,0-14 15</inkml:trace>
  <inkml:trace contextRef="#ctx0" brushRef="#br0" timeOffset="33641.86">15782 6509 0,'-26'13'32,"26"0"-17,-13 0-15,13 14 16,-14-14-16,14 0 0,0 1 16,0-1-16,14 0 0,-1 0 15,0-13 1,0 0-16,1 0 15,12 0-15,-26-13 16,13 13-16,-13-13 0,0 0 16,0-1-16,0 1 15,0 0-15,-13 13 0,13-13 16,-13-1-16,0 14 16,-1 0-16,1 14 15,0-14-15</inkml:trace>
  <inkml:trace contextRef="#ctx0" brushRef="#br0" timeOffset="33978.49">16312 6443 0,'-53'79'31,"39"-53"-31,-12 14 0,-1 0 16,-12 0-16,12-1 0,1 1 0,-14 0 15,14-14-15,-1 0 0,1 1 16,-27 39-16,40-39 16,-1-14-16,1 13 15,0-26-15,13 13 0,-13 1 16</inkml:trace>
  <inkml:trace contextRef="#ctx0" brushRef="#br0" timeOffset="34469.69">16100 6906 0,'13'0'0,"0"0"31,1 0-31,-14 13 16,0 0-16,0 0 16,0 1-1,13-1 1,-13 0 0,13-13-16,-13 13 15,0 0-15,0 1 16,0-1-16,-13-13 15,13 13-15,-13 0 0,-1-13 16,14 14-16,-13-14 0,0 13 16,0-13-16,13 13 15,-14-13-15</inkml:trace>
  <inkml:trace contextRef="#ctx0" brushRef="#br0" timeOffset="34778.91">16404 6826 0,'-13'27'31,"0"-14"-15,13 0-16,-14 0 0,14 1 16,-13 12-16,13-13 0,-13 1 15,13-1-15,0 0 0,0 0 16,13 0-16,-13 1 15,13-14-15,1 0 16,-1 0 0,0-14-1,-13 1 1,0 0-16,0 0 16,-13 13-1,13-13-15</inkml:trace>
  <inkml:trace contextRef="#ctx0" brushRef="#br0" timeOffset="35046.5">16629 6826 0,'-26'13'16,"26"1"-1,0-1 1,0 0-16,0 0 0,0 1 16,13-1-16,-13 0 15,0 0-15,13 1 0,-13-1 16,-13 0 0,13 0-16,-13 0 15,-1-13-15,1 0 0,-13 14 16,12-14-16,-12 0 0,-14 0 15,14 0-15,-1-14 0,-12 14 16</inkml:trace>
  <inkml:trace contextRef="#ctx0" brushRef="#br0" timeOffset="35358.91">15015 6178 0,'0'0'0,"-26"53"0,12-27 15,1 14-15,0 13 0,-27 66 16,27-66-16,13 13 0,-13 0 15,13 0-15,0 1 0,26 65 16,-13-79-16,14 0 0,-1 0 0,14-14 16,0-12-16,13 12 0,53 1 15,-54-27-15,-12-13 16,79 0-16,-53-13 0,-13 0 16,13-14-16</inkml:trace>
  <inkml:trace contextRef="#ctx0" brushRef="#br0" timeOffset="35625.19">17171 5689 0,'0'0'0,"53"26"16,-26-13-16,52 331 31,-79-264-31,0-14 0,-13 13 0,-40 93 16,27-79-16,-1-27 0,-39 79 15,26-79-15,1 14 0,-54 52 16,40-66-16,13-13 16,-79 53-16,53-53 15,13-13-15</inkml:trace>
  <inkml:trace contextRef="#ctx0" brushRef="#br0" timeOffset="36674.44">7858 11126 0,'0'0'15,"13"-14"-15,1 14 16,-1 0-16,0-13 16,0 13-16,27-13 0,-14 13 0,1 0 15,-1 0-15,27-13 16,-13 13-16,0 0 0,-1-13 16,14 13-16,0 0 0,53 0 15,-53 0-15,13 0 0,0 0 0,0 0 16,14 0-16,-1 0 0,93 0 15,-93 0-15,14 0 0,66 0 16,-67 0-16,-12 0 0,79 0 16,-107 0-16,15 0 0,25 0 15,-52 0-15,-14 0 0,1 0 16,-1-14-16,-13 14 0,14 0 16,-14 0-16,0 0 0,1 0 15,-41-13 16,14 13-31,0-13 16,-14 13-16</inkml:trace>
  <inkml:trace contextRef="#ctx0" brushRef="#br0" timeOffset="38593.91">8070 10147 0,'0'0'16,"39"0"-16,28 13 0,-41-13 16,14 0-16,13-13 0,0 13 15,0 0-15,66 0 0,-40 0 16,-26 0-16,106 0 16,-93-13-16,13 13 0,80 0 15,-93 0-15,13 0 0,40 0 16,-66 0-16,14 0 0,78 0 15,-66 0-15,-26 0 0,27 0 16,-27 0-16,13 0 0,53 13 16,-66-13-16,13 0 0,132 0 15,-131 13-15,52-13 16,-67 0-16,1 0 16,14 0-16,-15 0 0,1 0 0,0 0 15,0 0-15,-13 0 0,0 13 0,-1-13 16,-12 0-16,12 0 0,-12 0 15,13 0-15,-14 0 16,-13 0-16,14 0 0,-14 0 0,0 0 16,0 0-16,1 0 15,-1 0-15,0 0 16,0 0-16,1 0 16,-1 0 15,0 0-16,0 0 1,0-13 0,-13 26-1,14-13 1,-14 13 15,0 1-15,0-1-16,0 0 15,0 0-15,-14 1 0,14-1 16,0 0-16,0 0 0,0 1 16,-13 12-16,13-13 15,0 0-15,0 14 0,0-14 16,0 0-16,0 1 0,0-1 16,0 0-16,-13 14 15,13-14-15,0 0 0,0 13 16,0-12-16,0-1 0,0 27 15,0-27-15,0 0 16,0 0-16,0 0 0,0 14 16,0-14-16,0 14 15,0-14-15,0 0 16,0 0-16,0 1 16,0-1-16,0 0 15,0 0-15,0 0 16,0 1-16,0-1 15,0 0 1,0 0-16,0 1 31,0-1-15,-13 0 0,13 0-1,-13 1 1,13-1-1,-14-13 1,1 13-16,0-13 16,0 13-1,-1-13-15,1 0 16,-13 0-16,12 0 0,1 0 16,-13 13-16,13-13 15,-1 0-15,-12 0 0,13 0 0,-1 0 16,-12 0-16,13 0 0,-1 0 15,-38 0-15,38 0 0,-12 0 16,13 14-16,-14-14 0,14 0 16,-13 0-16,-14 0 0,27 0 15,-14 0-15,-13 0 0,27 0 16,-13 0-16,-27 0 16,26 0-16,14 0 15,-13 13-15,12-13 0,-25 0 16,12 0-16,14 0 0,-40 0 15,40 0-15,-13 0 0,12 0 0,-12 0 16,13 0-16,-1 13 0,-25-13 16,25 0-16,-12 0 0,0-13 15,12 13-15,1 0 0,-27 0 16,27 0-16,0 0 16,0 0-16,-1 0 0,1 0 0,0 0 15,0 0-15,0 0 0,-1 0 16,1 0-16,0 0 0,0 0 0,-14 0 15,14 0-15,0 0 16,-1 0-16,1 0 0,0 0 16,0 0-16,0 0 15,-1 0-15,-12 0 0,13 0 16,13 13-16,-14-13 16,1 0-16,-13 0 0,12 0 15,1 0-15,0 0 0,-13 13 16,12-13-16,1 0 15,0 0-15,0 0 0,-14 0 16,14 0-16,0 0 0,-14 0 16,14 0-16,-13-13 15,12 13-15,1-13 16</inkml:trace>
  <inkml:trace contextRef="#ctx0" brushRef="#br0" timeOffset="39639.46">8215 10160 0,'-39'0'46,"25"13"-46,-12-13 16,13 0-16,-1 0 0,-12 0 16,0 13-16,-27-13 0,13 0 15,14 14-15,-27-14 0,26 0 16,1 0-16,12 13 16,-12-13-16,0 0 0,-14 13 15,27-13-15,-14 0 0,-13 13 16,27-13-16,0 0 0,-27 14 15,27-14-15,0 0 0,0 13 16,-1-13-16,1 13 0,0 0 16,0-13-16,-1 14 0,14-1 15,-13 0-15,13 13 16,0-12-16,0 12 0,-13 1 16,13-1-16,0-13 0,13 27 15,-13-14-15,0-12 16,0 25-16,0-12 0,0-1 15,0 14-15,0-14 0,0-12 16,0 25-16,0-12 0,0-14 16,0 0-16,0 14 15,0-14-15,-13 13 0,13-12 16,0-1-16,0 0 0,0 0 16,0 1-16,0 12 15,0-13 1,0 0-16,0 1 15,0-1 1,13-13 0,0 13-16,1-13 15,-1 0-15,0 0 16,0 0-16,1 0 0,25 0 16,-12 0-16,-1 0 0,27-13 15,0 13-15,-13 0 0</inkml:trace>
  <inkml:trace contextRef="#ctx0" brushRef="#br0" timeOffset="48062.53">12740 6972 0,'26'-13'31,"-13"13"-31,14-14 16,-14 14-16,14 0 0,-14-13 15,0 13-15,13 0 0,-12-13 0,12 13 16,-13 0-16,1 0 0,-1-13 0,0 13 16,0 0-16,1 0 0,-41 0 47,14 0-47,0 0 15,-1 0-15,-12 0 16,13 13-16,-1-13 0,1 0 0,0 0 15,0 0-15,0 13 0,-1-13 0,1 0 16,0 13-16,0-13 16,13 14-1,0-1 1,13-13 0,0 13-16,0-13 15,1 13-15,-1-13 0,0 13 16,0-13-16,0 14 0,14-14 15,-27 13-15,13-13 0,0 13 16,-13 0-16,0 1 16,0-1-16,-13-13 15,0 13-15,0-13 0,-1 13 16,-12 1-16,13-14 0,0 0 16,-1 13-16,1-13 0,0 0 15,-14 0-15,14 13 0,0-13 16,-14 0-16,14 0 15,0 0 1,13 13 0</inkml:trace>
  <inkml:trace contextRef="#ctx0" brushRef="#br0" timeOffset="54197.61">13163 11086 0,'26'0'47,"-12"0"-47,-14-13 0,13 13 15,0 0-15,-39 0 47,26 13-31,-14-13-16,-12 13 15,13-13-15,0 0 0,-1 13 16,1-13-16,13 14 16,-13-14-16,13 13 15,13-13 1,-13 13-16,13-13 0,1 0 0,-1 0 15,0 13-15,0-13 16,0 0-16,-13 14 0,14-14 16,-1 13-16,-13 0 15,-13 0 1,-1 1-16,1-14 0,0 13 16,-13 0-16,12-13 0,1 13 15,-13-13-15,12 13 0,1-13 16,-13 14-16,13-14 15,-1 0-15,1 0 16,26-14 0,1 1-1</inkml:trace>
  <inkml:trace contextRef="#ctx0" brushRef="#br0" timeOffset="54426.15">13388 11046 0,'26'-13'16,"-52"26"-16,66-26 0,-40 26 47,-14 1-47,1-1 0,0 0 15,-14 27-15,1-14 16,-14 27-16,14-26 0,-1-1 16,-12 27-16,12-40 0,1 14 15,-1 12-15,14-25 0,0-1 16,0 0-16,13 0 0,-14-13 15,14 13-15</inkml:trace>
  <inkml:trace contextRef="#ctx0" brushRef="#br0" timeOffset="54893.87">13388 11324 0,'13'-13'15,"0"13"1,-13 13 0,-13 0-1,13 1 1,-13-14-16,13 13 0,-13-13 16,-1 13-16,14 0 15,0 1 1,14-14-16,-1 13 15,-13 0 1,0 0 15,0 0-31,-13-13 0,13 14 16,-27-1-16,14-13 0,13 13 16,-26-13-16,26 13 15,-14-13-15</inkml:trace>
  <inkml:trace contextRef="#ctx0" brushRef="#br0" timeOffset="55195.38">13494 11377 0,'0'0'0,"13"0"0,-13-13 16,13 39 15,-13-12-16,0-1 1,0 0-16,13-13 0,-13 13 16,14-13-16,-1 0 31,-13-13-15,13 13-16,-13-13 15,-13 0 16</inkml:trace>
  <inkml:trace contextRef="#ctx0" brushRef="#br0" timeOffset="55482.4">13679 11324 0,'0'13'47,"0"1"-47,13-1 0,-26-53 0,39 93 16,-26-40-16,14-13 15,-14 14-15,0-1 16,0 0-16,-14-13 16,14 13-16,-13-13 15,0 13-15,0-13 0,-14 14 16,14-14-16,0 0 0,-40 13 16</inkml:trace>
  <inkml:trace contextRef="#ctx0" brushRef="#br0" timeOffset="55766.44">12938 11086 0,'0'0'0,"-26"40"0,12-27 16,14 0-16,-13 0 0,13 14 0,-13-1 16,13 1-16,-13 39 15,13-40-15,0 1 0,0 13 16,13-1-16,-13-12 0,26 26 16,-12-40-16,12 13 0,-13-12 0,27-1 15,-13 0-15,25-13 16,-25 0-16</inkml:trace>
  <inkml:trace contextRef="#ctx0" brushRef="#br0" timeOffset="56091.43">13917 10927 0,'132'119'31,"-105"-92"-31,-14-1 16,-13 14-16,13-14 0,-13 1 0,-13 39 15,0-26-15,0-1 0,-40 54 16,26-53-16,1-1 0,-14-12 16,14 13-16,-1-14 0,-13 0 15,27-12-15,13-1 0</inkml:trace>
  <inkml:trace contextRef="#ctx0" brushRef="#br0" timeOffset="57793.39">18031 11099 0,'27'-13'31,"-27"0"-15,26 26-1,-26 0 1,0 0-16,-13 1 16,13-1-16,0 0 0,-13-13 15,13 13-15,0 1 16,0-1-1,13 0-15,0 0 16,1 1 0,-1-14-1,-13 13-15,0 0 16,-13-13 0,13 13-16,-14-13 0,1 13 15,0-13-15,0 0 16,-1 0-1</inkml:trace>
  <inkml:trace contextRef="#ctx0" brushRef="#br0" timeOffset="58098.5">18322 11033 0,'-13'27'31,"0"-14"-31,13 0 0,-13-13 16,13 26-16,0-12 16,0-1-16,0 0 0,13 0 15,-13 1-15,13-14 0,0 0 16,1 13 0,-1-13-16,-13-13 15,13 13 1,-26-14-1,0 1 1,-1 13 0,1 0-16,0-13 0</inkml:trace>
  <inkml:trace contextRef="#ctx0" brushRef="#br0" timeOffset="58372.17">18468 11060 0,'0'0'0,"0"13"16,13 0-1,-13 0-15,0 0 16,13-13-16,-13 14 0,14-14 16,-1 0-1,0 13-15,0-13 0,1-13 16,-1 13-1,-13-14-15,13 14 0,-13-13 16,0 0-16,0 0 16,-13 0 15,0 26-31,-1-13 0,1 0 16,13 13-16,-13 0 0,0 0 0</inkml:trace>
  <inkml:trace contextRef="#ctx0" brushRef="#br0" timeOffset="58689.45">18031 11470 0,'40'-27'32,"-27"27"-32,1 0 0,52-13 15,-27 0-15,-12 13 16,-1 0-16,14-13 0,0 13 0,26 0 16,-40-14-16,1 14 15,39 0-15,-53 0 0,14 0 0,-14 0 16,0 0-16,13 0 15,-12 0-15,-1 0 0,-13 14 16</inkml:trace>
  <inkml:trace contextRef="#ctx0" brushRef="#br0" timeOffset="59125.44">18098 11576 0,'39'13'16,"-26"-13"0,-13 13-1,0 0-15,0 0 16,14-13-16,-14 14 16,0-1-16,13-13 15,-13 13-15,13-13 16,-13 13-16,13 1 0,-13-1 31,0 0-15,-13-13-16,13 13 0,-13 1 15,0-14-15,-1 0 16,1 13-16,0-13 31</inkml:trace>
  <inkml:trace contextRef="#ctx0" brushRef="#br0" timeOffset="59542.49">18441 11562 0,'-26'14'31,"26"-1"-15,-13-13-16,0 26 16,13-13-16,-14 1 15,14-1-15,0 0 0,0 0 16,14 1-16,-14-1 15,13-13 1,0 13-16,-13-26 16,13 13-1,0-13 1,-26-1 0,13 1-16,-13 13 15,0 0-15,0 0 16,-1 0-1,1 0-15</inkml:trace>
  <inkml:trace contextRef="#ctx0" brushRef="#br0" timeOffset="59878.85">18547 11589 0,'-13'0'16,"13"13"0,0 0-1,13 0 1,-13 1-16,14-1 15,-14 0-15,0 0 16,0 1 0,0-1-1,-14-13-15,1 13 16,0-13 0,-14 0-16,14 0 15,-13 0-15,12 0 0</inkml:trace>
  <inkml:trace contextRef="#ctx0" brushRef="#br0" timeOffset="60354.53">17952 11139 0,'-26'40'0,"52"-80"0,-66 106 16,27-39-16,-13 39 0,12-40 0,1 14 15,0 0-15,0 12 0,13-12 16,0 0-16,0 39 15,13-52-15,0 12 0,14 14 16,-1-26-16,1-1 0,25 14 16,-25-27-16,13 0 0,39-13 15,-39 0-15,13-13 0,39 0 16,-39 0-16,-13-14 0</inkml:trace>
  <inkml:trace contextRef="#ctx0" brushRef="#br0" timeOffset="60669.69">18944 10901 0,'27'40'0,"-54"-80"0,67 106 0,-27-40 15,0 1-15,1 13 0,-14-1 16,13 1-16,-13 0 0,0-1 0,-13 54 16,-1-53-16,1-1 0,-27 54 15,14-53-15,13-14 16,-27 14-16,14-14 0,12 1 15,-12-1-15,-1-13 0,-12 1 0</inkml:trace>
  <inkml:trace contextRef="#ctx0" brushRef="#br0" timeOffset="74330.59">15015 11443 0,'-13'27'15,"13"-14"1,-13 0-16,13 27 16,0-27-16,0 0 0,-14 27 15,14-27-15,0 14 0,-13-1 16,13-13-16,0 1 0,-13-1 15,13 0-15,0 0 0,0 1 0,0-1 16</inkml:trace>
  <inkml:trace contextRef="#ctx0" brushRef="#br0" timeOffset="74674.21">14962 11430 0,'0'0'0,"13"-13"0,1 13 15,-14-13-15,26 13 0,-13 13 16,1-13-16,-1 13 16,0-13-16,-13 13 0,13 0 15,-13 1-15,0-1 0,0 0 16,0 0-16,0 1 0,0-1 0,-13 0 16,0 0-16,13 1 0,-13-1 15,-1 0-15,1 0 16,0-13-16,0 13 15</inkml:trace>
  <inkml:trace contextRef="#ctx0" brushRef="#br0" timeOffset="74959">15280 11245 0,'-14'26'32,"1"-13"-32,13 1 15,-13-1-15,13 13 0,0-12 16,-13 25-16,13-12 0,0-14 16,0 27-16,0-14 0,0-13 15,0 1-15,0 12 0,0-13 16,0 14-16,13-14 0,-13 0 0,0 0 15,0 1-15,13-1 0,-13 0 16,0 0-16,13 1 16,1-1-1</inkml:trace>
  <inkml:trace contextRef="#ctx0" brushRef="#br0" timeOffset="75243.96">15412 11456 0,'0'-13'31,"0"40"0,-13-14-15,13 0-16,0 0 0,0 1 15,0-1-15,-13 13 0,13-12 16,0-1-16,0 0 0,0 0 16,-14-13-16,14 13 15,0 1-15</inkml:trace>
  <inkml:trace contextRef="#ctx0" brushRef="#br0" timeOffset="75973.62">15412 11456 0,'13'0'0,"0"0"31,-13 14-15,14-1-16,-14 13 15,-14-26-15,14 14 16,0-1-16,-13-13 0,13 13 15,0 0-15,13 1 32,1-14-17,-1 13 1,0-13-16,0 13 16,1 0-1,-28 0 1,14 1-1,-13-14-15,13 13 0,-13-13 16,0 13-16,-1-13 16,1 13-1,0-13-15</inkml:trace>
  <inkml:trace contextRef="#ctx0" brushRef="#br0" timeOffset="77023.97">15650 11311 0,'13'40'31,"-13"-27"-31,14 0 16,-14 27-16,0-27 0,13 0 16,-13 14-16,0-14 15,0 13-15,0-12 0,13 39 16,-13-1 0,0-38-16,-13-1 0,13 0 15,0 0-15,0 1 16,0-1-16</inkml:trace>
  <inkml:trace contextRef="#ctx0" brushRef="#br0" timeOffset="77479.49">15849 11496 0,'0'0'0,"0"-13"15,0 39 1,0-12 0,0-1-16,0 0 0,0 14 15,0-14 1,0 0 0,0 0-1,0-39 16,0 13-31,13-1 16,-13-25 0,0 25-16,39-78 31,-25 92-15,-14-13-16,13 13 0,-13-14 0,13 14 15,0 0-15,1 14 16,-1-14-16,-13 13 0,13-13 15,-13 13-15,13 0 0,-13 0 16,0 1-16,14-14 0,-14 13 16,0 0-16,0 0 0,0 1 15,0-1-15,-14 0 16,14 0-16</inkml:trace>
  <inkml:trace contextRef="#ctx0" brushRef="#br0" timeOffset="77789.46">15941 11576 0,'13'-14'31,"1"1"-15,-1 13-16,0-13 15,0 13-15,1 0 0,-14-13 16,13 13-16,0-14 15,0 14-15,0-13 0,1 13 16,-1-13-16,0 13 16,0 0-1,-13 13 1,0 0-16,14 1 16,-14-1-1,0 0 1,0 0-16,0 1 15</inkml:trace>
  <inkml:trace contextRef="#ctx0" brushRef="#br0" timeOffset="78087.61">16140 11218 0,'0'0'0,"66"14"31,-53-1-31,0 0 0,0 0 0,14-13 16,-14 27-16,0-14 0,1 0 0,-1 14 15,0-1-15,0 14 16,0-14-16,-13-13 0,0 40 15,0-39-15,0 12 0,-13 27 16,13-27-16,-13-12 0,0 12 16,13-13-16,-13 1 0,13 12 0,-14-26 15,14 13-15</inkml:trace>
  <inkml:trace contextRef="#ctx0" brushRef="#br0" timeOffset="79032.17">20386 11232 0,'13'52'16,"-13"-25"-16,0-14 15,0 0-15,0 1 16,0-1-16,0 13 0,0-12 16,0-1-16,0 0 0,0 0 0,0 0 15,0 1-15,0-1 16,0 0-16,0 0 15</inkml:trace>
  <inkml:trace contextRef="#ctx0" brushRef="#br0" timeOffset="79328.2">20399 11258 0,'14'-26'0,"-1"12"16,0 14-16,0-13 0,53 13 31,-52 0-31,-1 13 0,-13 1 16,13-14-16,0 26 0,-13-13 16,0 0-16,0 1 15,0-1-15,-13 0 16,0 0-16,0 1 0,-1-1 0,1-13 15,0 13-15,0-13 16,0 13-16,-1-13 16</inkml:trace>
  <inkml:trace contextRef="#ctx0" brushRef="#br0" timeOffset="79604.61">20783 11099 0,'-13'13'31,"13"1"-31,-13-1 0,13 0 16,-14 0-16,14 1 0,-13 12 15,13-13-15,0 14 0,-13-1 16,13 1-16,0-14 0,0 27 15,0-14-15,0-13 0,0 1 16,13-1-16,-13 0 0,13 13 16,-13-12-16,14-14 0,-1 13 15,0 0-15,0-26 16,0 13-16</inkml:trace>
  <inkml:trace contextRef="#ctx0" brushRef="#br0" timeOffset="79822.81">20902 11284 0,'13'-13'0,"-26"26"0,26-39 0,-26 52 47,13-12-31,0-1-16,-13 0 16,13 0-16,0 1 0,0-1 15,-13 0-15,13 14 16,0-14-16,0 0 0,0 0 15,-14 0-15,14 1 0,14-1 32</inkml:trace>
  <inkml:trace contextRef="#ctx0" brushRef="#br0" timeOffset="80495.63">20862 11311 0,'-13'-13'15,"26"-1"1,1 14-1,-1 0-15,0 14 16,0-14 0,1 26 15,-14-13-31,0 1 16,13-1-1,-13 0-15,13 0 16,-13 1-1,0-1-15,0 0 16,0 0-16,-13 0 16,0 1-16,13-1 15,-14-13-15,14 13 0,-13-13 0,13 13 16,-26-13-16</inkml:trace>
  <inkml:trace contextRef="#ctx0" brushRef="#br0" timeOffset="80724.02">21087 11165 0,'0'0'16,"14"14"0,-14-1-16,0 0 15,0 0-15,0 1 0,0-1 0,0 13 16,0 1-16,0-14 15,0 0-15,0 14 0,0-14 16,0 13-16,0-12 0,0 12 16,0 14-16,0-27 15,13-13-15,0 13 0,-13 0 16,26-13-16</inkml:trace>
  <inkml:trace contextRef="#ctx0" brushRef="#br0" timeOffset="81203.77">21418 11430 0,'-13'-13'31,"0"13"-31,13-13 16,0-1-16,0 1 15,0 0-15,0 0 0,0-14 16,0 14-16,0-14 0,13 1 16,-13 13-16,0 0 0,13 13 15,-13-14-15,13 1 0,14 13 16,-14 13 0,0 1-16,0-1 15,-13 0-15,14 0 0,-14 0 16,13 1-16,-13-1 15,0 0-15,0 0 0,0 1 16,0-1-16,0 0 16,-13 0-1</inkml:trace>
  <inkml:trace contextRef="#ctx0" brushRef="#br0" timeOffset="81375.27">21378 11390 0,'-13'0'32,"53"0"-1,-27 0-31,53 0 31</inkml:trace>
  <inkml:trace contextRef="#ctx0" brushRef="#br0" timeOffset="81636.53">21603 11351 0,'13'0'0,"-26"0"0,40-14 0,-14 14 16,0 0-1,0 0-15,1 0 16,-1 0 0,-13 14-16,0-1 15,-13-13-15,13 13 16,-14-13-16,14 13 15,0 1-15,-13-1 16,26 0 0,1-13-1,-1 0 1,0 0-16,14 0 16,-14-13-16,0 0 15</inkml:trace>
  <inkml:trace contextRef="#ctx0" brushRef="#br0" timeOffset="81887.85">21709 11060 0,'13'0'0,"14"13"31,-14 0-31,0 13 15,0-12-15,1-1 0,-1 13 16,-13-12-16,13-1 0,0 27 16,-13-27-16,0 0 0,0 13 15,0-12-15,-13-1 0,0 13 16,0 1-16,-1-14 0,-12 27 16,13-27-16,0 0 15,-1 0-15,1 1 0,13-1 0,-13-13 16</inkml:trace>
  <inkml:trace contextRef="#ctx0" brushRef="#br0" timeOffset="82037.59">21974 11456 0</inkml:trace>
  <inkml:trace contextRef="#ctx0" brushRef="#br0" timeOffset="85933.64">8070 12158 0,'26'-14'0,"-13"14"15,14 0-15,-1 0 16,14-13-16,13 13 0,66 0 16,-53-13-16,14 13 0,39 0 15,-53-13-15,-13 13 0,0 0 16,0 0-16,-14 0 0,-12 0 0,-1 0 15,1 0-15,-1 0 0,-13 13 0,1-13 16</inkml:trace>
  <inkml:trace contextRef="#ctx0" brushRef="#br0" timeOffset="86166.53">7885 12316 0,'0'0'16,"105"-26"0,-65 26-16,53-13 0,-27-1 15,0 1-15,0 0 0,0 13 16,14-13-16,25 0 16,-52 13-16,-13-14 0,0 14 0,-14 0 15,14-13-15,-14 13 0,-12 0 0,12 0 16,-13 0-16,1-13 0,25 13 15,-26 0-15,1 0 0</inkml:trace>
  <inkml:trace contextRef="#ctx0" brushRef="#br0" timeOffset="86682.16">8877 13216 0,'0'-13'31,"0"52"-15,-13-25 0,13 39-16,-14-40 15,14 13-15,0-13 0,-13 14 16,13-14-16,-13 40 15,13-40-15,0 1 0,0 12 16</inkml:trace>
  <inkml:trace contextRef="#ctx0" brushRef="#br0" timeOffset="86907.3">9009 13216 0,'0'-13'15,"0"39"32,-13-13-47,13 14 16,0-14-16,-13 0 0,13 27 16,-14-14-16,14 1 0,-13 13 15,13-27-15,-13 27 16,13-27-16,-13 0 0,13 0 15,0 0-15</inkml:trace>
  <inkml:trace contextRef="#ctx0" brushRef="#br0" timeOffset="87135.25">9459 13137 0,'0'13'31,"0"0"-15,-13 0-16,13 0 15,0 1-15,-14 12 0,1 14 16,13-27-16,-13 14 0,0 12 16,13-12-16,-14-14 0,14 27 15,-13-27-15,13 0 0,-13 0 16</inkml:trace>
  <inkml:trace contextRef="#ctx0" brushRef="#br0" timeOffset="87299.72">9260 13282 0</inkml:trace>
  <inkml:trace contextRef="#ctx0" brushRef="#br0" timeOffset="87458.43">9538 13375 0</inkml:trace>
  <inkml:trace contextRef="#ctx0" brushRef="#br0" timeOffset="87950.17">7713 13454 0,'13'0'0,"27"0"31,-27 0-31,0 0 0,0 0 16,0 0-16,1 0 0</inkml:trace>
  <inkml:trace contextRef="#ctx0" brushRef="#br0" timeOffset="88150.6">7726 13639 0,'26'0'31,"-12"-13"-15,-1 13-16,0 0 0,13 0 15,-12-13-15,-1 13 0,13 0 16,-12 0-16,-1 0 0,13-13 15</inkml:trace>
  <inkml:trace contextRef="#ctx0" brushRef="#br0" timeOffset="88980.29">11232 13375 0,'-14'53'32,"14"-14"-32,0-25 15,-13-1-15,13 0 0,0 27 16,-13-27-16</inkml:trace>
  <inkml:trace contextRef="#ctx0" brushRef="#br0" timeOffset="89148.37">11205 13295 0,'0'-13'0,"0"26"0,0-39 0,-13 26 15</inkml:trace>
  <inkml:trace contextRef="#ctx0" brushRef="#br0" timeOffset="89547.52">11496 13176 0,'0'0'0,"13"0"16,-13 13-16,0 1 0,0 12 15,0-13-15,0 1 16,0 12-16,14 14 0,-14-14 16,0 14-16,13-14 15,-13-12-15,0 25 0,0-25 16,13-1-16,-26 13 16,13-13-1,-13 1-15,-1-14 16,1-14-16,0 14 15,0-13-15,-1 13 16,1-13-16,0 13 16,13-13-16,0 0 15,13 13 1,0-14 0,14 14-16,-27-13 0,26 13 15,1-13-15,-14 13 0,14-13 16,-14 13-16,13 0 0,-13-14 15,27 14-15,-27-13 0,1 13 16</inkml:trace>
  <inkml:trace contextRef="#ctx0" brushRef="#br0" timeOffset="90236.61">12277 13269 0,'0'0'0,"0"26"31,0 1-31,0-14 16,13 0-16,-13 0 0,0 1 15,13-1-15,-13 0 0,27 14 16,-14-27 0,0 0-16,0 0 15,0 0-15,1-14 16,-1 1-16,0 0 15,0 13-15,-13-13 0,14 13 16,-1 0 0,0 0-16,0 13 15,1-13-15,-1 13 16,0-13-16,0 0 16,14 0-16,-27-13 15,13 13-15,0 0 0,0-13 16,-13-1-16,14 14 15,-14-13-15,0 0 0,13-13 16,-13 12-16,0-12 16,0 13-16,0-1 15,0 1-15,13 0 16,0 13 0,1-13-16</inkml:trace>
  <inkml:trace contextRef="#ctx0" brushRef="#br0" timeOffset="90387.82">12793 13216 0,'13'26'0,"-26"-52"0,26 66 16,-13-27-1,-13 13-15,13-12 16,0-1 0,0 0-16,0 0 15,-14 0-15</inkml:trace>
  <inkml:trace contextRef="#ctx0" brushRef="#br0" timeOffset="90531.3">12832 13176 0,'0'0'0,"-13"-13"16,0 13-1,0-13-15,-1 13 31</inkml:trace>
  <inkml:trace contextRef="#ctx0" brushRef="#br0" timeOffset="90931.52">13004 13004 0,'-13'40'15,"13"-27"1,0 14-16,0-14 0,0 53 16,-13-53-16,13 27 15,0-27-15,13 0 0,-13 1 0,0-1 16,0 0-16,13 0 16,14-13-1,-14-13-15,-13 0 0,26-14 16,-12 14-16,-1-27 15,0 27-15,0-13 16,-13 13-16,14-14 0,-1 14 16,-13 0-16,13 26 31,-13 13-15,0-12-16,0-1 15,0 0-15,-13 13 16,13-12-16,13 12 15,-13-13-15,26 1 16,-12-14-16</inkml:trace>
  <inkml:trace contextRef="#ctx0" brushRef="#br0" timeOffset="91763.7">13719 13123 0,'0'-13'0,"-27"26"15,27 1 1,-13-1-16,13 0 15,-13 13-15,13 1 16,-14-1-16,1-12 0,13 12 16,-13 14-16,13-27 15,0 0-15,0 0 16,0 14-16,13-27 16,0 13-16,1-13 15,-1 0-15,0-13 16,0-14-1,1 14-15,-14 0 16,13 0-16,-13-14 16,0 14-16,0 0 15,0 0-15,0-1 16,0 1 0,0 0-1,13 13 1,0 13-16,1-13 15,-1 13-15,0-13 16,0 14-16,0-1 0,-13 0 16,14 0-16,-14 1 0,13-1 15,-13 0-15,0 0 16,13 0-16,-13 1 16,27-14 30,-27-14-46,13 14 16,-13-13-16,13 13 0,-13-13 16,13 13-16,14-13 15,-14 13-15,0 0 0,0 0 16,1-13-16,-1 13 16,0 0-16,0 0 0,27 13 15,-27-13-15,14 0 0</inkml:trace>
  <inkml:trace contextRef="#ctx0" brushRef="#br0" timeOffset="92755.17">14459 13216 0,'14'-13'0,"-1"26"47,0 0-32,-13 0 1,0 1 0,0-1-16,0 0 15,0 0 1,0 1-16,13-1 16,-13 0-1,0 0-15,0 0 16,14-39 31,-14 13-47,13 0 0,-13-1 15,13-12-15,14-14 16,-14 27-16,0 0 16,0-1-16,0 28 15,1-14 1,-1 13-16,-13 0 0,13-13 15,-13 13-15,13 1 0,-13-1 16,14 0 0,-14 0-16,0 1 15,26-28 1,-13 1 0,1 0-1,-1 0-15,0-1 16,0 1-16,0 13 0,1-13 15,-1 13 1,0 13-16,0 14 16,1-27-16,-14 13 0,0 0 15,13 0-15,-13 1 16,13-1-16,0 0 16,0-13-16,1 13 15,-1-13-15,13-13 0</inkml:trace>
  <inkml:trace contextRef="#ctx0" brushRef="#br0" timeOffset="93328.57">15161 13189 0,'0'-13'0,"0"26"0,-14-39 0,1 26 16,0 0-1,0 13-15,-1 0 16,1-13-16,13 14 0,-26 12 15,13-13-15,-1 1 16,14-1-16,-13 0 0,13 0 16,0 14-1,13-27-15,27-13 47,0-14-31,-27 27-16,13-13 15,1 0 1,13 66 47,-27-40-63,-13 0 15,13-13 16,0-13-31,0 0 16,1-1-16,-1 1 0,0 0 16,0 13-16,1-27 0,-1 14 15,0 13-15,0 0 16,1 0 0,-1 0-16,-13 13 15,0 1 1,0-1-1,0 0-15,0 0 16,0 1 0,0-1-16</inkml:trace>
  <inkml:trace contextRef="#ctx0" brushRef="#br0" timeOffset="93450.39">15452 13123 0,'0'-13'0,"13"0"16</inkml:trace>
  <inkml:trace contextRef="#ctx0" brushRef="#br0" timeOffset="94047.29">15531 13309 0,'40'-14'16,"-27"14"-16,0-13 0,0 0 15,1 0-15,-1-1 16,0 1-16,-13 0 15,13 13-15,-13-13 0,14-1 16,-41 28 15,14-1-31,13 0 16,-13 0-16,13 1 16,13-1-1,0-13 1,0 0-16,27-13 15,-27 13-15,0 0 0,27-14 16,-27 14-16,27 0 16,-27 0-16,1 0 0,12 14 15,-26-1 1,0 0 0,-13-13-16,0 27 15,-1-27-15,1 13 16,13 0-1</inkml:trace>
  <inkml:trace contextRef="#ctx0" brushRef="#br0" timeOffset="94795.59">16682 13137 0,'0'-14'0,"-13"14"16,0 14 0,-1-1-1,1 0-15,13 13 16,-13-26-16,13 14 0,0 12 16,0 1-1,13-14-15,0 0 16,1-13-16,-1 13 15,0-26 1,0 13-16,0 0 0,1 0 0,12-13 16,-13 13-1,1 0 1,-1 0 0,0 0-16,-13 13 15,13-13-15,1 0 16,-1 0-1,0-13-15,0 0 16,0 13-16,14-40 16,-14 27-16,0-27 15,-13 27-15,14-14 16,-14 14-16,13 0 16,-13 0-16,-13 39 31,13-13-31,0 1 15,0-1-15</inkml:trace>
  <inkml:trace contextRef="#ctx0" brushRef="#br0" timeOffset="95791.93">17105 13269 0,'14'-13'16,"-28"26"-16,28-40 0,-14 14 0,13 0 15,-13 0 1,0-1-16,0 1 16,-27 26-1,14 1 1,13-1-16,-26 13 16,26-12-16,26 52 31,-13-66-16,146-27 17,-146 14-17,1 0-15,12-14 16,-13 27-16,-13-13 16,13 13-1,-39 13 1,13 1-16,13-1 0,-13 0 15,-14 27 1,40-1 0,1-25-1,-1-14 1,0 0-16,27-14 16,-27 1-1,0 13-15,0-26 0,1 13 16,-1-1-16,-13 1 15,13-13-15,-13 12 16,13 1-16,-13 0 16,0 0-16,0-1 15,0 1 1,0 0 0,-13 13-1,0 0 1,0 0-1,-14 0 1,14 0 15,0 0-31,-1 0 16,1 0 0,0 0 15,26-13 16,-13 0-32,0-1-15,13 1 0,-13 0 16,0 0-16,14-14 16,-28 40 30,1 14-30,13-14-16,-13 40 16,13-40-16,0 14 0,0-1 15,0-13-15,0 14 0,0-14 16,13 0-16,0 40 16,-13-40-16,14 14 15,-14-14 1,0 0-1</inkml:trace>
  <inkml:trace contextRef="#ctx0" brushRef="#br0" timeOffset="96395.3">17582 12965 0,'0'0'0,"0"26"47,-14-13-47,14 1 16,0-1-16,-13 26 0,0 28 15,13-54-15,0 0 16,0 0-16,0 27 0,0-14 16,-13-12-1,13-1 1,0 0 0,-27-13 15,14 13-31,-14 1 15,14-1-15,0-13 16,13 13-16,0 0 16,-13-13-1,26 13-15,0-26 16,0 13-16,1 0 16,-1 0-16,13-13 15,14 0-15,-40 0 0,27-1 16,-14 14-16,0-13 15,0 13 1,0 13 0,-13 1-1,14-1-15,-14 0 0,0 0 16,0 0 0,-14 1-16,28-14 31</inkml:trace>
  <inkml:trace contextRef="#ctx0" brushRef="#br0" timeOffset="96510.89">17754 13176 0,'0'-13'16,"-14"0"0,1 0 15</inkml:trace>
  <inkml:trace contextRef="#ctx0" brushRef="#br0" timeOffset="97200.23">17873 13216 0,'0'26'46,"0"-12"-46,0-1 16,0 0-16,0 0 0,0 1 16,0-1-1,0 0-15,13-13 16,13 0 0,-26-13-1,14 13-15,-1-13 16,0-1-16,0 14 15,0-13 1,1 13-16,-1 0 16,-13-13-1,13 13-15,0 0 16,1 0 0,-14-13-1,13 13 1,0 0-1,0 13 1,-13 0-16,14 0 16,-14 1-16,0-1 0,0 0 15,0 0-15,-14 27 16,1-40 0,13 13-16,-26 14 0,12-27 15,1 13-15,-13 0 16,-1-13-1,14 0-15,0 0 16,13-13 0,13 0-1</inkml:trace>
  <inkml:trace contextRef="#ctx0" brushRef="#br0" timeOffset="97408.52">18732 13163 0,'-26'40'16,"0"-14"-1,-1 1-15,1-1 0,-1-13 16,-26 40-16,14-26 16,-1-1-16,13 1 0,-12-14 0,12 13 15,1 1-15,13-14 0,-1 0 16</inkml:trace>
  <inkml:trace contextRef="#ctx0" brushRef="#br0" timeOffset="97567.58">19050 13335 0,'-26'26'0,"52"-52"0,-92 79 16,53-40-16,-14 0 0,1 14 0,-40 13 15,26-1-15,-53 14 16,54-26-16,-1 12 0,-26 1 16,39-14-16</inkml:trace>
  <inkml:trace contextRef="#ctx0" brushRef="#br0" timeOffset="109114.19">6191 9062 0,'13'13'0,"1"0"16,-1 1-16,13-1 0,1 0 0,39 27 16,-13-14-16,-13 1 15,13-1-15,-1 1 0,-12-14 0,53 40 16,-40-27-16,92 40 16,-105-52-16,0 12 15,26 1-15,-27-14 0,1 13 16,-13-13-16,-1 1 0,0-14 15,1 26-15,-14-26 0,0 13 16,1-13-16,-1 14 0,0-14 16,0 0-1</inkml:trace>
  <inkml:trace contextRef="#ctx0" brushRef="#br0" timeOffset="109406.54">7250 9379 0,'13'-13'15,"0"26"-15,0 1 0,0-14 16,14 26-16,-14-13 15,14 14-15,26 13 16,-40-27-16,26 26 0,-25-25 16,12 25-16,-13-25 15,-13-1-15,14 0 0,-14 0 16,0 1-16,-27 12 0,14-13 16,-14 0-16,-65 40 15,52-39-15,-79 25 16,0-26-1,93 1-15</inkml:trace>
  <inkml:trace contextRef="#ctx0" brushRef="#br0" timeOffset="111834.78">13772 939 0,'-14'13'16,"14"1"-16,0-1 15,0 13-15,0-12 0,0 12 0,0 27 16,-13-27-16,13 1 15,0 13-15,0-14 0,0-13 0,-13 27 16,13-27 0,0 14-16,0-14 15,0 0-15</inkml:trace>
  <inkml:trace contextRef="#ctx0" brushRef="#br0" timeOffset="112155.32">13679 939 0,'13'-13'0,"0"13"0,1-13 15,-1 13-15,0 0 16,27 0-16,-14 0 0,1 13 15,12 0-15,-25 0 16,-1-13-16,0 0 0,0 14 16,1-1-16,-14 27 0,-14-27 15,-25 27-15,25-27 16,-12 13 0,-1-13-16,14 1 0,-13-1 15,13-13-15,-14 13 16,14-13-1</inkml:trace>
  <inkml:trace contextRef="#ctx0" brushRef="#br0" timeOffset="112515.06">14208 661 0,'-26'27'15,"26"-14"-15,-14 14 16,-25 78-16,12-52 16,14 0-16,-27 40 15,27-27-15,-13 106 16,26-132-16,0 92 15,13-92-15,-13-14 0,13 1 16,0-1-16,14 14 16,-27-27-16,13 0 0,0-13 15,1 13-15,12-13 16,-26-13-16,26 13 16,-12-13-16,-1 13 15,0-13-15,0 0 16,1 13-16</inkml:trace>
  <inkml:trace contextRef="#ctx0" brushRef="#br0" timeOffset="113630.21">14367 1019 0,'0'-14'32,"0"54"-17,0-27-15,0 1 16,0 25-16,-13-26 0,13 27 15,0-13-15,0-1 16,-14 27-16,14-40 16,0 0-16,-13 14 0,13-1 15,0-12 1,0-1-16,0-40 31,13-12-15,-13 12-16,14 14 15,-14-13-15,13-14 0,13-53 16,-26 67-16,27-40 16,-27 52-16,13-12 15,-13 13-15,13-1 16,0 14 0,14 0-16,-27 14 0,26 25 15,-26-12 1,14-1-16,-14 1 15,0-14-15,13 27 0,-13-27 16,0 40-16,0-27 16,0-12-16,0 12 0,0 0 15,0-12-15,-13-1 16,13 0-16,0 0 31</inkml:trace>
  <inkml:trace contextRef="#ctx0" brushRef="#br0" timeOffset="113814.34">14340 1244 0,'27'0'16,"-14"0"-1,0 0 1,14 0-16,-14 0 0,0 0 16,0 0-16</inkml:trace>
  <inkml:trace contextRef="#ctx0" brushRef="#br0" timeOffset="114051.62">14737 1191 0,'14'26'32,"-14"-13"-17,0 1-15,13 38 16,-13-38-16,0 12 16,0-13-16,0 14 15,0-14 1,0 0-16,0 1 15</inkml:trace>
  <inkml:trace contextRef="#ctx0" brushRef="#br0" timeOffset="114655.65">15134 807 0,'0'-13'0,"0"26"0,0 13 31,0-12-31,13 12 16,-13 1-16,0 12 0,0-12 0,14 52 16,-14-39-16,0-1 15,0 14-15,0-13 0,-14-13 16,14 39-16,0-53 16,-13 40-1,0-27 1,26-12-1</inkml:trace>
  <inkml:trace contextRef="#ctx0" brushRef="#br0" timeOffset="114916.14">15425 1032 0,'0'0'0,"0"13"31,0 14-31,0-1 16,-13 27-1,13-40-15,-13 27 0,0 0 16,-1 12 0,14-38-1,0-1-15,0 0 16</inkml:trace>
  <inkml:trace contextRef="#ctx0" brushRef="#br0" timeOffset="115733.85">15399 1111 0,'13'-13'157,"-13"0"-157,13 13 15,0-13-15,1 13 16,-1 0 0,0 0-16,0 0 15,-13 13-15,0 0 16,0 0-16,-13 14 15,0-27 1,13 13-16,0 0 16,0 0-1,13-13-15,0 14 16,1-14-16,-1 13 16,0-13-16,27 26 0,-14 1 31,-26-14-31,-13 0 15,0 0-15,0-13 16,-1 14-16,-25-1 16,12 0-16,14-13 0,-14 0 15,14 0-15,0 0 0,0 0 16,0 0-16,13-13 16</inkml:trace>
  <inkml:trace contextRef="#ctx0" brushRef="#br0" timeOffset="116000.54">15610 833 0,'27'-13'0,"-14"26"16,14 1-1,-14-1-15,26 13 0,-25 1 0,12-1 16,1 27-1,-1 66 1,-26-92-16,0 12 16,0-25-16,0 12 0,-13 14 15,0-14-15,-1 1 16,1-1-16</inkml:trace>
  <inkml:trace contextRef="#ctx0" brushRef="#br0" timeOffset="116278.31">16312 1124 0,'26'0'16,"-13"-13"-16,40 13 16,-40 0-16,14 0 0,13 0 15,-27-13-15,0 26 16,13-13-16</inkml:trace>
  <inkml:trace contextRef="#ctx0" brushRef="#br0" timeOffset="116468.61">16338 1257 0,'26'0'16,"-12"0"-16,-1 0 15,27 0-15,-27 0 16,40-13 0,-40 13-16,0 0 0,0 0 15,1 0-15,-1-14 16</inkml:trace>
  <inkml:trace contextRef="#ctx0" brushRef="#br0" timeOffset="117063.36">19368 503 0,'0'39'31,"0"-25"-15,-14-1-16,14 0 0,0 27 16,0-14-16,-13 27 15,13-26-15,0-14 0,-13 13 16,13-12-16,0 25 15,0-26-15,0 1 16</inkml:trace>
  <inkml:trace contextRef="#ctx0" brushRef="#br0" timeOffset="117394.78">19301 476 0,'14'-26'16,"-28"52"-16,41-52 0,-14 26 0,0 0 15,14 0 1,-14 13-16,0 0 0,27 14 15,-40-14-15,26 13 16,-26-12-16,0 25 16,0-25-1,-26 25-15,13-26 16,13 1-16,-14-14 0,1 13 0,-13 13 16,13-26-16,-1 0 15,1 14-15,0-14 16</inkml:trace>
  <inkml:trace contextRef="#ctx0" brushRef="#br0" timeOffset="117678.57">19751 397 0,'-13'26'31,"13"-12"-31,-13 38 16,-1-25-16,1-1 0,-13 67 15,13-40 1,-1-27-16,14 1 16,0 39-16,14-40 15,-1 27-15,0-39 16,-13-1-16,13 0 0,0 0 15,1-13-15,12 13 16,14-13-16</inkml:trace>
  <inkml:trace contextRef="#ctx0" brushRef="#br0" timeOffset="118191.33">19976 635 0,'0'-13'31,"0"39"-31,-13 1 16,13-1-16,0 1 16,-13-1-16,13 14 15,-14-14 1,14 1-16,0-14 15,0 0-15,0 0 16,0 1 0,14-41-1,-14 1 1,13-1-16,-13-12 16,13 12-16,-13 1 0,13-1 0,0-39 15,-13 53-15,14-27 16,-1 27-16,-13 0 15,0-1-15,13 14 16,0 0-16,1 27 16,-1-14-16,-13 0 0,13 14 15,0-14-15,-13 13 16,14 1-16,-14-14 16,13 27-16,-13-27 0,0 0 15,0 1-15,0 12 16,0-13-1,0 0-15,0 1 16</inkml:trace>
  <inkml:trace contextRef="#ctx0" brushRef="#br0" timeOffset="118375.22">19950 794 0,'26'0'47,"-13"0"-47,0 0 0,14 0 16,-1 0-16,-12 0 16,12 0-16</inkml:trace>
  <inkml:trace contextRef="#ctx0" brushRef="#br0" timeOffset="118574.43">20294 741 0,'13'13'31,"-13"0"-15,0 14-1,-13-27-15,13 39 16,0-25-16,0-1 15,13 0 1,-13 0 0</inkml:trace>
  <inkml:trace contextRef="#ctx0" brushRef="#br0" timeOffset="118895.05">20439 357 0,'40'0'16,"-27"13"-1,0-13-15,14 14 0,12 25 16,-12-12-16,13 26 15,-14 0-15,-13-14 16,0-12-16,-13-1 0,14 27 16,-28-26-16,1 39 15,-13-13 1,13-40 0,-1-13-16,1 40 15,0-40 1</inkml:trace>
  <inkml:trace contextRef="#ctx0" brushRef="#br0" timeOffset="119534.62">21233 529 0,'0'13'32,"0"1"-32,0-1 15,0 0-15,0 27 0,0-14 16,0-13-16,0 27 16,0-27-16,0 1 0,0-1 15,-13 0-15,13 14 16,0-14-16,0 0 0,0 0 15</inkml:trace>
  <inkml:trace contextRef="#ctx0" brushRef="#br0" timeOffset="119905.63">21220 476 0,'0'-13'16,"0"26"-16,0-39 0,13 13 16,0 13-16,13-14 15,-26 28-15,14-14 16,-1 0-16,13 13 15,-26 0-15,14 0 0,12 14 16,-26-14-16,0 0 0,0 14 16,0-14-1,-13 0-15,13 0 0,-13 1 0,-1-1 16,1 0-16,0-13 0,0 13 16,-1-13-16,1 0 0,0 0 15</inkml:trace>
  <inkml:trace contextRef="#ctx0" brushRef="#br0" timeOffset="120191.71">21749 344 0,'0'0'0,"-27"26"32,14-12-32,-27 52 15,27-40-15,-40 67 16,27-67-16,13 14 16,-1-14-16,1 27 15,13-39-15,0-1 16,0 27-16,13-27 15,1 0-15,-1 0 16,40 0-16,-27-13 16,-13 0-16,14 0 0</inkml:trace>
  <inkml:trace contextRef="#ctx0" brushRef="#br0" timeOffset="120504.59">22079 476 0,'-26'66'15,"26"-52"1,-13 12-16,13-13 0,-13 53 15,-1-52-15,14-1 16,-13 27-16,13-27 16,0 0-16,0 0 0,-13 1 0,13-1 15,0 0-15,0 0 16,0 0 0</inkml:trace>
  <inkml:trace contextRef="#ctx0" brushRef="#br0" timeOffset="121353.84">22079 503 0,'27'-14'15,"-14"14"-15,0 0 0,14 0 16,-14 27 0,-13-14-1,0 0-15,-13 1 16,0-1-16,-1 0 0,1 0 15,0 1-15,0-14 0,13 13 16,-14-13-16,14 13 16,0 0-1,14-13-15,-14 13 0,13 1 16,13-1-16,-26 0 16,14 0-16,-1 1 15,-13-1-15,0 0 16,0 0-16,-13 1 15,13-1-15,-14-13 0,1 13 0,-13 0 16,-14 0 0,27-13-16,0 0 0,-1 14 15,1-14-15,0-14 16</inkml:trace>
  <inkml:trace contextRef="#ctx0" brushRef="#br0" timeOffset="121606.45">22463 370 0,'13'-13'0,"-26"26"0,40-13 31,-27 14-31,0-1 16,0 13-16,0 1 15,0-14-15,0 40 16,-14-27-16,14 1 0,0 13 15,0-14-15,-13 27 16,13-27-16,-13 14 16,26-27-16,-13 14 15,13-14-15,1-13 16,-14 13-16,13-13 0</inkml:trace>
  <inkml:trace contextRef="#ctx0" brushRef="#br0" timeOffset="122104.39">22820 582 0,'-13'66'15,"13"-39"1,-13-14-16,13 0 0,0 14 16,-13-14-16,13 0 15,-14 0-15,14 1 16,14-41 15,-14 14-15,26-40-16,-13 26 0,-13 14 15,14-13-15,-1 13 16,-13-1-16,26-12 0,-26 13 16,13 13-16,-13-14 0,14 14 15,-1-13-15,0 26 16,0 1-16,-13-1 15,14 0-15,-14 14 16,13-14-16,0 13 16,-13-13-16,0 1 0,0 12 15,0 1 1</inkml:trace>
  <inkml:trace contextRef="#ctx0" brushRef="#br0" timeOffset="122270.42">22820 728 0,'40'0'16,"-14"0"0,-12 0-1,-1 0-15,27 0 16</inkml:trace>
  <inkml:trace contextRef="#ctx0" brushRef="#br0" timeOffset="122479.5">23257 648 0,'13'13'15,"-26"40"17,13-39-32,0-1 15,0 0-15,-13 0 0,13 1 16</inkml:trace>
  <inkml:trace contextRef="#ctx0" brushRef="#br0" timeOffset="122787.64">23495 53 0,'26'13'15,"-52"-26"-15,52 39 0,-12 1 0,-1-14 0,0 27 16,14 26-16,-14-26 0,0-14 16,0 14-16,1-1 0,-14 14 15,13 27-15,-13-54 16,0 14-16,-13 26 0,-1-40 0,14 1 16,-13-1-16,13 1 0,-13-14 15,13 0-15,-27 14 16,27-14-16,-26 13 0,13-12 15,-1-14-15,14 13 0</inkml:trace>
  <inkml:trace contextRef="#ctx0" brushRef="#br0" timeOffset="123632.18">18746 1204 0,'26'0'15,"-13"-13"-15,14 13 0,65 0 16,-12-14-16,158 1 16,-145 13-16,264-26 15,-225 12-15,0 14 16,159-13-16,-158 13 16,158-13-16,-146 13 15,1 0-15,132 0 0,-133 0 16,-13 0-16,80 0 0,-106 0 15,0 0-15,185-13 16,-212 13-16,53-13 16,-79 13-16,53-14 15,-79 1-15,-1 13 0,1 0 16,-14-13-16,0 13 0</inkml:trace>
  <inkml:trace contextRef="#ctx0" brushRef="#br0" timeOffset="124175.92">20386 1455 0,'-13'-13'16,"26"26"-16,-26 0 16,13 1-1,0 12-15,-13 27 16,13-40-16,0 14 0,0 12 16,-14-25-16,14 12 0,0 1 15,0-14-15,0 13 16,0-13-1,0 1-15</inkml:trace>
  <inkml:trace contextRef="#ctx0" brushRef="#br0" timeOffset="124436.21">20346 1416 0,'0'-14'0,"14"14"0,25 0 32,-25 0-32,12 14 15,-13-1-15,14 13 16,-27-13-16,13 14 16,-26-14-16,0 14 15,-27-1 1,27-13-16,-14 1 15,14-14-15,13 13 16,-13-13-16,-1 13 0</inkml:trace>
  <inkml:trace contextRef="#ctx0" brushRef="#br0" timeOffset="124703.6">20876 1323 0,'-27'13'15,"27"0"-15,-13 14 16,0-14-16,-14 14 0,-12 39 16,25-40-16,1 1 0,0-1 15,-14 27-15,14-13 16,13-27-16,0 13 0,0 14 15,13-27-15,1 0 16,-1 1-16,0-14 0,0 0 16,27 13-16,-27-13 0,14-13 15</inkml:trace>
  <inkml:trace contextRef="#ctx0" brushRef="#br0" timeOffset="124934.65">21114 1521 0,'13'-26'0,"-26"52"0,26-65 15,-39 65 17,26-13-17,0 1-15,-14 12 16,14-13-16,0 14 0,-13 12 16,13-25-16,0-1 0,0 0 0,-13 27 15,13-27-15,0 0 16,0 0-16,13 1 15,-13-1-15</inkml:trace>
  <inkml:trace contextRef="#ctx0" brushRef="#br0" timeOffset="125806.47">21127 1495 0,'13'-27'31,"0"27"-15,1 0 0,-1 0-16,0 0 15,0 14-15,1-1 16,-14 0 0,13 0-16,-13 1 31,13-1-16,0-13-15,0 13 16,1-13-16,-14 13 16,13-13-16,-13 14 0,13-14 0,0 26 15,-13-13 1,0 0-16,-13 1 16,0-1-16,13 0 15,-13-13-15,-1 13 0,1-13 0,0 14 16,-13-1-16,12-13 0,1 0 15,0 0-15,13 13 16,-13-13-16,-1 13 0</inkml:trace>
  <inkml:trace contextRef="#ctx0" brushRef="#br0" timeOffset="129367.26">21286 1217 0,'26'27'31,"-13"-1"-31,1-13 0,12 14 16,-13-1-16,14 1 0,-1-1 0,1 1 15,-14-1-15,13 0 0,-12 1 16,-1 13-16,0-14 0,-13-13 16,13 27-16,-13-27 15,0 0-15,-13 27 0,0-27 16,0 1-16,-1-1 0,1 0 16,0 0-16,0 0 0</inkml:trace>
  <inkml:trace contextRef="#ctx0" brushRef="#br0" timeOffset="132519.37">21087 1707 0,'0'-14'125,"0"1"-94,0 0-15,14 0-1,-14-1 1,0 1-16,0 0 16,0 0-1,0 0-15,13-1 16,-13 1 0,0 0-16,0 0 15,0-1-15,0-12 16,0 13-16,13-14 15,-13 14 1,0 0-16,0 0 16,0-1-16,0 1 15,0 0 1,0 0 0,0-1-16,0 1 15,13 13 1,-13-13-16,13 13 15,-13-13-15,14 13 16,-1 0 0,0 0-1,0 0-15,1 0 16,-1 13 0,0 0 15,-13 0-16,0 1 1,0-1-16,-13 0 16,13 0-1,-13 1 1,13-1 0,-14-13-16,1 0 15,13 13-15,-13-13 16,13 13-16,-13-13 15,-1 13 1,1-13-16,13 14 16,-13-14-1,0 13 1,0-13 0,13 13 46,26-26 32,-13 13-79,0 0 1,1 0 0,-1 0-16,0 0 15,0 0-15,1 0 0,-1 0 16,0 13 0,0-13-16,0 0 15,1 0-15,-1 0 16,0 13-1,0-13 1,1 0-16,-1 14 16,0-14-1,-13 13 1,13-13-16,1 13 31,-14 0-15,0 1-1,13-1-15,-13 0 32,0 0-32,0 0 31,-13 1-15,-1-14-1,14 13-15,-13-13 16,0 0-16,13 13 15,-13-13-15,-1 13 0,1-13 16,0 0-16,0 14 16,-1-14-16,1 13 15,0-13-15,0 0 0,0 0 16,-1 13-16,1-13 0,0 0 16,0 13-16,-1-13 15,1 13-15,0-13 0</inkml:trace>
  <inkml:trace contextRef="#ctx0" brushRef="#br0" timeOffset="134571.15">19632 3400 0,'40'0'16,"-14"0"-1,27-13-15,53 13 0,-27 0 16,-13-14-16,106 1 0,-92 13 16,12-13-16,80 0 15,-92 13-15,-1 0 0,1-13 16,-14 13-16,-13 0 0,52-14 16,-65 14-16,0 0 0,-14 0 0,14-13 15,-27 13-15,0 0 16,1 0-16,-1 0 0,-40 13 31,14-13-15,0 0-16,0 14 0</inkml:trace>
  <inkml:trace contextRef="#ctx0" brushRef="#br0" timeOffset="134943.24">20333 3664 0,'0'27'31,"0"-14"-31,-13-13 0,13 13 16,0 1-16,0-1 0,0 0 15,0 0-15,-13 1 0,13-1 16,13 0 0</inkml:trace>
  <inkml:trace contextRef="#ctx0" brushRef="#br0" timeOffset="135263.42">20532 3678 0,'0'0'0,"0"26"47,0-13-47,0 1 15,0-1-15,13-13 16,0 13-16,0 0 0,1-13 16,-1 14-16,0-14 0,0 0 15,1-14 1,-1 1-1,-13 0 1,0 0-16,0-1 0,-13 14 16,13-13-16,-14 13 15,14-13-15,-13 13 0,0 0 16,0 0-16,-14-13 16,27 26-16</inkml:trace>
  <inkml:trace contextRef="#ctx0" brushRef="#br0" timeOffset="135546.88">20730 3651 0,'13'13'0,"-26"-26"0,13 40 16,13-14 0,-13 0-16,0 0 15,14 1-15,-1-1 16,0-13-1,0 0-15,0 13 0,1-13 0,-1 0 16,0-13 0,0 13-16,1-13 0,-14-1 15,0 1 1,0 0-16,-14 0 16,1-1-16,0 1 15,0 13 1,-1 0-16</inkml:trace>
  <inkml:trace contextRef="#ctx0" brushRef="#br0" timeOffset="135745.87">21087 3585 0,'14'-13'16,"-28"26"-16,41-26 15,-14 26 1,-13 0-16,-13 1 15,13-1-15,0 0 16,-13 0-16,-1 14 16,14-14-16,-13 13 15,0-12-15,0-1 0,13 0 16,-14 0-16,14 1 0,-13-14 16,13 13-16</inkml:trace>
  <inkml:trace contextRef="#ctx0" brushRef="#br0" timeOffset="135865.85">20968 3704 0,'-13'-13'0,"13"0"15,-13 13 1,26-14 0</inkml:trace>
  <inkml:trace contextRef="#ctx0" brushRef="#br0" timeOffset="136015.17">21220 3731 0,'13'0'15,"0"0"17</inkml:trace>
  <inkml:trace contextRef="#ctx0" brushRef="#br0" timeOffset="140254.63">15280 10954 0,'26'-13'15,"-13"13"1,1 0-16,-1-14 0,0 14 15,0 0-15,1 0 0,-1 0 16,26 0-16,-25-13 0,-1 13 16,27 0-16,-27 0 0,0 0 15,0-13-15,1 13 16,-1 0-16,-13 13 16,0 0-16</inkml:trace>
  <inkml:trace contextRef="#ctx0" brushRef="#br0" timeOffset="141158.42">15200 11086 0,'27'0'15,"-14"0"-15,27 0 16,-27 0-16,0 0 0,14-13 15,-14 13-15,0 0 16,14 0-16,-14 0 0,0 0 16,0 0-16,14-13 15,-14 13 1,0 0-16,0 0 16,1 0 15,-1 0 0,0 0 78,-39 0 391</inkml:trace>
  <inkml:trace contextRef="#ctx0" brushRef="#br0" timeOffset="145151.1">20042 10967 0,'27'-13'31,"-14"13"-15,0 0-16,0 0 15,1 0-15,-1 0 0,0 0 16,0 0-16,0 0 0,14 0 16,-14 0-16,0 0 0,14 0 15,-14 0 1,0 0-16</inkml:trace>
  <inkml:trace contextRef="#ctx0" brushRef="#br0" timeOffset="145531.53">20082 11033 0,'40'-13'31,"-14"13"-31,0 0 16,-12-13-1,-1 13-15,13 0 16,-12 0-16,-1 0 16,0 0-16,0 0 15,1 0 1,-1 0 15</inkml:trace>
  <inkml:trace contextRef="#ctx0" brushRef="#br0" timeOffset="160291.73">20783 1945 0,'-13'0'62,"0"0"-46,-1 0 0,1 0-16,0 0 0,0 0 15,-1 13-15,1-13 0,-13 0 16,13 0-16,-14 13 0,1-13 15,-1 0-15,-13 13 0,-52 1 16,39-14-16,13 0 0,-119 26 16,107-26-16,-1 13 0,-14-13 15,15 0-15,-15 14 0,-65-1 16,66-13-16,-13 0 0,-67 13 16,67-13-16,-1 13 0,-78-13 15,65 13-15,0-13 16,1 0-16,-1 0 0,1 0 0,-107 14 15,107-14-15,-14 0 16,13 0-16,-105 0 0,105 0 16,-13 0-16,0 0 0,14 0 15,-14 0-15,0 0 0,14-14 0,-1 14 16,0 0-16,-105 0 0,105 0 16,1 0-16,-94-13 0,94 13 15,-1 0-15,1 0 16,-1 0-16,0 0 0,-92-13 15,106 13-15,-14 0 0,1 0 0,-67 0 16,66 0-16,14-13 0,0 13 16,12 0-16,-12 0 0,-67 0 15,67 0-15,13-13 0,-172 13 16,106 0 0,-14 0-16,14 0 15,79 0-15,-132 0 16,132 0-16,0 0 15,0 0-15,0 0 0,-13 0 0,13 0 16,-40 13-16,40-13 16,-39 0-16,52 0 0,0 0 15,-39 13-15,39-13 0,1 0 16,-54 13-16,40-13 16,13 0-16,1 13 0,-14-13 15,13 0-15,0 14 0,1-14 0,-1 13 16,0-13-16,-52 13 15,65 0-15,1-13 0,-1 14 16,1-14-16,-1 13 0,-39 0 16,40-13-16,-14 13 0,1 0 0,12-13 15,-13 14-15,1-1 0,12 0 0,-12 0 16,-1 1-16,13-1 0,-12 0 16,-1 0-16,14 1 0,-14 12 0,-26 0 15,39-12-15,-12 12 0,-14 1 16,26-14-16,-12 13 15,25-12-15,-12-1 0,-1-13 16,-12 26-16,12-13 0,1 1 16,-14-1-16,27 0 0,-14 0 15,14 1-15,-13-1 0,12 0 16,1-13-16,13 13 0,-13-13 16,0 14-16,0-14 0,-1 13 15,1-13 1</inkml:trace>
  <inkml:trace contextRef="#ctx0" brushRef="#br0" timeOffset="160978.34">11271 2500 0,'-26'27'32,"13"-14"-32,-1 0 15,1 0-15,0 1 0,0-1 0,-27 13 16,27-12-1,-1-1-15,-25 13 0,39-12 16,-40 12-16,40-13 16,-13 0-16,13 1 0,-13-14 15,13 13-15,0 0 16,13 0-16,0 1 16,0-1-16,14-13 0,-14 13 15,13-13-15,-12 0 16,12 13-16,1-13 0,26 14 15,-27-14-15,53 13 16,-52-13-16,-1 0 0,-12 13 0,12-13 16,-13 0-16,0 0 0,14 13 15,-14-13-15,0 0 0,1 0 16,-1 13-16,0-13 16,0 0-16,1 0 15,-1 0 1</inkml:trace>
  <inkml:trace contextRef="#ctx0" brushRef="#br0" timeOffset="163034.85">2884 3307 0,'0'-13'16,"-13"53"31,13-27-47,0 0 0,-13 14 0,13-14 15,-14 40-15,1-40 0,13 13 16,-13 1-16,13-14 0,0 0 16,-13 14-16,13-14 0,0 0 0,-14 1 15,14-1-15,0 0 0,0 0 16,-13 0-16,13 1 15,-13-41 17,13 14-32,0 0 15,0 0-15,0-1 0,0-12 0,13-1 16,-13 1-16,0-1 0,0 1 0,13-14 16,-13 14-16,0 13 0,14-1 15,-14 1-15,13 0 0,0-13 16,0 26-16,1-14 15,-1 14-15,0 0 0,0 0 0,0 14 16,1-14-16,-1 13 0,0 0 16,0 0-16,-13 0 0,0 1 15,0 12-15,0-13 0,-13 1 16,13-1-16,-13 0 0,0 0 16,-14 14-16,14-14 15,0-13-15,-14 13 0,14 0 16,0-13-16</inkml:trace>
  <inkml:trace contextRef="#ctx0" brushRef="#br0" timeOffset="163290.78">3215 3268 0,'-27'13'31,"14"0"-31,13 0 16,-40 40-16,27-26 0,0 12 15,-14 14-15,14-26 0,13-1 16,-13 14-16,13-27 16,0 27-16,0-27 0,0 0 15,0 0-15,13 14 0,0-14 16,1 0-16,-1-13 0,0 0 15,0 0-15</inkml:trace>
  <inkml:trace contextRef="#ctx0" brushRef="#br0" timeOffset="163719.01">3413 3479 0,'0'0'0,"13"-13"0,-13 0 15,-13 39 16,13-13-31,-13 14 16,13-14-16,-13 0 16,13 14-16,0-14 0,-14 0 0,14 1 15,0 12-15,-13-13 0,13 0 0,0 1 16,0-1-16,0 0 16,0 0-1,27-39 1,-27 13-1,0-1-15,13-12 0,0 0 16,0-14-16,1 13 0,-1 1 16,0-1-16,-13 1 0,13 13 0,0 0 15,-13-1-15,14 1 0,-14 0 16,13 13-16,0 0 16,0 0-16,1 26 15,-1-12-15,-13-1 0,13 0 0,-13 0 16,13 0-16,-13 1 0,0-1 15,0 0-15,0 0 0,14 1 16,-14-1-16,0 0 0,0 0 0,0 1 16,0-1-16,0 0 15,0 0-15</inkml:trace>
  <inkml:trace contextRef="#ctx0" brushRef="#br0" timeOffset="164042.06">3413 3598 0,'-13'-13'32,"39"26"-1,-12-13-31,-1 0 16,0 0-16,0 0 0,14 0 0,-1 0 15,-13 0-15,1 0 16,-1 0-16,0 0 0,0 0 0,14-13 15,-14 13-15,0 0 16,0 0-16,1 0 16,-1 13-1,-13 1 1,0-1 0,0 0-1,-13 0-15,13 0 16,13 1-1</inkml:trace>
  <inkml:trace contextRef="#ctx0" brushRef="#br0" timeOffset="164318.94">3836 3268 0,'27'13'31,"-1"0"-31,1 14 0,-14-14 0,14 13 16,25 27-16,-38-26 0,-1 12 16,13 1-16,-12-14 0,-14-12 15,0 12-15,-14 14 0,1-14 16,-27 40-16,14-39 0,0-1 15,-54 27-15,67-40 16,0-13-16,-14 14 16,14-14-16,0 13 0</inkml:trace>
  <inkml:trace contextRef="#ctx0" brushRef="#br0" timeOffset="165051.32">4498 3228 0,'0'-13'31,"-13"26"-31,13 27 16,-14-14-16,1 1 0,0 52 15,13-39-15,-13-14 16,13 0-16,0 1 0,0-1 0,0-12 16,13 25-16,-13-12 15,13-14-15,0 13 0,1-12 16,-1-1-16,-13 0 0,13-13 15,0 0-15,14 13 0,-14-13 16,14 0-16</inkml:trace>
  <inkml:trace contextRef="#ctx0" brushRef="#br0" timeOffset="165669.57">4842 3307 0,'-13'14'31,"-1"12"-15,1-13-16,13 14 0,-13 12 16,0-12-16,13-1 0,-14-13 0,14 14 15,0-14-15,-13 0 0,13 1 16,0-1-16,0 0 0,0 0 0,-13-13 15,13 14-15,0-1 16,0 0-16,0 0 16,-13-26 93</inkml:trace>
  <inkml:trace contextRef="#ctx0" brushRef="#br0" timeOffset="166482.12">4194 3466 0,'0'-13'31,"-14"39"-15,14-13-16,0 14 15,-13-14-15,13 0 0,-13 27 16,13-27-16,0 27 16,-13-27-16,13 0 0,0 1 15,0-1-15,0 0 0,0 0 16,-13 1 0,13-41 15,0 14-31,0 0 15,0-1-15,0-12 0,0 0 0,13-14 16,0-66 0,-13 66-16,13-13 0,0 27 15,1 13-15,-1-14 16,0 14-16,0 0 0,1 13 16,-1 0-16,13 0 0,-26 13 15,13-13-15,-13 13 0,14 14 16,-14-14-1,0 0-15,0 14 0,-14-14 0,14 0 16,-26 14-16,26-14 0,-26 0 16,26 0-16,-14-13 0,14 13 15,0 1 1</inkml:trace>
  <inkml:trace contextRef="#ctx0" brushRef="#br0" timeOffset="167061.18">4776 3387 0,'0'-14'0,"53"1"31,-40 13-31,0 0 0,0 13 16,1-13-16,-1 0 0,-13 14 15,13-14-15,-13 13 0,0 13 16,-13-26-16,0 27 16,-1-14-16,1 0 15,13 0 1,27 1 15,-14-14-31,0 0 0,13 13 16,-12-13-16,-1 13 0,0 0 15,0 1 1,-13-1-16,-13 0 16,13 0-16,-13-13 0,13 14 15,-40-1-15,27 0 0,0 0 16,0-13-16,-1 0 0,1 13 15,0-13-15,0 0 0,-1 0 16</inkml:trace>
  <inkml:trace contextRef="#ctx0" brushRef="#br0" timeOffset="167307.6">5331 3241 0,'0'-13'15,"0"39"-15,0-12 32,-13 118-32,0-92 15,-14 12-15,1 41 31,26-66-31,-13-1 0,13 0 16,-13-12-16,13-1 16</inkml:trace>
  <inkml:trace contextRef="#ctx0" brushRef="#br0" timeOffset="167685.17">5636 3704 0,'0'0'16,"0"-26"-1,0 12 1,0 1-16,13-13 0,-13 13 15,0-14-15,13 1 0,-13-1 16,13 1-16,1-27 0,-14 26 16,13 14-16,0-13 0,-13 12 15,13 1-15,0 0 16,1 13-16,-1 13 16,0 0-16,-13 1 0,13-1 15,-13 0-15,14 0 0,-14 1 0,13-1 16,-13 13-16,0-13 0,13 14 15,-13-1-15,-13-12 0,13 12 16,0-13-16,0 1 0,-13-1 16</inkml:trace>
  <inkml:trace contextRef="#ctx0" brushRef="#br0" timeOffset="168014.01">5622 3625 0,'-13'-13'31,"26"13"-15,14 0-1,-14-14-15,27 14 16,-27 0-16,13 0 0,-12 0 16,12-13-16,-13 13 0,27 0 15,-27 0-15,1 0 0,12-13 16,-13 13-16,0 0 15,1 0-15,-1 0 16,-13 13 0,0 0-16,0 1 15,0-1-15,0 0 16,0 0 0,0 0-16,0 1 15,13-14-15</inkml:trace>
  <inkml:trace contextRef="#ctx0" brushRef="#br0" timeOffset="168332.39">5993 3188 0,'53'13'16,"-40"1"-16,27 25 15,-14-12-15,1-1 0,25 40 16,-38-39-16,-1-1 0,13 40 16,-26-52-16,0 12 0,0 27 15,-13-40-15,0 27 16,-14 13-16,1-27 0,13 1 15,-27-1-15,27-12 0,0-1 16,-14 13-16,14-13 16</inkml:trace>
  <inkml:trace contextRef="#ctx0" brushRef="#br0" timeOffset="169113.38">6892 3254 0,'0'-13'0,"-13"40"16,13-14-16,-13 0 15,13 27-15,-13-14 0,13 1 16,-14-1-16,14-13 0,0 14 16,-13-1-16,13 1 0,0-14 0,0 0 15,-13 14-15,13-14 0,0 0 0,0 0 16,0 1-16,0-1 16</inkml:trace>
  <inkml:trace contextRef="#ctx0" brushRef="#br0" timeOffset="169346.12">6654 3466 0,'0'-13'16,"40"13"-1,-14 0-15,-12 0 0,12 13 16,1-13-16,-14 0 0,26 0 0,-12 0 15,-1 13-15,1-13 0,-1 0 16,14 0-16,-27 0 0,27 13 16,-14-13 15</inkml:trace>
  <inkml:trace contextRef="#ctx0" brushRef="#br0" timeOffset="170047.25">7646 3400 0,'0'0'15,"-13"13"1,13 0-16,-13 27 16,13-14-16,0 1 0,-13 13 15,13-14-15,-13 1 0,13-1 16,0-13-16,0 0 0,0 14 15,0-14-15,0 0 0,0 1 0,0-1 16,-14 0-16,14 0 16,0-39 15,0-1-31,0 14 16,0-13-16,0-1 0,14-52 15,-14 39-15,13 0 0,0 1 16,0-1-16,-13 14 0,27-14 15,-14 27-15,-13 0 0,26-1 16,-12 14-16,12 0 16,-13 14-16,-13-1 15,0 0-15,0 0 0,-13 27 16,13-27-16,-13 0 0,-14 27 16,14-27-16,-13 14 15,12-14-15,1 0 16,0 0-16,0-13 0,13 14 15,-13-14-15</inkml:trace>
  <inkml:trace contextRef="#ctx0" brushRef="#br0" timeOffset="170270.2">8057 3228 0,'-27'13'31,"14"0"-15,0 14-16,-14-1 0,14 1 0,-27 39 16,27-40-16,-27 40 15,27-26-15,0-27 0,0 40 16,13-39-16,0 12 0,-14 0 16,14-12-16,14-1 15,-14 0-15,0 0 0,13-13 0,0 14 16,0-14-16,-13 13 0</inkml:trace>
  <inkml:trace contextRef="#ctx0" brushRef="#br0" timeOffset="170695.98">8202 3532 0,'0'0'15,"-13"27"1,0-14-1,13 0-15,0 0 0,-14 14 16,14-14-16,-13 0 0,13 0 16,0 1-16,-13-1 0,13 13 15,0-12-15,0-1 16,-13-13-16,26-27 31,-13 14-15,0-13-16,13 12 0,-13-12 0,13-14 15,14-26-15,-14 26 16,0 1-16,1 26 0,-14-1 16,13-12-16,0 13 0,0 13 15,0 13 1,1 0-16,-14 0 16,13 1-16,-13 12 0,0-13 15,0 0-15,0 27 16,0-27-16,0 1 0,0-1 15,0 0-15,0 0 0,0 14 16,0-14-16,-13 0 0,13 0 16,0 1-16</inkml:trace>
  <inkml:trace contextRef="#ctx0" brushRef="#br0" timeOffset="170869.18">8189 3678 0,'-13'-14'15,"26"14"17,0 0-32,0-13 15,14 13-15,-1 0 16,-13 0 0,1 0-16,12 0 15</inkml:trace>
  <inkml:trace contextRef="#ctx0" brushRef="#br0" timeOffset="171145.05">8401 3625 0,'13'0'16,"-26"0"-16,39 0 0,-13 0 16,0 0-16,1 0 15,-1 13-15,0 0 16,0 0-16,-13 1 16,0-1-16,0 0 15,0 14 1,0-14-16,14 0 15,-14 0 1,13-13-16,0 0 0,0 0 16,0 0-16,1 14 0,-1-14 15,0 0-15,0-14 0,1 14 0,-1 0 16,0 0-16,14-13 0,-14 13 16,0-13-16,0 13 15,0-13-15,1-1 16</inkml:trace>
  <inkml:trace contextRef="#ctx0" brushRef="#br0" timeOffset="171595.39">8705 3188 0,'79'27'31,"-66"-1"-31,14 1 0,13 26 16,-14-14-16,-13 1 0,0-14 15,1 14-15,-14 0 0,13-1 0,-13-12 16,0-1-16,0 1 0,0 12 15,-13 14-15,-1-26 0,1-1 16,0 1-16,0-14 0,0 0 16,-1 0-16,14 1 15,-13-14-15</inkml:trace>
  <inkml:trace contextRef="#ctx0" brushRef="#br0" timeOffset="172463.92">9327 3215 0,'-14'13'16,"1"0"0,13 14-16,-13 39 0,0-13 15,-1-14-15,1 41 0,0-54 16,0 54-1,13-54-15,0 0 0,0 1 0,0-14 16,0 14-16,13-14 0,-13 13 16,13-12-16,-13-1 0,27 0 15,-14-13-15,0 13 0,0-13 16</inkml:trace>
  <inkml:trace contextRef="#ctx0" brushRef="#br0" timeOffset="173060.66">9274 3294 0,'13'-66'31,"0"53"-31,-13-1 0,27 1 0,-14 13 15,13-13-15,1 13 0,-1 13 16,-13-13-16,27 27 16,-27-14-16,1 0 0,12 40 15,-26-40-15,0 14 0,0 12 16,-13-25-16,0 12 0,-14 14 16,1-27-16,-14 13 15,13-12-15,14-1 0,-26 0 16,25-13-16,1 13 0,0-13 15,13-13 1</inkml:trace>
  <inkml:trace contextRef="#ctx0" brushRef="#br0" timeOffset="173326.17">9935 3109 0,'-93'66'31,"80"-40"-31,-13 1 0,-27 52 16,26-39-16,14 13 0,-13-13 0,13-1 16,-1-12-16,1 12 0,0 28 15,13-41-15,13 0 0,-13 14 16,13-13-16,1-14 0,12 13 15,-13-12-15,14-1 16,-1-13-16,-13 0 0,40 0 16,-26 0-16,-1-13 15</inkml:trace>
  <inkml:trace contextRef="#ctx0" brushRef="#br0" timeOffset="173569.21">10213 3387 0,'0'-14'15,"-13"28"17,-1-1-32,14 0 15,-13 14-15,0-14 0,13 0 0,-26 40 16,12-40-16,14 14 0,-26 12 16,13-25-16,-1 25 15,14-26-15,-13 1 0,0 12 16,13-13-16,0 1 15,0-1 1,26-26 0</inkml:trace>
  <inkml:trace contextRef="#ctx0" brushRef="#br0" timeOffset="174469.18">10041 3440 0,'26'-27'31,"-12"27"-31,-1 0 16,0 0-16,0 0 0,1 0 15,-1 0-15,-13 13 0,13-13 0,-13 14 16,0-1-1,0 0-15,-13 0 0,13 0 16,-13-13-16,13 14 16,13 12 15,-13-13-31,13-13 0,0 14 16,-13-1-16,13-13 0,-13 13 0,14 0 15,-14 1 1,0-1-16,-14 0 15,1-13-15,-13 26 0,13-26 16,-1 14-16,-12-14 0,13 13 16,-14-13-16,1 13 15,12-13-15,1 0 0,0 0 0,0 0 16</inkml:trace>
  <inkml:trace contextRef="#ctx0" brushRef="#br0" timeOffset="174709.8">10411 3294 0,'0'0'0,"14"0"0,-1 13 31,-13 1-31,0 12 0,-13-13 16,13 27-16,0-14 0,-14 1 15,14-1-15,-13-13 0,13 14 16,-13 26-16,0-40 15,13 0-15,-14 14 0,14-14 0,0 0 16,0 0-16,0 1 0,0-1 16,0 0-16,14-13 15</inkml:trace>
  <inkml:trace contextRef="#ctx0" brushRef="#br0" timeOffset="175093.36">10636 3731 0,'0'0'0,"13"-27"31,-13 14-31,14-14 16,-1 1-16,0 0 16,0-14-16,1 13 0,-1 1 15,0 13-15,-13-14 0,13 14 16,1 0-16,-14 0 0,13 13 0,-13-14 16,13 14-16,0 0 15,0 14-15,1-1 16,-14 0-16,0 0 0,13 14 15,0-14-15,-13 0 0,13 27 16,-13-27-16,0 0 16,0 1-16,0-1 0,0 0 15,0 0-15,0 0 0,-13-13 16</inkml:trace>
  <inkml:trace contextRef="#ctx0" brushRef="#br0" timeOffset="175266.14">10702 3651 0,'-13'0'0,"40"-13"47,-14 13-31,0 0-16,14 13 0,-1-13 16,-13 0-16,0 0 0,1 0 15,-1 0-15,0 0 0,14 0 16,-27 13-16</inkml:trace>
  <inkml:trace contextRef="#ctx0" brushRef="#br0" timeOffset="175574.99">11033 3651 0,'0'0'15,"27"0"1,-27 13-1,0 1-15,-14-1 16,1 0-16,13 0 0,-13-13 16,0 14-16,13-1 15,-14-13-15,1 13 16,13 0-16,13 1 16,1-14-1,-1 0 1,0 0-16,0 0 0,1 0 0,12 0 15,-13 0-15,0 0 0,14-14 16,-14 14-16,-13-13 0,13 13 16,1-13-16</inkml:trace>
  <inkml:trace contextRef="#ctx0" brushRef="#br0" timeOffset="175842.25">11099 3149 0,'80'52'16,"-54"-25"-16,40 39 16,-39-26-16,-1-14 0,14 40 15,-14-39-15,-12 12 0,-1 1 16,-13-13-16,0-14 0,-27 27 15,14-14-15,-13 0 0,-27 27 16,13-39-16,0 12 0,-26 14 16,26-14-16,-39 1 15,53-14-15,-14-13 16</inkml:trace>
  <inkml:trace contextRef="#ctx0" brushRef="#br0" timeOffset="179503.68">2884 3029 0,'53'-13'31,"-40"13"-31,14 0 0,-1 0 0,14 0 15,13 0-15,0 0 0,92 0 16,-66 0-16,1 0 0,65 13 16,-65-13-16,-14 0 0,13 0 15,1 14-15,-14-14 0,40 13 16,13-13-16,26 26 16,-105-26-16,0 0 15,-14 14-15,0-14 0,1 0 16,-1 0-16,1 0 0,-14 0 15,0 13-15,1-13 0,-1 0 16,0 0-16,0 0 16,0 0-1</inkml:trace>
  <inkml:trace contextRef="#ctx0" brushRef="#br0" timeOffset="181303.22">7858 2924 0,'-13'0'16,"53"0"-1,-27 0 1,13 0-16,14 0 0,0 0 0,65-14 16,-25 14-16,-1 0 0,80-13 15,-66 13-15,-1 0 16,1 0-16,-1 0 0,1 0 0,105 0 15,-105 0-15,0 0 16,79 13-16,-93-13 0,0 0 16,-12 0-16,-15 0 0,1 0 15,0 0-15,13 0 0,-39 0 16,-14 0-16,27 0 0,-27 0 16,0 0-16,0 0 0,1 0 15,-1 0-15,0 0 16,0 0-16,1 0 15,-1 0-15,0-13 16,0 13 15,-13-13 16,14 13 0,-14-13 469</inkml:trace>
  <inkml:trace contextRef="#ctx0" brushRef="#br0" timeOffset="183137.43">4286 2275 0,'0'40'31,"0"-27"-31,-13 1 0,13 12 16,0 0-16,-13 1 0,13-14 15,0 0-15,0 14 0,-13-14 16,13 0-16,0 14 15,0-14-15,-14 0 16,14 0-16,0-39 31,0 13-15,14 0-16,-14-14 0,0 14 16,13-14-16,0 1 0,0-1 0,0-25 15,1 38-15,39-39 16,-40 40-16,0 0 0,0 0 15,1-1-15,12 14 16,-26 14 0,0-1-16,-13 0 0,0 0 15,-27 14-15,27-14 16,-27 14-16,27-14 0,-1 0 16,-12 0-16,26 0 15,-13-13-15,0 14 0,-1-1 16,14 0 15,14-13-31,12 13 16,-13-13-16,14 14 0,-14-14 15,0 0-15,0 0 0,14 13 16,-14-13-16,14 0 0,-1 0 16,-13 0-16,0 13 0,14-13 15,-14 13-15,14-13 0</inkml:trace>
  <inkml:trace contextRef="#ctx0" brushRef="#br0" timeOffset="183985.2">8189 2765 0,'0'-13'0,"0"-1"16,13 1-1,-13-13-15,0 13 0,0-1 16,0 1-16,0 0 0,13 0 16,-13-27-16,14 27 0,-14-1 15,0 1-15,13-13 0,-13 13 16,13 13-16,-13 13 31,13 0-31,-13 0 16,0 0-16,13 1 15,-13-1-15,14 0 0,-1 0 16,-13 1-16,13-14 0,-13 13 16,13-13-16,1 0 15,-1-13-15,0-1 16,-13 1-1,13 0-15,-13 0 0,0-1 0,14-12 16,-14 13-16,0 0 0,13-1 16,-13 1-16,0 0 0,0 0 15,0-1-15,0 1 0,13 0 16</inkml:trace>
  <inkml:trace contextRef="#ctx0" brushRef="#br0" timeOffset="184502.72">8612 2355 0,'0'13'16,"0"-26"-16,0 39 0,-13-13 15,13 1-15,0-1 0,0 0 16,0 0-16,0 14 0,0 13 16,0-27-16,-13 13 0,13 1 15,0-14-15,0 0 0,0 0 16,0 1-16,13-1 0,-13 0 15,0 0-15,0 1 16,-13-41 15,13 14-31,0-14 16,13-12-16,-13 12 0,13 1 16,0-40-16,1 39 15,12-13-15,-13 27 0,1-13 16,-1 13-16,0-1 0,0 1 15,0 13-15,1 0 0,-1 0 16,0 0-16,0 13 0,-13 1 16,0-1-16,0 0 15,0 0-15,-26 14 16,13-14-16,-1 0 0,1 0 16,0-13-16,13 14 0,-13-1 0,0 0 15,-1-13-15,14 13 16,-13-13-16,26 14 15,1-14 1,-1 13-16,0-13 0,13 0 16,-12 0-16,-1 0 15,0 0-15,0 0 0,1 0 0,-1 0 16,0 0-16,0 0 0,1 0 16,-1 0-16,0 0 0,0-13 15,0 13-15</inkml:trace>
  <inkml:trace contextRef="#ctx0" brushRef="#br0" timeOffset="185005.06">9247 2143 0,'0'0'15,"-26"-26"-15,-1 12 0,14 1 0,-27-26 16,1 25-16,-41-25 15,27 25-15,0 1 0,-79-13 16,79 12-16,0 14 0,0 0 16,-13 0-16,13 14 0,0-1 15,-66 27-15,53-1 0,13-12 16,-53 52-16,54-26 0,12-13 16,-26 52-16,39-39 15,1 40-15,13-53 16,13-1-16,0 54 0,13-67 0,13 14 15,27 39-15,-13-39 16,-14-27-16,54 40 16,-41-40-16,14 1 0,0-14 0,66 13 15,-53-13-15,80-13 16,-80 13-16,66-27 16,-65 1-16,-1 13 0,-13-14 0,0 1 15,-1-1-15,1 1 0,40-40 16,-67 39-16,14-13 0,-13 1 15,-14 12-15,0-12 0,0-1 0,0-26 16,-13 26-16,0 0 0,-26-39 16,0 26-16,12 13 0,-12 1 15,-14-1-15,27 0 0,-13 14 16,-14-1-16,13 1 0,1-1 0,-93-12 16,79 26-1,-13-1-15,14 14 0</inkml:trace>
  <inkml:trace contextRef="#ctx0" brushRef="#br0" timeOffset="185766.76">4895 1918 0,'-13'-39'0,"-146"-67"32,119 92-32,0 14 0,-65 0 15,38 0-15,-12 14 0,13-1 16,-13 13-16,-1 1 0,1 13 0,13-1 16,-14 14-16,14-13 15,-40 52-15,67-39 0,-1 0 16,-26 119-16,53-119 15,26 0-15,0 0 0,0 0 16,27 0-16,66 26 0,-53-39 16,13 0-16,172 13 15,-159-40-15,93 0 16,-92-26-16,12 0 0,67-14 16,-93 1-16,0-1 0,53-39 15,-66 26-15,0 1 0,13-54 16,-39 40-16,-1-53 15,-26 67-15,0-28 0,-39-52 16,-1 53-16,13 13 0,-65-53 16,39 54-16,-53-28 15,53 40-15,-13 14 0,13 0 16,-79-14-16,79 27 0,0-1 16,-53 14-16,66 0 0,-12 14 15,12-1-15,-13-13 0,13 13 16,1 0-16</inkml:trace>
  <inkml:trace contextRef="#ctx0" brushRef="#br0" timeOffset="194710.13">20135 10954 0,'-27'0'0,"14"-13"125</inkml:trace>
  <inkml:trace contextRef="#ctx0" brushRef="#br0" timeOffset="199825.35">6032 8692 0,'0'-14'16,"14"14"-1,-14-13-15,0 0 16,0 0 0,13 13-1,-13-14-15,0 1 16,0 0-16,13 0 0,-13-1 16,0 1-16,0 0 0,0 0 15,-13-27-15,13 27 0,0-14 16,-13 1-16,-1 13 0,14-14 0,-26 1 15,13-1-15,-14 1 0,14 13 16,-27-14-16,14 14 0,0 0 16,-14 0-16,13-1 0,1 14 15,13 0-15,-14 0 0,1 0 16,-1 14-16,14-14 0,-13 13 0,-1 0 16,14 0-16,-14 0 0,1 14 15,0-1-15,12 1 0,1-1 16,-13 1-16,12 12 0,1 28 15,0-28-15,0-12 0,13 39 16,0-40-16,0 1 0,0-1 0,13 14 16,0-14-16,0 14 0,1-13 15,-1-1-15,0-13 0,14 0 0,-1 14 16,0-14-16,-12-13 0,39 13 16,-27-13-16,27-13 15,-13 0-15,-1 0 0,28-27 16,-28 27-16,1-14 15,-14 14-15,1-13 0,-1-1 0,1 1 16,-1-27-16,-26 26 16,13 1-16,-13-14 0,-13 14 15,13-14-15,-26-26 0,12 39 16,-38-25-16,38 38 16,-12-12-16,-27 13 0,27-1 15,12 1-15,-39 0 16,40 13-16,-13 0 0,12 0 0,-12 0 15,13 0-15,0 0 0,-27 13 16,27-13-16,-14 13 16,27 1-16,-13-14 15</inkml:trace>
  <inkml:trace contextRef="#ctx0" brushRef="#br0" timeOffset="200149.88">5808 8758 0</inkml:trace>
  <inkml:trace contextRef="#ctx0" brushRef="#br0" timeOffset="201272.57">15465 10927 0,'13'0'0</inkml:trace>
  <inkml:trace contextRef="#ctx0" brushRef="#br0" timeOffset="202252.54">20148 11007 0,'-13'0'31,"26"0"16,0 0-47,0-14 0,1 14 16,-1 0-16,0 0 0,0 0 16,1 0-16</inkml:trace>
  <inkml:trace contextRef="#ctx0" brushRef="#br0" timeOffset="202429.92">20095 11060 0,'40'0'31,"-27"0"-16,0 0-15,0 0 16</inkml:trace>
  <inkml:trace contextRef="#ctx0" brushRef="#br0" timeOffset="205213.08">4895 1812 0,'0'14'16,"-13"-41"0,26 14-1,0 0 1,0-1-16,0 1 0,1 0 0,39-40 15,-14 40-15,-12-14 0,79-25 16,-53 25-16,-1 14 0,15-14 16,-14 14-16,-1-13 0,67 12 15,-66 1-15,14 13 0,52 0 16,-53 0-16,0 0 0,13 13 16,1 1-16,-14-1 15,0 0-15,53 27 0,-53-27 16,-13 14-16,26 12 0,-52-26 15,13 1-15,13 25 0,-27-25 16,0-1-16,-12 0 16,-1 0-16,0 0 0,0-13 0,-13 14 15,14-1-15,-1-13 0,0 13 0,0 0 16,0-13 0,-13 14-16,14-14 15,-14 13 16</inkml:trace>
  <inkml:trace contextRef="#ctx0" brushRef="#br0" timeOffset="205615.87">6800 1614 0,'0'0'15,"0"-13"-15,13 39 31,0-26-31,14 27 16,-14-14-16,0-13 0,0 26 16,1-12-16,-1-1 15,13 0-15,-12 0 0,-14 0 0,13-13 16,0 14-16,0-1 0,0-13 0,-13 13 16,14 0-16,-1 1 0,-13-1 15,0 0 1,-13 14-1,-1-27-15,-12 26 0,0-13 16,12-13-16,-25 27 16,12-14-16,14 0 0,-14 0 15,1 1-15,-14 12 16,27-13-16,0-13 16</inkml:trace>
  <inkml:trace contextRef="#ctx0" brushRef="#br0" timeOffset="208330.49">8242 9221 0,'0'26'16,"0"-13"-1,0 14-15,-13-14 0,-1 27 0,14-1 16,-13-12-16,0 13 0,0-1 15,-14 41-15,14-41 0,0-12 16,-27 39-16,40-53 0,-13 14 16,0-1-16,13-13 0,0 1 15</inkml:trace>
  <inkml:trace contextRef="#ctx0" brushRef="#br0" timeOffset="208685.4">8255 9909 0,'0'0'0,"93"-14"0,-54 14 0,-12 0 0,26 0 15,0 0-15,52 0 0,-38 0 16,-15 0-16,28 14 0,-1-14 16,1 0-16,92 13 15,-93-13-15,0 0 0,14 0 0,0 0 16,-1 13-16,1-13 0,-1 13 0,1-13 15,0 0-15,-1 14 0,14-14 16,0 13-16,-14-13 0,1 13 0,105 0 16</inkml:trace>
  <inkml:trace contextRef="#ctx0" brushRef="#br0" timeOffset="209264.24">12316 10028 0,'66'0'0,"-132"0"0,172 0 16,-79 0-16,26-14 0,-1 14 0,1 0 15,0 0-15,-13 0 0,66-13 16,-53 13-16,0-13 0,79 0 16,-66 13-16,0-13 0,0 13 15,-13-14-15,0 14 0</inkml:trace>
  <inkml:trace contextRef="#ctx0" brushRef="#br0" timeOffset="209551.06">14235 9962 0,'39'0'31,"-25"0"-31,-1 0 0,0 0 16,13 0-16,-12 0 15,25 0-15,-12 0 0,-1 0 16,40 0-16,-39 0 0,26 0 15,0 0-15,-14 0 0,14 0 16,0 0-16</inkml:trace>
  <inkml:trace contextRef="#ctx0" brushRef="#br0" timeOffset="209831.26">15796 10001 0,'39'-13'32,"-12"13"-32,-14 0 15,27 0-15,-27-13 0,13 13 16,14 0-16,0 0 0,13 0 15,52 0-15,-52 0 0,14 0 16,78 0-16,-66 0 16,-12 0-16,12 13 0,0-13 0,-12 0 15</inkml:trace>
  <inkml:trace contextRef="#ctx0" brushRef="#br0" timeOffset="210033.98">18137 10134 0,'132'13'32,"-105"-13"-32,13 0 0,-1 0 0,1 0 0,13 0 15,0 0-15,0-13 16,53 26-16,-54-13 0,1 0 15,66 0-15</inkml:trace>
  <inkml:trace contextRef="#ctx0" brushRef="#br0" timeOffset="210536.78">20902 9763 0,'13'-40'0,"14"-92"16,-14 92-1,0 14-15,0-14 0,1 1 16,12-28-16,-13 41 0,1 0 15,25-41-15,-12 41 0</inkml:trace>
  <inkml:trace contextRef="#ctx0" brushRef="#br0" timeOffset="210778.67">21087 9049 0,'-39'-13'16,"25"13"-1,1-14-15,-13 14 0,-1 0 0,1-13 16,-14 13-16,-13-13 0,0 13 0,-13-13 15</inkml:trace>
  <inkml:trace contextRef="#ctx0" brushRef="#br0" timeOffset="-73917.64">21153 1707 0,'0'13'15,"-13"0"1,13 0-16,-13-13 15,13 13-15,0 1 0,-13-1 16,13 0-16,-13 0 16,13 1-1</inkml:trace>
  <inkml:trace contextRef="#ctx0" brushRef="#br0" timeOffset="-72637.06">21087 1574 0,'0'-13'46,"0"0"-46,14 13 16,-14-13 0,0-1-1,0 1 1,13 0-16,-13 0 31,0-1-31,0 1 16,0 0-16,0 0 15,0 0 1,13-1-16,-13 1 16,13 0-1,-13 0-15,13 13 16,1-14-16,-1 14 16,27-26 30,-14 13-30,-13 13 0,14 39 62,-41-25-63,-25 25-15,39-25 0,-13-14 16,-1 0-16,1 13 16,0-13-1,0 13 17,39-13 30,-13 0-46,1 0-1,-1 13-15,0-13 16,0 0-16,0 0 0,14 13 16,-14-13-16,0 14 15,1-14-15,-1 13 16,0 0-1,0 0-15,-13 1 16,14-1 0,-14 0-1,0 0-15,-14-13 0,14 14 16,0-1-16,-13 0 16,0 0-1,0-13-15,-1 13 16,1-13-16,0 0 0,0 14 15,-1-14-15,1 0 0,0 0 16,0 0-16,0 13 0,-1-13 16,1 0-16,-13 0 31,12 13-31</inkml:trace>
  <inkml:trace contextRef="#ctx0" brushRef="#br0" timeOffset="-51306.32">4868 3823 0,'0'-13'31,"0"0"-15,0 26 62,0 0-78,14 0 0,-14 1 0,13-1 15,-13 0-15,13 0 0,0 1 16,-13-1-16,13-13 0,1 13 16,-1 0-16,0 1 0,14-14 0,-14 13 15,0-13-15,14 0 0,-14 13 0,13-13 16,1 0-16,-14 0 0,13 0 15,-12 0-15,12 0 0,1-13 0,-14 13 16,13 0-16,-13-13 0,14 13 0,-14-14 16,0 14-16,14-13 0,-14 0 15,0 13-15,1-13 0,-1-1 16,0 14-16,0-13 0,0 0 16,-13 0-16,14 13 15,-1-14 1,-13 1-16,13 13 15,-13-13 1,13 13 0</inkml:trace>
  <inkml:trace contextRef="#ctx0" brushRef="#br0" timeOffset="-51002.56">5450 3731 0,'0'0'0,"93"0"31,-80 0-31,0 0 0,1 13 0,-1-13 15,0 0-15,0 13 0,1-13 16,-14 13-16,13-13 0,0 14 16,-13-1-16,13-13 0,-13 13 15,0 0-15,0 0 0,-13 1 16,13-1-16,0 0 0,0 0 16,-13 1-16,13-1 0</inkml:trace>
  <inkml:trace contextRef="#ctx0" brushRef="#br0" timeOffset="-49822.52">5583 3982 0,'-14'-13'0,"1"0"15,0-1 1,0 14-16,0 0 15,-1 0-15,1 14 0,0-1 16,0-13-16,-1 13 0,1 0 0,0 0 16,0-13-16,13 14 0,-13-1 15,13 0-15,-14 0 0,14 1 16,14-1 0,-1-13-16,13 0 15,-26-13-15,13 13 16,1-14-16,-1 14 0,0-13 15,0 0-15,1 13 0,-1-13 16,0 26 0,-13 0-1,0 0 1,0 1-16,0-1 0,0 0 0,0 0 16,0 1-16,0-1 0,-13 0 15,13 0-15,0 0 0,0 1 0,0-1 16,0 0-16,0 0 0,0 1 15,13-14-15</inkml:trace>
  <inkml:trace contextRef="#ctx0" brushRef="#br0" timeOffset="-49510.67">5689 4048 0,'-14'40'15,"14"-27"1,0 0-16,0 1 16,0-1-16,14-13 0,-14 13 15,13 0-15,0-13 16,0 0-16,0 0 16,14 0-16,-14 0 15,-13-13-15,13 13 0,-13-13 0,0 0 16,0-1-1,0 1-15,0 0 0,-13 0 16,13-1-16,-13 14 0,13-13 0,-13 0 16,-1 13-1,1 0-15,0 0 16,0 13-16,0-13 0,13 13 16</inkml:trace>
  <inkml:trace contextRef="#ctx0" brushRef="#br0" timeOffset="-49327.8">6032 3942 0,'0'40'16,"-13"-27"-1,13 0-15,-13 1 0,0 12 0,0 1 16,-14-14-16,14 13 0,-14 1 15,14-1-15,0-13 0,13 1 0</inkml:trace>
  <inkml:trace contextRef="#ctx0" brushRef="#br0" timeOffset="-49204.56">5900 4061 0,'0'-13'0,"0"26"0</inkml:trace>
  <inkml:trace contextRef="#ctx0" brushRef="#br0" timeOffset="-49069.43">6072 4114 0,'13'0'31</inkml:trace>
  <inkml:trace contextRef="#ctx0" brushRef="#br0" timeOffset="-46706.74">5702 3664 0,'0'-13'110</inkml:trace>
  <inkml:trace contextRef="#ctx0" brushRef="#br0" timeOffset="-45827.86">4895 3691 0</inkml:trace>
  <inkml:trace contextRef="#ctx0" brushRef="#br0" timeOffset="-44836.35">4882 3704 0,'0'-13'0</inkml:trace>
  <inkml:trace contextRef="#ctx0" brushRef="#br0" timeOffset="-42261.67">5755 3268 0</inkml:trace>
  <inkml:trace contextRef="#ctx0" brushRef="#br0" timeOffset="-41421.37">4855 3479 0,'13'0'78</inkml:trace>
  <inkml:trace contextRef="#ctx0" brushRef="#br0" timeOffset="-40506.45">5728 3492 0</inkml:trace>
  <inkml:trace contextRef="#ctx0" brushRef="#br0" timeOffset="-39321.3">4921 3678 0,'13'0'0</inkml:trace>
  <inkml:trace contextRef="#ctx0" brushRef="#br0" timeOffset="-37166.09">10107 3545 0,'13'-13'63,"-13"0"-47,0 0-1,0-1 16,0 1-31,0 0 16,0 0-16,14 0 16,-1-14-1,-13 14-15,0 0 16,13 13-16,-13-14 0,13 14 0,-13-13 16,13 13-16,1 0 15,-1-13-15,0 26 31,0-13-15,-13 13-16,0 1 16,-13-1-1,13 0 1,-13-13-16,0 13 0,-1 1 16,1-1-1,0 0 1,0-13-1,13 13 1,-13-13 0,39 0 31,-13 0-32,-13 13-15,13-13 0,1 0 16,-1 14-1,0-14-15,-13 13 16,0 0-16,13-13 16,-13 13-16,0 1 15,0-1-15,0 0 16,-13 0-16,13 1 16,-13-14-16,13 13 15,-13-13-15,-1 0 0,14 13 16,-13-13-16,0 13 0,0-13 15,0 0-15,13 13 0,-14-13 16,1 0-16,0 14 16,0-14-1</inkml:trace>
  <inkml:trace contextRef="#ctx0" brushRef="#br0" timeOffset="-35480.3">10676 3598 0,'-13'14'0,"-27"38"32,40-38-17,-13-1-15,13 0 0,-13 0 16,13 1-16,0-1 16,-14-13-16,14 13 0,0 0 15,0 1 1,-13-14-16,26-14 47,1 1-47,-14 0 15,0 0-15,13-1 16,-13 1-16,0 0 0,13 0 16,-13-1-16,0 1 0,13-13 0,-13 13 0,13-1 15,-13 1-15,14 0 16,-14 0-16,13-1 0,0-12 15,0 26-15,1-13 0,-14-1 16,13 14-16,-13-13 0,26 0 16,-12 13-16,-1 0 15,0 0-15,-13 13 16,13-13-16,-13 13 0,13 1 16,-13-1-16,14 0 15,-14 0-15,0 1 0,0-1 16,0 0-16,0 0 0,0 1 15,0-1-15,0 0 16,0 0-16,0 0 0,0 1 16,0-1-1,0 0-15,0 0 32</inkml:trace>
  <inkml:trace contextRef="#ctx0" brushRef="#br0" timeOffset="-35206.63">10702 3638 0,'-13'0'0,"66"-26"31,-40 26-31,1 0 0,-1 0 0,13 0 16,-13 0-16,1 0 0,-14-14 16,26 14-16,-13 0 0,1 0 15,-1 0-15,0 0 16</inkml:trace>
  <inkml:trace contextRef="#ctx0" brushRef="#br0" timeOffset="-34405.68">10583 3731 0,'0'-27'31,"14"27"-31,-14-26 16,13 26-16,-13-14 0,0 1 15,13 13-15,-13-13 0,0 0 16,13 0-16,-13-1 0,13 14 15,-13-13-15,14 0 0,-1 13 0,-13-13 0,13 13 16,-13-14-16,13 14 0,1-13 16,-1 13-1,0 0-15,-13 13 16,13-13-16,-13 27 0,14-27 16,-14 26-16,0-12 15,0-1-15,0 0 0,0 0 16,0 0-16,0 1 15,-14-1-15,14 0 0,0 0 0,0 1 16,0-1-16,0 0 0,0 0 16,0 1-1,0-1-15</inkml:trace>
  <inkml:trace contextRef="#ctx0" brushRef="#br0" timeOffset="-34173.36">10689 3691 0,'13'-13'0,"1"13"0,12 0 16,-13-14-16,27 14 16</inkml:trace>
  <inkml:trace contextRef="#ctx0" brushRef="#br0" timeOffset="-33257.73">10941 3678 0,'0'-14'0,"13"14"16,0 0-16,13 0 16,-12 14-16,-1-14 15,-13 13-15,-13 0 16,13 0-16,-14 1 16,14-1-16,-26 0 15,13 0-15,0 1 16,-1-1-1,28 0 17,-1-13-32,0-13 15,0 13-15,0 0 0,1 0 16,12 0-16,-13 0 16,1 0-16</inkml:trace>
  <inkml:trace contextRef="#ctx0" brushRef="#br0" timeOffset="-18787.03">3188 3836 0,'0'-13'0,"13"0"0,1 13 0,-1-13 16,0 13-16,0-13 0,14 13 15,-1-14-15,1 14 0,12-13 0,-12 0 16,13 13-16,-14-13 0,0 13 0,1 0 16,-1-14-16,-12 14 0,12 0 0,-13 0 15</inkml:trace>
  <inkml:trace contextRef="#ctx0" brushRef="#br0" timeOffset="-18603.89">3122 3995 0,'0'0'0,"40"-13"15,-27 0 1,13 13-16,1-13 0,-1 13 16,14-14-16,0 14 0,-14 0 0,1-13 15,12 13-15,-12 0 0,-1 0 0</inkml:trace>
  <inkml:trace contextRef="#ctx0" brushRef="#br0" timeOffset="-18004.61">7977 3903 0,'0'0'0,"40"0"16,-27 0-1,14 0-15,-14 0 0,13 0 0,1-14 16,-1 14-16,1 0 0,-1 0 0,1 0 16,-1-13-16</inkml:trace>
  <inkml:trace contextRef="#ctx0" brushRef="#br0" timeOffset="-17762.11">8176 3995 0,'26'-13'31,"-13"13"-16,1 0-15,-1 0 0,0 0 16,0 0-16,0 0 16,1 0-16,-1 0 0,0 0 15,0 0 1,1 0 0</inkml:trace>
  <inkml:trace contextRef="#ctx0" brushRef="#br0" timeOffset="-16153.6">728 3678 0</inkml:trace>
  <inkml:trace contextRef="#ctx0" brushRef="#br0" timeOffset="-15668.58">701 3664 0,'13'-13'16,"1"0"-16,-1 0 0,0 0 16,0 13-1,-39 13 17,26 0-17,-13-13-15,13 13 0,-14-13 16,14 13-16,-13 1 15,26-1 1,-13 0-16,14 0 16,-1 1-16,0-14 15,-13 13-15,13-13 0,1 13 16,-14 0 0,0 1-16,-14-1 15,14 0-15,-13-13 0,0 13 16,0 0-16,-1 1 0,1-1 15,0 0-15,-14 0 0,14 1 0,0-1 16,0-13-16,13 13 0,-13-13 0,-1 13 16</inkml:trace>
  <inkml:trace contextRef="#ctx0" brushRef="#br0" timeOffset="-15440.43">952 3519 0,'0'-13'0,"0"26"0,0 0 16,-13 14-1,0 12-15,0 1 16,0 0-16,-27 66 0,27-54 16,-14 1-16,14-13 0,0 0 0,13-1 15,-13-12-15,-1 13 0,1-14 16,13 1-16,-13-14 0,13 13 15,0-13-15,0 14 0,-13-14 0,13 14 16</inkml:trace>
  <inkml:trace contextRef="#ctx0" brushRef="#br0" timeOffset="-15029.87">886 4035 0,'14'-13'15,"-14"-1"1,26 28-1,-26-1-15,13-13 16,-13 13-16,0 0 0,13 1 16,-13-1-16,14-13 15,-14 13-15,13-13 0,0 13 16,0-13-16,1 14 16,-1-14-16,0 13 15,0 0-15,-13 0 16,14-13-16,-14 13 0,0 1 15,-14-1-15,14 0 0,-13 0 16,13 1-16,-13-1 0,13 0 16,-13 0-16,-1-13 0,14 13 0,0 1 15,-13-14-15</inkml:trace>
  <inkml:trace contextRef="#ctx0" brushRef="#br0" timeOffset="-14716.83">1111 3969 0,'0'0'0,"0"39"31,0-12-15,0-14-16,0 0 0,0 1 16,13 12-16,-13-13 0,14 1 15,-1-1-15,0-13 0,0 13 16,1-13-16,-1 0 0,0 0 15,0 0-15,1 0 16,-14-13 0,0 0-1,0-1-15,-14 14 16,1-13-16,0 13 0,0-13 16,-14 26-1,14-13 1,0 13-16</inkml:trace>
  <inkml:trace contextRef="#ctx0" brushRef="#br0" timeOffset="-14416.88">1336 3863 0,'-40'0'0,"80"0"15,-93 0-15,53 13 0,-13-13 16,13 13-16,-13 1 0,26-1 16,0 0-1,0-13-15,1 13 0,-1 1 16,0-14-16,0 13 0,1-13 0,-14 13 16,13 0-16,0-13 0,0 13 0,1-13 15,-14 14-15,13-1 16,-13 0-16,0 0 15,-13-13-15,13 14 0,-14-1 0,1 0 16,13 0-16,-13 1 0,0-1 0,-1 0 16,1-13-1</inkml:trace>
  <inkml:trace contextRef="#ctx0" brushRef="#br0" timeOffset="-14122.69">1561 3757 0,'-13'0'16,"0"0"0,13 13-16,0 1 15,13-1-15,0 0 16,-13 0-16,13-13 0,-13 13 15,14-13-15,12 40 16,-26-27-16,0 1 16,0-1-16,-13 13 0,13-12 15,-13-1-15,-14 13 0,-13 27 16,1-26-16,12-1 0,1 1 16,-1-1-16,1-13 0,13 14 0,-1-14 15</inkml:trace>
  <inkml:trace contextRef="#ctx0" brushRef="#br0" timeOffset="-12834.35">6707 2805 0,'13'-14'15,"1"1"1,-1 13 0,0 0-16,0 0 15,1 13 1,-14 14 0,-14-27-16,14 13 0,0 0 15,0 1-15,0-1 16,0 0-16,0 0 15,0 0-15,0 1 0,14-14 16,-14 13 0,13 27-1,-13-27 1,0 0-16,0 0 16,-13 0-16,-1 1 15,14-1-15,-13-13 0,0 0 16</inkml:trace>
  <inkml:trace contextRef="#ctx0" brushRef="#br0" timeOffset="-12293.56">6866 2725 0,'0'27'31,"0"-14"-31,0 0 16,0 0-16,0 1 0,0-1 0,13 0 16,-13 0-16,13 1 0,1-1 15,-14 0-15,13 0 0,0-13 16,0 13-16,1-13 16,-14-13 15,-14 0-16,1 13 1,0-13 0,0 13-16,26-13 31,-13-1-15,13 14-16,-13-13 0,13 0 15,1 13-15,-1-13 16,0 13-1,0 0 1,0 0-16,1 0 16,-14-14-16,13 14 0,0 0 0,0 0 15,-13-13-15,14 13 16,-14-13-16,13 13 0,-13-13 0,0-1 16,0 1-16,-13 0 15,13 0 1,-14 13-16,14-13 0,-13-1 15,0 14-15</inkml:trace>
  <inkml:trace contextRef="#ctx0" brushRef="#br0" timeOffset="-12109.85">7223 2619 0,'0'27'31,"-13"-14"-31,13 0 0,0 14 16,-13-14-16,-1 13 0,1 1 0,13 13 15,-26-14-15,26 14 0,-13-14 0,-1 1 16,1 12-16,0-25 0,13 12 0,-13-13 16,13 14-16,-14-14 0,14 0 15,0 0-15,0 1 0</inkml:trace>
  <inkml:trace contextRef="#ctx0" brushRef="#br0" timeOffset="-11784.89">7144 3056 0,'26'0'32,"-13"0"-32,-13 13 0,14 0 15,-14 1 1,0-1 0,0 0-16,13-13 15,-13 13-15,0 1 0,0-1 16,0 0-16,0 0 15,0 0-15,0 1 16,-13-1-16,13 0 16,-14-13-16,14 13 0,-13-13 15,13 14-15</inkml:trace>
  <inkml:trace contextRef="#ctx0" brushRef="#br0" timeOffset="-11498.63">7263 3069 0,'0'-13'31,"0"39"-15,13-12 0,-13-1-16,13 0 0,-13 0 15,13-13-15,1 14 31,-14-28 32,0-12-63,0 13 16,13 13-16,-13-14 15</inkml:trace>
  <inkml:trace contextRef="#ctx0" brushRef="#br0" timeOffset="-11322.83">7395 2990 0,'0'0'0,"13"13"47,-13 0-47,0 0 0,14 1 16,-14-1-16,0 0 0,13 0 15,-13 1-15,0-1 16,0 0-16,0 0 0,0 1 15,0-1-15,0 0 0,0 0 0,0 0 16</inkml:trace>
  <inkml:trace contextRef="#ctx0" brushRef="#br0" timeOffset="-11122.78">7210 3466 0,'13'-26'0,"0"26"0,1-14 0,-1 1 16,0 0-16,0 0 0,14-1 15,-14 14-15,13-13 0,-12 0 16,-1 0-16,0 13 0,0 0 0,1-13 16,-1 13-16,0 0 15</inkml:trace>
  <inkml:trace contextRef="#ctx0" brushRef="#br0" timeOffset="-10668.84">7117 3545 0,'14'-13'16,"-1"0"-1,-13 0-15,13 13 0,13-14 16,-12 14-16,-1-13 0,0 13 0,0-13 15,14 0-15,-14 13 0,0-13 0,0 13 16,1 0-16,-1-14 0,0 14 16,0-13-16,1 13 15,-1 0-15,-13-13 16,13 13 0,0 0-1,-13-13 32</inkml:trace>
  <inkml:trace contextRef="#ctx0" brushRef="#br0" timeOffset="-6952.77">5040 3784 0</inkml:trace>
  <inkml:trace contextRef="#ctx0" brushRef="#br0" timeOffset="-6484.1">11060 3519 0,'0'0'16</inkml:trace>
</inkml:ink>
</file>

<file path=ppt/ink/ink31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2:51:53.153"/>
    </inkml:context>
    <inkml:brush xml:id="br0">
      <inkml:brushProperty name="width" value="0.05292" units="cm"/>
      <inkml:brushProperty name="height" value="0.05292" units="cm"/>
      <inkml:brushProperty name="color" value="#0070C0"/>
    </inkml:brush>
  </inkml:definitions>
  <inkml:trace contextRef="#ctx0" brushRef="#br0">3532 2950 0,'27'0'47,"-14"0"-31,0 0-16,0 0 0,1 0 16,-1 0-16,0 0 15,0 0-15</inkml:trace>
  <inkml:trace contextRef="#ctx0" brushRef="#br0" timeOffset="195.85">3612 3016 0,'26'-13'63,"-13"13"-63,0 0 15</inkml:trace>
  <inkml:trace contextRef="#ctx0" brushRef="#br0" timeOffset="3923.24">16364 2937 0,'-13'-13'32,"40"13"-17,-14 0-15,13 0 0,-12 0 0,-1 0 0,13 0 16,1 0-16,-1 0 0,-13 0 16,14-14-16,-1 14 0,1 0 0,-1 0 15,-12 0-15,-1 0 0,13 0 16,-13 0-16,1 0 0,-1 0 0,0 0 15,0 0-15,1 0 0</inkml:trace>
  <inkml:trace contextRef="#ctx0" brushRef="#br0" timeOffset="4158.97">16338 2990 0,'40'0'16,"-27"0"-16,0 0 15,0 0-15,14 0 0,-1 0 16,-12 0-16,12 0 0,0 0 0,1 0 16,-14 0-16,14 0 0,-14 0 0,13 0 15,-12 0-15,-1 0 0,0 0 0,0 0 16,0 0-16,1 13 15,-1-13-15</inkml:trace>
  <inkml:trace contextRef="#ctx0" brushRef="#br0" timeOffset="15863.91">16206 2553 0,'-27'80'16,"54"-160"-16,-54 186 0,27-79 0,-13-1 16,13 0-16,-13 14 0,13-13 0,-13-1 15,13-13-15</inkml:trace>
  <inkml:trace contextRef="#ctx0" brushRef="#br0" timeOffset="16596.66">16285 2447 0,'0'0'0,"40"-13"0,-27 13 16,13 0-16,-12 0 0,12 0 0,14-13 15,-14 13-15,14 0 0,0 0 16,13-13-16,-14 13 0,14 0 0,-13-14 16,13 14-16,-13 0 0,-1-13 15,-12 13-15,-1 0 0,1 0 0,-1 0 16,0-13-16,-12 13 0,12 0 0,-13 0 15,1 0-15,-1 0 0,0 0 16,0 0-16,1 0 16,-1 0-16,0 13 15,0 0 17,-13 1-17,13-1-15,-13 0 0,14 0 16,-14 1-16,0-1 0,0 13 15,13-12-15,-13-1 0,0 13 16,13 1-16,-13-14 0,13 0 0,-13 14 16,0-14-16,14 0 0,-14 14 0,0-14 15,0 0-15,0 0 0,13 0 16,-13 1-16,0-1 0,0 0 16,0 0-16,-13 1 15,13-1-15,0 0 16,-14-13-16,14 13 0,-13-13 15,13 14-15,-13-1 0,0-13 16,-1 0-16,1 13 0,0-13 16,0 13-16,0-13 0,-14 0 15,14 0-15,-14 13 0,14-13 0,-27 0 16,14 14-16,-14-14 0,1 13 16</inkml:trace>
  <inkml:trace contextRef="#ctx0" brushRef="#br0" timeOffset="18077.81">2262 5490 0,'-26'13'31,"26"1"-31,0-1 16,-14 13-16,14-13 0,0 14 15,-13-1-15,13-12 0,0 12 0,0 1 16,-13-1-16,13 0 0,0-12 16,0 12-16,-13-13 0,13 1 0,0 12 15,0-13-15,0 1 0,0-1 0</inkml:trace>
  <inkml:trace contextRef="#ctx0" brushRef="#br0" timeOffset="18446.89">2143 5490 0,'0'0'0,"0"-13"16,0 0-16,66-27 16,-26 40-1,-27 0-15,0-13 0,1 13 16,-1 13-16,0-13 0,0 0 16,1 0-16,-1 13 0,-13 0 15,13-13-15,-26 14 0,13-1 0,-13 0 16,-1 14-16,1-14 15,0 0-15,0 0 0,-14 0 0,14 1 16,0-1-16,-14 0 0,14 0 0,0 1 16,0-1-16,-1 0 15</inkml:trace>
  <inkml:trace contextRef="#ctx0" brushRef="#br0" timeOffset="18746.77">2633 5305 0,'0'0'0,"-14"26"31,1-12-31,0 12 15,13 1-15,-13-1 0,-1 14 16,14-1-16,-13-12 0,13-1 0,0 1 16,-13-1-16,13 1 0,0-14 0,0 13 15,13-12-15,-13-1 0,0 13 16,0-13-16,13 1 0,-13-1 0,0 0 16,14-13-16,-14 13 0,13-13 0,-13 14 15</inkml:trace>
  <inkml:trace contextRef="#ctx0" brushRef="#br0" timeOffset="19348.78">2818 5569 0,'0'0'0,"0"-13"15,0 53 48,0-27-48,13 0-15,0-13 16,1 0 0,-1 0-16,0 0 15,0 0-15,0 0 16,1 0-1,-1 0-15,0 0 0,-13 14 16,13-14-16,1 0 16,-1 0-1,0 13-15,0-13 0,0-13 16,1 13 0,-14-14-16,13 1 15,-13 0-15,0 0 16,13-40-1,-13 40 1,0-1-16,-13 1 31,0 0-15</inkml:trace>
  <inkml:trace contextRef="#ctx0" brushRef="#br0" timeOffset="19583.68">3096 5239 0,'0'0'16,"0"-13"-16,13 13 15,0 13 1,0 0-16,1 0 0,-1 0 16,0 14-16,0-1 0,14 1 0,-14-1 15,0 1-15,0-1 0,-13 1 0,14-14 16,-1 13-16,-13 1 0,0-14 15,0 13-15,0 1 0,0-14 0,0 14 16,0-14-16,-13 13 0,13-12 0,-14-1 16,14 0-16,-13 0 0,0 0 15,13 1-15,-13-14 0,13 13 0,-14-13 16</inkml:trace>
  <inkml:trace contextRef="#ctx0" brushRef="#br0" timeOffset="19880.68">3678 5424 0,'-14'-13'16,"67"0"15,-39-1-31,-1 14 0,0 0 0,0 0 16,1 0-16,-1 0 0,0 0 15,0 0-15,0 14 0</inkml:trace>
  <inkml:trace contextRef="#ctx0" brushRef="#br0" timeOffset="20060.89">3664 5596 0,'-13'13'0,"40"-26"47,-27 0-47,13 13 15,0 0-15,0-14 0,14 14 16,-27-13-16,13 13 0,0 0 0,1-13 16,-1 13-16</inkml:trace>
  <inkml:trace contextRef="#ctx0" brushRef="#br0" timeOffset="20454.95">4352 5331 0,'-92'14'32,"79"-1"-32,-14 0 0,1 0 15,12 1-15,-25-1 0,26 0 16,-1 0-16,1-13 0,0 13 15,13 1 1,0-1-16,13-13 16,0 13-16,1-13 0,-1 0 15,-13 13-15,26-13 16,-13 14-16,1-14 16,-1 0-16,-13 13 15,0 0-15,-13-13 16,13 13-16,-14 0 0,1-13 0,-13 14 15,13-14-15,-1 13 0,-12 0 0,13-13 16,-1 13-16,1-13 0,0 0 16,-14 0-16,14 0 0</inkml:trace>
  <inkml:trace contextRef="#ctx0" brushRef="#br0" timeOffset="20800.77">4405 5371 0,'0'-13'16,"-13"39"-1,13-12 1,0-1-16,-13 0 0,13 0 0,0 0 16,0 1-16,0-1 0,0 0 15,0 0-15,13 1 0,0-14 16,-13 13-16,14-13 0,-1 0 15,13 0-15,1 0 0,-14 0 16,13 0-16,-12-13 0,-1 13 16,0 0-16,0-14 0,1 1 15,-1 0-15,-13 0 0,0-1 16,0 1-16,0 0 0,-13 0 0,-1 0 16,14-1-16,-13 1 0,0 13 0,0-13 15,-14 0-15,14 13 16,0 0-16,-14 0 0,14 13 0,0-13 15,-14 13-15,14 0 0,0-13 16,0 14-16,-1-14 0,14 13 0</inkml:trace>
  <inkml:trace contextRef="#ctx0" brushRef="#br0" timeOffset="21007.97">4987 5265 0,'14'13'0,"-41"93"31,1-79-31,12-1 0,1 1 16,-13-1-16,13 14 0,-14-14 16,14 1-16,0-14 0,-1 0 0,1 0 15,13 1-15,-13-1 0,13 0 0,-13 0 16</inkml:trace>
  <inkml:trace contextRef="#ctx0" brushRef="#br0" timeOffset="21128.22">4723 5450 0,'-13'0'15,"13"-13"1</inkml:trace>
  <inkml:trace contextRef="#ctx0" brushRef="#br0" timeOffset="21269.16">5001 5477 0,'0'0'0</inkml:trace>
  <inkml:trace contextRef="#ctx0" brushRef="#br0" timeOffset="22009.52">2421 6496 0,'0'0'0,"-13"26"15,-1 0-15,14 1 0,0-14 16,-13 14-16,13-1 0,0 1 16,0 25-16,0-25 0,-13-14 15,13 14-15,0-14 0,0 0 0,0 0 16,0 0-16,0 14 0,0-14 15,0-39 17,0 12-17,0-12-15,0 0 16,0-1-16,0 1 0,0-14 0,0 0 16,0 14-16,13-1 0,-13 14 0,0-13 15,13 12-15,-13 1 0,14 0 0,-14 0 16,13 13-16,0 0 0,-13-13 15,13 26-15,1 0 16,-1 0-16,-13 0 16,0 1-16,0-1 0,0 0 15,0 0-15,-13 1 0,13-1 16,-14 0-16,14 0 0,-13 1 16,0-1-16,13 0 0,-13-13 15</inkml:trace>
  <inkml:trace contextRef="#ctx0" brushRef="#br0" timeOffset="22232.01">2593 6350 0,'-13'40'15,"13"-27"1,0 0-16,-14 14 0,1 12 15,13-12-15,0-1 16,0-13-16,0 14 0,0-1 0,0-12 16,0 25-16,0-25 0,13 12 15,-13-13-15,14 0 0,-14 1 16,13-1-16,0-13 0,-13 13 0,13-13 16,1 0-16,-1 13 0,0-13 0</inkml:trace>
  <inkml:trace contextRef="#ctx0" brushRef="#br0" timeOffset="22680.82">2844 6773 0,'0'-26'16,"0"13"-1,0-1-15,-13 1 0,13 0 0,0 0 16,0 0-16,0-1 0,0 1 16,0 0-1,13 0 1,1 26 15,-1-13-15,-13 13-16,13-13 0,-13 13 15,26-13 1,-26-13 0,14 13-16,-1-13 15,0 0-15,0 26 32,1-13-32,-1 13 15,-13 0 1,0 1-16,13-1 0,-13 0 15,0 0-15,13 0 16</inkml:trace>
  <inkml:trace contextRef="#ctx0" brushRef="#br0" timeOffset="23016.71">3109 6310 0,'0'0'16,"26"14"-16,-12-1 15,-1 0-15,0 0 0,13 14 16,-12-1-16,-1 14 0,13-14 0,-12 14 16,-1-14-16,0 14 0,-13-13 0,0-1 15,13 1-15,-13-14 0,0 13 16,0 14-16,0-14 0,-13-12 16,13-1-16,0 0 0,0 0 15,0 0-15,-13 1 0</inkml:trace>
  <inkml:trace contextRef="#ctx0" brushRef="#br0" timeOffset="23223.62">3731 6482 0,'0'-13'0,"13"13"15,27 0 1,-27-13-16,0 13 0,0 0 16,0 0-16</inkml:trace>
  <inkml:trace contextRef="#ctx0" brushRef="#br0" timeOffset="23424.96">3691 6628 0,'-13'0'0,"52"-13"47,-25 13-47,12-14 15,-13 14-15,1 0 0,-1-13 16,0 13-16,0 0 0,0-13 16</inkml:trace>
  <inkml:trace contextRef="#ctx0" brushRef="#br0" timeOffset="23819.68">4458 6363 0,'-26'0'0,"-27"27"15,40-27 1,-1 13-16,1-13 0,13 13 15,-13-13 1,13 13-16,0 1 16,13-1-16,0 0 15,-13 0 1,14-13-16,-14 14 0,0-1 16,0 0-16,0 0 15,-14 0-15,1 1 16,0-1-16,0-13 15,-1 13-15,1 0 0,0-13 0,0 14 16,0-1-16,-1-13 0,1 0 0</inkml:trace>
  <inkml:trace contextRef="#ctx0" brushRef="#br0" timeOffset="24172.85">4511 6376 0,'-13'27'31,"0"-14"-15,13 0-16,0 1 0,0-1 0,0 0 16,0 0-16,0 1 0,0-1 0,13 0 15,-13 0-15,13-13 0,0 13 16,1-13-16,-1 0 15,0 0-15,0 0 0,1 0 0,-1 0 16,13 0-16,-13-13 0,1 13 0,-1 0 16,0-13-16,0 0 15,1 0-15,-14-1 0,0 1 16,13 0-16,-26 0 0,13-14 16,-14 14-16,1 0 0,0 13 15,13-14-15,-13 14 0,-1 0 16,1 0-16,0-13 0,0 26 0,0-13 15,-1 0-15,1 0 0,0 14 0,0-14 16</inkml:trace>
  <inkml:trace contextRef="#ctx0" brushRef="#br0" timeOffset="24364.78">4974 6310 0,'0'0'15,"0"14"1,0 12-16,0-13 16,0 0-16,0 1 0,0-1 15,-13 0-15,0 14 0,-1-1 0,1 14 16,0-27-16,0 13 0,13-12 16,-13 12-16,-1-13 0,1 1 0,0-1 15</inkml:trace>
  <inkml:trace contextRef="#ctx0" brushRef="#br0" timeOffset="24623.86">5027 6522 0,'13'0'32</inkml:trace>
  <inkml:trace contextRef="#ctx0" brushRef="#br0" timeOffset="38677.61">4934 3559 0,'172'0'31,"-145"0"-31,-1 0 0,1 0 16,-1 0-16,1 0 0,-1 0 0</inkml:trace>
  <inkml:trace contextRef="#ctx0" brushRef="#br0" timeOffset="38994.75">5001 3651 0,'0'0'0,"-14"0"0,67 0 31,-39 0-15,-1-13-16,13 13 0,1 0 0,-14 0 15,13-13-15,1 13 0,-14 0 0,14 0 16,-14-13-16,13 13 0,-13 0 15,1 0-15,-1 0 0,0 0 0,0 0 16,1-14-16,-1 14 16,0 0 15</inkml:trace>
  <inkml:trace contextRef="#ctx0" brushRef="#br0" timeOffset="45940.6">20505 3440 0,'-13'13'16,"39"-26"0,-12-1-1,12 14-15,-13-13 0,14 0 0,-1-14 16,1 14-16,-1-13 0,1 13 0,-14-1 16,0-12-16,0 13 0,1-1 15,-14 1-15,13 0 0,-13 0 16,-13-1-16,-1 14 0,-12 0 15,-1 0-15,1 14 0,0-1 16,-14 0-16,0 0 16,14 1-16,-1-1 0,1 0 0,13 0 15,-1 1-15,14-1 0,-13 0 0,13 0 16,0 0-16,13 1 16,1-14-16,12 0 15,-13 0-15,0 0 0,14-14 0,-14 14 16,14-13-16,-14 0 0,13 0 15,-12 0-15,-1 13 0,0-14 0,-13 1 16,13 13-16,-13-13 0,0 0 0,0-1 31,-26 28-31,13-14 0,-1 0 16,-12 13-16,13-13 0,-1 13 0,1 0 16,0-13-16,0 14 0,-1-14 0,14 13 15,-13 0 1,40-13-1,-14-13-15,0 13 0,0-13 16,1 13-16,-1-14 0,0 1 16,14 0-16,-14 0 15,0-1-15,0 14 0,0-26 0,-26 39 32,0-13-17,0 13-15,0 1 0,13-1 16,-14 0-16,1 0 0,13 1 0,0 12 0,0-13 15,0 0-15,0 1 16,13-1-16,1-13 16,-1 0-16,0 0 0,0 0 0,14 0 15,-14-13-15,0-1 0,14 14 16,-14-13-16,0 0 0,0 13 0,0-13 16,1 13-16,-28 13 31,1 0-31,0 0 0,-13 1 0,12 12 15,14-13-15,-13 1 0,0-1 0,13 0 16,0 0-16,-13 0 0,13 1 16,13-14-1,0 0-15,0-14 16,1 14-16,-1-13 0,0 0 16,-13 0-16,13 13 0,0-13 15,-13-1-15,0 1 0,14 13 16,-14-13-16,-14 13 15,14 13 17,14 0-32,-1-13 0,13 14 15</inkml:trace>
  <inkml:trace contextRef="#ctx0" brushRef="#br0" timeOffset="56128.79">781 4882 0,'145'0'16,"-119"0"-1,27 0-15,0-14 0,0 14 0,13-13 16,1 13-16,-15 0 0,81-13 16,-80 0-16,13 13 0,0-14 15,-13 1-15,0 13 0,0-13 0,-14 13 16,14-13-16,-13-1 0,13 14 16,-13-13-16,-14 13 0,1-13 0,-1 13 15,-13-13-15,0 13 0,14-13 0,-14-1 16,0 14-16,1-13 0,-1 0 0,0 13 15,-13-13-15,13-1 0,0 1 16,1 0-16,-14 0 0,0 0 16,0-1-16,13 14 0,-13-13 0,0 0 15,0 0-15,0-1 16,0 1-16,0 0 0,0 0 16,-13-1-16,13 1 0,-14 0 0,1 0 15,0 0-15,0-1 0,0 1 0,-14 0 16,1 0-16,-1-14 0,1 14 15,-1 0-15,1-1 0,-1 14 0,14-13 16,-13 0-16,-14 0 0,14 13 0,-1-13 16,1 13-16,-1-14 0,1 14 0,-1-13 15,1 13-15,-1 0 0,1-13 16,-14 13-16,14 0 0,-1 0 16,-12 0-16,12-13 0,1 13 0,-1 0 15,1 0-15,-14 0 0,14 0 0,-14 0 16,13 0-16,-12 0 0,12 0 15,-12 0-15,12 0 0,-13 13 0,14-13 16,-14 0-16,14 0 0,-14 0 0,14 0 16,-14 0-16,14 13 0,-14-13 0,13 0 15,1 0-15,-14 13 0,14-13 16,-1 0-16,1 14 0,-14-14 0,14 13 16,-14 0-16,14-13 0,-1 13 0,-13 0 15,14 14-15,0-14 0,-1 0 16,1 14-16,-1-14 0,1 14 15,-1-14-15,14 13 0,-13 1 0,12-14 16,1 13-16,-13-12 0,12 12 0,14-13 16,-13 1-16,0-1 0,13 13 0,-13-13 15,13 1-15,0-1 0,-13 0 16,13 0-16,0 1 0,0-1 0,13 0 16,-13 0-16,0 0 0,13 1 0,0-14 15,0 13-15,1 0 0</inkml:trace>
  <inkml:trace contextRef="#ctx0" brushRef="#br0" timeOffset="58728.67">15954 5146 0,'-13'0'0,"0"0"16,0-13-16,39 26 62,-13-13-62,1 0 0,-1 0 0,0 0 16,0 0-16,14 0 0,-1 13 16,-13-13-16,14 0 0,-1 0 0,-12 0 15,-1 0-15,13 0 0,-13 0 16,1 0-16,-1 0 0,0 0 0,0 0 16,1 0-16</inkml:trace>
  <inkml:trace contextRef="#ctx0" brushRef="#br0" timeOffset="59023.12">16153 5001 0,'0'0'0,"26"0"16,-13 13-16,1-13 15,-1 13-15,0-13 0,0 13 0,14 1 16,-14-1-16,0 0 0,1 0 0,12 0 16,-13 1-16,0-1 0,-13 0 15,14 0-15,-14 1 0,0-1 0,0 0 16,0 0-16,0 1 0,-14-1 0,1 0 16,0 13-16,0-12 0,0-1 15,-1 0-15,-12 0 0,26 1 16,-13-1-16,-1 0 0,1-13 0,13 13 15</inkml:trace>
  <inkml:trace contextRef="#ctx0" brushRef="#br0" timeOffset="60675.79">17436 5001 0,'0'0'0,"-13"-14"15,0 14-15,13-13 0,-14 13 0,1 0 16,-13 0-16,12 0 0,-12 0 16,13 0-16,-14 0 0,14 13 15,0-13-15,-14 0 0,14 14 0,0-14 16,0 0-16,-1 13 0,1-13 16,0 13-1,13 0 1,13-13-16,0 14 0,1-14 15,-1 13-15,13-13 0,-12 13 0,-1 0 16,0 0-16,0 1 0,1-1 16,-1 0-16,0 0 0,-13 1 0,13-1 15,-13 0-15,0 0 0,-13 1 0,13-1 16,-13 13-16,0-13 0,-1 1 16,1-1-16,0 0 0,0-13 0,-14 13 15,14 1-15,0-14 0,-1 0 16,1 0-16,13-14 15,0 1 1,13 0-16,1 0 16,12-1-16,-13-12 0,14 13 0,-1-14 15,1 14-15,-1-13 0,1 12 16,-1-12-16,1-1 0,-1 27 16,-13-13-16,-13 0 0,13 13 0,1-13 15,-1 13-15,-13-13 16,-13 39 15,13 14-15,53 13 15,-40-53-15,13 0-16,-12 0 0,12 0 15,-13-14-15,0 14 0,-13-13 16,14 13-16,-1-13 0,-13 0 0,13 13 15,-13-14-15,0-12 16,-13 26-16,13-13 0,-13 13 16,-1-13-16,1 13 0,0 0 0,0-14 15,0 14-15,-1 0 0,1 0 16,0 0 0,39 0-1,-12 0 1,12 0-16,-13 0 0,40 0 15,-26 0-15,-1 0 0,-13 0 16,14 0-16,-14 0 0,0 0 0,0 0 16,1 0-16,-1 0 0,0 0 15,0 0-15,-13 14 32,0-1-32,0 0 15,0 0 1,14-13-16,-14 13 15,13-13-15,0 0 0,0 0 16,14 0 0,-14 0-16,-13-13 0,13 13 15,-13-13-15,13 13 0,-13-13 16,14 0-16,-14-1 16,0 1-16,-14 13 15,14-13 1,-13 13-16,0 0 15,26 13 17,14 0-17,-14-13-15,0 0 16,0 0-16,1 0 0,-1 0 16,0 0-16,0 14 31,-13-1-31,-13 0 15,13 0 1,0 0 0,13 1-1,1-14-15,-1 0 16,0-14-16,0 14 16,0-13-16,1 0 0,-1 0 15,0 0-15,-13-1 0,27-25 16,-27 25-16,13-12 0,-13-1 15,13 1-15,-13 0 0,0 12 16,0 1-16,13 0 0,-13 0 0,0-1 16,0 1-16,-26 26 31,13 1-31,13-1 0,-14 27 16,1-14-16,13-13 0,0 14 15,0-14-15,-13 0 0,13 14 0,0-1 16,0-13-16,0 1 0,0 12 15,13-26-15,-13 26 0,13-26 16,1 14-16,-1-1 0,0-13 16,0 13-16</inkml:trace>
  <inkml:trace contextRef="#ctx0" brushRef="#br0" timeOffset="61818.26">18931 4882 0,'0'0'0,"-13"-14"15,-1 28-15,1-14 0,0 0 16,0 13-16,0-13 0,-1 13 16,1 0-16,-13 0 0,12 1 0,1-1 15,0 13-15,0-12 0,13-1 0,-14 0 16,14 0-16,0 1 15,14-1-15,-14 0 0,13-13 16,0 13-16,0-13 0,1 0 0,-1 0 16,13 0-16,-12 0 0,12 0 0,14-13 15,-27 13-15,13-13 16,-12 0-16,-1 13 0,0 0 16,0-14-16,1 14 15,-1 14-15,-13 12 31,0-13-31,0 0 16,13 1-16,0-1 0,0 0 16,1-13-16,-14 13 15,13-13-15,0 0 0,0 0 0,1 0 16,-1 0-16,-13-13 0,13 13 16,-13-13-16,13 0 15,-13-1-15,-13 1 16,0 0-16,13 0 15,-13 13-15,13-13 0,-14 13 16,14-14-16,-13 14 16,40 14 15,-14-14-31,0 0 0,0 13 0,14-13 16,-14 13-16,0-13 0,-13 13 15,13-13-15,1 13 0,-1-13 0,0 14 16,0-1-16,1-13 15,-14 13 1,13-26 31,0 0-31,0 13-16,-13-14 15,14 14-15,-1 0 16,0 0-16,0 0 15,0 14 1,1-14-16,-14 13 16,13-13-1</inkml:trace>
  <inkml:trace contextRef="#ctx0" brushRef="#br0" timeOffset="62625.26">19659 5040 0,'0'40'31,"0"-27"-31,13 0 0,-13 1 16,13-1-16,-13 0 0,13-13 16,-13 13-16,13 1 15,1-1-15,-1-13 16,0-13-1,0 13-15,-13-14 16,0 1-16,14 13 0,-14-13 16,0 0-16,0-1 15,13 14-15,-13-13 0,0 0 32,0 0-32,13 13 15,0 0-15,1 0 16,-1 0-16,0-13 15,0 13-15,0 0 0,1 0 16,-1 0-16,0-14 0,0 14 16,1 0-16,-14-13 0,13 13 15,0-13 1,-26 39 31,13-12-32,13-14 1,-13 13-16,13-13 16,-13 13-16,13-13 0,-13 13 15,14 0-15,-1-13 16,-13 14-16,13-1 16,-13 0 15,27-26 0,-27 0-31,13-1 0,0 1 16,0 13-16,-13-13 0,14 13 15,-1-13-15,0 13 0,0-13 16,0 13-16,1 0 16,-1-14-16,0 14 0,0 0 0,1-13 15,-1 13-15</inkml:trace>
  <inkml:trace contextRef="#ctx0" brushRef="#br0" timeOffset="62826.81">20307 5014 0,'13'0'16,"-13"-13"-16,13 26 31,-13 0-31,0 0 16,0 1-16,0-1 16,0 0-16,0 0 0,-13 0 15,13 1-15,0-1 16,-13-13-16,0 26 0,-1-26 15,1 14-15,0-14 0,0 13 16,-1-13-16,1 0 16</inkml:trace>
  <inkml:trace contextRef="#ctx0" brushRef="#br0" timeOffset="63544.65">20598 5027 0,'-13'-13'0,"-1"13"16,-12 13-1,13-13-15,-1 0 0,1 0 16,13 13-16,-26-13 16,26 14-16,-13-14 0,13 13 0,-14-13 15,1 13-15,13 0 16,0 0 0,13-13-1,1 0-15,-1 0 16,0 0-1,0 0 1,0 0 0,1 14-1,-1-14 1,13-14-16,-12 14 0,-1 0 16,0-13-16,0 13 15,1-13-15,-14 0 0,13 13 0,0-13 16,0-14-16,0 14 0,1 0 0,-1-14 15,0 14-15,0-14 0,-13 14 0,14 0 16,-1-13 0,0 12-16,-13 1 0,13 0 0,-26 26 31,0 0-15,13 1-16,0-1 0,-13-13 15,13 13-15,0 0 0,0 0 0,0 1 16,0-1-16,0 0 0,0 0 0,0 1 15,13-14-15,-13 13 0,13 0 16,0-13-16,0 0 16,1 0-16,-1 0 0,0 0 15,0 0-15,14 0 16,-14 0 0,0 0-16,-13 13 31,14-13-31,-14 14 15,0-1 1</inkml:trace>
  <inkml:trace contextRef="#ctx0" brushRef="#br0" timeOffset="63846.41">20730 4842 0,'0'0'0,"40"0"47,-27 0-47,13 0 16,14 13 0</inkml:trace>
  <inkml:trace contextRef="#ctx0" brushRef="#br0" timeOffset="64190.67">21140 4895 0,'13'13'0,"-26"-26"0,40 26 16,-27 0-1,0 0-15,0 1 0,0-1 16,0 0 0,0 0-16,0 1 15,0-1-15,13-13 16,0 0-16,0 0 31,1-13-31,-1 13 0,-13-14 16,0 1-16,0 0 15,0 0-15,-13 13 16,-1 0 0,1 0-16,13 13 15,-13-13-15,26 13 16,0-13-1,1 13-15,-1-13 0,0 0 0,0 0 16,14 0-16,-1 14 0,14-14 16,-27 0-16,0 0 0,1 0 15</inkml:trace>
  <inkml:trace contextRef="#ctx0" brushRef="#br0" timeOffset="64773.14">16087 6046 0,'26'0'32,"-13"0"-32,1 0 0,12 0 0,-13 0 15,0 0-15,14 0 0,-14 0 16,14 0-16,-1 0 0,-13 0 0,14 0 15,-14 0-15</inkml:trace>
  <inkml:trace contextRef="#ctx0" brushRef="#br0" timeOffset="64990.07">16364 5913 0,'40'27'16,"-40"-14"-1,13 0-15,1 1 0,-1-1 16,0 13-16,-13-13 0,13 1 0,-13-1 16,0 0-16,0 0 0,0 1 0,-13-1 15,13 13-15,-13-12 0,0-1 16,-1-13-16,1 13 0,0 0 0,0 0 16,-1-13-16,1 14 0,0-1 15</inkml:trace>
  <inkml:trace contextRef="#ctx0" brushRef="#br0" timeOffset="66155.53">17251 5808 0,'-13'39'32,"13"-25"-32,-14 12 0,14-13 15,0 14-15,-13-1 0,13-13 0,0 14 16,-13-1-16,13 14 16,0-27-16,0 14 0,0-14 0,0 0 15,0 0-15,0 1 0,0-1 16,0 0-16,-13 0 15,-1-26 1,14 0 0,0 0-16,0-14 0,0 14 0,0-14 15,0-12-15,0 12 0,14-12 16,-14-1-16,13 13 0,0 1 0,0 0 16,-13 12-16,14 1 0,-1 0 0,-13 0 15,13 13-15,0-14 16,1 28-16,-1-14 15,-13 13-15,0 0 0,13 0 0,-13 1 16,0-1-16,0 0 0,-13 0 16,13 0-16,0 1 0,-13 12 15,13-13-15,-14 1 0,1-1 16,0 0-16,0 13 16,-1-26-16,14 14 0,-13-14 0,0 0 15,13 13-15,-13 0 16,13 0-1</inkml:trace>
  <inkml:trace contextRef="#ctx0" brushRef="#br0" timeOffset="66771.87">17423 6099 0,'0'0'0,"13"-14"0,-13 1 15,13 0-15,-13 0 16,0-1-16,0 1 0,0 0 16,0 0 15,-26 39-15,13-13-16,13 1 15,0-1-15,-14 0 16,14 0-16,0 1 0,0-1 15,14-13-15,-14 13 16,13-13-16,0 0 16,0 0-1,0 0-15,-13-13 0,14 0 16,-1-1-16,-13 1 16,13 0-16,-13 0 15,13-1 1,-13 1-16,0 0 15,14 13 1,-1 0 0,-13 13-1,13-13-15,-13 13 0,13 1 16,-13-1-16,14 0 16,-14 0-16,0 1 15,0-1-15,0 0 16,13 0-16,-13 1 15,0-41 32,0 14-47,13 13 0,-13-13 16,13-1-16,0 1 0,1 0 16,-1 0-16,0 13 15,0 0-15,1-14 0,-1 14 0,0-13 16,0 13-16,1 0 0,-1-13 0,0 13 15</inkml:trace>
  <inkml:trace contextRef="#ctx0" brushRef="#br0" timeOffset="66986.58">17859 5966 0,'0'27'32,"-13"-14"-32,13 0 15,0 0-15,0 1 16,0-1-16,0 0 0,0 0 15,0 1-15,0-1 0,0 0 16,-13 0-16,13 1 0,-13-14 16,13 13-16,-14-13 15,14 13-15,-13-13 16,26-13 0,1 0-16</inkml:trace>
  <inkml:trace contextRef="#ctx0" brushRef="#br0" timeOffset="67487.07">17965 6046 0,'0'-14'0,"0"28"0,13-28 0,-26 41 47,13-14-31,0 0-16,0 14 15,0-14-15,0 0 16,13-13-16,1 0 15,-1 0-15,13 0 16,-12-13-16,-1 13 16,0 0-16,-13-13 0,13 0 15,-13-1-15,0 1 16,0 0 0,0 0-16,-13 13 0,13-14 15,-13 14-15,26 14 63,-13-1-63,13-13 0,1 0 15,-1 13-15,0-13 0,-13 13 16,13-13-16,0 14 16,1-14-1,-14 13-15,13-13 16,0 13-1,0-13 17,1 0-32,-1 0 15,0 0 1,0-13 0</inkml:trace>
  <inkml:trace contextRef="#ctx0" brushRef="#br0" timeOffset="68038.84">18812 5741 0,'0'27'31,"13"-14"-31,-13 0 0,0 14 16,0-14-16,0 0 0,0 14 16,-13-14-16,13 13 0,0-12 0,0 12 15,0-13-15,0 1 0,0-1 0,0 0 16,0 0-16,0 0 0,0 1 15,13-28 32,-13 1-47,13 13 16,1-13-16,-1 13 16,0 0-16,0 0 15,0 0-15,1 0 16,-1 13-16,0-13 15,0 0-15,1 0 0,-1 0 16,0 0-16,0 0 0</inkml:trace>
  <inkml:trace contextRef="#ctx0" brushRef="#br0" timeOffset="68770.92">19275 5927 0,'0'0'0,"-27"-14"16,14 14-16,0 14 16,0-14-16,0 0 15,-1 13-15,1-13 16,13 13-16,0 0 16,13-13-1,1 0 1,-1 0-16,0 0 15,-13-13-15,13 13 16,0 0-16,-13-13 16,14 13-1,-1 0 17,0 0-17,0 0 1,1 0-16,-1 0 15,-13-13-15,13 13 0,0 0 0,1 0 0,-14-14 16,13 14-16,0 0 16,0 0-16,-26 14 62,13-1-62,0 0 0,-13 0 16,13 1-1,13-1-15,0-13 16,0 0 0,1 0-16,-1-13 15,0 13-15,0-14 0,-13 1 16,14 0-16,-1 0 0,0-1 0,-13 1 16,13-13-16,0-1 0,1 1 0,-14-1 15,13 14-15,-13-13 0,13 12 0,-13 1 16,0 0-16,0 0 0,-13 0 31,13 26-31,-13 0 16,13 0-16,-14 14 0,14-14 0,-13 0 15,13 0-15,0 14 0,0-14 16,0 14-16,0-14 0,0 0 0,0 13 16,13-12-16,1-1 0,-1 0 0,0 0 15,0 1-15,1-1 0,-1-13 16,0 13-16,14-13 0,-14 13 0,0-13 15,13 0-15</inkml:trace>
  <inkml:trace contextRef="#ctx0" brushRef="#br0" timeOffset="69754.55">20373 5596 0,'0'40'31,"0"-14"-31,-13-13 0,13 14 16,-14-1-16,14-13 0,-13 14 0,13-1 15,0 1-15,-13-1 0,13-12 16,0-1-16,0 0 0,13 0 0,-13 0 16,0 1-16,13-1 0,1-13 0,-14 13 15,13-13-15,0 0 0,0 0 16,1 0-16,-1 0 0,0-13 0,0 13 15,14-13-15,-14 13 0,0-14 0,0 14 16,-13-13-16,14 13 0,-14-13 16,13 13-16,0 0 15,-13 13 1,0 0 0,0 1-16,13-1 15,1 0-15,-1-13 16,0 0-16,0 0 0,1 0 15,-1 0-15,0 0 0,0-13 16,0 13-16,-13-13 0,14-1 16,-14 1-1,-14 0-15,14 0 16,-13 13-16,0 0 16,0-13-16,26-1 46,0 14-46,14 0 16,-14 0-16,0 14 16,0-14-16,1 0 0,-1 13 15,0-13-15,0 13 16,0-13-16,-13 13 16,14 0-1,-1-13 16,0-13-15,0 13-16,-13-13 16,14 13-16,-1 0 15,0-13-15,0 13 0,1 0 16,-1 0-16,0 0 0,0 0 16,0 0-16,1 0 15,-1 0-15,0 0 0</inkml:trace>
  <inkml:trace contextRef="#ctx0" brushRef="#br0" timeOffset="70218.87">21246 5781 0,'-26'0'0,"52"0"0,-66 0 0,27 0 16,0 0-16,0 0 15,13 13-15,-14-13 0,1 0 0,13 14 16,-13-14-16,13 13 0,-13 0 0,13 0 16,0 1-1,0-1-15,0 0 16,0 0-16,0 0 0,13 1 0,-13-1 0,0 0 15,13 0-15,-13 1 16,0 12-16,13-13 0,-26 0 16,13 1-16,-13-1 0,13 0 15,-13 0-15,0-13 0,-1 14 16,1-1-16,0-13 0,0 0 16,-1 0-1,14-13-15,14-1 16,-1 1-1,0 0-15,14 0 0,-14 13 16,0-14-16,13 1 0,1 13 0,-14-13 16,14 0-16,-14 13 0,13-13 15,-13 13-15,1-14 0,12 1 0,-13 13 16,1-13-16,-1 0 0,13 13 0,-12-14 16</inkml:trace>
  <inkml:trace contextRef="#ctx0" brushRef="#br0" timeOffset="70701.06">21947 5358 0,'0'26'31,"0"-12"-31,-13 12 0,13-13 16,0 14-16,-13-14 0,0 27 0,-1-14 15,1 14-15,13-14 0,-13 1 0,0-14 16,13 13-16,-14-12 15,14-1-15,0 0 0,-13 0 0,13 0 16,0 1-16,13-14 31,14-14-31,-27 1 0,13 0 16,14 0-16,-14 0 0,0 13 0,0-14 16,0 14-16,1-13 0,-1 13 15,0 0-15,0 0 16,1 0-16,-14 13 0,13-13 0,-13 14 15,13-1-15,-13 0 16,13 0-16,0 0 16,1-13-16,-14 14 0,13-14 15,0 0-15,0 0 0,14 0 0</inkml:trace>
  <inkml:trace contextRef="#ctx0" brushRef="#br0" timeOffset="71146.88">22410 5675 0,'13'-26'0,"-26"13"15,-13 13 1,13-14-16,-1 28 0,1-14 16,0 0-16,0 0 0,-14 0 15,1 13-15,-1 0 0,14 0 16,-13 1-16,12-1 16,1 0-16,26 0 31,1-13-31,-1 0 15,0 0-15,0 0 0,0 0 16,1 0-16,-1-13 0,0 13 0,0-13 16,1 13-16,-1 0 0,0-13 0,0 13 15,1 0-15,-1 0 16,-13 13 0,13-13-1,-13 13-15,0 0 16,13-13-16,0 0 15,1 13 1,12-13-16,-13 0 16,1 0-16,-1 0 0,0 0 15,0 0 1,0 14-16,1-1 16,-1-13-1</inkml:trace>
  <inkml:trace contextRef="#ctx0" brushRef="#br0" timeOffset="71282.66">22635 5556 0,'0'-13'0,"0"26"0,-13-39 16</inkml:trace>
  <inkml:trace contextRef="#ctx0" brushRef="#br0" timeOffset="71549.25">22741 5609 0,'0'0'0,"0"27"0,0-14 16,-13 0-16,13 0 0,0 1 15,0-1-15,0 0 16,0 0-16,0 0 0,0 1 0,0-1 16,0 0-1,13-13-15,0 0 16,0-13-16,1 13 16,-1-13-16,0 13 0,-13-14 0,13 14 15,1-13-15,-1 13 16,0-13-16,0 13 15,0 0-15,14 0 16,-14 0-16,0 0 0,1 0 16</inkml:trace>
  <inkml:trace contextRef="#ctx0" brushRef="#br0" timeOffset="71650.8">23138 5755 0,'13'-14'31</inkml:trace>
  <inkml:trace contextRef="#ctx0" brushRef="#br0" timeOffset="73203.7">16060 7448 0,'-13'0'16,"26"13"15,67 0-15,-54-13-1,-13 14-15,14-14 0,-1 0 16,1 0-16,-14 0 0,13 0 0,1 0 16,-1 0-16,-13 0 0,1 0 15,-1 0-15,13 0 0,-12 0 16</inkml:trace>
  <inkml:trace contextRef="#ctx0" brushRef="#br0" timeOffset="73483.05">16298 7382 0,'0'-13'15,"27"13"17,-14 0-32,-13 13 0,26-13 0,-12 13 15,-1-13-15,0 13 0,0 1 0,14-1 16,-14 0-16,0 0 0,1 0 15,-1 1-15,-13-1 0,13 0 0,-13 0 16,0 1-16,0-1 0,-13 13 0,13-12 16,-13-1-16,-1 13 0,-12-13 15,13 1-15,-1-1 0,1 13 16,-13-12-16,-1 12 0,14-13 0,0 1 16,0-14-16,-1 13 0,1-13 0</inkml:trace>
  <inkml:trace contextRef="#ctx0" brushRef="#br0" timeOffset="74314.89">14896 7355 0,'-13'-26'31,"13"39"-15,-13 0-16,13 1 0,0-1 15,-14 13-15,14-12 0,0 12 0,0-13 16,-13 14-16,13-1 0,0 1 16,0-14-16,13 13 0,-13-12 0,0 12 15,14-13-15,-1 0 0,0 1 0,13-1 16,1 0-16,-14-13 0,14 0 15,-1 0-15,1-13 0,-1 13 16,0-13-16,1-1 0,13-12 0,-27 13 16,13-14-16,-12 1 0,-1-1 0,0-12 15,-13 12-15,0-12 0,0-1 16,-13 0-16,0 0 0,-1 1 0,1-1 16,-13 14-16,12-1 0,-12 1 0,13 13 15,-1-1-15,1 1 0,0 0 16,0 13-16,0 0 0,-1 0 0,1 0 15,0 13-15,0 0 0,-1 14 16,14-14-16,0 0 0,0 14 0,14 12 16,-14 1-16,13 0 15,0-1-15,0 1 0,1-13 0,12 12 16,-13 1-16,0 0 0,1-1 0,-1-12 16,0 12-16,0 1 0,1-13 0,-1-1 15,-13 1-15,13-14 0,-13 13 16,13-13-16,-13 1 0,0-1 0,14 0 15,-14 0-15,0 1 16,13-14-16,0-14 16,0 1-1</inkml:trace>
  <inkml:trace contextRef="#ctx0" brushRef="#br0" timeOffset="75130">17277 7236 0,'-13'-13'15,"0"26"16,13 1-31,0-1 0,-13 0 0,13 13 16,0 1-16,-14-14 0,14 14 16,0-1-16,-13 1 0,13-1 0,0 0 15,0 1-15,0-14 0,-13 14 0,13-14 16,0 0-16,0 0 0,0 14 0,0-14 16,0 0-16,0 0 15,0 1-15</inkml:trace>
  <inkml:trace contextRef="#ctx0" brushRef="#br0" timeOffset="75480.81">17145 7302 0,'-13'-39'0,"26"78"0,-26-91 0,13 38 15,13 1-15,-13 0 0,0 0 16,13-1-16,0 14 0,-13-13 16,14 13-16,-1-13 0,13 13 0,-12 0 15,-1 0-15,0 13 0,0-13 0,14 13 16,-14 1-16,0-1 0,0 0 16,1 0-16,-1 1 0,-13-1 15,13 0-15,-13 0 0,0 0 0,0 1 16,-13-1-16,13 13 0,-13-26 0,-1 14 15,1-1-15,0 0 0,0 0 16,0-13-16,-1 14 0,1-1 0,0-13 16,0 0-16,-1 13 0,1-13 0,0 0 15,0 0-15,-1 0 16</inkml:trace>
  <inkml:trace contextRef="#ctx0" brushRef="#br0" timeOffset="76839.02">17833 7474 0,'26'0'31,"-12"0"-31,-1 0 0,13 0 0,-12 0 15,-1 0-15,13 0 0,-13 0 0,1-13 16,12 13-16,-13 0 0,1 0 16,-1 0-16,0 0 0,14 0 0,-14 0 15,0 0-15,0 0 16,-13-13-16</inkml:trace>
  <inkml:trace contextRef="#ctx0" brushRef="#br0" timeOffset="77108.28">18071 7355 0,'-13'0'31,"39"0"-15,-12 0-16,-1 0 15,0 14-15,0-14 0,40 26 16,-26-13-16,-14 1 0,0-1 15,13 0-15,-26 0 0,14-13 0,-1 13 16,-13 1-16,13-1 0,-13 0 16,-13 0-16,13 1 0,-13-1 15,13 0-15,-14 0 0,14 1 0,-13-14 16,13 13-16,-13 0 0</inkml:trace>
  <inkml:trace contextRef="#ctx0" brushRef="#br0" timeOffset="77402.49">18931 7250 0,'13'13'31,"-13"0"-31,0 0 0,13 0 16,-13 1 0,0-1-16,0 0 0,0 0 0,0 1 0,0-1 15,0 0-15,0 0 0,0 1 16,-13-14-16,13 13 0,0 0 15,13-13-15</inkml:trace>
  <inkml:trace contextRef="#ctx0" brushRef="#br0" timeOffset="77818.71">19262 7064 0,'0'0'16,"-14"27"0,14-14-16,0 0 15,-13 1-15,13 12 0,0-13 16,-13 14-16,13-1 0,-13-13 0,13 14 16,0-1-16,0-13 0,13 1 0,-13 12 15,0-13-15,13 1 0,-13-1 0,13 0 16,1 0-16,-1 1 0,0-1 15,0-13-15,1 0 0,-1 0 16,0 0-16,14 0 16,-14-13-16</inkml:trace>
  <inkml:trace contextRef="#ctx0" brushRef="#br0" timeOffset="77995.17">19116 7302 0,'0'0'0,"27"-13"16,-14 13 0,0-13-16,14 13 0,-14 0 0,13-13 15,1 13-15,-14 0 0,13-13 16,-12 13-16,12 0 0,-13-14 0,1 14 16,-1 0-16,0 0 15,-13-13-15</inkml:trace>
  <inkml:trace contextRef="#ctx0" brushRef="#br0" timeOffset="78134.62">18918 7131 0</inkml:trace>
  <inkml:trace contextRef="#ctx0" brushRef="#br0" timeOffset="78877.82">20188 7276 0,'0'26'31,"0"-12"-31,0-1 16,13 0-16,-13 0 0,13 1 15,0-1-15,1-13 16,-14 13-16,13-13 15,0 0-15,0 0 0,1 0 16,-1-13-16,0 13 0,0 0 16,0 0-16,1 0 0,-1 0 15,0 0-15,0 0 16,1 0-16,-1 0 16,0 0-16,-13 13 0,13-13 15,1 0-15,-1 0 16,0 0-16,-13-13 15,13 13-15,0 0 0,-13-13 16,0-1-16,14 14 0,-14-13 16,0 0-16,0 0 15,0-1-15,0 1 32,13 13-32,0 0 15</inkml:trace>
  <inkml:trace contextRef="#ctx0" brushRef="#br0" timeOffset="79450.69">20796 7236 0,'0'-13'15,"-13"13"-15,-13 0 31,12 13-31,1-13 16,13 14-16,-13-1 0,13 0 16,0 0-1,0 0 1,13 1-16,0-14 16,1 0-1,-1 0-15,0-14 16,0 1-16,0 13 31,-13-13-15,0 39 15,0-12-15,14-14-1,-1 13-15,0-13 16,0-13-1,1 13-15,-1-14 16,0 14-16,0-13 16,1 0-16,-1 0 15,0 13-15,0 0 32,0 0-32,-13 13 15,14-13 1,-14 13-16,0 0 15,0 1-15,0-1 16,-14 0 0,14 0-16,-13-13 15</inkml:trace>
  <inkml:trace contextRef="#ctx0" brushRef="#br0" timeOffset="79924.85">21669 7157 0,'0'0'0,"-26"-13"15,-1 26 1,14-13-16,0 0 16,0 13-16,0-13 0,-1 13 0,1-13 15,0 14-15,0-1 16,-1-13-16,14 13 0,0 0 15,14 1-15,-1-14 16,13 0 0,-12-14-16,-1 14 0,0 0 0,0-13 15,0 13-15,1 0 0,-1 0 16,0-13-16,0 13 0,1 0 16,-1 0-1,0 0-15,0 13 0,1-13 16,-1 0-16,0 13 15,0-13-15,0 0 16,1 14-16,-1-14 0,0 0 16</inkml:trace>
  <inkml:trace contextRef="#ctx0" brushRef="#br0" timeOffset="80508.75">22357 7064 0,'-26'14'47,"26"-1"-32,-13 0-15,13 0 16,0 1-16,0-1 0,0 0 16,0 0-16,13 0 15,0-13 1,0 0-16,1 0 0,-1 0 15,0 0-15,0 0 0,0 0 0,1 0 16,-1-13-16,0 13 0,0 0 0,1 0 16,12 0-1,-13 0-15,-13 13 0,13-13 16,-13 14-16,14-14 16,-1 0-16,-13 13 0,13-13 15,0 0-15,1 0 16,-1 0-16,0 0 0,0-13 15,1 13-15,-14-14 0,13 14 16,-13-13-16,13 13 0,-13-13 16,13 0-16,-13 0 0,0-1 15,0 1-15,13 13 16,-13-13-16,0 0 16,14 13-1</inkml:trace>
  <inkml:trace contextRef="#ctx0" brushRef="#br0" timeOffset="80812.05">22820 7091 0,'0'0'0,"14"13"16,-14 0-16,0 1 15,13-1 1,0 0-1,0-13-15,0 0 0,-13 13 16,14-13-16,-1 0 16,0-13-16,0 13 0,1 0 15,-1-13-15,-13 0 16,0-1-16,0 1 16,-13 0-16,-1 0 15,1-1-15,0 14 16,0 0-16,-1 0 15,1 0-15,0 0 0,0 14 16</inkml:trace>
  <inkml:trace contextRef="#ctx0" brushRef="#br0" timeOffset="81327.17">23019 7078 0,'13'0'31,"-13"13"0,13 0-31,-26-13 16,13 13-16,0 1 16,13-1 15,0-26 0,1 13-31,-1-14 0,0 14 16,0 0-16,1 0 15,-1 0 1,0 0 0,0 14-1,1-14 16,-14 13-15,13-13 0,0-13-1,0-1 1,0 14 0,1 0-16,-1 0 15,0 0-15,0 0 31,1 0-31,-14 14 16,13-1 0,0-13-1</inkml:trace>
  <inkml:trace contextRef="#ctx0" brushRef="#br0" timeOffset="81953.56">23495 7210 0,'26'-13'0,"14"-14"31,-40 14-31,13 13 0,-13-13 16,14 13-16,-14-13 0,0-1 15,13 1-15,-13 0 16,0 0 15,-27 26-15,27 0-16,-13-13 15,13 13 1,0 1 0,13-1-1,1-13 1,-1 0-16,-13 13 16,13-13-16,0 0 15,-13 13-15,14-13 16,-1 0-1,0 13 1,0-13 15,0-13-15,1 13-16,-1 0 16,0-13-16,0 13 15,1 0 1,-1 0-16,0 0 15,0 0 1,0 0-16,1 0 31</inkml:trace>
  <inkml:trace contextRef="#ctx0" brushRef="#br0" timeOffset="82064.1">23984 7157 0,'0'0'15,"14"0"-15,-1 0 16,-13-13 0,13 13-1</inkml:trace>
  <inkml:trace contextRef="#ctx0" brushRef="#br0" timeOffset="110171.51">2871 5490 0,'0'-13'0,"-13"0"78,-1-1 62,14 28-61,-13-1-64,13 0-15,0 0 16,0 1-16,0-1 15,0 0-15,0 0 16,0 0-16,0 1 16,0-1-16,13 0 15,-13 0 1,14 1-16,-1-1 31,0-13-15,0 0-16,0 0 15,1 0 1,-14-13-16,13 13 16,-13-14-16,13 14 15,-13-13 1,13 13 0,-13-13-1,14 26 32,-1-13-31,0 13-1,0-13 1,0 0-16,1 0 16,-1-13-1,0 13-15,0 0 16,-13-13-1,14 0-15,-14-1 16,13 1-16,-13 0 16,0 0-1,0 0-15,0-1 0,0 1 32,0 0-32,13 0 46,-13 39-30</inkml:trace>
  <inkml:trace contextRef="#ctx0" brushRef="#br0" timeOffset="113139.42">5093 4921 0,'27'0'15,"-14"0"-15,0 0 16,0 0-16,1 0 0,-1 0 16,0 0-16,0 0 0,1 0 0,-1 13 15,0-13-15,0 0 0,0 0 0,1 14 16,-1-14-16,0 13 0,0 0 0,-13 0 16,14 1-16,-1-1 15,-13 13-15,13-12 0,-13 12 0,0 0 16,0 1-16,0-1 0,13 1 0,-13-1 15,0 1-15,-13-1 0,13 1 16,0 12-16,0-12 0,0-1 0,0 14 16,0 0-16,0 13 0,0-14 15,0 1-15,0 13 0,0-13 0,0 12 16,-13-12-16,13 13 0,0 0 0,0-13 16,0 13-16,0-14 0,0 14 0,-13-13 15,13 0-15,0-1 0,0 1 0,0 0 16,0-14-16,0 1 15,0 12-15,0-12 0,0-1 0,0 1 0,0-1 16,0-13-16,0 14 0,-14-14 16,14 13-16,0-12 0,0-1 15,-13 0-15,13 0 0,0 1 0,-13-1 16,13 0-16,-13-13 0,-1 13 0,-12 1 16,13-14-16,0 0 0,-1 0 15,-12 13-15,-1-13 0,1-13 16,-1 13-16,-12-14 0,-1 1 15</inkml:trace>
  <inkml:trace contextRef="#ctx0" brushRef="#br0" timeOffset="113966.72">2103 5173 0,'0'0'0,"-66"13"0,-26 27 32,78-27-32,1-13 0,0 13 15,0 0-15,0 0 0,-1 1 16,1 12-16,13-13 0,-13 14 0,13-1 16,0 1-16,-13-1 0,13 14 0,0 0 15,0 12-15,0 1 0,0 0 16,13 13-16,-13 1 0,0-1 0,13 0 15,-13 13-15,0-13 0,0 14 0,13-14 16,-13 13-16,0-13 0,0 14 0,0-14 16,0 0-16,0 0 0,0 0 15,-13-13-15,13 0 0,0 0 0,-13-13 16,13 13-16,-13-14 0,13 1 16,-14 79-1,14-92-15,0-14 0,0 13 16,0-12-16,0-1 0,0 13 0,14-13 15,-14 1-15,13-1 0,0-13 0,0 13 16,1-13-16,-1 0 0,13 0 16,1 0-16,-1 0 0,1 0 15,12-13-15,1 0 0,0 13 0,-1-14 16,-12 1-16,12 0 0</inkml:trace>
  <inkml:trace contextRef="#ctx0" brushRef="#br0" timeOffset="121879.8">1998 8414 0,'0'26'47,"0"1"-31,0-14-16,0 0 0,0 14 15,0-14-15,0 13 0,0 1 0,0-1 0,-14-13 16,14 14-16,0-1 16,0-12-16,0 12 0,-13-13 0,13 14 15,0-14-15,0 0 0,0 0 0,0 1 16,-13-1-16,13 0 16,0 0-16,0 1 15</inkml:trace>
  <inkml:trace contextRef="#ctx0" brushRef="#br0" timeOffset="122398.63">1931 8440 0,'0'-13'16,"0"0"-16,0 0 15,14-1-15,-1 1 16,-13 0-16,13 13 0,0 0 16,1-13-16,12 13 0,-13 0 15,1 0-15,-1 0 0,26 13 16,-25-13-16,-1 13 0,0 0 0,0-13 15,1 14-15,-14-1 0,13 0 16,-13 0-16,0 0 0,13 1 0,-13-1 16,-13 0-16,13 0 0,0 1 15,-13-1-15,-1 0 0,1 0 16,0 0-16,13 1 0,-13-1 0,-1 0 0,1 0 16,0-13-16,0 14 0,0-14 15,-1 13-15,1 0 16,0-13-16,0 0 0</inkml:trace>
  <inkml:trace contextRef="#ctx0" brushRef="#br0" timeOffset="123391.52">2474 8149 0,'13'-13'0,"-26"0"31,0 26-15,-1 0-16,14 14 15,-13-14-15,0 13 0,0 14 16,-1 0-16,1-1 0,0-12 0,13 26 16,-13-14-16,0 1 0,-1 0 15,14-1-15,-13 1 0,0 0 0,13 0 16,-13-1-16,13-12 0,0-1 0,-14 1 15,14-1-15,0 1 0,0-14 16,0 0-16,0 13 0,0-12 16,0-1-16,27 40 15,-14-53-15,0 13 16,1-13-16,-1 0 16,0 0-16,0 0 0,0 0 0,-13-13 15,14 13-15,-1 0 0,0 0 16,0-13-16,1 13 0,-1-14 0</inkml:trace>
  <inkml:trace contextRef="#ctx0" brushRef="#br0" timeOffset="126108.55">2633 8453 0,'0'-13'47,"0"40"15,-14-14-46,14 0-1,0 0-15,-13 1 0,13-1 16,0 0-16,-13 0 0,13 0 0,-13 1 16,13-1-16,0 0 15,-14 0-15,14 1 0,-13-14 16,13 13-16,-13 0 0,13 0 16,0 1-1,-13-14-15,13 13 16,0 0 31,13-13-32,0 0-15,0 0 32,1 0-32,-1 0 0,0 0 15,0 0-15,1 13 0,-1-13 16,0 0-16,0 0 15,14 0 1,-14 0-16,0 0 16,0 0-16,1 0 15,-1 0 1,0 0 0,0 0-1,1 0 16,-1 0 173,-13-13-204</inkml:trace>
  <inkml:trace contextRef="#ctx0" brushRef="#br0" timeOffset="126948.09">3043 8295 0,'0'26'47,"0"-13"-32,0 1-15,0-1 0,0 13 16,0-12-16,0 12 0,0 0 0,0 1 16,-14-1-16,14 1 0,0-1 0,0 1 15,0-14-15,-13 13 0,13 1 16,0-14-16,0 14 0,0-14 16,-13 0-16,13 0 0,0 0 0,0 1 15,-13-1-15,13 0 0,0 0 0,0 1 16,0-1-1,0 0-15</inkml:trace>
  <inkml:trace contextRef="#ctx0" brushRef="#br0" timeOffset="127673.49">3241 8533 0,'-13'13'63,"13"0"-63,0 0 16,0 1-16,0-1 15,0 0-15,0 0 16,0 1-1,13-14-15,-13 13 0,13-13 16,1 0-16,-1-13 16,0 13-16,0 0 15,-13-14-15,14 14 0,-1 0 0,-13-13 16,13 13-16,0 0 16,0 0-1,1 0-15,-1 13 16,0-13-16,0 14 15,27-14 1,-27 0-16,0 0 16,-13-14-16,14 14 0,-1-13 15,0 13-15,-13-13 0,13 0 0,1-1 16,-14 1-16,13 0 16,-13 0-16,0 0 15,0-1-15,13 14 0,-13-13 16,0 0-16,-13 13 15,13-13 1</inkml:trace>
  <inkml:trace contextRef="#ctx0" brushRef="#br0" timeOffset="128638.58">3651 8043 0,'0'0'15,"13"27"-15,1-14 0,-1 0 0,-13 14 16,13-1-16,0 14 0,1 0 15,-1-1-15,0 1 0,0 0 16,1-1-16,-14 1 0,13 0 0,-13-1 16,0-12-16,0 26 0,0-27 15,-13 1-15,13-1 0,0-13 16,-27 40 0,14-40-16,13 1 0,-13-14 0,13 13 0,-14-13 15,1 0 1</inkml:trace>
  <inkml:trace contextRef="#ctx0" brushRef="#br0" timeOffset="128955.72">4286 8308 0,'13'0'16,"1"0"-16,-1 0 0,0 0 15,0-13-15,1 13 0,-1 0 16,0 0-16,0 0 0,1-14 16,-1 14-16,0 14 0,0-14 15</inkml:trace>
  <inkml:trace contextRef="#ctx0" brushRef="#br0" timeOffset="129168.8">4286 8427 0,'27'26'15,"-14"-26"1,0 0-16,0 0 0,1 0 16,-1 0-16,0 0 0,0 0 15,1 0-15,-1 0 0,0 0 0,0-13 16,14 13-16</inkml:trace>
  <inkml:trace contextRef="#ctx0" brushRef="#br0" timeOffset="129874.99">1733 9909 0,'0'0'0,"13"26"15,-13-13 1,0 14-16,0-14 0,0 0 15,0 40-15,0-26 0,0-14 16,0 13-16,0 1 0,0-14 16,0 13-16,0-12 0,0-1 0,0 0 15,0 14-15,0-14 0,0 0 16,0 0-16,0 1 16,0-1-16,0 0 15</inkml:trace>
  <inkml:trace contextRef="#ctx0" brushRef="#br0" timeOffset="130243.99">1627 9988 0,'0'-26'15,"0"12"-15,53-25 32,-40 39-32,1 0 0,-1 0 15,0 0-15,0 13 0,0-13 0,1 13 16,-1-13-16,-13 13 15,13-13-15,-13 14 0,0-1 16,0 0-16,0 0 0,0 0 16,-13 1-16,0-1 0,-1 0 15,1 0-15,0 1 0,0-1 0,0-13 16,-1 13-16,1-13 0,0 13 16,0-13-16</inkml:trace>
  <inkml:trace contextRef="#ctx0" brushRef="#br0" timeOffset="130910.67">2183 9591 0,'-13'-13'0,"-27"53"32,27-14-32,-1 1 0,1-1 15,0 14-15,0-14 0,0 14 16,-1-1-16,1 1 0,0 0 0,0-14 15,13 14-15,-14 0 0,14-14 0,0 14 16,0-14-16,0 1 0,0-1 16,0 27-16,0-40 0,0 14 15,0-14-15,14 14 0,-14-14 0,13 0 16,-13 0-16,13 0 0,0 1 16,1-1-16,-14 0 0,13-13 15,0 13-15,0-13 0,0 0 0,1 0 16,12 0-16,-26-13 15,13 13-15,1-13 16,-1 13-16</inkml:trace>
  <inkml:trace contextRef="#ctx0" brushRef="#br0" timeOffset="131368.66">2381 9948 0,'0'-13'15,"13"40"17,-26-14-32,13 0 15,0 0-15,0 0 0,-13 1 0,13-1 16,0 0-16,-13 0 0,13 1 15,0-1-15,-13 0 0,13 0 0,0 1 16,-14-1-16,14 0 16,0 0-16,0 0 15,0 1 1,14-14-16,-1 0 16,0 0-1,0 0-15,0 0 16,1 0-1,-1 0-15,0 0 32,0 0-32,1 13 31,-1-13-15,0-13-1</inkml:trace>
  <inkml:trace contextRef="#ctx0" brushRef="#br0" timeOffset="131927.35">2844 9604 0,'0'27'31,"0"-14"-31,0 14 16,0-14-16,0 13 0,0 1 0,0 12 16,0-12-16,0 12 0,0-12 15,-13-1-15,13 14 0,0-13 0,0-1 16,0 0-16,-13 1 0,13-1 16,0-12-16,0-1 0,0 0 15,0 0-15,0 1 0,-13-1 0,13 0 16,0 0-16,0 0 15,0 1-15,13-14 16</inkml:trace>
  <inkml:trace contextRef="#ctx0" brushRef="#br0" timeOffset="132784.15">3069 9922 0,'0'13'15,"-13"0"-15,13 1 16,0-1-16,0 0 0,-13 0 16,13 0-16,0 1 0,0-1 15,0 0-15,-14 0 0,14 1 16,0-1-16,0 0 15,0 0 17,-13 1-17,26-41 32,-13 14-47,14 0 0,-14-1 16,13 1-16,-13 0 15,0 0-15,13-1 0,0 1 16,-13 0-16,14 0 0,-1 0 16,-13-1-16,13 14 15,-13-13-15,13 13 0,1 0 16,-14 13 0,13-13-16,-13 14 0,13-14 15,-13 13-15,0 0 16,13-13-16,-13 13 0,0 0 15,13-13 1,-13 14-16,0-1 16,14 0-1,-1-26 17,-13 0-32,13-1 15,-13 1-15,13 13 0,-13-13 16,14 0-16,-1 0 15,0-1 1,0 28 0,-13-1-1,0 0-15,14 0 16,-14 0 0,0 1-16,0-1 0,0 0 15,13-13 1,-26 13-16,26-13 15</inkml:trace>
  <inkml:trace contextRef="#ctx0" brushRef="#br0" timeOffset="133099.76">3453 9538 0,'13'0'15,"53"27"1,-53-14-16,1 13 0,-1-12 0,13 12 16,-12 1-16,12-1 0,-13 0 15,0 1-15,-13-1 0,14 1 0,-14-1 16,0 1-16,0-1 0,-14 14 15,14-14-15,-13 14 0,0 0 0,0-14 16,0 1-16,-1-1 0,1-13 16,0 1-16,0-1 0,13 0 0,0 0 15,-14 0-15,28-13 16</inkml:trace>
  <inkml:trace contextRef="#ctx0" brushRef="#br0" timeOffset="133432.63">4180 9856 0,'0'-14'0,"14"14"0,-1-13 15,0 13 1,0 0-16,1 0 0,-14-13 15,13 13-15,0 0 0,0 0 16,0 13 0</inkml:trace>
  <inkml:trace contextRef="#ctx0" brushRef="#br0" timeOffset="133624.35">4167 9988 0,'13'13'0,"27"-13"31,-27 0-31,1-13 0,-1 13 16,13 0-16,-13 0 16,-13-13-16,14 13 0,-1 0 15,0-13-15</inkml:trace>
  <inkml:trace contextRef="#ctx0" brushRef="#br0" timeOffset="165659.32">5292 8229 0,'-14'0'15,"1"-14"110,13 1-125,-13 13 16,0-13-16,0 13 15,-1-13-15,1-1 16,0 14-16,0 0 16,13-13-16,-14 13 0,1 0 15,0 0-15,0 0 0,-1 0 16,14 13-16,-13-13 0,0 0 0,0 14 16,0-1-16,-1 0 0,14 0 15,-13-13-15,13 14 0,0-1 16,-13 0-16,13 0 0,13 0 15,-13 1-15,13-14 16,1 13-16,-1-13 16,0 0-16,0-13 0,0 13 0,1 0 15,-14-14-15,13 14 0,0-13 0,0 13 16,-13-13-16,14 13 0,-14-13 16,13 0-16,0-1 0,0 1 15,-13 0 1,14 26-1,-14 0 1,13-13-16,-13 14 0,0-1 0,0 13 16,0-13-16,0 1 0,0 12 0,0-13 15,0 14-15,-13-14 16,13 14-16,0-14 0,0 66 16,0-66-16,0 1 15,0-1 1,0 0-16,13-13 15,0 0-15</inkml:trace>
  <inkml:trace contextRef="#ctx0" brushRef="#br0" timeOffset="166155.43">5503 8255 0,'-13'-13'31,"0"13"-31,13 13 16,-13 0-16,13 0 0,0 1 0,-14-1 15,14 0-15,0 14 0,0-14 0,-13 0 16,13 0-16,0 1 0,13 12 15,-13-13-15,0 0 0,14 1 16,-1-14-16,-13 13 0,13-13 0,0 13 16,1-13-16,-1-13 15,0 13-15,0 0 0,0-13 16,1-1-16,-1 14 0,-13-13 16,13-13-16,0 13 15,-13-14 1,14 14-16,-28-14 0,14 14 15,0 0-15,0 0 0,-13 13 0,13-14 16,-13 1-16,13 0 0,-13 13 0,-1-13 16,1 13-16,0-13 15,0 13-15,0 0 16,-1 0-16,1 0 0,0 0 16,0 0-16,-14 13 15,27 0-15,-13 0 16,26 14-1</inkml:trace>
  <inkml:trace contextRef="#ctx0" brushRef="#br0" timeOffset="166443.25">5821 8176 0,'0'13'32,"0"0"-17,0 0-15,0 1 0,0-1 0,0 0 16,-13 13-16,13-12 0,0-1 16,-14 13-16,14-12 0,-13 12 0,13-13 15,0 14-15,-13-14 0,13 0 16,-13 0-16,13 1 0,0-1 0,-14 0 15,14 0-15,0 1 0,-13-1 16,13 0-16,13 0 31</inkml:trace>
  <inkml:trace contextRef="#ctx0" brushRef="#br0" timeOffset="166623.21">5689 8348 0,'-14'0'0</inkml:trace>
  <inkml:trace contextRef="#ctx0" brushRef="#br0" timeOffset="166787.44">5861 8493 0,'13'0'31,"-13"13"-31,-13 1 15</inkml:trace>
  <inkml:trace contextRef="#ctx0" brushRef="#br0" timeOffset="190951.34">5371 9737 0,'-13'26'32,"0"-26"-32,13 13 15,0 1-15,0-1 0,0 0 0,0 0 16,0 0-16,-14 1 0,28-1 0,-14 0 15,0 0-15,0 1 16,0-1-16,0 0 0,13 0 16</inkml:trace>
  <inkml:trace contextRef="#ctx0" brushRef="#br0" timeOffset="191578.85">5120 9710 0,'0'27'31,"0"-14"-31,0 0 0,0 14 16,0-1-16,-14-13 0,14 0 15,0 14-15,0-14 0,0 0 0,-13 14 16,13-14-16,0 0 16,0 1-16,0-1 0,0 0 0,0 0 15,0 0-15,13-13 16</inkml:trace>
  <inkml:trace contextRef="#ctx0" brushRef="#br0" timeOffset="192203.16">5450 9776 0,'0'-13'31,"-13"26"-31,13 1 0,-13-1 15,13 13 1,-13-13-16,13 1 0,0-1 0,0 0 16,0 0-16,0 1 0,0-1 15,13 0-15,-13 0 16,13-13-16,0 14 0,1-14 16,12 0-1,-13 0-15,1 0 0,-1-14 16,0 14-16,0 0 0,-13-13 0,13 13 15,1-13-15,-1 0 16,-13-1-16,13 14 0,-13-13 0,0 0 16,0 0-16,0-1 15,0 1-15,-13 13 0,13-13 16,-13 0-16,13 0 0,-14 13 16,1-14-16,0 1 15,0 13-15,0 0 0,-1-13 16,1 13-16,0 0 0,-14 0 15,14 0-15,0 13 16,0-13-16,13 13 16,-13-13-16,13 14 15,-14-1-15</inkml:trace>
  <inkml:trace contextRef="#ctx0" brushRef="#br0" timeOffset="192875.42">5556 9737 0,'0'0'0,"-13"-14"16,0 14-16,0-13 15,-1 13 1,1 13-1,0-13-15,0 0 0,13 14 16,-14-14-16,1 13 0,13 0 0,-13-13 16,0 13-16,13 1 0,-13-1 0,13 0 15,-14 0-15,14 0 0,-13-13 16,13 14-16,0-1 0,0 0 0,0 0 16,0 1-16,0-1 15,0 0-15,13-13 16,-13 13-16,14-13 0,-14 14 0,13-14 0,0 13 15,0-13-15,0 0 16,1 0-16,-1 0 16,0 0-16,0-13 0,1 13 15,-1 0-15,-13-14 0,13 14 16,0-13-16,0 13 16,-13-13-16,14 0 15,-14-1-15,0 1 0,0 0 16,0 0-16,0-1 0,-14 14 15,14-13-15,0 0 0,-13 0 16,0 0-16,0 13 16,0-14-16,-1 14 0,1 0 15,0 0-15,-14 0 16,14 0-16,0 0 16,0 14-16,0-1 15</inkml:trace>
  <inkml:trace contextRef="#ctx0" brushRef="#br0" timeOffset="193183.17">5966 9697 0,'-26'13'31,"26"0"-31,-13-13 0,13 14 16,-14-1-16,14 0 0,-13 0 0,0 14 16,0-14-16,13 0 0,-13 0 0,-1 1 15,14 12-15,-13-13 0,0 1 0,13-1 16,-13 0-16,13 0 15,-14 1-15,-12 12 16,26-13-16,0 0 16</inkml:trace>
  <inkml:trace contextRef="#ctx0" brushRef="#br0" timeOffset="193359.45">5702 9816 0,'0'0'0,"-13"0"31</inkml:trace>
  <inkml:trace contextRef="#ctx0" brushRef="#br0" timeOffset="193532.37">6032 9962 0,'14'0'16</inkml:trace>
  <inkml:trace contextRef="#ctx0" brushRef="#br0" timeOffset="196732.48">2408 9049 0,'0'0'0,"-14"13"0,14 0 16,0 0-16,0 1 31,14-14-31,-1-14 16,0 14-16,0-13 16,1 0-16,-1 0 15,-13 0-15,13 13 0,-13-14 16,13 1-16,-13 0 15,0 39 17,0-12-32,0-1 15,-13 0-15,13 0 0,0 0 16,-13 1-16,13-1 0,0 0 16,13-13-16,-13 13 0</inkml:trace>
  <inkml:trace contextRef="#ctx0" brushRef="#br0" timeOffset="197027.19">2646 9022 0,'0'-13'31,"-27"26"-31,27 1 16,-13-1-16,13 0 15,0 0-15,13-13 16,-13 13-16,14-13 0,-1 14 15,0-14 1,0 0-16,1-14 16,-14 1-1,0 0-15,0 0 16,-14 0-16,1-1 16,0 1-16,0 13 15,-1 0 1,1-13-16</inkml:trace>
  <inkml:trace contextRef="#ctx0" brushRef="#br0" timeOffset="197170.88">2831 8890 0,'13'0'15,"-13"13"-15,0 0 16,0 1-1,-13-14-15,13 13 0,0 0 16,-13-13-16,13 13 0</inkml:trace>
  <inkml:trace contextRef="#ctx0" brushRef="#br0" timeOffset="197281.41">2818 8996 0,'0'-27'16</inkml:trace>
  <inkml:trace contextRef="#ctx0" brushRef="#br0" timeOffset="197735.1">2328 9644 0,'-13'13'0,"0"-13"16,13 14-16,-13-1 0,13 0 15,0 0-15,-14-13 0,14 13 16,0 1-16,0-1 0,0 13 31</inkml:trace>
  <inkml:trace contextRef="#ctx0" brushRef="#br0" timeOffset="197987.46">2381 9697 0,'13'-13'0,"-13"26"47,14 0-32,-1-13-15,0 0 16,0-13-1,-13 0 1,0 0 0,-13-1-16,0 14 15,0 0 1,-1 0-16,1 0 16,13 14-16,-13-14 15</inkml:trace>
  <inkml:trace contextRef="#ctx0" brushRef="#br0" timeOffset="198750.51">4789 10411 0,'145'-26'16,"-92"13"-16,-13 13 15,66-14-15,-66 1 16,13 0-16,-14 13 0,14-13 16,-13 13-16,26-13 0,-40 13 0,-12 0 15,12 0-15,-13-14 0,1 14 16,-1 0-16,0 0 0,0 0 16,0 14-16,-39-1 15,0 13 1</inkml:trace>
  <inkml:trace contextRef="#ctx0" brushRef="#br0" timeOffset="199023.11">4643 10729 0,'-26'40'31,"13"-40"-31,13 13 0,-13 0 0,13 0 16,-14 0-16,14 1 0,-13-1 0,13 0 15,0 14-15,-13-14 0,13 0 16,0 0-16,0 1 0,0-1 15,0 0-15</inkml:trace>
  <inkml:trace contextRef="#ctx0" brushRef="#br0" timeOffset="199351.53">4736 10861 0,'-40'13'31,"40"1"-31,-13-14 16,13 13-16,13 0 16,-13 0-1,14-13-15,-1 0 0,13 0 16,-13 0 0,1-13-16,-1 0 0,-13 0 15,13 13 1,-13-14-16,-13 1 0,13 0 15,0 0-15,-13 13 0,-1-14 16,1 1 0,0 0-16,0 13 15,26-13 17,0 13-32</inkml:trace>
  <inkml:trace contextRef="#ctx0" brushRef="#br0" timeOffset="199630.27">4868 10755 0,'14'14'0,"-14"-1"16,0 0-16,0 0 15,13 0-15,-13 1 16,13-14-16,-13 13 16,13-13-16,0 0 15,54-27 16,-67 14-31,0 0 0,13 0 16,-13 0 0,-13-1-16,13 1 0,-14 13 15,14-13-15,-13 13 0,0 0 16,0 0-16,-1 0 16,1 0-16,13 13 15</inkml:trace>
  <inkml:trace contextRef="#ctx0" brushRef="#br0" timeOffset="199823.36">5292 10570 0,'13'0'0,"-13"13"31,0 1-15,0-1-16,-13 0 15,13 0-15,0 0 0,-14 1 0,14 12 0,-13-13 16,13 1-16,-13-1 0,0 0 16,13 0-16,-13 1 0,13-1 0,-14-13 15,14 13-15,-13 0 0</inkml:trace>
  <inkml:trace contextRef="#ctx0" brushRef="#br0" timeOffset="199944.24">5120 10729 0,'-14'-13'16,"28"-1"-1</inkml:trace>
  <inkml:trace contextRef="#ctx0" brushRef="#br0" timeOffset="200071.41">5371 10702 0,'0'0'0</inkml:trace>
  <inkml:trace contextRef="#ctx0" brushRef="#br0" timeOffset="-204197.56">8453 9962 0,'0'-14'31,"0"41"-15,0-14-16,0 0 0,0 0 0,0 1 16,0-1-16,-13 13 0,13-12 0,0-1 15,0 13-15,0-12 0,-13-1 16,13 13-16,0-13 0,-13 1 0,13-1 16,0 0-16,0 0 0,-13 1 15,13-1-15,0 0 0,0 0 16,-14-13-16,14 14 0,0-1 15</inkml:trace>
  <inkml:trace contextRef="#ctx0" brushRef="#br0" timeOffset="-203773.27">8387 9909 0,'0'-14'0,"0"28"0,14-41 0,-14 14 16,13 0-16,0 13 15,0 0-15,0 0 0,1 0 16,-1 13-16,0-13 0,0 13 0,1 0 16,-1-13-16,0 14 0,-13-1 15,13 0-15,-13 0 0,13 1 0,-13-1 16,0 0-16,0 0 0,-13 0 15,13 1-15,-13-1 0,0 0 0,13 0 16,-13-13-16,-1 14 0,1-1 16,0-13-16,0 13 0,-1-13 0,1 13 15,0-13-15,0 0 16,0 0-16,-1 0 16</inkml:trace>
  <inkml:trace contextRef="#ctx0" brushRef="#br0" timeOffset="-203282.58">8850 9684 0,'-53'79'16,"27"-52"0,13-1-16,-14 14 0,1-1 15,-1 1-15,14 0 0,-40 66 16,40-67-16,13-12 16,-13-1-16,13 1 0,-14-1 0,14-13 15,0 1-15,0 12 0,14-13 0,-14 1 16,0-1-16,0 0 0,13 0 0,-13 0 15,13 1-15,-13-1 0,13-13 0,-13 13 16,14-13-16,-1 0 0,0 0 16,0 0-16,1 0 0,-1 0 15,0-13-15,0 13 0,0 0 16,1-13-16</inkml:trace>
  <inkml:trace contextRef="#ctx0" brushRef="#br0" timeOffset="-202520.22">8930 10001 0,'0'27'63,"-14"-27"-63,14 13 16,0 0-16,0 0 0,0 1 15,0-1-15,0 0 0,0 0 16,0 1-16,0-1 15,14-13-15,-14 13 0,13-13 16,-13 13-16,13-13 16,0 0-16,1-13 15,-1 13-15,0-13 0,0 13 16,-13-13-16,14 13 16,-14-14-16,13 14 0,0 0 15,0 0 1,-13 14-1,13-14-15,-13 13 16,14-13-16,-14 13 0,13-13 16,0 13-16,0-13 15,1-13 1,-1 13-16,0 0 0,-13-13 16,13 13-16,-13-13 0,14 13 15,-14-14-15,0 1 0,0 0 0,13 13 16,-13-13-16,0-1 0,0 1 15,0 0-15,0 0 0,0-14 16,0 14-16,0 0 16,0 0-1</inkml:trace>
  <inkml:trace contextRef="#ctx0" brushRef="#br0" timeOffset="-200722.51">9459 9816 0,'13'26'32,"-26"-12"-17,13-1-15,0 0 0,0 0 0,-13 14 16,13-14-16,-14 14 0,14-1 0,-13 0 16,13-12-16,-13 12 0,13 1 15,-13-14-15,13 13 0,-14-12 0,14-1 16,0 13-16,-13-13 0,13 1 15,-13-1-15,13 0 0,0 0 16,0 1 0,13-28 31,-13 1-47,0 0 15,13 0-15,-13-14 0,0 14 0,14-13 16,-14-1-16,13 1 0,-13-1 0,13-26 15,-13 27-15,0-1 0,13 14 16,-13-13-16,0 12 0,14-12 0,-14 13 16,0-1-16,0 1 0,0 0 0,13 0 15,-13 0-15,0-1 16,0 1-16,0 0 16,0 0-1,0 39 1,0-13-1,0 1-15,0 12 0,0-13 0,-13 14 16,13-1-16,0 1 0,0-1 0,-14 1 16,14-1-16,0 0 0,-13 1 15,13-1-15,0 1 0,-13-1 16,13-12-16,0 12 0,-13 0 0,13-12 0,0-1 16,-14 0-16,14 0 0,0 1 15,0-1-15,0 0 0,-13 0 16,13 1-16,0-1 15,13-26 48,1-1-63,-14 1 0,0 0 16,13 0-16,-13-1 15,0 1-15,0-13 0,0 12 0,13-12 16,-13 0-16,0 12 0,0-12 0,13-1 15,-13 14-15,0-13 0,0 12 16,0-12-16,0 13 0,0 0 16,14-1-16,-14 1 0,0 0 15,0 0-15,0-1 0,0 1 16,13 0 0,-13 0-16,0-1 15,0 41 32,-13-14-31,13 14-16,0-14 0,0 0 0,0 0 15,-14 14-15,14-14 0,0 0 16,-13 14-16,13-14 0,0 0 16,-13 0-16,13 1 0,0-1 0,0 0 15,0 0-15,-13-13 0,13 14 0,13-14 16,-13 13-16,0 0 15,13-13-15</inkml:trace>
  <inkml:trace contextRef="#ctx0" brushRef="#br0" timeOffset="-198452.43">9737 9882 0,'13'-13'15,"-26"39"1,13-12 0,0-1-16,-14 0 0,14 0 15,0 1-15,-13-1 0,13 13 16,-13-13-16,13 1 0,-13-1 0,0 13 16,13-12-16,-14-1 0,14 0 15,0 0-15,-13-13 0,13 14 16,-13-1-16,13 0 15,0 0 17,13-13-32,-13 13 15,13-13-15,1 0 16,-1 0-16,0 0 0,0 0 16,0 0-16,1 0 0,-1 0 0,0 0 15,0 0-15,1 0 16,-1 0-16,0 0 0,0 0 0,0 0 15,1 0-15,-1 0 0,0 0 16,0 0-16,1 0 16,-1 0 15,0 0-15,-39 14 46,12-14-46,1 0-16,0 0 15,0 0-15,-1 0 16,1 0 0,0 0-16,0 0 15,0 0-15,-1 0 0,1 0 16,0 0-1,0 0-15,-1 0 0,1 0 16,0 0-16,0 0 16,0 0-1,-1 0 1,1 0 15,0 0 0,13-14 1,0 1-17,0 0 1,13 0-16,-13 0 16,0-1-16,13 1 15,-13 0 1,0 0-16,14 13 0,-14-14 0,0 1 15,13 0-15,-13 0 0,0-1 0,13 1 16,-13 0-16,13 13 0,-13-13 16,0 0-16,13-1 15,-13 1 1,0 0 15,-13 26 94,13 0-109,0 1-1,-13-14-15,13 13 16,0 0-16,0 0 0,-13-13 16,13 13-16,0 1 0,0-1 15,0 0-15,-13-13 0,13 13 16,0 1-16,-14-1 0,14 0 16,-13 0-16,13 1 15,0-1-15,-13-13 16,13 13-16,0 0 15,-13 0 1,13 1 31,13-14-16,0 0-15,0 0-1,1 0-15,-1 13 16,0-13-16,0 0 0,0 0 16,1 0-16,-1 0 15,0 0-15,14 0 16,-14 0 0,0 0-16,0 0 15,0 0-15,1 0 16,-1 0-1,0 13 48,-39-39 140</inkml:trace>
  <inkml:trace contextRef="#ctx0" brushRef="#br0" timeOffset="-195951.98">8956 10041 0,'0'-13'62,"-13"26"48,13 0-95,-13 14 1,13-14 0,0 0-16,0 0 15,0 1 1,13-1-1,-13 0 1,0 0 15,13-13 1,0 0 14,1 0-14,-1 0-17,0 0 1,0 0 31,1-13-32,-1 0 32,-13 0-15,13 13-17,-13-14 48,0 41 30,0-14-77,13 0 0,-13 0 15,13-13-31,1 0 31,-1 0-15,0 0 15,0 0-15,1-13-1,-1 13 17,-13-13-17,13 13-15,0-13 31,-13 0-15,14 13 0,-14-14 15,13 14-31,-13-13 16,13 13-1,-13-13 1,0 0-1,13-1 17,-13 1-17,0 0 1,13 0 15,-13-1-15,0 1 31,0 0 78</inkml:trace>
  <inkml:trace contextRef="#ctx0" brushRef="#br0" timeOffset="-194125.59">9737 9922 0,'-14'13'63,"14"0"-48,0 1-15,-13-1 16,13 0-16,0 0 16,-13 0-16,13 1 0,0 12 15,0-13-15,0 1 16,-13-1-16,13 0 0,0 0 15,0 1-15,-13 12 16,13-13 0,0 0-1,-14 1-15,14-1 16,0 0 15,0 0 0,0 1 48,14-14-64,-1 0 1,0 0-1,0 0 1,0 0 0,1 0-1,-1 0-15,0 0 0,0 0 16,14 0 0,-14 0-16,0 0 15,0 0-15,14 0 16,-14 0-16,0 0 15,1 0 1,-1 0-16,0 0 16,0 0 46,-39 0 94,13 0-140,-1 0-16,1 0 16,0 0-1,0 0-15,-1 0 16,1 0-16,0 0 16,0 0-16,0 0 15,-1 0 1,1-14-1,0 14 17,0 0-17,-1 0 17,1 0 30,0 0 1,0-13-1,39 0 16,-26 0-78</inkml:trace>
  <inkml:trace contextRef="#ctx0" brushRef="#br0" timeOffset="-193426.62">9962 9551 0,'-14'14'0,"14"12"31,0-13-15,14 1-16,-14-1 16,13-13-16,-13 13 0,13 0 0,-13 1 0,13-1 15,-13 13-15,13-13 0,1 1 16,-14 12-16,13-13 0,0 14 15,0-14-15,-13 13 0,14-12 0,-14 12 16,13 1-16,-13-1 0,13 1 0,-13-14 16,0 13-16,0 1 0,13 12 15,-13-12-15,0-1 0,-13 1 16,13-1-16,0 1 0,-13 12 0,0-12 16,-1-1-16,1 14 0,0-14 0,0-12 15,-1 12-15,-12-13 0,13 1 0,0-1 16,-1 0-16,1-13 0,13 13 0,-13-13 15,0 14-15,-1-14 0,1 0 16,0-14 15,26 1-31</inkml:trace>
  <inkml:trace contextRef="#ctx0" brushRef="#br0" timeOffset="-192522.39">10306 9895 0,'26'0'62,"0"0"-62,-12 0 16,12 0-1,-13 0-15,1 0 16,-1 0-16,0 0 0,0 0 16,1 0-16,-1 0 15,0 0 1,0 14 0</inkml:trace>
  <inkml:trace contextRef="#ctx0" brushRef="#br0" timeOffset="-192192.78">10292 10081 0,'27'13'16,"-14"-13"-16,0 0 16,0 0-16,1 0 15,-1 0-15,0-13 16,0 13-16,1 0 0,-1 0 16,0 0-16,0 0 0,1 0 15,-1 0-15,0 0 16,0 0-16,0 0 15,-13 13 1</inkml:trace>
  <inkml:trace contextRef="#ctx0" brushRef="#br0" timeOffset="-189978.48">11972 9697 0,'0'13'47,"0"0"-31,0 1-16,-13-1 15,13 0-15,0 0 0,0 1 0,0-1 16,0 0-16,0 13 0,-13-12 0,13-1 16,0 0-16,-13 0 15,13 1-15,0-1 0,0 0 0,0 0 16,-14 1 0,14-1-16</inkml:trace>
  <inkml:trace contextRef="#ctx0" brushRef="#br0" timeOffset="-189536.61">11933 9723 0,'0'-13'15,"0"0"-15,0 0 16,13 0-16,0-1 0,0 14 15,1-13-15,-1 13 16,0 0-16,0 0 0,1 0 0,-1 0 16,0 0-16,0 0 0,0 13 0,1-13 15,-1 14-15,0-14 0,-13 13 0,13-13 16,-13 13-16,0 0 16,0 0-16,0 1 15,0-1-15,-13-13 0,13 13 16,-13-13-16,0 13 0,-1-13 15,14 14-15,-13-14 0,0 0 0,0 0 16,0 13-16,-1-13 0,1 0 16,0 0-16,0 0 15,-1 0 1</inkml:trace>
  <inkml:trace contextRef="#ctx0" brushRef="#br0" timeOffset="-189101.6">12422 9446 0,'-26'26'31,"26"-13"-15,-14 1-16,1-1 0,13 0 0,-13 13 16,0 1-16,0-1 0,-14 14 0,14-13 15,0-1-15,-1 14 0,1-14 16,0 1-16,0-1 0,13 0 0,-13-12 15,13 12-15,0-13 0,0 1 0,-14-1 16,28 0-16,-14 0 0,0 14 16,13-14-16,-13 0 0,13 0 15,-13 1-15,13-14 0,-13 13 16,13-13-16,-13 13 0,14-13 0,-1 13 16,0-13-1,0 0 1,1-13-16,-1 13 15</inkml:trace>
  <inkml:trace contextRef="#ctx0" brushRef="#br0" timeOffset="-188413.18">12475 9737 0,'0'26'31,"-13"-13"-15,13 1-16,0-1 0,-13-13 16,13 13-16,-14 0 0,14 0 15,-13 1-15,13-1 0,-13-13 0,13 13 16,-13 0-16,13 1 0,-14-14 15,14 13-15,-13 0 16,13 0 0,13-13-1,1 0 1,-1 0-16,0 0 0,0 0 16,1 0-16,-1 0 0,0 0 0,0 0 15,1 0-15,-1 0 0,0 0 0,0 0 16,0 0-16,1 0 15,-1 0-15,13 0 16,-12 0 0,-1 0-16,0 0 15,0 0 1</inkml:trace>
  <inkml:trace contextRef="#ctx0" brushRef="#br0" timeOffset="-187862.67">12779 9750 0,'0'-13'0,"14"26"15,-14 0-15,0 0 16,0 1-16,-14 65 16,1-66-1,13 14-15,0-14 0,-13 0 0,13 14 16,-13-14-16,13 0 16,0 0-16,0 0 15,0 1 1</inkml:trace>
  <inkml:trace contextRef="#ctx0" brushRef="#br0" timeOffset="-187304.24">12925 9882 0,'13'-13'15,"-26"39"48,13-12-63,0-1 15,13-13-15,-13 13 16,13 0 0,1-13-16,12 0 15,-13-13 1,1 13-16,-1-13 16,0 13-16,0-13 15,0 13 1,1 13-16,-1-13 31,0 0-31,0 13 0,1-13 16,-1-13-1,0 13-15,-13-13 16,13 13-16,-13-14 16,13 14-16,-13-13 0,0 0 15,14 0-15,-14-1 16,0 1-16,0 0 31,0 0-31</inkml:trace>
  <inkml:trace contextRef="#ctx0" brushRef="#br0" timeOffset="-186894.77">13229 9432 0,'27'14'0,"-14"-14"0,0 13 0,14 13 16,-1-12-16,0 12 0,14 0 15,-13 1-15,26 13 0,-40-14 16,13 1-16,-13-1 0,1-13 15,-1 0-15,0 14 0,-13-14 0,0 14 16,0-14-16,0 0 0,-13 13 16,-14 1-16,14-1 0,-13 1 0,-14-14 15,14 14-15,-14-14 0,13 13 0,1 1 16,-14-14-16,14 0 0,-1 0 0,1-13 16,13 0-16</inkml:trace>
  <inkml:trace contextRef="#ctx0" brushRef="#br0" timeOffset="-185605.73">13996 9578 0,'-13'0'0,"26"0"0,-26-13 0,13 39 31,0-13-15,0 1-16,0-1 0,0 0 16,-13 0-16,13 14 0,0-14 0,0 13 15,0-12-15,0-1 0,-13 0 0,13 0 16,0 1-16,0-1 0,0 0 0,0 0 16,0 0-16,0 1 0,13-1 15,-13 0 1</inkml:trace>
  <inkml:trace contextRef="#ctx0" brushRef="#br0" timeOffset="-185284.72">13970 9657 0,'0'0'0,"13"-39"15,0 12 1,-13 14-16,14 13 0,-1-13 16,0 13-16,0 0 15,1 13-15,-1-13 16,0 0-16,-13 13 16,0 0-16,0 1 15,0-1-15,0 0 0,-13-13 16,13 13-16,-13-13 0,-1 14 15,1-1-15,0 0 0,0-13 16,-1 0-16,1 13 0,0 0 16,0-13-16</inkml:trace>
  <inkml:trace contextRef="#ctx0" brushRef="#br0" timeOffset="-184986.67">14354 9406 0,'0'0'0,"-14"13"32,14 0-32,-13 1 0,0 12 0,0-13 15,13 14-15,-13-1 0,-1 1 16,1 12-16,0-12 0,0-1 0,13-12 15,-14 12-15,1 0 0,13-12 16,0-1-16,0 0 0,-13 14 0,13-14 16,0 0-16,13 0 0,-13 0 0,0 1 15,13-1-15,-13 0 16,14-13-16,-1 13 16,0-13-16,0 0 15,1 0-15,-1 0 0,0-13 16</inkml:trace>
  <inkml:trace contextRef="#ctx0" brushRef="#br0" timeOffset="-184434.71">14473 9710 0,'0'-13'31,"-14"26"16,14 0-47,0 1 16,0-1-1,14-13 1,-1 0-16,0 0 16,0 0-16,1 0 15,-1-13 1,0 13 0,0 13-1,1-13 1,-1 13-1,0-13-15,0 0 16,0 0 0,1 0-16,-1 0 15,-13-13-15,13 13 16,-13-13-16,13-1 0,-13 1 16,0 0-16,0 0 15,0 0 1,0-1-1,0 1 1,-13 13 0,13-13-16</inkml:trace>
  <inkml:trace contextRef="#ctx0" brushRef="#br0" timeOffset="-184149.78">14751 9234 0,'52'0'31,"-38"13"-31,-1-13 16,0 13-16,0 14 0,1-14 0,12 14 16,-13-1-16,0 0 0,14 1 15,-14 13-15,-13-14 0,13-13 0,-13 14 16,14-1-16,-14 1 0,0-14 0,0 13 15,0 1-15,0-1 0,-14 1 16,1-1-16,0 1 0,-14-1 0,1 1 16,13-1-16,-14 0 0,1-12 15,13 12-15,-14-13 0,14 1 0,0-1 16,0 0-16,-14 0 0,14-13 16,0 14-16</inkml:trace>
  <inkml:trace contextRef="#ctx0" brushRef="#br0" timeOffset="-183304.49">11073 10398 0,'53'0'0,"132"0"15,-132 0 1,13 0-16,0 0 0,14-13 0,-1 13 15,14 0-15,-1 0 0,1 0 0,13 0 16,-1 0-16,28-13 0,-1 13 16,0 0-16,1 0 0,-1 0 0,13 0 15,1 0-15,-14-14 0,14 14 0,-1 0 16,-13 0-16,14 0 0,-14 0 16,14 0-16,-14 0 0,0 0 0,-26 0 15,0 0-15,0 0 0,13 0 0,-13 0 16,-14 0-16,1 0 0,0 0 0,-1 0 15,1 0-15,-14 0 16,1 0-16,-27 0 0,-1 0 0,15 0 16,-28 0-16,1 0 0,-14 0 0,1 0 15,-1 0-15,-12 0 0,12 0 16,-13 0-16,0 0 0,1-13 16,-1 13-16,0 0 0,0 0 31,-13-13-16,-26 13 17</inkml:trace>
  <inkml:trace contextRef="#ctx0" brushRef="#br0" timeOffset="-180622.42">12528 10649 0,'0'0'0,"-13"14"31,13-1-15,-13 0-16,13 0 0,0 14 15,-14-14-15,14 0 0,0 14 0,-13-14 16,13 0-16,-13 0 0,13 14 16,0-14-16,-13 0 0,13 1 15,-14-1-15,14 0 0,0 0 16,0 1-16,0-1 31</inkml:trace>
  <inkml:trace contextRef="#ctx0" brushRef="#br0" timeOffset="-180252.48">12475 10649 0,'13'-26'0,"40"13"32,-40 26-32,1-13 15,-1 13-15,0 0 16,0 1-16,-13-1 15,0 0-15,0 0 0,-13 1 16,13-1-16,-13-13 0,13 13 0,-13 0 16,-1-13-16,1 14 0,0-1 15,0-13-15,0 0 16,-1 13-16,1-13 16</inkml:trace>
  <inkml:trace contextRef="#ctx0" brushRef="#br0" timeOffset="-179948.54">12846 10597 0,'0'0'0,"-27"13"46,27 0-46,-13 0 0,13 0 0,-13 1 16,-1-1-16,14 13 0,-13-12 0,0-1 16,13 13-16,0-12 0,-13-1 15,13 0-15,0 0 0,0 0 0,0 1 16,0-1-16,0 0 0,0 0 16,13 1-16,-13-1 15,13-13-15,-13 13 0,13-13 16,1 0-16,-1 0 0,13 0 15,-12 0 1,-1 0-16</inkml:trace>
  <inkml:trace contextRef="#ctx0" brushRef="#br0" timeOffset="-179592.49">13044 10702 0,'13'-13'32,"-26"40"-1,13-14-31,-13-13 0,13 13 16,-13 0-16,13 1 0,-14-14 0,14 13 15,0 0-15,-13-13 0,13 13 16,-13 0-16,13 1 15,13-1 1,0-13 0,1 0-16,-1 0 15,0 0-15,0 0 16,0 0-16,1 0 0,-1 0 16,0 0-1,0 0 1,1-13-16,-1 13 15</inkml:trace>
  <inkml:trace contextRef="#ctx0" brushRef="#br0" timeOffset="-179250.44">13084 10530 0,'0'0'0,"13"-13"0,0 13 16,0 13-16,1-13 0,-1 0 15,0 14-15,0-1 0,0 0 16,1 0-16,12 27 15,-13-27-15,1 0 0,-14 14 0,13-14 16,-13 0-16,0 1 0,0-1 16,0 0-16,0 14 0,0-14 0,-13 0 15,13 0-15,-14 0 16,14 1-16,0-1 0,-13 0 0,0 0 16,13 1-16,0-1 15</inkml:trace>
  <inkml:trace contextRef="#ctx0" brushRef="#br0" timeOffset="-178269.63">10226 11840 0,'53'0'32,"-40"0"-17,14 0-15,-1 0 0,1 0 0,-1 0 16,-13 0-16,14 0 0,-14 0 0,0 0 16,1 0-16</inkml:trace>
  <inkml:trace contextRef="#ctx0" brushRef="#br0" timeOffset="-178076.56">10266 11999 0,'26'0'31,"-12"0"-31,-1 0 16,0 0-16,0 0 0,14 0 0,-14 0 0,13 0 15,1 0-15,-1 0 0,1-13 16,12 13-16,-12 0 0</inkml:trace>
  <inkml:trace contextRef="#ctx0" brushRef="#br0" timeOffset="-177654.74">11483 11787 0,'0'40'31,"-13"-27"-31,13 0 16,0 1-16,-14-1 0,14 0 0,0 0 15,-13 14-15,13-14 0,0 0 16,-13 0-16,13 1 0,0-1 0,0 0 16,0 0-16,0 14 15,0-14-15,0 0 16</inkml:trace>
  <inkml:trace contextRef="#ctx0" brushRef="#br0" timeOffset="-177312.75">11443 11787 0,'0'0'0,"13"-26"0,1 26 15,-14-13-15,13 13 0,13 13 16,-12-13-16,-1 13 16,0-13-16,0 13 0,1-13 15,-14 13-15,13 1 0,-13-1 16,0 0-16,0 0 0,0 1 16,0-1-16,-13-13 0,13 13 15,-14-13-15,1 13 0,0 0 16,0-13-16,-1 0 0,14 14 0,-13-14 15,0 0-15,0 0 0,-1 0 32</inkml:trace>
  <inkml:trace contextRef="#ctx0" brushRef="#br0" timeOffset="-177011.49">11919 11562 0,'-39'40'16,"26"-14"-16,-1-12 16,1 25-16,0-12 0,-14-1 0,14 14 15,0-14-15,0 14 0,0-13 16,13-14-16,-14 13 0,14 1 15,0-14-15,0 0 0,0 14 0,0-14 16,14 0-16,-14 0 0,13 1 0,-13-1 16,13 0-16,0-13 0,-13 13 0,13-13 15,1 13-15,-1-13 0,0 0 16,0 0-16,1 0 0,-1 0 16,0 0-16,0 0 0</inkml:trace>
  <inkml:trace contextRef="#ctx0" brushRef="#br0" timeOffset="-176612.74">12158 11774 0,'0'0'16,"-14"26"15,14-12-31,-13-1 16,13 0-16,-13 0 0,13 1 0,-13-1 16,-1 0-16,14 0 0,0 0 15,-13 1-15,13-1 16,0 0-1,13 0 1,1-13 0,-1 0-16,0 0 15,0 0-15,1 0 0,-1 0 16,0 0-16,0 0 16,1 0-1,-1-13 1</inkml:trace>
  <inkml:trace contextRef="#ctx0" brushRef="#br0" timeOffset="-176346.54">12502 11695 0,'0'0'0,"0"-14"31,0 41-15,-14-14-16,14 0 0,0 1 0,-13 25 16,0-26-16,13 1 15,-13 12-15,13-13 0,-14 1 0,14-1 16,0 0-16,0 0 0,-13 0 0,13 1 16,0-1-16,0 0 15,0 0-15,0 1 0,13-14 16,-13 13-16,14-13 0,-1 0 15,0 0-15</inkml:trace>
  <inkml:trace contextRef="#ctx0" brushRef="#br0" timeOffset="-175682.57">12687 11840 0,'0'-13'31,"-13"0"-31,-1 26 31,14 0-15,0 0-16,-13-13 15,13 14-15,13-1 16,-13 0-16,14 0 16,-14 0-16,13-13 15,0 0-15,13 0 16,-12 0 0,-1-13-16,0 13 0,0 0 15,1-13-15,-1 13 16,0 0-1,0 13-15,1-13 16,-1 0-16,0 0 0,-13 13 16,13-13-16,0 0 15,1 0 1,-1-13-16,0 13 0,-13-13 16,13 13-16,-13-13 15,0 0 1,0-1-1,0 1-15,0 0 32,0 0-32</inkml:trace>
  <inkml:trace contextRef="#ctx0" brushRef="#br0" timeOffset="-175453.56">13004 11576 0,'0'0'0,"14"0"31,12 0-31,-26 13 0,13 0 16,0-13-16,1 13 0,12 14 0,-13-1 15,1-13-15,-1 14 0,0-1 16,-13-12-16,13 12 0,-13 0 0,0-12 16,0 12-16,0-13 0,-13 14 0,0-1 15,0 1-15,-14 12 0,14-25 0,-14 12 16,14-13-16,0 1 0,0-1 15,0 0-15,-1-13 0,14 13 0,-13-13 16</inkml:trace>
  <inkml:trace contextRef="#ctx0" brushRef="#br0" timeOffset="-174981.01">13732 11787 0,'-13'13'32,"13"1"-32,-14-1 15,14 0-15,0 0 0,0 1 0,0-1 16,-13 0-16,13 0 0,0 0 0,0 1 16,0-1-16,0 0 0,-13 0 15,13 1 1,0-1-16</inkml:trace>
  <inkml:trace contextRef="#ctx0" brushRef="#br0" timeOffset="-174681.54">13692 11708 0,'13'-13'0,"-26"26"0,26-40 0,1 14 16,-1 26 15,0-13-31,0 14 0,-13-1 16,0 0-16,0 0 0,0 1 15,0-1-15,0 0 16,-13 0-16,13 0 0,-13 1 15,0-1-15,-1 0 0,14 0 16,-13-13-16,0 0 16</inkml:trace>
  <inkml:trace contextRef="#ctx0" brushRef="#br0" timeOffset="-174404.6">14063 11615 0,'-14'27'31,"1"-14"-31,0 0 0,13 14 16,-13-14-16,-1 13 0,14 1 15,-13-14-15,0 13 0,13-12 0,-13 12 16,13-13-16,0 1 0,0-1 0,0 0 15,0 13-15,0-12 16,0-1-16,0 0 16,13 0-16,0 1 15,0-14-15,-13 13 16,14-13-16</inkml:trace>
  <inkml:trace contextRef="#ctx0" brushRef="#br0" timeOffset="-173688.76">14221 11800 0,'0'0'0,"-13"27"31,13-14-15,0 0-1,0 1 1,13-14-16,1 0 15,-1 0 1,0 0-16,0 0 0,-13-14 0,14 14 16,-1-13-16,0 13 15,0-13 1,0 13 0,1 0-16,-14-13 15,13 13 1,0-14 15,-13 28 16,0-1-47,13-13 16,-13 13-16,14 0 15,-14 1 1,13-14-16,0 0 15,-13 13-15,13-13 16,0-13-16,1 13 16,-1 0-16,-13-14 0,13 14 15,0-13-15,1 0 16,-1 0 0,-13-1-1,0 1-15,13 0 16,-13 0 15,0 0-31,0-1 16</inkml:trace>
  <inkml:trace contextRef="#ctx0" brushRef="#br0" timeOffset="-173449.73">14658 11483 0,'13'0'16,"-26"0"-16,39 0 0,-12 0 0,-14 13 16,13-13-16,0 13 0,-13 1 15,13 12-15,1-13 0,-1 1 16,0 12-16,0 0 0,0-12 0,1 25 16,-14-12-16,0-14 0,0 14 15,0-14-15,0 0 0,-14 13 0,1-12 16,0-1-16,0 0 0,0 14 15,-1-14-15,-12 0 0,13-13 16,-14 13-16,14 0 0,-14-13 0,1 0 16</inkml:trace>
  <inkml:trace contextRef="#ctx0" brushRef="#br0" timeOffset="-168981.77">10848 12263 0,'106'14'15,"-67"-14"-15,67 0 16,-53 0-16,27 0 0,-1 0 16,0 0-16,14 0 0,0 0 0,12 0 15,1 0-15,40 0 0,-14 0 0,0 0 16,14 13-16,-1-13 16,1 13-16,-1-13 0,14 0 0,-13 13 0,-1 1 15,14-14-15,-14 13 0,1-13 0,-1 13 16,14 0-16,-13-13 15,-1 13-15,1-13 0,-1 14 0,-12-1 16,12-13-16,-13 0 0,-39 13 0,13-13 16,304 27-1,-357-27-15,-13 0 16,-14 0-16,0 0 0,-12 0 0,-1 0 16,0 0-16,0 0 0,-39 0 31,-1-14-31</inkml:trace>
  <inkml:trace contextRef="#ctx0" brushRef="#br0" timeOffset="-167603.65">11007 12740 0,'-14'26'31,"1"-13"-16,13 1-15,0-1 0,0 13 16,0-12-16,-13-1 0,13 13 16,0-13-16,-13 1 0,13 12 0,0-13 15,0 1-15,-13-1 0,13 0 0,0 0 16,-14 1-16,14-1 16,0 0-16</inkml:trace>
  <inkml:trace contextRef="#ctx0" brushRef="#br0" timeOffset="-167297.59">10967 12687 0,'0'0'0,"13"-27"0,0 14 0,1 13 16,-1-13-16,0 13 0,0 0 16,1 0-16,-1 0 0,0 0 15,0 13-15,0 0 0,1-13 0,-1 14 16,0-1-16,-13 0 0,13 0 16,-13 0-16,0 1 0,0-1 0,0 0 15,-13 0-15,13 1 0,-13-1 0,0 0 16,-1 0-16,1-13 0,0 14 15,0-1-15,0-13 0,-1 13 0,1-13 16,0 0-16,0 0 0,13 13 16,-14-13-16,1 0 0</inkml:trace>
  <inkml:trace contextRef="#ctx0" brushRef="#br0" timeOffset="-166714.11">11509 12634 0,'-13'0'15,"-13"40"1,12-27-16,1 0 0,0 13 15,0-12-15,0 12 16,-1 14-16,14-14 0,-13 1 0,0 12 0,0-12 16,-1-14-16,14 14 0,-13-1 0,13-13 15,0 14-15,-13-14 16,13 0-16,0 0 0,0 1 0,0-1 16,0 0-16,0 0 0,0 1 15,13-1 1,0-13-1,1-13-15,-1 13 16</inkml:trace>
  <inkml:trace contextRef="#ctx0" brushRef="#br0" timeOffset="-166180.81">11589 12925 0,'0'-13'31,"-13"39"16,13-13-47,0 1 15,0-1-15,0 0 16,0 0 0,13-13-1,0 0 1,0 0-16,0-13 16,1 13-16,-1 0 15,0 0 1,0 0-16,1 0 0,-1 0 15,-13 13-15,13-13 0,0 14 16,1-14-16,-1 0 16,0 0-16,0 0 0,0 0 15,1 0-15,-1-14 16,0 1-16,0 0 16,1 0-16,-14-1 15,0 1-15,13 0 0,-13 0 16,0-1-16,0 1 15,0 0 1,0 0 0,-13 13-16</inkml:trace>
  <inkml:trace contextRef="#ctx0" brushRef="#br0" timeOffset="-165721.28">11880 12554 0,'13'-13'0,"0"13"16,0 0-16,1 0 0,-14 13 16,13-13-16,0 14 0,0-14 15,1 13-15,12 0 0,-13 0 0,1 1 16,-1-1-16,0 13 0,0-12 0,0-1 15,1 13-15,-1-13 0,0 14 16,0-1-16,1-12 0,-14 12 16,13 14-16,0-27 0,-13 13 15,0-12-15,0-1 0,-13 0 0,13 14 16,-13-14-16,-1 13 0,-12 1 16,-1-1-16,14-13 0,-13 14 0,-1-14 15,14 0-15,-13 1 0,12-14 0,1 13 16,-13 0-16,12-13 0,1 0 15,0 0-15,0 0 0</inkml:trace>
  <inkml:trace contextRef="#ctx0" brushRef="#br0" timeOffset="-164045.87">12475 12806 0,'-13'26'47,"13"-12"-47,0 12 15,0-13-15,0 0 0,-13 14 16,13-14-16,0 0 0,0 1 16,0-1-16,0 0 0,0 0 0,0 1 15,-14-14-15,14 13 0,0 0 0,0 0 31,0 0-31,0-39 47,0 13-31,0 0-16,0-14 0,14 1 0,-14-1 16,13 1-16,-13-14 0,13 0 0,0 14 15,1-14-15,-14 14 0,13-1 16,0 1-16,0 13 0,-13-1 0,13 1 15,1 0-15,-1 13 0,0 0 16,0 0 0,1 13-16,-1 0 0,-13 1 15,0-1-15,0 0 0,0 0 16,0 0-16,0 1 0,-13-1 16,13 0-16,-14 0 0,1 1 15,0-1-15,13 0 0,-13-13 16,-1 13-16,1-13 0,0 14 0,0-14 15,0 13-15,-1 0 16,1-13-16,0 0 0,0 13 16</inkml:trace>
  <inkml:trace contextRef="#ctx0" brushRef="#br0" timeOffset="-163706.39">12925 12541 0,'0'13'15,"-13"1"-15,-1-1 16,14 0-16,-13 14 0,0-14 0,0 27 15,0-14-15,-1 0 0,1 14 16,-13 0-16,12-14 0,1 1 0,0 12 16,13-12-16,-13-14 0,13 14 0,0-14 15,0 0-15,0 14 0,0-14 16,0 0-16,13 0 0,-13 0 16,13-13-16,-13 14 0,13-14 0,1 13 15,-1-13-15,0 0 0,0 0 16,1 0-16,-1 0 15,0 0-15,0-13 0,0 13 0,-13-14 16,14 14-16</inkml:trace>
  <inkml:trace contextRef="#ctx0" brushRef="#br0" timeOffset="-163233.45">13018 12726 0,'13'14'32,"-26"-1"-32,13 0 15,0 0-15,-14 1 0,14-1 0,-13 0 16,13 0-16,-13 14 0,13-14 16,-13 0-16,13 0 0,-14 1 0,14-1 15,-13 0-15,13 0 16,0 1-16,-13-14 15,26 13 1,-13 0-16,13-13 16,1 0-16,-1 0 15,0-13-15,0 13 16,1 0-16,-1 0 0,0 0 0,0 0 16,0 0-16,1 0 0,-1 0 15,0-13-15,0 13 0,1 0 16,-1 0-16</inkml:trace>
  <inkml:trace contextRef="#ctx0" brushRef="#br0" timeOffset="-162824.28">13348 12660 0,'0'40'47,"0"-27"-32,-13 0-15,13 1 0,0-1 16,-13 13-16,13-12 0,-13 12 0,13-13 0,0 14 16,-14-14-16,14 0 0,-13 0 0,13 1 15,0-1-15,0 0 0,-13 0 16,13 1-16,0-1 0,0 0 15,-13-13-15,13 13 16</inkml:trace>
  <inkml:trace contextRef="#ctx0" brushRef="#br0" timeOffset="-162298.87">13481 12872 0,'0'0'15,"0"-13"1,-14 39 46,14-13-46,0 1 0,14-14-16,-14 13 15,13-13-15,13 0 16,-26-13 0,13 13-16,1 0 15,-1 0 1,0 13-1,0-13-15,1 13 16,-1-26 0,0 13-1,0 0-15,-13-13 16,13 13-16,1-14 0,-1 1 16,-13 0-16,13 13 15,-13-13-15,13 0 16,-13-1-1,0 1 1,14 13-16,-14-13 31</inkml:trace>
  <inkml:trace contextRef="#ctx0" brushRef="#br0" timeOffset="-161956.65">13692 12462 0,'27'13'15,"-14"0"-15,-13 1 16,13-1-16,14 13 0,-14 1 16,0-1-16,0 1 0,0-1 0,1 1 15,-1-1-15,-13 0 0,0 1 0,0-1 16,0 1-16,0-1 0,-13-12 16,-1 12-16,1 0 0,0 1 0,0-14 15,0 14-15,-14-14 0,14 0 0,0 0 16,-14 14-16,14-27 0,13 13 15,-13-13-15</inkml:trace>
  <inkml:trace contextRef="#ctx0" brushRef="#br0" timeOffset="-161241.95">14195 12700 0,'0'-13'31,"0"39"-31,-13-13 0,13 1 16,0-1-16,0 0 0,-14 14 0,14-14 16,0 0-16,0 14 0,-13-14 0,13 0 15,0 0-15,0 0 0,0 1 16,0-1-16,0 0 0,13 0 16,-13 1-16,0-1 15,14-13-15</inkml:trace>
  <inkml:trace contextRef="#ctx0" brushRef="#br0" timeOffset="-161014.39">14063 12898 0,'26'-13'31,"-13"13"-15,14 0-16,-14 13 16,0-13-16,0 0 0,1 0 0,-1 0 15,0 0-15,0 0 0,1 0 16,-1 0-16,0 0 0,0 0 0,1 0 16,-1 0-16,0 0 0,0 0 0</inkml:trace>
  <inkml:trace contextRef="#ctx0" brushRef="#br0" timeOffset="-160533.14">14658 12726 0,'0'27'16,"0"-14"-1,0 0-15,0 1 0,-13-1 16,13 13-16,0-12 0,0-1 0,0 13 15,-14-13-15,14 14 0,0-14 0,-13 0 16,13 1-16,0-1 0,-13 0 16,13 0-16,0 1 0,0-1 0,0 0 15,-13 0-15</inkml:trace>
  <inkml:trace contextRef="#ctx0" brushRef="#br0" timeOffset="-160176.83">14618 12793 0,'0'-14'15,"27"-12"1,-27 13-16,13 13 16,13 13-16,-12-13 15,-1 13-15,-13 0 0,13-13 16,-13 14-16,0-1 0,0 0 16,0 0-16,0 1 0,0-1 15,-13 0-15,13 0 0,-13 0 0,-1-13 16,14 14-16,-13-1 0,0-13 15,0 13-15,-1-13 0,1 13 16,-13-13-16</inkml:trace>
  <inkml:trace contextRef="#ctx0" brushRef="#br0" timeOffset="-159860.65">15028 12687 0,'-13'13'31,"0"0"-31,13 0 0,-13 1 16,13 12-16,-14-13 0,1 14 15,13-1-15,-13-12 0,13-1 16,-13 13-16,13-13 0,0 1 0,0-1 16,0 0-16,0 14 0,0-14 15,0 0-15,0 0 0,0 1 16,0-1-16,13-13 0,-13 13 16,26-13-16,-12 0 15,-1 0 1,0 0-16,0 0 0</inkml:trace>
  <inkml:trace contextRef="#ctx0" brushRef="#br0" timeOffset="-159376.8">15161 13004 0,'-27'-13'32,"27"0"-17,0 0-15,0-1 0,0 1 16,0 0-16,0 0 16,0-1-1,13 41 32,-13-14-47,14 0 16,-1 1-1,0-14-15,0-14 16,1 14-16,-1-13 0,0 13 16,0-13-16,0 0 0,1 13 0,-1-14 15,0 1-15,0 13 16,1 0-1,-1 13 1,-13 1 0,0-1-16,0 0 15,0 0-15,0 1 16,0-1-16,13-13 16,-13 13-16,13-13 15,1 0-15</inkml:trace>
  <inkml:trace contextRef="#ctx0" brushRef="#br0" timeOffset="-158756.6">15412 12766 0,'40'27'31,"-40"-14"-31,13 0 0,0 0 15,-13 14-15,13-14 0,-13 13 16,14-12-16,-14 12 0,0-13 0,0 14 16,0-14-16,-14 14 0,14-1 0,-13-13 15,0 14-15,13-14 0,-13 0 16,-1 0-16,1 1 0,13-1 0,-13-13 16,0 13-16,0-13 0</inkml:trace>
  <inkml:trace contextRef="#ctx0" brushRef="#br0" timeOffset="-158427.85">15809 12713 0,'-13'27'32,"-1"-14"-32,1 0 15,13 14-15,-13-1 0,-14 1 0,27-1 16,-13 14-16,0-14 0,13-13 0,-13 27 16,13-27-16,0 14 15,0-14-15,0 0 0,0 0 0,0 1 16,13-1-16,-13 0 0,13-13 0,0 13 15,1 1-15,-1-14 16,0 0-16,14 0 0,-14 0 16,0 0-16,14 0 0,-14-14 0,0 14 15,13 0-15</inkml:trace>
  <inkml:trace contextRef="#ctx0" brushRef="#br0" timeOffset="-157411.59">15796 12753 0,'-14'13'16,"1"14"-1,13-14-15,-13 13 0,13 1 0,-13-1 16,-1 1-16,1 12 0,0-12 16,0 13-16,0-14 0,13 14 0,-14-14 15,1 1-15,13-14 0,-13 13 0,13 1 16,0-14-16,-13 0 0,13 0 15,-14 1-15,14-1 0,0 0 16,0 0-16,-13 1 0</inkml:trace>
  <inkml:trace contextRef="#ctx0" brushRef="#br0" timeOffset="-156981.77">15703 12898 0,'13'-66'16,"-13"53"-16,0 0 16,13 0-16,-13-1 0,14 14 15,-1-13-15,0 0 0,0 13 16,1 0-16,-1 0 0,0 13 0,0 0 16,1 1-16,-1-1 0,0 0 15,0 14-15,0-14 0,-13 13 16,0-13-16,14 14 0,-14-14 0,0 0 15,0 14-15,-14-14 0,14 0 16,-13 14-16,0-14 0,0 0 0,0 0 16,-1 1-16,1-1 0,0 0 0,0 0 15,-14 1-15,14-14 16,0 13-16,-1-13 0,1 0 0,0 0 16,0 0-16,0 0 15</inkml:trace>
  <inkml:trace contextRef="#ctx0" brushRef="#br0" timeOffset="-156629.52">16325 12607 0,'-40'27'15,"40"-1"1,-26 1-16,12-1 0,1 14 16,0-14-16,0 14 0,-14-13 0,14 12 15,0 1-15,0-14 0,-14 14 0,27-13 16,-13-1-16,0-13 0,13 14 15,0-14-15,0 13 0,0-12 0,0-1 16,0 0-16,13 0 0,-13 0 0,13-13 16,0 14-16,1-14 0,-1 13 0,0-13 15,0 0-15,0 0 0,1 0 16,12-13-16,-13 13 0,14 0 0,-14-14 16,14 14-16,-1-13 0,-13 13 0,0-13 15</inkml:trace>
  <inkml:trace contextRef="#ctx0" brushRef="#br0" timeOffset="-155052.17">16364 12885 0,'0'-13'0,"14"0"31,-28 39 32,1-26-63,13 13 16,0 1-16,-13-14 0,13 13 0,-13 0 15,13 0-15,-13 1 0,13-1 16,-14 0-16,14 0 15,-13-13-15,13 14 0,0-1 16,-13 0-16,26 0 31,0-13-15,1 0-16,-1 0 16,0 0-1,40 0 1,-40 0-1,0 0 1,1 0-16,-1 0 16</inkml:trace>
  <inkml:trace contextRef="#ctx0" brushRef="#br0" timeOffset="-154347.68">16603 12806 0,'0'26'31,"0"-12"-31,0 12 16,0-13-16,-14 0 16,14 1-16,0-1 0,0 0 15,0 0-15,0 1 0,0-1 0,-13 0 16,13 0-16,0 1 0,0-1 16,-13 0-16,13 0 0,0 0 15,0 1 1,0-1-16</inkml:trace>
  <inkml:trace contextRef="#ctx0" brushRef="#br0" timeOffset="-153776.8">16775 13057 0,'0'-13'63,"0"0"-48,13 0-15,-13-1 16,0 1-16,13 0 16,-13 0-16,13 13 46,1 13-14,-1-13-17,0-13 1,0 13 0,0 0 15,-13 13-31,0 0 31,14 0-31,-14 1 16,0-1-1</inkml:trace>
  <inkml:trace contextRef="#ctx0" brushRef="#br0" timeOffset="-153410.89">16986 12740 0,'13'0'31,"1"13"-31,-1 0 0,0 0 0,-13 1 16,13-1-16,-13 13 0,14 1 16,-14-14-16,13 0 15,-13 0-15,0 14 0,0-14 0,0 0 16,0 1-16,0-1 0,0 0 0,-13 0 15,13 1 1,-14-1-16,14 0 0,-13-13 0,0 13 16,0-13-16,13 13 0,-14-13 0,1 14 15,0-14-15,0 0 16</inkml:trace>
  <inkml:trace contextRef="#ctx0" brushRef="#br0" timeOffset="-152731.84">17436 12078 0,'40'0'47,"-14"0"-47,-13 0 16,1 0-16,-1 13 0,0-13 0,0 0 15,1 0-15,-14 14 0,26-14 16,-13 13-16</inkml:trace>
  <inkml:trace contextRef="#ctx0" brushRef="#br0" timeOffset="-152529.79">17462 12263 0,'27'0'46,"-14"0"-46,0 0 0,14 0 16,-14 0-16,0 0 0,1 0 16,-1 0-16,0 0 0,0 0 15,0-13-15,1 13 16,-1 0-16,0 0 0</inkml:trace>
  <inkml:trace contextRef="#ctx0" brushRef="#br0" timeOffset="-148464.7">19963 11774 0,'-13'-40'15,"-1"40"1,14-13-16,-13 13 16,0 0-16,0 0 0,-14 0 15,14 0-15,0 13 0,0-13 0,-14 14 16,14-1-16,-14 0 0,14 0 15,0 0-15,0-13 0,-1 14 0,1-1 16,13 0-16,-13 0 0,13 1 16,0-1-1,13 0-15,0-13 16,1-13-16,-1 13 0,0 0 0,0-13 16,14-1-16,-14 14 0,0-13 15,1 0-15,-1 0 0,0 13 16,0-14-16,0 14 0,-13-13 0,14 13 15,-1 0-15,0 13 16,-13 1 0,0-1-16,-13 0 0,13 0 15,0 1-15,0-1 0,-13 0 0,13 0 16,-14 14-16,14-14 0,0 0 16,-13 0-16,13 1 0,0-1 15,-13 0-15,13 0 16,13 1-16,0-14 15</inkml:trace>
  <inkml:trace contextRef="#ctx0" brushRef="#br0" timeOffset="-148034.05">20135 11761 0,'0'-13'0,"0"26"0,0-40 0,-13 54 47,13-14-47,-14 0 0,14 0 16,-13 1-16,13 12 16,0-13-16,-13 1 0,13-1 0,0 0 15,0 0-15,0 0 0,0 1 16,0-1-16,13-13 0,-13 13 15,13-13-15,1 0 0,-14 13 0,13-13 16,0 0-16,0-13 0,0 13 0,1 0 16,-1 0-16,0-13 0,0 13 15,1-13-15,-1 13 0,-13-14 0,13 14 16,-13-13-16,13 0 0,-13 0 16,0 0-16,-13-1 15,13 1 1,0 0-16,-13 13 0,13-13 0,-13-1 15,-1 14 1,1-13 0,0 13-16,0 13 15</inkml:trace>
  <inkml:trace contextRef="#ctx0" brushRef="#br0" timeOffset="-147786.41">20571 11642 0,'0'-14'0,"0"41"16,-13-1 0,13-12-16,0-1 15,-13 0-15,0 0 0,13 14 0,-14-14 16,1 0-16,13 14 0,-13-14 0,13 0 15,-13 0-15,13 1 0,-13-1 0,13 0 16,-14-13-16,14 13 0,-13 0 16,13 1-16,-13-14 15,13 13-15</inkml:trace>
  <inkml:trace contextRef="#ctx0" brushRef="#br0" timeOffset="-147636.53">20413 11827 0,'-14'-13'15,"28"13"1,-1 0 0</inkml:trace>
  <inkml:trace contextRef="#ctx0" brushRef="#br0" timeOffset="-147506.66">20571 11853 0,'0'0'0,"14"14"47,-1-14-32</inkml:trace>
  <inkml:trace contextRef="#ctx0" brushRef="#br0" timeOffset="-146262.02">19976 11893 0,'0'0'0,"-40"13"0,27-13 16,0 13-16,0-13 0,13 14 16,-14-14-16,28 13 15,-1 0-15,0 0 0,0-13 0,14 14 16,-14-14-16,27 0 0,-14 0 15,27 0-15,0 0 0,0 0 0,-13 0 16,13-14-16,-14 1 0,1 0 16,-14 13-16,1-13 0,-14-1 0,0 1 15,-13 0-15,14 0 0,-14 0 0,0-1 16,0 1-16,-14 0 0,1 0 0,-13-1 16,-1 14-16,1-13 0,-1 13 0,-12 0 15,-1 0-15,0 13 16,0 1-16,1-1 0,-1 0 0,27 0 15,-14 1-15,14-1 0,0 0 0,13 0 16,0 0-16,0 1 0,13-1 16,-13 0-16,27 0 0,-14 1 0,13 12 15,1-26-15,12 13 0,-12-13 0,-1 0 16,14 14-16,-13-28 0,-1 14 0,0 0 16,1-13-16,-14 13 0,0-13 15,1 0-15,-1-1 0,0 1 0,-13 0 16,0 0-16,0-1 0,0 1 15,-13 0-15,0 13 0,-1-13 16,1 13-16,0 0 0,-14 0 0,14 13 16,-13-13-16,13 13 0,-1-13 0,1 13 15,0 1-15,13-1 0,0 0 16,0 0-16,13-13 0,0 14 16,1-14-16,-1 0 0,0 0 0,0 0 15,0 0-15,1 0 0,-1 0 0,0-14 16,0 1-16,-13 0 15,-13 0-15,0-1 0,0 1 16,-1 0-16,-12 0 0,0 0 0,-1 13 16,1-14-16,12 14 0,-12-13 15,-1 13-15,1 0 0,13 0 16,-14 0-16,14 0 0,-13 0 0,12 0 16,1 0-16,13 13 0,-13-13 15</inkml:trace>
  <inkml:trace contextRef="#ctx0" brushRef="#br0" timeOffset="-144609.59">19487 8930 0,'0'0'15,"-14"0"-15,1 13 16,0-13-16,13 13 0,-13 0 0,13 1 15,-14 12-15,1-13 0,13 1 16,-13 12-16,13-13 0,0 0 0,-13 14 16,13-14-16,13 0 0,-13 1 0,0-1 15,13 0-15,-13 0 16,13-13-16,1 14 0,-1-14 16,0 0-16,0 0 0,1 0 0,-1 0 15,0 0-15,0 0 0,0-14 0,1 1 16,-1 13-16,-13-13 15,13 0-15,-13-1 0,0 1 0,0 0 16,0 0-16,0-1 0,0-12 16,0 13-16,-13 0 0,13-14 0,0 14 15,-13 0-15,13-1 0,-14 1 16,14 0-16,-13 13 0,13-13 0,-13 13 0,13-14 16,-13 14-16,0 0 15,-1 0-15,1 14 16</inkml:trace>
  <inkml:trace contextRef="#ctx0" brushRef="#br0" timeOffset="-144457.85">19751 8983 0,'0'-14'16</inkml:trace>
  <inkml:trace contextRef="#ctx0" brushRef="#br0" timeOffset="-143994.71">20082 8850 0,'0'0'16,"-13"0"-16,-1 0 0,1 0 0,0 0 15,0 0-15,-1 14 0,1-14 16,0 13-16,-27 0 0,27 0 15,0 0-15,13 1 0,-13-14 0,13 13 16,0 0-16,0 0 16,13-13-16,-13 14 15,13-14-15,0 0 0,1 0 0,-1-14 16,0 14-16,0 0 0,0-13 0,1 0 16,-1 13-16,0-13 0,0-1 15,1 14-15,-1 0 0,-13-13 16,13 13-16,0 0 15,1 13 1,-14 1-16,0-1 0,0 0 16,0 0-16,0 1 0,-14-1 0,14 0 15,0 14-15,-13-14 0,13 0 0,0 0 16,0 0-16,-13 1 0,13-1 16,0 0-16,-13 0 0,26-13 15,-13 14-15</inkml:trace>
  <inkml:trace contextRef="#ctx0" brushRef="#br0" timeOffset="-143433.64">20611 8903 0,'-13'13'16,"0"1"0,13-1-16,-14 0 15,1 0-15,13 1 0,-13-1 0,13 0 16,-13 0-16,-1 1 0,1 12 0,13-13 15,-13 0-15,13 1 16,-13-1-16,0 0 0,-1 0 16,1 1-16,0-14 15</inkml:trace>
  <inkml:trace contextRef="#ctx0" brushRef="#br0" timeOffset="-143229.86">20373 8943 0,'0'0'16,"13"26"0,0-12-16,1-1 0,-1-13 15,-13 13-15,13 0 0,14 1 16,-27-1-16,26 0 0,-13 0 0,0 0 16,1 1-16,-14-1 0,13 0 15,0-13-15,0 13 0,14-13 0,-14 14 16,0-14-16,1 13 0,-1-13 0,0 0 15</inkml:trace>
  <inkml:trace contextRef="#ctx0" brushRef="#br0" timeOffset="-142623.86">21114 8877 0,'0'-13'15,"-27"26"1,27 0-16,-13 0 0,0 0 15,13 1-15,-13-1 0,13 13 16,0-12-16,0-1 0,-14 13 0,28 1 16,-14-14-16,13-13 15,-13 13-15,13 0 0,0 1 0,1-14 16,-1 0-16,0 13 0,0-13 16,0 0-16,1-13 0,-1 13 0,0 0 15,0-14-15,1 1 0,-1 0 16,-13 0-16,0 0 0,13-1 15,-13 1-15,0-27 0,0 27 16,0 0-16,0 0 0,-13-1 0,13 1 16,0 0-16,-13 0 0,-1 13 15,14-13-15,-13 13 0,0 0 16,0-14-16,-1 14 0,1 14 0,0-14 16,0 13-16,0-13 0,-1 0 15,1 13-15</inkml:trace>
  <inkml:trace contextRef="#ctx0" brushRef="#br0" timeOffset="-142457.77">21405 8943 0</inkml:trace>
  <inkml:trace contextRef="#ctx0" brushRef="#br0" timeOffset="-141823.71">21802 8850 0,'26'-13'0,"-52"26"0,79-26 15,-40 0 1,0 13 0,-39 13-1,12-13-15,1 0 0,-13 13 16,12-13-16,1 14 0,0-14 16,-13 13-16,12-13 15,1 13-15,13 0 31,13 0-31,1-13 0,-14 14 16,13-14-16,-13 13 0,13-13 16,0 13-16,0 0 15,-13 1-15,14-14 16,-28 26-16,1-13 16,0-13-16,0 14 0,0-14 15,-1 13-15,1-13 0,0 0 16,0 13-16,-1-13 0,1 0 0,0 13 15,0-13-15,-1 0 0,-12 0 16,13 13-16,-14-13 0</inkml:trace>
  <inkml:trace contextRef="#ctx0" brushRef="#br0" timeOffset="-140461.97">17370 9512 0,'26'13'31,"-12"-13"-31,12 0 0,0 0 0,1 0 16,79 0-16,-53 0 15,0 0-15,13 0 0,0-13 0,13 13 16,1 0-16,-1 0 0,14 0 16,-14 0-16,14 0 0,-14 0 0,14 0 15,-1-13-15,1 13 0,13 0 16,-1 0-16,-12 0 0,13-14 0,26 14 15,1 0-15,-28 0 0,1 0 0,0-13 16,26 13-16,14 0 0,-14 0 16,0 0-16,-26 0 0,27 0 0,-1-13 15,0 13-15,-26 0 0,39 0 0,-39 0 16,27 0-16,-1 0 0,13 0 16,-39 13-16,0-13 0,26 0 0,1 0 15,-28 0-15,28 0 0,-27 0 0,-1 0 16,1 0-16,0 13 0,0-13 15,-13 0-15,12 0 0,-12 0 16,13 0-16,-27 0 0,14 14 0,-1-14 16,-12 0-16,-1 0 0,-13 0 0,0 0 15,-13 0-15,0 0 0,-13 0 16,0 0-16,-14 0 0,40 0 16,-39-14-16,-14 14 0,13 0 0,-12 0 15,-1 0-15,13 0 0,-12 0 0,-1 0 16,0 0-16,0-13 15,0 13-15,1 0 0,-1 0 16,0 0-16,0 0 31,1 0-15,-1 0-16,-13 13 16,13-13-16,0 0 15,1 0 16,-41-13 126,27 0-110,-13 13-32,0 0 1,-1 0-1,1-13 1</inkml:trace>
  <inkml:trace contextRef="#ctx0" brushRef="#br0" timeOffset="-139233.03">17648 9882 0,'-27'13'15,"14"1"1,13-1-16,-13 0 0,13 0 0,-13 14 15,13-14-15,-14 13 0,14 1 16,0-14-16,0 14 0,-13-14 0,13 0 16,0 0-16,13 14 0,-13-14 15,0 0-15,14 14 0,-1-14 16,0 0-16,0-13 16,0 13-16,1-13 0,-1 0 15,0 0-15,0-13 0,1 13 16,-1-13-16,0 0 15,-13-1-15,0 1 0,13 0 0,-13 0 16,0 0-16,0-1 0,-13-25 16,13 25-16,0 1 0,-13-13 0,13 12 15,-13 1-15,13-13 16,-14 13-16,14-1 0,-13 14 0,0-13 16,13 0-16,-13 13 0,-1-13 15,1 13-15,0 13 16,13 0-16</inkml:trace>
  <inkml:trace contextRef="#ctx0" brushRef="#br0" timeOffset="-139093.04">17899 10028 0,'0'-14'16</inkml:trace>
  <inkml:trace contextRef="#ctx0" brushRef="#br0" timeOffset="-138648.72">18084 9975 0,'14'-13'0,"-41"13"15,14 13 1,0-13-16,-1 0 0,1 13 16,0-13-16,0 13 15,13 0 1,13 1-16,0-14 16,0 13-16,1-13 0,-14 13 15,26 0-15,-13 1 0,1-1 16,-14 0-16,13-13 0,-13 13 15,0 1-15,0-1 16,-13-13-16,-1 13 16,1-13-16,0 13 0,0-13 15,-14 13-15,1-13 0,12 0 0,-12 14 0,0-14 16,12 0-16,-12 0 0,-1 0 16</inkml:trace>
  <inkml:trace contextRef="#ctx0" brushRef="#br0" timeOffset="-138334.34">17357 9803 0,'-27'26'0,"54"-52"0,-80 65 16,40-25-16,-1-1 0,14 0 0,-26 14 0,13 12 16,13-12-16,-14 12 15,14-12-15,0-1 0,0 1 0,0-1 16,14 14-16,-1-14 0,0 14 0,0-13 16,14-1-16,-1 1 0,1-14 15,-1 13-15,1-13 0,12 1 16,1-14-16,0 13 0,-1-13 0,-12 0 15,12 0-15,14 0 0,-13-13 0,13 13 16,-13-14-16</inkml:trace>
  <inkml:trace contextRef="#ctx0" brushRef="#br0" timeOffset="-138038.79">18150 9763 0,'27'0'0,"-14"0"0,119 106 31,-118-80-31,-1 14 16,0-13-16,-13-1 0,13 0 15,-13 14-15,-13-13 0,0 12 0,0-12 16,-1 12-16,1-12 0,-13-1 0,12 1 16,-12-1-16,13-12 0,0 12 15,-1-13-15,1-13 0,13 13 0,-13-13 16</inkml:trace>
  <inkml:trace contextRef="#ctx0" brushRef="#br0" timeOffset="-137574.28">18732 9829 0,'-26'27'31,"26"-1"-31,0-13 0,-13 1 0,13 12 16,-13 1-16,13-1 0,-14 0 15,14 1-15,-13-14 0,13 14 16,0-1-16,0-13 0,0 14 0,0-14 0,0 0 16,0 0-16,0 1 15,13-1-15,1 0 0,-14 0 16,13-13-16,0 14 0,0-14 15,0 0-15,1 0 0,-1 0 16,0 0-16,0 0 0,1-14 16</inkml:trace>
  <inkml:trace contextRef="#ctx0" brushRef="#br0" timeOffset="-137209.81">19010 10014 0,'0'-13'16,"0"26"-16,-26-13 31,26 14-31,0-1 0,-13 0 16,13 0-16,0 1 0,0-1 15,0 0-15,0 0 16,0 1-16,13-14 0,-13 13 15,13-13-15,0 0 0,1 0 0,12 0 16,-13 0 0,-13-13-16,13 13 0,-13-14 15,14 1-15,-14 0 0,0 0 16,-14-1-16,14 1 0,0 0 0,-13 0 16,13-1-16,-13 1 0,13 0 15,-13 0-15,13 0 0,-13 13 16,-1-14-16,1 28 31</inkml:trace>
  <inkml:trace contextRef="#ctx0" brushRef="#br0" timeOffset="-137040.87">19235 10014 0,'13'0'16</inkml:trace>
  <inkml:trace contextRef="#ctx0" brushRef="#br0" timeOffset="-136678">19460 9948 0,'0'0'16,"-13"0"-16,-14 0 16,14 0-16,0 0 0,0 14 15,0-14-15,-1 0 0,14 13 0,-13-13 16,0 13-16,26 0 31,0-13-31,1-13 16,-1 13-16,0 0 15,0 0-15,0-13 16,1 13-16,-1 13 16,-13 0-1,13-13-15,-13 13 16,0 1-16,0-1 15,0 0 1,13 0-16,-13 1 16</inkml:trace>
  <inkml:trace contextRef="#ctx0" brushRef="#br0" timeOffset="-136384.95">19539 9710 0,'14'0'16,"-28"0"-16,41 13 0,-14-13 15,0 14-15,14-1 0,-1 0 0,1 14 16,-1-1-16,1 0 0,-14-12 0,27 39 15,-40-27-15,13 1 0,-13-14 16,0 13-16,0 1 16,-13-1-16,-1 1 0,1-1 0,-13 1 15,-14 25-15,14-38 0,-1-1 16,14 13-16,0-26 0,-1 14 0,1-14 16,0 13-16</inkml:trace>
  <inkml:trace contextRef="#ctx0" brushRef="#br0" timeOffset="-135708.62">20532 9882 0,'0'0'16,"0"27"15,0-14-31,0 0 0,0 0 16,0 14-16,0-14 0,0 13 0,0-12 15,0 12-15,0-13 0,0 14 0,0-14 16,-14 0-16,14 1 0,0-1 15,0 0-15,0 0 0,0 0 16</inkml:trace>
  <inkml:trace contextRef="#ctx0" brushRef="#br0" timeOffset="-135489.83">20267 10028 0,'40'13'31,"-27"-13"-31,0 0 0,14 0 0,-14 0 0,13 0 16,1 0-16,-1 0 0,-12 0 16,12 0-16,0 0 0,1 0 0,-14-13 15,14 13-15,-1 0 0,-13 0 0,1-14 16</inkml:trace>
  <inkml:trace contextRef="#ctx0" brushRef="#br0" timeOffset="-134712.68">21339 9869 0,'0'-13'0,"-27"26"31,27 0-31,-13 0 0,13 1 16,-13-1-16,13 0 0,-14 0 16,14 14-16,-13-27 0,13 26 0,0-13 15,0 1-15,0-1 0,0 0 16,13 0-16,1 1 0,-14-1 16,13-13-16,0 13 0,0-13 15,1 0-15,-1 0 0,0 13 16,-13-26-16,27 13 0,-14 0 15,0-13-15,0 0 0,-13-1 16,13 14-16,-13-13 0,0-13 16,0 12-16,0 1 0,0 0 15,0-13-15,0 12 0,0 1 0,-13-13 16,13 12-16,-13 1 0,13 0 0,-13 13 16,0-13-16,-1-1 0,1 14 15,0 0-15,0 0 0,-1 0 16,1 0-16,0 14 0,0-1 15</inkml:trace>
  <inkml:trace contextRef="#ctx0" brushRef="#br0" timeOffset="-133993.92">21788 9869 0,'-26'0'15,"13"0"-15,13 13 16,0 0 0,13-13-16,0 0 15,0 14-15,1-14 0,-1 13 16,0-13-16,14 13 15,-14-13-15,-13 13 0,26 1 16,-26-1-16,0 0 16,-13 0-1,13 0-15,-13-13 0,0 14 16,-1-14-16,14 13 0,-13-13 16,0 13-16,0-13 0,-1 13 15,1-13 1</inkml:trace>
  <inkml:trace contextRef="#ctx0" brushRef="#br0" timeOffset="-133662.89">21564 10001 0</inkml:trace>
  <inkml:trace contextRef="#ctx0" brushRef="#br0" timeOffset="-133338.58">21815 9842 0,'26'-13'0,"-12"13"16,-1 0-16,0 0 0,0 0 16,1-13-16,-1 13 0,0 0 15,0 0-15,0 0 0,1 0 16,-1 0-16,0 0 0,0 0 15</inkml:trace>
  <inkml:trace contextRef="#ctx0" brushRef="#br0" timeOffset="-132940.86">21193 9723 0,'-26'27'0,"-14"-1"16,0 54 0,27-54-16,0 14 0,0-14 0,-1 14 15,14-14-15,0 1 0,0-1 0,0 1 16,0-1-16,14-12 0,-1 12 15,0-13-15,14 14 0,12-14 16,-12 13-16,12-26 0,1 14 0,13-14 16,0 0-16,0 0 0</inkml:trace>
  <inkml:trace contextRef="#ctx0" brushRef="#br0" timeOffset="-132521.83">22119 9631 0,'27'13'16,"-14"0"-16,0 1 0,27 38 15,-27-25-15,13-1 16,-12 14-16,-1 13 0,0-27 15,-13 1-15,0-1 0,-13 1 16,0-1-16,-1 1 0,1-1 0,0 1 16,-13-1-16,-14 14 0,27-27 15,-14 0-15,14 0 0,0 1 16,-1-14-16,1 13 0,0-13 16</inkml:trace>
  <inkml:trace contextRef="#ctx0" brushRef="#br0" timeOffset="-132088.5">22529 9631 0,'-13'26'15,"0"1"-15,0-1 0,-27 40 16,13-39-16,14 12 0,0-12 16,-13 13-16,12-14 0,-12 40 15,26-39-15,0-14 0,0 13 16,0-12-16,0-1 0,0 13 0,13-12 16,0-1-16,1 0 15,-1-13-15,26 13 0,-25 0 16,12-13-16,1 0 0,-1 0 0,-13 0 15,14-13-15,-1 13 0,1-13 16</inkml:trace>
  <inkml:trace contextRef="#ctx0" brushRef="#br0" timeOffset="-130377.4">22754 9842 0,'-13'14'15,"0"-1"1,13 0-16,0 0 0,0 1 0,0-1 16,0 0-16,0 0 0,0 1 15,13-1-15,-13 0 0,13-13 16,0 13-16,1 0 0,-1-13 16,0 0-16,0 0 0,1 0 15,-1 0-15,0 0 0,0-13 0,0 13 16,1-13-16,-1 0 15,-13 0-15,0-1 0,13 14 0,-13-13 16,0 0-16,-13 0 0,13-1 16,0 1-16,-13 13 0,13-13 15,0 0-15,-14 13 0,1-14 0,0 1 16,0 13-16,0 0 16,-1 0-16,1 0 15</inkml:trace>
  <inkml:trace contextRef="#ctx0" brushRef="#br0" timeOffset="-130218.47">23072 9869 0</inkml:trace>
  <inkml:trace contextRef="#ctx0" brushRef="#br0" timeOffset="-129862.49">23323 9776 0,'0'14'16,"0"-1"-16,0 0 16,0 0-16,0 0 15,-13 1-15,13 12 0,0-13 16,0 1-16,0-1 0,-13 0 0,13 0 16,0 1-16,0-1 15,0 0-15,0 0 16</inkml:trace>
  <inkml:trace contextRef="#ctx0" brushRef="#br0" timeOffset="-129560.73">23389 9671 0,'13'13'16,"-26"-26"-16,40 26 0,-14 0 0,13 0 15,1 0-15,-1 14 16,1-1-16,-1 1 0,-13-1 0,1-13 16,-1 14-16,0-14 0,-13 14 0,0-1 0,0 14 15,0-14-15,-13 1 16,0-1-16,-14 1 0,1-1 15,12 1-15,-12-14 0,0 13 0,-1 1 16,1-14-16,-1 0 0,1 0 0,12 1 16,-12-14-16,0 13 0</inkml:trace>
  <inkml:trace contextRef="#ctx0" brushRef="#br0" timeOffset="-88373.18">19963 11906 0,'-27'13'31</inkml:trace>
  <inkml:trace contextRef="#ctx0" brushRef="#br0" timeOffset="-86207.88">19989 11827 0,'-39'0'47,"78"0"-47,14-40 172,-66 40-172,0 0 0,-14 13 0,1-13 15,13 14-15,-14 12 16,14-13-16,0 1 0,-1 25 15,1-12-15,13-14 0,0 0 0,0 0 16,13 1-16,-13-1 0,14 0 0,-1-13 16,0 13-16,0-13 0,1 14 15,-1-14-15,0-14 0,13 14 0,1 0 16,-14-13-16,27-13 0,-14 12 0,-12-12 16,12-1-16,-13 1 0,0 0 15,1-14-15,-14 27 0,0-14 0,0 1 16,0 13-16,-14-1 0,1 1 0,0 0 15,0 0-15,0 13 0,-14 0 16,-39 26-16,39-13 0,-12 1 16,-14 38-16,26-25 15,1-1-15,13 1 0,13-14 16,-13 0-16,13 14 0,0-14 0,0 0 16,13 0-16,-13 1 0,26 12 15,-13-26-15,1 0 0,12 13 16,-13-13-16,1-13 0,12 13 0,-13-13 15,14 13-15,-14-13 0,13-1 0,-12 1 16,-1-13-16,0 12 0,-13-12 16,13 13-16,-13-14 0,0 14 0,0 0 15,0 0-15,-13-1 0,0 1 16,0 13-16,-1 0 0,1 0 16,-13 0-16,12 13 0,-12 1 15,13-1-15,0 0 0,-14 0 0,14 1 16,0-1-16,13 13 0,0-13 0,0 1 15,0-1-15,13 0 16,-13 0-16,13-13 0,0 14 0,1-14 16,12 0-16,-13 0 0,14-14 0,-14 14 15,13-13-15,1 0 0,-14 0 16,14-1-16,-1-38 0,-13 25 16,0 1-16,-13-14 0,0 27 15,0 0-15,0-1 0,-13 1 16,0 13-16,0 0 0,0 0 15,-1 0-15,-12 0 0,-1 13 0,1 1 16,-1-1-16,1 13 0,-27 14 16,40-27-16,13 0 0,-13 27 15,13-27-15,0 0 0,0 1 16,13-1-16,0 0 0,0 0 16,1-13-16,-1 0 0,0 0 15,13 0-15,-12 0 0,12-13 0,1 13 16,-14-13-16,13-14 0,-12 14 0,-1-13 15,13-1-15,-13-26 16,-13 27-16,0 13 0,0-14 16,0 14-16,-26-27 0,13 40 15,0-13-15,-14 13 0,14 0 16,-14 0-16,1 13 0,-14-13 0,1 27 16,12-14-16,-26 40 0,27-27 15,13 1-15,-14 13 16,27-27-16,0 0 0,0 0 15,13 0-15,-13 1 0,14-1 0,12 0 16,0 0-16,-12-13 0,12 0 0,-13 0 16,67-26-1,-67 13-15,13-14 0,1 1 16,-1-14-16,-12 14 0,-14-1 0,0 1 16,0 13-16,0-27 15,0 27-15,-14-1 0,1 1 16,0 13-16,0 0 0,-14 0 0,14 0 15,-40 27-15,13-1 16,14-13-16,-1 14 0,14-1 0,0 1 16,-13 26-16,26-40 0,0 0 15,0 0-15,13 0 0,-13 1 16,26 12-16,-13-26 0,1 13 0,12 1 16,1-14-16,25 0 15,-25 0-15,-1 0 0,14-14 0,0 1 16,-1 0-16,-12 0 0,-1-14 15,1 14-15,-14-13 0,0 12 0,1 1 16,-14-13-16,0 12 0,0 1 16,0 0-16,-14 13 0,1 0 15,0 0-15,0 0 0,-27 26 16,27-26-16,-1 27 0,-25-1 16,39 1-16,-13-1 15,-1-13-15,28 1 0,-14-1 16,13 0-16,-13 0 0,13 1 15,27-14-15,-27 0 16,13 0-16,-12 0 0,12 0 16,1-14-16,-1 14 0,0-13 0,1 0 15,-14 0-15,27-27 0,-27 14 16,-13 12-16,13 1 16,-13 0-16,0 0 0,0-1 0,0 1 0,-13 13 15,13-13-15,-13 13 0,-14 0 16,1 0-16,-1 26 15,1-12-15,13-1 0,0 0 0,-1 0 16,1 1-16,0-1 0,13 13 16,0-13-16,13-13 15,-13 14-15,13-14 0,1 0 0,12 0 16,-13 0-16,0 0 0,40-14 16,-39 1-16,12 0 0,-13 0 15,1 0-15,-1-1 0,0-12 16,0 13-16,-13-1 0,13 1 0,-13-13 15,0 13-15,-13 13 0,-13 0 16,13 0 0,-14 13-16,14 0 0,0 0 15,-1 0-15,-12 14 0,13-14 16,13 0-16,0 1 0,0-1 16,0 0-16,13 0 15,0-13-15,14 13 0,-14-26 16,0 13-16,14-13 15,-14 13-15,13-13 0,1-14 16,-14 14-16,13-13 0,-26 12 0,14-25 16,-1 26-16,-13-1 15,0 1-15,-13 0 0,-1 13 16,1 0-16,-13 0 0,-14 13 16,14 14-16,-1-14 15,14 0-15,0 13 0,-1-12 0,-12 12 16,26-13-16,0 1 15,13-1-15,0-13 16,1 0-16,25 0 16,-12-13-16,-14 13 15,0-14-15,0 1 0,1 0 0,-1 0 16,0-14-16,-13 14 16,-13 0-16,13 0 15,-13 13-15,-1 0 0,-12 0 16,0 0-16,-1 0 15,1 13-15,-1-13 0,14 13 0,-14-13 0,1 13 16,0 0-16</inkml:trace>
  <inkml:trace contextRef="#ctx0" brushRef="#br0" timeOffset="-77725.65">21669 11589 0,'0'-13'16,"-26"26"15,26 0-15,-13 0-16,13 0 0,-14 1 0,14-1 15,-13 0-15,13 14 0,-13-14 16,0 13-16,13-12 0,0-1 0,-13 0 15,13 0-15,0 0 0,0 1 16,0-1-16,0 0 0,0 0 16,13 1-16,-13-1 0,13 0 15,0-13-15,0 0 0,1 0 16,-1 0-16,0 0 0,0 0 16,1 0-16,-1-13 0,0 13 0,0-13 15,1-1-15,-1 14 0,0-13 16,0 0-16,-13 0 0,13-1 0,-13 1 15,0 0-15,0 0 0,0 0 0,0-14 16,-13 14-16,13 0 0,0-1 0,-13-12 16,13 13-16,-13-1 0,13 1 15,-13 0-15,-1 0 0,14 0 0,-13-1 16,0 1-16,0 13 16,-1 0-16,14-13 0,-13 13 0,-13 0 15,12 13 1,1-13-16,0 13 0</inkml:trace>
  <inkml:trace contextRef="#ctx0" brushRef="#br0" timeOffset="-77541.07">22000 11642 0,'0'-14'16,"-13"14"15</inkml:trace>
  <inkml:trace contextRef="#ctx0" brushRef="#br0" timeOffset="-77152.9">22423 11562 0,'0'0'0,"-13"27"31,0-14-16,-13 0-15,12 0 0,-25 14 16,12-1-16,14-12 0,-14 12 16,14-13-16,0 1 0,0-1 0,0-13 15,-1 13-15,14 0 0,-13-13 16,13 13-16,0 1 0,-13-14 0,13 13 16,13 0-1,0-13-15,1 13 0,-1-13 16,0 0-16,0 0 0,14 0 0,-1 0 15,-13 0-15,14 0 0,-1 0 16,-12 0-16,12 0 0,-13 0 0,14 0 16,-14 0-16,0 0 0,0 0 0,1 0 15,-1 0-15,-13-13 16</inkml:trace>
  <inkml:trace contextRef="#ctx0" brushRef="#br0" timeOffset="-76927.8">22490 11615 0,'0'-13'0,"0"26"0,-14-13 31,1 13-31,13 1 0,-13 12 16,13-13-16,0 1 0,0 12 15,-13-13-15,13 1 0,0 12 0,-14-13 16,14 14-16,0-14 0,-13 13 15,13-12-15,-13-1 0,13 0 16,0 0-16,-13 0 0,13 1 0,0-1 16,0 0-1</inkml:trace>
  <inkml:trace contextRef="#ctx0" brushRef="#br0" timeOffset="-76556.15">22873 11562 0,'-26'0'0,"52"0"0,-79 0 0,40 14 15,0-14-15,0 0 0,-1 13 16,1 0-16,0-13 0,13 13 15,-13-13-15,13 13 0,0 1 0,0-1 16,13 0-16,-13 0 16,13 1-16,-13-1 15,13 0-15,1 0 0,-14 1 0,13-1 16,-13 0-16,0 0 0,0 0 16,0 1-16,0-1 15,-13 0-15,-1 0 16,1 1-16,-13 12 15,-1-26-15,14 13 0,-13 0 16,-14 1-16,13-1 0,14-13 0,-40 26 16,14-26-16,-1 14 15</inkml:trace>
  <inkml:trace contextRef="#ctx0" brushRef="#br0" timeOffset="-76056.53">20690 12316 0,'-13'0'15,"26"0"-15,14 0 16,-14 0-1,40 0-15,0-13 0,106-13 16,-80 12-16,14 1 0,26-13 16,13 13-16,-13-1 0,0-12 15,0 13-15,0-1 0,0 1 0,93-13 16,-119 12-16,-1 1 0,-12 0 16,12 13-16,-12-13 0,-1 0 0,14 13 15,-14-14-15,-13 14 0,66-13 16,-79 0-16,0 13 0,-13 0 15,0 0-15,-1 0 0,-12 0 0,-1 0 16,1-13-16,-1 13 0,14 0 16,-27 13-16,0-13 15,0 0-15,14 0 0,-14 0 0,0 0 16,1 0-16,-1 0 16,0 0-1,0 13-15,-39-13 63,13 0-63,-1 0 0,1 0 15</inkml:trace>
  <inkml:trace contextRef="#ctx0" brushRef="#br0" timeOffset="-75246.17">20849 12793 0,'-26'13'0,"52"-26"0,-66 39 16,27-13-16,0 1 0,-13 25 15,26-26-15,-14 14 16,1-14-16,13 0 0,0 1 0,-13 12 16,13-13-16,0 1 0,13-1 15,-13 0-15,0 0 0,13-13 0,1 13 16,-14 1-16,13-14 0,0 0 0,0 0 16,14 0-16,-14-14 15,0 14-15,0-13 0,1 13 0,-1-13 16,0 0-16,0-27 15,-13 27-15,0-14 0,0 1 0,0 13 16,0-14-16,-13 14 0,13 0 16,0-14-16,-13 14 0,0 0 0,13 0 15,-14-1-15,1 1 0,0 0 16,0 13-16,-1 0 16,1 13-16,0-13 15</inkml:trace>
  <inkml:trace contextRef="#ctx0" brushRef="#br0" timeOffset="-75113.96">21048 12806 0</inkml:trace>
  <inkml:trace contextRef="#ctx0" brushRef="#br0" timeOffset="-74777.14">21339 12793 0,'0'13'15,"-14"0"-15,1 0 16,0 1-16,0-1 0,-14 0 0,14 0 16,0 0-16,-14 1 0,14-1 0,0 0 15,0 0-15,-1 1 0,1-1 16,0-13-16,13 13 0,-13-13 0,13 13 16,-13-13-16,13 14 0,13-1 15,0-13 1,0 13-16,0-13 0,1 0 15,12 0-15,-13 0 0,1 0 0,-1 0 16,13 0-16,-13 0 16,1 0-16,-1 0 0,0 0 0,14 0 15,-14-13-15,0 13 16,-13-13-16,13 13 0</inkml:trace>
  <inkml:trace contextRef="#ctx0" brushRef="#br0" timeOffset="-74579.95">21405 12819 0,'0'-13'0,"0"39"0,0-39 0,-13 0 16,-1 26 0,14 0-16,-13 1 15,13 12-15,0-13 0,-13 14 16,13-14-16,0 13 0,0-12 16,0 12-16,-13-13 0,13 14 0,0-14 15,0 13-15,0-12 0,0 12 16,0-13-16,0 1 0,0-1 0,0 0 15,13 0-15</inkml:trace>
  <inkml:trace contextRef="#ctx0" brushRef="#br0" timeOffset="-74229.07">21855 12660 0,'0'0'15,"-14"53"17,14-40-32,0 1 0,0-1 15,0 13-15,0-12 0,0-1 0,0 27 16,0-27-16,0 0 16,14 0-16,-14 0 0,0 1 0,0 12 15,0-13-15,0 1 16,13-1-16</inkml:trace>
  <inkml:trace contextRef="#ctx0" brushRef="#br0" timeOffset="-73422.19">21577 12806 0,'0'-13'0,"13"-1"16,0 14 0,-39 14 31,13-14-47,-1 13 0,1-13 15,13 13-15,0 0 16,-13-13-16,13 14 0,0-1 15,0 0-15,0 0 16,13-13-16,-13 13 0,13-13 16,-13 14-16,14-14 0,-1 26 15,-13-13-15,13-13 0,-13 14 16,0-1 0,-13 0-16,0 0 15,-1-13-15,1 14 0,0-14 16,0 0-16,-1 13 15,1-13-15,0 0 0,0 0 16,-1 0 0,1-13-16</inkml:trace>
  <inkml:trace contextRef="#ctx0" brushRef="#br0" timeOffset="-72860.92">21749 12872 0,'26'13'15,"1"-26"1,-14 13 0,0 0-16,14 0 0,-14 0 0,13 0 15,1-13-15,-14 13 0,13 0 0,-12 0 16,12-13-16,-13 13 0,1 0 16,-1 0-16,0 0 0,0 0 0,0 0 15,1 0-15,12 0 16</inkml:trace>
  <inkml:trace contextRef="#ctx0" brushRef="#br0" timeOffset="-60849.04">22185 12753 0,'0'-13'16,"0"39"15,0-13-31,14 1 16,-14-1-16,0 0 0,0 0 0,0 1 15,13-1-15,-13 0 0,0 0 0,13 0 16,-13 1-16,13-1 0,0 0 16,1 0-16,-1 1 0,0-14 0,0 0 15,1 13-15,-1-13 0,13-13 0,1 13 16,-14 0-16,13-14 0,1 1 15,-14 0-15,0 13 0,1-27 0,-14 14 16,13 0-16,-13 0 0,0 0 0,0-1 16,-13 1-16,13 0 15,-14 0-15,1-1 0,0 1 0,0 0 16,-1 13-16,1-13 0,0 13 16,0-14-16,0 14 0,-1 0 0,1-13 0,0 13 15,0 13-15,-1-13 16,1 0-16,13 14 0</inkml:trace>
  <inkml:trace contextRef="#ctx0" brushRef="#br0" timeOffset="-60708.19">22662 12793 0,'13'-14'31</inkml:trace>
  <inkml:trace contextRef="#ctx0" brushRef="#br0" timeOffset="-60209.56">22834 12700 0,'0'-13'31,"-27"26"-31,27 0 16,-13 0-16,13 1 0,-13-1 0,13 0 16,0 0-16,0 1 0,0-1 0,0 0 15,0 0-15,13 1 0,-13-1 0,13-13 16,0 13-16,1 0 15,-1-13-15,0 0 0,0 13 0,0-26 16,1 13-16,-1 0 0,-13-13 16,13 0-16,-13 0 15,0-1-15,0 1 0,0 0 16,-13 0-16,13-1 0,0 1 16,-13 0-16,-1 0 15,14-1-15,-13 14 0,0-13 16,0 13-16</inkml:trace>
  <inkml:trace contextRef="#ctx0" brushRef="#br0" timeOffset="-59384.92">23164 12660 0,'14'0'15,"-1"0"-15,0-13 32,0 13-32,-39 0 46,13 0-46,-1 0 0,1 13 16,0-13-16,0 14 0,-1-14 16,1 0-16,13 13 0,-13-13 15,13 13-15,0 0 16,0 0-16,13 1 0,0-14 16,1 13-16,-1 0 0,0-13 15,0 13-15,1 1 0,-1-1 16,13 0-16,-13 0 15,-13 1-15,14-14 16,-14 13-16,0 0 0,-14-13 16,14 13-16,-13-13 15,13 13-15,-13-13 0,0 0 0,0 14 16,-1-14-16,1 0 16,0 0-16,-40 13 15</inkml:trace>
  <inkml:trace contextRef="#ctx0" brushRef="#br0" timeOffset="-58620.21">18481 13639 0,'40'-13'16,"-27"13"-16,14 0 16,-1 0-1,27 13-15,-40-13 16</inkml:trace>
  <inkml:trace contextRef="#ctx0" brushRef="#br0" timeOffset="-58426.65">18494 13864 0,'-13'0'0,"40"13"31,-14-26-31,0 13 15,0 0-15,1 0 0,-1 0 0,13 0 16,-13 0-16,1 0 0,-1 0 16,13-13-16,-12 13 0,-1 0 15,0 0-15</inkml:trace>
  <inkml:trace contextRef="#ctx0" brushRef="#br0" timeOffset="-57927.65">19262 13547 0,'-14'-14'15,"1"14"-15,13 14 16,-13-1-16,13 0 0,-13 0 0,13 1 16,0-1-16,0 0 0,0 0 15,0 0-15,0 14 0,13-14 0,-13 0 16,13 1-16,0-1 0,-13 0 15,14 0-15,-1 1 0,13-14 0,-26 13 16,14-13-16,-1 0 0,0 0 16,0 0-16,1-13 0,-1 13 15,0-14-15,-13 1 0,0 0 0,0 0 16,0-1-16,0 1 0,0 0 16,0-14-16,-13 14 0,13 0 0,-13-13 15,13 12-15,-14 1 0,1 0 0,13 0 16,-13-1-16,0 1 0,13 0 15,-14 13-15,1 0 0,0-13 16,-14 26 0</inkml:trace>
  <inkml:trace contextRef="#ctx0" brushRef="#br0" timeOffset="-57754.95">19579 13560 0,'13'-13'0,"-26"39"62</inkml:trace>
  <inkml:trace contextRef="#ctx0" brushRef="#br0" timeOffset="-57377.83">19870 13441 0,'-92'26'31,"78"-12"-31,1-1 0,0 0 16,-14 0-16,14 0 0,0 14 16,13-14-16,-13 0 0,13 1 15,0-1-15,13-13 16,0 0-16,0 0 16,1-13-16,-1-1 0,13 14 0,-12-13 15,-1 0-15,0 13 0,-13-13 0,13 13 16,1-14-16,-1 14 15,0 0-15,0 14 16,0-1-16,-13 0 16,0 0-16,0 14 0,0-14 0,0 0 15,0 14-15,-13-14 0,13 13 16,0-12-16,0 12 0,0-13 0,0 1 16,0-1-16,0 13 0,-13-26 0,26 13 15,-13 1-15</inkml:trace>
  <inkml:trace contextRef="#ctx0" brushRef="#br0" timeOffset="-57005.78">20373 13745 0,'0'0'16,"13"-13"-16,0 13 15,1 0-15,-1 0 0,13-13 0,-12 13 16,-1 0-16,13 0 0,1 0 16,-14 0-16,0 0 0,0 0 15,-13 13-15</inkml:trace>
  <inkml:trace contextRef="#ctx0" brushRef="#br0" timeOffset="-56818.68">20413 13917 0,'0'0'0,"39"-13"31,67-14-15,-93 14-1,14 13-15,-14-13 16,14 13-16,-14-13 0,0 13 0,27-14 16,-14 1-16</inkml:trace>
  <inkml:trace contextRef="#ctx0" brushRef="#br0" timeOffset="-56373.8">21339 13481 0,'0'0'0,"-27"-14"0,14 14 0,0 0 16,-1 14-16,1-14 0,0 0 0,0 13 15,-14 0-15,14 0 0,0 0 16,0 1-16,-14-1 0,27 0 15,-13 0-15,0 1 0,13-1 0,0 0 16,0 0-16,0 0 0,13-13 16,-13 14-16,13-14 0,0 0 0,1 0 15,-1-14-15,0 14 0,14-13 16,-14 0-16,0 0 0,13 0 0,-12-1 16,-1 1-16,0 13 0,-13-13 0,13 13 15,-13-13-15,14 13 0,-1 0 16,-13 13-1,0 0-15,0 0 0,-13 1 0,13 12 16,0-13-16,0 14 0,-14-1 16,14-13-16,0 14 0,0-14 15,0 14-15,0-1 0,0-13 0,0 0 16,0 14-16,14-14 0,-14 0 0,13 1 16,0-14-1,0 0-15,1 0 0,-1 0 0</inkml:trace>
  <inkml:trace contextRef="#ctx0" brushRef="#br0" timeOffset="-56038.05">21630 13560 0,'13'-13'15,"-26"26"-15,13-40 0,-14 41 32,1-1-32,13 0 0,-13 0 15,13 1-15,0 12 0,0-13 16,-13 14-16,26-14 0,-13 13 0,0-12 15,13 25-15,-13-25 0,13-1 16,1 0-16,-1-13 16,0 13-16,0-13 0,14-13 15,-14 13-15,-13-13 0,13 0 16,1-1-16,-14 1 0,13 0 16,-13 0-16,0-1 0,0 1 15,0 0-15,0 0 0,0-1 0,-13 1 0,13 0 16,-14 0-16,1 13 0,0-13 15,0 13-15,-1 0 0,1 0 16,0 0-16,-14 0 0,14 0 0,-13 13 16,13-13-16,-14 13 0,14-13 0,0 13 15,-1-13-15,1 0 16</inkml:trace>
  <inkml:trace contextRef="#ctx0" brushRef="#br0" timeOffset="-55807.31">22159 13335 0,'0'0'0,"0"26"16,0-12-16,0-1 16,-13 13-16,13-12 0,-14 12 15,1 14-15,13-14 0,-13 14 0,0-14 16,-1 14-16,14-14 0,-13 1 0,13-1 15,-13-12-15,13 12 0,-13-13 16,13 14-16,-13-14 0,-1 0 0,14 0 16,0 1-16,-13-1 0</inkml:trace>
  <inkml:trace contextRef="#ctx0" brushRef="#br0" timeOffset="-55674.98">21881 13666 0,'-13'-27'32,"26"27"-32,0 0 15,1 0-15,-1 0 0</inkml:trace>
  <inkml:trace contextRef="#ctx0" brushRef="#br0" timeOffset="-55534.76">22159 13745 0,'13'0'31,"-13"13"-31,13-13 16,1 14-1,-14-1 1</inkml:trace>
  <inkml:trace contextRef="#ctx0" brushRef="#br0" timeOffset="-54397.05">21577 14129 0,'66'13'32,"-53"-13"-32,27-13 0,-14 13 0,14 0 15,0 0-15,-1 0 0,14-13 0,-13 13 16,0-14-16,13 14 0,-14-13 16,1 0-16,0 0 0,-1 13 0,1-14 15,0 1-15,-1 0 0,1 0 16,0-1-16,-14 1 0,14 0 0,-14 0 15,1 0-15,-1-14 0,1 14 0,-1 0 16,1-1-16,-14-12 0,13 13 16,1-1-16,-14-12 0,0 13 0,0 0 15,1-1-15,-1 1 0,0-13 0,0 12 16,-13 1-16,0 0 0,14-14 16,-14 14-16,0 0 0,0 0 0,0 0 15,-14-14-15,14 14 0,0 0 16,-13-1-16,13-12 0,-13 13 0,13 0 15,-13-1-15,13 1 0,-14 0 16,1 0-16,0-1 0,0 1 0,0 0 16,-1 0-16,-12-1 0,-1-12 15,-65-14 1,79 40-16,-14-13 0,1 13 16,-1-13-16,14 13 0,-13 0 0,12 0 15,-12-13-15,13 13 0,-14 0 16,14 0-16,-14 0 0,14 0 15,0 0-15,0 0 0,-14 0 0,14 0 0,0 0 16,-14 0-16,14 0 0,0 0 16,-14 0-16,14 0 0,-13 0 15,-1 13-15,14-13 0,-13 0 0,-1 0 16,1 0-16,13 0 0,-14 0 0,1 0 16,12 0-16,-12 0 0,13 0 15,-14 0-15,14 0 0,-13 0 0,12 0 16,-12 0-16,-1 0 0,14 0 0,-13 0 15,-1 0-15,14 0 0,-13-13 16,-1 13-16,14 13 0,-14-26 16,14 13-16,-13 13 0,12-13 0,-12 0 15,0 0-15,12 0 0,-12 0 16,-1 0-16,14 0 0,-13 0 0,-1 13 0,1-13 16,-1 0-16,1 13 0,13-13 15,-14 14-15,1-1 0,13-13 16,-14 13-16,14-13 0,-14 13 0,14 0 15,0-13-15,0 14 0,-1-1 0,1 0 16,0 0-16,0-13 0,0 27 0,-1-14 16,14 0-16,-13 1 0,0-1 15,13 13-15,-13-13 0,13 1 0,0 12 16,0-13-16,0 14 0,0-14 0,13 13 16,-13 1-16,0-14 0,13 14 15,0-1-15,1-13 0,-14 14 16,13-14-16,0 13 0,0-12 0,0 12 15,1-13-15,-1 1 0,0 12 16,0-13-16,1 1 0,12 12 16,-13-13-16,14 0 0,12 14 15,-25-27-15,12 13 0,1-13 16,12 13-16,1-13 0,-14 14 0,14-14 16,0 0-16,-14 13 0,14-13 0,-14 0 15,1 13-15,-1-13 0,-12 0 0,12 0 16,-13 13-16,14-13 0,-14 0 15,0 0-15,0 0 0,1 0 0,-1 0 16,0 0-16,0 14 16,1-14-16,-1-14 15,-13 1 1,0 0-16,0 0 0,-13-1 16</inkml:trace>
  <inkml:trace contextRef="#ctx0" brushRef="#br0" timeOffset="46858.01">12726 10517 0,'0'-13'0,"-13"13"78,13-13-62,-13 13-16,0-13 16,0-1 15,-1 14-31,1-13 0,0 13 16,0 0-16,-1-13 0,1 13 15,0 0-15,0 0 0,-1 0 16,1 0-16,0 0 0,0 0 15,0 0-15,-1 0 0,1 13 0,0-13 16,0 0-16,-1 13 0,1-13 16,0 14-16,0-14 0,-1 13 15,1 0-15,0-13 0,0 13 0,0 0 16,13 1-16,-14-1 0,1-13 0,0 13 0,0 0 16,-1 14-16,14-14 0,-13 0 15,0 0-15,13 1 0,-13-1 16,13 0-16,-13 14 0,13-14 0,0 0 15,-14 0-15,14 1 0,0-1 0,0 0 16,0 0-16,0 0 0,14 1 16,-14-1-16,0 0 0,13 0 0,-13 1 15,13-1-15,0 0 0,-13 0 0,13 1 16,1-1-16,12-13 0,-13 13 16,1 0-16,12-13 0,0 13 0,-12 1 15,12-14-15,1 13 0,-1-13 0,1 0 16,-1 13-16,0-13 0,1 0 15,-14 0-15,53 0 16,-39 0-16,-1 0 0,27 0 16,-26 0-16,-1 0 0,-13 0 0,14 0 15,-1 0-15,1 0 0,-1-13 16,14 13-16,-27 0 0,14 0 0,-1-13 16,0 13-16,1 0 0,-1-14 0,1 14 15,-14 0-15,13-13 0,-12 13 0,12 0 16,1-13-16,-14 13 0,0 0 15,14-13-15,-14 13 0,13 0 0,-13 0 16,1-13-16,-1 13 0,0 0 0,14-14 16,-14 14-16,0 0 0,0-13 15,1 13-15,-1-13 0,0 13 16,0-13-16,0 13 0,1-14 16,-1 1-16,0 13 0,-13-13 15,13 0-15,1-1 16,-14 1-16,13 13 0,-13-13 0,0 0 15,0 0-15,0-1 0,0-12 16,0 13-16,0-1 16,-13 14-16,13-13 15,-14 0-15,14 0 0,-13-1 0,0 1 16,13 0-16,-13 13 0,-1-13 0,-12 0 0,13-1 16,0 1-16,-14 0 0,14 0 15,-14-1-15,1 14 0,-1-13 16,1 0-16,0 13 0,-1-13 0,-13 0 15,14 13-15,-1-14 0,-12 14 0,12 0 16,1-13-16,-1 13 0,1 0 16,0 0-16,-14 0 0,13 0 0,1 0 15,-1 0-15,1 13 0,0-13 0,-1 14 16,1-14-16,-1 13 0,14-13 0,-14 13 16,14 0-16</inkml:trace>
  <inkml:trace contextRef="#ctx0" brushRef="#br0" timeOffset="48541.36">6615 4961 0,'0'26'32,"0"1"-17,0-14-15,0 14 0,-14-14 16,14 13-16,0-13 0,0 14 0,0-14 16,-13 14-16,13-14 0,0 13 0,0-12 15,0-1-15,0 0 0,0 0 0,0 0 16,0 1-16,0-1 15,0 0-15</inkml:trace>
  <inkml:trace contextRef="#ctx0" brushRef="#br0" timeOffset="49010.62">6562 4987 0,'0'0'0,"0"-13"0,0 0 16,39-14 15,-25 27-31,-1 0 0,13 0 16,-12 0-16,-1 14 15,0-1-15,0 0 16,-13 0-16,0 14 15,-13-14 1,13 0-16,-13 1 0,0 12 16,-1-13-16,1 0 0,0 1 15,13-1-15,-13-13 0,-1 13 0,1-13 16,13 13-16,-13-13 0,0 0 0,-1 14 16</inkml:trace>
  <inkml:trace contextRef="#ctx0" brushRef="#br0" timeOffset="49340.34">6985 4802 0,'-13'13'32,"0"1"-32,-1 12 15,14-13-15,-13 14 0,0-1 16,0 14-16,-1-14 0,1 14 16,0-13-16,13-1 0,-13 0 0,13 1 15,0-14-15,0 14 0,-14-14 0,28 0 16,-14 0-16,0 14 0,0-14 15,0 0-15,13-13 0,0 13 0,-13 1 16,13-14-16,-13 13 0,14-13 0,-1 0 16,0 0-16,0 0 0,1 0 15,-1 0-15,0 0 0,-13-13 16,13 13-16,0 0 0</inkml:trace>
  <inkml:trace contextRef="#ctx0" brushRef="#br0" timeOffset="49705.56">7236 4948 0,'-13'26'47,"13"-13"-47,0 1 0,-13-1 15,13 0-15,-13 0 0,13 14 16,0-14-16,-14 0 0,14 0 0,0 1 16,-13-1-16,13 0 15,0 0-15,0 1 16,0-1-16,13-13 16,1 13-16,-1-13 15,0 0-15,0 0 0,1 0 0,-1 0 16,0 0-16,0 0 0,0 0 15,1 0-15,-1 0 0,0 0 0,0 0 16,-13-13-16,14 13 0,-1 0 0,0-13 16,0-1-16,1 1 15,-1 0-15</inkml:trace>
  <inkml:trace contextRef="#ctx0" brushRef="#br0" timeOffset="50001.6">7355 4710 0,'14'26'31,"-1"-26"-31,13 13 0,-12 14 16,12-14-16,-13 13 0,14 1 15,-1-1-15,-13 1 0,1-1 16,-1 1-16,0-14 0,0 27 0,1-14 16,-14-13-16,13 14 0,-13-1 0,0-13 15,-13 14-15,13-1 16,-14 1-16,-39 79 16,40-93-16,0 0 0,0 0 0,-1 1 15,1-1-15,0-13 0</inkml:trace>
  <inkml:trace contextRef="#ctx0" brushRef="#br0" timeOffset="50549.45">7713 5014 0,'26'-13'31,"1"13"-15,-14 0-16,0 0 15,0 0-15,0 0 0,1 0 0,-1 0 16,0 0-16,0 0 15,1 0-15,-1 0 0,-13 13 0,13-13 0,0 0 16</inkml:trace>
  <inkml:trace contextRef="#ctx0" brushRef="#br0" timeOffset="50756.49">7779 5133 0,'26'0'47,"-13"0"-47,1 0 16,-1 0-16,0 0 16,0 0-16,1 0 0,-1 0 15,0 0-15,0 0 0,1 0 16</inkml:trace>
  <inkml:trace contextRef="#ctx0" brushRef="#br0" timeOffset="52769.85">5331 8758 0,'27'-14'32,"-14"14"-32,14 0 15,-14-13-15,0 13 16,0 13-1</inkml:trace>
  <inkml:trace contextRef="#ctx0" brushRef="#br0" timeOffset="52940.6">5252 8850 0,'26'0'31,"-12"0"-16,-1 0-15,0 0 0,14 0 0,-14-13 16,0 13-16,0 0 0,1 0 16,-1-13-16,0 13 0,0 0 0,0-13 15</inkml:trace>
  <inkml:trace contextRef="#ctx0" brushRef="#br0" timeOffset="53801.51">8771 4762 0,'-27'-13'15,"54"26"-15,-67-26 0,27 0 16,-13 26-16,12-13 15,1 0-15,0 13 0,0-13 16,-1 14-16,1-1 0,-13 0 0,12 0 16,1 1-16,13-1 0,-13-13 0,0 13 0,13 0 15,0 1-15,0-1 16,0 0 0,13-13-16,0 0 0,14-13 15,-14 13-15,0 0 0,0-13 16,1-1-16,-1 14 0,0-13 15,0 0-15,1 13 0,-14-13 16,13 13-16,-13-14 0,13 14 16,-13 14-1,13-14-15,-13 13 0,0 0 16,0 0-16,0 1 0,0-1 16,0 0-16,0 0 0,0 0 0,0 1 15,0-1-15,0 0 0,0 0 16,0 1-16,0-1 0,13 0 0,-13 0 15,14-13-15,-14 14 0,13-14 16,0 0-16</inkml:trace>
  <inkml:trace contextRef="#ctx0" brushRef="#br0" timeOffset="54164.73">8956 4802 0,'0'0'0,"0"-13"0,-26 26 31,12 0-15,14 1-16,0-1 0,-13 0 0,13 14 16,0-14-16,0 0 15,0 0-15,0 0 0,13 1 0,-13-1 16,14 0-16,-1 0 0,0 1 0,0-14 16,1 13-16,12-13 0,-13 0 15,1 0-15,-1 0 0,0-13 16,0 13-16,0 0 0,-13-14 15,14 14-15,-1-13 0,-13 0 0,0 0 16,0-1-16,0 1 0,0 0 0,0 0 16,0 0-16,0-1 0,-13 1 0,13 0 15,-14 0-15,1-1 16,0 1-16,0 13 0,0-13 16,-1 13-16,1 0 0,0 13 15,0-13-15,-1 0 0,1 0 0,0 13 16,0-13-16,13 14 0,-14-14 15,14 13-15</inkml:trace>
  <inkml:trace contextRef="#ctx0" brushRef="#br0" timeOffset="54412.83">9551 4683 0,'0'0'0,"0"27"32,0-14-17,-13 0-15,13 0 0,-13 14 0,13-14 0,-13 13 16,0-12-16,13 12 0,-14-13 0,1 1 16,0 12-16,13-13 0,-13 0 15,13 1-15,-14-1 0,14 0 0,-13 0 16,0 1-16,13-1 15,-13-13 1</inkml:trace>
  <inkml:trace contextRef="#ctx0" brushRef="#br0" timeOffset="54553.15">9274 4882 0,'13'-14'16</inkml:trace>
  <inkml:trace contextRef="#ctx0" brushRef="#br0" timeOffset="54714.38">9618 4908 0,'13'0'31,"0"-13"0</inkml:trace>
  <inkml:trace contextRef="#ctx0" brushRef="#br0" timeOffset="56943.93">6694 5781 0,'-13'27'31,"13"-14"-31,0 0 16,0 0-16,-13 1 0,13 12 0,0-13 15,0 14-15,0-14 0,-14 13 0,14-12 16,0-1-16,0 13 0,0-13 16,0 1-16,0-1 0,-13 0 0,13 0 15,0 1-15,0-1 0,0 0 16,0 0-16</inkml:trace>
  <inkml:trace contextRef="#ctx0" brushRef="#br0" timeOffset="58965.6">10253 4696 0,'0'-13'31,"-14"40"-31,14-14 16,0 0-16,0 0 15,-13 14-15,13-14 0,0 0 0,0 0 16,0 1-16,0-1 0,-13 0 0,13 0 16,0 1-16,0-1 15,0 0-15,-13 0 16,13 0-16</inkml:trace>
  <inkml:trace contextRef="#ctx0" brushRef="#br0" timeOffset="59158.44">10028 4829 0,'13'-14'31,"0"14"-31,0 0 16,1 0-16,-1 0 0,0 0 0,0 0 15,1 0-15,-1-13 0,0 13 0,13 0 16,-12 0-16,-1 0 0,13 0 15,-12-13-15,-1 13 0</inkml:trace>
  <inkml:trace contextRef="#ctx0" brushRef="#br0" timeOffset="59360.77">10570 4670 0,'0'0'0,"0"-13"31,13 39-16,-13-13-15,0 1 16,0-1-16,-13 0 0,13 0 16,0 0-16,0 1 0,0-1 15,0 0-15,0 0 0,0 1 16,13-1-16,-13 0 16,14 0-16</inkml:trace>
  <inkml:trace contextRef="#ctx0" brushRef="#br0" timeOffset="59709.4">10769 4723 0,'-27'13'47,"27"0"-47,0 0 0,0 1 16,0-1-16,13 0 0,-13 0 15,14-13-15,-1 14 0,0-14 16,0 13-16,0-13 16,1 0-16,-1 0 0,0 0 15,0 0-15,1 0 0,-1 0 16,0 0-16,-13-13 0,13 13 16,-13-14-16,14 1 0,-14 0 15,0 0-15,0-1 0,-14 14 16,14-13-16,0 0 0,-13 13 0,13-13 15,-13 0-15,0-1 16,-1 14-16,1 0 0,0 0 16,0 0-16,-1 0 0,1 14 0,0-14 15</inkml:trace>
  <inkml:trace contextRef="#ctx0" brushRef="#br0" timeOffset="59949.34">11311 4551 0,'13'0'31,"-13"13"-31,0 0 0,0 1 16,0-1-16,-13 0 0,13 0 0,0 0 15,-13 1-15,13 12 0,-14-13 16,14 14-16,-13-14 0,13 0 0,-13 14 15,13-14-15,-13 0 0,13 0 0,-13 1 16,-1-1-16,14 0 16,-13 0-16</inkml:trace>
  <inkml:trace contextRef="#ctx0" brushRef="#br0" timeOffset="60108.46">11139 4696 0,'0'-13'32,"13"13"-32</inkml:trace>
  <inkml:trace contextRef="#ctx0" brushRef="#br0" timeOffset="60252.62">11509 4829 0,'14'13'15,"-1"-13"17</inkml:trace>
  <inkml:trace contextRef="#ctx0" brushRef="#br0" timeOffset="61209.38">8903 5490 0,'-13'-26'16,"0"39"15,13 0-31,-13 0 16,13 1-16,0 12 15,0-13-15,13-13 16,-13 13-16,0 1 16,13-14-16,0 0 15,0 0-15,1 0 16,-1 0-16,-13-14 0,13 14 16,0 0-16,1-13 0,-1 13 15,-13-13-15,13 13 0,0 0 16,1 0-1,-1 0-15,-13 13 0,13-13 16,0 13-16,0-13 16,1 0-16,-1 0 15,0-13 1,0 13-16,-13-13 16,14 0-16,-1 0 0,-13-1 0,13 1 15,-13 0-15,0 0 0,0-1 0,0 1 16,13 0-16,-13 0 0,0 0 15,0-1-15,0 1 0,0 0 16,0 0 0,14 39-1</inkml:trace>
  <inkml:trace contextRef="#ctx0" brushRef="#br0" timeOffset="61773.42">10358 5331 0,'0'-13'32,"-13"40"-32,0-14 15,13 0-15,0 0 0,0 14 16,0-14-16,-13 0 0,13 0 16,0 1-16,0-1 0,0 0 15,0 0-15,0 1 0,0-1 16,13-13-16,-13 13 0,0 0 15</inkml:trace>
  <inkml:trace contextRef="#ctx0" brushRef="#br0" timeOffset="61973.41">10226 5464 0,'0'0'16,"-13"-14"-1,39 14 16,-12 0-15,-1 0-16,0-13 16,0 13-16,1 0 0,-1 0 0,13 0 15,-13 0-15,14 0 0,-14 0 16,14 0-16,-1 0 0,-13 0 0</inkml:trace>
  <inkml:trace contextRef="#ctx0" brushRef="#br0" timeOffset="62458.64">10914 5490 0,'-13'-13'0,"13"0"0,-13-1 16,13 1-16,0 0 15,0 0-15,-14 0 0,14-1 16,0 1-16,0 0 16,0 0-1,14 39 32,-1-26-47,-13 13 16,13-13-16,0 0 0,14 0 15,-14-13 1,0 0-16,0 13 16,1 0-16,-1-13 0,0 13 15,0 0 1,1 13-1,-1 0-15,0 0 16,0 1 0,-13-1-1,0 0-15</inkml:trace>
  <inkml:trace contextRef="#ctx0" brushRef="#br0" timeOffset="62986">8744 5398 0,'-13'-14'16,"0"28"-16,0-1 15,13 0-15,-13 0 0,-1 40 16,1-26-16,0 12 16,13 1-16,-13-14 0,13 14 0,0-13 15,0-1-15,0 0 0,0 1 0,0-1 16,13 1-16,0-14 0,0 0 0,1 1 16,-1-1-16,13 0 0</inkml:trace>
  <inkml:trace contextRef="#ctx0" brushRef="#br0" timeOffset="63316.6">9379 5239 0,'14'0'15,"65"39"1,-66-25-16,14 12 16,-14 1-16,13-1 0,1 40 15,-14-39-15,0 26 16,1-27-16,-14 0 0,0 1 15,-14-1-15,14-12 0,0 12 0,0-13 16,-13 14-16,13-14 0,0 0 0,0 0 16</inkml:trace>
  <inkml:trace contextRef="#ctx0" brushRef="#br0" timeOffset="63771.86">10848 5212 0,'-27'14'0,"-12"12"16,26 14 0,-1-27-16,1 13 0,13 1 0,0-14 15,-13 14-15,13-14 0,0 13 0,0-13 16,13 14-16,-13-14 0,27 27 16,-27-27-16,13-13 15,26 13-15,-25 0 0,-1-13 16,0 0-16,14 0 0,-14-13 0</inkml:trace>
  <inkml:trace contextRef="#ctx0" brushRef="#br0" timeOffset="64029.58">11205 5080 0,'27'13'16,"-14"0"-16,13 27 16,1-27-16,12 40 15,-25-26-15,12-1 0,-13 27 16,1-40-16,-14 14 0,0-14 0,0 27 16,0-14-16,-14 1 15,14-14-15,-13 13 0,0 1 0,0-14 16,-1 13-16,1 1 0,-13-14 0,12 0 15,-12 1-15,-14-1 0</inkml:trace>
  <inkml:trace contextRef="#ctx0" brushRef="#br0" timeOffset="64956.75">6668 6019 0,'-14'27'0,"1"12"16,13-25 0,13-1-1,1-13-15,-1 0 16,0 0-16,0-13 0,0-1 15,1 1-15,-1 0 0,-13 0 16,13-1-16,-13 1 0,13-13 0,-13 13 16,0-14-16,0 14 0,-13-14 15,13 14-15,-13 0 0,13 0 0,-13 13 0,-1-13 16,1 13-16,0 0 0,0 0 16,0 13-16,-1 0 0,1 0 15,-13 0-15,12 1 0,1-1 0,0 0 16,0 14-16,-1-14 0,14 0 15,0 0-15,14-13 16,-14 13-16,13-13 0,0 0 16,0-13-16,14 13 0,-14-13 0,0 0 15,1 0-15,-1-14 0,0 14 16,-13-14-16,13 14 0,-13-13 16,-13 13-16,13-14 0,-13 14 0,13 0 0,-13 13 15,-1-14-15,1 14 0,-13 0 16,-1 14-16,-13-1 0,14 0 15,-14 0-15,14 1 0,-14 12 0,14 0 16,-1 1-16,14-1 0,0-12 0,0 12 16,13-13-16,-14 14 0,14-14 15,0 0-15,0 14 0,0-14 0</inkml:trace>
  <inkml:trace contextRef="#ctx0" brushRef="#br0" timeOffset="68554.44">6562 6032 0,'-14'14'0,"1"12"16,13-13 0,13 1-16,1-1 15,-1-13 1,13-13-16,-12 13 0,-1-14 15,0 1-15,0 13 16,-13-13-16,14-14 16,-14 14-16,0 0 0,0-13 15,-14 12-15,1 1 0,13 0 16,-13 13-16,-14 0 16,14 0-16,0 13 0,0 0 15,13 1-15,-14-1 0,14 0 16,0 0-16,0 0 15,0 1-15,14-14 0,-1 13 0,0-13 16,0 13-16,1-13 0,-1 0 0,0 0 16,0-13-16,1 13 0,-1-13 15,0-1-15,-13 1 16,0 0-16,0 0 0,0 0 16,0-1-16,-13 1 0,13 0 0,-13 13 15,13-13-15,-14 13 0,-12 0 16,13 13-16,-1-13 15,1 13-15,-13 14 0,26-14 16,-14 13-16,14-13 0,0 1 0,0-1 16,0 0-16,0 0 15,0 1-15,14-14 0,-1 0 16,0 0-16,0 0 16,1-14-16,-1 1 15,-13 0-15,0 0 16,0-1-16,0 1 0,0 0 0,-13 0 15,13 0-15,-14 13 0,1 0 16,-13 0 0,26 13-16,-14 0 0,1 0 15,13 0-15,0 1 0,-13-14 16,13 26-16,13-26 16,-13 13-16,13-13 0,1 0 15,12 0 1,-13-13-16,-13 0 15,0 0-15,0-1 16,0 1-16,0-13 16,-13 13-16,13-1 0,-13 1 15,0 0-15,-1 0 0,1 13 16,0-14-16,0 14 16,0 0-16,-1 14 0,1-14 15,0 13-15,0 0 16,13 0-16,-14-13 15,14 14-15,0-1 16,0 0-16</inkml:trace>
  <inkml:trace contextRef="#ctx0" brushRef="#br0" timeOffset="71977.45">11364 13361 0,'26'0'15,"-12"0"-15,-1 0 0,0 0 0,0 0 16,14 0-16,-14 0 0,13-13 0,1 13 15,-14 0-15,14 0 16,-1 0-16,-13 0 0,14 0 0,-14-13 16,0 13-16,0 0 0,1 0 0,-1 0 15,0 0-15</inkml:trace>
  <inkml:trace contextRef="#ctx0" brushRef="#br0" timeOffset="72631.26">11470 13441 0,'0'0'0,"0"13"0,13-13 31,0 0-31,0 0 16,1 0-16,-1 0 16,0 0-16,0 0 0,1 0 0,-1 0 15,0 0-15,0 0 0,0 0 0,1 0 16,12 0-1,-13 0-15,1 0 16,-1 0 0,0 0-1,0 0 1,1-13 46,-1 13 17,-13-13 171,13-1-235,0 14-15,0-13 0</inkml:trace>
  <inkml:trace contextRef="#ctx0" brushRef="#br0" timeOffset="75296.45">14883 13203 0,'13'-14'0,"0"14"15,0 0-15,40-13 16,-39 0-16,-1 13 0,13 0 0,-12-13 0,12 13 16,-13 0-16,0 0 15,1-13-15,-1 13 0,0 0 0,0 0 16,1 0-16,-1 0 0,-26 13 47,-1-13-47,1 13 15,0-13-15,0 13 0,-1-13 16,-12 13-16,13-13 0,0 14 0,-1-14 16,1 0-16,0 13 0,0-13 0,-1 13 15,1-13-15,0 0 16,0 13-16,39-13 47,-13 0-47,1 0 15,-1-13-15,0 13 0,14 0 0,-14 0 16,0 0-16,13-13 0,-12 13 0,-1 0 16,0 0-16,0 0 0,1-13 15,-1 13-15,0 0 0,0 0 16,1 0-16,-1 0 16,0 0-1,0-14 1,0 14-1,1 0 235</inkml:trace>
  <inkml:trace contextRef="#ctx0" brushRef="#br0" timeOffset="76756.55">11576 13547 0,'-14'13'47,"14"0"-47,0 0 16,0 1-16,0-1 0,0 0 0,0 0 16,14 0-16,-14 1 0,0 12 0,0-13 15,13 1-15,0 12 0,0-13 16,0 1-16,1-1 0,12 0 0,14 0 15,0 0-15,-1 1 0,1-14 0,13 0 16,0 0-16,0 0 0,0 0 16,13-14-16,0 1 0,0 13 15,0-13-15,0 0 0,0 0 0,1-1 16,-15-12-16,-12 13 0,0-1 16,0-12-16,-1 13 0,1-1 0,-14-12 15,1 13-15,-1-14 0,-12 14 0,-1-13 16,0 12-16,0 1 0,-13 0 15,13 0-15,-13 0 0,14 13 0,-14-14 16,0 1-16,13 0 0,-13 0 16,0-1-1,0 1-15,13 13 16</inkml:trace>
  <inkml:trace contextRef="#ctx0" brushRef="#br0" timeOffset="77169.32">12819 13414 0,'0'0'0,"13"-13"15,-13 0-15,14 13 0,-14-13 16,13 13-16,0-14 0,0 14 16,0 0-16,-13-13 0,14 13 15,-1 0-15,0 0 16,0 0-16,-13 13 0,14 1 15,-14-1 1,13-13-16,-13 13 0,0 0 16,13 1-16,-13-1 15,0 0-15,0 0 0,13 1 16,-13-1-16,0 0 16,0 0-16,14 0 15,-14 1 1,0-1 15</inkml:trace>
  <inkml:trace contextRef="#ctx0" brushRef="#br0" timeOffset="78482.32">11827 13229 0,'13'0'469,"0"0"-453,1 0-16</inkml:trace>
  <inkml:trace contextRef="#ctx0" brushRef="#br0" timeOffset="79720.41">15121 13150 0</inkml:trace>
  <inkml:trace contextRef="#ctx0" brushRef="#br0" timeOffset="81458.23">6760 6879 0,'-13'27'32,"13"-14"-32,0 0 15,-13 0-15,13 14 0,0-14 0,0 13 16,0-12-16,0 12 0,0-13 15,-14 14-15,14-14 0,0 0 0,0 27 16,0-27-16,14-13 0,-14 13 16,0 1-16,0-1 15,13 0 1</inkml:trace>
  <inkml:trace contextRef="#ctx0" brushRef="#br0" timeOffset="81774.2">6707 6866 0,'0'0'0,"0"-27"0,13 14 0,-13 0 15,14 13-15,-14-13 0,13 13 16,0-13-16,14 13 0,-14 0 0,0 0 15,0 0-15,14 0 0,-14 13 0,13 0 16,-12 0-16,-1-13 16,-13 13-16,0 1 0,0-1 0,0 0 15,0 0-15,-13 1 0,13-1 16,-27 27-16,14-27 0,0 0 0,-14 0 16,14 0-16,0 1 15,0-1-15,-1-13 0,1 13 0,0-13 16,0 13-16</inkml:trace>
  <inkml:trace contextRef="#ctx0" brushRef="#br0" timeOffset="82057.81">7117 6628 0,'0'-13'0,"-39"66"31,25-27-31,1 0 0,-13 14 0,12 0 16,-12-1-16,13 1 0,0 0 15,-1 0-15,1-1 0,0 1 0,0-14 16,13 14-16,0 0 0,0-14 0,-14 1 16,28-14-16,-14 13 0,0 1 15,0-14-15,13 13 0,-13-12 0,13-1 16,0 0-16,-13 0 0,14-13 0,-14 14 15,13-14-15,0 0 0,0 0 16,14 0-16,-14 0 16,0-14-16</inkml:trace>
  <inkml:trace contextRef="#ctx0" brushRef="#br0" timeOffset="82462.37">7329 6879 0,'-27'13'31,"27"1"-31,-13-1 0,0 0 16,0 14-16,0-14 0,-1 13 15,14-13-15,-13 14 0,0-14 0,0 0 16,13 1-16,-14-1 0,14 0 0,-13 0 16,13 1-16,0-1 15,-13-13-15,13 13 0,0 0 16,13-13-16,-13 13 16,13-13-16,1 0 15,-1 0-15,0 0 16,0 0-16,1 0 0,-1 0 15,0 0 1,0 0 0,0 0-1</inkml:trace>
  <inkml:trace contextRef="#ctx0" brushRef="#br0" timeOffset="83074.48">7541 6760 0,'0'0'0,"0"27"31,0-14-31,13 0 0,-13 13 16,0 1-16,0-1 0,0 1 0,-13 13 15,13-1-15,0 1 0,0-14 16,0 1-16,-14-1 0,14 1 0,0-1 15,0-13-15,0 14 0,-13-14 0,13 0 16,0 1-16,0-1 16,0 0-16,0 0 0,13 0 15</inkml:trace>
  <inkml:trace contextRef="#ctx0" brushRef="#br0" timeOffset="83624.53">7779 6945 0,'0'0'0,"-13"-13"0,-1 40 31,14-14-15,0 0-16,14 0 16,-14 0-16,0 1 15,13-14-15,-13 13 16,13-13-16,0 0 15,0 0-15,1 0 16,-1-13-16,0 13 16,0 0-16,1 0 15,-1 13-15,13-13 16,-26 13 0,14-13-16,-1 0 15,0 0-15,0 0 16,0 0-16,1 0 0,-14-13 15,13 13-15,0-13 16,-13-1-16,0 1 16,13 13-16,-13-13 15,0 0-15,0 0 32,-13-1-32,0 14 15,13-13-15</inkml:trace>
  <inkml:trace contextRef="#ctx0" brushRef="#br0" timeOffset="83921.63">8017 6707 0,'13'-13'16,"-26"26"-16,26-39 0,0 26 15,14 0 1,-14 0-16,13 13 0,-12-13 15,12 13-15,1 0 0,-1 14 0,1-1 16,-1-12-16,-13 12 0,14 14 16,-14 13-16,0-40 0,-26 106 31,13-93-31,-13 1 0,-1-1 0,1 1 16,0-14-16,0 0 0,13 0 15,-13 1-15,-1-1 0,1 0 16,13 0-16,-13-13 0,13 14 0,-13-28 31</inkml:trace>
  <inkml:trace contextRef="#ctx0" brushRef="#br0" timeOffset="85205.73">8229 6734 0,'13'-14'32,"-13"1"-32,13 13 0,-13-13 0,13 0 15,-13 0-15,13-1 0,-13 1 16,14-13-16,-1 12 0,0-25 0,0 12 15,1 1-15,12-14 0,-13 14 0,14-14 16,-14 13-16,0-12 0,14 12 16,-14 1-16,0-1 0,0 14 0,1 0 15,-14-14-15,13 14 0,0 0 16,-13 0-16,13 0 0,-13-1 31,13 14-31,-13-13 0,-26 13 78</inkml:trace>
  <inkml:trace contextRef="#ctx0" brushRef="#br0" timeOffset="85677.83">8414 6072 0,'26'-13'63,"-13"13"-63,1 0 0,-1-13 15,0 13-15,0 0 0,1 0 16,-1-14-16,0 14 0,0 0 0,14-13 16,-14 13-16,0 0 0,-13-13 15,13 13-15,1 0 16,-1 0-16,0 13 15,0 0 1,-13 1-16,14-14 0,-14 13 16,0 0-16,0 0 15,0 1-15,0-1 16,13-13-16,-13 13 0,0 0 0,-13 1 16,13-1-16,0 0 15,0 0-15,0 0 0,0 1 16,0-1-1,13 0-15,-13 0 16,13-13-16,-13 14 0,13-14 16</inkml:trace>
  <inkml:trace contextRef="#ctx0" brushRef="#br0" timeOffset="86041.51">8559 6787 0,'66'-14'31,"-52"14"-31,12 0 0,-13 0 15,1 0-15,-1 0 0,13 0 0,-13 0 16,1 0-16</inkml:trace>
  <inkml:trace contextRef="#ctx0" brushRef="#br0" timeOffset="86237.5">8546 6972 0,'26'0'32,"-12"0"-17,-1 0-15,0-13 0,14 13 0,-14 0 0,13-14 16,-12 14-16,12 0 0,0-13 16,-12 13-16,12 0 0,1-13 15</inkml:trace>
  <inkml:trace contextRef="#ctx0" brushRef="#br0" timeOffset="86609.97">9300 6628 0,'0'0'0,"-26"0"0,-1 0 15,14 0-15,0 13 0,0-13 16,-1 0-16,1 13 0,0 1 0,0-14 15,-1 13-15,1-13 16,13 13-16,-13-13 0,13 13 0,-13-13 16,13 13-16,13 1 15,0-14-15,0-14 16,1 14-16,-1 0 0,0 0 16,0-13-16,1 13 0,-1-13 0,0 13 15,0-13-15,0 13 0,1 0 16,-1 0-1,0 13-15,-13 0 16,0 0-16,0 1 0,0-1 16,0 0-16,0 0 15,-13 14-15,13-14 0,0 0 0,0 0 16,-13-13-16,13 14 0,0-1 16,13 0-16</inkml:trace>
  <inkml:trace contextRef="#ctx0" brushRef="#br0" timeOffset="86952.47">9499 6720 0,'0'0'0,"-27"14"32,27-1-17,0 0-15,-13 0 16,13 1-16,13-1 15,-13 0-15,0 0 0,13-13 16,1 13-16,-1-13 0,0 0 16,0 0-16,0-13 15,1 13-15,-1 0 0,-13-13 16,13 13-16,-13-13 0,13 0 0,-13-1 16,0 1-16,0 0 0,0 0 15,0-1-15,0 1 16,-13 0-16,0 0 15,0 13-15,13-13 16,-27 13-16,14 13 0,0-13 16,0 0-1</inkml:trace>
  <inkml:trace contextRef="#ctx0" brushRef="#br0" timeOffset="87169.55">9829 6509 0,'13'0'0,"-13"13"31,0 0-31,-13 0 16,13 1-16,0-1 0,0 0 16,-13 0-16,13 27 0,-13-27 15,13 1-15,-27 25 0,27-26 16,-13 1-16,13-1 15,-13 0-15,13 0 0,-13 1 16</inkml:trace>
  <inkml:trace contextRef="#ctx0" brushRef="#br0" timeOffset="87297.25">9644 6681 0,'-13'-13'16</inkml:trace>
  <inkml:trace contextRef="#ctx0" brushRef="#br0" timeOffset="87440.42">9869 6681 0,'13'0'31,"-13"-13"-15</inkml:trace>
  <inkml:trace contextRef="#ctx0" brushRef="#br0" timeOffset="88256.77">7369 8043 0,'-14'0'0,"14"14"0,-13-1 16,13 0-16,0 0 16,0 0-16,0 1 0,-13 12 0,13-13 15,0 14-15,0-14 0,0 14 0,0-14 16,0 13-16,13-13 0,-13 1 0,0-1 16,0 0-16,0 0 0,0 1 15,13-1-15,-13 0 16,-13-39 15,13 12-31,-13 1 0,13-13 16,0 12-16,0-12 0,-13 0 0,13-1 15,0 14-15,0-14 0,0 1 16,0 13-16,13-14 0,-13 14 16,13 0-16,0 0 0,-13-1 0,14 1 15,-1 13-15,13-13 0,-12 13 16,-1 0-16,0 13 0,0-13 15,-13 13-15,13 1 16,-13-1-16,-13 0 0,13 0 0,0 0 16,-13 1-16,0-1 0,0 0 15,-1 0-15,1 1 0,0-1 16,0 0-16,-1 0 0,1-13 0,0 14 16,0-14-16,13 13 0,-14-13 0</inkml:trace>
  <inkml:trace contextRef="#ctx0" brushRef="#br0" timeOffset="88521.36">7607 7871 0,'0'0'0,"0"-13"16,-13 40-1,13-14-15,-14 13 16,14-12-16,-13 12 0,0 0 15,13-12-15,-13 25 0,-1-12 16,14-1-16,0 1 0,-13-1 0,13-13 16,0 14-16,0-1 0,0-12 0,0-1 15,0 13-15,0-13 0,0 1 16,13-1-16,-13 0 0,0 0 0,14-13 16,-14 14-16,13-14 0,-13 13 0,13-13 15,14 0 1,-14-13-16,0 13 15</inkml:trace>
  <inkml:trace contextRef="#ctx0" brushRef="#br0" timeOffset="88888.61">7792 8057 0,'0'-14'31,"-13"41"-15,13-14-16,0 0 16,0 0-16,-13 1 0,13 12 0,0-13 15,0 1-15,-14-1 0,14 0 16,0 0-16,0 1 16,0-1-16,0 0 15,0 0-15,0 0 0,14-13 31,-14 14-31,13-14 16,0 0-16,0 0 16,0 0-16,1-14 0,-1 14 15,0 0 1,0 0-16,1 0 16,-1 0-16,0-13 15,0 13-15,1 0 16,-1 0-16</inkml:trace>
  <inkml:trace contextRef="#ctx0" brushRef="#br0" timeOffset="89320.25">8123 7818 0,'0'0'0,"0"27"31,0-14-31,0 0 0,0 14 16,13-14-16,-13 14 0,0-14 0,0 13 16,0 1-16,0-1 0,0 1 15,0-14-15,0 13 0,0 1 0,0-1 16,0-13-16,0 14 0,0-14 0,0 0 15,0 1-15,0-1 0,0 0 16,0 0-16,0 0 0,13 1 16</inkml:trace>
  <inkml:trace contextRef="#ctx0" brushRef="#br0" timeOffset="89905.36">8295 8096 0,'0'27'31,"0"-14"-31,-14 0 15,14 0-15,0 1 16,0-1-16,0 0 0,0 0 16,0 1-1,14-41 32,-1 14-47,-13 0 16,13 13-16,-13-14 15,13 14-15,-13-13 0,14 13 16,-1 0-16,0 0 16,0 13-1,-13 1 1,14-1-16,-14 0 31,13-13-15,0-13-1,-13 0 1,13 13-16,-13-14 16,13 14-16,-13-13 15,14 13 1,-1 13-16,-13 1 16,13-14-16,-13 13 15,0 0 1,13 0-16</inkml:trace>
  <inkml:trace contextRef="#ctx0" brushRef="#br0" timeOffset="90192.54">8506 7805 0,'0'0'0,"14"0"0,-1 0 0,0 13 16,13 1-16,-12-1 15,-1 0-15,0 14 0,0-14 16,14 13-16,-14 1 0,0 12 0,1-12 16,-1-1-16,0 1 0,0-1 0,-13 14 15,0-14-15,0 1 0,0-1 16,0 14-16,-13-14 0,13 14 0,-13-13 15,0-1-15,-1-13 0,14 14 0,-13-14 16,0 0-16</inkml:trace>
  <inkml:trace contextRef="#ctx0" brushRef="#br0" timeOffset="90425.32">9009 8030 0,'0'-13'16,"13"13"-16,1 0 16,-1 0-1,0 0-15,0 0 0,0 0 0,1 0 16,-1 0-16,0 0 15,0 0-15,-13 13 16,0 0 0</inkml:trace>
  <inkml:trace contextRef="#ctx0" brushRef="#br0" timeOffset="90597.16">9009 8149 0,'-13'0'15,"26"0"-15,14 0 47,-14-13-31,0 13-16,0 0 0,14-13 0,-14 13 15,0 0-15,0 0 0,1-14 0,12 14 16,-13 0-16,1-13 16</inkml:trace>
  <inkml:trace contextRef="#ctx0" brushRef="#br0" timeOffset="90925.88">9816 7911 0,'0'27'32,"0"-14"-32,0 0 15,0 0-15,0 0 0,0 1 0,-13-1 16,13 0-16,0 0 0,0 1 0,-13-1 15,13 0-15,0 0 0,0 0 16,0 1 0</inkml:trace>
  <inkml:trace contextRef="#ctx0" brushRef="#br0" timeOffset="91281.35">9988 7977 0,'-40'13'32,"40"1"-32,0-1 0,-13 0 0,13 0 15,0 1-15,13-14 0,1 13 16,-1 0-16,0-13 16,0 13-16,0-13 0,1 0 15,-1 0-15,0 0 0,0 0 0,1 0 16,-1 0-16,0 0 0,0-13 0,1 13 15,-1 0-15,0-13 0,0 13 16,-13-13-16,13 13 16,-13-14-16,0 1 0,0 0 0,0 0 15,-13-1-15,13 1 0,-13 0 16,0 0-16,0 0 0,-1 13 16,1-14-16,0 1 0,0 13 0,-1 0 15,1 0-15,-13 0 0,12 0 0,1 0 16,-13 0-16,13 13 0,-1-13 15,1 14-15,0-14 0,0 0 0</inkml:trace>
  <inkml:trace contextRef="#ctx0" brushRef="#br0" timeOffset="92482.21">8837 7964 0,'27'0'15,"-1"0"-15,-13 0 16,27-13-16,0 13 0,-1-13 0,14-1 16,-13 14-16,26-13 0,-13 0 15,13-14-15,-13 14 0,13 0 0,-13-14 16,13 14-16,-13-13 0,13 13 15,-13-14-15,13 1 0,-13-1 16,0 1-16,0-1 0,0 1 0,0-1 16,0 1-16,39-40 0,-39 39 15,0-12-15,-13 12 0,13-13 16,-13 14-16,-1-14 0,14 14 0,-13-14 16,0 0-16,-1 14 0,1-14 0,13 1 15,-13-1-15,-1 13 0,41-52 16,-41 39-16,1 1 0,-14-1 15,14 0-15,-13 14 0,39-53 16,-40 39-16,-13 13 0,14 1 0,-1-14 16,-12 14-16,-1-1 0,0 1 15,0 13-15,-13-14 0,13 14 16,-13 0-16,14-1 0,-14 1 0,0 0 16,0 0-16,0 0 0,13-1 15,-13 1-15,0 0 16,0 0-16,0-1 15,0 1 17,0 0-17,-13 0 1,13-1 15,0 1-31,0 0 16,0 0-1,0 0-15,0-1 16,0 1-16,0 0 16,0 0-16,13 13 0,-13-14 0,0 1 15,0 0-15,0 0 16,13-1-16,-13 1 16,0 0-1,0 0 16,-13 13 16</inkml:trace>
  <inkml:trace contextRef="#ctx0" brushRef="#br0" timeOffset="92715.31">11311 5953 0,'0'0'0,"-13"0"16,-1 13-16,14 1 0,-13-14 15,0 13-15,0 0 0,0 0 0,-1 0 16,1 1-16,0-1 0,0 0 15,-1 14-15,1-14 0,0 0 0,0 0 16,13 1-16,-14-1 0,14 0 0,-13-13 16,0 13-16,13 0 0,-13 1 15</inkml:trace>
  <inkml:trace contextRef="#ctx0" brushRef="#br0" timeOffset="93014.48">11179 6019 0,'13'0'0,"27"13"32,-27 1-32,0-14 0,0 13 0,0-13 15,14 13-15,-14 0 0,0-13 16,1 14-16,-1-14 0,0 13 0,0-13 15,1 13-15,-1-13 0,0 0 0,0 0 16,-13 13-16,13-13 0,1 0 16,-1 14-1,0-14-15,0 0 16,1 0 15</inkml:trace>
  <inkml:trace contextRef="#ctx0" brushRef="#br0" timeOffset="97211.29">10266 6562 0,'-27'13'16,"14"0"-16,13 0 0,-26 14 15,26-14-15,-14 0 16,1 1-16,13-1 0,-13 0 0,0 0 16,13 14-16,-13-14 0,-1 0 15,1 14-15</inkml:trace>
  <inkml:trace contextRef="#ctx0" brushRef="#br0" timeOffset="97432.14">10067 6628 0,'0'-13'32,"27"26"-32,-27 0 15,13-13-15,0 13 0,-13 1 0,14-14 16,-14 13-16,13 0 0,-13 0 0,13-13 15,-13 13-15,13 1 0,0-1 16,1 0-16,-1-13 16,0 13-16</inkml:trace>
  <inkml:trace contextRef="#ctx0" brushRef="#br0" timeOffset="97777.62">10358 6615 0,'-13'0'0,"0"13"31,0-13-31,13 13 0,0 0 16,0 1-16,0-1 0,13 0 16,-13 0-16,13 0 15,-13 1-15,13-14 0,1 13 0,-1-13 16,0 0-16,-13 13 0,13-13 0,1 0 15,-1 0-15,0 0 16,0-13-16,1 13 0,-14-13 16,0-1-16,0 1 15,0 0-15,0 0 16,-14 0-16,14-1 16,-13 14-16,13-13 0,-13 13 15,0-13-15,-1 13 16,1 13-1</inkml:trace>
  <inkml:trace contextRef="#ctx0" brushRef="#br0" timeOffset="97922.33">10530 6641 0,'14'-13'31</inkml:trace>
  <inkml:trace contextRef="#ctx0" brushRef="#br0" timeOffset="98281.62">10888 6548 0,'-27'0'16,"14"0"0,0 14-16,-1-14 15,14 13 1,0 0-16,0 0 15,14-13-15,-14 14 16,13-14-16,-13 13 0,13 0 16,-13 0-16,13-13 0,-13 14 15,0-1-15,0 0 16,0 0-16,-13 0 16,0 1-1,0-14-15,-1 13 0,1-13 0,0 13 16,0-13-16,13 13 0,-13-13 0,-1 14 15,1-14-15,0 13 0</inkml:trace>
  <inkml:trace contextRef="#ctx0" brushRef="#br0" timeOffset="98724.31">10583 7660 0,'-13'26'31,"0"-13"-31,13 1 0,-13-1 16,-1 13-16,1-12 0,0 12 0,0 0 16,0 14-16,-14-13 0,14-1 15,-14-13-15,14 14 0,0-14 0,0 0 16,13 0-16,-14-13 0,14 14 0</inkml:trace>
  <inkml:trace contextRef="#ctx0" brushRef="#br0" timeOffset="98920.49">10306 7858 0,'0'-13'0,"13"26"47,0 0-47,-13 1 15,13-14-15,-13 13 0,13 0 0,-13 0 16,14-13-16,-1 14 0,0-1 15,0 0-15,1-13 16,-1 13-16,0-13 0,0 0 0</inkml:trace>
  <inkml:trace contextRef="#ctx0" brushRef="#br0" timeOffset="99233.26">10676 7845 0,'0'0'0,"0"-13"0,0-1 0,-13 14 16,-1 14-1,1-14-15,13 13 16,-13 0-16,0 0 0,13 1 16,0-1-16,-13 0 0,13 0 15,0 1-15,13-14 0,-13 13 0,13 0 16,0-13-16,-13 13 16,13-13-16,1 0 0,-1 0 0,0 0 15,0-13-15,1 13 0,-1-13 16,0 0-1,-13-1-15,0 1 0,0 0 16,0 0-16,0-1 16,-13 14-16,13-13 0,-13 13 0,13-13 15,-14 13-15,1 0 16,-13 0-16,12 0 0,1 0 16,13 13-16,-13-13 0</inkml:trace>
  <inkml:trace contextRef="#ctx0" brushRef="#br0" timeOffset="99384.51">10769 7832 0,'0'0'0,"0"-14"16</inkml:trace>
  <inkml:trace contextRef="#ctx0" brushRef="#br0" timeOffset="99742.7">11139 7752 0,'-27'0'0,"14"0"16,0 0-16,13 14 0,-13-14 15,13 13 1,13 0 0,-13 0-16,13-13 0,-13 13 0,13-13 15,1 14-15,-1-1 0,0 0 16,0-13-16,-13 13 0,14 1 15,-1-14-15,-13 13 0,0 0 32,-13 0-32,-1-13 15,1 14 1,-13-14-16,12 0 16,1 0-16</inkml:trace>
  <inkml:trace contextRef="#ctx0" brushRef="#br0" timeOffset="100222.13">9604 7131 0,'0'0'16,"27"0"0,-1 0-1,1 0-15,12-14 0,14 14 0,-13 0 16,13-13-16,0 13 0,13-13 0,-13 13 15,13-13-15,-13-1 0,0 14 0,0-13 16,0 13-16,0-13 0,-14 13 16,1 0-16,-13-13 0,-1 13 0,-13 0 15,0 0-15</inkml:trace>
  <inkml:trace contextRef="#ctx0" brushRef="#br0" timeOffset="100424.55">9591 7223 0,'93'0'32,"-67"0"-32,14-13 0,13 13 0,0 0 15,-14-13-15,14 13 0,0-14 0,0 14 16,-13-13-16,13 13 0,0-13 0,-14 13 15,1 0-15,-13 0 0,12 0 16,-12 0-16,-1 13 0</inkml:trace>
  <inkml:trace contextRef="#ctx0" brushRef="#br0" timeOffset="100849.58">9909 8268 0,'105'0'15,"-78"0"1,66-13-16,-41 13 0,1-13 15,14 13-15,65-27 0,-79 27 16,0-13-16,0 13 0,-1 0 16,-12-13-16,26 13 0,-39-13 15,-1 13-15,1 0 16</inkml:trace>
  <inkml:trace contextRef="#ctx0" brushRef="#br0" timeOffset="101040.99">9988 8480 0,'66'0'0,"-132"0"0,145 0 0,-52-13 0,-1 13 16,14 0-16,0-14 0,-1 14 15,1 0-15,13-13 0,-13 13 0,13-13 16,-14 13-16,1-13 0,0 13 0,-14 0 15,1-13-15,-1 13 0,0 0 16</inkml:trace>
  <inkml:trace contextRef="#ctx0" brushRef="#br0" timeOffset="102996.49">17780 10491 0,'-26'0'0,"52"0"0,-66 0 0,27 0 31,53 0 1,-14 0-32,1 0 0,12-13 0,14 13 15,0 0-15,13 0 16,1 0-16,12 0 0,0-14 0,1 14 15,-14 0-15,0 0 0,0-13 0,-13 13 16,0 0-16,0 0 0,0 0 16,-27-13-16,14 13 0,-27 0 0,14 0 15,-14 0-15,0 0 0,0 0 0,0 0 16,-39 13 15,0-13-31,12 0 0</inkml:trace>
  <inkml:trace contextRef="#ctx0" brushRef="#br0" timeOffset="103718.33">17740 10623 0,'53'0'0,"-106"0"0,133 0 0,-54 0 16,1 0-16,-1 0 0,1 0 0,12-13 15,-12 13-15,12 0 0,-12 0 0,-1 0 16,14 0-16,-14 0 0,-12 0 16,12-13-16,-13 13 0,14 0 0,-14 0 15,0 0-15,0 0 0,1 0 16,12 0-1,-13 0-15,1 0 16,-1 0 0,0 0-1,-13-14 1,13 14 15,1 0 0</inkml:trace>
  <inkml:trace contextRef="#ctx0" brushRef="#br0" timeOffset="105225.12">21630 10438 0,'-14'0'31,"41"0"-15,-14 0 0,0-13-16,14 13 0,-1 0 0,14-14 15,0 1-15,13 13 0,-14-13 16,14 13-16,0-13 0,0 13 15,0-14-15,0 1 0,0 13 0,0-13 0,0 13 16,0 0-16,-14-13 0,1 13 16,-14 0-16,1-13 0,12 13 15,-12 0-15,-14 0 0,0 0 16</inkml:trace>
  <inkml:trace contextRef="#ctx0" brushRef="#br0" timeOffset="105754.18">21616 10557 0,'67'-13'16,"-41"13"-16,14-14 0,-1 14 16,14-13-16,-13 0 0,13 13 0,-13-13 15,-1 13-15,14-13 0,-13 13 0,53-14 16,-54 14-16,-12 0 16,-1-13-16,1 13 0,-1 0 0,14 0 15,-27-13-15,0 13 0,0 0 16,1 0-16,-1 0 0,0 0 15,0 0-15,1 0 16,-1 0-16,0-13 47,-39 13 15,12 0-46,1 0 31,0 0-16</inkml:trace>
</inkml:ink>
</file>

<file path=ppt/ink/ink31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2:58:25.938"/>
    </inkml:context>
    <inkml:brush xml:id="br0">
      <inkml:brushProperty name="width" value="0.05292" units="cm"/>
      <inkml:brushProperty name="height" value="0.05292" units="cm"/>
      <inkml:brushProperty name="color" value="#0070C0"/>
    </inkml:brush>
  </inkml:definitions>
  <inkml:trace contextRef="#ctx0" brushRef="#br0">7527 4802 0,'0'53'16,"0"53"-16,14 0 15,12 26-15,1 27 16,-14 0-16,0-14 16,0 14-16,14 13 15,-1-27-15,-13-12 16,-13-41-16,0 41 15,0-54 1,0 14-16,0-1 16,0-52-16,0-1 15,0-12-15,0 13 16,0-1-16,0-25 16,0-1-16,0 0 15</inkml:trace>
  <inkml:trace contextRef="#ctx0" brushRef="#br0" timeOffset="974.87">6019 1402 0,'13'0'31,"54"27"-15,52-27-16,106 26 15,105-26-15,67 0 16,212 0 0,171 0-16,-52-39 0,39-41 15,-52 54-15,158-27 16,-318-13-16,-145 26 15,-132-26 1,-225 66-16</inkml:trace>
  <inkml:trace contextRef="#ctx0" brushRef="#br0" timeOffset="4537.51">19698 2262 0,'13'13'32,"-13"1"-32,14-1 0,-14 0 15,0 0-15,0 1 0,13 12 16,-13-13-16,0 0 0,0 1 15,0-1-15,0 0 0,0 0 0,0 1 16,0-1-16,0 0 0,0 0 16,0 1-16</inkml:trace>
  <inkml:trace contextRef="#ctx0" brushRef="#br0" timeOffset="4713.51">19619 2222 0,'-27'-26'16</inkml:trace>
  <inkml:trace contextRef="#ctx0" brushRef="#br0" timeOffset="5254.89">19844 2222 0,'13'27'31,"0"-14"-31,-13 0 16,13-13-16,-13 14 0,0-1 16,14 0-1,-14 0 1,13 1 0,0-28 15,-13 1-31,13 13 0,-13-13 15,14 13-15,-1 0 16,0-13-16,13 26 31,-12-13-31,-14 13 16,13-13 0,0-13 30,-13 0-30,0-1 0,13 14-16,-13-13 0,14 13 15,-1 0 1,0 0 0,0 0-16,1 0 15,-1 0-15,-13 13 16,13-13-16,0 0 15,0 0-15,1 0 16</inkml:trace>
  <inkml:trace contextRef="#ctx0" brushRef="#br0" timeOffset="5634.89">20386 2143 0,'-13'0'16,"26"0"-16,-39-13 0,12 13 16,1 0-16,13 13 15,-13-13-15,0 13 16,0-13-16,13 14 0,-14-14 16,14 13-16,0 0 0,-13 0 15,26-13 1,-13 13-16,14-13 15,12-13 1,-13 13-16,0-13 16,1 0-16,-1 13 15,-13-13 1,13 13-16,0 0 16,1 13-16,-1 0 15,0 0 1,0-13-1,1 0-15,-1 13 16,0-13-16,0 0 0,0 0 0</inkml:trace>
  <inkml:trace contextRef="#ctx0" brushRef="#br0" timeOffset="6150.61">20611 2090 0,'-13'0'0,"0"0"31,13 13-15,13 1-16,-13-1 15,13 0-15,0 0 0,-13 1 16,14-1-16,-14 0 0,13 0 15,-13 0-15,0 1 0,0-1 16,0 0-16,-13 0 0,13 1 16,-14-1-16,14 0 0,-13 0 0,0-13 15,0 14-15,-1-1 0,1-13 16,0 0 0,13-13-1,0-1-15,13 1 16,-13 0-16,13 0 0,1-1 0,-1-12 15,0 26-15,0-13 0,1-1 0,-1 1 16,0 0-16,0 13 0,0-13 16,-13 0-16,14 13 0,-1 0 0,0 0 15,0 0 1,1 13 0,-1-13-16,-13 13 0,13-13 15,-13 13-15,13 0 0,0 1 31,-13-1-31,14 0 16</inkml:trace>
  <inkml:trace contextRef="#ctx0" brushRef="#br0" timeOffset="6274.91">20783 2064 0,'-26'0'31</inkml:trace>
  <inkml:trace contextRef="#ctx0" brushRef="#br0" timeOffset="6627.86">20889 2117 0,'0'13'16,"0"-26"-16,13 39 0,-13-13 15,0 1-15,0-1 16,0 0 0,13 0 15,1-26-16,-1 0-15,-13 0 16,13 13 0,0 0-16,-13-14 15,13 14-15,1 0 16,-1 0-16,0 0 16,0 14-16,1-14 15,-1 0-15,0 13 16,0-13-1</inkml:trace>
  <inkml:trace contextRef="#ctx0" brushRef="#br0" timeOffset="6937.17">21206 2156 0,'14'-26'16,"12"-1"0,-26 14-1,0 0-15,0 0 16,0 0 0,-13 26-1,0 0 1,13 0-16,-14-13 15,14 13-15,0 1 16,0-1-16,14-13 16,-14 13-16,13-13 15,0 0-15,0 0 0,14 0 16,-14 0 0</inkml:trace>
  <inkml:trace contextRef="#ctx0" brushRef="#br0" timeOffset="7376.94">21974 1958 0,'0'-13'0,"-14"13"16,1 0 0,0 13-16,0-13 0,0 0 15,13 13-15,-14-13 0,1 13 0,0 1 16,0-1-16,-1 0 16,14 0-1,14-13-15,-1 0 16,0 0-1,0 0-15,1-13 0,-1 13 0,-13-13 16,13 13-16,0-13 16,0 13-16,1 0 15,-14-14-15,26 28 16,-13-1 0,1-13-16,-14 13 15,13 0-15,0-13 16,-13 14-16,13-1 15,0-13-15,1 0 16</inkml:trace>
  <inkml:trace contextRef="#ctx0" brushRef="#br0" timeOffset="7582.68">22318 1773 0,'0'-14'0,"0"28"0,0 12 47,0-13-47,0 1 0,-14 65 31,14-66-31,0 0 0,0 1 0,0-1 16,0 0-16,0 0 0,14 1 15</inkml:trace>
  <inkml:trace contextRef="#ctx0" brushRef="#br0" timeOffset="7894.75">22542 1812 0,'0'0'15,"0"-13"-15,-13 26 32,13 1-32,0-1 15,-13 0-15,13 0 0,0 1 16,0-1-16,13 0 0,-13 0 15,13 0-15,1-13 16,-1 14-16,0-14 0,14-14 16,-14 14-1,0-13-15,0 0 16,-13 0-16,14 0 0,-14-1 16,0 1-16,0 0 15,0 0-15,-14-1 16,14 1-16,-13 13 15,0 0-15,26-13 16,-13 0 0</inkml:trace>
  <inkml:trace contextRef="#ctx0" brushRef="#br0" timeOffset="8160.12">22728 1746 0,'13'-13'16,"-26"26"-16,39-13 15,-26 13 1,13-13-16,-13 14 0,0-1 0,14-13 15,-14 13-15,13-13 0,-13 13 16,13 1-16,0-14 0,14 13 16,-14-13-16,13 0 15,-12 0 1,-14-13-16,13 13 0,-13-14 0,13 14 16,-13-13-16,0 0 0,0 0 15,0-1-15,0 1 16,-13 0-16,0 13 15,13-13-15,-14 13 0,1 0 16,0 0-16,0 0 0,0 0 16,-1 0-16,14 13 0,-13-13 15</inkml:trace>
  <inkml:trace contextRef="#ctx0" brushRef="#br0" timeOffset="8507.79">23151 1667 0,'-40'13'32,"40"0"-32,-13 1 15,13-1-15,0 0 16,0 0-16,13-13 0,-13 13 15,14 1-15,-1-14 0,0 0 16,0 0-16,1 0 0,-1 0 16,0-14-16,0 14 15,0-13-15,-13 0 16,0 0-16,0-14 16,0 14-16,-13 0 15,13 0-15,-13 13 0,0-14 16,0 14-16,-1-13 0,-12 13 0,13 0 15,-14 13-15,1-13 0,-1 0 0,1 0 16,-1 14-16</inkml:trace>
  <inkml:trace contextRef="#ctx0" brushRef="#br0" timeOffset="11590.01">20161 3241 0,'40'0'31,"-27"0"-31,14-13 15,-14 13-15,13-13 0,14-1 0,0 1 16,-14 0-16,1 0 0,-1 13 0,1-13 16,-14-1-16,0 1 0,0 0 15,14 0-15,-27-1 0,13 14 16,-13-13-16,0 0 16,-13 26 15,-1 0-31,14 1 0,-13-1 0,0 13 15,13 1-15,-13-14 0,13 13 16,0 1-16,-13-1 0,13 1 16,0-1-16,0 93 15,0-79 1,0-27-16,13 0 0,-13 1 16,13-14-16</inkml:trace>
  <inkml:trace contextRef="#ctx0" brushRef="#br0" timeOffset="11942.82">20598 3294 0,'0'0'0,"0"-13"0,13 13 15,-13-13-15,27 26 16,-27 0-1,13 0-15,-13 1 16,13-1-16,-13 0 0,0 0 0,0 0 16,13 1-16,-13-1 0,0 0 15,0 0-15,0 1 0,0-1 16,13 0-16,-13-53 47,0 27-47,0 0 0,0 0 0,0-1 15,0 1-15,14-13 0,-14 13 16,13-1-16,-13 1 0,0 0 0,13 0 16,-13-1-16,13 1 0,-13 0 0,14 13 15,-14-13-15,13 26 32</inkml:trace>
  <inkml:trace contextRef="#ctx0" brushRef="#br0" timeOffset="12278.42">20889 3373 0,'13'-66'31,"-13"53"-31,0 0 16,0 0 0,-13 26 15,0 0-31,13 0 16,-14-13-16,14 14 0,0-1 0,0 0 15,0 0-15,0 0 16,0 1-16,14-14 0,-14 13 15,13-13-15,0 0 0,0 0 16,1 0-16,-1 0 0,0-13 16,0 13-16,0 0 0,14-14 0,-14 14 15</inkml:trace>
  <inkml:trace contextRef="#ctx0" brushRef="#br0" timeOffset="12655.95">21127 3334 0,'13'-13'47,"0"-1"-47,-13 1 15,14 13-15,-14-13 0,0 0 0,13-1 16,-13 1-1,0 0-15,-27 26 32,14-13-17,13 13-15,-13 1 0,0-1 16,13 0-16,0 0 0,-13-13 16,26 14-16,-13-1 0,13 0 15,0-13 1,-13 13-16,13-13 0,1 0 15,-1 0-15,0-13 0,0 13 16,1 0-16,-1 0 0,0-13 0,0 13 16,0-13-16,1 13 15</inkml:trace>
  <inkml:trace contextRef="#ctx0" brushRef="#br0" timeOffset="16386.28">21788 2831 0,'0'-13'31,"27"26"31,-14 0-62,-13 1 16,0-1-16,13 0 0,-13 13 0,0-12 16,14-1-16,-14 13 0,0-12 0,0-1 15,13 0-15,-13 0 0,0 0 0,0 1 16,0-1-16,0 0 0,13 0 16,-13 1-16,0-1 15,0 0-15,0 0 16,-13-26 31,0 0-47,13 0 15,-14 13-15,1-14 0,0 1 16,0 13-16,-1 0 0,1 0 16,-13 0-16,13 0 15,-1 13-15,1-13 16,0 14-16,0-14 0,13 13 0,-14-13 0,14 13 15,-13-13-15,13 13 0,0 1 16,0-1 0,13-13-16,1 13 15,-1-13-15,0 0 0,0 0 0,1-13 16,-1 13-16,13 0 0,-13-13 0,14 13 16,-1-14-16,-12 1 0,12 0 15,-13 0-15,1-1 0,-1 1 0,0 0 16,0 0-16,0-1 0,1 14 0,-1-13 15,-13 0-15,13 13 16,-13-13-16,13 13 0,1 13 31,-1 0-31,-13 0 16,0 1 0,13-14-16,-13 13 0,13 0 15,-13 0-15,13-13 0,-13 14 16,14-14-1,-1 0 1</inkml:trace>
  <inkml:trace contextRef="#ctx0" brushRef="#br0" timeOffset="16496.88">22093 2871 0</inkml:trace>
  <inkml:trace contextRef="#ctx0" brushRef="#br0" timeOffset="16922.98">22278 2871 0,'-13'0'0,"-27"0"16,27 13 0,0 0-16,-1 0 15,14 1 17,14-14-17,-1 0-15,0 0 16,0 0-16,0 0 15,1 0-15,-1 13 0,0-13 16,0 0-16,1 13 0,-1-13 16,0 13-16,0-13 15,-13 14-15,14-14 16,-14 13-16,13 0 16,-13 0-1,-13 0-15,13 1 16,-14-14-1,1 13 1</inkml:trace>
  <inkml:trace contextRef="#ctx0" brushRef="#br0" timeOffset="17676.31">22238 2897 0,'-13'-13'16,"0"26"-1,0 0-15,-1 1 16,1-1 0,0 40-1,13-40-15,0 0 16,0 0-16,0 1 16,13-14-16,-13 13 0,13-13 15,1 0-15,12 0 16,-13 0-16,0-13 0,1-1 15,-1 14-15,-13-13 16,13 0-16,-13 0 0,13 0 0,-13-1 16,14-12-16,-1 13 15,-13-1 1,0 1-16,13 40 47,-13-14-47,13-13 0,-13 13 15,14 0-15,-1 1 0,0-1 16,0-13-16,0 13 0,1-13 16,-1 0-16,0 0 0,0 0 15,1 0-15,-1 0 0,0 0 0,13 0 16,-12-13-16,-1 13 0</inkml:trace>
  <inkml:trace contextRef="#ctx0" brushRef="#br0" timeOffset="18269.5">22688 2858 0,'-13'-27'0,"-27"14"32,27 13-32,0 0 15,-1 13 1,1-13 0,0 13-16,13 1 0,13-1 15,-13 0-15,0 0 16,13-13-16,-13 13 0,0 1 0,14-1 15,-14 0-15,13 0 0,-13 1 16,0-1-16,0 0 0,0 0 16,0 0-16,0 1 0,0-1 15,-13 0-15,13 0 0,-14 1 16,14-1 0,-13-13-16,26-27 31,-13 14-16,14 0-15,-14 0 0,13-14 0,0 14 16,-13 0-16,13 0 0,1-1 0,-1 1 16,-13 0-16,13 0 0,0-1 15,0 14-15,1-13 0,-14 0 16,13 13-16,0 0 16,0 0-16,1 13 15,-1 0 1,-13 1-16,0-1 15,0 0-15,13 0 32,0-26 15,-13 0-47,0 0 15,14 13-15,-14-14 0,13 1 0,0 0 16,0 0-1,0 13-15,1-13 16,-1-1-16,0 14 16,0-13-16</inkml:trace>
  <inkml:trace contextRef="#ctx0" brushRef="#br0" timeOffset="18943.08">23178 2738 0,'-14'-13'15,"1"26"1,0-13-16,0 14 16,-1-14-16,14 13 15,-13-13-15,13 13 0,-13-13 0,13 13 16,-13-13-16,13 14 0,0-1 15,0 0 1,0 0 0,13-13-16,0 0 15,0 0 1,1 0-16,-1-13 16,0 13-16,-13-13 0,13 13 15,1-13 1,-1 13-16,0 0 47,-13 13-47,13-13 15,-13 13-15,13-13 32,1 0-17,-1 0-15,0 0 16,0-13-1,1 13-15,-1 0 16,0 0 0,0 0-1,0 0 1,1 0 0,-1 0-1,0-13-15,0 13 16,1 0-1,-1-14-15,0 14 16,-26 14 47,0-14-63</inkml:trace>
  <inkml:trace contextRef="#ctx0" brushRef="#br0" timeOffset="19419.89">21312 3585 0,'40'-40'0,"-14"40"16,14-13-16,0-13 0,-1 12 16,28-12-16,-1 0 0,0-1 0,13 14 15,-13-14-15,14 1 0,-14 0 0,13-1 16,1 14-16,65-27 15,-79 14-15,0 12 0,-26 14 0,0-13 16,-1 0-16,-25 13 0,12 0 0,-13 0 16,1 0-1,-41 13-15</inkml:trace>
  <inkml:trace contextRef="#ctx0" brushRef="#br0" timeOffset="19628.8">21881 3559 0,'-13'0'0,"26"0"0,-39 13 0,65-26 16,-25 13-1,-1-14-15,13 14 0,14-13 16,0-13-16,-1 12 0,1 1 0,0 0 16,-1 0-16,1 0 0,0-1 0,-1 1 15,1 0-15,-13 13 0,-1-13 16,-13 13-16,0-14 0,14 14 15,-1-13-15,-12 13 16</inkml:trace>
  <inkml:trace contextRef="#ctx0" brushRef="#br0" timeOffset="21088.83">21299 4432 0,'0'79'0,"13"-66"0,0 80 32,1-80-32,-14 0 0,0 1 0,13-1 0,-13 0 15,0 0-15,13 1 0,-13-1 0,0 0 16,13-13-16,-13 13 16</inkml:trace>
  <inkml:trace contextRef="#ctx0" brushRef="#br0" timeOffset="21774.04">21286 4445 0,'0'-13'15,"13"0"-15,-13-1 0,13 14 16,0 0-16,1-13 0,12 13 15,-13 13 1,1 1 0,-14-1-16,0 0 0,0 0 15,-14-13-15,14 13 0,0 1 16,0-1-16,-13 0 0,13 0 16,13 1-1,1-1 1,-1-13-16,0 0 0,0 0 15,0 13-15,1-13 0,-1 0 16,0 0-16,0 13 0,1-13 0,-1 14 16,0-1-1,-13 0-15,-13 0 16,0 0-16,13 1 0,-14-1 16,1 0-16,0-13 0,0 13 15,-1 1-15,1-14 0,0 13 0,0-13 16,0 13-16,-1-13 0,1 13 15,0-13-15,0 13 16</inkml:trace>
  <inkml:trace contextRef="#ctx0" brushRef="#br0" timeOffset="22847.77">21709 4419 0,'-13'-14'15,"0"28"1,-1-14-16,1 0 16,13 13-16,-13-13 0,13 13 0,-13 0 15,13 0 1,0 1-16,0-1 15,0 0-15,13 0 16,0-13 0,0-13-16,1 13 15,-1-13-15,0 13 0,-13-13 16,13-1-16,1 1 0,-14 0 16,13 13-1,-13-13-15,0 0 16,0 39 31,13-13-47,-13 0 15,13-13 1,-13 14-16,13-14 0,1 0 16,-1 0-16,0 0 0,0 0 15,1-14-15,-1 14 0,0-13 16,0 13-16,1-13 0,-1 0 15,-13 0-15,13 13 16,-13-14-16,13 14 0,-13-13 16,-13 40 46,26-14-46,14-26-1,-14 13 1,0 0 0,0 0-16,1 0 15,-1 13-15,0-13 16,0 13-16,0 0 0,1 0 16,-1 1-16,-13-1 15,13 0-15,-13 0 0,0 1 16,0-1-16,0 0 15,0 0-15,0-39 47,13 26-47,-13-13 0,14-1 0,-14 1 16,13-13-16,-13 12 0,13 1 16,-13 0-16,0 0 0,13 0 15,-13-1-15,0 1 31,-13 40 1,26-14-1,1-13-15,-1-13-16,0 13 0,0 0 15,0 0-15,14 0 16,-14 0-16,0 0 15,1 0-15,-1 0 16,-13 13-16,13-13 16,-13 13-1,-13 0-15,13 0 16,-13-13-16,13 14 16,-14-14-1</inkml:trace>
  <inkml:trace contextRef="#ctx0" brushRef="#br0" timeOffset="23167.11">22834 3956 0,'-14'0'16,"14"26"0,14-13-1,-14 0-15,0 1 0,0-1 0,0 13 16,0-12-16,0 12 0,0-13 15,0 1-15,0 12 0,0-13 0,0 14 16,0-14-16,0 13 16,-14-12-16,14-1 0,0 13 15,-13-26-15,13 13 0,-13-13 16</inkml:trace>
  <inkml:trace contextRef="#ctx0" brushRef="#br0" timeOffset="23997.13">22728 4286 0,'0'-13'16,"-14"13"-1,28-13 1,-1 0 0,0 13-1,0-14-15,1 14 0,-1-13 0,0 13 16,-13-13-16,13 13 0,1-13 0,-1-1 16,0 1-16,0 13 0,0-13 15,-13 0-15,14 0 0,-1-1 0,-13-12 16,13 26-16,-13-13 0,0-1 0,13 1 15,-13 0-15,0 0 0,14 13 16,-14 26 15,0-13-31,0 1 16,0-1-16,0 0 16,0 0-16,0 1 0,0-1 15,0 0-15,0 0 16,0 0-16,0 1 15,0-1 1,13-13-16,-13 13 16,13-13-16,0 0 15,1 0-15,12 0 16,-26-13-16,13 13 0,0 0 16,1-13-16,-1 13 0,0-14 0,0 14 15,-13-13-15,14 13 16,-14-13-16,13 0 15,-13 0 1,0 39 31,13-26-31,14 13-1,-14-26-15,0 13 0,0 0 16,14 0-16,-14-13 0,0 13 0,0-13 15,1 13-15,-1 0 16,0-14-16,0 14 16,0 0-16,1 0 15,-1 0 1,0 0 0,0 0-1,1-13-15,-14 0 31,-14 39 16,14-12-15,14-14-32,-1 0 15,0 0-15,14 0 0,-14 0 0,0 0 16,13-14-16,-12 14 0,-1 14 0,0-14 15</inkml:trace>
</inkml:ink>
</file>

<file path=ppt/ink/ink31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2:59:00.813"/>
    </inkml:context>
    <inkml:brush xml:id="br0">
      <inkml:brushProperty name="width" value="0.05292" units="cm"/>
      <inkml:brushProperty name="height" value="0.05292" units="cm"/>
      <inkml:brushProperty name="color" value="#0070C0"/>
    </inkml:brush>
  </inkml:definitions>
  <inkml:trace contextRef="#ctx0" brushRef="#br0">6218 5305 0,'13'0'0,"0"0"15,-39 0 32,12 0-47,1 0 0,-13 0 16,13 0-1,39 0 32,-13 0-47,0 0 16,1 0-16,-1 0 0,0 0 15,0 0-15,1 0 16,-1 0-16,-40 0 31,14 13-15,0-13-16,0 0 16,-1 0-16,1 0 0,0 0 15,0 0-15,0 0 16,39 0 15,0 0-15,-12 0-16,-1 0 15,0 0-15,0 0 16,-52 0 31,25 0-47,1 0 31</inkml:trace>
  <inkml:trace contextRef="#ctx0" brushRef="#br0" timeOffset="1999.81">6231 5358 0,'0'-13'0,"-13"26"63,13 0-47,0 0-16,0 1 0,0-1 15,0 0-15,0 0 16,0 0-16,0 1 0,13-1 15,-13 0-15,0 0 0,13-13 0,-13 14 16,13-1-16,1 0 0,-14 0 16,13-13-16,0 13 0,14 1 15,-14-1-15,0-13 0,0 13 0,14 0 16,-14-13-16,0 14 0,27-1 16,-27-13-16,0 0 0,1 13 15,-1-13-15,0 0 0,0 13 0,0-13 16,1 0-16,12 0 0,-26 14 0,13-14 15,1 0-15,-1 0 0,0 0 16,0 0-16,1 0 0,-1 0 16,0 0-16,0 0 0,0 0 15,1 0-15,-1 0 0,0 0 16,0 0-16,1 0 0,-1 0 0,0 0 16,0 0-16,0 0 0,1 0 15,-1 0-15,0-14 0,0 14 0,1 0 16,-1 0-16,0 0 0,0-13 15,1 13-15,-1 0 0,0 0 0,0-13 16,0 13-16,1-13 0,-1 13 16,0 0-16,-13-14 0,13 14 15,1 0-15,-1-13 0,0 13 16,0-13-16,1 13 0,-14-13 16,13 13-16,0-14 0,0 1 0,0 13 15,1-13-15,-1 0 16,0 0-16,0 13 0,-13-14 15,14 1-15,-1 13 0,0-13 0,0 0 16,0-1-16,1 14 16,-1-13-16,-13 0 0,13 13 0,-13-13 15,13 13-15,1-13 0,-1-1 16,0 1-16,0 0 16,1 0-1,-1-1 1,0 14-1,-13-13 1,13 0 47</inkml:trace>
  <inkml:trace contextRef="#ctx0" brushRef="#br0" timeOffset="3191.67">7183 5265 0,'14'13'47,"-1"-13"-47,0 0 15,0 0-15,1 0 16,-1 0-16,0 0 0,0 0 15,0 0-15,1 0 0,-1 0 0,0 0 16,0 0-16,1 0 0,-1 0 16,0 0-16,0 0 0,1 0 0,-1-13 15,0 13-15,0 0 0,0 0 16,1 0-16,-1 0 0,0 0 16,0-13-16,1 13 15,-1 0 1,0 0-1,0 0 1,1 0 15,-14 13 32,-14 0-48,14 1-15,0-1 0,0 0 16,0 0-16,0 1 16,-13-1-16,13 0 15,0 0-15,0 1 0,-13-1 0,13 0 16,0 0-16,0 0 0,0 1 16,-13-1-16,13 0 15,0 0-15,0 1 16,0-1-1,-14-13-15,14 13 16,0 0 0,0 0 31</inkml:trace>
  <inkml:trace contextRef="#ctx0" brushRef="#br0" timeOffset="5227.14">6112 5318 0,'13'0'31,"0"0"-15,1 0-1,-1 0-15,0 0 16,0 0-16,0 0 0,1 0 16,-1 0-16,0 0 0,0 0 15,14 0 1,-14 0-16,14 0 16,-1 0-16,-13 0 15,0 0 1,1 0-1,-41 13 48,14-13-63,0 0 16,0 0-16,-1 0 0,1 0 15,0 0-15,0 0 0,-1 0 0,1 0 16,0 0-16,0 0 15,-1 0-15,1 0 16,40 14 47,-14-14-48,0 0-15,0 0 0,1 0 16,-1 0-16,0 0 15,0 0-15,1-14 16,-14 28-16,13-28 16,-40 14 31,14 0-47,0 0 15,0 0-15,-1 0 16,1 0-16,0 0 0,0 0 15,-14 0-15,14-13 16,0 13 0,0 0-16,-1 0 15,1 0 1,13 13 15</inkml:trace>
  <inkml:trace contextRef="#ctx0" brushRef="#br0" timeOffset="16617.86">4366 11695 0,'13'26'32,"0"-26"-32,0 13 15,14 1-15,-1-1 0,1 0 16,-1 0-16,14 0 0,-14-13 0,1 14 16,12-14-16,-12 13 0,-1-13 0,1 0 15,12 0-15,-12 0 0,26 0 0,-13-13 16,12-1-16,-12 14 15,0-13-15,13 0 0,-14-13 0,1 12 16,0 1-16,0 0 0,-14-14 0,14 14 16,-14 0-16,14-14 0,-14 14 15,1-13-15,-1 13 0,-13-1 0,14-12 16,-14 13-16,0-14 0,1 14 0,-1-14 16,0 1-16,0 13 0,-13-14 0,13 1 15,-13-1-15,14 14 0,-14-13 16,0-1-16,0 14 0,0-13 0,-14-1 15,1 14-15,0-27 0,0 14 0,-14-1 16,1 1-16,-1 13 0,1-14 16,-14 1-16,1-1 0,-1 14 0,-13-13 15,0 12-15,0 1 0,13 0 16,-12 0-16,12-1 0,-13 1 0,13 0 16,-13 13-16,14-13 0,-14 13 15,13-14-15,0 14 0,-13 0 16,27 0-16,0 0 0,-14 0 15,13 0-15,1 14 0,13-14 16,-14 13-16,1-13 0,13 13 0,-14 0 16,14-13-16,0 14 0,-14-1 0,14 0 15,0 0-15,-1 14 0,-12-1 0,13-13 16,0 14-16,-1-1 0,1 1 16,13-14-16,-13 27 0,0-14 0,13 1 15,-14-1-15,14 1 0,0-1 0,0 0 16,0 1-16,0-1 0,0 1 15,0-1-15,14 14 0,-14 0 16,0-14-16,13 1 0,0 12 0,-13-12 16,27-1-16,-14 1 0,0-1 0,0 1 15,14-1-15,-1 1 0,1-14 16,26 26-16,-14-25 0,-12-1 16,-1-13-16,1 13 0,-1-13 0,-13 13 15,14-13-15,-1 0 0,-13 0 16,1 14-16,12-14 0,-13 0 0,1 0 15,-1 0-15,0 0 0,0 0 16,0 0-16,1 0 0,-1 0 0,0 0 16,0-14-1,1 14 1,-1 0-16,0 0 16,0 0 30,1 0 1,-1 0-15,0 0-1,-13 14-16</inkml:trace>
  <inkml:trace contextRef="#ctx0" brushRef="#br0" timeOffset="198022.13">10067 5583 0,'40'0'32,"-27"0"-32,14 0 0,-14 0 15,13 0-15,1 0 0,-14 0 0,14 0 16,-1 0-16,1 0 16,-14 0-16,13 0 0,-13 0 0,1 0 15,-1 0-15,0 0 0,-13-14 0,27 14 16,-14 0 15,-13 14-15</inkml:trace>
  <inkml:trace contextRef="#ctx0" brushRef="#br0" timeOffset="198599.03">11933 5596 0,'-14'-13'0,"41"13"32,-14 0-32,0 0 0,1 0 15,-1 0-15,0-14 0,0 14 0,1 0 16,-1 0-16,0 0 0,13 0 0,-12 0 16,-1 0-16,13 0 0,-12 0 0,-1 0 15,13 0-15,-12 0 16,12 0-16</inkml:trace>
  <inkml:trace contextRef="#ctx0" brushRef="#br0" timeOffset="198925.9">12938 5675 0,'13'-13'0,"1"13"16,-1 0-16,0 0 0,0 0 0,1 0 15,-1 0-15,0 0 16,13 0-16,-12 0 0,-1 0 0,0 0 15,0 0-15,1 0 0,-1 0 0,13 0 16,-13 0 0</inkml:trace>
  <inkml:trace contextRef="#ctx0" brushRef="#br0" timeOffset="199682.06">15663 5490 0,'40'0'0,"-27"0"0,14-13 0,-1 13 16,14 0-16,13 0 0,0 0 15,13 0-15,-13-13 0,13 13 0,0 0 16,13 0-16,-26 0 0,13 0 0,-13 0 16,0 0-16,0 0 0,-13 0 15,0 0-15,-14 0 0,1 0 0,-1 0 16,-13 0-16,0 0 0,1 0 0,12 0 16,-13 13-16,1-26 15,-1 26-15,0-13 16,0 0-16,1 0 15,-28 0 32,1 13-31,0-13-16,13 13 0</inkml:trace>
  <inkml:trace contextRef="#ctx0" brushRef="#br0" timeOffset="200338.03">18190 5569 0,'27'-13'0,"-14"13"15,0 0-15,0 0 0,0 0 0,1 0 16,-1 0 0,0 0-16,0-13 15,1 13 1,-1 13-16,-13 0 31,13-13-31</inkml:trace>
  <inkml:trace contextRef="#ctx0" brushRef="#br0" timeOffset="201166.36">19539 5556 0,'0'0'0,"80"13"0,-54-13 0,14 0 15,-14 0-15,67 0 0,-27 14 16,27-14 0,-67 0-16,1 0 0,-1 0 15,-13 13-15,1-13 0,12 0 16,-13 0-16,1 0 0,-1 0 0,0 0 16,0-13-16,0 13 15,1 0-15,-1 0 16,0 0-16,-13-14 15,13 14 1,1-13 0</inkml:trace>
  <inkml:trace contextRef="#ctx0" brushRef="#br0" timeOffset="203527.99">13851 7395 0,'0'0'0,"-40"40"0,27-14 15,13-13-15,-13 1 0,13-1 16,-13 13-16,13-12 0,0 12 0,13 1 15,-13-14-15,26 26 0,1-12 0,-1-1 16,1-12-16,26 12 0,-14-13 16,1 14-16</inkml:trace>
  <inkml:trace contextRef="#ctx0" brushRef="#br0" timeOffset="203886.18">16603 7091 0,'92'40'15,"-79"-14"-15,14-13 0,-14 14 16,0-1-16,1 1 0,-1-14 0,-13 13 15,0 1-15,-13-1 0,-1 14 16,1-14-16,-27 14 0,1 0 0</inkml:trace>
  <inkml:trace contextRef="#ctx0" brushRef="#br0" timeOffset="204494.78">12290 8109 0,'0'0'0,"-53"146"16,53-120-16,0 1 0,13-1 15,14 1-15,-1-1 0,14 1 0,13-1 16,0-13-16,26 14 0,0-14 15</inkml:trace>
  <inkml:trace contextRef="#ctx0" brushRef="#br0" timeOffset="205101.4">17833 7805 0,'0'0'0,"53"13"0,66 54 16,-93-54-16,1 13 15,13 1-15,-14-1 0,0 1 0,14 26 16,-27-27-16,1 0 0,-14 1 16,0-1-16,0 1 0,0-1 0,-14 14 15,1-14-15,-13 14 16,12-13-16,-12-1 0,0 1 0</inkml:trace>
</inkml:ink>
</file>

<file path=ppt/ink/ink31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3:07:00.850"/>
    </inkml:context>
    <inkml:brush xml:id="br0">
      <inkml:brushProperty name="width" value="0.05292" units="cm"/>
      <inkml:brushProperty name="height" value="0.05292" units="cm"/>
      <inkml:brushProperty name="color" value="#0070C0"/>
    </inkml:brush>
  </inkml:definitions>
  <inkml:trace contextRef="#ctx0" brushRef="#br0">9591 2672 0,'199'-13'0,"-120"13"0,252-13 15,-252 13-15,14 0 16,-14 0-16,0 0 0,1 0 0,-14 0 16,-13 0-16,0 0 0,0 13 15,-14-13-15,-12 0 0</inkml:trace>
  <inkml:trace contextRef="#ctx0" brushRef="#br0" timeOffset="272.58">9842 2831 0,'0'0'0,"27"0"15,-1 0-15,-12 0 0,12 13 16,14-13-16,13 0 0,-14 0 0,28 0 15,-15 0-15,15 0 0,12 0 0,-26 0 16,13 0-16,-13 0 0,0 0 0,0 0 16,0 0-16,0 0 0,-14 0 15,-12 0-15,12 0 0,-12 0 16,13 0-16,-14 0 0,14 0 0,-14 0 0</inkml:trace>
  <inkml:trace contextRef="#ctx0" brushRef="#br0" timeOffset="940.1">15028 2738 0,'14'0'16,"12"0"-16,-13 0 0,27 0 0,0 14 15,13-14-15,-1 0 0,1 0 0,0 0 16,27 13-16,-14-13 0,13 0 0,-13 0 16,14 0-16,-27 0 0,13 13 15,-13-13-15,0 0 0,0 0 0,-14 0 16,1 13-16,-14-13 0</inkml:trace>
  <inkml:trace contextRef="#ctx0" brushRef="#br0" timeOffset="1232.19">15293 2910 0,'291'27'31,"-225"-27"-31,0 0 16,-13 0-16,13 13 0,-13-13 0,0 0 16,0 0-16,0 0 0,0 13 0,-27-13 15,14 0-15,-14 0 0,1 0 16,-14 0-16,0 0 0,14 0 0,-14 0 15,0 0-15,1 0 16</inkml:trace>
  <inkml:trace contextRef="#ctx0" brushRef="#br0" timeOffset="2761.4">3784 3757 0,'26'0'16,"-13"13"-16,14-13 15,12 0-15,14 0 0,0 0 0,0 0 16,0 0-16,26 0 0,-12 0 16,-1 0-16,0 0 0,-13 0 0,66-13 15,-79 13-15,-1 0 0,1 0 16,-14 0-16,1 0 0,12 0 15,-25 0-15,-1 0 0,0 0 16,0 0-16,1 0 0,-1 0 16,0 0-1,-13 13-15</inkml:trace>
  <inkml:trace contextRef="#ctx0" brushRef="#br0" timeOffset="3627.55">6707 3096 0,'-26'39'15,"26"-12"-15,-13-14 16,13 13-16,-14 14 0,1-13 0,13 12 16,-13 1-16,0 0 0,-1-14 0,14 14 15,-13-14-15,13 1 0,-13-14 16,13 13-16,-13 1 0,13-14 0,0 14 15,-14-14-15,14 0 0,0 0 0,0 0 16,0 1-16,0-1 16,14 0-16,-1-13 15,0 0-15,0 0 0</inkml:trace>
  <inkml:trace contextRef="#ctx0" brushRef="#br0" timeOffset="4031.92">8824 3823 0,'0'0'0,"66"-13"0,159 0 15,-146 13-15,-13 0 16,14-13-16,-1 13 0,1 0 0,-1-14 16,0 14-16,1-13 0,-1 13 15,0 0-15,-12-13 0,-1 13 0,-13 0 16,0 0-16,-1 0 0,-12 0 0,-13 0 16,12 0-16,-25 0 0</inkml:trace>
  <inkml:trace contextRef="#ctx0" brushRef="#br0" timeOffset="4279.64">9379 3850 0,'0'0'15,"-13"0"-15,53 13 16,-27-13-16,14 0 0,-14 0 15,27 0-15,-14 0 0,27 0 0,-13 0 16,13 0-16,-1 0 0,-12 0 0,13 0 16,-27 0-16,14 0 0,-13 0 0,12 0 15,-12 0-15,-1 0 16,-13 0-16,14 0 0,-14 0 0,0 0 16,1 0-16,-1 0 0</inkml:trace>
  <inkml:trace contextRef="#ctx0" brushRef="#br0" timeOffset="5389.07">9565 4696 0,'53'14'15,"-40"-14"-15,0 0 16,14 0-16,-1 0 0,-13 0 16,14 0-16,12 0 0,-12 0 15,-1-14-15,14 14 0,0-13 0,39 0 16,-53 0-16,1-1 0,13 1 15,-1-13-15,-25 13 0,-1-1 16,0 1-16,0-13 0,0 12 16,1-12-16,-1 13 0,-13-14 0,13 14 15,-13-13-15,0 12 0,0-12 0,0 13 16,0-14-16,-13 1 0,13-1 16,-13 14-16,13-13 0,-14-1 0,1 1 15,0-1-15,-13 1 0,12-1 0,-12 14 16,-1-13-16,1 12 0,13 1 15,-1 0-15,1 0 0,-13-1 16,13 14-16,-1-13 0,1 13 0,0 0 0,0-13 16,-1 13-16,1 0 15,0 0-15,0 0 0,-1 0 0,1 0 16,0 0-16,0 13 0,0-13 0,-14 13 16,14-13-16,0 14 0,-1-1 15,1 0-15,0 0 0,0 1 0,0 12 16,-1-13-16,-12 14 0,13-14 0,-1 13 15,1 1-15,0-1 0,0 1 0,-1-1 16,1 1-16,13-1 0,-13 1 16,0-14-16,13 13 0,-13 1 0,13-1 15,0-13-15,0 14 0,0-14 0,0 14 16,0-14-16,0 13 16,13-12-16,-13-1 0,13 0 0,-13 13 15,13-12-15,0-1 0,-13 0 0,14 0 16,-1-13-16,-13 14 0,13-1 15,0-13-15,1 13 0,-1-13 16,0 0-16,-13 13 0,13-13 16,1 0-16,-1-13 15,0 13-15,0 0 16</inkml:trace>
  <inkml:trace contextRef="#ctx0" brushRef="#br0" timeOffset="6677.11">12991 4749 0,'27'13'31,"-27"1"-31,26-14 16,-13 0-16,0 0 0,1 0 16,-1 0-16,0-14 0,14 14 15,-1 0-15,-13-13 0,14 13 0,-14-13 16,13 13-16,1-13 0,-14 0 0,14-1 16,-14 1-16,0 0 0,13-14 0,-12 1 15,12 13-15,-13-14 0,1 1 16,-1-14-16,13 14 0,-12-1 0,-14 1 15,13-1-15,-13 1 0,13 13 0,-13-14 16,0 14-16,0-14 16,-13 14-16,13-13 0,-13 13 0,-1-14 15,14 1-15,-26-1 0,13 14 0,-1 0 16,-12-14-16,-1 14 16,14 0-16,-13 0 0,-1-1 0,14 14 0,-13-13 15,-1 13-15,14 0 0,-14 0 0,1 0 16,13 0-16,-14 0 0,14 0 15,-13 13-15,-1-13 0,1 14 0,-1-1 16,1 13-16,-1-12 0,1 12 0,-1 0 16,1 1-16,0-1 0,-1 14 15,14-14-15,0 14 0,-14-13 0,14-1 16,13 1-16,-13-1 0,13 0 16,0 1-16,-14-1 0,14-12 0,14 12 15,-14 1-15,0-1 0,13 0 16,0-12-16,0 12 0,1 1 0,-1-14 15,0 13-15,0-13 0,1 1 0,12-1 16,-13 0-16,0 0 0,1-13 16,-1 14-16,13-14 0,-12 13 0,-1-13 15,0 0-15,0 0 0,1 13 0,-1-13 16,0 0-16,0 0 0,0 0 16,1 0-1,-1 0-15,0 0 16,0 0-16,1 0 0,-1 0 31,0 0 0,0 0 32,-13-13 15,-13 0-62,0 13-16,13-14 0,-13 14 15,-1 0-15,14-13 0</inkml:trace>
  <inkml:trace contextRef="#ctx0" brushRef="#br0" timeOffset="10164.29">7355 11840 0,'40'53'31,"-13"-40"-31,-14 0 16,13-13-16,1 14 0,-1-1 0,14 0 15,13 0-15,-14-13 0,1 14 16,13-14-16,0 0 0,0 0 0,0 0 15,-13 0-15,12 0 0,1-14 0,-13 14 16,13-13-16,-13 0 0,13 0 16,-14-1-16,14 1 0,-13 0 0,0-13 15,-1 12-15,1-12 0,0 13 0,-14-14 16,14 14-16,-14-13 0,1-1 0,-1 1 16,-13-1-16,14 1 0,-14-1 15,0 1-15,0-14 0,-13 14 0,14-14 16,-14 13-16,0-12 0,0-1 15,0 0-15,-14 14 0,1-14 16,0 1-16,0-1 0,0 0 0,-54-26 16,28 26-16,-1 14 0,-53-27 15,41 27-15,-54-14 16,40 27-16,13-1 0,-14 1 16,1 0-16,13 0 0,1 13 0,-1-14 15,0 14-15,13 0 0,-13 0 0,0 0 16,13 14-16,1-14 0,-14 13 15,13 0-15,0 0 0,14 1 0,-14-1 16,14 0-16,-14 14 0,14-14 0,-14 13 16,14 1-16,-1-1 15,1 1-15,-40 25 0,39-25 16,14-1-16,-14 1 0,14 13 0,-13-14 16,12 0-16,1 1 0,13-14 0,-13 14 15,0-1-15,13 1 16,0-1-16,0 0 0,-13 1 0,13-14 15,0 14-15,13-1 0,-13 1 0,13 25 16,-13-12-16,13-13 0,0-1 16,1 1-16,-1-1 0,13 0 0,-12 1 15,12-1-15,1-12 0,-1 12 16,0-13-16,1 0 0,-1 1 0,1-1 16,-1-13-16,-13 13 0,14 0 15,-1-13-15,1 14 0,-14-14 0,14 13 16,-14-13-16,13 0 0,-13 0 0,1 13 15,-1-13-15,0 0 0,0 0 16,1 0-16,-1 0 0,0 0 0,0 13 16,14-13-16,-1 0 15,-13 0 1,1 0-16,-1 0 16,0 0-1,0 14 16,1-14 1,-14-27 140</inkml:trace>
  <inkml:trace contextRef="#ctx0" brushRef="#br0" timeOffset="10611.31">10345 11748 0,'-26'26'16,"13"-13"-16,-1 0 16,1 14-16,0 13 0,0-14 0,-1 0 15,-12 1-15,13 13 0,-1-14 0,1 1 16,0-1-16,0-13 0,0 14 0,-1-14 15,14 13-15,-13-12 0,0-1 16,13 0-16,-13 0 0,-1 1 16</inkml:trace>
  <inkml:trace contextRef="#ctx0" brushRef="#br0" timeOffset="10815.04">10067 11933 0,'27'13'47,"-27"0"-47,13 0 0,0 1 15,1 12-15,-1-13 0,-13 1 16,13-1-16,0 0 0,0 0 16,1 0-16,-14 1 0,13-1 0,0 0 15,0 0-15,1-13 0,-1 14 0,0-1 16,0-13-16</inkml:trace>
  <inkml:trace contextRef="#ctx0" brushRef="#br0" timeOffset="11016.21">10583 11959 0,'14'0'0,"-1"-13"16,0 13-16,0 0 16,0 0-16,1 0 0,-1 0 0,13 0 15,-12 0 1</inkml:trace>
  <inkml:trace contextRef="#ctx0" brushRef="#br0" timeOffset="11204.97">10597 12091 0,'-14'0'0,"28"0"0,-28 14 16,41-14 15,-14-14-15,0 14-16,0 0 0,1 0 15,-1 0-15,0-13 0,0 13 0,14 0 16,-14-13-16,0 13 0,1 0 0,-1-13 15,0 13-15</inkml:trace>
  <inkml:trace contextRef="#ctx0" brushRef="#br0" timeOffset="11847.84">11456 11549 0,'0'-13'0,"0"26"0,-13-26 15,0 13-15,0 13 16,13 0-1,-13 1-15,13-1 0,0 0 16,-14 13-16,14 1 0,-13-1 16,0 14-16,0-13 0,-1-1 0,1 14 15,0-14-15,0-13 0,-1 14 0,1-14 16,0 13-16,13-12 0,-13-1 16,0-13-16,13 13 0,0 0 0,-14-13 15,41 0 16,-14 0-31,0 0 16,0 0-16,1 0 16,-1 14-16,0-14 0,-13 13 0,13 0 15,1 14-15,-14-14 0,13 26 16,-13-25-16,0 12 0,0 1 16,0-14-16,0 13 0,0-12 0,0 12 15,0-13-15,0 0 0,0 1 16,0 12-16,13-26 15,-13 13-15,13 1 0,1-14 32</inkml:trace>
  <inkml:trace contextRef="#ctx0" brushRef="#br0" timeOffset="12403.38">11867 11827 0,'-14'0'0,"28"0"0,-28 13 0,14 0 0,-13 1 15,13-1-15,0 0 0,0 0 16,0 14-16,0-14 0,0 0 0,0 0 16,0 1-16,13-1 0,-13 13 15,14-12-15,-1-14 0,-13 13 16,13 0-16,0-13 0,0 13 16,1-13-16,12-13 15,-26 0-15,13 0 16,-13-1-16,-13 1 0,13 0 15,0 0-15,0-1 0,-13 1 0,13 0 16,-13 0-16,13-1 0,-14 1 16,1 0-16,0 0 15,0 13-15,0 0 16,-1 13-16</inkml:trace>
  <inkml:trace contextRef="#ctx0" brushRef="#br0" timeOffset="12623.22">12144 11972 0,'14'14'0,"12"-1"16,-13 0-16,1 0 16,-14 1-16,13-1 0,-13 0 0,0 0 15,13 0-15,-13 1 0,0-1 16,0 0-16,0 0 0,-13 1 0,13 12 15,-13-13-15,13 1 0,0-1 16,-14-13-16,14 13 0,-13 0 0</inkml:trace>
  <inkml:trace contextRef="#ctx0" brushRef="#br0" timeOffset="12844.01">12515 11880 0,'0'0'0,"13"13"16,-13 0 0,0 0-16,0 1 15,13-1-15,-13 0 0,0 0 16,0 1-16,0-1 15,13-13-15,-13 13 0,14 0 16</inkml:trace>
  <inkml:trace contextRef="#ctx0" brushRef="#br0" timeOffset="13388.31">12832 11443 0,'14'13'0,"-14"1"16,0-1-16,0 0 15,0 0-15,0 1 0,0 12 0,0-13 16,0 14-16,0-1 0,0-13 15,0 1-15,0-1 0,0 0 16,13-13-16,-13 13 0,13-13 16,13 0-1,-12 0-15,-1-13 16,0 26-16,0-13 16,1 14-16,-14-1 0,13 0 15,-13 0-15,0 14 0,13-14 0,-13 13 16,0-12-16,0 12 0,-13-13 15,13 14-15,0-14 0,-13 13 0,13 1 16,-14-14-16,1 14 0,0-14 0,0 13 16,-1-12-16,-12 12 0,13-13 0,0 0 15,-14 1-15,14-1 0,-14 0 16,1-13-16</inkml:trace>
  <inkml:trace contextRef="#ctx0" brushRef="#br0" timeOffset="13876.23">10067 12435 0,'27'0'31,"-14"0"-31,0 0 15,1 0-15,-1 0 0,13-13 0,-13 13 16,1 0-16,-1 0 0,0 0 16,0 0-16,1 0 15,-14 13-15</inkml:trace>
  <inkml:trace contextRef="#ctx0" brushRef="#br0" timeOffset="13998.35">10253 12515 0,'26'-13'0,"-13"13"15</inkml:trace>
</inkml:ink>
</file>

<file path=ppt/ink/ink31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3:07:18.243"/>
    </inkml:context>
    <inkml:brush xml:id="br0">
      <inkml:brushProperty name="width" value="0.05292" units="cm"/>
      <inkml:brushProperty name="height" value="0.05292" units="cm"/>
      <inkml:brushProperty name="color" value="#0070C0"/>
    </inkml:brush>
  </inkml:definitions>
  <inkml:trace contextRef="#ctx0" brushRef="#br0">3625 3532 0,'-13'0'15,"-1"0"-15,1-13 16,13 0-1,-13 13 1,13-14-16,0 1 0,0 0 16,0 0-16,0 0 0,0-1 0,0 1 15,0-13-15,0-1 0,0 1 0,-13-1 16,-1-12-16,1-1 0,-27-26 16,-12-27-1,12 67-15,0-14 0,1 0 0,-1 14 0,0-14 16,-13 14-16,0-1 0,0 14 15,-13-13-15,0 12 0,0 1 0,0 0 16,0 13-16,13 0 0,-13 0 16,-1 13-16,1 0 0,0 1 0,0 12 15,0 14-15,13-1 0,0 1 16,0 13-16,0 13 0,14-13 0,-1 26 16,0 14-16,14-27 0,-1 0 0,1 14 15,13-14-15,-1 13 0,14-13 16,-13 14-16,13-14 0,13 0 0,-13-13 15,14 0-15,-14 0 0,13-13 0,0-1 16,13 1-16,-12-14 0,12 1 0,1-1 16,-1 1-16,1-1 0,12-13 15,1-13-15,26 14 16,-26-14-16,13-14 0,52 1 16,-38 0-16,-1 0 0,-13-14 15,13 14-15,-13-13 0,0 12 0,-14 1 16,1 0-16,0 0 0,-1-1 0,-25 1 15,12 13-15,-13-13 0,1 13 0,-1 0 16,0-13-16,0 13 16,0-13-16,-13-1 31</inkml:trace>
  <inkml:trace contextRef="#ctx0" brushRef="#br0" timeOffset="2223.03">4233 5358 0,'-13'0'0,"53"0"32,-27 0-32,0 0 0,14 0 15,-1 0-15,1 0 0,-1 0 16,14 13-16,-1-13 0,-12 0 15,13-13-15,-1 13 0,1 0 0,0 0 16,-14 0-16,1 0 0,-1 0 0,0 0 16,-12 0-16,12-13 0,-13 13 15</inkml:trace>
  <inkml:trace contextRef="#ctx0" brushRef="#br0" timeOffset="2462.17">4538 5437 0,'-14'0'0,"28"0"0,-41 0 0,54 13 47,-14-13-47,13 0 16,-12 0-16,-1 0 0,0 14 0,13-14 15,-12-14-15,-1 28 0,13-28 0,-12 14 16,12 0-16,-13 0 0,0 0 15,14 0-15,-14 0 0,14 0 0,-14-13 16,13 13-16,1 0 0,-1-13 0,1 13 16</inkml:trace>
  <inkml:trace contextRef="#ctx0" brushRef="#br0" timeOffset="3002.39">5993 5252 0,'0'0'0,"26"0"0,-13 0 0,-13-13 16,14 13-16,-1 0 0,0 0 15,0 0-15,1 0 0,-1 0 0,13 0 16,-12 0-16,-1 0 15,0 0 1,0 0 0,0 0-16,1 0 31,-1 0 31</inkml:trace>
  <inkml:trace contextRef="#ctx0" brushRef="#br0" timeOffset="4619.33">8374 5900 0,'27'13'15,"-14"-13"-15,40 0 16,-27 14-16,14-14 0,-14 0 15,14 0-15,0 0 0,13-14 16,-14 14-16,14-13 0,-13 0 0,13 0 16,-14 0-16,14-1 0,-13-12 0,0 13 15,-1-1-15,1-12 0,0-1 16,-14 14-16,1-26 0,-1 12 16,1 1-16,-14-14 0,0 0 0,0 1 15,-13-173 1,-26 172-16,-1-13 15,-12 27-15,-1-14 0,0 14 0,-13 12 16,-13-12-16,0 26 0,0-13 16,-13 26-16,-1-13 0,1 13 0,-1 14 0,1-1 15,13 1-15,0-1 0,0 14 16,13-14-16,0 14 0,13 0 0,0 13 16,1-14-16,12 1 0,14 0 0,0-1 15,0 1-15,13-14 0,0 1 16,13 13-16,0-1 0,-13-12 15,27 12-15,-14-12 0,13-1 0,-13 1 16,14-1-16,-14-13 0,0 1 0,14-1 16,-14 0-16,0-13 0,1 13 15,12-13-15,-13 14 0,0-14 0,1 0 16,-1 0-16</inkml:trace>
  <inkml:trace contextRef="#ctx0" brushRef="#br0" timeOffset="5586.12">5226 4617 0,'13'-26'0,"13"12"15,-13 1-15,54-27 0,-41 14 16,172-53-1,-145 65-15,0 1 0,0 0 0,0 13 16,13 0-16,-13-13 0,0 13 16,0 13-16,13-13 0,0 13 15,-13 0-15,0 14 0,-13-14 0,-14 13 0,14 1 16,-14-14-16,1 14 0,-1-1 16,-12 1-16,-1-14 0,0 0 0,0 13 15,1-12-15,-14-1 0,13 0 0,-13 0 16,13 1-16,-13-1 15,13 0-15,-13 0 16,13 0-16,-13 1 0,14-14 16</inkml:trace>
  <inkml:trace contextRef="#ctx0" brushRef="#br0" timeOffset="5927.05">6390 5054 0,'26'0'0,"-13"0"16,1 0-16,-1 0 16,0-14-16,0 14 0,1 0 15,-1 0-15,0 0 16,0 0-16</inkml:trace>
  <inkml:trace contextRef="#ctx0" brushRef="#br0" timeOffset="6586.9">6813 4961 0,'13'13'31,"-26"14"-15,13-14-16,0 0 0,0 0 0,0 1 16,0-1-16,0 0 0,0 0 15,0 0-15,13 1 16,0-1-16,1-13 0,12 0 0,-13 0 15,14 13-15,13-26 0,-1 13 0,14 0 16,-13-13-16,13-1 0,-14 14 16,1-13-16</inkml:trace>
  <inkml:trace contextRef="#ctx0" brushRef="#br0" timeOffset="9607.25">7527 3903 0,'0'0'0,"27"13"0,13-13 16,-27 0-16,13 0 15,1 0-15,-1-13 0,1 13 0,12-14 16,-12 1-16,12 0 0,1 0 16,0-14-16,-14 14 0,14 0 0,-14-14 15,1 14-15,-1-13 0,1 12 16,-1-12-16,-13-1 0,1 1 16,-1 0-16,0-1 0,-13 1 0,13-27 15,-13 26-15,0-12 0,-13-1 16,13 0-16,-13 1 0,0 12 15,13-13-15,-14 1 0,1 12 0,-13-12 16,13 12-16,-1 1 0,-12-1 0,13 1 16,-14 12-16,1-12 0,13 13 0,-14 0 15,1-1-15,12 14 0,-12-13 16,-1 13-16,14 0 0,-13 0 0,-1 0 16,1 0-16,-14 13 0,0 1 15,1 12-15,-1-13 0,0 14 16,1-1-16,-1 1 0,14 12 0,-14-12 15,13 12-15,1-12 0,-1 13 0,1 39 16,0-39-16,26-1 16,-14-12-16,1 12 0,13-12 0,-13-1 15,13 1-15,0-1 0,0 1 0,0-1 16,0 1-16,13-1 0,-13-13 0,13 14 16,-13-1-16,14-12 0,-14-1 15,13 0-15,-13 0 0,13 0 0,-13 1 16,13-1-16,-13 0 0,13 0 15,-13 1-15,14-14 16,-14 13-16,13-13 16,-13 13-1,13 0 17,-13 1 46,0-1-31,0 0-1,13-26 111</inkml:trace>
  <inkml:trace contextRef="#ctx0" brushRef="#br0" timeOffset="17369.84">5186 8652 0,'-27'0'0,"14"-13"31,0 13-31,0-14 0,-1 14 0,1 0 16,0-13-16,-13 13 16,12-13-16,1 13 15,0 0-15,0 0 0,-1-13 0,1 13 16,-13 0-16,12 0 0,1-14 0,0 14 15,-13 0-15,12 0 0,-12 0 16,13-13-16,-14 13 0,14 0 0,0 0 16,-14 0-16,1-13 0,13 13 0,-14 0 15,14 0-15,0 0 0,-14 0 16,-12 0-16,12 0 0,1 0 16,12 0-16,-12 0 0,13 0 0,-14 0 15,1 13-15,13-13 0,-1 0 16,1 0-16,-13 0 0,12 13 15,1-13-15,0 0 0,0 0 0,-1 0 16,1 14-16,0-14 0,0 0 0,0 0 16,13 13-16,-14-13 0,1 0 15,0 13-15,0-13 0,-1 0 0,1 13 16,0-13-16,0 14 0,0-14 16,-1 13-16,1-13 15,0 13-15,0 0 0,-1 1 16,1-1-16,13 0 15,-13-13-15,13 13 0,-13 0 16,13 1-16,-14-14 16,14 13-16,0 0 0,-13 0 15,13 1 1,0-1-16,0 0 0,-13 0 16,13 1-16,0-1 0,0 0 15,0 0-15,13 0 16,-13 1-16,0-1 0,0 0 15,13 0-15,-13 1 0,14-1 16,-1 0-16,-13 0 0,13 1 16,0-1-16,1 0 15,-1 0-15,13 14 16,-12-27-16,-1 13 16,0-13-16,-13 13 0,26 0 15,-12-13-15,-1 14 0,0-1 16,0-13-16,1 0 0,-1 13 15,0 0-15,0-13 16,0 0-16,1 14 0,-1-14 0,0 0 16,0 13-16,1-13 0,-1 0 0,0 13 15,0-13-15,1 0 0,12 0 16,0 13-16,-12-13 0,12 0 16,-13 0-16,1 0 0,-1 0 0,13 13 15,-12-13-15,12 0 0,-13 0 16,0 0-16,14 0 0,-14 0 15,0 0-15,106 0 32,-92 0-32,13 0 15,-27 0-15,0 0 0,13 0 0,-12 0 16,12 0-16,-13 0 0,14 0 0,-1 0 16,-12 0-16,12 0 0,0 0 15,-12 0-15,12 0 0,-13 0 0,14 0 16,-1 0-16,-12 0 0,12-13 0,14 13 15,-14 0-15,1 0 16,-1 0-16,1 0 0,-14 0 0,13 0 16,1 0-16,-1 0 0,1 0 15,-1 0-15,-13 0 0,14 0 0,-1 0 16,1 0-16,-1 0 0,1 0 16,-1-13-16,0 13 0,-12 0 0,12 0 15,1 0-15,-14 0 0,13 0 0,-12 0 16,12 0-16,-13 0 0,14 0 15,-14-13-15,0 13 0,14 0 0,-14 0 16,0 0-16,0 0 0,0 0 0,1 0 16,-1 0-16,0 0 0,0 0 15,1-13-15,-1 13 0,0 0 16,0 0-16,1 0 0,-1 0 0,13 0 16,-13 0-16,1-14 0,-1 14 15,0 0-15,0 0 0,14 0 16,-14 0-16,0 0 15,1 0-15,-1 0 0,0-13 0,0 13 16,0 0-16,1 0 16,-1 0-16,0 0 0,14 0 15,-14 0 1,0 0-16,0 0 16,1-13-16,-1 13 15,0 0-15,0 0 16,0 0-1,1 0-15,-1 0 16,0 0 0,0-13-16,1 13 15,-1 0 1,0 0-16,0 0 0,1 0 16,-1 0-16,0 0 15,13 0-15,-12 0 16,-1 0-1,0 0-15,0 0 0,14 13 16,-14-13 0,0 0-16,0 0 15,1 0-15,-1 0 0,0 0 16,0 0-16,1 0 0,-1 0 16,0 0-16,0 0 0,1 13 15,-1-13-15,0 0 0,0 0 16,0 0-16,1 0 0,-1 0 15,0 0-15,0 0 0,1 0 0,-1 0 16,0 0-16,0 0 0,1 0 16,-1 0-16,0 0 0,0 0 15,0 0-15,1 0 0,12-13 16,-13 13-16,14 0 16,-14 0-16,0 0 0,0 0 15,1 0-15,-1 0 0,0 0 0,0-13 16,1 13-16,-1 0 15,0 0-15,0 0 0,1 0 16,-1-14-16,0 14 0,0 0 0,0 0 16,1-13-16,-1 13 0,0 0 15,0-13-15,1 13 0,-1-13 16,0 13-16,0-14 0,1 14 16,-1-13-16,0 0 0,0 13 15,-13-13-15,13 13 0,-13-13 16,14 13-16,-14-14 15,13 14-15,-13-13 0,13 0 0,-13 0 16,13-1-16,-13 1 16,0 0-16,0 0 15,0-1-15,0 1 16,0 0-16,-13 0 0,13 0 16,-13-1-16,13 1 0,-13 0 15,-1 13-15,14-13 0,-13-1 0,0 1 16,0 0-16,-14 0 0,1 13 15,13-14-15,-27 1 0,13-13 0,-12 13 16,-1-1-16,0 1 0,1 0 0,-1 0 16,-13-1-16,13 1 0,1 0 15,-14-14-15,13 14 0,-13 0 0,0 0 16,0 0-16,0-1 0,14 1 16,-14 0-16,0 0 0,13 13 0,-13-14 15,-13 14-15,13-13 0,0 13 0,0 0 16,1 0-16,-1 0 0,0 0 15,0 0-15,0 0 0,0 0 0,0 0 16,13 0-16,1 13 0,-1-13 0,14 0 16,-1 14-16,1-14 0,-1 13 15,1-13-15,-1 13 0,14-13 16,-13 13-16</inkml:trace>
  <inkml:trace contextRef="#ctx0" brushRef="#br0" timeOffset="22096.06">16179 7660 0,'40'0'31,"-27"0"-15,27 0-16,0 0 0,12 13 0,1-13 15,14 0-15,-15 0 0,15 0 16,-1 0-16,13 0 0,1-13 0,-1 13 16,0 0-16,212 0 15,-238 13 1,-13-26-16,0 13 0,-14 13 15,0-13-15,-12 0 0,-1 0 0,13 0 16,-12 0 0</inkml:trace>
  <inkml:trace contextRef="#ctx0" brushRef="#br0" timeOffset="22337.45">16576 7779 0,'106'13'16,"-80"-13"-16,14 0 16,13 0-16,0 0 0,0 0 0,0 0 15,13 0-15,-13 0 0,0 0 0,0 0 16,13 0-16,-13-13 0,13 13 15,0 0-15,0-13 0,0 13 0,0 0 16,1-14-16,-14 14 0,13-13 0,0 13 16</inkml:trace>
  <inkml:trace contextRef="#ctx0" brushRef="#br0" timeOffset="25298.25">3572 1323 0,'53'0'0,"-106"0"0,132-13 16,-39 13-16,0-14 0,-1 14 0,14-13 15,13 0-15,1 13 0,-1-13 16,0 0-16,-13 13 0,13-14 0,-13 14 16,0-13-16,13 13 0,-13 0 0,0-13 15,-14 13-15,14 0 0,-13 0 0,-14 0 16,1 0-16,-14 0 0</inkml:trace>
  <inkml:trace contextRef="#ctx0" brushRef="#br0" timeOffset="25544.17">3638 1561 0,'53'-13'0,"-106"26"0,132-26 0,-52 0 16,13-1-16,-1 14 15,14-13-15,-13 0 0,13 13 0,0-13 0,0 13 16,-14-14-16,14 14 0,-13-13 0,13 13 16,-14 0-16,1 0 15,-13 0-15,39 0 0,-40 0 16,40 0-16</inkml:trace>
  <inkml:trace contextRef="#ctx0" brushRef="#br0" timeOffset="26126.26">12700 1482 0,'-40'26'0,"27"1"15,-13-14-15,-1 13 0,1 14 0,12-14 16,-12 14-16,0 0 0,-1-1 16,1-12-16,12 13 0,-12-14 0,13 14 15,-14-14-15,14 1 0,0-14 0,0 13 16,-1-12-16,1-1 0</inkml:trace>
  <inkml:trace contextRef="#ctx0" brushRef="#br0" timeOffset="26344.77">12197 1707 0,'0'-14'16,"27"28"0,-27-1-16,13 0 0,0 13 0,-13 1 15,13-1-15,14 1 0,-14-1 16,0 1-16,1-14 0,-1 13 0,0-12 15,0-1-15,0 13 0,1-12 0,-1-1 16,0 0-16,0-13 16,1 13-16,-1 1 0,13-14 15</inkml:trace>
  <inkml:trace contextRef="#ctx0" brushRef="#br0" timeOffset="26550.96">12912 1865 0,'26'-13'0,"40"-13"31,-52 26-31,-1 0 16,0 0-16,0 0 15</inkml:trace>
  <inkml:trace contextRef="#ctx0" brushRef="#br0" timeOffset="26729.99">12806 2037 0,'13'14'31,"0"-14"-31,14 0 15,-14 0-15,40-14 0,-27 14 16,1 0-16,-1-13 0,14 13 0,0-13 16,-1 0-16,1 13 0,0-14 15</inkml:trace>
  <inkml:trace contextRef="#ctx0" brushRef="#br0" timeOffset="27086.83">13772 1416 0,'-67'52'31,"54"-38"-31,0-1 0,-14 13 0,14 1 16,-13-1-16,13-12 0,-1 12 0,1-13 15,0 0-15,0 14 0,-1-14 16,14 0-16,0 1 0,-13-1 16,26 0-16,1-13 15,-1 13-15,0 0 16,0-13-16,1 27 16,-14-14-16,13 0 0,-13 14 0,0-14 15,0 14-15,0-14 0,0 13 0,0-13 16,0 14-16,0-14 15,0 0-15,0 1 0,0 12 0,0-13 16,0 1-16,0-1 0,0 0 16,0 0-16</inkml:trace>
  <inkml:trace contextRef="#ctx0" brushRef="#br0" timeOffset="27466.53">14142 1614 0,'-40'26'31,"40"-12"-31,0-1 0,-13 0 0,13 0 0,13 1 15,-13-1-15,0 13 0,14-13 0,-14 1 16,13-1-16,0-13 0,0 13 0,0-13 16,-13 13-16,14-13 0,-1 0 15,0 0-15,0-13 0,1 0 16,-14 0-16,0-1 0,0 1 16,0-13-16,0 13 0,-14-14 15,14 14-15,0-14 0,-13 14 16,0 0-16,13 0 0,-13 0 0,-1-1 15,-12 1-15,13 13 16,0 0-16,-1 0 0,1 0 16</inkml:trace>
  <inkml:trace contextRef="#ctx0" brushRef="#br0" timeOffset="27643.09">14446 1707 0,'0'0'0,"13"79"32,-13-66-32,0 0 0,-13 1 0,13 12 15,0-13-15,-13 1 0,13 12 0,-13-13 16,0 14-16,-1-14 0,1 0 16,0 14-16,0-14 0</inkml:trace>
  <inkml:trace contextRef="#ctx0" brushRef="#br0" timeOffset="27851">14856 1482 0,'0'26'0,"0"-13"0,-13 1 16,13-1-16,-13 27 0,0-14 15,-1 14-15,1-14 0,0 1 0,0 39 16,-27 26 15,40-78-31</inkml:trace>
  <inkml:trace contextRef="#ctx0" brushRef="#br0" timeOffset="28299.97">15161 1217 0,'0'27'16,"0"-14"-16,0 0 15,0 0-15,0 0 0,0 1 0,0-1 16,0 0-16,0 0 0,0 1 0,0-1 16,0 0-16,13-13 0,-13 13 15,0 1-15,13-1 0,-13 0 0,13-13 16,40 106-1,-53-80-15,13 1 16,-13-1-16,0 1 16,14-1-16,-14 1 0,0-1 0,0 0 15,0 1-15,0-1 0,0 1 0,-14-1 16,14 1-16,-13-14 0,0 13 16,0 1-16,0-1 0,-14 1 0,1-1 15,-1-12-15,-13 12 0,14 0 0,0-12 16,-1-1-16,1 0 0</inkml:trace>
  <inkml:trace contextRef="#ctx0" brushRef="#br0" timeOffset="29862.18">8401 9049 0,'-40'-13'16,"-66"26"-1,66-13-15,1 13 16,-1-13-16,0 0 0,14 13 0,-1-13 16,1 0-16,-1 13 0,1-13 0,13 0 15,-14 0-15,14 0 0</inkml:trace>
  <inkml:trace contextRef="#ctx0" brushRef="#br0" timeOffset="30090.47">7898 8969 0,'0'0'0,"-13"14"16,-1-1-16,1 0 0,0 0 15,13 1-15,-13-1 0,-1 0 0,14 0 16,-13 14-16,13-14 0,0 0 16,0 14-16,0-14 0,13 0 15,-13 0-15,14 14 0,-1-14 0,0 0 16,0 0-16,14 1 0,-14-1 0,14-13 15,-14 13-15,13-13 0,-13 13 16,14-13-16,-14 0 0,14 0 0,-1 0 16,-13-13-16,14 13 0</inkml:trace>
</inkml:ink>
</file>

<file path=ppt/ink/ink31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3:07:57.205"/>
    </inkml:context>
    <inkml:brush xml:id="br0">
      <inkml:brushProperty name="width" value="0.05292" units="cm"/>
      <inkml:brushProperty name="height" value="0.05292" units="cm"/>
      <inkml:brushProperty name="color" value="#0070C0"/>
    </inkml:brush>
  </inkml:definitions>
  <inkml:trace contextRef="#ctx0" brushRef="#br0">3056 2950 0,'66'0'15,"-132"0"-15,172 0 0,-53 0 0,-14 0 0,14 0 16,13 0-16,-13 0 0,13 0 16,-13-13-16,27 13 0,-27 0 0,13 0 0,13 0 15,-26 0-15,13 13 16,-13-13-16,0 0 0,-13 0 0,13 0 16,79 0-1,-119 0-15,14 0 0,-14 13 16,0-13-16,0 0 0,1 0 0,12 0 15,-13 0-15,1 0 16,12 0 0</inkml:trace>
  <inkml:trace contextRef="#ctx0" brushRef="#br0" timeOffset="1252.44">6482 2990 0,'27'0'0,"-14"0"0,13 0 0,1-13 16,-1 13-16,27 0 0,-13 0 15,13-14-15,0 14 0,0 0 0,0-13 16,0 13-16,-1 0 0,1 0 15,0-13-15,0 13 0,0 0 16,-13 0-16,-14 0 0,1 0 0,-1 0 16,1 0-16,-1 0 0,-13 0 0,14 0 15,-14 0-15,0 0 0,0 0 16,1 0-16,-1 0 0,0 0 16,0 0-1,1 0 1,-1 0-1,-13 13 17</inkml:trace>
  <inkml:trace contextRef="#ctx0" brushRef="#br0" timeOffset="2591.6">9300 2871 0,'0'0'0,"66"0"0,-39 0 0,12 0 0,14-13 16,0 13-16,13 0 16,14 0-16,-1-14 0,0 14 0,1 0 15,-1-13-15,1 13 0,-1 0 0,14-13 16,-14 13-16,0 0 0,1-13 15,-1 13-15,-13 0 0,0-14 0,1 14 16,-28 0-16,27-13 0,-26 13 0,13 0 16,-13-13-16,-14 13 0,1 0 0,12 0 15,-26 0-15,14 0 0,-1 0 16,-12-13-16,-1 13 0,0 0 0,0 0 16,1 0-16,-41 13 31,14-13-31,0 0 15</inkml:trace>
  <inkml:trace contextRef="#ctx0" brushRef="#br0" timeOffset="2957.4">9790 2990 0,'0'0'0,"79"-13"0,-39 13 0,-1 0 15,27 0-15,-13 0 0,27 0 16,-1 0-16,14 0 0,-14 0 0,14 0 16,-14 13-16,0-13 0,1 0 0,-14 13 15,13-13-15,-12 13 0,-15-13 0,1 0 16,0 13-16,-13-13 0,0 0 15,-14 0-15,1 14 0,-1-14 0,-13 0 16,14 0-16,-14 0 0,0 0 0,0 0 16,1 13-16,-1-13 15,0 0 1,-39 0 15,12 0-31,1 0 16,0 0-16</inkml:trace>
  <inkml:trace contextRef="#ctx0" brushRef="#br0" timeOffset="11736.51">7766 5106 0,'0'-13'16,"-14"53"-1,14-27 1,0 0-16,0 14 0,0-14 16,0 0-16,0 14 0,0-14 0,0 13 15,0 1-15,0-14 0,0 0 0,0 14 16,0-14-16,0 14 0,0-14 15,0 0-15,0 0 0,0 0 0</inkml:trace>
  <inkml:trace contextRef="#ctx0" brushRef="#br0" timeOffset="11927.71">8017 5358 0,'26'53'31,"-26"-27"-15,0-13-16,0 1 0,0-1 0,-13 13 15,13-12-15,0-1 0,-13 0 16,13 0-16,0 0 0,0 1 16,0-1-16</inkml:trace>
  <inkml:trace contextRef="#ctx0" brushRef="#br0" timeOffset="12417.38">8387 5120 0,'27'-14'0,"-14"28"16,-13-1-16,13 0 15,-13 0-15,-13 1 16,13-1-16,0 13 0,-13-12 0,13-1 16,-13 13-16,13-13 0,0 1 0,0-1 15,-14 0-15,14 0 0,0 1 16,14-14-16,-14 13 15,13-13-15,0 0 16,0 0-16,0 0 0,-13-13 16,14 13-16,-1 0 0,0-14 15,0 14-15,1 0 0,-14-13 16,13 13-16,0-13 0,0 13 16,0 0-16,-13-13 0,27 26 15,-27 0 1,13-13-16,-13 13 0,0 1 15,13-1-15,-13 0 0,0 0 0,0 1 16,0-1-16,0 0 0,14 0 0,-14 0 16,0 1-16,0-1 0,0 0 15,0 0-15,0 1 0,0-1 16,0 0-16</inkml:trace>
  <inkml:trace contextRef="#ctx0" brushRef="#br0" timeOffset="12877.3">8903 5120 0,'13'13'16,"-13"0"-1,0 0-15,0 1 16,14-14-16,-14 13 0,0 0 16,13 0-16,-13 1 0,13-1 15,-13 0-15,13 0 16,-13 0-16,14-13 0,-14 14 16,0-1-16,0 0 0,0 0 15,0 1-15,0-1 16,-14 0-16,1 0 15,0-13-15,13 14 0,-13-14 16,13 13-16,-14-13 16</inkml:trace>
  <inkml:trace contextRef="#ctx0" brushRef="#br0" timeOffset="13052.76">9062 5265 0,'26'0'0,"1"27"16,-27-14-16,0 0 16,0 0-16,0 1 0,0 12 15,-13-13-15,13 1 0,-14-1 0,14 0 16,0 13-16,-13-12 0,13-1 16,0 0-16</inkml:trace>
  <inkml:trace contextRef="#ctx0" brushRef="#br0" timeOffset="13340.49">9657 5001 0,'-66'53'15,"40"-27"-15,12 0 0,-12 1 16,0-1-16,12-12 0,1 12 0,0-13 16,0 1-16,-1-1 0,14 0 15,0 0-15,-13 0 0,13 1 0,0-1 16,0 0-16,13-13 0,-13 13 16,14-13-16,-14 14 0,13-14 15,0 0-15,0 0 0,1 0 0,12-14 16,-13 14-16,27-13 15</inkml:trace>
  <inkml:trace contextRef="#ctx0" brushRef="#br0" timeOffset="13485.29">9684 5159 0,'0'0'0,"13"-26"0,-13 13 0,0-1 15,-13 28 17,13-1-32,-13 13 0,13-12 15,-14-1-15,14 13 0,0-12 16,-13 12-16,13 0 0,0-12 0,-13 12 15,13 1-15,0-14 0,0 0 16</inkml:trace>
  <inkml:trace contextRef="#ctx0" brushRef="#br0" timeOffset="13687.7">9869 5252 0,'26'40'31,"-26"-27"-31,-13 0 0,13 0 0,0 1 16,0-1-16,0 0 0,-13 0 15,13 14-15,-13-14 0,13 0 0,-14 0 16,14 1-16,0-1 0,-13 0 0,13 0 16,0 1-1</inkml:trace>
  <inkml:trace contextRef="#ctx0" brushRef="#br0" timeOffset="14013.81">10292 4974 0,'0'0'0,"-26"13"16,13-13-16,-1 0 0,14 14 16,14-1-16,-1 0 15,0-13-15,-13 13 0,13 1 16,1-1-16,-1 0 0,0 0 16,-13 0-16,13 1 0,0-1 15,-13 0-15,0 0 0,0 1 16,-13-1-16,0 13 0,0-12 15,0-1-15,-1 0 0,1 0 0,0 0 16,0-13-16,-1 14 0,1-1 16</inkml:trace>
  <inkml:trace contextRef="#ctx0" brushRef="#br0" timeOffset="14200.25">10530 5080 0,'14'13'0,"-28"-26"0,41 26 0,-27 0 0,13-13 16,-13 14-16,13-1 0,-13 0 16,0 0-16,14 1 0,-14-1 15,0 0-15,0 14 0,-14-14 0,14 0 0,-13 13 16,13-12-16,-13-1 0,13 13 16,-13-12-16,-1-1 0,14 0 15,0 0-15,0 1 16</inkml:trace>
  <inkml:trace contextRef="#ctx0" brushRef="#br0" timeOffset="14966.39">11179 4802 0,'-40'53'16,"27"-26"-16,-14-1 0,14 14 16,-13-14-16,12 1 0,1 12 0,0-12 15,13-14-15,-13 13 0,13-12 0,0-1 16,0 0-16,13 0 0,-13 1 15,0-1-15,13-13 16,-13 13-16,13-13 0,1-13 16,-14 0-16,0-1 15,-14-12 1,14 13-16,-13 13 16,0 0-16,0 0 0,-1 0 15,-12 0-15,0 13 0,-14 0 16,0 0-16,-26 1 0,0-1 0,13 13 15</inkml:trace>
  <inkml:trace contextRef="#ctx0" brushRef="#br0" timeOffset="15800.3">5503 7607 0,'0'13'47,"0"0"-31,0 0-16,0 14 0,0-14 0,14 0 16,-14 14-16,13-1 0,-13 1 15,13-14-15,-13 13 0,0-12 0,13 12 16,-13-13-16,0 1 0,0-1 0,0 13 15,0-12-15,0-1 0,-13 0 16,13 0-16,-13 0 0,13 1 0,-13-1 16,-1-13-16,1 13 0,0 0 15,0-13-15,-1 14 0,1-14 0,0 0 16,13 13-16,-13-13 0</inkml:trace>
  <inkml:trace contextRef="#ctx0" brushRef="#br0" timeOffset="16064.43">5689 7646 0,'-27'27'31,"27"-14"-31,0 0 0,0 1 0,0-1 16,0 13-16,0-12 0,0 12 0,13-13 15,-13 14-15,0-14 0,0 13 16,0 1-16,0-1 0,0-12 16,0-1-16,0 0 0,0 0 0,0 0 15,-13 1-15,13-1 0,-13 0 0,13 0 16,-13 1-16,13-1 16,-14-13-16,1 0 0</inkml:trace>
  <inkml:trace contextRef="#ctx0" brushRef="#br0" timeOffset="16245.36">6059 7660 0,'53'-27'0,"-40"40"0,0-13 16,-13 14-16</inkml:trace>
  <inkml:trace contextRef="#ctx0" brushRef="#br0" timeOffset="16424.89">5980 7911 0,'0'13'15,"26"-26"1,-13 13 0,0 0-16,1-13 0,-1 0 15,0 13-15,-13-14 0,13 14 16,1-13-16,-1 13 0,0-13 16</inkml:trace>
  <inkml:trace contextRef="#ctx0" brushRef="#br0" timeOffset="17164.52">7011 7302 0,'-13'0'0,"-13"27"16,26-1-1,0-12-15,0 12 16,-13 1-16,13-1 0,0 0 0,-14 41 15,14-41-15,-13 1 0,13-1 16,0 0-16,-13 1 0,13-14 16,0 0-16,-13 1 0,13-1 0,0 0 15,0 0-15,0 1 16,0-1 0,0 0-1,13 0-15,-13 0 16,0 1-16,0-1 0,13 0 15,-13 0-15,0 1 16,0-1-16,13 0 16,-13 0-16,14-13 0,12 0 15,-13-13 1</inkml:trace>
  <inkml:trace contextRef="#ctx0" brushRef="#br0" timeOffset="17360.96">7289 7408 0,'0'0'0,"13"40"15,-13-27 1,0 0-16,0 1 0,0 12 16,0-13-16,0 1 0,14 12 0,-14-13 15,0 14-15,0-14 0,0 0 16,0 14-16,0-14 0,0 0 0,0 0 15,0 1-15,13-1 0,-13 0 16,0 0-16</inkml:trace>
  <inkml:trace contextRef="#ctx0" brushRef="#br0" timeOffset="17576.21">7580 7620 0,'0'0'0,"14"13"16,-1 14 0,-26-27-16,13 13 0,0 0 0,0 0 15,0 1-15,0-1 0,0 0 0,0 0 16,0 1-16,-14-14 0,14 13 16,14 0-16,-14 0 0,13 0 15,0-13-15</inkml:trace>
  <inkml:trace contextRef="#ctx0" brushRef="#br0" timeOffset="17963.59">8057 7316 0,'0'0'0,"26"0"16,-13 0-16,0 0 16,-13 13-16,14 0 0,-14 0 0,0 1 15,0-1-15,0 0 0,0 14 16,-14-1-16,-12 27 0,13-40 15,13 14-15,-27-1 0,27-13 16,-13 1-16,13-1 0,0 0 16,0 0-16,27 0 15,-27-26 1,26 13-16,-13 0 16,0 0-16,1-13 0,-1 13 15,0 0-15,0-13 0,1 13 0,-14-13 16,13 13-16,0-14 0,0 14 0</inkml:trace>
  <inkml:trace contextRef="#ctx0" brushRef="#br0" timeOffset="18149.58">8374 7435 0,'27'13'32,"-14"-13"-32,-13 26 0,13-26 0,-13 14 15,0-1-15,0 0 0,0 0 0,0 1 16,0 12-16,-13-13 15,13 1-15,0-1 0,-13 13 0,13-13 16,-14 1-16,14-1 0,0 0 0,0 0 16,14 1-1</inkml:trace>
  <inkml:trace contextRef="#ctx0" brushRef="#br0" timeOffset="18519.45">8771 7117 0,'13'0'15,"0"14"1,-13-1-16,0 0 0,0 0 15,0 0-15,-13 1 0,13-1 0,-13 0 16,13 14-16,-13-14 16,13 0-16,0 0 0,0 0 15,0 1-15,0-1 0,13-13 0,-13 13 16,0 0-16,13-13 0,-13 14 16,13-1-16,-13 0 15,14 0-15,-14 1 16,-14-1-16,1 0 15,0 0 1,0 0-16,-1 1 16</inkml:trace>
  <inkml:trace contextRef="#ctx0" brushRef="#br0" timeOffset="18727.57">9194 7289 0,'0'13'15,"-13"40"1,0-26 0,13-1-16,-13-12 0,13-1 0,-27 26 15,27-25-15,-13-1 16,13 0-16,-13 0 0,13 1 0,-14-1 15,14 0-15,0 0 0</inkml:trace>
  <inkml:trace contextRef="#ctx0" brushRef="#br0" timeOffset="19181.09">9935 7131 0,'0'0'0,"-26"13"31,12 0-31,1-13 0,0 13 0,0 0 16,-1-13-16,1 14 0,0-1 15,0 0-15,0 0 0,13 1 16,-14-14-16,14 13 15,0 0-15,14 0 0,-1-13 16,-13 13 0,13-13-16,0 0 0,14 0 0,-14 0 15,0 0-15,14-13 0,-14 13 0,0 0 16,14-13-16,-14 0 0,0 13 0,0-13 16,0-1-16,1 1 0</inkml:trace>
  <inkml:trace contextRef="#ctx0" brushRef="#br0" timeOffset="19352.71">10067 7091 0,'-13'-13'0,"26"26"0,-39-13 32,26 13-32,0 0 0,0 1 15,-13-1-15,13 0 16,0 13-16,0 1 0,0-1 0,0-12 16,-14 12-16,14 0 0,0 1 0,0-14 15,0 14-15,0-14 0,-13 0 16,13 0-16,0 1 0,0-1 0,0 0 15,0 0-15,0 0 0</inkml:trace>
  <inkml:trace contextRef="#ctx0" brushRef="#br0" timeOffset="19565.38">10253 7276 0,'13'0'0,"0"13"15,-13 0-15,13-13 16,-13 14-16,0-1 0,0 0 0,0 0 16,0 14-16,-13-14 0,13 0 0,0 1 15,0-1-15,0 0 0,-13 0 16,13 0-16,0 1 0,0-1 0,0 0 16,0 0-1</inkml:trace>
  <inkml:trace contextRef="#ctx0" brushRef="#br0" timeOffset="19886.07">10570 7051 0,'-26'13'0,"-1"-13"0,14 0 15,-13 14 1,26-1 0,13 0-1,0 0-15,-13 1 0,13-14 16,0 13-16,-13 0 0,14 0 0,-1 0 16,-13 1-16,0-1 15,13 0-15,-26 0 0,13 1 16,-13-1-16,-1 13 0,1-13 15,0 14-15,0-14 16,0-13-16,-1 13 0,14 1 16</inkml:trace>
  <inkml:trace contextRef="#ctx0" brushRef="#br0" timeOffset="20089.75">10742 7210 0,'13'26'32,"-13"-12"-32,-13-1 0,13 0 15,-13 0-15,13 14 0,-13-14 0,-1 13 16,1-12-16,0 12 0,0-13 0,-1 1 16,-12 12-16,26-13 15,-13 0-15,13 1 0,-13-1 16</inkml:trace>
  <inkml:trace contextRef="#ctx0" brushRef="#br0" timeOffset="20401.39">11060 7064 0,'-27'14'15,"1"12"-15,-1 1 16,14 12 0,0 1-16,13-27 15,0 14-15,26-1 32,-13-26-32,1 0 15,-14-13 1,13 0-1,-26-1 1,13 1 0,-14 13-16,14-13 0,0 0 15,-13 13-15,13-14 16</inkml:trace>
  <inkml:trace contextRef="#ctx0" brushRef="#br0" timeOffset="20760.58">11271 6773 0,'0'0'16,"0"40"-16,-13-27 15,13 0-15,0 1 0,0-1 16,-13 13-16,13 1 15,0-1-15,0-12 0,13-14 16,-13 13-16,13-13 0,-13 13 16,13-13-16,-13 13 0,27 0 15,-27 1-15,13-14 0,-13 13 16,13 0-16,-13 0 0,14 1 0,-14-1 16,0 0-16,0 0 0,0 14 15,0-14-15,-14 13 0,1-12 0,0 25 16,0-12-16,-1-1 0,-12 1 15,13-1-15,0-13 0,-14 1 0,14 12 16,0-13-16,-1 1 0,1-1 0,0 0 16,0-13-16,-1 13 0</inkml:trace>
  <inkml:trace contextRef="#ctx0" brushRef="#br0" timeOffset="23879.92">3559 9684 0,'0'-13'0,"13"-1"16,-13 1 0,-27 40 15,14-14-31,13 0 16,-26 13-16,12 1 0,-12-1 15,0 14-15,12-14 0,-12 1 0,-1 13 16,14-14-16,-13 1 0,-1 12 0,14-12 15,-13-1-15,12 1 0,1-14 0,0 0 16,13 0-16,-13 1 0,13-1 16,-14 0-16</inkml:trace>
  <inkml:trace contextRef="#ctx0" brushRef="#br0" timeOffset="24120.33">3215 9816 0,'0'-13'16,"0"26"-16,13 0 15,-13 0-15,13 1 0,14 25 16,-14-12-16,0-1 0,14 1 16,-14 12-16,0-12 0,0-1 15,0-12-15,1 12 0,-1-13 16,0 1-16,0 12 0,1-13 0,-1 0 15,0 1-15,-13-1 0,13 0 16,0-13-16,-13 13 16</inkml:trace>
  <inkml:trace contextRef="#ctx0" brushRef="#br0" timeOffset="24961.98">4061 9856 0,'40'-14'31,"-27"14"-31,-13-13 16,14 13-16,-1 0 0</inkml:trace>
  <inkml:trace contextRef="#ctx0" brushRef="#br0" timeOffset="25169.63">4061 10001 0,'0'13'0,"14"1"31,-1-14-31,0 0 16,0 0-1,1 0-15,-1 0 16,0 0 0</inkml:trace>
  <inkml:trace contextRef="#ctx0" brushRef="#br0" timeOffset="26364.7">5517 9750 0,'0'-13'0,"0"-1"16,0 54 0,0-27-1,0 1-15,-14-1 0,14 13 0,0-13 16,0 1-16,-13 12 0,13-13 0,0 14 15,0-14-15,-13 14 16,13-14-16,0 0 0,0 0 0</inkml:trace>
  <inkml:trace contextRef="#ctx0" brushRef="#br0" timeOffset="26622.54">5834 9895 0,'13'14'15,"-13"-1"-15,0 0 0,-13 14 16,13-14-16,-13 26 15,13-25-15,0-1 0,-13 53 32</inkml:trace>
  <inkml:trace contextRef="#ctx0" brushRef="#br0" timeOffset="27064.56">6456 9671 0,'13'-14'0,"-26"28"0,53-28 16,-40 28-16,13-1 16,-13 0-16,0 0 15,0 0-15,0 1 0,-13-1 0,13 0 16,-14 0-16,14 1 0,-13-1 0,13 0 15,-13 0-15,13 0 0,-13 1 16,13-1-16,0 0 16,13 0-1,0-13-15,14 0 16,-14 0-16,0-13 16,0 13-16,0 0 0,1-13 0,12 13 15,-13-13-15</inkml:trace>
  <inkml:trace contextRef="#ctx0" brushRef="#br0" timeOffset="27222.69">6747 9803 0,'13'0'0,"-13"39"15,0-25 1,0-1-16,0 0 0,0 0 16,0 1-16,0-1 0,0 0 15,0 0-15,0 1 0,0-1 0,-13 0 16,13 0-16,0 0 0,13-13 15,-13 14-15</inkml:trace>
  <inkml:trace contextRef="#ctx0" brushRef="#br0" timeOffset="27850.61">7448 9578 0,'13'0'0,"14"13"16,-27 0-1,0 1 1,0-1-16,0 0 0,0 0 15,0 1-15,13-1 16,-13 0-16,0 0 16,13-13-16,-13 13 0,13-13 15,-13 14-15,0-1 0,14 0 16,-14 0-16,-14 1 16,14-1-16,-13 0 15,13 0-15,-13-13 0,13 13 0,-13-13 16,13 14-16</inkml:trace>
  <inkml:trace contextRef="#ctx0" brushRef="#br0" timeOffset="28022.45">7713 9763 0,'13'0'0,"-26"0"0,39 13 15,-26 1-15,0-1 16,13 0-16,-26 0 15,13 0-15,0 1 0,-13-1 16,13 0-16,0 0 0,-13 1 0,13-1 0,0 0 16,0 0-1</inkml:trace>
  <inkml:trace contextRef="#ctx0" brushRef="#br0" timeOffset="28352.56">8467 9538 0,'-40'53'15,"27"-40"1,0 1-16,-14 12 16,14-13-16,0 1 0,-1-1 0,14 0 15,-13-13-15,13 13 0,-13 0 16,13 1-16,0-1 16,13 0-16,0-13 15,1 0 1,12 0-16,1-13 0,-14 13 15,13-13-15,1-1 0,-14 1 0</inkml:trace>
  <inkml:trace contextRef="#ctx0" brushRef="#br0" timeOffset="28527.89">8625 9525 0,'-26'13'15,"26"0"-15,-13 1 16,-1-1-16,14 0 0,0 0 15,0 1-15,-13-1 16,13 13-16,-13-12 0,13 12 0,-13-13 16,13 14-16,-13-1 0,13-13 15,0 1-15,-14-14 0,14 13 16</inkml:trace>
  <inkml:trace contextRef="#ctx0" brushRef="#br0" timeOffset="28745.98">8877 9657 0,'13'0'0,"-13"14"0,0-1 16,0 0 0,0 0-16,0 0 15,-13 14-15,13-14 0,-13 0 0,-1 1 16,-12 12-16,26-13 0,-13 0 15,13 1-15,-14-1 0,14 0 16</inkml:trace>
  <inkml:trace contextRef="#ctx0" brushRef="#br0" timeOffset="29074.4">9234 9406 0,'-40'0'31,"27"13"-31,0-13 16,-14 27-16,14-14 16,13 0-16,0 0 15,0 1-15,0-1 16,13 0-16,1 13 0,-14-12 15,13-14-15,-13 26 0,13-13 16,-13 1-16,0-1 16,0 0-16,0 0 0,-13 1 15,0-1-15,13 0 0,-14 0 16,1 0-16,0-13 0,13 14 16,-13-14-16,-1 13 15</inkml:trace>
  <inkml:trace contextRef="#ctx0" brushRef="#br0" timeOffset="29615.55">9512 9472 0,'-27'13'31,"27"1"-31,-13-1 0,13 0 16,-13 0-16,13 0 0,0 14 16,0-14-16,0 0 0,0 14 15,13-14 1,-13 0-16,13-13 0,-13 14 15,14-14-15,-1-14 16,-13 1 0,13 13-16,-13-13 15,0 0-15,0-1 0,0 1 0,13 13 16,-13-13-16,0 0 0,13-1 16,1 28 15,-14-1-31,0 0 15,0 0-15,0 1 16,0-1 0,0 0-16,0 0 31,26-39 0,-26 13-31,13-1 0,1 1 0,-14 0 16,26-14-16,-13 1 0,1 0 15,12-1-15,-13-13 0,14 14 0,-1-1 16,1 1-16,-1 0 0</inkml:trace>
  <inkml:trace contextRef="#ctx0" brushRef="#br0" timeOffset="29862.47">10041 9194 0,'0'27'16,"-13"-14"-16,-1 0 15,14 0-15,0 1 16,-13-1-16,13 13 0,0-12 15,-13-1-15,13 13 0,13-13 0,-13 1 16,13-1 0,1-13-16,-1 0 15,0 0 1,0 0-16,-13-13 16,-13-1-1,0 14-15,0 0 0,-14 0 16,14 0-16,-13 0 0,-1 0 15,1 0-15,-1 0 0,1 0 16,-67 0-16</inkml:trace>
</inkml:ink>
</file>

<file path=ppt/ink/ink31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3:08:40.735"/>
    </inkml:context>
    <inkml:brush xml:id="br0">
      <inkml:brushProperty name="width" value="0.05292" units="cm"/>
      <inkml:brushProperty name="height" value="0.05292" units="cm"/>
      <inkml:brushProperty name="color" value="#0070C0"/>
    </inkml:brush>
  </inkml:definitions>
  <inkml:trace contextRef="#ctx0" brushRef="#br0">6046 3810 0,'26'0'79,"14"0"-64,0 0 1,-14 0-16,0 0 15,14 0-15,0 0 16,-14 0-16,-12 0 0,-1 0 16,0 0-16,13 0 15,-12 0 17,12 0-32,-26-13 15,27 0-15,-14-1 31</inkml:trace>
  <inkml:trace contextRef="#ctx0" brushRef="#br0" timeOffset="354.33">6231 3929 0,'26'0'15,"-12"0"1,12 0 0,40 13-16,40 14 15,-27-1-15,-26-13 16,-39-13-16,-1 0 15,0 0 17</inkml:trace>
  <inkml:trace contextRef="#ctx0" brushRef="#br0" timeOffset="2148.36">2368 7885 0,'-13'-14'31,"39"28"16,-13-14-47,1 0 0,-1 0 0,0 0 16,0 0-16,1 13 0,-1-13 15,0 0-15,0 0 16,1 13-16</inkml:trace>
  <inkml:trace contextRef="#ctx0" brushRef="#br0" timeOffset="3159.64">2289 8017 0,'-14'0'15,"1"13"1,40-13 15,-14 0-31,13 0 16,1 0-1,-14 0-15,0 0 16,0 0-16,1-13 16,-1 13-1,0 0 1,0 0 46,-26-13 626,13-1-672</inkml:trace>
  <inkml:trace contextRef="#ctx0" brushRef="#br0" timeOffset="4212.08">4326 7726 0,'13'0'63,"14"0"-63,-14 13 15,0-13-15,0 0 16,1 0-16,-1 0 0,0 0 16,0 0-16,0 0 0,1 13 15,-1-13-15,0 0 16,0 0 0,1 0-1,-1 0 16,0 0 16</inkml:trace>
  <inkml:trace contextRef="#ctx0" brushRef="#br0" timeOffset="6406.92">1561 8334 0,'13'0'46,"1"-13"-30,-1 13 0,13 0-16,-13 0 15,1 0-15,-1 0 16,0 0 0,-13 13-16</inkml:trace>
  <inkml:trace contextRef="#ctx0" brushRef="#br0" timeOffset="6679.57">1561 8401 0,'0'0'0,"40"0"47,-27 0-31,0-14-1,0 14-15,1 0 16,-1 0-16,0 0 31,0 0-15</inkml:trace>
  <inkml:trace contextRef="#ctx0" brushRef="#br0" timeOffset="7292.04">2275 8334 0,'14'0'0,"12"0"32,-13 0-32,1 0 15,-1-13-15,0 13 16,0 0-16,0 0 15,1 0 48,-1 0-32</inkml:trace>
  <inkml:trace contextRef="#ctx0" brushRef="#br0" timeOffset="7942.9">4273 8149 0,'26'0'15,"-12"0"1,-1 0-16,0 0 15,0 0-15,1 0 0,-1 0 16,0 0 0,0 0-16,1 0 15,-1 0 1,0 0-16,0 0 16,-39 0 30</inkml:trace>
  <inkml:trace contextRef="#ctx0" brushRef="#br0" timeOffset="8644.12">1667 8877 0,'26'-13'15,"-12"13"1,-1 0-16,0-14 16,0 14-16</inkml:trace>
  <inkml:trace contextRef="#ctx0" brushRef="#br0" timeOffset="8879.81">1667 8890 0,'26'0'31,"-12"-13"-15,-1 13-16,0 0 15,0 0-15,0 0 16</inkml:trace>
  <inkml:trace contextRef="#ctx0" brushRef="#br0" timeOffset="9403.77">2461 8864 0,'13'0'31,"0"0"-15,0 0-1,-13-14-15,27 14 0,-14 0 16,0 0 0,0 0-16,1 0 0,-14-13 15</inkml:trace>
  <inkml:trace contextRef="#ctx0" brushRef="#br0" timeOffset="9967.98">4352 8678 0,'27'0'47,"-14"0"-31,0 0-16,1 0 15,-1 0-15,0 0 0,0 0 16,0 0-16,1-13 16</inkml:trace>
  <inkml:trace contextRef="#ctx0" brushRef="#br0" timeOffset="10614.13">2302 9274 0,'13'0'15,"0"0"1,1 13-16,-1-13 16,0 0-16,0 0 15,0 0-15</inkml:trace>
  <inkml:trace contextRef="#ctx0" brushRef="#br0" timeOffset="11029.81">4458 9141 0,'0'0'0,"13"0"0,1-13 31</inkml:trace>
  <inkml:trace contextRef="#ctx0" brushRef="#br0" timeOffset="11476.62">2686 9790 0,'-14'0'31,"41"13"-15,-14-13-16,0 0 0,0 0 0,1 0 16,12-13-16</inkml:trace>
  <inkml:trace contextRef="#ctx0" brushRef="#br0" timeOffset="12786.58">2487 10345 0,'13'13'0,"1"1"16,-1-14 0,-13 13-1</inkml:trace>
  <inkml:trace contextRef="#ctx0" brushRef="#br0" timeOffset="14219.71">3664 10306 0,'40'0'31,"-27"0"-16,1 0-15,-1 0 0,0 0 16,0 0-16,14 0 0,-14 0 16</inkml:trace>
  <inkml:trace contextRef="#ctx0" brushRef="#br0" timeOffset="31222.58">5702 7474 0,'13'-13'16,"-13"40"-16,-13-1 16,13-13-1,0 1-15,0-1 0,0 0 0,0 0 16,0 1-16,0-1 0,0 0 0,-13 0 15,13 0-15,0 1 16,0-1-16,0 13 0,0-12 16</inkml:trace>
  <inkml:trace contextRef="#ctx0" brushRef="#br0" timeOffset="31570.69">5821 7501 0,'0'-13'15,"13"13"-15,0-14 16,1 14-16,-1 14 16,0-14-16,0 13 0,0 0 15,1 0 1,-14 1-16,13-1 0,-13 0 16,0 0-16,13 1 0,-13-1 0,0 0 0,0 0 15,0 0-15,0 1 16,0-1-16,0 0 15,-13 0-15</inkml:trace>
  <inkml:trace contextRef="#ctx0" brushRef="#br0" timeOffset="31726.65">5821 7686 0,'13'-13'16,"40"0"-1,-40 13-15,0 0 16,1 0-16,-1 0 0,0 0 0,0 0 16,1 0-16,-1 0 0</inkml:trace>
  <inkml:trace contextRef="#ctx0" brushRef="#br0" timeOffset="32072.56">5596 8109 0,'0'0'0,"0"27"16,0-1-16,0-12 15,0-1-15,0 0 0,0 0 16,0 1-16,0-1 0,0 0 15,-13 0-15,13 0 0,0 1 0</inkml:trace>
  <inkml:trace contextRef="#ctx0" brushRef="#br0" timeOffset="32336.55">5794 8030 0,'14'0'0,"-28"0"0,41 0 16,-14 13-16,0 1 16,-13-1-1,0 0-15,0 0 0,14-13 0,-14 13 16,0 1-16,-14-1 0,14 0 15,0 0-15,0 1 0,-13-1 0,13 0 16,0 0-16,-13-13 0</inkml:trace>
  <inkml:trace contextRef="#ctx0" brushRef="#br0" timeOffset="32493.62">5755 8242 0,'0'-27'31,"13"14"-16,0 13-15,0 0 0,1 0 16,-1-13-16,0 13 0,0 0 16,1 0-16,-1 0 0,0 0 15,0 13-15,0-13 0</inkml:trace>
  <inkml:trace contextRef="#ctx0" brushRef="#br0" timeOffset="32788.08">5609 8612 0,'-13'27'0,"26"-54"0,-26 67 0,13-27 0,0 0 16,0 1-16,0-1 0,-13 0 16,13 0-16,0 14 0,0-14 15</inkml:trace>
  <inkml:trace contextRef="#ctx0" brushRef="#br0" timeOffset="33001.85">5689 8612 0,'0'0'16,"13"0"-16,0 13 15,-13 1-15,13-1 16,-13 0-16,0 0 0,0 1 16,0-1-16,0 0 0,0 0 15,0 0-15,0 1 0</inkml:trace>
  <inkml:trace contextRef="#ctx0" brushRef="#br0" timeOffset="33152.39">5662 8784 0,'13'-13'0,"1"0"16,-1-1-1,0 14-15,0-13 0,0 13 0,1-13 16,-1 13-16,0 0 0,0-13 16</inkml:trace>
  <inkml:trace contextRef="#ctx0" brushRef="#br0" timeOffset="33451.86">5450 9208 0,'14'52'31,"-14"-38"-31,-14-1 0,14 0 0,0 0 16,0 1-16,0 12 0,0-13 0,0 0 15,0 1-15,0-1 0</inkml:trace>
  <inkml:trace contextRef="#ctx0" brushRef="#br0" timeOffset="33706.5">5583 9221 0,'13'0'0,"13"26"32,-26-13-32,0 1 0,14-1 15,-14 0-15,0 0 0,0 1 16,0-1-16,0 0 0,-14 0 15,14 0-15,0 1 0</inkml:trace>
  <inkml:trace contextRef="#ctx0" brushRef="#br0" timeOffset="33858.74">5569 9393 0,'27'-27'31,"-14"14"-31,14 0 16,-14 13-16,0-13 15</inkml:trace>
  <inkml:trace contextRef="#ctx0" brushRef="#br0" timeOffset="34151.96">5384 9829 0,'-13'13'16,"13"1"0,0-1-16,-13 0 0,13 0 15,0 1-15,0-1 16,0 0-16,0 0 16,0 1-16</inkml:trace>
  <inkml:trace contextRef="#ctx0" brushRef="#br0" timeOffset="34383.83">5543 9723 0,'0'0'0,"13"0"0,-13 14 16,13-1-1,-13 0-15,0 0 16,0 1-16,0-1 0,14 0 16,-14 0-16,0 0 15,0 1-15,0-1 16</inkml:trace>
  <inkml:trace contextRef="#ctx0" brushRef="#br0" timeOffset="34541.76">5543 9869 0,'40'-27'16,"-27"27"-1,-13-13-15,13 13 0</inkml:trace>
  <inkml:trace contextRef="#ctx0" brushRef="#br0" timeOffset="34783.96">5239 10279 0,'39'13'31,"-25"-13"-31,-1 0 0,0 0 0,0 0 16,1 0-16,12 0 0,-13-13 15,1 13-15,-1 0 0,0 0 16,0 0-16,0 0 0,1-13 0,-1 13 16</inkml:trace>
  <inkml:trace contextRef="#ctx0" brushRef="#br0" timeOffset="89030.7">2527 7699 0</inkml:trace>
  <inkml:trace contextRef="#ctx0" brushRef="#br0" timeOffset="89630.54">3638 8268 0,'-13'0'0</inkml:trace>
  <inkml:trace contextRef="#ctx0" brushRef="#br0" timeOffset="89802.82">3651 8374 0,'-13'0'16</inkml:trace>
  <inkml:trace contextRef="#ctx0" brushRef="#br0" timeOffset="90263.07">4286 7673 0</inkml:trace>
  <inkml:trace contextRef="#ctx0" brushRef="#br0" timeOffset="90456.71">4405 8202 0,'-13'13'31</inkml:trace>
  <inkml:trace contextRef="#ctx0" brushRef="#br0" timeOffset="90710.41">4273 8705 0,'0'13'0,"-13"-13"32,0-13-32,-1 26 31,28 0 0</inkml:trace>
  <inkml:trace contextRef="#ctx0" brushRef="#br0" timeOffset="165128.04">6588 7355 0,'53'14'47,"26"39"-47,-52-1 16,65 41-1,-25-27-15,-41 14 0,14-1 16,-1 14-16,1 39 15,-27-40-15,-13 28 16,0 25-16,-53 27 16,27-53-16,-14-13 15,14 26 1,13-13-16,13 27 16,-14-80-16,14-13 0,0-27 15,0-12-15,27-1 16,-14-13-1,14 0 1,25-13-16,15-54 16,-41 28-16,1-27 15,-1 13-15,-26 26 16,0-52-16,0 52 16,0 14-1,-13 53 16,13 66-15,-13-14-16,13 1 16,0-27-1,0 53-15,0 27 0,13-1 16,0-26-16,13 13 16,-12-39-16,-1 26 15,-13 13-15,26-12 16,-26-1-1,0-14-15,0 54 16,0-93-16,-13-26 16,0-14-16,0 1 15,-1-1-15,1-12 16,0-1-16,0-13 31,0 0 16,-1 0-31,-12 0-1,13 0 1</inkml:trace>
</inkml:ink>
</file>

<file path=ppt/ink/ink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09.737"/>
    </inkml:context>
    <inkml:brush xml:id="br0">
      <inkml:brushProperty name="width" value="0.025" units="cm"/>
      <inkml:brushProperty name="height" value="0.025" units="cm"/>
      <inkml:brushProperty name="ignorePressure" value="1"/>
    </inkml:brush>
  </inkml:definitions>
  <inkml:trace contextRef="#ctx0" brushRef="#br0">56 5,'-4'2,"0"1,0 0,0 0,0 0,1 1,0-1,-1 1,1 0,0-1,1 2,-1-1,1 0,0 0,0 1,0-1,1 1,-2 7,2-10,1 0,-1 0,1 0,0 0,0 1,0-1,0 0,0 0,1 0,-1 0,1 0,-1 0,1 0,0 0,-1 0,1 0,0 0,0 0,1 0,-1-1,0 1,1 0,-1-1,1 1,-1-1,1 0,0 1,-1-1,1 0,0 0,0 0,0 0,0-1,0 1,0 0,0-1,0 1,0-1,0 0,0 0,3 0,0 0,0 0,1-1,-1 0,0 0,0 0,0-1,0 1,0-1,0-1,0 1,-1-1,1 1,-1-1,1-1,4-4,-6 6,-1 1,0-1,0 0,0 0,0 0,0 0,-1-1,1 1,-1 0,1-1,-1 1,0-1,0 1,0-1,0 0,0 1,-1-1,1 0,-1 1,0-1,0 0,0 0,0 0,0 1,-1-1,1 0,-1 0,1 1,-1-1,-2-3,0 3,1 1,-1-1,0 1,-1 0,1 0,0 0,-1 0,1 0,-1 1,1 0,-1 0,0 0,0 0,1 0,-1 1,0 0,0-1,0 1,0 1,-3 0,6-1,-16 0</inkml:trace>
</inkml:ink>
</file>

<file path=ppt/ink/ink32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3:09:24.873"/>
    </inkml:context>
    <inkml:brush xml:id="br0">
      <inkml:brushProperty name="width" value="0.05292" units="cm"/>
      <inkml:brushProperty name="height" value="0.05292" units="cm"/>
      <inkml:brushProperty name="color" value="#0070C0"/>
    </inkml:brush>
  </inkml:definitions>
  <inkml:trace contextRef="#ctx0" brushRef="#br0">19248 3016 0,'27'0'94,"-1"0"-94,1 0 16,13 0-16,26 0 15,-40 0 1,53 0-16,1 0 0,39 0 16,0 0-16,-13 0 15,26 0-15,-53 0 16,54 0-16,-41 0 15,41-13-15,-54 13 16,-13 0 0,-13 0-16,26 0 0,-12 0 15,-14 0 1,26 0-16,0 0 16,1 0-16,-27 0 15,39 0-15,14 0 0,53 13 16,-40-13-1,119 0-15,-106 0 16,27 0-16,-40 0 16,13-13-16,-26 13 15,0 0-15,0 0 16,-40-13-16,-40 13 0,1 0 16,-14-13-1,0 13-15,-13-14 16,14 1-1,12-13-15,-13-1 16,14 14-16,-14-13 16,0 12-1,0-12-15,1-27 0,-14 40 16,13-14-16,-13 14 16,0-13-16,0-14 15,0 13 1,-13 14-16,-14-27 15,14 14 1,-27 0-16,-13-1 16,27-13-16,-53-13 15,12 27-15,-12-14 16,-14 1-16,1 25 16,-67-39-16,27 27 15,-1 26-15,-25 0 16,52 0-16,-66 0 15,26 0-15,-12 0 16,-1 0-16,-53 0 16,27 0-16,-13 0 15,-41 0-15,-12 0 16,-80 0-16,106 0 16,54 0-16,-15 0 15,14 0-15,0 0 16,27 0-1,39 13-15,0 14 0,66-27 16,-79 0-16,-26 0 16,79 0-16,0 0 15,26 0-15,-13 0 16,0 0-16,0 0 16,-39 0-1,12 0-15,27 0 16,14 0-16,-14 0 15,-27 0-15,-12 0 16,26 0-16,-14 13 16,1 0-16,13 0 15,-27 14-15,40-14 16,-13 14-16,26-14 16,-13 13-16,27 1 15,13-14 1,-1 0-16,14 0 15,0 1 1,-13-1-16,13 13 16,0-12-1,0 12-15,0 0 16,0 1-16,0-1 16,13 1-16,1 13 15,-1-1-15,13-12 16,27-1-16,0-13 15,0 27 1,0-13-16,26-1 0,1 14 16,12-1-16,-12-12 15,39-1 1,13 1-16,-13-14 16,-26-13-16,-1 13 15,1-13-15,-27 0 16,-13 0-16,-26 0 15,12 0-15,-26 0 16,27 0-16,0 0 16,-14 0-16,1 0 15,-1 0-15,14 0 16,-14 0-16,14 0 16,0-13-16,26 13 15,0 0-15,-40 0 16,41 0-16,12 0 15,27 0-15,0-13 16,-14 13 0,14-27-16,-40 27 0,27-13 15,-27 0-15,-13 13 16,0 0-16,-27-13 16,-13 13-16</inkml:trace>
  <inkml:trace contextRef="#ctx0" brushRef="#br0" timeOffset="2052.91">20280 1389 0,'0'13'0,"14"-13"47,-14 14-32,13-14-15,0 13 16,-13 0 0,-13 0-1,0 0-15,-1-13 0,1 14 16,0-1-16,0 0 0,-1-13 16,1 13-16,0 1 15,13-1 1,0 0-16,13-13 15,-13 13-15,13-13 0,-13 14 0,14-1 16,-1-13-16,-13 13 0,13 0 16,-13 0-16,13 1 15,-26-1-15,13 0 0,-13-13 16,13 13-16,-13-13 0,-1 14 16,1-14-16,0 13 0,0-13 0,-14 13 15,14-13-15,0 0 0,0 0 0,-1 0 16,1 0-16,0 0 15,0-13-15</inkml:trace>
  <inkml:trace contextRef="#ctx0" brushRef="#br0" timeOffset="2729.42">20320 1124 0,'0'-13'0,"0"26"0,-13-39 0,0 26 15,-14 13-15,14-13 16,-14 27-16,-12-1 0,-1 1 15,0 12-15,1 1 0,-1 0 0,-53 66 16,67-54-16,-14 1 0,1 14 16,12-15-16,1 1 0,-1 0 15,14 0-15,0-13 0,13-14 0,0 14 16,0-14-16,0 1 0,13-14 0,0 27 16,27 0-16,-14-14 15,1-13-15,-1 0 0,14-13 0,-14 0 16,1 0-16,26 0 0,0 0 0,0-13 15,13-13-15,-13 13 0,0-14 16,13 1-16,-13-14 0,-14 0 16,14 1-16,-13-1 0,0 0 0,-1 0 0,-12 1 15,12-14-15,-12 13 0,-14-13 16,14 14-16,-27-1 0,13 0 16,-13-13-16,0 14 0,0-1 0,-13 0 15,-1 1-15,-12-1 0,-1 13 0,1-12 16,-14 12-16,1 1 0,12 13 0,-13-1 15,1 1-15,-1 0 0,0 0 0,14 13 16,-1 0-16,1 0 0,-14 13 16,1-13-16,25 13 0,-12 0 0,-1 1 15,14-14-15</inkml:trace>
  <inkml:trace contextRef="#ctx0" brushRef="#br0" timeOffset="2904.02">21564 1548 0,'-27'0'32,"14"0"-32,0 0 15,-1 0-15</inkml:trace>
  <inkml:trace contextRef="#ctx0" brushRef="#br0" timeOffset="5871.81">8387 2474 0,'0'0'0,"40"0"15,-27 0 1,27-13-16,0 13 0,65 0 16,-52-14-16,0 14 15,13-13-15,1 13 0,12 0 0,0 0 16,-13-13-16,14 13 0,-14 0 15,-13 0-15,0 0 0,0-13 0,0 13 16,-14 0-16,-12 0 0,-1 0 0,1 0 16,-1 0-16,1 0 0,-14 0 15,0 0-15,14 0 0,-14 0 16,0 0-16</inkml:trace>
  <inkml:trace contextRef="#ctx0" brushRef="#br0" timeOffset="6356.76">8744 2606 0,'80'0'15,"-40"0"1,-1 0-16,14 0 0,0 0 0,0-13 15,0 13-15,-13 0 0,13 0 0,-1 0 16,-12-13-16,0 13 0,-14 0 0,14 0 16,-14 0-16,1 0 15,-1-14-15,-12 14 0,12 0 0,-13 0 16,0 0-16,1 0 0,-1 0 0,0 0 16,0 0-1,1 0-15,-1 0 16,0 0-16,0 0 15,1 0 1,-1-13 62,-13 0 0,13 0-78</inkml:trace>
  <inkml:trace contextRef="#ctx0" brushRef="#br0" timeOffset="8528.01">18018 4485 0,'0'13'32,"13"-13"-32,1 0 15,-1 0-15,0 0 0</inkml:trace>
  <inkml:trace contextRef="#ctx0" brushRef="#br0" timeOffset="8698.65">18508 4498 0,'0'-13'31,"-14"-1"-31</inkml:trace>
  <inkml:trace contextRef="#ctx0" brushRef="#br0" timeOffset="8870.19">18680 4485 0</inkml:trace>
  <inkml:trace contextRef="#ctx0" brushRef="#br0" timeOffset="9824.53">18084 5847 0,'0'14'16</inkml:trace>
  <inkml:trace contextRef="#ctx0" brushRef="#br0" timeOffset="9980.09">18203 5861 0</inkml:trace>
  <inkml:trace contextRef="#ctx0" brushRef="#br0" timeOffset="11828.21">18164 7144 0,'-14'13'78,"14"0"-62</inkml:trace>
  <inkml:trace contextRef="#ctx0" brushRef="#br0" timeOffset="12025.68">18362 7170 0</inkml:trace>
  <inkml:trace contextRef="#ctx0" brushRef="#br0" timeOffset="13243.69">18150 8467 0,'14'-14'15,"-14"1"16,0 26 16,26-13-31</inkml:trace>
  <inkml:trace contextRef="#ctx0" brushRef="#br0" timeOffset="13624.69">18362 8533 0</inkml:trace>
  <inkml:trace contextRef="#ctx0" brushRef="#br0" timeOffset="13877.91">18587 8520 0,'13'-14'16</inkml:trace>
  <inkml:trace contextRef="#ctx0" brushRef="#br0" timeOffset="14605.81">18150 9816 0,'-13'0'15</inkml:trace>
  <inkml:trace contextRef="#ctx0" brushRef="#br0" timeOffset="14844.72">18402 9776 0</inkml:trace>
  <inkml:trace contextRef="#ctx0" brushRef="#br0" timeOffset="15028.7">18600 9790 0,'13'0'0,"1"0"16</inkml:trace>
  <inkml:trace contextRef="#ctx0" brushRef="#br0" timeOffset="15703.96">18098 11205 0</inkml:trace>
  <inkml:trace contextRef="#ctx0" brushRef="#br0" timeOffset="15941.89">18389 11152 0</inkml:trace>
  <inkml:trace contextRef="#ctx0" brushRef="#br0" timeOffset="16148.67">18587 11205 0,'13'13'0,"0"-13"15</inkml:trace>
  <inkml:trace contextRef="#ctx0" brushRef="#br0" timeOffset="16745.68">18150 12541 0,'0'0'0</inkml:trace>
  <inkml:trace contextRef="#ctx0" brushRef="#br0" timeOffset="16876.05">18362 12581 0,'13'-13'16</inkml:trace>
  <inkml:trace contextRef="#ctx0" brushRef="#br0" timeOffset="17041.81">18613 12528 0,'27'0'32,"-27"13"-17</inkml:trace>
  <inkml:trace contextRef="#ctx0" brushRef="#br0" timeOffset="17845.03">18283 13877 0,'13'0'47</inkml:trace>
  <inkml:trace contextRef="#ctx0" brushRef="#br0" timeOffset="18408.23">18547 13930 0,'14'0'31,"-14"14"-31,13-1 31</inkml:trace>
  <inkml:trace contextRef="#ctx0" brushRef="#br0" timeOffset="25376.89">23376 13454 0,'0'-13'46,"0"0"1,-13 13-31,13-14-16,-14 1 16,14 0-16,-13 13 15,0-13-15,0-1 16,0 1-16,-1 13 0,1-13 15,0 0-15,0 13 0,-1-13 0,1-1 16,0 14-16,0 0 0,0-13 16,-1 13-16,1 0 0,0-13 0,0 13 15,-14 0-15,14 0 0,0 0 0,-14 0 16,14 13-16,0-13 0,-14 0 16,14 13-16,-13 1 0,12-1 0,1 0 15,-13 13-15,12 1 0,1-1 0,0-12 16,-13 25-16,26-12 0,-14-1 15,1 27-15,13-26 0,0-1 16,0 0-16,0 1 0,0-1 0,13 1 16,-13 13-16,14-14 0,-1 0 15,13 1-15,-13-1 0,14 1 16,-14-14-16,14 14 0,-1-14 0,1 0 16,-14-13-16,13 13 0,1 0 15,-1-13-15,-13 0 0,27 14 16,-27-14-16,14 0 0,12-14 15,-12 14-15,-1-13 0,-12 0 0,12 0 16,0 0-16,1-14 0,13 14 16,-14-14-16,1 1 0,-14-1 0,13 1 15,1 0-15,-14-1 0,0-13 0,14-13 16,-14 40-16,-13-13 0,13-1 16,-13 14-16,0-13 0,0 12 15,0-12-15,0 13 0,-13 0 16,13-14-16,-13 14 0,-1-14 0,1 14 15,0 0-15,0-14 0,-14 1 16,1 0-16,-1-1 0,1 14 0,-1-14 16,1 1-16,-1 13 0,14-14 0,-13 1 15,-1-1-15,14 14 0,0-13 16,0 12-16,-1 1 0,1-13 0,0 13 16</inkml:trace>
  <inkml:trace contextRef="#ctx0" brushRef="#br0" timeOffset="26408.59">23363 10861 0,'-14'-13'0,"1"-14"31,0 27-31,13-13 0,-13 0 16,0 0-1,-1 0-15,1-1 16,0 14-16,0-13 0,-14 13 15,1-13-15,13 13 16,-1 13-16,-12-13 0,-1 0 0,1 13 16,-1 1-16,1-1 0,-14 0 0,14 0 15,-1 14-15,1-14 0,-1 13 16,1 1-16,0-1 0,12 1 16,1-1-16,0 14 0,0-14 0,13-12 15,-14 12-15,14 0 0,0-12 16,0 12-16,14-13 0,-14 14 0,0-1 15,13-12-15,0 12 0,0-13 0,1 0 16,-1 1-16,13 12 0,-13-13 0,14-13 16,-14 14-16,14-1 0,-1-13 15,1 0-15,-1 0 0,0 0 0,1 0 16,-14 0-16,14 0 0,-1-13 0,1-1 16,-1 14-16,0-13 0,1-13 15,-1 12-15,1 1 0,-14-13 16,13-1-16,-12 1 0,-1-1 0,0 1 15,0-1-15,1-12 0,-1 12 0,-13-12 16,13 12-16,-13 1 0,0-1 16,0 1-16,-13-1 0,13 1 0,-13-1 15,-1 1-15,1 0 0,-13-1 0,12 14 16,-12-14-16,13 14 0,-14 0 16,14 0-16,-13-1 0,12 1 0,1 13 15,-13-13-15,13 0 0,-1 0 16,1 13-16</inkml:trace>
  <inkml:trace contextRef="#ctx0" brushRef="#br0" timeOffset="28167.67">23191 6416 0,'13'0'172,"-39"-13"-110,12 13-46,1 0-1,0-13 1,0 13-16,-1 0 16,1 0-1,0 0-15,0 0 16,-1 0-16,1 0 15,13 13-15,-13-13 16,0 0-16,0 13 0,-1-13 16,1 13-16,0-13 0,0 14 15,-1-14-15,14 13 16,-13-13-16,0 13 0,0 0 16,-1-13-16,14 14 0,-13-14 0,13 13 15,-13 0-15,0 0 16,0 0-16,13 1 0,-14-1 15,14 0-15,-13 0 0,13 14 16,-13-14-16,13 0 0,-13 1 16,13-1-16,0 13 0,-14-13 0,14 1 15,0-1-15,0 0 0,0 0 0,-13 1 16,13-1-16,0 0 0,0 13 16,0-12-16,0-1 0,0 0 0,13 0 15,-13 1-15,0-1 0,0 0 0,0 0 16,14 1-16,-14-1 0,13 0 15,0 0-15,0 0 0,-13 1 16,14-1-16,-1-13 0,0 13 0,13 0 16,-12-13-16,-1 0 0,13 14 0,-12-14 15,12 0-15,-13 0 0,1 0 16,12 0-16,-13 0 0,14 0 0,-14 0 16,13 0-16,1-14 0,-14 14 0,14 0 15,-14-13-15,13 0 0,-13 13 0,1-13 16,12-1-16,-13 1 0,1 13 15,-1-13-15,0-13 0,0 12 0,-13 1 16,13-13-16,1 12 0,-14-12 16,13 13-16,-13-14 0,0 1 0,13 13 15,-13-14-15,0 14 0,0-14 16,0 14-16,-13-13 0,13-1 0,0 14 16,-13 0-16,-1-14 0,14 14 0,-13 0 15,0-14-15,0 14 0,0 0 16,-1-13-16,14 12 0,-13-12 0</inkml:trace>
  <inkml:trace contextRef="#ctx0" brushRef="#br0" timeOffset="29195.86">23588 4167 0,'0'0'15,"0"-13"-15,13 0 0,-13 0 16,0-1-16,0-12 16,0 13-16,0-1 0,0-12 0,0 13 15,0-1-15,-13 1 0,13-13 16,-14 13-16,14-14 0,-13 14 0,-13-14 16,12 1-16,1-1 0,0 14 0,-13-13 15,-1 13-15,1-14 0,-1 14 16,-13 0-16,14-1 0,-14 1 15,1 0-15,-1 13 0,14-13 0,-1 13 16,-13 0-16,1 0 0,-1 13 0,-13-13 16,13 13-16,1 0 0,-1 1 15,0-1-15,1 0 0,12 0 0,-13 14 16,14-1-16,0-13 0,-1 14 0,1 13 16,12-14-16,-12 1 0,13-1 15,-1 14-15,1-14 0,13-13 16,0 14-16,0-1 0,0 1 0,13-1 0,1 14 15,-1-14-15,13 14 0,-12-14 16,12 1-16,1 13 0,12-14 16,-12 1-16,26-1 0,-14-13 0,14 14 15,0-14-15,-13 0 0,13 0 0,-14 1 16,14-14-16,0 0 0,-13 0 16,0 0-16,13 0 0,-14-14 0,1 14 15,13-13-15,-13 0 0,-1 0 0,1-1 16,0 1-16,-14-13 0,1-1 15,12 1-15,-12-1 0,-1-26 16,-13 14-16,1-27 16,-14 26-16,0 0 0,-14 1 0,1-1 15,-13 0-15,-1 1 0,-12-1 16,-1 13-16,13 1 0,-12-1 0,12 1 16,-12 13-16,-1 0 0,0-14 0,-13 27 15,14-13-15,-14 0 0,13 13 16,14 0-16,-14 0 0,0 0 0,14 0 15,-1 13-15,1-13 0,13 13 0,-14-13 16,14 13-16</inkml:trace>
  <inkml:trace contextRef="#ctx0" brushRef="#br0" timeOffset="30669.79">6575 5424 0,'0'-13'15,"0"-14"1,0 14-16,0 0 16,0 0-1,0-1-15,0 1 0,0 0 16,0 0-1,0-1-15,0 1 16,0 0 15,0 0 1</inkml:trace>
  <inkml:trace contextRef="#ctx0" brushRef="#br0" timeOffset="31786.31">7078 5464 0,'0'-14'47,"0"1"-16,0 0-15,0 0-1,13 13-15,-13-13 16,0-1 0,0 1-1,0 0 1,0 0-1,0-1 32,0 1 0,-13 26 78</inkml:trace>
  <inkml:trace contextRef="#ctx0" brushRef="#br0" timeOffset="33128.64">7673 5530 0,'13'-13'16,"-13"-1"-1,0 1-15,0 0 16,0 0-16,0-1 0,0 1 15,0 0-15,13 13 0,-13-13 16,0 0-16,0-1 0,0 1 16,0 0-16,0 0 15,0-1-15,14 14 16,-14-13-16,0 0 16,0 0-1,0-1 1,0 1 93,13 13 1</inkml:trace>
  <inkml:trace contextRef="#ctx0" brushRef="#br0" timeOffset="34610.12">8202 5464 0,'13'-14'31,"-13"1"-31,0 0 16,0 0-16,14 13 15,-14-13-15,0-1 0,0 1 0,13 0 16,-13 0-16,0-1 15,13 1-15,-13 0 0,0 0 16,13-1-16,-13 1 0,0 0 16,0 0-16,13 13 0,-13-13 15,0-1 1,14 1 15,-14 0 0,-27 26 141</inkml:trace>
  <inkml:trace contextRef="#ctx0" brushRef="#br0" timeOffset="39028.71">2183 7210 0,'66'-13'16,"-40"13"0,14 0-16,13 0 0,0 0 0,26-14 15,-13 14-15,14 0 0,12-13 0,-12 13 16,-1 0-16,14 0 0,-1 0 15,-12 0-15,12 0 0,-12 0 16,92 0-16,-106 0 0,0 0 0,-13 0 16,0 0-16,0 0 15,0 13-15,-14-13 0,-12 0 0,-1 0 16,1 0-16,12 0 16,-25 0-16,-1 14 0,0-14 15</inkml:trace>
  <inkml:trace contextRef="#ctx0" brushRef="#br0" timeOffset="39436.87">2778 7448 0,'119'0'16,"-66"0"-16,0 0 15,13 0-15,14-13 0,-14 13 0,13-13 16,-13 13-16,0-14 0,14 14 0,-14-13 16,-13 13-16,0 0 0,0 0 15,0-13-15,-1 13 0,1 0 16,-13 0-16,0-13 0,-14 13 0,1 0 15,-14 0-15,13 0 0,-12 0 0,-1 0 16,0 0-16,0 0 0,1 0 16,-1 0-16,0 0 15,0 0-15,0-14 16,-26 1 62</inkml:trace>
  <inkml:trace contextRef="#ctx0" brushRef="#br0" timeOffset="57815.4">1945 12819 0,'13'-26'15,"0"26"1,0 0-16,1 0 15,-1 0-15,0 0 0,0-14 16,1 14-16,12 0 16,0 0-16,-12 0 31,-41 14 0,14-1-31,0-13 16,0 0-16,-1 13 0,1-13 15,0 0-15,13 13 0,-13-13 0,-1 0 16,1 14 0,40-14 15,-14 0-31,0 0 16,0 0-16,1 0 0,-1 0 15,0 0 1,0-14-1,0 14 1</inkml:trace>
  <inkml:trace contextRef="#ctx0" brushRef="#br0" timeOffset="62336.7">23508 13375 0,'-39'-40'32,"25"27"-32,14 0 0,-13 13 15,13-14-15,-13 14 0,13-13 16,-13 13-16,-1-13 0,1 0 16,0 13-16,0-14 15,-1 1-15,1 13 16,0-13-16,0 13 15,0-13-15,-1 13 0,1-14 16,0 14-16,0 0 0,-1-13 0,1 13 16,-13 0-16,13 0 0,-1 0 15,-12 0-15,13 0 0,-14-13 0,14 13 16,0 0-16,-14 13 0,14-13 0,-13 0 16,12 0-16,-12 13 15,-1-13-15,14 14 0,-13-1 0,12-13 16,1 13-16,-13 0 0,13 1 0,-1 12 15,1-13-15,0 1 0,0-1 16,-1 13-16,14-13 0,-13 14 0,13-1 16,-13 1-16,13-14 0,0 14 0,0-1 15,0 0-15,0 1 0,0-1 16,0 1-16,13-14 0,-13 13 0,13 1 16,-13-1-16,14 1 0,-1-14 0,0 14 15,-13-1-15,13-13 0,1 14 16,12-1-16,-13-13 0,0 1 0,1 12 15,-1-13-15,0 1 0,0-1 0,14 0 16,-14 13-16,0-12 16,1-14-16,-1 13 0,0 0 0,13-13 15,-12 13-15,-1-13 0,13 14 0,-12-14 16,-1 0-16,0 0 0,14 0 16,-14 0-16,0 0 0,13 0 0,-12-14 15,12 14-15,-13 0 0,1-13 0,12 13 16,-13-13-16,0 13 0,14-13 0,-14-1 15,0 1-15,14 0 0,-14 0 16,0 0-16,1-1 0,-1 1 0,0-13 16,13 12-16,-12-12 0,-1-14 0,13 14 15,-12-1-15,-1-12 0,0 12 16,0-13-16,-13 1 0,14-1 0,-14 14 16,0-1-16,0 1 0,0-1 0,0 1 15,0 13-15,0-14 16,-14 1-16,14-1 0,-13 14 0,13-13 15,-13 12-15,13 1 0,-13-13 0,-1 12 16,1-12-16,0 13 0,0-14 16,-14 1-16,14-1 0</inkml:trace>
  <inkml:trace contextRef="#ctx0" brushRef="#br0" timeOffset="63784.27">2990 12925 0,'-13'0'15,"39"0"79,-13 0-94,0 0 16,1 0-1</inkml:trace>
  <inkml:trace contextRef="#ctx0" brushRef="#br0" timeOffset="64057.38">2990 12938 0,'-13'0'15</inkml:trace>
  <inkml:trace contextRef="#ctx0" brushRef="#br0" timeOffset="70220.39">3096 11377 0,'0'-13'15,"26"13"17,-26 13-17,13-13-15,1 0 0,-1 0 16,0 13-16,0-13 0,14 0 0,-14 14 16,13-14-16,1 0 0,-1 13 0,1-13 15,-1 0-15,1 0 0,-1 13 16,1-13-16,-1 0 0,0 0 15,80-13 1,-79 13-16,-1 0 0,1-13 0,-1 13 16,1-14-16,-1 14 0,1-13 15,-14 0-15,13 0 0,1 13 0,-14-14 16,13 1-16,-12 0 0,12 0 0,-13-1 16,1 14-16,-14-13 0,13 0 15,0 0-15,-13 0 0,13-1 16,-13 1-16,0 0 0,0 0 0,-13-1 15,13 1-15,-13 0 16,0 0-16,13-1 0,-14 1 0,1 0 16,0 0-16,0 0 0,-14-1 0,14 14 15,0-13-15,-14 0 16,1 0-16,13 13 0,-14-14 0,-13 14 16,14 0-16,-1-13 0,1 13 0,-14 0 15,14 0-15,-14 0 0,14 0 0,12 0 16,-12 0-16,0 0 0,-1 0 15,-65 13 1,78-13-16,-12 0 0,13 14 16,-1-14-16,1 0 0,0 0 0,0 13 15</inkml:trace>
  <inkml:trace contextRef="#ctx0" brushRef="#br0" timeOffset="71079.41">2130 11377 0,'0'0'0,"26"-13"0,-12 0 16,-1 13-16,0-14 0,0 1 0,0 13 16,1-13-16,-1 0 0,0-1 0,0 1 15,1 0-15,-1 0 16,-13 0-16,13-1 0,0 1 16,-13 0-16,0 0 0,14-1 0,-14 1 15,0 0 1,0 0-16,0-1 0,0 1 0,-14 0 15,14 0-15,0-14 0,-13 14 0,13 0 16,-13 0-16,0-1 0,13 1 16,-14 0-16,1 0 0,0 13 0,0-13 15,-1-1-15,1 1 0,-13 13 0,26-13 16,-27 13-16,14 0 0,0 0 0,0 0 16,-14 0-16,14 0 15,0 0-15,0 13 0,-1-13 0,1 13 16,0-13-16,-14 14 0,14-1 0,0 13 15,0-13-15,-1 1 16,1 12-16,0-13 0,0 14 0,0-1 16,-1 1-16,14-14 0,-13 13 0,13-12 15,0-1-15,0 13 0,-13-12 16,13-1-16,0 0 0,13 0 0,-13 0 16,0 1-16,13-1 0,-13 0 0,14-13 15,-14 13-15,13-13 0,-13 14 16,13-14-16,0 0 0,0 0 15,1 0-15,-1 0 0,0 0 0,0 0 16,1 0-16</inkml:trace>
  <inkml:trace contextRef="#ctx0" brushRef="#br0" timeOffset="72632.5">23879 4326 0,'13'13'0,"0"-13"16,0 0-16,1 0 15,-1 0-15,0 0 0,0 13 0,0-13 16,1 0-16,-1 0 16,0 0-16,0 0 0,-13 14 0,14-14 15,-1 0-15,0-14 32</inkml:trace>
  <inkml:trace contextRef="#ctx0" brushRef="#br0" timeOffset="72912.72">23918 4260 0,'0'0'0,"-39"0"0,25 0 0,1 0 0,0 13 16,0-13-16,-1 0 0,1 13 0,0-13 15,0 13-15,0 1 0,-1-14 16,1 13-16,13 0 0,-13-13 0,0 13 16,13 1-16,0-1 0,-14 0 15,28 0-15,-14 1 16,13-14-16,0 13 0,0-13 16,14 0-16,-14 13 0,0-13 15,14 0-15,-1 0 0,1-13 0,-1 13 16</inkml:trace>
  <inkml:trace contextRef="#ctx0" brushRef="#br0" timeOffset="73179.45">24606 4075 0,'13'0'32,"-26"13"-32,13 0 15,-13-13-15,13 13 0,-13 1 0,13-1 16,-13 0-16,-1 0 0,1 0 16,0 1-16,0-1 0,-14 0 15,14 0-15,0 1 0,0-1 0,-1 0 16,1 0-16,0-13 0,13 13 0,-13 1 15</inkml:trace>
  <inkml:trace contextRef="#ctx0" brushRef="#br0" timeOffset="73417.49">24831 4167 0,'-26'13'31,"12"1"-31,1-14 0,0 13 16,-13 0-16,12 0 0,1 1 0,-13-1 15,-1 13-15,1-13 0,-1 1 0,14-1 16,-13 0-16,12 14 0,-12-27 16,-1 26-16,14-13 0,0-13 15,0 14-15,0-1 0,-1-13 16,14 13-16</inkml:trace>
  <inkml:trace contextRef="#ctx0" brushRef="#br0" timeOffset="74044.46">24659 4485 0,'0'39'31,"0"-25"-15,0-1-16,0 13 0,0-12 15,-13-1-15,13 0 0,0 0 0,-13 0 16,13 1-16,-14-1 0,14 0 16,-13-13-16,0 13 0,0 1 15,0-14-15,-1 13 0,1-13 16,0-13 0,26-1-1,0 14-15,1-13 0,-1 13 16,0-13-16,0 0 0,14 13 0,-1-14 15,-13 1-15,14 0 0,-14 13 16,0-13-16,1 0 0,-1-1 16,0 14-16,0-13 0,-13 0 0,0 0 15,13 13-15,-13-14 0,-13 1 16,13 0-16,-13 13 16,13-13-16,-13 13 0,0 0 15,-1 0 1,1 0-16</inkml:trace>
  <inkml:trace contextRef="#ctx0" brushRef="#br0" timeOffset="75075.96">24051 13388 0,'0'26'16,"0"-12"-16,0-1 0,-14 0 15,14 0-15,-26 53 16,13-39-1,13-14-15,0 0 0,0 1 0,-14-14 16,14 13-16</inkml:trace>
  <inkml:trace contextRef="#ctx0" brushRef="#br0" timeOffset="75311.45">24315 13414 0,'-13'14'16,"0"-1"0,0 0-16,-1 0 0,-12 14 15,-1-1-15,1 1 0,-1-1 0,1 1 16,0-1-16,-1 0 0,1 1 16,-1-1-16,1 1 0,-1-1 15,1-12-15,13-1 0,-1 13 0,1-13 16,0 1-16,0-1 0,13 0 15,-14 0-15</inkml:trace>
  <inkml:trace contextRef="#ctx0" brushRef="#br0" timeOffset="76009.03">24408 13785 0,'-13'-13'16,"-1"-1"-16,1 14 15,0 14-15,0-14 16,13 13-16,0 0 16,-14-13-16,14 13 0,0 0 15,0 1-15,0-1 0,0 0 0,0 0 16,0 1-16,0-1 0,0 0 0,0 0 16,0 1-16,0-1 0,0 0 15,-13 0-15,13 0 0,0 1 16,-13-14-16,13 13 0,-13 0 15,0 0 1,26-39 15,0 13-31,0-1 16,0 1-16,14 0 0,-14 0 0,0 0 16,14-1-16,-14 1 0,0-13 0,1 12 15,12 1-15,-26 0 0,13 0 16,0-1-16,-13 1 0,0 0 0,14 0 15,-14 0-15,0-1 0,0 1 16,-14 0 0,1 0-1,0 13-15,0 0 16,0 0-16</inkml:trace>
  <inkml:trace contextRef="#ctx0" brushRef="#br0" timeOffset="93552.42">16841 5649 0,'13'13'0,"0"-13"0,0 0 0,1 0 15,-1 0-15,13 0 0,1 13 0,-1-13 16,1 0-16,-1 0 0,1 0 16,-1 0-16,1 0 0,-1 0 0,0 0 15,-12 14-15,39-14 16,-40 0-16,0 0 16,0 0-16,1 0 0,-1 0 15,0 0-15,0 0 16,-13-14-16,13 14 15</inkml:trace>
  <inkml:trace contextRef="#ctx0" brushRef="#br0" timeOffset="93879.45">17185 5517 0,'26'13'31,"-13"0"-15,1 0-16,-1-13 0,13 13 16,-12 1-16,-1-1 0,13 0 0,-13 0 15,1 1-15,-1-1 0,0 0 0,0 0 16,1 1-16,-14-1 15,0 0-15,0 0 0,0 0 0,-14 1 16,14-1-16,-13 0 0,0 0 16,13 1-16,-13-1 0,-1-13 15,1 13-15,13 0 0,-13-13 0,13 14 16,13-1 0</inkml:trace>
  <inkml:trace contextRef="#ctx0" brushRef="#br0" timeOffset="94307.72">18150 5861 0,'0'-14'0,"14"14"31</inkml:trace>
  <inkml:trace contextRef="#ctx0" brushRef="#br0" timeOffset="94499.35">18375 5834 0,'14'-13'47</inkml:trace>
  <inkml:trace contextRef="#ctx0" brushRef="#br0" timeOffset="94792.42">18666 5794 0</inkml:trace>
  <inkml:trace contextRef="#ctx0" brushRef="#br0" timeOffset="96554.28">16695 6879 0,'0'0'0,"-13"0"15,53 13 1,-27-13 0,0 0-16,14 0 0,-1 14 15,1-14-15,12 0 0,-12 0 0,12 13 16,1-13-16,0 0 0,-14 0 16,14 0-16,-14 0 0,1 13 15,-1-13-15,1 0 0,-1-13 0,14 13 16,-27 0-16,0 0 0,1 0 0,-14-13 15</inkml:trace>
  <inkml:trace contextRef="#ctx0" brushRef="#br0" timeOffset="96793.6">17198 6734 0,'26'0'0,"41"26"15,-54-13-15,0 1 16,0-1-16,0 0 0,1 0 16,-1 0-16,0 1 0,-13-1 0,0 0 15,0 0-15,0 1 0,0-1 0,-13 0 16,13 0-16,-13 1 0,-1-1 16,1 0-16,13 0 0,-13 0 0,13 1 15,-13-14-15,13 13 0,0 0 16</inkml:trace>
  <inkml:trace contextRef="#ctx0" brushRef="#br0" timeOffset="97359.42">18375 7170 0,'0'-13'31,"14"13"-31</inkml:trace>
  <inkml:trace contextRef="#ctx0" brushRef="#br0" timeOffset="97680.59">18785 7197 0,'14'-14'31,"-14"1"109</inkml:trace>
  <inkml:trace contextRef="#ctx0" brushRef="#br0" timeOffset="99420.42">16880 9366 0,'-13'0'31,"53"0"-15,-27 0 0,0 0-16,14 0 0,-14 0 15,0 0-15,14 0 0,-14 0 16,13 0-16,1 0 0,-14 0 0,14 0 16,-14 0-16,13 0 0,-13 0 0,1 0 15,-1 0-15,0 0 0,0-13 16,1 13-16,-1 0 0</inkml:trace>
  <inkml:trace contextRef="#ctx0" brushRef="#br0" timeOffset="99711.83">17211 9260 0,'40'14'31,"-27"-14"-15,0 13-16,1-13 0,-1 13 15,0 0-15,0-13 0,0 14 16,1-1-16,-1 0 0,0-13 0,0 13 16,-13 0-16,14-13 0,-14 14 0,0-1 15,0 0-15,0 0 0,0 1 16,0-1-16,-14 0 15,14 0-15,-13-13 0,13 14 0,-13-1 16,13 0-16,0 0 0,0 0 16</inkml:trace>
  <inkml:trace contextRef="#ctx0" brushRef="#br0" timeOffset="100055.76">17978 9631 0</inkml:trace>
  <inkml:trace contextRef="#ctx0" brushRef="#br0" timeOffset="100312.21">18362 9644 0</inkml:trace>
  <inkml:trace contextRef="#ctx0" brushRef="#br0" timeOffset="100531.69">18613 9671 0</inkml:trace>
  <inkml:trace contextRef="#ctx0" brushRef="#br0" timeOffset="104704.37">3175 11787 0,'-13'-13'32,"39"13"-1,-13 0-15,1 0-16,-1 0 0,0 0 0,0 0 15,1 0-15,-1 0 0,0 0 16,0 0-16,1 0 0,-1-13 0,0 13 15,0 0-15,0 0 0,1 0 16,-1 0 0</inkml:trace>
  <inkml:trace contextRef="#ctx0" brushRef="#br0" timeOffset="104888.75">3254 11814 0,'0'0'0,"-13"0"31,26 13-31,1-13 16,-1 0-16,13 0 16,-12 0-16,-1 0 15,0 0-15,0 0 0,0-13 0,1 13 16,-1 0-16,0 0 0,0-14 16,1 14-16</inkml:trace>
  <inkml:trace contextRef="#ctx0" brushRef="#br0" timeOffset="110430.63">24249 8215 0,'13'14'63,"-39"-14"-32,13 0-31,-1 0 0,1 0 16,0 0-16,-14 0 0,14 0 0,-13 0 15,-1 0-15,1 0 0,-1 0 0,1 0 16,-1 0-16,1 0 0,0 0 16,-1 0-16,14 0 0,-14 0 0,14 0 15,-13 0-15,12 0 0,1 0 0,0 0 16,0 0-16,0 0 15</inkml:trace>
  <inkml:trace contextRef="#ctx0" brushRef="#br0" timeOffset="110767.08">24024 8136 0,'0'-13'0,"-26"13"16,12 0 0,1 0-16,0 0 0,0 13 0,0-13 15,-14 0-15,14 13 0,-14-13 0,14 13 16,0-13-16,-14 14 16,14-14-16,0 13 0,0 0 0,-14-13 15,14 13-15,0 1 0,0-14 0,13 13 16,-14 0-16,1-13 0,13 13 15,-13-13-15,13 13 0,0 1 0,-13-14 16,13 13-16,0 0 16,0 0-16,13 1 15,0-14-15,0 13 16,1-13-16,-1 0 0,0 13 16,0-13-16,1 0 0,-1 0 15</inkml:trace>
  <inkml:trace contextRef="#ctx0" brushRef="#br0" timeOffset="111748.99">24553 10914 0,'-66'-13'32,"53"13"-32,0 0 0,-14 13 15,14-13-15,-13 0 0,12 0 16,-12 0-16,-1 0 0,1 0 0,0 0 16,-1 0-16,1 0 0,12 0 15,-12 0-15,-1 13 0,1-13 16,0 0-16,12 0 0,-12 0 0,13 0 15,-1 0-15,-12 0 0,13 0 0,-1 14 16,1-14-16,0 0 0,0 0 16,-14 0-16,14 0 15,0 0 1</inkml:trace>
  <inkml:trace contextRef="#ctx0" brushRef="#br0" timeOffset="112145.83">24104 10808 0,'-27'0'15,"14"0"1,0 0-16,-1 13 0,-12-13 0,13 0 16,-53 27-1,52-14-15,1-13 0,0 13 16,0-13-16,-1 14 0,1-1 0,0-13 16,13 13-16,-13-13 0,13 13 0,0 1 15,0-1 1,0 0-16,0 0 0,13-13 15,-13 13-15,13-13 0,-13 14 0,13-14 16,-13 13-16,14-13 0,-1 0 16,-13 13-16,13-13 0,0 0 0,-13 13 15,14-13-15,-1 0 0,-13 14 0,13-14 16,0 0-16,-13 13 16,13-13-16,-13 13 0,14-13 0,-14 13 15</inkml:trace>
  <inkml:trace contextRef="#ctx0" brushRef="#br0" timeOffset="112904.03">24170 12197 0,'-27'0'47,"14"0"-32,0 0-15,-14 0 16,14 14-16,-13-14 0,12 0 0,-12 0 15,-1 13-15,-12-13 0,12 0 16,1 0-16,-1 13 0,-12-13 0,12 0 16,1 0-16,-1 13 0,14-13 0,-13 0 15,12 0-15,-12 0 0,13 0 16,0 0-16,-14 0 0,14 0 16,0 0-16,-1 0 0,1 0 0,0 0 15</inkml:trace>
  <inkml:trace contextRef="#ctx0" brushRef="#br0" timeOffset="113435.35">23799 12118 0,'-53'0'31,"40"0"-15,0 13-16,0-13 0,-1 0 15,1 13-15,0-13 0,-13 14 0,12-14 16,1 13-16,0-13 0,0 0 0,-1 13 15,1-13-15,0 13 0,0-13 16,-40 27 0,53-14-16,-13-13 15,-1 13-15,14 0 16,-13-13 0,13 14-1,13-1 1,1 0-1,-1 0 1,0 1 0,0-14-1,-13 13 1,13-13-16,1-13 47</inkml:trace>
  <inkml:trace contextRef="#ctx0" brushRef="#br0" timeOffset="114828.34">4233 11126 0,'53'0'16,"-40"0"-16,1 0 15,-1 0-15,0-14 0,14 14 16,-14 0-16,0 0 0,0 0 16</inkml:trace>
  <inkml:trace contextRef="#ctx0" brushRef="#br0" timeOffset="115052.34">4233 11311 0,'0'0'0,"27"0"31,-14 0-15,0 0-16,0 0 0,-13-13 0,27 13 15,-14 0-15,14 0 16,-14 0-1</inkml:trace>
  <inkml:trace contextRef="#ctx0" brushRef="#br0" timeOffset="115453.19">4061 11734 0,'67'-26'31,"-54"26"-15,0 0-16,0 0 16</inkml:trace>
  <inkml:trace contextRef="#ctx0" brushRef="#br0" timeOffset="115635.43">4075 11893 0,'-14'13'0,"54"-26"31,-27 13-15,1 0-16,-1 0 16,0 0-16,0 0 0</inkml:trace>
  <inkml:trace contextRef="#ctx0" brushRef="#br0" timeOffset="115943.18">4128 12197 0,'13'0'16,"0"0"-1,0 0-15,0 0 16</inkml:trace>
  <inkml:trace contextRef="#ctx0" brushRef="#br0" timeOffset="116151.8">4008 12515 0,'0'26'15,"14"-26"-15,-1 0 0,0 0 16,0 0-16,1 13 16,-1-13-16,0 0 0,0-13 15,1 13-15,-1 0 0</inkml:trace>
  <inkml:trace contextRef="#ctx0" brushRef="#br0" timeOffset="116475.32">4154 12713 0,'13'13'15,"0"-13"1,1 0-16,-1 14 16,0-14-1</inkml:trace>
  <inkml:trace contextRef="#ctx0" brushRef="#br0" timeOffset="123521.17">4286 10914 0,'27'0'79,"26"0"-79,13 13 15,-13 14 1,-14-14-16,14 13 15,-26 1-15,-1-14 16,-13 14-16,1-14 16,-1 0-16,13 27 15,-26-14-15,0 1 16,0-14-16,0 13 16,0 27-16,0-26 15,0 12-15,0 1 16,0-13-16,0 25 15,0-25-15,0-1 16,0-12 0,14-1-1,-1-13 1,0 0 15,13 0-31,-12 0 16,-1-27-16,13 27 15,-26-13-15,14 13 16,-14-26-16,0 65 94,0-12-94,0 13 0,0-14 15,0 27 1,0 0-16,0-13 16,13 26-16,0-27 15,0 14-15,1-26 16,-14 26-16,26 0 16,-13 13-16,14 13 15,-27-26-15,0 0 16,0 39-16,0 1 15,0-40-15,0 0 16,0 13-16,0 0 16,0 0-16,0-26 15,0 13-15,0-27 16,0 1-16,0-14 16,0 0-16,-27-13 15,1 0 1,-1 0-1,1 0-15,-1 0 16,14 0-16,-27 0 16,14 0-16,13 0 15,0 0-15,-14 0 16,14 0-16,-14-13 0,14 13 16,0 0-1</inkml:trace>
</inkml:ink>
</file>

<file path=ppt/ink/ink32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3:11:46.469"/>
    </inkml:context>
    <inkml:brush xml:id="br0">
      <inkml:brushProperty name="width" value="0.05292" units="cm"/>
      <inkml:brushProperty name="height" value="0.05292" units="cm"/>
      <inkml:brushProperty name="color" value="#0070C0"/>
    </inkml:brush>
  </inkml:definitions>
  <inkml:trace contextRef="#ctx0" brushRef="#br0">19857 4075 0,'-26'0'0,"-1"0"32,67 13-1,-27-13-15,0 0-16,0 0 0,1 13 0,-1-13 15,0 13-15,0-13 0,-13 14 16,14-14-16,-14 13 0,-14 13 15,1-13 1,0 1-16,0-1 0,-14 0 16,-12 0-16,25 1 0,1-14 15,0 13-15,0-13 0,13 13 16,-14-13-16,1 13 16,40-13-1,-14 0-15,0 0 0,0 0 16,14-13-16,-14 13 0,13 0 0,-12 0 15,-1 0-15,0 0 0,14 0 0,-14 0 16,0 0-16,0 0 0,0 0 0,-13 13 16,14-13-16,-14 13 15,13-13-15</inkml:trace>
  <inkml:trace contextRef="#ctx0" brushRef="#br0" timeOffset="557.52">19817 4815 0,'14'0'0,"-28"0"0,28 14 31,-28-1-31,1-13 0,0 13 0,0 0 16,-1 1-16,1-1 0,0-13 16,13 13-16,-13 0 15,26 0-15,-13 1 0,13-14 16,-13 13-16,27 0 0,-14 0 15,0 1-15,0-14 0,-13 13 16,14-13-16,-1 13 16,-13 0-16,-13 1 15,13-1-15,-14-13 16,14 13-16,-13-13 0,0 13 16,0 0-16,-1 1 0,1-1 0,0 13 15,-14-12-15,14-1 0,0 0 0</inkml:trace>
  <inkml:trace contextRef="#ctx0" brushRef="#br0" timeOffset="1006.97">19778 5543 0,'-53'13'32,"39"-13"-32,1 13 0,0-13 15,-13 14-15,12-1 0,-12 0 16,26 0-16,-13 1 0,-1-14 0,14 13 16,-13-13-16,13 13 0,-13 0 15,26 1 1,0-14-16,1-14 15,-1 14-15,0 0 0,0 0 0,1-13 16,-1 13-16,0-13 16,0 13-16,0-13 0,1-1 0,-1 14 15,-13-13 1,0 40 15,-13-14-31,13 0 16,0 0-16,-14 1 0,14-1 15,-13 0-15,13 0 0,0 14 16,0-14-16,0 0 0,0 0 0,0 1 16,0 12-16,0-13 0,0 14 15,0-14-15,0 13 0</inkml:trace>
  <inkml:trace contextRef="#ctx0" brushRef="#br0" timeOffset="1341.84">19632 6324 0,'-13'-27'15,"0"27"-15,-1 0 16,28 27 15,-1-14-31,-13 0 16,13 0-16,0 0 0,-13 1 15,0-1-15,14-13 16,-14 13-16,0 0 0,0 1 0,0-1 16,-14 0-16,14 0 15,-13-13-15,0 14 0,-14-1 16,14 0-16,0-13 15</inkml:trace>
  <inkml:trace contextRef="#ctx0" brushRef="#br0" timeOffset="1835.68">19539 7144 0,'-13'13'16,"0"-13"0,13 13-16,-13 0 0,13 1 15,0-1-15,-13 13 0,13-12 16,0-1-16,0 0 0,0 0 0,0 0 15,13 1-15,-13-1 0,0 0 16,13 0-16,0-26 47,-13 0-47,-13 0 16,0 26 15,0-13-31,13 13 0,-14-13 0,14 13 15,-13 1-15,13-1 0</inkml:trace>
  <inkml:trace contextRef="#ctx0" brushRef="#br0" timeOffset="2143.8">19460 7779 0,'27'-13'31,"-14"26"-15,-13 0-16,13 0 15,-13 0-15,0 1 0,0-1 16,0 0-16,0 0 0,0 1 0,0-1 16,0 13-16,-13-26 15,13 14-15,0-1 0,0 0 0,-13 0 16,13 0-16</inkml:trace>
  <inkml:trace contextRef="#ctx0" brushRef="#br0" timeOffset="2343.5">19434 7990 0,'0'-13'15,"26"0"1,-13 0-16,1 13 0,-1 0 16,0-13-16,0 13 0,0 0 15,1-14-15,-1 14 0,0 0 0,14 0 16,-27 14-16,13-14 15,0 13-15,-13 0 16</inkml:trace>
  <inkml:trace contextRef="#ctx0" brushRef="#br0" timeOffset="2794.88">19487 8414 0,'13'-13'32,"-13"-1"-32,-13 41 47,-1-14-32,14 0-15,0 0 0,-13 1 16,0-1-16,13 0 0,-13 0 15,13 1-15,-14-1 0,14 0 16,-13 0-16,13 0 0,-13 1 0,13-1 16,0 0-16,-13 0 0,13 1 15,0-1-15,13-13 32,0 0-32,0-13 15,1 13-15</inkml:trace>
  <inkml:trace contextRef="#ctx0" brushRef="#br0" timeOffset="3031.9">19606 8506 0,'0'27'31,"0"-14"-15,0 0 0,13-13-1,13-13-15,-12 13 16,-14-13-16,13 13 15,-13-13-15,13 13 0,-13-14 0,0 1 16,13 13-16,-13-13 0,0 0 16,0-1-1,-26 28-15,13-14 16,-1 13-16,1 0 16,-13 0-16</inkml:trace>
  <inkml:trace contextRef="#ctx0" brushRef="#br0" timeOffset="3182.82">19513 8890 0,'0'0'0,"13"0"0,27-13 32,-27 13-32,0 0 0,-13-13 0,14 13 15,-1 0-15,13-14 0,-12 1 16</inkml:trace>
  <inkml:trace contextRef="#ctx0" brushRef="#br0" timeOffset="4162.79">19368 3836 0,'-80'-39'15,"54"39"1,12 13-16,-25-13 0,-1 26 0,0 1 15,1 13-15,-1 13 0,0 13 0,-13 13 16,14 14-16,-1 12 0,14 1 0,-14 13 16,13 0-16,1 14 15,-1-1-15,1 14 0,0-1 0,-1 1 16,-13-1-16,1 14 0,-1-14 0,-26 41 16,13-41-16,0-13 0,0 1 15,0-14-15,0 0 0,0-13 0,14-14 16,-14-12-16,26-27 0,-12-1 0,12-12 15,1-13-15,13-1 0,-14-13 0,14 1 16,0-1-16,13-26 0,-14 13 16,14-14-16,0 1 15,0 0-15,14 0 0,-1 13 0,-13-14 16,13 14-16,27 27 0,-14-1 16,1 14-16,-14 26 0,13-13 15,-12 26-15,12 1 0,-13 12 0,1 14 16,12 0-16,-13 0 0,0 0 0,1 13 15,12-13-15,-13-1 0,14-12 16,-14-14-16,13 14 0,-12-14 0,12-12 16,-13-1-16,14 0 0,-1 0 0,-12-13 15,12 0-15,-13-27 0,0 14 0,1-27 16,-1 0-16,0 1 0,0-14 16,1 0-16,-1-14 0</inkml:trace>
  <inkml:trace contextRef="#ctx0" brushRef="#br0" timeOffset="4750.67">21087 4008 0,'40'40'0,"-27"172"31,-26-133-31,-13 14 0,-1-1 0,1 14 16,-14 0-16,13 0 0,-12 0 16,12-14-16,1 14 0,13-26 0,-1-14 15,14 13-15,0-13 0,14 0 0,-1 0 16,0-13-16,0 0 0,1 0 15,-1-13-15,0 0 0,0-1 0,14 1 16,-14 0-16,0-1 0,14 14 0,-14 0 16,0 0-16,0 0 0,1 26 0,-14 1 15,13-1-15,-13 14 0,-13 13 16,13 13-16,-14-14 0,1 15 0,0-1 16,0 0-16,-1-14 0,1 15 0,13-15 15,-13 1-15,0-13 0,-1-1 16,1-12-16,-13 12 0,13 14 15,-1-26-15,-12-14 0,13 13 0,-14-13 16,1 0-16,-1-13 0,1 13 0,-1-13 16,-12-13-16,12 13 0,-12-27 15,12 14-15</inkml:trace>
</inkml:ink>
</file>

<file path=ppt/ink/ink32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3:12:13.839"/>
    </inkml:context>
    <inkml:brush xml:id="br0">
      <inkml:brushProperty name="width" value="0.05292" units="cm"/>
      <inkml:brushProperty name="height" value="0.05292" units="cm"/>
      <inkml:brushProperty name="color" value="#0070C0"/>
    </inkml:brush>
  </inkml:definitions>
  <inkml:trace contextRef="#ctx0" brushRef="#br0">8943 1495 0,'79'-27'47,"40"-12"-32,14 12-15,118-12 16,66-41-16,94 41 15,-1-1-15,-13 13 16,-27 27-16,-13 0 16,40 0-16,-185 0 15,-54 14-15,14-1 16,-52 0 0,-15 14-16,-65-14 15,-13-13-15,-27 13 16</inkml:trace>
</inkml:ink>
</file>

<file path=ppt/ink/ink32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3:12:41.885"/>
    </inkml:context>
    <inkml:brush xml:id="br0">
      <inkml:brushProperty name="width" value="0.05292" units="cm"/>
      <inkml:brushProperty name="height" value="0.05292" units="cm"/>
      <inkml:brushProperty name="color" value="#0070C0"/>
    </inkml:brush>
  </inkml:definitions>
  <inkml:trace contextRef="#ctx0" brushRef="#br0">15981 582 0,'-13'0'0,"-14"40"16,14-27-1,13 0-15,-13 0 0,13 14 16,0-14-16,-14 0 0,14 1 0,0-1 15,0 13-15,0-12 0,0-1 0,14 0 16,-14 0-16,13 0 16,-13 1-16,13-14 0,0 13 0,1-13 15,-1 0-15,0 0 0,0 0 16,1 0-16,-1-13 0,0-1 16,0 1-16,-13 0 0,13 0 15,-13 0-15,0-14 0,0 14 0,0 0 16,0-1-16,0-12 0,0 13 0,-13-1 15,13 1-15,-13 0 0,13 0 16,-13 0-16,0 13 0,13-14 0,-14 14 16,1-13-16,0 13 15,0 0-15,-1 0 0,1 0 16,0 0-16,13 13 0,-13-13 16,13 14-16</inkml:trace>
  <inkml:trace contextRef="#ctx0" brushRef="#br0" timeOffset="814.92">16232 582 0,'0'13'47,"0"1"-47,0-1 15,0 0-15,0 0 0,0 0 16,0 1-16,0-1 16,0 0-16,13-13 0,-13 13 15,14-13-15,-14 14 16,13-14-16,0-14 16,0 14-16,1-13 15,-1 13-15,-13-13 16,13 13-16,-13-13 15,13 13 1,0 13 0,-13 0-16,14 0 15,-1 1 1,0-14-16,0 0 16,1 0-16,-1 0 15,0 0-15,0-14 0,1 1 16,-1 13-16,0-13 0,-13 0 15,13 13-15,0-14 0,-13 1 0,14 0 16,-14-13-16,13 12 0,0 1 0,-13-13 16,0 12-16,13-12 15,-13-1-15,14 14 0,-14 0 0,0 0 16,0 0-16,0-1 0,0 1 0,13 0 16,-40 39 15,27 1-31,-13-14 0,13 27 15,-13-14-15,0 1 0,13-1 0,-14 1 16,14-1-16,0 0 0,0-12 0,0 12 16,0-13-16,0 1 0,0-1 15,0 13-15,0-12 0,14-14 0,-14 13 16,0 0-16,13 0 16,-40-26 15,14 0-16,0 0-15,13-1 0,-13 14 0,0-13 16,-1 0-16,1 0 16,13-1-16,-13 14 0,13-13 15,-13 13-15,13-13 16,13 13 0,0-13-16,0 13 0,14 0 15,-14-14-15,0 14 0,14-13 16,-14 13-16,13 0 0,-12-13 15,12 13-15,1 0 0,-1-13 16,0 13-16,1 0 0,-14 0 0,14 0 16</inkml:trace>
  <inkml:trace contextRef="#ctx0" brushRef="#br0" timeOffset="1419.07">16999 516 0,'0'0'16,"0"-13"-16,-13 13 0,0 13 16,0-13-16,13 13 15,-13-13-15,-1 13 0,1 1 16,13-1-16,-13 0 0,13 0 0,0 1 16,0-1-16,0 0 15,0 0-15,13 0 16,0-13-16,1 0 15,12 0-15,-13 0 0,-13-13 16,13 13-16,1-13 0,-1 0 16,-13 0-16,0-1 15,0 1-15,0 0 0,0 0 16,-13 13-16,13-14 0,-14 14 0,1-13 16,0 13-1,0 0 1,39 13 15,-13 1-15,1-14-16,-1 13 15,0 0-15,0 0 0,1 1 0,-1 12 0,-13-13 16,13 14-16,0-14 0,-13 13 16,14 1-16,-14-14 0,0 14 0,0-14 15,0 13-15,-14 1 0,14-14 16,0 13-16,-13-12 0,13-1 0,-13 0 15,13 0-15,-13 0 0,13 1 16,-14-14-16,14 13 16,-13-40-1,26 14 1,-13 0 0,14-13-16,-14 12 0,13 1 0,0-13 15,-13 12-15,13 1 0,1 0 0,-1-13 16,0 12-16,13 1 0,-12 0 0,12 0 15,-13-1-15</inkml:trace>
  <inkml:trace contextRef="#ctx0" brushRef="#br0" timeOffset="1643.56">17727 503 0,'0'-14'15,"0"54"1,-13-27-16,13 1 0,0-1 16,0 0-16,-13 0 0,13 1 0,0 12 15,-14-13-15,14 0 0,0 1 16,-13-1-16,13 0 0,-13 0 0,13 1 16,0-1-16,-13 0 0,13 0 15</inkml:trace>
  <inkml:trace contextRef="#ctx0" brushRef="#br0" timeOffset="1985.09">17859 556 0,'-26'13'31,"26"0"-31,-13-13 16,13 13-16,0 1 0,-14-1 15,14 0-15,0 0 16,0 0-16,0 1 0,14-14 0,-14 13 16,0 0-16,13-13 0,0 13 0,0 1 15,1-14-15,-1 0 16,0 0-16,0 0 16,-13-14-16,14 14 0,-14-13 0,13 13 15,-13-13-15,0 0 0,0-1 0,13 14 16,-13-13-16,0 0 0,-13 0 15,13 0-15,0-1 16,-13 14-16,13-13 16,-14 13-16,14-13 0</inkml:trace>
  <inkml:trace contextRef="#ctx0" brushRef="#br0" timeOffset="2235.23">18018 609 0,'0'0'16,"13"13"-16,-13 0 0,14 0 0,-1 0 16,0-13-16,-13 14 15,13-14-15,1 0 0,-1 0 0,0 0 16,0 0-16,0 0 16,1 0-16,-1-14 15,0 14-15,-13-13 0,13 0 0,1 0 16,-14 0-16,0-1 0,0 1 15,0 0-15,0 0 0,-14-1 16,14 1-16,0 0 0,0 0 0,-13 13 16,0-14-16,0 14 0,-14 0 15,14 0-15,-13 0 0,12 0 16,-25 14-16,-1-1 0,0 0 0</inkml:trace>
  <inkml:trace contextRef="#ctx0" brushRef="#br0" timeOffset="2529.07">16391 992 0,'66'-13'15,"-132"26"-15,172-39 0,-67 26 0,14-14 0,0 14 16,0 0-16,13-13 0,14 13 0,-14-13 16,0 0-16,13 13 0,-26 0 15,0-13-15,0 13 0,0 0 0,-13-14 16,13 14-16,-14 0 0,-12 0 16,-14 0-16,13 0 0,-12 0 0,-1 0 15,0 0-15</inkml:trace>
  <inkml:trace contextRef="#ctx0" brushRef="#br0" timeOffset="2815.17">16364 1111 0,'0'0'0,"27"0"15,-1 0-15,1 0 0,-1 0 0,14-13 16,13 13-16,-13 0 0,65-13 16,-52 13-16,0-13 0,13 13 15,40-14-15,-53 14 0,-13 0 16,0 0-16,-1-13 0,-12 13 0,-14 0 16,13 0-16,-12 0 0,-1 0 15,13 0-15,-12 0 16,12-13-16,-13 13 15,40 0 17</inkml:trace>
  <inkml:trace contextRef="#ctx0" brushRef="#br0" timeOffset="4047.16">18150 489 0,'0'-13'32,"-13"0"-1,0 13-15,13-13-1,-13 13 1,0 0-1,-1 13-15,1-13 16,0 0-16,0 13 16,-1-13-1,14 13 1,-13-13-16,0 14 16,13-1-1,-13 0 1,13 0-16,0 1 15,0-1 1,0 0-16,0 0 16,0 1-1,0-1-15,0 0 16,13 0-16,-13 0 16,13-13-16,-13 14 15,13-14 1,1 13-16,-1-13 15,0 0 1,0 0-16,1 0 16,-1 0-16,0 0 15,0-13-15,0 13 16,-13-14 0,14 14-16,-1 0 15,-13-13-15,13 13 0,0 0 16,-13-13-16,14 13 15,-14-13 1,13 13-16,0-13 16,-13-1-1,0 1 1,0 0-16,-13 0 16,0-1-1,-1 14-15,1 0 16,0 0-16,0 0 0,-1 0 15,1 0-15,0 0 0,0 0 16</inkml:trace>
  <inkml:trace contextRef="#ctx0" brushRef="#br0" timeOffset="8403.15">18494 10200 0,'14'-14'15,"-1"28"16,-13-1-31,0 0 16,0 0-16,13 14 0,-13-14 0,-13 0 16,13 14-16,0-14 0,0 13 15,0-12-15,0 12 0,-13-13 0,13 1 16,0-1-16,0 13 0,-14-12 0,14-1 16,0 0-16,-13 0 15,13 0-15,0 1 16</inkml:trace>
  <inkml:trace contextRef="#ctx0" brushRef="#br0" timeOffset="8772.9">18732 10332 0,'-13'26'47,"0"-12"-47,13-1 0,0 0 16,0 0-16,0 1 0,0-1 0,0 0 15,13 0-15,-13 1 16,13-14-16,-13 13 0,14-13 16,-1 0-16,0 0 15,0-13-15,1 13 0,-1-14 16,0 1-16,-13 0 0,0 0 15,0-1-15,13 1 0,-13 0 0,0 0 16,-13-1-16,13 1 0,-13 0 16,13 0-16,-13 0 0,-1-1 15,1 14-15,0 0 16,0 0-16,-1 0 0,1 0 16,0 14-16,0-14 0,0 13 15</inkml:trace>
  <inkml:trace contextRef="#ctx0" brushRef="#br0" timeOffset="9087.28">18878 10306 0,'13'0'16,"-13"13"-16,0 0 16,13 0-1,-13 0-15,0 1 0,0-1 16,14-13-16,-14 13 0,0 0 0,13-13 15,0 14-15,0-1 16,1-13-16,-1 0 0,13 0 16,-12 0-16,-14-13 15,13 13-15,-13-14 0,13 1 0,0 0 16,-13 0-16,0-1 16,0 1-16,-13 0 0,13 0 0,0 0 15,-13-1-15,0 1 0,13 0 16,-14 13-16,14-13 0,-13 13 15,0 0-15,0 0 0,-1 0 16,1 0-16,0 0 0,13 13 0,-13-13 16,-1 13-16</inkml:trace>
  <inkml:trace contextRef="#ctx0" brushRef="#br0" timeOffset="9539.31">19606 10319 0,'66'-13'32,"-53"13"-32,0 0 0,14 0 0,-14 0 15,0 0-15,0 0 0,1 0 16,-1 0-16,0 0 15</inkml:trace>
  <inkml:trace contextRef="#ctx0" brushRef="#br0" timeOffset="9716.25">19566 10425 0,'-13'13'31,"26"0"-31,0-13 15,14 0 1,26 0 15,-40 0-31,0 0 0,0 0 0</inkml:trace>
  <inkml:trace contextRef="#ctx0" brushRef="#br0" timeOffset="11887.35">21101 11311 0,'26'13'15,"-13"-13"1,0 0-16,14 0 15,-14 0-15,14 0 0,-14 0 0,0-13 16,0 13-16,0 0 0,1 0 0,-1 0 16,0 0-16,14 0 15,-14 0-15,0 0 16,-13 13 0,13 0-16,-13 1 15,0-1-15,0 0 0,0 0 16,0 1-16,-13-1 15,13 0-15,0 0 0,0 0 16,0 1-16,0-1 0,0 0 0,-13 0 16,13 1-16,0-1 0,0 0 15,0 0 1,0 1-16,0-1 16,0 0-1</inkml:trace>
  <inkml:trace contextRef="#ctx0" brushRef="#br0" timeOffset="12156.1">21127 11562 0,'13'-13'31,"0"13"-31,1 0 15,-1 0-15,0 0 16,0 0-16,1-13 0,-1 13 0,13 0 16,-13 0-16,1 0 0,-1 0 0,0 0 15,0 0-15,1-13 16,-1 13-16,0 0 16,0 0-1,1 0 1</inkml:trace>
  <inkml:trace contextRef="#ctx0" brushRef="#br0" timeOffset="12670.01">21828 11351 0,'-13'0'16,"0"0"-16,-14 0 15,14 0-15,0 13 16,0-13-16,-1 13 16,1-13-16,0 13 15,0-13-15,13 14 16,0-1 0,13 0-1,0 0-15,0 0 16,1-13-16,-14 14 15,13-14-15,-13 13 0,13-13 16,-13 13-16,13-13 0,-13 13 16,0 1-16,-13-1 15,0-13-15,13 13 16,-13-13-16,-1 13 0,1-13 16,0 0-16,0 0 0,-1 14 15,1-14-15,0 0 0,0 0 16,-1-14-1</inkml:trace>
  <inkml:trace contextRef="#ctx0" brushRef="#br0" timeOffset="14079.16">21736 11377 0,'13'-13'16,"0"13"0,0 0-1,0 0 1,1 0-16,-1 0 15,0 0-15,0 0 16,1-13 0,-1 13-1,0 0 1,-53 0 46,27 0-46,0 0-16,0 13 16,-1-13-1,1 0 1,0 0 0,0 0 15,0 0 16,13 13 93,-14 0-46,14 1-78,-13-1-16,13 0 31,-13-13-31,13 13 16,-13 0-1,26-13 79,0 0-63,0 0-15,1 0-1,-14 14 1,13-14-16,-13 13 16,0 0-1,0 0 1,0 1 0,0-1-1,-13-13-15,13 13 16,-14-13-16,1 0 15,13 13-15,-13-13 0,0 0 16,-1 14-16,1-14 16</inkml:trace>
  <inkml:trace contextRef="#ctx0" brushRef="#br0" timeOffset="14643.03">21378 11562 0,'-26'14'16,"26"-1"0,0 0-1,0 0-15,-13 0 0,13 1 16,0-1 15,0 0-31</inkml:trace>
  <inkml:trace contextRef="#ctx0" brushRef="#br0" timeOffset="15051.27">21259 11549 0,'27'-13'15,"-14"13"1,0 0-16,0 0 16,1 0-16,-1 13 0,13-13 15,-12 0 1,12 0-16,-13-13 15,0 13-15</inkml:trace>
  <inkml:trace contextRef="#ctx0" brushRef="#br0" timeOffset="20577.34">21736 11364 0,'13'0'63,"0"-13"-63,13 13 15,-12 0-15,-1 0 16,0 0-16,0 0 0,1 0 0,-1 0 16,0 0-16,0 0 0,1 0 15,-1 0-15,0 0 0,0 0 16,0-14-16,1 14 16,-41 0 30,14 0-30,0 0-16,0 0 0,-1 0 16,1 0-16,0 0 0,0 0 15,-1 14-15,1-14 16,0 0 0,0 0-16,-1 0 15,1 0 16,0 13 1</inkml:trace>
  <inkml:trace contextRef="#ctx0" brushRef="#br0" timeOffset="22877.16">19645 11470 0,'-13'0'78,"40"0"63,-1 0-125,-13 0-16,0 0 15,1-14-15,-1 14 0,0 0 16,0 0-16,1 0 0,-1 0 0,0 0 15,0-13-15,1 13 0,-1 0 16,13 0 0,-13 0-1,-13 13 17,0 1-32,0-1 15,-13 0-15,13 0 0,0 1 16,-13-1-16,13 0 15,0 0-15,0 1 0,-13-1 16,13 0-16,0 0 0,0 0 16,0 1-1,0-1-15,0 0 0,-13 0 16,13 1 0</inkml:trace>
  <inkml:trace contextRef="#ctx0" brushRef="#br0" timeOffset="23106.07">19738 11655 0,'13'-13'16,"14"13"-16,-27-14 15,13 14-15,0 0 16,0 0-16,1-13 16,-1 13-16,0 0 0,13 0 15,-12 0 1,-1 0-16</inkml:trace>
  <inkml:trace contextRef="#ctx0" brushRef="#br0" timeOffset="23715.76">20108 11536 0,'0'-13'16,"-13"39"15,13-13-31,0 1 16,0-1-16,0 0 15,13 0-15,-13 0 16,0 1-16,14-14 0,-14 13 0,13-13 16,0 13-16,0-13 15,0 0-15,1 0 0,-1 0 16,0 0-16,0 0 0,1 0 16,-14-13-16,13 13 0,0-13 15,0 13-15,-13-14 16,14 1-16,-14 0 15,0 0-15,0 0 16,0-1 0,0 1-1,0 0-15,-14 13 16,14-13 0,-13 13-16,13-14 0,-13 14 15,0 0-15,-1-13 16,1 13-1,0 0-15,0-13 16,-1 13 0,1 0-1,0 0 1,0 0-16,0 0 16,-1 0-16,14 13 15,-13-13-15,0 0 16,13 13-16,-13-13 15,-1 0 1</inkml:trace>
  <inkml:trace contextRef="#ctx0" brushRef="#br0" timeOffset="25808.86">23111 11324 0,'0'-13'31,"-13"13"16,0-13-32,0 13-15,-1 0 16,1 0 0,0 0-16,0 13 15,13 0 1,0 0-1,0 1-15,0-1 16,13-13-16,-13 13 0,0 0 0,0 1 16,13-1-16,-13 0 15,0 0-15,0 0 16,0 1-16,-13-1 16,0 0-16,0-13 15,-1 13-15,1-13 0,0 0 16,0 0-1,-1 0-15,1 0 16,26-13 15,1 0-15,-1 13-16,0-13 0,0 13 16,1 0-16,-1-14 15,0 14-15,0-13 0,0 13 0,14-13 16,-14 0-16,0 13 0,1-13 15,-1 13-15,-13-14 0,13 1 0,0 0 16,-13 0 0,14 13-16,-14-14 0,0 1 15,-14 13 1,14-13-16,-13 13 16,0 0-1,0 0-15,-1 0 16,1 0-1,0 13 1</inkml:trace>
  <inkml:trace contextRef="#ctx0" brushRef="#br0" timeOffset="26203.51">23323 11351 0,'0'13'31,"0"0"-15,0 0-16,0 1 0,0-1 16,0 0-1,13-13-15,0 13 16,1-13-16,12 0 15,-13 0 1,1 0-16,-1-13 16,0 13-16,-13-13 15,0 0-15,13 13 0,-13-14 16,0 1-16,0 0 16,-13 0-16,13-1 15,-13 14-15,13-13 0,-13 13 0,-1-13 16,1 13-16,0 0 15,0 0-15,-1 0 0,1 0 16,0 0-16,-13 0 0,12 13 0,1-13 16,0 0-16,-14 13 0</inkml:trace>
  <inkml:trace contextRef="#ctx0" brushRef="#br0" timeOffset="29008.22">19936 11946 0,'-13'13'47,"0"0"-47,13 1 15,0-1-15,-13-13 16,13 13-16,0 0 0,0 1 15,0-1-15,0 0 0,0 0 16,13-13-16,-13 13 0,0 1 0,13-1 16,-13 0-16,13 0 0,1 1 15,-1-1-15,0 0 0,0 0 16,0-13-16,1 14 16,-1-14-16,-13 13 0,13-13 15,0 13-15,1-13 0,-1 13 0,13-13 16,-12 13-16,25-13 15,-26 0 1,1 0-16,-1 14 0,0-14 16,0 0-16,1 0 0,-1 0 15,0 0-15,0 0 0,1 0 0,-1-14 16,0 14-16,0 0 0,0 0 16,1 0-16,-1 0 0,0 0 0,0 0 15,1 0-15,-1 0 0,0 0 0,0 0 16,1-13-16,-1 13 15,0 0-15,0 0 16,0 0-16,1-13 0,-1 13 16,0-13-16,0 13 0,1 0 15,12-13 1,-13-1-16,1 14 0,-1-13 16,0 13-16,0-13 15,0 13-15,1 0 0,-1-13 0,0 13 16,0-14-16,1 14 0,-1 0 15,0-13-15,0 13 0,0-13 16,1 13-16,-1 0 0,0-13 16,0 13-16,1 0 0,-1-14 15,0 14-15,0 0 0,1 0 0,-1-13 16,0 13 0,0 0-16,0 0 0,1-13 15,-1 13-15,13 0 0,-12 0 0,-1 0 16,0-13-16,0 13 0,14 0 0,-14 0 15,0 0-15,0 0 0,1 0 16,-1 0-16,0 0 0,0 0 0,1 0 16,-1 0-16,0 0 0,0 13 0,0-13 15,1 0-15,-1 0 16,0 13-16,0-13 0,1 0 16,-14 13-16,13-13 0,0 0 15,0 14-15,1-14 0,-1 0 16,-13 13-16,13-13 15,0 13-15,0-13 16,1 13 0,-1-13-1,-13 14 1,13-14-16,0 0 141,1-14-126,-14 1 1,13 0-1,-13 0 1,13 13-16,-13-14 0,13 1 16,-13 0-1,14 13-15,-1-13 16,0 0-16,0-1 16,0 14-16,1-13 0,-1 13 15,13-13 1,1 0-16,-14 13 15,0 0-15,1 0 0,12-14 16,0 14-16,14-13 0,-27 13 16,1 0-16,12 0 0,-13 0 0,1 0 15,-1 0-15,26-13 16,-25 13-16,-1 0 0,0 0 0,14 0 16,-14 0-16,0 0 0,0 0 0,0 0 15,14 0-15,-14 0 0,0 0 16,14 0-16,-14 0 0,0 0 0,14 0 15,-1 0-15,-13 0 0,14 0 16,-27 13-16,13-13 16,0 0-16,14 0 15,-14 0-15,0 0 0,1 0 16,-1 0-16,0 0 0,0 0 0,0 0 16,1 13-16,-1-13 15,0 0-15,0 0 0,1 0 0,-1 0 16,0 0-16,0 0 15,14 14-15,-14-14 16,0 0 0,0 0-16,1 0 0,-1 0 15,0 0 1,0 0-16,1 0 0,-1 13 16,0-13-1,0 0-15,0 0 0,14 0 16,-14 0-1,0 0-15,1 0 16,-1 13-16,0-13 0,0 0 16,14 0-1,-14 0-15,0 0 16,0 0-16,1 13 16,-1-13-1,0 0-15,0 0 0,1 0 16,-1 0-1,0 0-15,0 0 16,1 0-16,-1 0 16,0 0-16,0 0 31,0 0-31,1-13 0,-1 13 31,0 0-31,0-13 16,1 13-1,-14-13 1,13 13-16,-13-14 16,13 14-16,-13-13 15,0 0 1,13 0-16,-13-1 16,0 1-16,14 0 15,-14 0-15,0 0 16,0-1-1,0 1-15,13 0 16,-13-14 15,13 1-15,-13 0 31,0 12 15,-13 14-30</inkml:trace>
  <inkml:trace contextRef="#ctx0" brushRef="#br0" timeOffset="33291.9">21101 11311 0,'26'0'79,"-13"0"-64,0 0-15,1 0 0,-1 0 16,0 0-16,0 0 15,1 0-15,-1 0 0,0 0 16,0 0-16,14 0 16,-14 0-16,0 0 31,0 0-31,1 13 47,-1 0-32,-26 1 1,13-1-16,0 0 16,0 0-16,0 1 15,0-1-15,0 0 0,-14 0 16,14 0-16,0 1 0,0-1 0,0 0 16,0 0-1,0 1-15,-13-14 0,13 13 0,0 0 16,0 0-16,0 1 0,0-1 15,0 0-15,-13-13 16,13 13-16,0 0 16,0 1-1,0-1 1,0 0 0,0 0 15,-13-13-16</inkml:trace>
  <inkml:trace contextRef="#ctx0" brushRef="#br0" timeOffset="33539.94">21193 11589 0,'13'-13'31,"1"13"-31,-1 0 16,0 0-16,0 0 0,0 0 15,1 0-15,-1 0 0,0 0 16,0-14-16,1 14 0,-1 0 0,0 0 15</inkml:trace>
  <inkml:trace contextRef="#ctx0" brushRef="#br0" timeOffset="34408.87">21749 11377 0,'26'-13'0,"-13"13"15,1 0 1,-1 0 0,0 0-1,-39 0 48,12 0-48,1 0 1,0 0-16,0 0 16,0 0-1,-1 0 1,1 0 0,0 0-1,0 0 16,-1 13 16</inkml:trace>
  <inkml:trace contextRef="#ctx0" brushRef="#br0" timeOffset="35343.87">19936 11655 0</inkml:trace>
  <inkml:trace contextRef="#ctx0" brushRef="#br0" timeOffset="37387.92">21881 11205 0,'0'-13'16,"0"26"-16,0-39 0,0 12 0,-13 1 16,13 0-16,0 0 0,-13-1 15,-1 1-15,1-13 0,0 13 0,0-1 16,-1 1-16,-12-13 0,0 12 15,-1 1-15,1 0 0,-1 0 0,1 0 16,-1 13-16,1-14 0,-1 14 0,1 0 16,-1 0-16,-12 0 0,-1 0 15,0 14-15,-13-1 0,14 0 16,-1 0-16,-13 14 0,13-14 0,-12 13 16,12 14-16,0-14 0,0 1 0,14 13 15,0-14-15,-1 1 0,14 12 16,-14-12-16,14 12 0,0-12 0,13 13 15,-13-14-15,13 0 0,0 1 0,0-1 16,0 1-16,13-1 0,0 14 16,0-14-16,14 1 0,-14-1 0,14 1 15,-1-1-15,14 1 0,-14-14 0,14 13 16,0-12-16,-1-1 0,1 0 16,0 0-16,12 1 0,-12-14 15,13 0-15,-13 13 0,-1-13 0,1 0 16,0 0-16,13 0 0,-14-13 15,14 13-15,-13 0 0,0-14 0,-1 14 16,-12-13-16,-1 13 0,1-13 0,-1 0 16,1-1-16,12-12 0,-12 13 15,-1-14-15,-12 1 0,12 13 16,0-14-16,1 1 0,-14-14 0,14 14 16,-14-14-16,0 13 0,0 1 0,1-14 15,-14 14-15,0-1 0,0 1 0,-14-14 16,1 14-16,0-14 0,-27-13 15,14 27-15,-14 12 0,14-12 16,-27-1-16,13 14 0,0-13 16,14 13-16,-14-1 0,0 1 0,1 0 15,-1 13-15,0-13 0,14 13 0,-1 0 16,1 0-16,0 0 0,-1 0 16,14 0-16,-14 0 0,1 13 0,13-13 15,-1 0-15,-12 13 0</inkml:trace>
  <inkml:trace contextRef="#ctx0" brushRef="#br0" timeOffset="39449.87">19989 11734 0,'0'-13'0,"13"13"16,1 0 0,-14-13-1,13 13 32</inkml:trace>
  <inkml:trace contextRef="#ctx0" brushRef="#br0" timeOffset="43635.02">17648 11734 0,'0'0'0,"26"0"15,-13 0-15,14 0 16,13 0-16,-14 0 0,27 0 15,-13 0-15,13 0 0,-1 14 16,1-14-16,0 0 0,0 0 0,0 0 16,0 13-16,-13-13 0,-14 0 0,14 0 15,-14 0-15,-12 0 0,12 0 0,-13 0 16,0 0-16,1 0 0,-1 0 0,0 0 16,0 0-1</inkml:trace>
  <inkml:trace contextRef="#ctx0" brushRef="#br0" timeOffset="43961.09">18375 11615 0,'0'0'0,"14"-13"31,-1 26-16,0-13-15,0 0 16,0 0-16,1 13 0,12-13 16,-13 0-16,1 14 0,-1-14 0,13 13 15,-12-13-15,-1 0 0,-13 13 0,13-13 16,0 13-16,0-13 0,-13 14 16,0-1-16,14 0 0,-28 0 15,1 1-15,13-1 0,-26 0 16,13 13-16,-14-12 0,1-1 15,-1 13-15,1-12 0,-1 12 0,-12-13 16,12 0-16,14 1 0,-14-1 0,1 0 16,13 0-16,-14 1 15,14-14-15</inkml:trace>
  <inkml:trace contextRef="#ctx0" brushRef="#br0" timeOffset="59100.71">7395 2619 0,'-13'27'16,"13"-14"-16,13 53 16,-13-26-16,0 13 0,13 0 15,-13 0-15,0 13 0,0-13 0,0-14 16,14 14-16,-14-13 0,0 13 15,0-13-15,0-1 0,0 1 0,0-27 16,0 14-16,0-1 0,0-13 0,0 1 16,0-1-16,0 0 0,0 0 15</inkml:trace>
  <inkml:trace contextRef="#ctx0" brushRef="#br0" timeOffset="60146.89">7276 2566 0,'40'-26'31,"-27"26"-31,13 0 0,1-13 0,-1 13 16,14 0-16,13-13 0,-13-1 0,13 14 16,13-13-16,13 0 0,-13 0 15,14 13-15,-1-14 0,-13 1 0,27 0 16,-14 13-16,0-13 0,14-1 0,0 14 16,-14-13-16,14 0 0,-1 13 15,1-13-15,-1 13 0,1-13 0,0 13 16,-1-14-16,1 1 0,-14 13 0,14 0 15,-14-13-15,14 13 0,-14 0 0,14 0 16,-14-13-16,-13 13 0,0 0 16,-13 0-16,14 0 0,-15 0 15,1 0-15,0-14 0,0 14 0,0 0 16,0 0-16,-13 0 0,-1 0 16,1 0-16,-13 0 0,12 0 0,-12 0 15,-1 0-15,1-13 0,-1 13 0,-13 0 16,1 0-16,-1 0 0,13 0 15,-13 0-15,1 0 0,-1 0 16,0 0-16,0 0 16,1 0-16,-1 0 15,0 0-15,0 0 16,1 0-16,12 0 16,-13 0-1,0 0-15,1 0 0,-1 0 16,13 0-16,-12 0 0,12 0 0,-13 0 15,14 0-15,-14 0 0,0 0 0,14 0 16,-14 0-16,0 0 0,0 0 16,1 0-16,-1 0 0,0 0 15,0 0-15,0 0 0,1 0 16,-1 0 0,0 13-1,0-13-15,-13 14 16,14-14-1,-14 13-15,0 0 16,13-13-16,-13 13 0,0 1 0,13-1 16,-13 0-16,13 0 0,-13 0 0,14 1 15,-1 12-15,0-13 0,0 1 16,14 12-16,-14 1 0,13-1 0,-12 14 16,12-14-16,-13 1 0,14-1 0,-14 1 15,0 12-15,0-12 0,1-1 16,-1 14-16,0-14 0,0 14 15,1-14-15,-1 27 0,-13-26 16,13-1-16,-13 1 0,13-1 0,-13 1 0,14-1 16,-14-13-16,13 14 15,-13-1-15,13-13 0,-13 14 0,13-14 16,-13 0-16,13 14 0,-13-14 0,0 0 16,14 1-16,-14-1 0,0 0 0,13-13 15,-13 13-15,0 0 0,0 1 16,0-1-1,-13 0-15,-1-13 0,1 0 16,-13 13-16,-14-13 0,-13 14 16,-13-1-16,-13-13 0,-1 13 0,-12 0 15,-27 0-15,-14 1 0,-12-1 0,-1 13 16,1-12-16,-1 12 0,-13 1 16,1-14-16,12 13 0,1 1 15,-14-1-15,13 14 0,1-14 0,13 14 16</inkml:trace>
  <inkml:trace contextRef="#ctx0" brushRef="#br0" timeOffset="62131.18">11099 12052 0,'40'-13'0,"-27"13"0,0-14 0,1 14 0,12 0 16,-13-13-16,14 13 0,-14-13 15,0 13-15,14-13 0,-14 13 16,0 0-16,0-14 0,1 14 16,-1 0-16,0 14 15,-13-1 1,0 0-16,13 14 15,-13-14-15,0 0 0,0 13 0,0-12 16,0-1-16,0 13 0,0-12 16,0 12-16,14-13 0,-14 14 0,0-14 15,0 0-15,0 0 0,0 1 0,0-1 16,-14 13-16,14-12 0,0-1 16,-13 0-16,13 0 15</inkml:trace>
  <inkml:trace contextRef="#ctx0" brushRef="#br0" timeOffset="62572.29">11139 12290 0,'13'0'0,"53"-27"31,-39 14-31,-1 0 0,1 13 15,-1-13-15,1 0 0,-1-1 16,1 1-16,-14 0 0,13 13 0,-13-13 16,1 13-16,-1-14 0,0 1 15,0 13-15,1 0 16,-1 0 0,0 13-1,0 1 1,1-1-16,-1-13 15,13 13-15,-13-13 16,1-13-16,-1 13 0,0 0 16,0 0-16,1-13 0,-1-1 15,-13-12 1,-13 26-16,13-13 0,-14-1 16,1 1-16,0 0 15,0 13-15,13-13 0,-14 13 16,1 0-16,0 0 0,0-13 0,0 13 15,-1 0-15,1 0 0,13 13 16,-13-13-16,0 0 0,13 13 0,-14-13 16</inkml:trace>
  <inkml:trace contextRef="#ctx0" brushRef="#br0" timeOffset="62829">12197 11774 0,'0'0'16,"14"13"-16,-14 0 16,13 14-16,-13-14 15,0 0-15,0 14 0,0-14 16,0 13-16,0-12 0,13 12 15,-13-13-15,0 1 0,0 12 0,0-13 16,0 14-16,0-14 0,-13 0 0,13 0 16,0 1-16</inkml:trace>
  <inkml:trace contextRef="#ctx0" brushRef="#br0" timeOffset="63245.97">12078 12091 0,'0'0'0,"13"-13"0,1 13 16,-1-13-16,0 13 15,0-13-15,14 0 0,-14-1 16,0 1-16,14 13 0,-14-13 0,0 0 16,0-1-16,1 14 0,-1-13 0,0 0 15,0 13-15,-13-13 16,14 13-16,-14-14 0,13 28 31,0-1-31,-13 0 16,13-13-16,-13 13 0,13 1 15,1-14-15,-14 13 0,13-13 16,0 0-16,-13 13 0,13-13 0,1 0 16,-1 0-16,0 0 15,0 0-15,1-13 0,-14 0 16,0-1-1,0 1 1,-14 0-16,1 0 0,0 13 16,13-14-16,-13 14 0,-1 0 15,1 0-15,0 0 16,0 0 0</inkml:trace>
  <inkml:trace contextRef="#ctx0" brushRef="#br0" timeOffset="64060.67">13348 11615 0,'0'0'16,"13"27"0,-13-14-16,14 0 15,-14 0-15,13 14 0,-13-14 0,13 14 16,0-14-16,-13 13 0,0-13 15,0 1-15,0-1 0,0 0 0,0 0 16,0 1-16,0-1 0,-13 13 16,0-26-16,13 13 0,-13-13 0,13 14 15,13-41 17,-13 14-32,13 0 15,0-14-15,1 14 0,-1 0 16,0 0-16,0-14 0,1 14 0,-1 0 15,-13 0-15,13-1 0,-13 1 0,13 0 16,-13 0-16,0-1 0,0 1 0,0 0 16,0 0-16,0-1 15,-13 1-15,0 0 16,0 13 15,39 13 0,-13 0-31,0-13 16,1 0 0,-1 0-16,0 14 15,-13-1 1,13 0-16,1 0 16,-14 1-16,0-1 0,13 0 0,0 0 15,-13 1-15,13-1 0,0 0 0,1 0 16,-1-13-16,0 13 0,0-13 15,1 0-15,-1 0 0,0 0 0,0 0 16,1-13-16,-1 13 0,0-13 0,0 13 16,0-13-16,-13 0 0,0-1 15,14 1-15,-14 0 0,0 0 16,-14-1-16,14 1 0,0 0 0,-13 0 16,0-1-16,13 1 0,-13 13 0,0-13 15,-1 13-15,1 0 0,0-13 16,0 13-16,-1 0 0,1 0 0,13 13 15,-13-13-15,0 0 0</inkml:trace>
  <inkml:trace contextRef="#ctx0" brushRef="#br0" timeOffset="64192.1">13930 11668 0</inkml:trace>
  <inkml:trace contextRef="#ctx0" brushRef="#br0" timeOffset="66803.64">17317 2566 0,'13'27'16,"0"118"0,-13-105-16,0 13 15,0 13-15,0-13 0,14 0 0,-14 0 16,0 0-16,0 0 0,0-14 0,0 14 16,0 27-16,0-41 15,-14-12-15,14-14 0,0 14 0,0-14 16,0 13-16,0-13 0,0 1 0,0-1 15</inkml:trace>
  <inkml:trace contextRef="#ctx0" brushRef="#br0" timeOffset="67500.3">17264 2421 0,'0'-13'0,"0"26"0,13-26 0,1 13 0,-1-14 16,13 14-16,1 0 0,26 0 16,13 0-16,13 0 0,14 0 15,-1 0-15,1 0 0,13 0 0,26 0 16,-13 0-16,13 0 0,1 0 0,-1 0 15,0 0-15,-13-13 0,-26 13 0,13 0 16,0 0-16,-14 0 16,1 0-16,-14 0 0,1 0 0,-28 0 0,1 0 15,0 0-15,-13 0 0,-14-13 16,1 13-16,-1 0 0,-12 0 16,12 0-16,-13 0 0,1 0 0,-1 0 15,0 0-15,0 0 16,0 0-16,1 0 15,-1 13-15,0 0 16,-13 1 0,13-1-16,-13 0 15,0 0-15,14 1 0,-14-1 0,13 0 16,0 0-16,-13 1 0,13 12 0,-13-13 16,13 14-16,-13-14 0,14 13 0,-14 1 15,0-1-15,13 14 16,-13 0-16,0-14 0,-13 14 0,13 0 15,0-1-15,0 14 0,0-13 0,0-14 16,0 1-16,0 12 0,13-12 16,-13 13-16,0-14 0,13 0 0,-13 1 15,0-1-15,13-12 0,-13 12 0,0 1 16,14-14-16,-14 0 0,0 0 16,0 0-16,13 1 0,-13-1 15,0 0-15,0 0 16,-13 1-1,-1-14-15,-12 0 16,-1 0-16,-25 0 0,-15 13 16,-78-13-16,52 13 0,-13-13 15,-26 13-15,0 0 0,-14 14 16,-158 13-16,159-14 0,-173 40 16</inkml:trace>
  <inkml:trace contextRef="#ctx0" brushRef="#br0" timeOffset="69239.78">18627 1680 0,'-14'0'0,"28"-13"31,-1 13-31,0-13 0,0 13 16,1 0-16,-1 0 0,13-14 0,-13 14 15,1 0-15,-1 0 0,0 0 16,0 0-16,1 0 16,-1 0-16,-13 14 0,13-1 0,-13 0 15,13 14-15,-13-14 0,0 0 16,0 13-16,0-12 0,14-1 15,-14 13-15,0-12 0,0 12 0,-14 14 16,14-27-16,0 0 0,0 0 16,0 1-16,0 12 0,0-13 15,0 1-15,0-1 0,0 0 16,-13 0-16</inkml:trace>
  <inkml:trace contextRef="#ctx0" brushRef="#br0" timeOffset="69439.66">18693 2011 0,'0'0'0,"0"-13"0,13 13 16,-13-14-16,13 14 0,0-13 16,1 13-16,-1 0 0,0-13 15,0 13-15,1-13 0,-1 13 0,13 0 0,-12-14 16,-1 14-16,13 0 0,-13-13 0,1 13 15,-1 0-15,13 0 0,-12-13 16,-1 13-16,0 0 0</inkml:trace>
  <inkml:trace contextRef="#ctx0" brushRef="#br0" timeOffset="69780.8">19407 1693 0,'0'0'0,"-39"-26"31,12 26-31,14 0 16,13 13-16,-13-13 0,-1 0 0,14 13 16,-13-13-16,13 14 0,0-1 15,13 0-15,1 0 16,-1 0-16,0 1 0,0-1 0,1-13 15,-1 13-15,0 0 0,0-13 16,0 14-16,1-1 0,-1-13 0,0 13 16,0-13-16,-13 13 0,0 1 15,-13-14-15,0 13 16,0 0-16,-27 0 0,14 0 0,-14 1 16,13-1-16,-12 0 0,12 0 0,1 1 15,-1-14-15,1 0 0,13 0 0,-14 0 16,14 0-16</inkml:trace>
  <inkml:trace contextRef="#ctx0" brushRef="#br0" timeOffset="70864.98">7752 1905 0,'0'0'0,"27"-13"46,-14 13-46,13-13 16,-12 13-16,12-14 0,1 1 0,-14 13 16,13-13-16,-12 13 0,-1-13 0,0 13 15,0 0-15,0 0 0,1 0 16,-1 0-16,-13 13 16,13-13-16,-13 13 0,0 0 0,0 1 15,0-1-15,13 0 0,-13 0 0,0 0 16,0 27-1,0-27-15,0 1 0,0-1 0,0 0 16,0 0-16,0 27 0,0-27 16,0 0-16,0 1 15,0-1-15,0 0 0,0 0 16</inkml:trace>
  <inkml:trace contextRef="#ctx0" brushRef="#br0" timeOffset="71338.28">7885 2117 0,'0'0'0,"-14"0"0,41-14 31,-14 14-31,0 0 0,1-13 0,-1 13 16,13-13-16,1 0 0,-1 0 15,-13-1-15,27 1 0,-27 0 0,14 13 16,-1-13-16,-13-1 0,1 14 0,-1-13 16,0 13-16,-13-13 0,13 13 15,-13-13-15,14 13 16,-14-14-16,13 28 31,-13-1-15,0 0-16,0 0 0,13-13 15,-13 14-15,13-14 0,-13 13 16,13-13-16,1 13 0,-1-13 0,0 13 16,0-13-16,14 0 15,-27-13-15,13 13 16,-13-13 0,-13 0-16,13-1 15,-13 14-15,-1-13 0,14 0 0,-13 13 16,0-13-16,0 13 15,-1-14 1,1 14-16</inkml:trace>
  <inkml:trace contextRef="#ctx0" brushRef="#br0" timeOffset="71547.86">8890 1588 0,'13'13'16,"-13"0"-1,13 0-15,-13 0 0,0 1 0,0-1 0,14 27 16,-14-14-16,0 0 16,13-12-16,-13-1 0,0 13 15,13-12-15,-13-1 0,0 13 0,0-12 16,13-1-16,-13 0 0,0 0 15,0 0-15</inkml:trace>
  <inkml:trace contextRef="#ctx0" brushRef="#br0" timeOffset="71948.25">8824 1879 0,'0'0'0,"13"-27"31,0 14-31,1 13 0,-1-13 16,13-1-16,-13 1 0,14 0 0,-14 0 16,14 13-16,-14-14 0,0 14 15,0-13-15,1 13 0,-14-13 0,13 13 16,0-13-16,0 13 16,0 0-1,1 13 1,-1 0-16,0-13 15,0 0 1,-13 13-16,14-13 0,-1 0 0,0 0 16,0 0-16,1 0 0,-1 0 0,-13-13 15,13 13-15,0 0 0,-13-13 16,13 13-16,-13-13 16,0 0-16,-13-1 15,0 1-15,0 13 16,0 0-16,-1 0 15,-12 0-15,13 0 16,-1 0-16,1 13 0,0-13 0,0 14 16</inkml:trace>
  <inkml:trace contextRef="#ctx0" brushRef="#br0" timeOffset="72689.73">9816 1521 0,'-13'0'16,"26"27"0,-13-14-16,0 0 0,13 1 15,0-1-15,-13 13 0,14 1 0,-14-14 16,0 0-16,13 14 0,-13-14 0,-13 13 16,13-13-16,0 1 15,0-1-15,-14 0 0,1-13 16,13 13-16,-13-13 0,13-13 15,0-13 1,0 12-16,13 1 16,0 0-16,14-27 0,-14 27 15,0 0-15,1-27 0,-1 27 16,0 0-16,-13-14 0,13 27 16,-13-13-16,0 0 0,0 0 0,0-1 15,0 1-15,-13 0 16,13 0-16,-13 13 0,-14 0 15,14 0 1,0 0-16,39 13 31,-12-13-31,-1 0 16,0 0-16,0 13 0,1-13 16,-1 0-16,0 13 0,0-13 15,0 14-15,1-1 0,-1-13 16,-13 13-16,13-13 0,0 13 15,1 1-15,-1-1 0,0-13 16,0 0-16,14 13 0,-14-13 0,0 0 16,0-13-16,1 13 0,-1 0 0,0 0 15,0-13-15,1 13 0,-14-14 16,13 14-16,-13-13 0,0 0 16,0 0-16,0-1 0,0 1 15,-13 0-15,13 0 0,-27-1 16,14 1-16,0 13 0,13-13 15,-27 13-15,14 0 0,0 0 16,0 0-16,-1 0 0</inkml:trace>
  <inkml:trace contextRef="#ctx0" brushRef="#br0" timeOffset="72807.83">10292 1508 0,'-26'0'16</inkml:trace>
  <inkml:trace contextRef="#ctx0" brushRef="#br0" timeOffset="75052.89">1720 3254 0,'26'-13'0,"-13"13"16,14 0-16,26 0 16,0-13-16,13 13 0,0-13 0,0 13 15,14-14-15,-14 14 0,13 0 0,0-13 16,1 13-16,-14-13 0,-13 13 0,13 0 16,-13 0-16,0 0 0,0 0 15,-13-13-15,-1 13 0,-12 0 0,-1 0 16,-13 0-16,1 0 0,-1 0 0,0 0 15,0 0-15</inkml:trace>
  <inkml:trace contextRef="#ctx0" brushRef="#br0" timeOffset="75323.28">1918 3440 0,'40'13'15,"-14"-13"-15,14 0 0,13-13 16,13 13-16,13-14 0,1 14 16,-1-13-16,1 0 0,92-14 15,-93 14-15,14 13 0,52-26 16,-66 13-16,-12 13 0,12-14 16,-26 14-16,-13-13 0,13 13 0,-14 0 15,-12 0-15,-1 0 0,-13-13 0,1 13 16,-1 0-16,0 0 0,0 0 0,0 0 15,1 0 1</inkml:trace>
  <inkml:trace contextRef="#ctx0" brushRef="#br0" timeOffset="89134.86">22423 4419 0,'0'-14'0,"0"28"0,14-1 46,-14 0-46,0 0 0,0 14 0,-14-1 16,1 1-16,0 12 0,0 1 16,0-14-16,-1 1 0,1 13 0,0-14 15,13 0-15,-13 1 0,-1 13 16,1-27-16,13 0 0,0 0 16,0 1-16,0-1 15</inkml:trace>
  <inkml:trace contextRef="#ctx0" brushRef="#br0" timeOffset="89475.7">22516 4604 0,'-13'26'31,"0"-26"-31,13 13 0,0 1 16,0-1-16,0 0 0,0 0 0,0 1 15,13-1-15,0 0 0,-13 0 0,26 0 16,-12 1-16,-1-14 0,13 0 16,-12 13-16,12-13 0,1 0 0,-1-13 15,-13 13-15,0 0 0,14-14 0,-14 1 16,0 0-16,-13 0 16,14 0-16,-14-1 0,0 1 0,0-13 15,-14 12-15,1 1 0,13 0 0,-13 0 16,0 13-16,-14-13 0,14 13 15,-13 0-15,12 0 0,-12-14 16,-1 28-16,14-14 0,-13 0 0,12 0 16,1 13-16,0-13 15,39 13 1</inkml:trace>
  <inkml:trace contextRef="#ctx0" brushRef="#br0" timeOffset="89765.93">22754 4604 0,'13'0'31,"-13"13"-31,14 0 0,-14 0 16,0 1-16,13-14 15,-13 13-15,13 0 0,0 0 0,1 1 16,-1-14-16,13 13 0,1 0 16,-14-13-16,13 0 0,1 0 0,-1 0 15,-12 0-15,-1 0 0,13-13 0,-13 13 16,1-13-16,-1-1 15,-13 1-15,0 0 0,0 0 0,0-14 16,-13 14-16,-1 0 0,1 0 16,0-1-16,-27 1 15,27 13-15,0 0 16,0 0-16,-1 0 0,1 0 0,0 13 16,0 1-16</inkml:trace>
  <inkml:trace contextRef="#ctx0" brushRef="#br0" timeOffset="90422.68">23588 4485 0,'-27'39'0,"1"-12"0,-1-1 15,1 1-15,-1 12 0,-12 1 0,12 0 16,-13-1-16,14-12 0,0-1 0,-1 1 16,1-1-16,-40 40 15,39-39-15,14-14 0,0 0 16,-1 1-16,14-1 0,-13 0 15</inkml:trace>
  <inkml:trace contextRef="#ctx0" brushRef="#br0" timeOffset="90645.09">23614 4710 0,'13'-14'0,"-26"28"0,26-1 31,-26-13-31,13 13 16,-13 0-16,0 0 0,13 1 15,-14 12-15,1-13 0,0 1 0,0-1 0,-1 0 16,14 0-16,-13 1 0,13-1 16,-13 0-16,13 0 15,0 0-15,13-13 16</inkml:trace>
  <inkml:trace contextRef="#ctx0" brushRef="#br0" timeOffset="91140.64">23760 4723 0,'0'-13'0,"-27"39"47,27-13-47,0 0 16,0 1-16,0-1 15,27 0-15,-27 0 16,13-13-16,0 14 0,0-14 0,0 0 16,1 0-16,-1 0 0,0 0 15,0-14-15,1 14 16,-14-13-16,0 0 0,0 0 16,0-1-16,0 1 15,-14 0-15,14 0 16,-13 13-16,13-13 0,-13 13 15,53 0 17,-27 0-32,-13 13 15,13-13-15,0 0 0,1 0 16,-1 13-16,0-13 0,0 0 16,14 13-16,-14-13 0,0 0 15,27 0-15,-27 0 0,0 0 16,1 0-16,-1 0 0,0 0 0,13 0 15,-12-13-15,-1 13 16,-13-26-16,0 12 16,0 1-16,0 0 0,-13 0 0,13-1 15,-27 1-15,14 0 16,0 0-16,0 13 0,-1-13 16,-12 13-16,-1 0 0,-26 0 15,1 0-15,-1 13 0</inkml:trace>
  <inkml:trace contextRef="#ctx0" brushRef="#br0" timeOffset="92624.03">15690 4445 0,'0'0'0,"-13"0"0,-14 13 15,27 0-15,-13 1 16,13-1-16,-13 0 0,-1 0 15,14 1-15,-13 12 0,13-13 0,0 14 16,0-14-16,0 0 0,13 14 16,1-14-16,-1 0 0,0 0 15,14-13-15,-14 0 16,0 0-16,13 0 0,-12 0 0,12 0 16,-13-13-16,1 13 0,-1-13 0,0 0 15,0-1-15,1 1 0,-14 0 16,0 0-16,0 0 0,0-1 0,-14-12 15,14 13-15,-13-1 0,0-12 0,0 13 16,-1-1-16,-12 1 0,13 13 16,-1 0-16,-12-13 0,13 13 0,0 0 15,-14 13-15,14-13 0,-14 13 0,14 1 16,0-14-16,0 13 0,0 0 16,-1 0-16,14 1 0</inkml:trace>
  <inkml:trace contextRef="#ctx0" brushRef="#br0" timeOffset="92888.81">16192 4432 0,'0'0'15,"-26"39"16,0-12-31,12-1 0,-25 14 0,12 0 16,-12-1-16,-1 14 0,0-13 16,0 0-16,1-1 0,12 1 0,-12 0 15,12-1-15,1-12 0,-1-1 0,1 14 16,13-27-16,-14 14 0,14-1 0,0-13 16,-1 1-16,14-1 0,-13 0 15,0-13-15,13 13 0</inkml:trace>
  <inkml:trace contextRef="#ctx0" brushRef="#br0" timeOffset="93124.06">15968 4895 0,'-14'26'15,"14"-13"1,-26 27-16,26-27 0,-13 14 16,-1-14-16,1 14 0,0-14 15,13 0-15,-13 13 0,13-12 0,-13-1 16,13 0-16,0 0 0,-14-13 16,14 14-16</inkml:trace>
  <inkml:trace contextRef="#ctx0" brushRef="#br0" timeOffset="93428.85">16100 4961 0,'13'-13'15,"-26"26"-15,13-13 32,0 13-32,0 0 0,-13 1 0,13-1 15,0 0-15,0 0 16,13-13-16,-13 14 0,0-1 15,13-13-15,0 13 0,1-13 0,-1 0 16,0 0-16,0 0 0,14-13 16,-14 13-16,0-13 15,0-1-15,1 1 0,-14 0 16,0 0-16,0-1 0,0-12 16,-14 26-16,14-13 0,-13-1 15,0 1 1</inkml:trace>
  <inkml:trace contextRef="#ctx0" brushRef="#br0" timeOffset="93663.89">16272 4921 0,'0'0'0,"13"0"16,0 13-16,-13 1 16,14-14-16,-1 13 0,0 0 15,0 0-15,0-13 16,1 0-16,-1 0 0,0 0 15,0 0-15,1 0 0,-1-13 16,13 0-16,-12 0 16,-14-1-16,0 1 0,13 13 15,-13-13-15,0 0 0,0 0 16,0-1-16,0 1 0,-13 13 0,13-13 16,-14 0-16,1 13 15,0 0-15,-14 13 16,14 0-16,-13 14 0,-1-14 15,-12 13-15</inkml:trace>
  <inkml:trace contextRef="#ctx0" brushRef="#br0" timeOffset="94111.81">15915 5424 0,'53'-13'0,"-27"13"0,1-13 0,25-1 16,-12 1-16,13 0 0,132-53 16,-119 39-16,1 1 15,-15-1-15,15 1 0,-14-14 0,-1 14 16,1-14-16,40-53 0,-40 54 16,26-67-16,-52 40 15,12 13-15,-12-79 0,-27 65 16,0 1-16,-27 0 0,1 0 15,-14-13-15,-13 12 0,-13 1 16,-13 27-16,-14-1 0,-13 0 0,-119 1 16,106 25-16,0 14 0,-13 0 15,0 27-15,-1-1 0,-12 1 0,-120 65 16,146-39-16,-119 79 16,132-52-16,14-1 0,12 14 15,14-14-15,-40 93 0,53-26 16,53-14-16,14-79 15,12 13-15,14-13 0,0 0 16,-1-13-16,14-1 0,13 1 16,133 39-16,-133-65 15,13-1-15,40 13 0,-66-26 16,-13 0-16,13 0 0,-13 0 16</inkml:trace>
  <inkml:trace contextRef="#ctx0" brushRef="#br0" timeOffset="97537.19">18534 5120 0,'0'-14'0,"0"28"0,-13-41 15,13 14-15,0 0 0,-13 13 16,13-13-16,-14 13 0,1-14 16,-13 28-16,12-14 15,1 13-15,0 0 0,-13 13 0,-1-12 16,1 12-16,12-13 0,1 14 0,0-14 15,13 0-15,-13 1 16,13-1-16,0 0 0,-14 0 0,14 0 16,14-13-16,-14 14 0,13-14 15,13-14 1,14 1-16,-27 0 0,1 0 16,-1 0-16,0-1 0,13 1 0,-12 0 15,-14 0-15,13 13 0,0-14 0,0 28 31,-13-1-31,0 0 16,0 14-16,0-14 0,-13 13 0,13 1 16,-13-1-16,0 1 15,13-14-15,-14 13 0,14 1 0,0-14 16,-13 13-16,13-12 0,0-1 0,-13 0 16,13 0-16,0 1 0,0-1 15,13 0 1,14-13-1</inkml:trace>
  <inkml:trace contextRef="#ctx0" brushRef="#br0" timeOffset="97875">18852 5226 0,'-14'-14'0,"1"14"0,-27 53 31,27-26-15,0-14-16,13 0 0,0 0 0,-13 1 0,13-1 15,13 0-15,-13 0 16,13 1-16,0-14 0,1 13 16,-1-13-16,0 0 0,0 0 15,1-13-15,-1 13 0,-13-14 0,13 14 16,-13-13-16,13 0 15,-13 0-15,0-1 0,0 1 0,0 0 16,-13 0-16,13-1 0,0 1 0,-13 0 16,13 0-16,-13 0 0,-1 13 0,14-14 15,-13 14-15,0 0 16,0 0-16,-1 0 0,1 0 16,13 14-16</inkml:trace>
  <inkml:trace contextRef="#ctx0" brushRef="#br0" timeOffset="98100.15">19738 5040 0,'13'-13'0,"0"26"31,-13 1-31,0-1 0,0 0 16,-13 0-16,13 0 0,0 14 0,-13 13 15,0-14-15,13-13 0,0 14 16,-14-1-16,14-13 0,-13 14 16,13-14-16,0 14 0,-13-14 0,13 0 15,0 0-15,0 1 0,0-1 0</inkml:trace>
  <inkml:trace contextRef="#ctx0" brushRef="#br0" timeOffset="98533.38">19606 5345 0,'92'-53'31,"-79"39"-31,14 14 0,-1-13 0,1 0 0,-1 13 16,1-13-16,-14 13 15,13-13-15,-12 13 0,-1 0 0,0 0 16,14 0-16,-14 13 16,0 0-1,-13 0-15,13-13 16,-13 13-16,13 1 0,1-14 16,-1 13-16,0-13 0,0 0 15,1 0-15,-1 0 16,0 0-16,0 0 0,1 0 0,-1-13 0,0-1 15,0 14-15,-13-13 16,0 0-16,0 0 0,13 0 0,-13-1 16,-13 1-16,13 0 15,-13 0-15,13-1 0,-26 14 16,26-13-16,-14 13 0,1 0 0,-13 13 16,12-13-16,1 14 15,0-14-15,0 13 16</inkml:trace>
  <inkml:trace contextRef="#ctx0" brushRef="#br0" timeOffset="98764.27">20717 5093 0,'13'-13'0,"0"13"15,1 13 1,-14 0-16,0 1 15,0-1-15,0 0 0,-14 0 16,14 1-16,-13 12 0,0 1 16,13-14-16,-13 0 0,13 0 0,-14 0 15,14 1-15,-13-1 0,13 0 16,0 0-16,0 1 16,13-14-16,1 0 15</inkml:trace>
  <inkml:trace contextRef="#ctx0" brushRef="#br0" timeOffset="99349.15">20942 5159 0,'13'-13'15,"-26"26"-15,26-39 0,-39 39 47,26 0-47,-14 1 0,14-1 16,0 0-16,14-13 0,-14 13 15,13 1-15,0-14 16,0 13-16,0-13 16,1 0-16,-1 0 0,0 0 0,0-13 15,1 13-15,-1-14 16,-13 1-16,0 0 16,13 0-16,-26 13 0,13-14 0,0 1 15,0 0-15,-13 0 0,-1-1 16,1 14-16,0 0 15,0-13 1,13 26-16,26-13 31,-13 0-15,1 0-16,-1 14 0,0-14 16,0 0-16,-13 13 0,14-13 15,-1 13-15,0 0 16,0 1-1,0-1-15,1-13 0,-1 13 16,0-13-16,14 13 0,-14-13 16,0 0-16,13 0 0,-12 0 15,-1 0-15,0 0 0,0-13 16,1 13-16,-1-13 16,-13 0-16,0-1 0,13-12 15,-13 13-15,0-1 0,0 1 16,-13 0-16,13 0 0,-13 0 15,-1-1-15,-12 14 16,-1 0-16,14 0 0,-13 0 16,-14 14-16,14-1 0,-14 13 0,0-13 15,1 14-15,-1-1 0,0-12 16</inkml:trace>
  <inkml:trace contextRef="#ctx0" brushRef="#br0" timeOffset="100147.99">18587 5768 0,'79'-27'16,"-26"27"0,27-13-16,-1 13 0,0-13 15,14 0-15,-14 13 0,27-13 0,-13-1 16,-1 14-16,14-13 0,-13 0 0,-1 13 15,-12-13-15,12-1 0,-12 14 0,12-13 16,-12 13-16,-14-13 0,0 13 16,-13 0-16,0 0 0,-27 0 0,41-13 15,-54 13-15,0 0 0,13 0 16,-65 13 0,12 0-1,-26-13-15,14 13 0,-27 1 0,-14-14 16</inkml:trace>
  <inkml:trace contextRef="#ctx0" brushRef="#br0" timeOffset="100397.41">18891 5794 0,'-79'14'0,"158"-28"15,-185 41-15,93-27 0,0 13 0,26 0 16,0-13 0,40 14-16,0-14 0,13 0 15,14 0-15,-1 0 0,14 0 0,-14 0 16,14 0-16,-1-14 0,1 14 15,-14 0-15,1 0 0,-1-13 0,-26 13 16,0 0-16,13 0 0,-26-13 0,-1 13 16,-12 0-16,-1 0 0,14 0 15,-27 0-15,0-13 0,1 13 16,-41 0 15,14 0-31,-13 13 0,-1-13 0,-26 0 16</inkml:trace>
  <inkml:trace contextRef="#ctx0" brushRef="#br0" timeOffset="103320.8">11576 5530 0,'-14'0'0,"1"0"16,13 13-16,-13 0 15,0-13-15,13 13 0,-14 1 16,14-1-16,0 0 0,-13 0 0,13 1 16,0 12-16,0-13 0,0 1 15,13-1-15,-13 0 0,0 0 0,14-13 16,-14 13-16,13 1 0,0-14 15,0 13-15,1-13 0,-1 0 0,13 0 16,1-13-16,-14 13 0,0-14 16,0 14-16,1-13 0,-14 0 15,13 0-15,-13 0 0,13 13 0,-26-14 16,13-12-16,0 13 0,0-1 0,-13 1 16,-1 0-16,14 0 0,-13-1 15,0 1-15,0 13 0,-1-13 16,1 0-16,0 13 0,0 0 0,0 0 15,-1 0-15,1 0 0,0 13 16,13 0-16,-13-13 0,13 13 16,0 1-16</inkml:trace>
  <inkml:trace contextRef="#ctx0" brushRef="#br0" timeOffset="104600.35">13388 5569 0,'40'0'0,"-80"0"0,93 0 16,-53 14-16,13-14 0,0 0 0,-13 13 15,14 0-15,-14 0 16,-14 1-16,14-1 0,-13 13 16,0-12-16,-14-1 0,14 13 0,-13-13 15,12 1-15,1-1 16,0 0-16,0 0 0,0 1 0,-1-14 15,14 13-15,-13-13 0,13 13 16,13 0-16,1-13 16,12-13-16,-13 13 15,14-13-15,12 0 0,1-1 0,26-12 16,-39 13-16,-1 13 0,-13-14 16,14 1-16,-14 13 0,13-13 15,-12 13-15,-1 0 0,-13-13 16,13 13-16,0 13 15,1-13-15,-1 0 16,0 13-16,0-13 16,14 0-16,-14 0 15,0 0-15,14 0 0,-14 0 16,-13-13-16,13 13 0,-13-13 16,13 13-16,-13-13 0,0-14 15,-13 14-15,0 0 16,0-1-16,-1 14 0,14-13 0,-13 13 15,0-13-15,0 13 0,-14 0 16,14 0-16,0 0 0,-14 0 16,1 13-16,-1 0 0,-12 1 0,-41 25 15,41-25-15,-1-1 0,0 0 16</inkml:trace>
  <inkml:trace contextRef="#ctx0" brushRef="#br0" timeOffset="105629.81">11483 5993 0,'13'26'32,"0"-13"-17,-13 1-15,14-1 0,-1 0 16,-13 0-16,13-13 0,0 14 0,1-1 16,-1 0-16,0-13 0,0 13 0,0 1 15,1-14-15,-1 13 16,13-13-16,-12 13 0,-1-13 0,13 13 15,-12-13-15,12 13 0,0-13 0,1 0 16,-1 0-16,14 0 0,-14 0 16,54 0-16,-40 0 0,12 14 15,-12-28-15,0 14 0,-14 0 0,14 0 16,0 0-16,-14 14 0,14-14 0,-1 0 16,1 0-16,-13 0 15,12 0-15,14-14 0,-13 14 0,13 0 16,-13 0-16,12 0 0,41-13 0,-53 13 15,13-13-15,-14 13 16,14-13-16,0 13 0,-13-13 0,13 13 16,0-14-16,-14 1 0,14 0 0,-13 13 15,0-13-15,-1 13 0,1-14 0,-13 14 16,-1-13-16,-13 13 0,14 0 16,-1 0-16,-13 0 0,14 0 0,-14 0 15,0 0-15,14 0 0,-14 0 0,13 0 16,-12 0-16,-1 0 0,0 0 0,14 0 15,-14 0-15,0 0 0,0 0 16,0 0-16,1 0 0,-1 0 16,13 0-16,-12 0 15,-14-13-15,13 13 16,-13-13-16,0-1 16,13 1-1,-13 0-15,0 0 16,0 0-16,0-1 15,13 1 1,-13 0-16</inkml:trace>
  <inkml:trace contextRef="#ctx0" brushRef="#br0" timeOffset="106550.71">11562 5292 0,'0'-14'0,"0"28"0,0-41 0,0 1 16,14 13 0,-14-1-16,0 1 0,13 0 15,-13 0-15,13-1 0,-13 1 16,13-13-16,-13 12 0,0 1 0,13 0 16,-13 0-16,14 0 0,-14-1 0,0 1 15,13 0-15,-13 0 0,0-1 16,13 14-16,-13-13 15,13 13-15,1-13 0,-1 13 16,0 0-16,0 0 0,40 0 16,-13-13-16,13 13 0,-14 0 15,28 0-15,-14 0 0,13-14 0,13 14 16,0 0-16,1-13 0,79 0 16,-80 13-16,0 0 0,1-13 0,-14 13 15,0-13-15,0 13 0,40 0 16,-53 0-16,-13 0 0,-14 0 15,0 0-15,1 0 0,-1 0 16,14 13-16,-13-13 0,-14 13 16,0-13-16,0 13 0,0 0 0,1 1 15,-1-14-15,0 13 0,0 13 16,1-12-16,-1-1 0,-13 0 0,13 0 16,0 1-16,-13 12 0,14-13 15,-1 27-15,-13-27 16,0 0-16,13 14 0,-13-14 15,0 0-15,0 1 16</inkml:trace>
  <inkml:trace contextRef="#ctx0" brushRef="#br0" timeOffset="108528.61">18508 4802 0,'-14'-26'0,"28"52"0,-41-66 16,27 27-16,-13 0 16,0 0-16,13 0 15,0-1-15,-14 1 16,14 0-16,0 0 15,14 13-15,-14-14 16,13 14-16,-13-13 0,13 13 0,0 0 16,1 0-16,-1 0 0,0-13 15,14 13-15,-14 0 0,13 0 0,1 0 16,-1 0-16,14 0 0,13 0 0,0-13 16,66 13-16,-40 0 15,67-13-15,-67 13 0,14 0 16,-14 0-16,14-14 0,-14 14 15,14 0-15,-14 0 0,14-13 0,-14 13 16,13 0-16,-12 0 0,12-13 16,-12 13-16,-1 0 0,54 0 15,-81 0-15,1 0 0,-13 0 0,0 0 16,-1 0-16,-12 0 0,-1 0 16,1 13-16,-1-13 0,14 0 15,-27 0-15,0 0 0,1 13 0,-1-13 16,0 0-16,0 0 0,1 0 15,-1 14-15,0-14 16,-13 13 0,13 0-16,-13 0 15,0 0-15,0 1 16,0-1-16,0 0 16,0 0-16,0 1 0,0 12 15,13-13-15,-13 0 0,14 1 0,-14-1 16,13 0-16</inkml:trace>
  <inkml:trace contextRef="#ctx0" brushRef="#br0" timeOffset="114855.69">2646 9432 0,'-13'0'16,"-1"0"-16,41 14 62,-14-14-62,0 0 16,1 13-16,-1-13 0,0 0 16,0 0-16,14 13 0,-14-13 0,13 0 15,1 0-15,-1 0 0,1 0 16,-1 0-16,1 0 0,12 0 0,-12 0 16,-1-13-16,27 13 15,-13-13-15,-14 13 0,27-14 16,-26 1-16,-1 13 0,1-13 15,-1 13-15,1-13 0,-1-1 0,0 14 16,1-13-16,-1 13 0,14-26 16,-14 26-16,-12-13 0,-1-1 15,0 14-15,14-13 0,-14 13 0,13-13 16,-12 0-16,-1 13 0,0-14 16,0 1-16,0 13 15,-13-13-15,14 13 0,-1-13 0,0 0 16,0-1-1,1 14-15,-14-13 0,13 0 16,0 0-16,-13-1 16,13 14-16,-13-13 0,14 0 15,-14-14-15,13 14 16,-13 0-16,0 0 16,13 13-16,-13-27 0,0 14 15,13 13-15,-13-26 0,0 12 16,13 14-16,-13-13 0,0 0 15,0 0-15,0-1 16,0 1-16,0 0 0,0 0 0,0 0 16,0-1-16,0 1 0,0-13 15,0 12-15,0 1 16,0 0-16,0 0 0,0-1 16,-13 1-16,13 0 0,0 0 0,-13 0 15,13-1-15,-13 1 16,13 0-16,-13 0 0,13-1 15,-14 14-15,14-13 0,-13 0 16,0 0-16,0-1 16,-1 14-16,14-13 15,-13 13-15,0-13 0,0 0 16,-1 13-16,1 0 0,0-13 0,0 13 16,0-14-16,-1 14 15,1 0-15,0 0 0,-14 0 16,-12-13-16,25 13 0,1 0 15,0 0-15,0 0 0,0 0 0,-1 0 16,1 0-16,-13 0 16,12 13-16,1-13 0,0 0 0,-13 0 15,12 0-15,1 14 16,0-14-16,0 0 0,-1 0 16,-12 13-16,13-13 0,-1 0 0,-12 13 15,13-13-15,0 13 16,-14-13-16,14 13 15,0-13-15,-1 0 0,1 14 0,0-14 16,0 13-16,-1-13 0,1 0 16,-13 13-16,13 0 15,-14-13-15,27 14 16,-13-14-16,0 13 0,-1-13 16,14 13-16,-26 0 15,13 1-15,0-1 16,-1 0-16,14 0 15,-13-13-15,0 13 0,0 1 16,13-1-16,-14-13 0,14 13 0,-13 0 16,0 1-16,0 12 15,-1-26-15,14 13 0,-13 1 16,13-1-16,-13-13 0,13 13 0,-13 0 16,13 0-16,-13 1 15,13-1-15,-14 0 0,14 0 16,0 1-16,-13-1 0,13 0 0,-13 14 15,13-14-15,0 0 16,0 0-16,0 14 0,-13-14 16,13 27-16,0-14 0,-14 1 15,14 25-15,0-25 0,0-1 16,0 1-16,0-1 0,0 27 16,0-40-16,0 14 0,0-14 15,14 14-15,-14-14 0,0 13 0,13-13 16,-13 1-16,516-14 62</inkml:trace>
  <inkml:trace contextRef="#ctx0" brushRef="#br0" timeOffset="115255.63">4934 9274 0,'53'0'31,"27"-14"-31,26 1 16,-40 0-16,66 0 16,-53 0-16,-12 13 0,78-27 15,-66 27-15,1-13 0,65 0 16,-92 13-16,53 0 15,-66-14-15,-1 14 0,14 0 16,-26 0-16,-14 0 0,14 0 16,-14 0-16,0 0 0,0 0 15,-26 14 1,-13-14-16,-41 26 16,28-26-16,-27 27 0,-14-14 15</inkml:trace>
  <inkml:trace contextRef="#ctx0" brushRef="#br0" timeOffset="115792.63">4829 9472 0,'-40'0'15,"80"0"-15,-93 0 0,53 13 0,-14-13 16,41 0 0,-1 0-16,1 0 15,-1 0-15,27 0 0,0-13 16,27 13-16,65-13 0,-66 0 15,-12 13-15,91-14 16,-78 1-16,-1 13 0,0-13 0,1 13 16,-27 0-16,13 0 0,40-13 15,-67 13-15,14 0 0,-26 0 16,12 0-16,-12 0 0,-14 0 0,14 0 16,-14 0-16,13 0 0,1-14 15,-14 14-15,0 0 16,0 0-16,1 0 0,-1 0 15,0-13 32,-26 13 125</inkml:trace>
  <inkml:trace contextRef="#ctx0" brushRef="#br0" timeOffset="116321.49">6760 9829 0,'-13'-13'0,"13"0"0,0 0 16,26-14-1,-12 14 1,-1 13-16,0 0 16,13 26-1,-26-12-15,0-1 0,0 0 0,14 0 16,-14 0-16,0 14 0,0-14 16,0 14-16,0-14 0,-14 13 0,14-12 15,0-1-15,0 13 0,0-13 16,0 1-16,0-1 0,0 0 0,0 14 15,0-14-15,0 0 16,0 0-16,0 1 0,0-1 16,0 0-16</inkml:trace>
  <inkml:trace contextRef="#ctx0" brushRef="#br0" timeOffset="116486.88">6839 10438 0,'0'-13'47</inkml:trace>
  <inkml:trace contextRef="#ctx0" brushRef="#br0" timeOffset="118163.11">7104 10186 0</inkml:trace>
  <inkml:trace contextRef="#ctx0" brushRef="#br0" timeOffset="120699.43">18071 4524 0,'-53'344'0,"0"-13"16,40-212-16,0 0 0,13-13 15,0-13-15,0-1 0,0-12 0,0 12 16,13-26-16,-13 0 0,13 1 15,-13-28-15,0 1 0,0 0 0,13-27 16,-13 13-16,0-12 0</inkml:trace>
  <inkml:trace contextRef="#ctx0" brushRef="#br0" timeOffset="121600.46">18031 4445 0,'0'-79'0,"225"12"31,-145 41-31,-1 13 0,14 0 0,39-1 16,0 1-16,14-13 0,-1 12 0,27-12 15,-13 0-15,13-14 0,13 13 16,53-12-16,-66 12 0,13-12 16,54-1-16,-67 13 0,13 14 0,-13-13 15,0-1-15,0 14 0,0-13 16,-14 12-16,1 1 0,-13 13 0,-1-13 16,-12 13-16,-41-13 0,107 13 15,-94 0-15,-12 0 0,-14 0 16,1 0-16,-1 0 0,-13 0 0,-13 0 15,0 0-15,0 0 0,0 0 0,-13 0 16,-14 0-16,1 0 0,-1 0 0,0 0 16,1 0-16,-14 0 0,14 13 15,-14-13-15,0 0 0,0 0 0,1 0 16,-1 0-16,0 13 16,0-13-16,0 13 0,1 1 15,-1-14 1,-13 13-16,13-13 0,0 13 0,14 0 15,-14-13-15,0 13 0,0 1 0,14-1 16,-14 0-16,14 0 0,-14 1 16,0-1-16,14 0 0,-1 0 0,0 14 15,1-14-15,26 27 0,-27-27 16,1 13-16,26 14 0,-40-13 16,13-1-16,1 0 0,-1 1 15,-12-1-15,12 14 0,-13-14 16,14 14-16,-14-13 0,0 12 0,14 54 15,-14-53-15,-13-1 0,0 14 16,-13 13-16,-1-13 0,-12 53 16,13-40-16,-1-13 0,-12 0 15,13-13-15,0-1 0,-1 1 0,1 0 16,0-14-16,0 14 0,-1-14 16,1 1-16,13-1 0,-13-12 0,0 12 15,-1-13-15,1 14 0,0-14 0,0 0 16,-53 40-16,39-40 0,-26 14 15,0-14-15,0 13 0,-13-12 16,-92 25-16,65-25 16,-13-1-16,-145 13 0,118-12 0,-12-1 15,-14 0-15,0-13 0,-13 13 16,-13 0-16,0 1 0,-13-1 16,-67 13-16,67-12 0,-67 12 0,0 1 15,80-1-15,-66 0 0,66 1 16,-1-1-16,1 1 0,13-1 0,13 14 15,1-14-15,25 1 0,-91 26 16,144-27-16,1 1 0,13-14 0,-1 13 16,15-12-16,12-1 0,13 0 15,1-13-15,13 13 0,0-13 0</inkml:trace>
  <inkml:trace contextRef="#ctx0" brushRef="#br0" timeOffset="123567.76">3850 12078 0,'-14'-13'0,"-65"26"31,66-13-31,0 13 15,-1 1-15,1-1 0,-13 0 0,12 14 16,14-14-16,-13 13 0,0-12 0,13-1 16,0 0-16,-13 0 0,13 0 15,0 1-15,0-1 0,0 0 0,13-13 16,-13 13-16,13-13 16,14-13-16,-14 13 0,0-13 15,-13 0-15,13-1 0,1 1 16,-1 0-16,0 0 0,0 0 15,-13-1-15,14 14 0,-14-13 16,13 13-16,0 13 16,-13 1-1,0-1-15,13 0 0,-13 0 16,0 0-16,0 14 0,13-14 0,-13 14 16,0-14-16,0 13 0,0-13 15,14 14-15,-14-14 0,0 0 0,0 1 16,0-1-16,13 0 0,-13 0 15,0 1-15,0-1 0,13 0 16,0-13-16</inkml:trace>
  <inkml:trace contextRef="#ctx0" brushRef="#br0" timeOffset="123995.31">4061 12250 0,'-26'0'31,"26"13"-31,0 1 0,0-1 16,0 0-16,0 0 0,0 1 16,0-1-16,13 13 0,-13 1 15,0-14-15,13 0 0,-13 0 0,14-13 16,-14 14-16,13-14 0,0 13 15,0-13-15,1 0 16,-1 0-16,0-13 0,0-1 16,-13 1-16,13 0 0,-13 0 15,14-1-15,-14 1 0,0 0 16,0 0-16,0-14 0,0 14 0,-14 0 16,14 0-16,-13-14 0,13 14 0,-13 0 15,0 0-15,0-1 16,-1 1-16,1 13 0,0-13 0,0 13 15,-1 0-15,1 0 0,0 13 16,0-13-16,-1 13 0,-12-13 16,26 14-16,-13-1 0,0-13 0,-1 13 15,14 0-15,-13 0 0,13 1 16,0-1-16</inkml:trace>
  <inkml:trace contextRef="#ctx0" brushRef="#br0" timeOffset="124831.79">4075 12263 0,'0'0'15,"0"-13"1,13 13-16,-13-13 0,13 0 0,0 13 15,14-13-15,-14-1 0,13 1 0,-12 0 16,12 0-16,-13-1 16,14 1-16,-14 0 0,0 0 0,14 13 15,-14-14-15,0 1 0,-39 13 47,12 13-47,-12 1 0,13-1 16,-14 0-16,1 14 0,-1-14 0,1 0 15,13 14-15,0-14 0,-14 0 16,14 0-16,13 0 0,-13 1 0,-1 12 16,14-13-16,0 1 0,0-1 0,14 0 15,-1 0-15,0-13 0,0 0 16,1 13-16,-1-13 0,0 0 16,13 14-16,-12-14 0,-1 0 15,13 0-15,-12 0 0,-1 13 0,13-13 16,-13 0-16,1 0 0,-1 0 15,0 13-15,0-13 0,1 0 0,-1 13 16,0 1-16,0-14 0,-13 13 16,-13 0-16,13 14 0,-13-14 15,0 0-15,-1 13 0,-12 1 16,-1-14-16,1 14 0,0-1 0,-1-13 16,-26 27-16,27-27 15,-1 0-15,14-13 0,-27 27 16,27-27-16,-13 0 15,12 13-15,1-26 0,26 0 16,1-1 0,-1 1-16,0 0 0,14 0 15</inkml:trace>
  <inkml:trace contextRef="#ctx0" brushRef="#br0" timeOffset="125220.11">6006 11615 0,'0'0'0,"26"13"31,-26 1-31,27 12 16,-27-13-16,13 1 15,0 12-15,-13-13 0,14 14 0,-14-1 16,13-13-16,-13 14 0,0-14 0,0 27 15,0-27-15,0 13 16,0-12-16,13-1 0,-13 0 0,0 14 16,13-27-1,1 13-15</inkml:trace>
  <inkml:trace contextRef="#ctx0" brushRef="#br0" timeOffset="125580.74">6337 11695 0,'0'-14'0,"0"28"0,0-1 47,0 0-47,0 14 16,0-14-16,13 0 0,-13 0 16,13 0-16,-13 1 0,27-1 15,-14-13-15,0 0 0,0 13 16,1-26-16,-1 13 0,0 0 0,0-13 15,1 13-15,-1-14 0,0 1 16,13-13-16,-26 13 16,14-1-16,-14 1 0,0-13 0,0 12 15,0 1-15,0-13 0,-14-1 16,14 14-16,-13 0 16,0 0-16,0-1 0,-40 1 15,40 0-15,-14 13 0,-13 13 16,27-13-16,-26 13 15,25 1-15,1-14 0,0 13 0,13 0 16,-13-13-16,13 13 0,0 0 16,13-13-16</inkml:trace>
  <inkml:trace contextRef="#ctx0" brushRef="#br0" timeOffset="125921.67">6668 11509 0,'-14'14'32,"14"-1"-32,0 0 15,0 0-15,0 1 0,0 12 0,0-13 16,14 0-16,-14 1 0,13-1 16,0 0-16,-13 0 0,13-13 0,0 14 15,1-14-15,25 0 16,-25 0-16,-1-14 0,0 14 15,13-13-15,1 0 0,-14-14 16,0 14-16,-13 0 16,14-13-16,-14 12 0,0-12 0,-14-14 15,1 27-15,13-14 0,-13 14 16,0-13-16,-1 13 0,1-1 16,0 1-16,0 13 0,0-13 0,-1 13 0,-12 13 15,13-13-15,-14 13 0,-12 1 16,12 12-16,-66 27 0,-12 26 15,65-39-15</inkml:trace>
  <inkml:trace contextRef="#ctx0" brushRef="#br0" timeOffset="126979.71">4524 13018 0,'0'0'0,"14"26"16,-14-13-1,13-13-15,13 27 16,-12-14-16,-1 0 0,13 14 16,1-14-16,-1 0 0,27 13 15,-27-26-15,-12 14 0,39-1 16,-27-13-16,1 0 0,-1 0 16,0 0-16,-12 0 15,-1-13-15,13 13 0,-12-14 0,-1 14 16,0-13-16,0 0 0,1 13 15,-14-13-15,26-14 0,-26 14 0,13 0 16,0-27-16,1 14 16,-1 13-16,0-14 0,0 1 15,1 12-15,-1-12 0,0-1 0,14 14 16,39-66-16,-40 66 16,27-27-16,-13 13 0,-14 14 15,1 0-15,-1 0 0,1 0 16,25-1-16,1 1 15,-26 13-15,-1-13 0,27 13 16,-26 0-16,-1 0 16,-13 13-16,14-13 0,-14 0 0,27 13 15,-27-13-15,0 14 0,0-1 16,1-13-16,-1 0 0,0 0 16,-13 13-16,13-13 15,1 0-15,-1-13 16,-13 0-1,13-1-15,-13 1 0,13 0 0,14-27 16,-14 27-16,0-14 16,0 1-16,14 13 0,-14 0 0,0-1 15,1 1-15,12 0 0,-13 13 16,0-13-16,14 13 0,-1-14 16,-12 14-16,-1 0 0,0 0 15,14 14-15,-14-14 0,13 0 16,-13 0-16,27 0 0,-27 0 15,1-14-15,-1 14 0,0 0 16,14-13-16,-14 0 0,0 0 0,0-1 16,0-12-16,1 13 0,12 0 0,-13-40 15,1 39-15,-1-38 16,0 25-16,-13 1 16,13-1-16,-13 1 0,14-1 0,-14 14 15,0-13-15,0 12 0,0-12 0,13 13 16,-13-1-16,0 1 0,0 0 15,0 0-15,-13-1 16,-1 14 0,14 14-16,-13-1 15,0 0 1,13 0-16</inkml:trace>
  <inkml:trace contextRef="#ctx0" brushRef="#br0" timeOffset="129412.59">6853 11258 0,'0'-13'0,"0"0"0,0-1 31,0 1-31,0 0 16,-14 0-16,14-1 15,-13 1-15,0 0 16,0 0-16,13-1 0,-13 14 0,-1-13 16,1 0-16,-13 0 0,12 13 15,1-13-15,-13-1 0,-1 1 0,14 13 16,-13-13-16,-1 13 0,-26-13 0,27 13 15,-1 0-15,-12 0 0,12 0 16,-26 0-16,14 0 0,-1 13 0,0-13 16,-13 13-16,14 0 0,-1 14 0,0-14 15,0 13-15,-12 1 0,25-1 16,-13 1-16,14-1 0,0 14 16,-1-14-16,1 14 0,-1 0 0,14 0 15,-27 26-15,27-13 0,0-14 16,13 1-16,-13 0 0,13-1 15,0 1-15,13 0 0,-13-1 0,13 1 16,0-13-16,0 12 0,14 1 0,-1 0 16,1-14-16,39 53 0,-13-52 15,-13-1-15,-1 1 0,14-1 16,-13-12-16,13 12 0,-14-13 16,14 0-16,-13 1 0,13-14 0,-13 13 15,13-13-15,-14 0 0,1 0 16,0-13-16,13 13 0,-14-14 0,1 1 15,0 0-15,-1-13 0,1 12 0,0 1 16,13-13-16,-14-1 0,1 1 0,0 12 16,-1-12-16,-12 13 0,52-40 15,-52 26-15,-1 1 0,40-27 16,-39 27-16,-14-1 0,13 1 16,-12-1-16,12 1 0,-13-1 15,1 1-15,-1-1 0,0 14 0,-13-13 16,13-27-16,-13 40 15,0-14-15,0-26 0,-13 13 0,-13 1 16,12 12-16,-25-12 16,12-1-16,-13 13 0,1-12 0,-14 12 15,0 1-15,0-1 0,0 1 16,0 13-16,0-14 0,-79 1 0,66 26 16,13-13-16,-79 13 15,66 13-15,-1 0 0,1 0 0,0 14 16,0-14-16,13 13 0,0 1 0,0 13 15</inkml:trace>
  <inkml:trace contextRef="#ctx0" brushRef="#br0" timeOffset="130880.66">7289 12091 0,'27'27'31,"-14"-14"-31,-13 0 0,26 14 15,14 26-15,-27-27 16,14 14-16,-14-14 0,0 1 16,0-14-16,1 13 0,-1-12 0,0 12 15,-13-13-15,13 1 0,-13 12 0,0-13 16,14 1-16,-14-1 0,0 0 16</inkml:trace>
  <inkml:trace contextRef="#ctx0" brushRef="#br0" timeOffset="131108.94">7369 12065 0,'-27'26'16,"27"-12"-16,-13-1 15,13 13-15,-13-12 0,13 12 16,-14 1-16,1 12 0,0-12 0,13-1 16,-13 1-16,0-1 0,13 0 0,-14-12 15,1-1-15,13 13 0,0-12 16,-13-1-16</inkml:trace>
  <inkml:trace contextRef="#ctx0" brushRef="#br0" timeOffset="131340.57">7329 12078 0,'26'0'15,"-12"13"-15,-1-13 0,0 14 16,0-1-16,1 0 0,-1 0 0,13 1 16,-13-1-16,1 0 0,-1 0 15,0 1-15,0-1 0,1 0 0,-1 0 16,0 0-16,0-13 0,1 14 0,-1-1 15,0-13 1,0 0-16,0 0 31</inkml:trace>
  <inkml:trace contextRef="#ctx0" brushRef="#br0" timeOffset="133003.57">9274 10425 0,'0'0'0,"-14"0"16,1 13-16,0-13 15,0 13-15,0 0 16,13 1-16,-14 12 0,1-13 0,13 27 16,-13-14-16,13-12 0,0 25 15,0-12-15,13-14 0,-13 13 16,13-12-16,-13-1 0,14 0 15,-1 0-15,0 1 0,0-14 0,0 13 16,1-13-16,-1 0 0,13 0 16,1 0-16,-14-13 0,13-1 15,1 1-15,-1-13 0,1 12 16,-14 1-16,-13 0 0,13 0 0,-13-14 16,14 14-16,-14 0 0,0-14 15,-14 14-15,14 0 0,-13-14 0,0 14 16,0 0-16,-1-13 0,1 12 15,-27-12-15,27 13 0,-13 13 16,13-14-16,-1 14 0,-25-13 16,25 13-16,1 0 0,-13 13 15,13-13-15,-1 14 0,1-14 16,13 13-16,13 13 16</inkml:trace>
  <inkml:trace contextRef="#ctx0" brushRef="#br0" timeOffset="133851.5">11232 10173 0,'26'-13'0,"40"13"32,-53 0-32,1 13 0,-1-13 15,0 13-15,-13 1 0,13-1 16,-13 0-16,-13 0 0,13 1 15,-13 12-15,0-13 0,-1 1 16,1 12-16,0-13 0,0 0 0,-14 14 16,14-14-16,0 0 0,0 1 15,13-1-15,-14-13 0,14 13 16,-13 0 0,26-13-1,1 0-15,-1 0 0,0 0 16,0 0-16,0 0 0,14 0 0,-14-13 15,14 13-15,12-13 0,1 0 0,-14-1 16,14-12-16,-13 13 0,12-1 0,-12-12 16,-1 13-16,1-14 0,-1 14 15,-13 0-15,1 0 0,-1 13 0,-13-14 16,13 14-16,-13-13 0,0 40 62,0-14-62,13-13 16,1 13-16,-1-13 16,0 0-16,0 0 0,0 0 0,1 0 15,-1 0-15,0 0 0,0-13 0,1 13 16,-1-13-16,-13-1 0,13 14 16,-13-13-16,0 0 0,0 0 0,-13-14 15,13 14-15,-13-13 0,-1 12 16,1 1-16,0 0 0,0 0 15,-1-1-15,1 14 0,0 0 0,0-13 16,0 13-16,-1 13 0,1-13 16,-27 27-16,27-14 0,-13 0 15,12 1-15,1-1 0,0 13 16,0-13-16</inkml:trace>
  <inkml:trace contextRef="#ctx0" brushRef="#br0" timeOffset="135485.01">9803 10186 0,'0'0'0,"0"27"62,0-14-62,13 0 16,-13 1-16,0-1 16,0 0-16,0 0 0,-13-39 62,0 13-46,13-1-16,-14 1 0,14 0 15,-13 0-15,13-1 16,13 28 31,1-1-47</inkml:trace>
  <inkml:trace contextRef="#ctx0" brushRef="#br0" timeOffset="136350.68">9882 10835 0,'13'-14'16,"-26"28"46,0-1-62,0 0 16,13 0 0,0 1-1,13-1-15,-13 0 16,0 0-16,13-13 0,-13 14 16,0-1-1,0 0 1,-13 0-16,0-13 0,13 13 15,-14-13-15,14 14 16,-13-14-16,0 0 0,0 13 16,0-13-16,-1 0 15</inkml:trace>
  <inkml:trace contextRef="#ctx0" brushRef="#br0" timeOffset="137139.71">10623 9922 0,'0'26'16,"0"-12"-16,0-1 15,0 0-15,0 0 0,0 0 0,0 1 16,13-1-16,-13 0 0,0 0 0,0 1 15,13-14-15,-13 13 0,0 0 16,14 0 0,-14-39 15,-14 13-15,14-40-1,0 39-15,-13 14 0,13-13 0,0 0 16,0 0-16,0 0 15,-13 39 17,13-13-32,0 0 15,0 1 1,0-1-16,0 0 16,0 0-16,0 1 0,13-14 15,-13 13 1,-13-40 15,0 14-15,13 0-1,13 0-15,0 26 32,-13 0-32,13 0 15,-13 1-15,0-1 0</inkml:trace>
  <inkml:trace contextRef="#ctx0" brushRef="#br0" timeOffset="137474.94">10676 10597 0,'0'0'0,"13"13"47,-13 0-31,0 0-16,-13 0 0,13 1 15,0 12-15,0-13 16,0 1-16,0-1 16,-13 0-16,13 0 15,13-13 1</inkml:trace>
  <inkml:trace contextRef="#ctx0" brushRef="#br0" timeOffset="137749.72">10769 10663 0,'0'26'31,"0"-13"-15,0 1 0,13-14-16,0 0 15,0 0 1,0 0-16,-13-14 0,14 14 15,-1-13-15,-13 0 16,0 0 0,0-1-16,-13 14 0,13-13 0,-14 13 15,14-13-15,-13 13 0,0 0 16,0 0-16,-14 0 16,14 0-16,0 13 0</inkml:trace>
  <inkml:trace contextRef="#ctx0" brushRef="#br0" timeOffset="138568.63">9181 10186 0,'-40'0'16,"-39"27"0,53-1-16,-1 1 15,14-1-15,0 14 0,-14 13 0,14-13 16,0 26-16,13-27 0,0 14 0,0 53 15,13-40-15,13-13 16,-12-13-16,12 13 0,14-13 16,-14-14-16,14 14 0,0-27 0,-1 13 15,1-26-15,13 14 0,-27-14 0,14 0 16,0-14-16,-1 1 0,-12 0 0,-1 0 16,14-14-16,-14 14 0,-12-27 15,12 14-15,-13-14 0,1 0 0,-14 1 16,0-1-16,0-13 0,0 0 0,-14 0 15,-12-13-15,13 13 0,-14 0 16,-12 0-16,-1 1 0,0 12 0,0 0 16,-12 14-16,-54-27 15,66 40-15,-13-1 0,13 14 0,-12-13 16,12 13-16,-13 13 0,13-13 16,-13 14-16,14 12 0,-1-13 0,0 14 15,1-14-15,12 13 0,1 1 0,-1-1 16,1 14-16,12-14 0,1 1 0,0-1 15,13 1-15,0-1 0,0 1 16,0-14-16,0 0 0,13 14 0,-13-14 16</inkml:trace>
  <inkml:trace contextRef="#ctx0" brushRef="#br0" timeOffset="138975.13">8268 9962 0,'0'0'0,"27"0"0,-14 0 16,0 13-16,0-13 0,1 13 0,-1 13 16,13-12-16,-12 12 0,12 14 0,-13-14 15,0 1-15,14-1 0,-14 1 0,0-14 16,1 13-16,-1-12 0,0 12 15,0-13-15,0 14 0,1-14 0,-1 0 16,-13 0-16,13 1 0,0-1 16,1 0-16,-1-13 0,-13 13 0,13 1 0,0-1 15,-13 0 1,14-13-16</inkml:trace>
  <inkml:trace contextRef="#ctx0" brushRef="#br0" timeOffset="139348.98">8453 10200 0,'0'-27'0,"0"14"31,14 26-15,-1 0-16,-13 1 0,13-1 15,0 0-15,14 14 0,-14-14 16,13 13-16,-12-12 0,12 12 0,1 0 15,-14 1-15,13-14 0,-12 0 16,-1 1-16,0 12 0,0-13 0,0 1 16,1-14-16,-14 13 0,13 0 0,0 0 15,0 0-15,-13 1 16,0-1 0,-13-13-1,0 0-15,-14 0 0,14 0 16,0 0-16,-13 0 0,-1 0 0,14 0 15,-14 0-15,14-13 0,0 13 0,0 0 16,-1 0-16,1 0 0,0 0 16,0 0-16,0 0 15,-1 0-15</inkml:trace>
  <inkml:trace contextRef="#ctx0" brushRef="#br0" timeOffset="139907.5">8440 10464 0,'0'0'16,"27"14"0,-14-1-16,0 0 15,0 0-15,1 0 0,-1 1 16,13-1-16,-13-13 0,14 13 16,-14 0-16,0 1 0,1-14 0,-1 13 15,0-13-15,0 0 0,1 0 0,-1 0 16,0 0-16,0-13 0,0-1 15,1 1-15,-14 0 16,13-14-16,-13 14 0,0-13 0,0-1 16,-13 1-16,13-14 0,0 0 15,-14 1-15,1-14 0,13 0 0,-13 0 16,0 0-16,0 13 0,13 1 0,-14 12 16,14-12-16,-13 25 0,13 1 15,0 0-15,-13 0 16</inkml:trace>
  <inkml:trace contextRef="#ctx0" brushRef="#br0" timeOffset="143506.42">3651 5371 0,'27'0'16,"-14"0"-16,13 0 0,14 0 16,13-13-16,0 13 0,13-13 0,0 13 15,0-14-15,14 14 0,-1-13 16,14 13-16,-14-13 0,14 13 0,-14-13 15,0 13-15,14 0 0,0-14 16,-14 14-16,14 0 0,-14 0 0,0-13 16,-12 13-16,-1 0 0,-13 0 0,-14 0 15,1 0-15,0 0 0,-14 0 16,1 0-16,-14 0 0,13 0 16,-13 0-16,1 0 0,-1 13 15</inkml:trace>
  <inkml:trace contextRef="#ctx0" brushRef="#br0" timeOffset="144006.29">3876 5517 0,'146'-14'16,"-107"14"-16,28-13 16,-1 13-16,13-13 0,14 13 0,-14-13 15,14 13-15,-14-14 0,14 14 0,-1-13 16,1 13-16,-1-13 0,1 13 16,0 0-16,-14-13 0,0 13 0,-12 0 15,-15 0-15,15-13 0,-28 13 16,14 0-16,-13 0 0,-14 0 0,1 0 15,-1 0-15,-13 0 0,14 13 16,-14-13-16,0 0 0,1 0 16,-1 0-16,0-13 15,-39 13 17,12-14-17,1 14 1,0 0-16,0 0 15,-1 0 1,1 0 0,0 0-1,0 14 1,13-1 0,-13-13-1</inkml:trace>
  <inkml:trace contextRef="#ctx0" brushRef="#br0" timeOffset="146211.87">7567 6509 0,'0'53'0,"0"-106"0,0 132 16,0-66-16,0 14 0,0-14 0,-13 14 0,13-14 15,0 13-15,0 1 16,0-14-16,0 13 0,-13-12 0,13 12 15,0-13-15,0 14 0,0-14 0,-14 0 16,14 0-16,0 1 16,-13-1-16,13 0 0,0 0 15</inkml:trace>
  <inkml:trace contextRef="#ctx0" brushRef="#br0" timeOffset="149307.46">7448 6390 0,'0'-14'31,"13"1"-15,-13 0-16,13 13 15,-13-13-15,0 0 16,14-1-16,-14 1 16,0 0-16,0 0 15,0-1-15,0 1 16,0 0 0,13 0-16,-13-1 31,0 1-31,13 13 15,0 0-15,1-13 16,-1 13-16,0 0 0,0-13 16,1 13-16,-1 0 0,13 0 0,1-13 15,-14 13-15,27 0 0,-14-14 16,1 14-16,12 0 0,-12 0 0,26 0 16,-14-13-16,1 13 0,0 0 0,13 0 15,-14-13-15,1 13 0,0 0 16,13 0-16,-1-13 0,-12 13 0,13 0 15,0 0-15,-13-14 0,13 14 16,-1 0-16,-12 0 0,0 0 16,-14 0-16,14 0 0,-14-13 0,14 13 15,-13 0-15,-1 0 0,14 0 0,-14 0 16,14 0-16,-14 0 0,1 0 16,13 0-16,-14 0 0,14 0 0,-14 0 15,14 0-15,-14 0 0,14 0 0,-14 0 16,14 0-16,-13-13 0,12 13 15,-12 0-15,-1 0 0,1 0 0,12 0 16,-12 0-16,-1 0 0,14 0 0,-14 0 16,1 0-16,13 0 0,-14 0 15,14-13-15,-14 13 0,1 0 0,12 0 16,-12 0-16,12 0 0,-12 0 16,-1 0-16,1 0 0,-1 0 15,1 0-15,-1 0 0,14 0 0,-14 0 16,-12 0-16,25 0 0,-26 0 0,14 0 15,-1 0-15,1 0 0,-1 0 16,1 0-16,-1 0 0,1 0 0,12 0 16,-12 0-16,-1 0 0,1 0 0,-1 0 15,1 0-15,-1 0 0,1 0 16,-1 0-16,0 0 0,27 0 16,-26 0-16,-1 0 0,1 0 0,-14 0 15,13 0-15,1 0 0,-1 13 16,1-13-16,-1 0 0,-12 0 15,12 0-15,0 0 0,1 0 0,-1 0 16,1 0-16,-1 0 0,-13 0 0,14 13 16,-1-13-16,1 0 0,-14 0 15,14 0-15,-1 0 0,-13 0 0,14 13 16,-1-13-16,1 0 0,-14 0 0,13 0 16,1 0-16,-1 0 0,-13 14 15,14-14-15,-1 0 0,1 0 0,-14 0 16,14 0-16,-1 0 0,0 0 0,-12 0 15,12 0-15,1 0 0,-1 13 16,-13-13-16,14 0 0,-1 0 16,-13 0-16,14 0 0,-1 0 0,1 0 15,-14 13-15,13-13 0,1 0 16,-1 0-16,1 0 0,-1 0 0,1 0 16,-14 0-16,13 0 0,1 0 0,-1 13 15,1-13-15,-1 0 0,-12 0 16,12 0-16,0 0 0,1 0 0,-1 0 15,1 0-15,-1 14 0,1-14 0,-1 0 16,14 0-16,-14 0 0,1 0 16,-1 0-16,1 0 0,-1 0 0,1 0 15,12 0-15,-12 0 0,-1 0 16,1 13-16,-14-13 0,13 0 0,1 0 16,-1 0-16,14 0 15,-14 0-15,-12 0 0,12 0 0,-13 0 16,1 0-16,12 0 0,-13 0 0,1 0 15,-1 0-15,0 0 0,13 0 16,-12 0-16,-1 0 0,0 0 0,0 0 16,1 0-16,-1 0 0,0 0 15,0 0-15,14 0 16,-14 0-16,13 0 16,-26-13-16,14 13 15,-1 0 1,0 0-16,0 0 15,1 0 1,-1 0 15,0 0-31,0 0 16,-13 13 0,0 0-1,13-13-15,-13 13 16,0 0-16,0 1 0,0-1 15,0 0-15,14 0 16,-14 1-16,0-1 0,0 13 0,0-12 16,13-1-16,-13 13 0,0-13 0,0 1 15,13 12-15,-13-13 0,0 1 16,0 12-16,13-13 0,-13 1 0,0 12 16,0-13-16,0 0 0,14 1 0,-14-1 15,0 0-15,0 0 0,0 40 16,0-39-1,13-1-15,-13 0 0,0 0 0,-13 14 16,13-14-16,0 0 16,0 0-16,0 1 15,0-1-15,0 0 16,0 0 0,0 0-16,0 1 15,0-1 1,-14-13 46,-12 0-46,13 0 0,-1 0-16,1 0 0,0 0 15,-13 13-15,12-13 0,-12 0 16,-1 0-16,-12 0 0,12 0 0,-12 0 15,-1 13-15,-13-13 0,13 0 0,-13 0 16,0 0-16,1 0 0,-1 0 16,13 0-16,-13 0 0,13 14 0,14-14 15,-14 0-15,14 0 0,-14 0 0,14 0 16,-14 0-16,13 0 0,-12 13 16,12-13-16,-12 0 0,12 0 0,-13 0 15,-12 0-15,12 0 0,0 0 0,0 0 16,1 13-16,-14-13 0,0 0 15,0 0-15,13 0 0,-13 0 0,1 0 16,12 13-16,-13-13 0,13 0 16,1 0-16,-14 14 0,13-14 0,-13 0 15,13 0-15,-13 0 16,14 13-16,12-13 0,-12 0 0,12 0 0,-13 0 16,14 0-16,-14 0 0,1 0 0,-1 0 15,-13 0-15,13 0 0,1 0 16,-1 0-16,0 0 0,-13 13 0,14-13 15,12 0-15,-13 0 0,14 0 0,-14 0 16,14 0-16,-14 0 0,-13 0 16,27 0-16,-1 0 0,1 0 15,-1 0-15,1 0 0,-14 0 0,14-13 16,-14 13-16,14 0 0,-27 0 16,13 0-16,-13 0 0,0 0 15,14 0-15,-1 0 0,0 0 0,14 0 16,-14 0-16,0-13 0,14 13 0,-14 0 15,14 0-15,-14 0 0,14 0 16,-14 0-16,13 0 0,-12 0 0,12 13 16,-12-13-16,12 0 0,-13 0 0,1 0 15,12 0-15,-12 0 16,12 0-16,-12 0 0,12 0 0,-13 0 16,14 0-16,-14 0 0,1 0 0,12 0 15,-13 13-15,14-13 0,-53 0 16,39-13-16,0 13 0,0 0 15,1 0-15,12 0 0,-12 0 0,12 0 16,-13 0-16,14 0 0,-14 0 16,14 0-16,-1 0 0,1 0 0,0 0 15,-1 0-15,1 0 0,-1 0 0,14 0 16,-14 0-16,1 0 0,0 0 16,12 0-16,-12 0 0,13 0 0,-14 0 15,14 0-15,-14 0 0,14 0 0,-13 0 16,13 0-16,-1 13 0,1-13 15,-13 0-15,12 0 0,1 0 0,0 13 16,0-13-16,0 0 0,-1 0 0,1 0 16,0 0-16,0 13 15,-1-13-15,-12 0 16,13 0 0,-1 0-16,1 0 0,0 14 15,0-14 1,0 0-16,-1 0 15,1 0 1,0 0-16,0 0 16,-1 0-16,1 0 15,0 0-15,0 0 0,-1 0 16,1 0-16,0 0 16,-13 0-16,12 0 15,1 0-15,0 0 0,0 0 0,-1 0 16,-12 0-16,13 0 0,-1 0 0,1 0 15,0 0-15,-13 0 0,12 0 16,1 0-16,0 0 0,0 0 0,-1 0 16,1 0-16,0 0 0,0 0 15,-1 0-15,1 0 16,0 0-16,0 0 0,0 0 16,-1 0-16,1 0 31,0 0-31,0 0 47,-1 0 0,14 13-32,-13 0 16</inkml:trace>
  <inkml:trace contextRef="#ctx0" brushRef="#br0" timeOffset="152674.79">18997 6390 0,'0'92'0,"-26"67"15,26-119-15,-14-1 16,14 1-16,-13 0 0,13-14 0,0 14 16,0-27-16,0 14 0,-13-14 15,13 13-15,0-12 0,0-1 16,0 0-16,0 0 0,-13 0 0,13 1 15</inkml:trace>
  <inkml:trace contextRef="#ctx0" brushRef="#br0" timeOffset="153823.51">18971 6218 0,'-14'-14'31,"14"1"-31,14 13 16,-1 0-1,0 0-15,0 0 16,14 0-16,-1 0 0,-13 0 16,27 0-16,-13 0 0,12 0 0,14 0 15,0 0-15,0 0 0,0 0 16,0 0-16,0 0 0,13 0 0,-13 0 15,13 0-15,-13 0 0,0 0 0,0 0 16,0 0-16,13-13 0,-13 13 16,0 0-16,0 0 0,-1-13 0,1 13 15,0 0-15,0 0 0,-13-13 0,0 13 16,-1 0-16,-12 0 0,-1 0 16,40 0-1,-52 0-15,-1 0 0,0 0 16,0 0-16,1 0 0,-1 0 15,0 0 1,0 0-16,0 0 31,1 0-15,-14 13 0,13-13-1,-13 13 1,13-13-1,-13 13-15,0 0 0,0 1 16,13-14-16,-13 26 0,0-13 0,0 1 16,14 12-16,-14 1 0,0-1 15,0 0-15,13 1 0,-13-14 0,0 14 16,0-1-16,0 1 0,0-14 0,13 13 16,-13-13-16,0 14 0,0-14 15,0 0-15,0 1 0,0-1 0,0 0 16,13 0-16,-13 1 0,0-1 15,0 0-15,0 0 16,0 0-16,0 1 31,-13-14-31,13 13 16,-13-13-16,0 0 16,-1 0-16,1 0 0,0 0 0,-14 0 15,-12 0-15,12 0 0,-26 0 0,0 0 16,-13 0-16,13 0 0,-26 13 15,13-13-15,-14 0 0,1 0 0,13 0 16,-13 13-16,26-13 0,0 0 0,0 14 16,13-14-16,-13 13 0,14-13 0,12 13 15,1-13-15,-14 0 0,13 13 16,1-13-16,13 13 0,-14-13 0,1 0 16,13 14-16,-14-14 0,14 0 15,-13 13-15,12-13 0,1 0 16,0 0-16,0 13 0,-1-13 15,1 0-15,0 13 16,0-13-16,-1 0 16,1 0-1,0 0 17,0 14 30</inkml:trace>
  <inkml:trace contextRef="#ctx0" brushRef="#br0" timeOffset="155668.41">20214 7342 0,'-13'27'31,"13"-14"-15,0 0-16,0 0 15,-13 1-15,13-1 0,0 0 16,0 0-16,0 0 15,0 1-15,0-1 16,0-40 15,13 14-15,-13 0-16,0 0 0,13 13 16,-13-13-16,13-1 0,-13 1 0,14 0 15,-1 13-15,0 0 16,0 13-1,1 0-15,-14 1 16,13-1-16,-13 0 16,0 0-16,13 0 0,-13 1 15,0-1 1,13-13 0,0-13-1,1-1-15,-1 1 0,0 0 16,0 0-16,14 0 0,-14-1 15,14 1-15,-14 13 0,0-13 0,0 13 16,0-13-16,1 13 0,-1 0 0,0 0 16,0 13-16,1-13 15,-14 13-15,13-13 0,-13 13 16,0 1-16,0-1 0,13 0 16,-13 0-16,0 0 15,0 1 1,0-1-16,0 0 15,13-13-15</inkml:trace>
  <inkml:trace contextRef="#ctx0" brushRef="#br0" timeOffset="156631.35">20743 7514 0,'14'-26'15,"-14"12"-15,26-38 16,-13 25-1,-13 14-15,0 0 0,0-1 0,13 14 16,-13-13-16,0 0 0,0 0 16,-13-1-1,0 41 1,0-14-16,13 0 16,-13 1-16,13-1 0,-14 0 0,14 0 15,0 1-15,0-1 0,0 0 0,0 0 16,0 0-16,0 1 0,14-1 15,-1 0 1,0-13-16,0 0 0,0 0 0,1 0 16,12 0-16,-13 0 0,14 0 0,-14-13 15,0 13-15,14-13 0,-14-1 16,0 14-16,0-13 0,1 0 0,-1 0 16,0 13-16,-13-13 0,13-1 0,-13 1 15,0 0-15,14 0 16,-28-1-16,1 14 15,-13 14 1,12-1 0,1-13-16,13 13 0,-13 0 15,0 1-15,13-1 0,-13-13 16,13 13-16,0 0 0,0 0 16,0 1-1,13-14-15,0 13 16,0-13-16,0-13 15,1-1-15,-1 14 16,-13-13-16,13 13 0,-13-13 16,13 0-16,1 0 0,-1-1 15,-13 1 1,13 40 31,-26-14-32,13 0 17,13-13-32,-13 13 15,13-13 1,1 0 0,-1 0-1,0 0-15,0-13 16,0 13-1,-13 13-15,14-13 16,-1 13 0,0 1-1,0-14 48,1 0-32,-1 0-31,0-14 31,13 14-15,-12-13 0,-1 13-16,0-13 0,0 13 15</inkml:trace>
  <inkml:trace contextRef="#ctx0" brushRef="#br0" timeOffset="156834.76">21669 7302 0,'27'-13'31,"-14"13"-31,0 0 0,1 0 16,-1 0-16,0 0 0</inkml:trace>
  <inkml:trace contextRef="#ctx0" brushRef="#br0" timeOffset="157017.62">21656 7422 0,'40'0'31,"-27"0"-15,0 0-16,1-14 0,-1 14 0,13 0 16,-13-13-16,1 13 0,12-13 15,-13 13-15,1-13 0,12 13 0</inkml:trace>
  <inkml:trace contextRef="#ctx0" brushRef="#br0" timeOffset="157254.59">22119 7183 0,'0'-13'0,"0"40"31,0-14-15,13 0-16,-13 0 0,0 1 15,14-1-15,-14 0 0,0 0 0,0 0 16,0 1-16,13-1 0,-13 0 0,0 0 16,0 1-1,13-1-15,0 0 16,14-26 0,-14 13-16,-13-13 15</inkml:trace>
  <inkml:trace contextRef="#ctx0" brushRef="#br0" timeOffset="157627.62">22291 7104 0,'0'-13'31,"13"13"-31,1 0 16,-14-13-16,26 13 15,-13 0-15,-13 13 0,14-13 16,-1 0-16,0 0 0,0 13 16,0 0-16,1 1 15,-14-1-15,0 0 0,13 0 16,-13 0-16,0 1 0,0-1 15,0 0-15,0 0 0,0 1 0,0-1 16,-13 0-16,13 0 0,0 0 16,0 1-16,0 12 15,13-13-15,0-13 16,-13 14-16,13-14 16</inkml:trace>
  <inkml:trace contextRef="#ctx0" brushRef="#br0" timeOffset="157849.57">22318 7289 0,'0'0'0,"39"-13"31,-25 13-31,-1-13 0,0 13 0,0 0 15,14-13-15,-14 13 0,0 0 0,0-14 16,1 14-16,-1 0 0,0 0 16,0-13-16,0 13 0,1 0 15,-1 0-15,0-13 0,0 13 16</inkml:trace>
  <inkml:trace contextRef="#ctx0" brushRef="#br0" timeOffset="158201.32">22900 7025 0,'0'0'0,"-14"0"0,1 13 0,0-13 16,0 0-16,0 13 15,13 0 1,0 1-16,13-1 16,0-13-16,-13 13 0,13 0 15,0-13-15,1 14 0,-1-14 0,-13 13 16,13-13-16,0 13 0,-13 0 16,14-13-16,-14 13 0,0 1 15,-14-1 1,1 0-16,0-13 15,0 13-15,-1-13 0,-12 14 0,13-1 16,-14 0-16,14-13 0,-13 13 16,-1 0-16,-13-13 0</inkml:trace>
  <inkml:trace contextRef="#ctx0" brushRef="#br0" timeOffset="161454.82">20518 8070 0,'14'-13'16,"-1"-1"-16,-13 1 15,13 13-15,-13-13 16,-13 13-1,0 0 1,-1 0-16,1 0 16,0 0-16,0 13 0,0-13 15,-1 13-15,1-13 16,13 14-16,-13-14 0,13 13 16,0 0-16,13 0 15,0 0-15,1-13 16,-1 0-16,13 14 0,-13-14 15,14 13-15,-14-13 0,0 0 0,14 0 16,-14 13-16,0-13 0,1 0 0,-1 13 16,0-13-16,0 0 0,0 0 15,1 14-15,-14-1 16,-14 0 0,1-13-1,13 13-15,-13-13 0,0 14 0,0-14 16,-14 13-16,14-13 0,0 0 15,-1 13-15,-12-13 0,13 13 16,-1-13-16,1 0 0</inkml:trace>
  <inkml:trace contextRef="#ctx0" brushRef="#br0" timeOffset="161966.65">20823 8096 0,'13'0'16,"-13"13"-1,0 1-15,0-1 16,0 0-16,0 0 0,0 1 16,0-1-16,0 0 0,0 0 0,0 1 15,0-1-15,0 0 16,0 0-16,0 0 0,0 1 15,-13-14-15,26 13 16,-26-13 0,13-27 15,-14 27-31,14-13 0,0 0 0,0-13 16,0 12-16,0 1 15,14 0-15,-14 0 0,0-1 0,0 1 16,0 0-16,13 0 0,0-1 0,-13 1 15,13 0-15,1 13 16,-1 0-16,0 0 16,0 0-16,1 13 0,-1-13 15,-13 13-15,13-13 0,-13 14 0,13-1 16,-13 0-16,0 0 0,13 1 16,-13-1-16,0 0 0,-13 0 0,13 1 15,-13-1-15,13 0 0,-13 0 0,0 0 16,13 1-16,-14-1 0,1 0 15,0 0-15,0-13 0,-1 14 16,1-14-16</inkml:trace>
  <inkml:trace contextRef="#ctx0" brushRef="#br0" timeOffset="162168.01">21339 8043 0,'26'-13'0,"1"13"15,-14 0 1,0 0-16,0 0 15</inkml:trace>
  <inkml:trace contextRef="#ctx0" brushRef="#br0" timeOffset="162362.82">21272 8229 0,'27'0'31,"-14"-14"-15,0 14-16,1 0 0,-1-13 15,0 13-15,0 0 0,1-13 16,-1 13-16,0 0 0</inkml:trace>
  <inkml:trace contextRef="#ctx0" brushRef="#br0" timeOffset="163203.1">21577 8017 0,'0'0'0,"13"0"16,13-27-1,-12 27-15,-1 0 16,13 0 0,-26 14-16,14-14 0,-14 13 15,0 0-15,0 0 16,0 1-1,-14-1-15,14 0 16,0 0-16,-13 0 16,13 1-16,0-1 31,13 0-15,1-13-1,-1-13-15,0 13 16,0 0-16,1 0 0,-1-13 0,13 13 15,-13-14-15,1 14 0,12-13 0,-13 13 16,1-13-16,-1 13 0,0-13 16,0 13-16,1-13 0,-1 13 15,-13-14-15,13 14 16,0 0 15,-13 14-15,13-1-16,1-13 15,-1 13 1,0-13-16,0 0 16,1-13-16,-1 13 15,-13-13 1,0-1-16,0 1 16,0 0-16,-13 0 15,-1-1-15,1 1 16,0 13-1,0 0-15,-1 0 16,1 0-16,0 0 0,13 13 16</inkml:trace>
  <inkml:trace contextRef="#ctx0" brushRef="#br0" timeOffset="163779.48">22251 7951 0,'27'-13'31,"-14"13"-31,0 0 0</inkml:trace>
  <inkml:trace contextRef="#ctx0" brushRef="#br0" timeOffset="163934.54">22185 8070 0,'27'-13'16</inkml:trace>
  <inkml:trace contextRef="#ctx0" brushRef="#br0" timeOffset="165310.69">22000 8718 0,'0'-13'0,"13"39"31,-13-13-15,0 1-16,0-1 0,-13 0 0,13 0 15,0 1-15,0-1 16,0 0-16,0 0 0,0 1 0,-13-1 0,13 0 15,0 0-15,0 0 0</inkml:trace>
  <inkml:trace contextRef="#ctx0" brushRef="#br0" timeOffset="165928.56">22172 8665 0,'53'-26'16,"-40"26"-16,14 0 15,-14 0 1,0 0-1,0 0-15,-13 13 16,14 0-16,-14 0 16,0 1-16,0-1 15,0 0-15,-14-13 0,14 13 0,0 0 16,0 1-16,0-1 0,0 0 0,0 0 16,0 1-16,0-1 0,0 13 15,0-12-15,0-1 16,0 0-16,0 0 15,0 0-15</inkml:trace>
  <inkml:trace contextRef="#ctx0" brushRef="#br0" timeOffset="166115.39">22265 8864 0,'39'-40'32,"-25"40"-32,-1-13 15,0 13-15,0 0 0,1-14 16,-1 14-16,0 0 0,0 0 16</inkml:trace>
  <inkml:trace contextRef="#ctx0" brushRef="#br0" timeOffset="166480.49">22635 8652 0,'-13'0'0,"0"0"31,-1 0-15,14 13-16,0 0 16,0 1-1,14-1 1,-14 0-16,13 0 16,-13 0-1,0 1-15,0-1 16,0 0-1,-13-13-15,-1 13 0,1-13 16,0 14-16,0-1 16,-1-13-16,1 0 15,0 13-15</inkml:trace>
  <inkml:trace contextRef="#ctx0" brushRef="#br0" timeOffset="166711.87">22900 8572 0,'0'14'31,"0"12"-15,0-13-16,0 1 15,0-1-15,0 0 0,0 0 16,-14 1-16,14-1 0,0 0 16,0 0-16,0 0 0,-13-13 15,13 14-15</inkml:trace>
  <inkml:trace contextRef="#ctx0" brushRef="#br0" timeOffset="166946.71">22807 8718 0,'13'0'15,"1"-13"1,-1 0-16,0 13 0,0 0 16,-13-14-16,13 14 0,1 0 0,-1 0 15,0-13-15,0 13 16,1 0-16,-1 0 15,-13-13-15,13 13 0,0 0 16</inkml:trace>
  <inkml:trace contextRef="#ctx0" brushRef="#br0" timeOffset="167579.59">23178 8546 0,'26'0'16,"-13"0"-1,-13 13-15,13-13 16,-13 13-16,0 1 16,-13-1-16,13 0 15,-13-13-15,13 13 16,0 1-16,-13-14 0,13 13 16,0 0-1,0 0 1,13-13-1,0 0 1,0 0-16,14 0 16,-14-13-16,0 13 0,1 0 0,-1-13 15,0 13-15,0 0 0,0-13 0,1 13 16,-1 0-16,-13-14 16,13 14-16,0 0 15,1 0-15,-14 14 16,13-14-1,0 0-15,0 0 16,14 0 0,-14-14-1,0 14-15,-13-13 16,13 13-16,-13-13 0,14 13 0,-14-13 16,0-1-16,0 1 15,-14 0-15,14 0 0,-13 13 16,0 0-16,0-13 0,0 13 15,-80 26 1,80-13-16,-14 0 16,14 1-16,0-14 15</inkml:trace>
  <inkml:trace contextRef="#ctx0" brushRef="#br0" timeOffset="168207.38">22066 9419 0,'-13'27'32,"13"-14"-32,0 0 0,0 0 15,0 1-15,0-1 16,0 0-16,0 0 15,-13 0-15,13 1 0,0-1 16,0 0-16,0 0 0,13 1 31</inkml:trace>
  <inkml:trace contextRef="#ctx0" brushRef="#br0" timeOffset="168544.34">22159 9340 0,'0'0'0,"13"-13"0,0 13 16,1-14-1,-1 14-15,0 0 0,0 0 16,-13 14-16,13-14 15,-13 13-15,14-13 0,-14 13 16,0 0-16,13 0 0,-13 1 16,0-1-16,0 0 15,0 0-15,0 1 0,0-1 16,0 0-16,0 0 0,0 1 16,0-1-16,0 0 0,0 13 15,0-12 1,0-1-16</inkml:trace>
  <inkml:trace contextRef="#ctx0" brushRef="#br0" timeOffset="168741.56">22185 9538 0,'0'-13'0,"-13"13"31,26-13-31,-13 0 0,14 13 15,-1-14-15,0 14 16,0-13-16,0 13 0,1 0 16,-1 0-16,0-13 15,0 13-15,1 0 0,-1 0 16,0-13-16,0 13 0</inkml:trace>
  <inkml:trace contextRef="#ctx0" brushRef="#br0" timeOffset="169074.71">22662 9287 0,'-14'0'0,"1"0"15,-13 13 1,26 0-1,0 1 1,0 12 0,0-13-16,0 0 15,13-13-15,-13 14 0,0-1 0,0 0 16,0 0 0,0 1-1,0-1-15,-13 0 16,-1 0-16,1-13 15,0 14-15,0-14 16,-1 0-16,1 0 16</inkml:trace>
  <inkml:trace contextRef="#ctx0" brushRef="#br0" timeOffset="169527.49">22886 9327 0,'27'-14'47,"-14"14"-47,0 0 15,1 0-15,-1 0 0,0-13 0,0 13 16,1 0-16</inkml:trace>
  <inkml:trace contextRef="#ctx0" brushRef="#br0" timeOffset="170005.51">23257 9181 0,'13'0'0,"0"0"15,1 0 1,-1 13 0,-26 1-16,13-1 15,-14 0-15,14 0 0,-13-13 16,0 13-16,13 1 0,-13-14 16,-1 13-16,14 0 0,-13-13 15,13 13-15,-13-13 0,13 14 16,-13-14-16,26 0 31,0 0-31,14 0 16,-14 0-16,0 0 15,0 0-15,1 0 16,-1-14-16,0 14 0,0 0 16,0 0-16,1-13 0,-1 13 0,0 0 15</inkml:trace>
  <inkml:trace contextRef="#ctx0" brushRef="#br0" timeOffset="170311.01">23548 9168 0,'-13'0'0,"26"0"0,-40 13 16,14 0 0,13 1-1,-13-1 1,26 0-16,0 0 15,1-13 1,12-13 0,-13 13-16,1-13 15,-1 0 1,-13-1-16,0 1 16,-13 0-16,-1 0 15,1 13-15,13-14 0,-13 14 16,0 0-16,-1 0 0,1 0 15,0 0-15,0 0 0,0 0 0,-1 0 16,1 14-16,0-14 0</inkml:trace>
  <inkml:trace contextRef="#ctx0" brushRef="#br0" timeOffset="170958.7">21405 8864 0,'0'-14'31,"13"14"-31,0 0 0,-13-13 16,13 13-16,1 0 0,-1 0 16,0 0-16</inkml:trace>
  <inkml:trace contextRef="#ctx0" brushRef="#br0" timeOffset="171115.65">21352 8956 0,'26'0'16,"1"-13"-16,-14 13 16</inkml:trace>
  <inkml:trace contextRef="#ctx0" brushRef="#br0" timeOffset="177419.41">17859 8665 0,'-26'-13'0,"26"0"0,-13-1 31,13 1-31,13 0 16,0 0-16,0 13 0,1-14 15,-1 14-15,0 0 0,0 0 16,1-13-16,-1 26 0,0-13 15,0 0-15,0 0 0,1 14 0,-1-1 16,0 0-16,-13 0 16,0 1-16,13-1 0,-13 13 0,-13-12 15,13 12-15,0-13 0,-13 14 0,13-1 16,-27 14-16,14-14 0,13-12 16,-13 12-16,0-13 0,0 14 15,-1-1-15,14-13 0,-13 14 0,0-14 16,13 0-16,-13 14 0,13-14 0,-14 0 15,1 0-15</inkml:trace>
  <inkml:trace contextRef="#ctx0" brushRef="#br0" timeOffset="177584.22">17793 9313 0,'13'-26'63</inkml:trace>
  <inkml:trace contextRef="#ctx0" brushRef="#br0" timeOffset="178550.56">2659 9631 0,'0'13'16</inkml:trace>
  <inkml:trace contextRef="#ctx0" brushRef="#br0" timeOffset="179154.74">2871 9512 0</inkml:trace>
  <inkml:trace contextRef="#ctx0" brushRef="#br0" timeOffset="180011.68">5715 9115 0,'0'13'63</inkml:trace>
  <inkml:trace contextRef="#ctx0" brushRef="#br0" timeOffset="180439.7">5755 9485 0</inkml:trace>
  <inkml:trace contextRef="#ctx0" brushRef="#br0" timeOffset="180646.66">5834 9155 0,'-13'0'0,"13"-14"16</inkml:trace>
</inkml:ink>
</file>

<file path=ppt/ink/ink32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3:15:58.800"/>
    </inkml:context>
    <inkml:brush xml:id="br0">
      <inkml:brushProperty name="width" value="0.05292" units="cm"/>
      <inkml:brushProperty name="height" value="0.05292" units="cm"/>
      <inkml:brushProperty name="color" value="#0070C0"/>
    </inkml:brush>
  </inkml:definitions>
  <inkml:trace contextRef="#ctx0" brushRef="#br0">8916 3043 0,'27'0'31,"-14"0"-31,0 0 16,1 0-16,-1 0 15</inkml:trace>
  <inkml:trace contextRef="#ctx0" brushRef="#br0" timeOffset="648.19">8890 2937 0,'26'0'15,"-12"0"1,-1-13-16,0 13 0</inkml:trace>
  <inkml:trace contextRef="#ctx0" brushRef="#br0" timeOffset="1431.22">5398 3519 0,'26'-13'31,"-13"13"-15,0 0-16,-13-14 0,14 14 15,-1 0-15,0 0 0,0 0 16</inkml:trace>
  <inkml:trace contextRef="#ctx0" brushRef="#br0" timeOffset="1617.75">5384 3625 0,'-13'13'31,"26"-13"0,1 0-31,-1 0 16,0 0-16,0 0 0,0 0 0</inkml:trace>
  <inkml:trace contextRef="#ctx0" brushRef="#br0" timeOffset="2172.04">8308 3942 0,'13'0'16,"27"-13"0,-14 13-1,-26 13-15</inkml:trace>
  <inkml:trace contextRef="#ctx0" brushRef="#br0" timeOffset="2407.77">8334 4180 0,'27'0'31,"-14"0"-31,0-13 16,1 13-16,-1 0 16</inkml:trace>
  <inkml:trace contextRef="#ctx0" brushRef="#br0" timeOffset="9344.86">10253 2686 0,'13'0'0,"-40"13"46,27 0-30,-13-13-16,0 13 0,0 0 16,-1 14-16,-12-14 0,0 14 0,-1-1 0,1-13 15,12 1-15,-12-1 0,13 0 16,-1 0-16,14 0 0,-13-13 0,0 14 16,13-1-16,-13-13 0,13 13 15,13 0 1,0-13-16,0 0 0,1 0 15,-1 14-15,13-14 0,-12 0 0,12 0 16,1 0-16,-14 0 0,13 0 0,1 0 16,-14 0-16,13 0 0,-12 0 15,-1 0-15,0 0 0,0 0 0,1 0 16,-1 0-16,0 0 0,0 0 16,-13-14-1</inkml:trace>
  <inkml:trace contextRef="#ctx0" brushRef="#br0" timeOffset="9595.75">10213 2725 0,'-27'27'31,"27"-14"-31,0 0 0,0 0 15,-13 14-15,13-14 0,0 14 0,-13-1 16,13 0-16,0-12 0,0 12 0,-13 1 16,13-1-16,0-13 0,0 0 15,0 14-15,0-14 0,-13 0 16,13 1-16,0-1 0,0 0 0,0 0 16,13-13-16,-13 14 0</inkml:trace>
  <inkml:trace contextRef="#ctx0" brushRef="#br0" timeOffset="9947.04">10491 2805 0,'-13'13'15,"13"0"-15,0 0 16,0 1-16,0-1 15,0 0-15,0 0 0,0 0 0,13 1 16,-13-1-16,13 0 0,0-13 0,0 13 16,1 1-16,-1-14 0,0 13 15,14-13-15,-14 0 0,0 0 0,0-13 16,14 13-16,-14 0 0,0-14 0,0 14 16,1-13-16,-1 0 0,-13 0 15,-13-80 1,-1 67-16,1 12 15,0 1-15,0 0 0,-14 0 16,14 13-16,-13-14 0,12 14 16,-12 0-16,-1 0 0,14 14 0,-13-14 15,-1 13-15,1 0 0,13 0 0,-14 1 16,14-14-16,0 13 0</inkml:trace>
  <inkml:trace contextRef="#ctx0" brushRef="#br0" timeOffset="11528.2">6403 3387 0,'-13'26'31,"13"-13"-15,-14 1-16,14-1 0,0 0 16,0 13-16,0-12 0,-13 12 0,13-13 15,0 1-15,0 12 0,0-13 0,-13 1 16,13-1-16,0 0 0,0 0 0,0 0 15,0 1-15,0-1 0,0 0 16</inkml:trace>
  <inkml:trace contextRef="#ctx0" brushRef="#br0" timeOffset="11993.9">6535 3440 0,'13'0'32,"1"0"-32,-1 0 15,0 0-15,-13-14 0,13 14 0,1 0 16,-1 0-16,0 0 0,0 0 0,1 14 16,-1-14-16,0 13 15,0-13-15,-13 13 0,0 0 16,13-13-16,-13 13 0,0 1 0,0-1 15,0 0-15,0 0 16,0 1-16,0-1 0,0 0 16,-13 0-16,13 1 0,0 12 15,0-13-15,0 0 0,-13 1 0,13-1 16,0 0-16,0 0 16,0 1-16,-13-1 15</inkml:trace>
  <inkml:trace contextRef="#ctx0" brushRef="#br0" timeOffset="12210.99">6588 3651 0,'-13'0'16,"39"-13"15,-12 13-31,-1 0 16,0 0-16,0-13 0,1 13 0,-1 0 15,0 0-15,0 0 0,0 0 16,1 0-16,-1-13 0,0 13 16,0 0-16,1 0 0</inkml:trace>
  <inkml:trace contextRef="#ctx0" brushRef="#br0" timeOffset="12644.44">7197 3426 0,'-14'-13'15,"-12"13"1,13 0-16,0 0 0,-1 13 16,1-13-16,0 0 0,-14 14 0,14-14 15,0 13-15,0-13 16,-1 0-16,14 13 16,-13 0-16,26 0 15,1-13 1,-1 14-16,0-14 15,0 13-15,1-13 16,-1 13-16,0-13 16,0 13-1,-26 1 1,0-1 0,0-13-16,13 13 15,-93 14 1,80-27-16,0 0 15,-1 13-15,1-13 0,0 0 16,0 0-16</inkml:trace>
  <inkml:trace contextRef="#ctx0" brushRef="#br0" timeOffset="14708.95">9036 4008 0,'13'-13'32,"13"13"-32,-13 0 15,1 0-15,-1 0 0,-13 13 16,13-13-16,-13 14 0,13-14 0,-13 13 15,0 0-15,0 0 0,0 1 16,-13-1-16,0 0 0,0 0 16,-1 1-16,1-1 0,0 0 0,0 0 15,-14-13-15,14 13 0,0 1 16,0-14-16,-1 0 0,14 13 16,-13-13-16,0 13 0,0-13 15,-1 13-15,28 1 31,-1-14-15,0 0-16,0 0 0,1 0 0,-1 0 16,0 0-16,0 0 0,14-14 0,-14 14 15,13 0-15,-12 0 0,12-13 16,1 13-16,-14 0 0,13-13 0,-12 13 16,12 0-16,-13-13 0</inkml:trace>
  <inkml:trace contextRef="#ctx0" brushRef="#br0" timeOffset="15040.43">9432 4022 0,'0'0'15,"-13"0"-15,0 13 16,13 0-16,-13-13 0,-1 13 16,14 1-16,-13-1 0,13 0 15,0 0-15,0 1 0,0-1 16,13 0-16,1 0 15,-1-13-15,-13 13 0,13-13 0,0 0 16,14 0-16,-14 0 16,0 0-16,1-13 0,-1 13 0,0 0 15,-13-13-15,13 13 0,-13-13 16,13 0-16,-13-1 0,0 1 0,0 0 16,0 0-16,0-1 0,-13 1 15,0 13-15,13-13 0,-13 0 16,0 13-16,-1-14 0,1 14 15,0 0-15,-14 0 0,14 0 0,0 0 16,0 14-16,-1-14 0,1 13 0,0-13 16,0 0-16,0 13 0,-1-13 0</inkml:trace>
  <inkml:trace contextRef="#ctx0" brushRef="#br0" timeOffset="27084.06">8652 5464 0,'13'0'16,"0"0"-16,1 0 0,-1-14 15,13 14-15,-13 0 0,14 0 0,-14 0 16,14 0-16,-1 0 0,1 0 15,39 0-15,-40 0 0,14 0 16,-14 0-16,14 0 0,-14 0 0,14 14 16,-13-14-16,12 0 0,-12 0 15,-1 0-15,-13 0 0,14 13 16,-14-13-16,0 0 0,14 0 0,-14 13 16,0-13-16</inkml:trace>
  <inkml:trace contextRef="#ctx0" brushRef="#br0" timeOffset="27444.97">8797 5569 0,'40'0'31,"-27"14"-15,1-14-16,12 0 0,-13 0 0,14 0 16,-14 0-16,13 0 0,1 0 15,13 0-15,-14 0 0,0 0 0,14 0 16,-13 0-16,39 0 0,-40 0 16,1 0-16,-1 0 0,1 0 15,-14-14-15,0 14 0,13 0 16,-12 0-16,-1 0 0,0 0 0,0 0 15,1 0-15,-1 0 16,0 0-16,0 0 16,1 0 15</inkml:trace>
  <inkml:trace contextRef="#ctx0" brushRef="#br0" timeOffset="28552.3">14698 4948 0,'-14'13'31,"14"0"-15,-13 14-16,13-1 0,-13 14 0,0-14 15,-1 14-15,1 0 0,0-1 16,-13 27-16,12-26 0,1-13 15,0 26-15,13-27 0,-13 0 16,13-12-16,-14-1 0,14 13 16,0-12-16,-13-14 0,13 13 15</inkml:trace>
  <inkml:trace contextRef="#ctx0" brushRef="#br0" timeOffset="29516.05">14724 4895 0,'40'0'0,"-27"-13"0,0 13 0,119 0 31,-92 0-31,13-14 0,0 14 16,0 0-16,0 0 0,0 0 0,0 0 15,0 0-15,26-13 0,-13 13 0,14 0 16,-14 0-16,13-13 0,-13 13 15,14 0-15,-14-13 0,0 13 16,0-14-16,0 14 0,0-13 0,-13 13 16,0 0-16,0-13 0,0 13 0,0-13 15,-13 13-15,-1 0 0,14-14 16,-26 14-16,-1 0 0,-13 0 16,14-13-16,-14 13 0,13 0 0,-12 0 15,-1 0-15,0 0 0,0 0 16,1 0-16,-1-13 0,0 13 0,0 0 15,1 0 1,-1 0-16,0 0 16,0 0 15,0 0 0,-13 13 0,0 14-15,-13-14-16,13 0 16,0 0-16,0 14 0,-13-14 0,13 14 15,0-1-15,-13 0 0,13 1 16,-13 13-16,13-1 0,0 1 0,-14 0 16,14-1-16,0-12 0,-13-1 15,13 1-15,0-1 0,0 14 0,0-14 16,0-12-16,0 12 0,0 1 15,0-1-15,13-13 0,-13 14 0,0-14 16,0 13-16,0-12 0,0-1 0,0 0 16,0 0-16,0 0 0,0 1 15,0-1-15,14 0 0,-14 0 16,0 1-16,0-1 0,-14 0 16,14 0-1,0 1-15,0-1 31,-13-13-31,0 0 16,0 0-16,-1 0 16,-12 0-16,-1 0 0,-12 0 15,-14-13-15,0 13 0,0 0 0,-13-14 16,-14 14-16,14 0 0,-92-13 16,78 13-16,1 0 0,-1 13 15,1-13-15,0 0 0,-1 0 0,-52 14 16,79-14-16,0 0 0,0 0 15,0 0-15,14 0 0,12 0 16,1 0-16</inkml:trace>
  <inkml:trace contextRef="#ctx0" brushRef="#br0" timeOffset="32128.27">3545 5874 0,'14'13'47,"-1"-13"-47,0 13 0,0-13 16,14 0-16,-14 0 0,13 13 16,14-13-16,-13 0 0,12 0 0,14 14 15,0-14-15,0 0 0,0 0 16,0 0-16,0 13 0,13-13 0,-13 0 15,26 0-15,-26 0 0,27 13 0,-14-13 16,0 0-16,-13 0 0,13 13 0,-13-13 16,13 0-16,-13 0 15,0 0-15,0 14 0,53-14 16,-54 0-16,1 0 0,0 0 0,-13 0 16,-14 13-16,14-13 0,-13 0 0,12 0 15,-12 0-15,-1 0 0,27 0 16,-40 0-16,14 0 0,-14 0 15,13 0-15,-12 0 0,-1 0 0,0-13 16,0 13-16,1 0 0,-1 0 16,0 0-16,0 0 0,1 0 15,-1 0-15,-40-14 63,14 14-63,13-13 15</inkml:trace>
  <inkml:trace contextRef="#ctx0" brushRef="#br0" timeOffset="39045.82">11787 6337 0,'-13'79'0,"0"-66"16,13 1-1</inkml:trace>
  <inkml:trace contextRef="#ctx0" brushRef="#br0" timeOffset="41709.96">17555 6429 0,'27'0'31,"-14"0"-31,13 0 0,-13 0 16,40 14-16,-13-14 0,26 0 16,-26 0-16,13 0 15,-13 0-15,-1 0 0,-12 0 0,26 0 16,-14 13-16,-12-13 0,12 0 0,-12 0 15,-1 0-15,1 0 0,-1 0 0,1 0 16,-14 0-16,13 0 16,1 0-16,-14 0 0,0 0 15,-39 0 17,13 0-32</inkml:trace>
  <inkml:trace contextRef="#ctx0" brushRef="#br0" timeOffset="42183.39">17582 6548 0,'13'14'32,"0"-14"-32,0 0 0,0 0 15,14 0-15,-14 0 0,14 0 0,26 0 16,-14 13-16,14-13 15,-13 0-15,0 0 0,-14 0 16,14 0-16,-14 0 0,14 0 16,224 0 62,-250-13-63,-28-1 32,1 14-31,0 0-16,-40-13 62,40 13-62,0 0 32,52-13-17,-26 13-15,14-13 16</inkml:trace>
  <inkml:trace contextRef="#ctx0" brushRef="#br0" timeOffset="44310.02">3453 6945 0,'13'14'16,"0"-14"-16,14 13 16,-14-13-16,0 0 0,0 13 0,27-13 15,-13 13-15,-1-13 16,0 0-16,1 13 0,-1-13 15,41 0-15,-41 14 0,14-14 16,26 0-16,-40 0 0,14 0 16,-14 0-16,1 0 0,13-14 15,-14 14-15,1 0 0,-1-13 16,27 13-16,-27-13 0,1 13 0,-1-13 16,1 13-16,-1-13 15,-13 13-15,54-27 0,-54 14 16,0 13-16,27-13 0,-27-1 15,13 1-15,-12 13 16,-14-13-16,26 0 16,-13-1-16,1 1 15,-1 0-15,-13 0 16,13 0-16,-13-1 16,0 1-16,0 0 0,0-14 15,0 14 1,0 0-16,0 0 15,0 0-15,0-1 0,0 1 16,0 0-16,0 0 0,0-1 16,0 1-16,0 0 15,-13 0-15,13-1 16,-13-12 0,13 13-16,-14-14 0,1 14 15,0 0-15,0 0 16,-1 13-16,14-14 0,-13 1 15,0 13-15,0-13 0,-1 13 0,1-13 16,-13-1-16,13 14 0,-133-39 47,133 39-47,-583 79 172,570-66-157,13-13-15,-14 27 16,1-27-16,13 13 16,-1 0-16,-12 1 15,26-1-15,-27-13 16,14 13-16,0 0 16,0-13-16,0 27 15,-1-27 1,1 13-16,13 0 15,-13 14-15,0-14 16,13 13-16,-14 1 16,14-14-16,0 0 15,0 27-15,0-14 16,-13 1-16,13-1 16,13-13-1,-13 14-15,0-14 16,0 0-16,14 1 15,-14-1-15,13-13 16,-13 13-16,13-13 16,0 0-1,1 0-15,-1 0 16</inkml:trace>
  <inkml:trace contextRef="#ctx0" brushRef="#br0" timeOffset="45051.92">4815 7329 0,'40'13'16,"-40"0"-16,27-13 16,-1 0-16,-13 14 0,14-14 15,-14 13-15,13-13 16,-12 0-16,25 13 0,-25-13 15,-1 13-15,0-13 0,13 14 0,-12-14 16,-1 0-16,0 13 16,0-13-16,1 0 15</inkml:trace>
  <inkml:trace contextRef="#ctx0" brushRef="#br0" timeOffset="45325.51">5146 7289 0,'40'27'16,"-27"-14"0,0-13-16,1 13 15,-14 0-15,13 1 0,0-14 16,-13 13-16,13 0 0,-13 0 0,0 1 15,0 12 1,0-13-16,0 0 0,-13 1 16,0-1-16,0 0 15,-1 0-15,1-13 0,13 14 16</inkml:trace>
  <inkml:trace contextRef="#ctx0" brushRef="#br0" timeOffset="45633.83">5689 7316 0,'-14'-14'0,"1"28"15,0-1-15,0 0 0,-1 0 16,-25 159 47,52-158-63,0 12 15,14-26-15,26 0 31</inkml:trace>
  <inkml:trace contextRef="#ctx0" brushRef="#br0" timeOffset="45952.81">5887 7355 0,'0'-13'0,"0"26"0,-26-13 31,12 14-15,1 12-16,0-13 16,0 27-1,-1-27-15,14 0 0,-13 14 16,0-14-16,13 14 16,0-14-16,0 0 15,0 0-15,0 1 16,0-1-16,13 0 15,0-13 1,1 0-16,-1 0 16,13 0-16,-12 0 15,12-13-15,-13 0 16,0 13-16,1-14 0</inkml:trace>
  <inkml:trace contextRef="#ctx0" brushRef="#br0" timeOffset="46444.27">6046 7408 0,'39'0'31,"-39"-13"-31,14 13 0,12 0 0,-13-13 15,14 0-15,-14 13 16,13-14-16,-12 14 16,-1 0-16,-13-13 0,26 13 15,-12 13 1,-28 1 0,14-1-16,0 0 15,-13 0-15,13 1 0,0-1 0,-13 0 16,13 0-16,0 0 0,-13-13 15,13 14-15,0-1 0,-14 0 0,14 0 16,0 1-16,0 12 16,-13-13-1,26-13 1</inkml:trace>
  <inkml:trace contextRef="#ctx0" brushRef="#br0" timeOffset="46935.83">6681 7408 0,'0'-13'15,"26"13"1,-13 0 0,1 0-16,-1 0 15,0 0-15,0 0 0,14 0 0,-14 0 16,0-13-16,14 13 15,-14 0 1</inkml:trace>
  <inkml:trace contextRef="#ctx0" brushRef="#br0" timeOffset="47113.93">6681 7567 0,'26'0'32,"-13"0"-17,1 0 1,12 0-16,-13 0 16,1 0-16,-1 0 0,0-13 15,13 13 1,-12 0-16</inkml:trace>
  <inkml:trace contextRef="#ctx0" brushRef="#br0" timeOffset="49032.05">7210 7276 0,'13'0'32,"0"0"-17,1 0-15,-14 13 0,13-13 0,0 13 16,-13 1-16,13-1 15,-13 0-15,0 0 16,-13 1-16,13-1 0,-13 0 16,0-13-16,13 13 0,-14 1 0,1-1 15,0 0-15,0 0 16,26 0 15,0-13-31,0 0 16,1 14-1,-1-14-15,0 0 0,0 0 0,0 13 16,1-13-16,-1 0 0,0 13 16,0 0-1,-26 1 1,13-1-16,-13-13 0,0 13 0,-14 0 16,1-13-16,13 14 0,-1-14 15,-12 13-15,13-13 0,-1 0 16,1 0-16,0 0 0,0 13 15,0-13-15,-1-13 0,28 0 32</inkml:trace>
  <inkml:trace contextRef="#ctx0" brushRef="#br0" timeOffset="49363.17">7474 7342 0,'-26'13'16,"26"1"-1,-13-1-15,13 0 0,0 14 16,13-14-16,-13 0 16,13 13-16,0-12 15,1-14-15,-1 0 0,0 0 16,0 0-1,1-14-15,-14 1 16,13 13-16,-13-13 0,0 0 16,-13 0-16,13-1 0,-14 1 15,14 0-15,-13 0 0,0-1 0,0 1 16,-1 13-16,1 0 16,0 0-16,0 0 0,0 0 15,-14 13-15,1 1 16,12-1-16</inkml:trace>
  <inkml:trace contextRef="#ctx0" brushRef="#br0" timeOffset="49777.68">7091 7726 0,'40'0'15,"-14"13"-15,-13-13 0,0 0 16,14 0-16,-1 0 0,-12 0 16,52 0-16,-27-13 0,41 0 15,-1-1-15,-39 1 16,39-13-16,-52 12 0,12 1 16,-12 0-16,26-27 15,-27 14-15,-13 13 0,14-27 16,-27 13-16,0-52 15,-13 53-15,-1-14 0,1 13 16,-26-39-16,-54 0 16,-344 40 31,332 65-47,-1 14 15,13 13-15,53-39 0,14 13 16,-27 26-16,27-40 0,12 14 15,-25 26-15,25-26 16,1-1-16</inkml:trace>
  <inkml:trace contextRef="#ctx0" brushRef="#br0" timeOffset="55448.58">3757 7051 0,'-26'13'15,"26"1"-15,0-1 0,-14 0 16,14 0-16,0 1 0,-13-1 15,13 26-15,-13-25 16,13-1-16,-13 13 0,13-12 16,0 12-16,0-13 0,-14-13 15,14 13-15,0 1 0,0-1 16,0 0-16</inkml:trace>
  <inkml:trace contextRef="#ctx0" brushRef="#br0" timeOffset="55807.73">3731 7011 0,'-14'-13'0,"-12"26"32,26 1-17,-13-1-15,-1 0 0,1 0 16,13 1-16,-13-1 0,-13 13 15,26-12-15,-14-1 0,1 0 16,0 0-16,13 0 0,-13 1 16,13-1-16,-14-13 15,14 13-15</inkml:trace>
  <inkml:trace contextRef="#ctx0" brushRef="#br0" timeOffset="56139.66">3585 7131 0,'13'0'0,"1"-14"15,52 14 17,-53 0-32,0 0 0,0 0 0,1 0 15,12 0-15,-13 0 0,1 0 16,-1 0-16,13 0 0,27 0 15,-26 0 1,65 14 31,-79-14-31,-13 13 46</inkml:trace>
  <inkml:trace contextRef="#ctx0" brushRef="#br0" timeOffset="60387.39">11351 9512 0,'13'0'0,"-40"13"31,14 0-15,0 0-16,0 1 0,-1-1 15,1 0-15,0 0 0,-13 1 0,12-1 16,1 0-16,0 0 0,13 1 15,-13-1-15,-1 0 0,1 0 16,0 0-16,26 1 16,0-1-1,1-13-15,-1 0 0,13 0 16,-12 0-16,-1 13 0,0-13 16,13-13-16,-12 13 0,-1 0 0,13 0 15,-12 0-15,-1 0 16,13 0-16,-26-13 0,14 13 15,-1 0-15</inkml:trace>
  <inkml:trace contextRef="#ctx0" brushRef="#br0" timeOffset="60604.07">11377 9551 0,'-13'0'0,"0"27"31,-1-14-31,14 14 16,0-14-16,-13 13 0,13 1 16,-13-14-16,13 13 0,-13 1 0,13-1 15,-14 1-15,14-14 0,-13 27 16,13-14-16,-13-13 0,13 1 16,0-1-16,0 0 0,0 0 0,13 1 15</inkml:trace>
  <inkml:trace contextRef="#ctx0" brushRef="#br0" timeOffset="60893.02">11576 9618 0,'0'0'16,"0"26"0,0-13-16,-14 1 15,14-1-15,0 0 0,0 0 16,0 0-16,14 14 0,-1-14 15,0 0-15,-13 1 0,26-1 16,-12-13-16,-1 13 0,13-13 16,-12-13-16,-1 13 0,13-13 15,-12 13-15,-14-14 0,13-12 16,-13-1-16,-13 14 0,13 0 16,-14-27-16,-12 14 0,-14-14 15,27 27-15,0 0 0,-14-1 0,14 14 16,-13 0-16,-1 0 0,1 0 15,-14 14-15,0-1 0,1 0 0,-54 14 16</inkml:trace>
  <inkml:trace contextRef="#ctx0" brushRef="#br0" timeOffset="61839.8">6628 10226 0,'0'0'0,"0"27"16,0-14-16,0 0 16,-13 14-16,13-14 0,0 0 15,0 13-15,0-12 0,-14 25 16,14-12-16,0-14 0,0 0 16,0 1-16,0-1 0</inkml:trace>
  <inkml:trace contextRef="#ctx0" brushRef="#br0" timeOffset="62123.77">6839 10107 0,'27'0'15,"-54"0"-15,67-13 0,-27 13 16,1 13-16,-1-13 0,0 13 16,-13 1-16,13-1 15,-13 13-15,0-13 0,0 1 16,14 12-16,-14-13 0,0 1 0,0 12 16,0-13-16,0 14 0,0-14 15,-14 13-15,14-12 0,0 12 0,0-13 16,-13 1-16,13-1 0,0 0 0,0 14 15</inkml:trace>
  <inkml:trace contextRef="#ctx0" brushRef="#br0" timeOffset="62336.93">6813 10372 0,'0'0'0,"13"-14"0,0 1 32,1 13-32,-1 0 0,0 0 15,14 0-15,-14-13 0,27 13 16,-27 0-16,13 0 0,1-13 16,-1 13-16,1 0 0,-1-13 0</inkml:trace>
  <inkml:trace contextRef="#ctx0" brushRef="#br0" timeOffset="62623.87">7355 10120 0,'-26'14'0,"13"-14"0,-1 0 0,14 13 16,-13-13-16,13 13 15,0 13-15,0-12 16,13 12-16,1-13 15,-1 1-15,-13 12 0,13-13 16,0 1-16,-13-1 0,14 0 0,-1 0 16,-13 0-16,0 1 15,0-1-15,0 0 0,-13 0 16,13 1-16,-14-1 0,-12 0 16,13 0-16,-14-13 0,1 27 0,-1-27 15,1 13-15,13 0 0,-1-13 0,-12 13 16,13-13-16,0 0 15</inkml:trace>
  <inkml:trace contextRef="#ctx0" brushRef="#br0" timeOffset="63676.01">9432 11099 0,'14'0'31,"-1"13"-15,0-13-16,0 14 15,-13-1-15,0 0 0,0 0 16,0 1 0,-13-1-16,13 0 0,-13 0 0,0 1 15,-1-1-15,1 0 0,0 0 16,0 0-16,13 1 15,-14-14-15,28 13 32,-1-13-32,0-13 0,0 13 15,1-14-15,12 14 0,-13-13 16,27-13-16,-27 26 0,0-13 16,1 13-16,-1-14 0,0 14 0,0-13 15,1 13-15,-1 0 16,0 0-1,0 0-15,1 0 0,-1 0 16,-13 13-16,13-13 0,0 0 16,0 0-16,1 0 15,-1-13-15,0 13 0,14-13 16,-1 13-16,-26-13 0,13-1 0,0 14 16,-13-13-16,14 0 15,-14 0-15,-14-1 0,1 1 16,0 13-16,0-13 0,-27 13 15,27 0-15,0 0 16,-14 13-16,14-13 0,0 0 0,-14 13 16,14 1-16,0-14 0,-14 13 0,1 0 15</inkml:trace>
</inkml:ink>
</file>

<file path=ppt/ink/ink32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3:17:11.653"/>
    </inkml:context>
    <inkml:brush xml:id="br0">
      <inkml:brushProperty name="width" value="0.05292" units="cm"/>
      <inkml:brushProperty name="height" value="0.05292" units="cm"/>
      <inkml:brushProperty name="color" value="#0070C0"/>
    </inkml:brush>
  </inkml:definitions>
  <inkml:trace contextRef="#ctx0" brushRef="#br0">17582 767 0,'-14'-13'16,"-25"0"-1,25 13 1,1 0-16,0 13 16,0-13-16,-1 13 0,1 1 0,0-1 15,0 0-15,-14 13 0,14-12 16,0-1-16,0 13 0,13-12 0,-14-1 16,1 0-16,13 0 0,-13 0 15,13 1-15,0-1 16,0 0-16,13-13 0,0 13 15,1-13 1,12-13-16,-13 0 16,1 13-16,-1-13 0,0-1 15,0 14-15,0-13 0,-13 0 0,14 0 16,-1 0-16,-13-1 0,13 14 16,-13-13-16,13 0 15,-13 39 1,0-12-1,0-1-15,-13 0 0,13 0 0,0 0 16,0 1-16,-13 12 0,13-13 0,0 14 16,0-14-16,-13 14 0,13-14 0,0 13 15,0-13-15,-14 1 0,14-1 16,0 0-16,0 0 0,0 1 0,0-1 16,-13-13-16,13 13 0,0 0 15</inkml:trace>
  <inkml:trace contextRef="#ctx0" brushRef="#br0" timeOffset="543.52">17859 886 0,'14'-13'0,"-1"13"31,-40-13-31,14 26 16,0-13-16,-14 13 15,14-13-15,0 14 0,0-14 16,0 13-16,-1-13 0,1 13 16,0-13-16,0 13 0,13 0 15,-14-13-15,28 14 16,-1-14 0,-13 13-16,13-13 0,0 0 15,-13 13-15,14-13 0,-1 0 16,-13 13-16,13-13 0,0 14 0,0-14 15,1 13-15,-1-13 16,-13 13-16,13-13 16,-13 13-16,0 1 15,0-1-15,-13-13 0,13 13 16,-13-13-16,-1 13 0,1-13 16,13 13-16,-13 1 0,-13-14 0,12 13 15,-12 0-15,13-13 16,-14 13-16,1-13 0,12 14 0,1-14 15,0 0 1</inkml:trace>
  <inkml:trace contextRef="#ctx0" brushRef="#br0" timeOffset="791.51">18203 860 0,'0'-13'0,"14"13"0,-28 26 32,1-13-17,0 14-15,0-14 0,-1 0 16,1 0-16,0 1 0,0-1 16,13 13-16,-13-12 0,-1 12 15,1-13-15,0 1 0,0-1 0,13 0 16,-14 0-16,-12 14 0,26-14 15,-13 0-15,13 0 0,-14-13 16</inkml:trace>
  <inkml:trace contextRef="#ctx0" brushRef="#br0" timeOffset="961.98">18005 966 0,'-13'0'0</inkml:trace>
  <inkml:trace contextRef="#ctx0" brushRef="#br0" timeOffset="1106.05">18322 1072 0,'0'-14'0,"-13"1"32</inkml:trace>
  <inkml:trace contextRef="#ctx0" brushRef="#br0" timeOffset="1616.36">17648 1429 0,'66'0'31,"-40"0"-31,54-13 16,-27 13-16,-14-14 0,14 1 0,13 13 16,1-13-16,-15 0 0,15-14 15,-15 14-15,1 0 0,0-14 0,53-26 16,-66 27-16,0-1 0,26-39 15,0 0-15,-40 26 16,27-39-16,-40 39 16,-13-52-16,0 52 0,-13-13 15,-40-39-15,14 39 0,-14 13 16,-53-39-16,26 52 16,-78-13-16,78 40 0,-12-13 15,-93 26-15,105 1 0,-39 12 16,-79 53-16,105-26 0,14 0 15,13 0-15,-1 13 16,14-13-16,14 0 0,-14 66 0,40-79 16,13 26-16,13 40 15,0-53-15,14 0 0,12 0 16,1-14-16,0 1 0,52 26 16,-39-39-16,40 12 15,-54-25-15,1-14 0</inkml:trace>
  <inkml:trace contextRef="#ctx0" brushRef="#br0" timeOffset="9610.49">14724 1693 0,'13'14'0,"1"-14"15,-1 0 1,-13 13-16,13-13 0,-13 13 16,13 0-16,-13 0 15,0 1-15,0-1 0,-13 0 16,13 0-16,-13 14 0,0-14 15,-1 0-15,1 1 16,13-1-16,-13 0 0,0 0 16,26-13-1,0 0 1,0 13-16,1-13 0,-1 0 16,0 0-16,0 0 0,0 0 15,1 14-15,-1-14 0,0 0 16,0 13-16,-13 0 15,0 0-15,-13-13 16,13 14-16,-13-14 16,-14 13-16,14-13 0,0 13 15,0 0-15,0-13 0,-1 0 16,1 0-16,13 14 0,-13-14 0,13-27 31</inkml:trace>
  <inkml:trace contextRef="#ctx0" brushRef="#br0" timeOffset="9930.85">14949 1733 0,'-13'26'47,"13"14"-47,0-13 15,0-14-15,0 0 16,13 0-16,-13 1 0,13-14 0,-13 13 15,13-13-15,1 13 0,-1-13 0,0 0 16,0 0-16,1 0 0,-1 0 16,0-13-16,0 13 0,0-13 0,1 13 15,-14-14-15,13 1 0,-13 0 16,0 0-16,0-14 0,0 14 0,-13 0 16,-1-1-16,1 1 15,-13 0-15,13 0 16,-1 13-16,-12 0 0,-1 0 15,14 0-15,0 0 0,0 13 16,-14-13-16,14 0 0,0 13 0,0 0 16</inkml:trace>
  <inkml:trace contextRef="#ctx0" brushRef="#br0" timeOffset="10139.08">15412 1588 0,'13'0'0,"-26"0"0,39 0 0,-26 13 32,0 0-17,0 0-15,0 0 0,-13 14 0,0-14 16,13 14-16,-13-14 0,0 13 0,-1 1 16,1-1-16,0-13 0,13 14 15,-13-14-15,-1 14 0,1-14 0,0 0 16,13 0-16,-13-13 0,13 13 0</inkml:trace>
  <inkml:trace contextRef="#ctx0" brushRef="#br0" timeOffset="10266.6">15174 1720 0,'0'-13'0</inkml:trace>
  <inkml:trace contextRef="#ctx0" brushRef="#br0" timeOffset="10402.6">15571 1773 0,'0'-14'16,"13"14"-1</inkml:trace>
  <inkml:trace contextRef="#ctx0" brushRef="#br0" timeOffset="10935.69">14817 2183 0,'39'0'0,"-12"0"0,-14-13 15,27 13-15,-1-14 0,1 14 0,0-13 16,13 0-16,0 0 0,13-1 0,-27 1 15,14-13-15,53-14 0,-53 14 16,53-27-16,-53 13 16,-13 14-16,26-41 0,-40 28 15,-13 12-15,14-52 16,-27 39-16,0 1 0,-13-1 16,-1-13-16,-12 13 0,-14-13 0,1 14 15,-1-1-15,-26 0 0,0 14 0,-1-1 16,-12 1-16,0-1 0,-14 27 0,0-13 15,1 13-15,12 13 0,-12-13 16,-1 27-16,14-1 0,13 1 0,0-1 16,-1 14-16,15 0 0,-1-1 0,-27 54 15,54-53-15,-1 13 0,14-14 16,0 1-16,13 0 0,0-1 16,13 1-16,0 0 0,1-14 0,12 14 15,1-14-15,-1 14 0,14-14 16,-1-12-16,1 12 0,0-13 15,-1 1-15,1-1 0,0 0 0,-1-13 16,1 0-16,-13 0 0,-1 0 0,-13 0 16,14 0-16,-1 0 0</inkml:trace>
  <inkml:trace contextRef="#ctx0" brushRef="#br0" timeOffset="13055.39">16153 2051 0,'-40'13'0,"27"-13"16,0 13-16,-40 13 15,40-12-15,-14-1 0,14-13 16,-14 13-16,27 0 16,-13-13-16,0 14 0,13-1 15,0 0 1,13-13 0,0 13-16,1-13 0,-1 0 15,0 0-15,0 0 0,1 0 0,12 0 16,-13 0-16,0 0 0,1 0 0,12 0 15,-13 0-15,1 0 0,-1-13 16,0 13-16,0 0 0,0 0 0,1-13 16,-1 13-16,0-13 0</inkml:trace>
  <inkml:trace contextRef="#ctx0" brushRef="#br0" timeOffset="13501.94">16285 2117 0,'0'-14'0,"0"28"0,-13-41 16,13 14-16,-13 0 15,-1 0 1,1 26-1,13 0 1,-13-13-16,0 13 0,13 0 0,-14 1 16,14-1-16,-13 0 0,13 0 0,-13 1 15,13-1-15,0 0 0,0 0 16,0 0-16,13 1 16,-13-1-16,13-13 0,1 0 15,-1 0-15,13 0 16,-12-13-16,-1 13 0,0-14 15,0 14-15,1-13 16,-1 0-16,0 26 31,0-13-15,0 0-16,-13 13 0,14-13 16,-1 0-16,0 0 0,0 0 15,14 0 1,-14 0-16,0 0 15,-13-13-15,14 13 16,-14-13-16,-14 0 16,14 0-16,0-1 0,-13 1 15,0 0-15,0 0 16,-1-1-16,1 14 0,0-13 16,0 13-1,13-13-15,0 0 0</inkml:trace>
  <inkml:trace contextRef="#ctx0" brushRef="#br0" timeOffset="13911.42">16298 1733 0,'-39'-13'0,"12"13"16,1 0-16,-1 0 0,-12 0 16,-1 13-16,0 0 0,-13 14 0,0-1 15,14 1-15,-1 12 0,-13 1 0,13 0 16,14-1-16,-1 1 0,1 0 15,13-1-15,0 1 0,13-13 0,0-1 16,13 14-16,0-14 0,0 1 0,14 12 16,-1-25-16,14 12 0,-14-13 15,14 14-15,0-14 0,-1-13 0,-12 13 16,13-13-16,-1 0 0,1-13 16,13 13-16,-14-13 0,14 13 0,-13-14 15,0 1-15,39-13 16,-39-1-16,-14 14 0,27-27 15,-26 27-15,-14-13 0,0 12 0,-13-12 16,13 13-16,-13-14 0,0 14 16,0-13-16,-13-1 0,0-12 15,0 12-15,-1 14 0,1 0 0,0-14 16,0 27-16,0-13 0,-1 0 0,-12 13 16,13 0-16,-1 0 15,-12 0-15,13 0 0,-14 13 0,14-13 0,0 13 16,0 0-16,-1-13 0,1 14 15,13-1-15,0 0 16</inkml:trace>
  <inkml:trace contextRef="#ctx0" brushRef="#br0" timeOffset="14115.2">16854 1998 0,'13'0'0,"-52"26"32,25 1-32,1-14 0,0 0 15,-14 13-15,14 1 0,-13-14 16,-1 14-16,14-14 0,0 13 0,0-13 16,-1 1-16,1-1 0,0 0 0,0 0 15</inkml:trace>
  <inkml:trace contextRef="#ctx0" brushRef="#br0" timeOffset="14290.51">16695 2103 0,'-13'-13'15</inkml:trace>
  <inkml:trace contextRef="#ctx0" brushRef="#br0" timeOffset="14423.81">16748 2222 0</inkml:trace>
  <inkml:trace contextRef="#ctx0" brushRef="#br0" timeOffset="18826.66">18865 873 0,'-13'0'15,"39"-13"48,-13 13-63,0 0 0,1 0 15,-1 0-15,0 13 0,0-13 0,14 0 16,-14 0-16,0 0 0,1 0 0,-1 0 16,0 0-16,0 0 0,0 0 15,1 0-15,-1 0 0</inkml:trace>
  <inkml:trace contextRef="#ctx0" brushRef="#br0" timeOffset="19240.74">19063 767 0,'0'-13'15,"27"13"17,-14 13-17,0-13-15,0 0 16,1 0-16,-1 14 0,0-14 16,0 0-16,1 13 0,-1-13 0,-13 13 15,13-13-15,0 0 0,0 13 0,1 0 16,-1-13-1,-13 14-15,13-1 0,-13 0 16,-13 14 0,13-14-16,-13 0 15,-1-13-15,14 13 0,-13 0 0,0-13 16,0 0-16,0 14 0,-1-1 16,1 0-16</inkml:trace>
  <inkml:trace contextRef="#ctx0" brushRef="#br0" timeOffset="19893.68">20069 675 0,'-14'-27'16,"14"14"-16,-13 0 0,0 13 16,13-13-16,-13 13 0,-1-14 0,-12 14 15,13 0-15,0 0 0,-14 0 0,1 0 16,-1 0-16,1 14 0,-1-14 15,14 13-15,-13 0 0,-1 0 0,14-13 16,0 13-16,-1 1 0,1-1 0,0-13 16,13 13-16,-13 0 0,13 1 15,13-14 1,0 0-16,0 0 0,1 0 16,-1 0-16,0 0 0,14 0 15,-14-14-15,13 14 0,-12 0 0,-1 0 16,0 0-16,13 0 15,-12 14-15,-1-1 16,-13 0-16,0 0 16,0 1-16,0 12 0,0-13 0,-13 14 15,13-1-15,0-13 0,-14 14 16,14-1-16,-13-13 0,13 1 0,-13-1 16,13 13-16,-13-12 0,13-1 15,0 0-15,-13 0 0,13 1 0,0-1 16,13-13-1</inkml:trace>
  <inkml:trace contextRef="#ctx0" brushRef="#br0" timeOffset="20330.63">20227 794 0,'-13'0'0,"-13"-13"15,12 13-15,1 0 16,0 0-16,0 0 16,0 0-16,-1 0 0,1 13 15,0 0 1,26 0-1,-13 0-15,13 1 16,1-1-16,-1 0 16,0-13-16,0 13 0,0-13 0,-13 14 15,14-1-15,-1 0 0,0-13 16,-13 13-16,13 0 0,-13 1 16,0-1-16,0 0 15,0 0-15,-13 1 16,0-1-16,13 0 0,-13 0 0,-14 1 15,14-1-15,0 0 0,-14-13 0,14 13 16,-13 0-16,12-13 0,1 14 0,-13-14 16,12 0-16,1 13 15</inkml:trace>
  <inkml:trace contextRef="#ctx0" brushRef="#br0" timeOffset="20561.78">20598 833 0,'0'0'15,"-27"27"1,14-14 0,-27 14-16,27-1 0,-13 0 15,-1-12-15,14-1 0,-13 13 0,12-12 16,1 12-16,0-13 0,0 1 15,-1-1-15,1 0 0,13 0 16,-13 0-16,13 1 0,-13-14 0,13 13 16,-13-13-16</inkml:trace>
  <inkml:trace contextRef="#ctx0" brushRef="#br0" timeOffset="20686.97">20188 926 0,'13'-13'16</inkml:trace>
  <inkml:trace contextRef="#ctx0" brushRef="#br0" timeOffset="20832.61">20585 1045 0</inkml:trace>
  <inkml:trace contextRef="#ctx0" brushRef="#br0" timeOffset="22536.77">22820 11681 0,'0'40'31,"0"-27"-31,-13 14 15,13 12-15,0 1 0,-13 0 0,13 13 16,-13-14-16,13 1 0,-14 13 16,1-13-16,13 13 0,-13-14 0,0 1 15,-1 0-15,1-1 0,0-12 0,0 12 16,0-12-16,13-1 0,-14-12 16,1-1-16,0 13 0,0-12 15,-1-1-15,1-13 0,0 0 31,13-13-31,0-1 0</inkml:trace>
  <inkml:trace contextRef="#ctx0" brushRef="#br0" timeOffset="22893.51">22926 11748 0,'0'-14'0,"-40"28"15,27-14 1,-13 13-16,13 0 0,-14 13 0,1-12 16,-1 12-16,-13 1 0,14-1 15,0 0-15,-41 27 0,28-39 16,12 12-16,1 1 0,-1-14 16,1 13-16,13-13 0,-14 1 0,27-1 15,-13 0-15,0-13 0,0 13 16,13 1-1</inkml:trace>
  <inkml:trace contextRef="#ctx0" brushRef="#br0" timeOffset="23318.06">22714 11814 0,'40'0'15,"-27"13"1,1 0-16,-1-13 0,0 13 0,0 14 16,14-14-16,-1 0 0,1 14 15,-14-14-15,13 13 0,1-12 0,-14-1 16,14 0-16,-14 0 0,0 1 0,0-1 16,0 0-16,1 0 15,-1-13-15,-13 13 0,13-13 0,0 14 0,1-14 16,-14 13-16,13-13 15,-13 13 1,13-13-16,0 13 16,-39-13 77,13-13-77,-1 13-16,1-13 16,13 0-16,-13-1 15,13 1-15</inkml:trace>
  <inkml:trace contextRef="#ctx0" brushRef="#br0" timeOffset="24522.54">20386 12925 0,'0'0'0,"0"-13"0,-13 52 31,13-12-15,-13-14-16,13 14 0,0 12 16,-14 1-16,14 0 0,0-1 0,-13 1 15,13 0-15,-13-1 0,13 1 0,0-14 16,0 1-16,-13-1 0,13 1 16,0-14-16,0 14 0,0-14 0,0 0 15,0 0-15,0 0 0,0 1 0,13-14 16,0 0-1,0-14-15</inkml:trace>
  <inkml:trace contextRef="#ctx0" brushRef="#br0" timeOffset="24836.5">20571 13229 0,'0'0'0,"0"-13"0,0 0 0,-13 39 31,13-13-31,0 1 0,0-1 16,13 13-16,-13-12 0,0-1 15,14 13-15,-1 1 0,0-14 0,0 0 16,-13 0-16,27 1 0,-14-1 0,0 0 16,0-13-16,1 0 0,-1 13 0,0-13 15,0-13-15,1 13 0,-1-13 16,0 13-16,-13-13 0,13-1 0,-13 1 16,0 0-16,0 0 15,0-1-15,0 1 0,0 0 16,0 0-16,-13 13 0,13-13 15,-13 13-15,0 0 16,-1 0-16,1 0 0,0 13 16,0 0-1,26 0 1</inkml:trace>
  <inkml:trace contextRef="#ctx0" brushRef="#br0" timeOffset="25238.89">21140 13242 0,'-66'0'16,"53"14"-16,0-14 15,13 13-15,0 0 16,0 0-16,0 1 15,13-1-15,-13 0 0,13 0 16,-13 0-16,13 1 0,1 12 0,-14-13 16,13 14-16,-13-14 0,0 14 15,0-1-15,0-13 0,0 14 16,-13-1-16,13-13 0,-14 14 0,14-14 16,-13 0-16,13 0 0,-13 1 0,0-1 15,13 0-15,-14-13 0,14 13 16,-13-13-16,13-13 15,0 0 1,13 0-16,-13-1 16,14 1-16,-1 0 0,-13 0 0,13 0 15,0-1-15,1 1 0,-1 0 0,0 0 16,0 13-16,0-27 0,1 14 16,-1 13-16,0-13 0,0-14 15,1 14-15</inkml:trace>
  <inkml:trace contextRef="#ctx0" brushRef="#br0" timeOffset="25495.74">22040 12819 0,'0'27'31,"-13"12"-16,13-12-15,-14-1 0,14 14 0,0 0 16,-13-1-16,13 1 0,0 0 0,-13-1 16,13 1-16,-13-14 0,13 14 15,0-13-15,-14-1 0,14 0 0,-13 14 16,13-13-16,-13-14 0,13 13 16,0-12-16,-13-1 15,13 0-15</inkml:trace>
  <inkml:trace contextRef="#ctx0" brushRef="#br0" timeOffset="25697.75">21683 13401 0,'26'-13'31,"1"0"-31,-14 13 16,13-14-16,-13 14 0,14-13 15,-1 13-15,1-13 0,-1 13 0,-12-13 16,12 13-16,0-13 0,-12-1 16,12 14-16,-13 0 0,14-13 0,-1 0 15,-13 13-15</inkml:trace>
  <inkml:trace contextRef="#ctx0" brushRef="#br0" timeOffset="26141.73">22410 13137 0,'-53'13'31,"40"0"-31,0 0 0,0 0 16,-1 1-16,1-1 0,0 0 0,0 0 15,13 14-15,-14-14 0,14 0 0,0 1 16,0-1-16,0 0 15,0 0-15,14 0 0,-1-13 16,0 0-16,0 0 0,1-13 16,-1 13-16,13-13 0,-12-13 15,12 12-15,0-12 0,-12-1 0,-1 14 16,0-13-16,0 12 0,1 1 0,-14 0 16,13 0-16,-13 0 0,13 13 0,-13-14 15,13 14-15,-13-13 16,0 40-1,0-14-15,0 0 16,0 0-16,-13 14 16,13-14-16,0 0 0,0 0 0,-13 1 15,13-1-15,0 0 0,0 0 0,0 1 0,-13-1 16,13 0-16,0 0 16,0 0-16,0 1 0,0-1 15,0 0-15</inkml:trace>
  <inkml:trace contextRef="#ctx0" brushRef="#br0" timeOffset="26585.76">22662 12991 0,'0'-13'31,"-14"39"-31,1-12 16,13-1-16,-13 13 0,13-13 0,-13 14 15,-1-1-15,14-12 0,-13 12 16,13 0-16,0-12 0,-13-1 0,13 0 16,0 0-16,0 1 0,0-1 0,0 0 15,13-13 1,0 0-16,1-13 15,-1 13-15,0-13 0,0-1 16,1 1-16,-1 0 0,13 0 0,-13-1 16,1 14-16,-1-13 0,0 13 15,0 0-15,1 0 0,-1 0 16,0 0-16,-13 13 16,0 1-16,0-1 15,-13-13-15,13 13 0,0 0 0,-13 1 16,13-1-16,-14-13 0,14 13 0,-13 0 15,0-13-15,13 14 0,-13-1 0,-1-13 16,14 13-16,-13-13 16,0 0-16,13 13 0,-13-13 0,0-13 15,13 0 1</inkml:trace>
  <inkml:trace contextRef="#ctx0" brushRef="#br0" timeOffset="26987.53">23072 12660 0,'13'53'32,"-26"-26"-32,13 12 0,-14-12 0,14 13 15,-13-1-15,0-12 0,13 12 16,-13-12-16,13-1 0,0 1 0,-13-14 15,13 13-15,0-12 0,13 12 0,-13-13 16,0 1-16,13-1 0,-13 0 16,13-13-16,0 13 0,1-13 0,-1 0 15,13 0-15,-12-13 0,-1 0 16,0 13-16,0-13 0,1-1 16,-1 1-16,-13 0 0,13 0 0,-13-1 15,0 1-15,0 0 16,-26 26-1,12 0 1,1-13-16,13 14 0,0-1 0,-13 0 16,13 0-16,0 1 0,0-1 15,0 0-15,0 0 16,13 0-16,-13 1 0,13-14 16,-13 13-16,14 0 0,-14 0 0</inkml:trace>
  <inkml:trace contextRef="#ctx0" brushRef="#br0" timeOffset="27291.48">21405 13758 0,'-13'0'0,"26"0"16,0-13-16,13 13 16,27-13-16,0 0 0,13 13 15,14-14-15,-1 1 0,14 0 0,-1 0 0,14 13 16,13-14-16,-13 14 0,-13-13 16,-1 13-16,-12 0 0,12-13 15,-12 13-15,-27 13 0,0-13 0,-14 0 16,-12 0-16,-14 0 0,0 0 0,-39 13 31,12-13-31,-12 14 0</inkml:trace>
  <inkml:trace contextRef="#ctx0" brushRef="#br0" timeOffset="27518.29">21299 13904 0,'-66'13'0,"132"-26"16,-145 39-16,65-26 0,67 0 31,0-13-31,13 0 0,14 13 16,-1-13-16,14-1 0,-1 14 0,1 0 15,0-13-15,-1 13 0,-13-13 16,14 13-16,-27-13 0,14 13 0,-27 0 16,-1-14-16,-12 14 0,-13-13 0,-1 13 15,0-13-15,-12 13 0,-1-13 0,-13 0 16,0-1-16,0-12 0,-13-1 15</inkml:trace>
  <inkml:trace contextRef="#ctx0" brushRef="#br0" timeOffset="27802.08">21101 12753 0,'52'-13'16,"-25"-1"-16,-1 14 15,14-13-15,0 0 0,13 13 0,0-13 16,-1 13-16,1-13 0,0 13 0,13-14 15,-13 14-15,0 0 0,-13 0 16,0-13-16,-14 13 0,1 0 0,-14 0 16,0 0-16</inkml:trace>
  <inkml:trace contextRef="#ctx0" brushRef="#br0" timeOffset="28054.63">21114 12832 0,'-27'0'16,"54"0"-1,-1 0-15,1 0 16,-1-13-16,27 13 0,0 0 0,0-13 16,13 13-16,13-13 0,-12 13 0,12-14 15,-13 14-15,-13 0 0,13-13 16,0 13-16,-13-13 0,0 13 0,0 0 15,26-13-15,-12-1 0,-1 14 0,-13 0 16,13-13-16,0 13 0,-13-13 16,0 13-16</inkml:trace>
  <inkml:trace contextRef="#ctx0" brushRef="#br0" timeOffset="28618.44">23865 12806 0,'0'40'31,"0"-27"-31,0 0 0,0 0 0,0 14 16,-13-14-16,13 13 0,0-12 0,-13 12 15,13 1-15,0-1 0,-13 0 16,-1-12-16,14 12 0,0-13 15,-13 14-15,13-14 0,-13 0 0,13 0 16,-13-13 0,26-39-1,0 26-15,-13-14 16,13 1-16,1-14 0,-1 0 16,0 1-16,0 12 0,-13 1 0,14-1 15,-14 14-15,13 0 0,-13 0 0,0-1 16,0 41-1,-13-14 1,13 13-16,0 1 0,-14-1 16,14 1-16,0-1 0,-13 14 0,13-14 15,0 1-15,0-1 0,0 1 16,0-1-16,0 1 0,0-1 0,0 1 16,-13-14-16,13 13 0,0-12 15,-13-1-15,-1 0 0</inkml:trace>
  <inkml:trace contextRef="#ctx0" brushRef="#br0" timeOffset="29225.6">19791 13110 0,'0'0'0,"13"27"31,-26-14-31,13 13 0,0 1 16,0 12-16,0 1 0,-13 13 0,13-13 15,0 13-15,0-14 0,-14 14 16,14-13-16,-13 13 0,13-14 0,0 1 16,0-13-16,-13-1 0,13 1 0,0-14 15,0 13-15,0-13 0,0 1 16,0-1-16</inkml:trace>
  <inkml:trace contextRef="#ctx0" brushRef="#br0" timeOffset="29435.79">19844 13203 0,'0'-27'0,"0"54"0,0-67 0,0 66 31,0 1-31,0-1 16,-13 1-16,13 13 0,0-1 0,0 14 15,0-13-15,-14 13 0,14-14 0,0 1 16,0 0-16,0-1 0,0-12 15,0-1-15,0 1 0,0-1 0,0-12 16,0-1-16,0 0 0,0 0 16,0 0-16</inkml:trace>
  <inkml:trace contextRef="#ctx0" brushRef="#br0" timeOffset="29818.31">19738 12846 0,'0'0'16,"53"0"-16,-27-14 0,14 14 0,0 0 15,13 0-15,-1-13 0,15 13 0,12-13 16,80 0-16,0-1 16,-93 14-16,13-13 0,67 13 15,-67-13-15,-13 13 0,-13 0 16,0-13-16,0 13 0,0-14 15,0 14-15,-14-13 0,-12 13 0,-1-13 16,1 13-16,-14 0 0,0-13 0,0 13 16,1-13-16,-14-1 15</inkml:trace>
  <inkml:trace contextRef="#ctx0" brushRef="#br0" timeOffset="30074.53">20201 12753 0,'53'-13'16,"-27"13"-16,1 0 0,26 0 15,-14-14-15,14 14 0,0 0 0,0-13 16,0 13-16,0 0 0,0-13 15,0 13-15,-14 0 0,1 0 0,-13 0 16,-1 0-16,1 0 0,-1 0 0,0 0 16,-12 0-16,-1 0 15,0 0-15,0 0 0,1 0 0</inkml:trace>
  <inkml:trace contextRef="#ctx0" brushRef="#br0" timeOffset="39673.87">22053 1495 0,'-40'0'16,"14"0"-1,52 0 16,-12 0-15,-1-13-16,0 13 0,13 0 0,-12 0 0,-1 0 16,0 0-16,14 0 0,-14 0 15,0 0-15,0 0 16,1 0-16,-1 13 16,-13 0-16,-13 0 15,13 1-15,-14-14 0,14 13 16,-13 0-16,0 14 0,0-14 0,13 0 15,-14 0-15,1 0 0,13 1 0,-13-1 16,0 0-16,13 0 0,-14-13 16,14 14-16,-13-1 15,13 0-15,0 0 16,0 0 0,13-13-1,14 0 1,-14 0-16,0 0 15,1 0-15,-1 0 16,0 0-16,0 0 0</inkml:trace>
  <inkml:trace contextRef="#ctx0" brushRef="#br0" timeOffset="39906">21828 1707 0,'-13'-14'31,"53"14"-15,-27 0-16,0 0 0,0 0 0,1 0 15,-1 0-15,13-13 0,-13 13 0,14 0 16,-14 0-16,14 0 0,-1-13 15,0 13-15,-12 0 0</inkml:trace>
  <inkml:trace contextRef="#ctx0" brushRef="#br0" timeOffset="40156.76">22410 1588 0,'-13'0'15,"39"0"17,-12-14-17,-1 14-15,0 0 0,0 0 16,1 0-16,-1 0 0,0 0 15,0 0-15,0 0 0,1 0 0</inkml:trace>
  <inkml:trace contextRef="#ctx0" brushRef="#br0" timeOffset="40399.29">22820 1296 0,'0'14'32,"-13"-1"-32,13 13 15,0-12-15,-13-1 16,13 13-16,0-12 0,-13 12 0,13 0 16,0 1-16,-14-1 0,14-12 0,0 12 0,0-13 15,0 14-15,0-1 16,0-13-16,0 1 0,14 25 15,-14-25-15</inkml:trace>
  <inkml:trace contextRef="#ctx0" brushRef="#br0" timeOffset="40913.72">22662 1680 0,'39'-26'16,"-26"26"-16,1-14 16,12 14-16,1-13 15,-14 13-15,13-13 0,14 0 0,-14 0 16,1 13-16,13-14 0,-27 14 0,13-13 16,1 13-16,-14-13 0,40 0 31,-53-1-31,-13 14 15,-14 0 1,14 14 0,0-14-16,0 0 0,-1 13 0,-12 0 15,26 0-15,-13-13 0,13 14 16,-14-14-16,14 13 0,14 0 31,-1 0-31,0-26 16,0 13-16,1 0 15,-14-13-15,13 13 0,0-13 0,0-1 16,0 14-16,-13-13 0,14 0 0,-1 0 16,0-1-1,0 28 1,-13-1 0,14 0-16,-14 0 15,0 1-15,0-1 0,0 0 16,0 0-16,0 0 0,0 1 15,13-14-15,-13 13 0</inkml:trace>
  <inkml:trace contextRef="#ctx0" brushRef="#br0" timeOffset="41330.43">23283 1204 0,'0'-27'32,"-13"41"-32,0-1 0,13 0 15,-13 14-15,13-14 0,0 0 0,-14 13 16,14 1-16,0-1 0,-13 1 16,13-14-16,0 14 0,-13-14 0,13 13 15,0-13-15,0 1 0,0-1 16,0 0-16,0 0 15,13-13 1,0 0-16,1 0 16,-1-13-16,0 13 0,0 0 15,1 0-15,-1 13 0,0-13 16,0 0-16,-13 14 0,13-14 0,1 13 16,-14 0-1,-14 0-15,14 1 16,-13-1-16,0 0 15,0 0-15,0 0 16,-1-13-16,1 14 0,0-14 16,13-14 15</inkml:trace>
  <inkml:trace contextRef="#ctx0" brushRef="#br0" timeOffset="41690.53">23521 1164 0,'0'-13'16,"-13"53"-1,13-14-15,0-13 16,0 14-16,0-1 0,0 1 16,0-1-16,0 1 0,0-14 0,0 13 15,0 1-15,13-14 0,-13 13 0,14-12 16,-14-1-16,13 0 0,0 0 15,0-13-15,1 0 0,-1 0 0,0 0 16,0 0-16,1 0 0,-1-13 0,0 0 16,0 0-16,0 13 0,-13-14 15,14 1-15,-14 0 0,0 0 16,0 0 0,-14 39-1,1-26-15,13 13 16,0 0-16,0 1 0,0-1 15,0 0-15,0 0 0,13 1 16,1-1-16,-1-13 0,0 13 16,14-13-16,-14 0 0,13 0 15</inkml:trace>
  <inkml:trace contextRef="#ctx0" brushRef="#br0" timeOffset="41811.49">24104 1548 0,'-14'-13'47</inkml:trace>
  <inkml:trace contextRef="#ctx0" brushRef="#br0" timeOffset="45709.96">13745 3254 0,'-13'0'0,"53"0"31,-27 0-15,0 0-16,13 0 0,1 14 15,13-14-15,-14 0 0,1 0 0,12 13 16,-12-13-16,12 0 0,1 13 0,-13-13 16,-1 0-16,14 13 0,-14-13 15,1 0-15,-14 0 0,13 14 0,1-14 16,-14 0-16,13 0 0,1 0 0,-14 0 16,14 0-16,-14 0 0,13 0 15,-13 0-15,1 0 0,12 0 0,-13 0 16,1 0-16,-1-14 0,13 14 0,-12 0 15,-1 0-15,0-13 0,0 13 16,14 0-16,-14 0 16,0-13-16,0 13 0,1-13 15,-1 13-15,0 0 0,-13-14 0,13 14 16,1 0-16,-1-13 0,0 0 16,0 13-16,-13-13 0,13 13 15,1-14-15,-1 1 0,0 0 16,-13 0-16,13 13 15,-13-13-15,14-1 0,-14 1 16,13 0-16,-13 0 0,0-1 16,13-12-16,-13 13 15,0-1-15,0 1 0,0 0 0,0 0 16,0 0-16,0-1 0,0 1 0,0 0 16,0 0-16,-13-1 0,13 1 0,-13 0 15,13 0-15,-14-14 16,14 14-16,-13 0 0,13 0 0,-13-1 15,0 1-15,13 0 0,-14 0 0,1-1 16,13 1-16,-13 13 0,0-13 16,0 0-16,13 0 0,-14 13 0,1-14 15,0 1-15,0 13 0,13-13 0,-14 13 16,-12-13-16,26-1 0,-13 14 0,-14-13 16,14 13-16,0-13 0,0 13 15,-14-13-15,14 13 0,0 0 0,-14-14 16,14 14-16,0-13 0,-1 13 15,-12 0-15,13 0 0,0-13 16,-1 13-16,1 0 0,0 0 0,0-13 16,-14 13-16,14 0 0,0 0 0,0 0 15,-1 0-15,1 0 0,0 0 0,0 0 16,-1 0-16,-12-13 0,13 13 16,-1 0-16,1 0 0,0 0 0,-13 0 15,12 0-15,1 0 0,0 0 0,-14 13 16,14-13-16,-13 0 0,12 0 15,1 0-15,-13 0 0,13 0 0,-1 0 16,1 0-16,0 13 0,0-13 0,-14 0 16,14 0-16,0 13 0,-1-13 15,1 13-15,0 1 0,-13-14 16,12 13-16,1 0 0,-13 0 0,12 1 16,1 12-16,-13-13 0,12 14 0,-12-1 15,13 1-15,0-14 0,-1 13 16,1 1-16,0-14 0,0 14 15,-1-14-15,1 13 0,13-13 0,-13 14 16,13-14-16,-13 0 0,13 1 0,0 12 16,0-13-16,13 0 0,-13 14 0,13-14 15,0 0-15,-13 1 0,14 12 0,-1-13 16,-13 1-16</inkml:trace>
  <inkml:trace contextRef="#ctx0" brushRef="#br0" timeOffset="47089.63">4167 7011 0,'27'0'0,"-14"-13"15,13 13-15,-12 0 0,12 0 16,0 0-16,1 0 0,13 0 16,13-13-16,-27 13 0,0 0 15,1 0-15,-1 0 0,-12 0 0,12 0 16,-13 0-16,1 0 0,-1 13 16,-40 0-1,14-13-15,0 14 16,-14-14-16,1 13 0,-14-13 15,1 13-15,-1-13 0,-13 13 16,13-13-16,14 14 0,-1-14 0,1 0 16,-1 0-16,14 13 0,-13-13 15,13 0-15,-1 0 0,1 0 16,13 13-16,27-13 16,-14 0-1,13 0-15,-13 0 0,14 0 16,-14 0-16,14 0 0,-14 13 0,13-13 15,1 0-15,-14-13 0,13 13 0,-12 13 16,12-13-16,-13-13 0,1 13 16,-1 0-16,0 13 15,0-13-15</inkml:trace>
  <inkml:trace contextRef="#ctx0" brushRef="#br0" timeOffset="48274.61">11417 5477 0,'0'0'0,"13"-27"16,-13 54 15,-13-1-31,13 27 0,-13 0 16,-1 27-16,-12 118 0,-1-79 15,14-13-15,0 26 0,0-13 16,-1 14-16,1-1 0,0 0 0,0 0 16,-14 1-16,14-1 0,0-13 15,0 0-15,-1 0 0,14-39 16,-13-1-16,13 0 0,-13-13 0,13 1 0,0-14 16,-13-14-16,13 1 0,0 0 15,-14-14-15,14-13 0,0 0 0,0 1 16,-13-14-16</inkml:trace>
  <inkml:trace contextRef="#ctx0" brushRef="#br0" timeOffset="48832.35">9816 7488 0,'0'0'16,"40"13"-1,-14-13-15,1 0 0,-1 0 16,14 0-16,-1 0 0,28 0 0,-14 0 16,13 0-16,13 0 0,0-13 15,1 13-15,12 0 0,1 0 0,0 0 16,12 0-16,-12-14 0,13 14 16,0 0-16,26 0 0,-13 14 0,13-14 15,1 0-15,-14 0 0,13 0 0,0 0 16,14 0-16,-1 0 0,-12 0 15,12 0-15,14-14 0,-14 14 0,14 0 16,0 0-16,0 0 0,-1 14 16,1-14-16,0 0 0,13 0 0,-13 0 15,-1 0-15,14 0 0,-13 13 16,0-13-16,0 0 0,-14 0 0,14 13 16,-14-13-16,-12 13 0,12-13 0,-39 0 15,-13 14-15,13-14 0,-14 0 0,1 0 16,-14 13-16,0-13 0,-26 0 15,0 0-15,0 0 0,-26 0 0,-1 0 16,1 0-16,-14 0 0,0 0 0,0 0 16,1 0-16</inkml:trace>
  <inkml:trace contextRef="#ctx0" brushRef="#br0" timeOffset="51080.58">11218 7289 0,'27'13'31,"-14"-13"-31,0 0 15,0 0-15,1 0 0,-1 0 16,0 0-16,14 0 0,-14 0 16,0 0-16,14 0 0,-14-13 0,13 13 15,1 0-15,-14 0 0,13-13 16,1 13-16,-1-13 0,1 13 16,-1-13-16,-13 13 0,14-14 0,-1 14 15,1-13-15,-1 0 0,-12 13 0,25-13 16,-12-1-16,-14 1 0,13-13 15,1 13-15,26-14 0,-40 14 16,0-14-16,14 14 0,-14 0 0,0 0 16,0-1-16,1-12 0,-1 13 0,0 0 15,0-1-15,-13 1 16,13 0-16,1 0 0,-14-1 0,13 1 16,-13 0-16,13 0 0,0-1 0,1-12 15,-14 0-15,26-1 16,-26 14-16,13 0 0,-13-1 15,14 1-15,-1 0 0,-13 0 0,13 0 16,0-1-16,0 1 0,-13 0 16,14 0-16,-1-1 0,-13 1 0,13 0 15,0 0-15,1-1 0,-1 1 0,-13 0 16,13 0-16,0 0 0,0-14 0,1 14 16,-1 0-16,0-1 0,0 1 15,1 0-15,-1-14 0,0 14 0,-13 0 16,13 0-16,1 0 0,-1-1 15,0 1-15,0 0 0,-13 0 16,13-1-16,1 1 0,-1 0 0,-13-14 16,13 14-16,0 0 0,1 0 0,-1-14 15,0 14-15,0 0 0,1 0 16,-1-14-16,40-26 16,-40 27-16,13 13 15,-12-1-15,-14 1 0,13 0 0,0 0 16,0-1-16,1 1 0,-1 0 15,0 0-15,0 0 0,0-1 16,-13 1-16,14 0 0,-1 0 0,0-1 16,0 1-16,1 0 15,-1 0-15,-13-1 0,13 1 16,0 13-16,1-13 0,-1 0 0,-13 0 16,13-1-16,0 1 0,0 0 0,1 13 15,-1-13-15,0-1 0,0 1 16,1 0-16,-1 0 0,0-1 0,0 1 15,0 0-15,14 0 0,-14 0 0,0-1 16,1 1-16,-1 13 0,0-13 16,14 0-16,-14-1 0,0 1 0,0 0 15,0 13-15,14-13 0,-14 0 16,0-1-16,1 1 0,12 0 0,-13 13 16,1-13-16,-1-1 0,13 14 15,-13-13-15,1 0 0,12 13 0,-13-13 16,1 13-16,-1-14 0,13 14 0,-13-13 15,1 13-15,12-13 0,-13 13 0,14 0 16,-14-13-16,14 13 0,-14 0 16,13-13-16,-13 13 0,14 0 0,-1-14 15,-12 14-15,-1 0 0,0 0 0,14 0 16,-14 0-16,0-13 0,13 13 16,-12 0-16,-1 0 0,0 0 0,14 0 15,-14 0-15,0 0 0,0 0 0,1 13 16,12-13-16,-13 0 0,0 0 15,1 0-15,-1 0 0,13 14 16,-12-14-16,-1 0 0,13 13 0,-12-13 16,12 0-16,-13 13 0,0-13 0,1 13 15,12-13-15,-13 13 0,14-13 16,-14 14-16,0-14 0,40 26 16,-40-26-16,14 13 0,-14 1 0,14-1 15,-14-13-15,13 13 0,-13 0 0,1 1 16,12-1-16,-13 0 0,1 0 15,-1 0-15,0 1 0,0-1 0,14 0 16,-14 0-16,0 1 0,0-1 0,1 0 16,-1 0-16,0 0 15,0 1-15,1 12 0,-1-13 0,-13 1 16,26 12-16,-13 1 0,1-14 16,-1 0-16,0 13 0,0-12 0,1-1 15,-1 13-15,0-12 0,0-1 16,1 13-16,-1-12 0,-13-1 0,13 13 15,0-13-15,0 14 0,1-14 0,-1 0 16,0 14-16,0-14 0,1 0 16,-1 14-16,-13-14 0,13 13 0,0-12 15,1-1-15,-1 13 0,0-12 16,-13-1-16,13 13 0,0-13 0,-13 14 16,14-14-16,-1 14 0,-13-14 15,13 13-15,0-12 0,-13 12 0,14-13 16,-14 14-16,13-1 0,0-13 0,-13 14 15,13-14-15,1 14 0,-14-14 0,13 13 16,0-13-16,-13 14 0,13-14 16,0 14-16,-13-1 0,14-13 0,-1 14 15,0-14-15,0 13 0,1-12 0,-1 12 16,0-13-16,-13 1 0,13 12 16,14-13-16,-14 14 0,0-14 0,0 0 15,1 0-15,12 1 0,-13 12 0,14-13 16,-1 1-16,-13 12 0,14-13 15,-1 0-15,-12 1 0,12-1 16,-13 0-16,14 0 0,-14 1 0,13-1 0,1 0 16,-14 0-16,14-13 0,-1 14 15,-13-1-15,14 0 0,-1 0 16,-13-13-16,14 13 0,-1 1 16,1-1-16,-14 0 0,27 0 0,-14 1 0,14-1 15,-14-13-15,14 13 0,-14 0 0,1 0 16,-1-13-16,1 14 0,-14-14 0,14 13 15,-14-13-15,0 0 0,0 13 16,0-13-16,-52 13 16,26-13-1,-14 0-15,-13 0 16</inkml:trace>
  <inkml:trace contextRef="#ctx0" brushRef="#br0" timeOffset="51638.3">13772 7329 0,'0'0'0,"0"-13"0,13 39 31,0-13-15,-13 1-16,0 12 0,0-13 0,0 14 16,0-14-16,0 13 0,0 1 0,0-14 15,-13 14-15,13-1 16,0 1-16,0-14 0,0 13 0,-13-13 16,13 14-16,0-14 0,-14 0 0,14 14 15,0-14-15,-13 0 0,13 1 0,0-1 16,-13 0-16,13 0 0</inkml:trace>
  <inkml:trace contextRef="#ctx0" brushRef="#br0" timeOffset="51986.53">13666 7898 0,'-14'0'0,"28"0"0,-41 0 0,14 13 15,0 0-15,0 1 16,-1-1-16,14 0 0,-13-13 16,13 13-16,0 0 0,0 1 0,0-1 15,13-13-15,-13 13 0,14-13 16,-1 13-16,0-13 0,13 0 0,-12 14 16,12-14-16,1-14 0,-14 14 15,13 0-15,-12-13 0,-1 13 0,0-13 0,0 0 16,0-1-16,-13 1 15,0 0-15,-13 0 0,13 0 0,-13-1 16,0 1-16,0 0 0,-1 0 0,-12-1 16,13 1-16,-1 13 0,1-13 0,-13 13 15,12-13-15,1 13 0,13-14 16,-13 14-16,0 0 0</inkml:trace>
  <inkml:trace contextRef="#ctx0" brushRef="#br0" timeOffset="52307.42">14631 7382 0,'0'26'15,"-13"-12"-15,13-1 16,0 0-16,0 0 0,0 0 15,-13 14-15,13-14 0,0 0 0,-13 40 16,0-26-16,-1-1 0,1 14 16,13-14-16</inkml:trace>
  <inkml:trace contextRef="#ctx0" brushRef="#br0" timeOffset="52521.71">14499 7898 0,'0'26'31,"-13"-12"-15,13-1-16,0 0 0,-13-13 15,13 13-15,0 0 0,0 1 16,0-1-1,0 0-15</inkml:trace>
  <inkml:trace contextRef="#ctx0" brushRef="#br0" timeOffset="52954.45">15253 7422 0,'0'39'31,"0"-26"-31,0 1 16,-13-1-16,13 0 0,0 0 16,0 14-16,0-14 0,-13 0 0,13 1 15,0 12-15,-13-13 0,13 14 16</inkml:trace>
  <inkml:trace contextRef="#ctx0" brushRef="#br0" timeOffset="53337.48">15161 7938 0,'26'0'0,"-52"0"0,65-14 0,-25 28 16,-1-14-16,-13 13 16,0 0-1,0 0-15,-13 0 0,-1 1 16,1-1-16,0 0 0,0 0 16,13 1-16,-14-14 15,14 13-15,-13-13 0,0 13 16,26 0 15,14-13-31,-14 0 0,0-13 16,0 13-16,14 0 0,-14-13 0,13 13 15,-12-13-15,12 13 0,-13-14 16,14 14-16,-1-13 0</inkml:trace>
  <inkml:trace contextRef="#ctx0" brushRef="#br0" timeOffset="53598.31">16179 7527 0,'0'-13'31,"-13"40"-16,13-14-15,0 0 0,-13 0 16,13 1-16,0-1 0,0 0 16,0 0-16,-13 0 0,13 1 0,0-1 15,0 0-15,0 0 0,0 1 16,0-1-16,0 0 0,0 0 0,0 1 16</inkml:trace>
  <inkml:trace contextRef="#ctx0" brushRef="#br0" timeOffset="54053.89">16007 7990 0,'0'0'0,"14"0"15,12 0 16,-26 14-31,0-1 16,0 0 0,0 0-16,0 1 15,13-14-15,-13 13 0,0 0 16,13-13-16,-13 13 0,14 0 16,-14 1-1,-14-1 1,1-13-16,0 0 15,0 0-15,0 0 0,-1 0 16,1 0-16,0 0 0,-14 0 0,1 13 16,-1-13-16</inkml:trace>
  <inkml:trace contextRef="#ctx0" brushRef="#br0" timeOffset="54693.54">12885 7395 0,'-13'40'31,"13"-27"-16,-13 0-15,13 0 0,0 1 16,-13-1-16,13 13 0,0-12 0,0-1 16,0 0-16,0 0 0,0 14 0,0-14 15</inkml:trace>
  <inkml:trace contextRef="#ctx0" brushRef="#br0" timeOffset="54949.83">12687 8057 0,'39'0'31,"-25"0"-15,-1 0-16,0-14 15,0 14-15,1 0 0,-1 0 0</inkml:trace>
  <inkml:trace contextRef="#ctx0" brushRef="#br0" timeOffset="55110.37">12991 7938 0,'0'0'0,"13"13"16,-26 0 0,13 0-16,0 0 15,0 1-15,0-1 0,0 0 16,-13 0-16,13 1 16,0-1-16,-13-13 0</inkml:trace>
  <inkml:trace contextRef="#ctx0" brushRef="#br0" timeOffset="55521.53">12118 7382 0,'0'26'16,"0"-12"-16,0-1 16,0 0-16,0 0 0,0 14 0,-13-1 15,13-13-15,0 14 0,0-14 0,-14 14 16,14-14-16,0 13 15,0-13-15</inkml:trace>
  <inkml:trace contextRef="#ctx0" brushRef="#br0" timeOffset="55733.76">11933 8030 0,'39'0'31,"-39"-13"-31,14 13 0,-1 0 16,0 0-16,0-13 0,1 13 0</inkml:trace>
  <inkml:trace contextRef="#ctx0" brushRef="#br0" timeOffset="55976.42">12211 7898 0,'0'0'0,"13"0"0,0 0 16,-13 13-16,0 0 16,-13 1-1,13-1-15,-13 0 0,13 0 0,-14 0 16,14 1-16,-13-1 0,13 0 15,0 0-15,13-13 16,1 0 0,12 0-1,-13 0-15,-13-13 0,13 13 0,1-13 16,-14 0-16,0-1 16,0 1-16</inkml:trace>
  <inkml:trace contextRef="#ctx0" brushRef="#br0" timeOffset="56363.21">11483 7488 0,'0'-14'0,"0"28"0,-13-1 47,13 0-47,-14 0 0,14 1 15,0-1-15,-13 13 0,13-12 16,0-1-16,-13 0 0,13 13 0,0-12 16,0-1-16,-13 0 0,13 0 0,0 1 15</inkml:trace>
  <inkml:trace contextRef="#ctx0" brushRef="#br0" timeOffset="56583.07">11218 7938 0,'27'-14'32,"-14"14"-32,0 0 0,0-13 0,1 13 15,-1 0-15,0 0 16,0 0-16</inkml:trace>
  <inkml:trace contextRef="#ctx0" brushRef="#br0" timeOffset="56878.65">11483 7858 0,'26'-13'15,"-26"26"1,0 0 0,0 1-1,0-1-15,14-13 16,-14 13-16,13 0 15,0 1-15,-13-1 16,13-13-16,-13 13 0,14 0 16,-14 0-16,-14 1 15,14-1 1,-13 0-16,0-13 0,0 13 16,-1-13-16,1 14 0,0-1 15,0-13-15,-1 13 0,1-13 0,0 0 16</inkml:trace>
  <inkml:trace contextRef="#ctx0" brushRef="#br0" timeOffset="57692.82">12713 6178 0,'0'-13'32,"0"39"-17,0 1-15,0-14 0,0 13 16,0 1-16,-13 13 0,13-14 0,-13 14 15,0-1-15,13 1 0,-14 0 16,1-1-16,13 1 0,-13-13 0,13-1 16,0 1-16,0-1 0,-13-13 0</inkml:trace>
  <inkml:trace contextRef="#ctx0" brushRef="#br0" timeOffset="57868.45">12700 6919 0,'0'0'0,"0"26"0,-13-12 0,13-1 15,0 0-15,-13 0 0,13 0 0,0 14 16,0-14-16,0 0 0,-14 1 16,14-1-16,0 0 0,0 14 15,0-14-15</inkml:trace>
  <inkml:trace contextRef="#ctx0" brushRef="#br0" timeOffset="58001.85">12700 7342 0,'0'13'16,"0"-26"-16,0 40 0,-13-27 0,13 13 16,-13 0-1</inkml:trace>
  <inkml:trace contextRef="#ctx0" brushRef="#br0" timeOffset="58842.38">14949 5913 0,'-13'27'15,"13"-14"-15,-14 0 0,1 14 16,13-1-16,-13 1 0,13-1 0,-13 1 16,13 12-16,-13-12 0,-1 12 15,14 1-15,-13-13 0,13-1 16,-13 1-16,13-1 0,0 0 0,0-12 0</inkml:trace>
  <inkml:trace contextRef="#ctx0" brushRef="#br0" timeOffset="59024.51">14724 6760 0,'0'27'0,"0"-54"0,-13 67 0,13-27 0,-13 0 16,13 0-16,-14 1 0,14-1 15,0 0-15,0 0 0,0 1 16,-13-1-16,13 0 0,0 0 0,0 1 16,0 12-16,13-26 0,-13 26 0,0-12 15,0-1-15,0 0 0,0 0 16,14 1-16,-14-1 0,0 0 15,0 0-15</inkml:trace>
  <inkml:trace contextRef="#ctx0" brushRef="#br0" timeOffset="59178.12">14658 7276 0,'0'0'0,"-13"26"16,-1-12-16,1 25 31,0-25-31,13-1 0,0 0 0,-13 0 16,13 1-16,0-1 0,0 0 15,0 0-15,-13 0 0,13 1 16,-14-1-16,14 0 0,0 0 16</inkml:trace>
  <inkml:trace contextRef="#ctx0" brushRef="#br0" timeOffset="59809.69">12607 6032 0,'106'-13'31,"-93"13"-15,14 0-16,13 0 0,-14 0 0,14 0 15,-14 0-15,27 13 0,0-13 0,0 0 16,0 0-16,0 0 0,-14 0 0,14 0 16,0 0-16,0 0 15</inkml:trace>
  <inkml:trace contextRef="#ctx0" brushRef="#br0" timeOffset="60110.84">13944 6046 0,'13'0'0,"-26"0"0,39-14 16,-13 14-16,0 0 0,1-13 16,-1 13-16,13 0 0,-12 0 0,-1 0 15,13-13-15,-12 13 0,12 0 16,-13 0-16,14 0 0,-14 0 0,13-13 16,1 13-16,-14 0 0,14 0 0,-14 0 15,13 0-15,-13 0 0,14 0 16,-14 0-16,0 0 0,1 0 0,-1-13 15,0 13-15,0 0 0,0 0 16,1 0-16,-1 0 16,0-14-16,0 14 0,1 0 15,-1 0-15,0-13 0,0 13 16,1 0-16,-1 0 16,0-13-16,0 13 0,0 0 15</inkml:trace>
  <inkml:trace contextRef="#ctx0" brushRef="#br0" timeOffset="62714.51">14671 6257 0,'-13'0'31,"39"-13"-31,1 13 16,13-26-16,12 12 0,15-12 15,12 13-15,14-27 0,-1 14 0,14-14 16,0 13-16,-14 1 0,1 0 0,-14 12 15,1-12-15,-1 13 0,-13-14 16,0 14-16,-13 13 0,-13-13 0,0 0 16,-27 13-16,13-14 0,-12 14 0,-1 0 15,0-13-15,0 0 16,1 13-16</inkml:trace>
  <inkml:trace contextRef="#ctx0" brushRef="#br0" timeOffset="63026.52">16087 5609 0,'26'0'16,"-13"0"-16,1 0 0,-1 13 15,0-13-15,0 14 0,14-1 0,-14 0 16,0 0-16,0 14 0,1-14 16,-1 0-16,-13 0 0,13 1 0,-13-1 15,0 0-15,0 0 0,-13 1 0,13-1 16,-13 0-16,-1 14 0,1-14 0,0 0 16,0 0-16,-1 0 0,1-13 15,0 14-15,0-1 0,0-13 0,-1 13 16</inkml:trace>
  <inkml:trace contextRef="#ctx0" brushRef="#br0" timeOffset="63353.61">16722 5358 0,'0'0'0,"-40"26"15,27-12-15,-14 12 0,14 0 16,-27 14-16,14 0 0,-1-1 0,14 1 16,0-13-16,0 12 0,0-12 15,13-1-15,0-13 0,0 14 0,0-14 16,13 0-16,0 14 0,0-14 0,0-13 16,1 13-16,-1 1 15,13-14-15,-12 0 0,-1 0 16,0 0-16,0 0 0,1-14 15,-1 14-15,-13-13 0,0 0 16,-13 0 0,-1 13-16,1-14 0,0 14 15,0-13-15,-1 13 0,1 0 16,0-13 0</inkml:trace>
  <inkml:trace contextRef="#ctx0" brushRef="#br0" timeOffset="63736.42">16854 5490 0,'13'40'32,"-13"-27"-32,0 0 0,13 0 15,-13 1-15,0-1 0,0 0 16,0 0-16,0 1 0,14-1 0,-14 0 15,-14 14-15,14-14 0,0 0 16,0 0-16,-13-13 16,0 0-16,13-13 31,0 0-31,0 0 0,0-1 16,0 1-16,13 0 15,-13-14-15,13 14 0,-13-13 0,14-1 16,-1 1-16,-13 13 0,0-1 0,0 1 15,13 13-15,-26-13 0,13 0 16,0-1-16,-13 14 0,-1 0 16,-12 0-16,13 0 15,0 14-15,-1-14 0,1 13 0,0-13 16,0 13-16,-1 0 16</inkml:trace>
  <inkml:trace contextRef="#ctx0" brushRef="#br0" timeOffset="63974.92">17238 5424 0,'13'-13'0,"0"13"16,-13 13 0,0 0-16,-13 0 15,13 1-15,-13-1 16,-1 13-16,1-12 0,0 12 0,0 0 15,-14 1-15,14-1 0,-13 1 0,12-14 16,1 0-16,0 14 0,0-14 0,-14 0 16,14 0-16,0 1 0,-1-1 15,14 0-15,-13-13 0,0 13 0</inkml:trace>
  <inkml:trace contextRef="#ctx0" brushRef="#br0" timeOffset="64203.35">16933 5543 0,'0'0'0</inkml:trace>
  <inkml:trace contextRef="#ctx0" brushRef="#br0" timeOffset="64342.36">17238 5636 0,'13'0'31</inkml:trace>
  <inkml:trace contextRef="#ctx0" brushRef="#br0" timeOffset="65551.61">12091 7448 0,'0'-13'16,"0"0"-1,14 13-15,-14-14 16,0 1-16,0 0 16,0 0-16,0-1 15,0 1-15,0 0 0,0 0 16,0-1-16,13 1 0,-13-13 0,0 13 15,0-1-15,13 1 16,-13 0-16,0 0 0,0-1 16</inkml:trace>
  <inkml:trace contextRef="#ctx0" brushRef="#br0" timeOffset="65677.48">12144 7091 0,'0'-13'16,"0"-1"-16,0 1 15,0 0 1,-13 13 0</inkml:trace>
  <inkml:trace contextRef="#ctx0" brushRef="#br0" timeOffset="66317.46">12184 6985 0,'0'0'0,"13"0"0,1 0 0,-1-13 15,0 13-15,0 0 16,0 0-16,1 0 0,-1 13 16,0-13-1,0 0-15,1 0 0,-1 0 16,13 0-16,-13 0 16,1 0-16,-1 0 0,0 0 0,0 0 15,14 0-15,-14 0 0,0 0 16,14 0-16,-14 0 0,0 0 15,0 0-15,14 0 0,-14 0 0,40 0 16,-40 0-16,1 0 16,12 0-16,-13 0 0,0 0 0,14 0 15,-14 13-15,14-13 0,-1 0 0,-13 0 16,14 0-16,-1 0 0,1 0 16,-14 0-16,13 0 0,1 0 15,-1 0-15,1 13 0,-14-13 0,13-13 16,1 13-16,-1 0 0,-12 0 15,-1 0-15,13 0 0,-13 0 0,1 0 16,12 0-16,-13 0 0,1 0 0,-1 0 16,0 0-16,0 0 0,1-13 15</inkml:trace>
  <inkml:trace contextRef="#ctx0" brushRef="#br0" timeOffset="66454.41">13732 6972 0,'26'0'0,"-12"0"15,-1 0 1,0 0-16,0-13 0,0 13 16,1 0-16,-1 0 0,0 0 0,0 0 15,1 0-15,-1 0 16</inkml:trace>
  <inkml:trace contextRef="#ctx0" brushRef="#br0" timeOffset="66594.35">14221 6945 0,'67'-13'31,"-54"13"-31,0 0 0,0 0 32,0-13-32,1 13 0,-1 0 15,0 0-15,0 0 16,14 0-16,-14 0 0,0-13 16</inkml:trace>
  <inkml:trace contextRef="#ctx0" brushRef="#br0" timeOffset="66741.53">14724 6892 0,'27'0'15,"-54"0"-15,67 0 0,-27-13 0,0 13 16,0 0 0,1-13-16,-1 13 15,0 0-15,0 0 0,1-13 16,-1 13-16,0 0 0,0 0 16,0 0-16,1 0 0,12 0 15,-13-14-15</inkml:trace>
  <inkml:trace contextRef="#ctx0" brushRef="#br0" timeOffset="66874.38">15266 6826 0,'0'0'0,"14"0"0,-1-13 16,0 13-16,0 0 15,1 0-15,-14-13 16,13 13-16,0 0 16,0 0-16,-13-13 0,14 13 15,-1 0-15,0 0 0</inkml:trace>
  <inkml:trace contextRef="#ctx0" brushRef="#br0" timeOffset="67050.98">15597 6747 0,'0'0'0,"0"-13"47,-26 39-16</inkml:trace>
  <inkml:trace contextRef="#ctx0" brushRef="#br0" timeOffset="67319.57">15372 6998 0,'-13'27'0,"-40"12"16,40-25 0,0-1-1,-1 0-15,14 0 0,-13-13 0,13 14 16,-13-1-16,13 0 0,0 0 16,-13-13-16,13 13 0,0 1 0,0-1 15,-13-13-15,13 13 0,0 0 16,0 1-16,-14-1 15,14 0-15,-13 0 16,13 0-16,-13 1 16,13-1-1</inkml:trace>
  <inkml:trace contextRef="#ctx0" brushRef="#br0" timeOffset="67442.42">15134 7474 0,'-13'27'0,"0"-14"0,13 0 15,-27 14 1,14-27-16,13 13 0,-13 0 31</inkml:trace>
  <inkml:trace contextRef="#ctx0" brushRef="#br0" timeOffset="68770.73">15068 7011 0,'0'14'15,"26"-14"1,1 0-1,-1-14-15,14 14 0,0-13 0,13 0 16,-14 13-16,14-13 16,0 0-16,13-14 0,-13 14 0,0 0 15,13-1-15,-26 1 0,13 0 0,26-14 16,-39 14-16,-14 0 0,1 13 16,-14-13-16,0 13 0,14-13 0,-14 13 15,0-14-15,1 14 16,-1-13-16,0 13 15</inkml:trace>
  <inkml:trace contextRef="#ctx0" brushRef="#br0" timeOffset="69059.53">15954 6654 0,'27'0'16,"-14"0"0,0 0-16,1 14 0,-1-14 0,0 0 15,0 13-15,14 0 0,-14-13 0,0 13 16,-13 0-16,13-13 0,1 14 16,-14-1-16,13 0 0,-13 0 15,-13 1-15,13-1 0,0 0 0,-14-13 16,14 13-16,-13 0 0,0 1 15,13-1-15,-13 0 0,-1 0 0,1-13 16,13 14-16,-13-14 0,0 13 16</inkml:trace>
  <inkml:trace contextRef="#ctx0" brushRef="#br0" timeOffset="69432.5">16550 6548 0,'0'0'0,"-27"0"0,14 0 15,0 0-15,-14 0 0,1 14 0,13-14 16,-14 0-16,1 13 0,12 0 0,-12-13 16,13 13-16,0-13 0,-1 14 15,1-1-15,26-13 16,1 0-16,-1 13 15,0-26-15,0 13 0,0 0 16,14 0-16,-14 0 0,0 0 0,1 0 16,-1 0-16,0 0 0,0 0 0,1 0 15,-1 13 1,0 0-16,-13 1 16,0 12-16,0-13 0,0 0 15,0 1-15,0-1 0,-13 0 16,13 0-16,0 1 0,0-1 15,0 0 1,0 0-16,13-13 16</inkml:trace>
  <inkml:trace contextRef="#ctx0" brushRef="#br0" timeOffset="69886.42">16867 6535 0,'-13'-26'16,"0"26"-1,0 0-15,-1 0 16,14 13-16,-13-13 0,0 13 16,13 0-16,-13-13 15,13 14-15,-14-14 16,14 13-16,0 0 31,0 0 16,14-13-31,-1 14-1,-13-1 1,13 0-16,-13 0 15,0 1 1,-13-1 0,13 0-16,-13-13 0,-1 13 15,1 0-15,0-13 16,0 14-16,-1-14 0,1 0 16,0 13-16,0-13 0,0-13 31</inkml:trace>
  <inkml:trace contextRef="#ctx0" brushRef="#br0" timeOffset="70077.44">16788 6548 0,'13'-13'16,"-26"26"-16,39-26 0,-12 13 0,-14-13 15,13 13-15,0 0 0,0 0 16,0-13-16,1 13 0,-1 0 16,0 0-16,0 0 15</inkml:trace>
  <inkml:trace contextRef="#ctx0" brushRef="#br0" timeOffset="70281.42">17224 6509 0,'-13'26'32,"0"-13"-32,0 1 15,-1-1-15,1 0 0,-13 0 0,-1 27 16,1-27-16,-1 14 0,14-14 15,0 0-15,0-13 0</inkml:trace>
  <inkml:trace contextRef="#ctx0" brushRef="#br0" timeOffset="70513.75">16986 6641 0,'0'0'0,"0"-13"16,27 13 15,-14 13-15,0-13-16,0 0 15,1 13-15,-1-13 0,0 0 16,0 14 0</inkml:trace>
  <inkml:trace contextRef="#ctx0" brushRef="#br0" timeOffset="71570.64">11417 7845 0,'0'-13'0,"13"39"47,-13-13-47,0 1 15,0 12-15,-13-13 0,13 14 0,0-1 16,-13 1-16,13-1 0,-14 1 16,14-1-16,-13 0 0,13-12 0,0 12 15,0 1-15,0-14 0,0 0 16,-13 14-16,13-14 0,0 0 16,0 0-16,0 0 0,13 1 15,-13-1-15,0 0 0,0 0 16,13 1-1,1-1-15,-1-13 16,0 0-16,0 0 0,0 0 16,14 13-16,-14-13 0,14 0 15,-1 0-15,1 0 0,12 0 0,-12 0 16,12 0-16,1 0 0,0 0 0,-1 0 16,14 0-16,-13 0 0,13 13 15,-13-13-15,-14 0 0,14 0 0,-14 0 16,14 0-16,0 0 0,-1 0 0,1 0 15,13 0-15,-13 0 16,12 0-16,1-13 0,-13 13 0,13 0 16,0 0-16,-13 0 0,-1 0 0,1 0 15,0 0-15,-1 0 0,1 0 16,0 0-16,-1 0 0,14-13 0,-13 13 16,13 0-16,0 0 0,-13 0 0,12 0 15,1 0-15,-13 0 0,0 0 16,-1 0-16,-12-13 0,13 13 0,-1 0 15,1 0-15,0 0 0,-1 0 0,14 0 16,0 0-16,-13-14 0,13 14 16,-14 0-16,14 0 0,-13 0 0,0 0 15,-1 0-15</inkml:trace>
  <inkml:trace contextRef="#ctx0" brushRef="#br0" timeOffset="72037.97">15161 8255 0,'26'0'16,"-52"0"-16,65 0 0,-25 0 0,-1 0 15,0 0-15,0 0 0,0-13 16,1 13-16,-1 0 0,13 0 0,-12 0 15,12 0-15,-13-13 0,1 13 0,12 0 16,-13 0-16,0 0 0,27-14 16,-27 14-16,14-13 0,-14 13 15,0 0-15,1 0 0,-1-13 0,0 13 16,-13-13-16,13 13 0,0 0 16,1-14-16,-1 14 0,0-13 0,0 13 15,1-13-15,-1 0 0,0 13 16,0-14-16,0 1 0,1 0 15,-1 0-15,0 13 16,0-13-16,1-1 0,-14-12 0,13 13 16,0-1-16,-13-12 0,13 13 15,1-14-15,-14 14 0,13-13 16,0-14-16,-13 13 0,13 1 0,0-14 0,1 14 16,-1-14-16,0 14 0,0-14 15,1 14-15,-14-1 0,13 1 0,0 12 16,-13 1-16,0 0 0,13 0 0,-13-1 15,-13 1 1</inkml:trace>
  <inkml:trace contextRef="#ctx0" brushRef="#br0" timeOffset="72554.89">15121 8533 0,'0'26'15,"-13"-26"-15,13 13 16,-14 27-16,1-27 15,13 14-15,-13-14 0,0 14 0,13-1 16,-13-13-16,-1 14 0,14-14 16,-13 13-16,13-12 0,-13-1 0,13 0 15,0 0-15,0 1 0,13-14 16,-13 13-16,13-13 0,-13 13 16,14-13-16,-1 0 0,26 0 15,-12 0-15,-1 0 0,1 0 0,-1 0 16,14 0-16,-14-13 0,1 13 0,-1 0 15,1 0-15,-1-13 0,1 13 16,-1-14-16,1 14 0,-14-13 0,13 13 16,-12-13-16</inkml:trace>
  <inkml:trace contextRef="#ctx0" brushRef="#br0" timeOffset="72796.64">15650 8652 0,'13'0'16,"1"0"-16,-1 13 15,0-13-15,0 27 0,-13-14 16,13-13-16,-13 13 0,14 0 0,-14 0 16,0 1-16,0-1 0,0 0 15,-14 0-15,14 1 0,-13-1 16,13 0-16,-13 0 0,13 1 15,0-1-15,13-13 0,0 13 16,1-13-16,-1 0 0</inkml:trace>
  <inkml:trace contextRef="#ctx0" brushRef="#br0" timeOffset="73196.45">16550 8625 0,'0'0'0,"-14"0"0,1 0 0,0 0 16,0 14-16,0-14 0,-1 0 16,1 13-16,0-13 0,0 13 15,-1-13-15,14 13 0,-13-13 0,0 14 0,13-1 16,-13-13-16,13 13 0,0 0 15,13-13-15,0 13 16,0-13-16,1 0 0,-1 0 0,13-13 16,-12 13-16,-1 0 0,0 0 0,0 0 15,0 0-15,1 0 16,-1 0-16,0 13 16,0-13-16,-13 14 0,0-1 15,0 0-15,0 0 0,-13 1 16,13-1-16,0 0 0,-13-13 15,13 13-15,-13 1 0,13-1 0,0 0 16,-14-13-16,14 13 0,14 0 16,-1-13-1</inkml:trace>
  <inkml:trace contextRef="#ctx0" brushRef="#br0" timeOffset="73496.19">16947 8705 0,'-14'-27'16,"-12"27"-16,13 0 16,-1 14-16,1-14 0,0 0 0,0 0 15,0 0-15,-1 13 0,1-13 0,0 0 16,13 13-16,13 0 16,0-13-1,1 0-15,-1 0 0,0 13 0,0-13 16,14 0-16,-14 14 0,0-14 0,0 13 15,1-13-15,-1 13 16,-13 0-16,13-13 0,-13 14 0,0-1 16,0 0-16,0 0 0,0 1 15,-13-1-15,13 0 0,-13-13 0,13 13 16,0 0-16,-14-13 0,14 14 16,14-1-16,-1-13 15</inkml:trace>
  <inkml:trace contextRef="#ctx0" brushRef="#br0" timeOffset="73601.82">17132 8903 0,'0'0'0,"13"-13"47,-13 0-47,13 13 0,0 0 16,-13-13-16</inkml:trace>
  <inkml:trace contextRef="#ctx0" brushRef="#br0" timeOffset="73929.44">17436 8665 0,'-13'0'15,"39"13"17,-13-13-32,1 14 15,-1-1-15,-13 0 0,13-13 16,-13 13-16,0 0 0,13 1 0,-13-1 16,0 0-16,0 0 0,0 1 0,0-1 15,0 0-15,0 0 0,0 1 16,0-1-16,-13 0 0,13 0 0,0 0 15,0 1-15,-13-14 16,13 13-16</inkml:trace>
  <inkml:trace contextRef="#ctx0" brushRef="#br0" timeOffset="74061.64">17383 8890 0,'0'0'0,"13"-26"15,1 26 1,-1 0-16,0-14 0,13 14 0,-12 0 16,12-13-16,1 13 0</inkml:trace>
  <inkml:trace contextRef="#ctx0" brushRef="#br0" timeOffset="74179.24">17939 8850 0,'0'-13'0</inkml:trace>
  <inkml:trace contextRef="#ctx0" brushRef="#br0" timeOffset="74549.56">16761 9274 0,'40'0'0,"-13"0"16,-1 0-16,14-14 0,13 14 0,-1 0 16,1 0-16,0 0 0,0-13 0,0 13 15,-13 0-15,13-13 0,-14 13 16,14-13-16,-26 13 0,12 0 15,-25 0-15,12-13 0,-13 13 0,14 0 16</inkml:trace>
  <inkml:trace contextRef="#ctx0" brushRef="#br0" timeOffset="74939.34">16814 9313 0,'0'14'0,"0"-28"0,14 41 0,-1-27 15,0 13-15,13-13 0,-12 0 16,25 0-16,-12 0 0,12 0 0,-12 0 16,13 0-16,-1 0 0,-12 0 0,-1 0 15,1 0-15,-1 0 0,-13 0 16,14 0-16,-14 0 0,0 0 0,14 0 16,-14 0-16,-13-13 0,13 13 15,0 0-15,1 0 0,-1 0 16,0 0-16,0 0 15,1 0 1,-1 0 31,-13 13-47,13 0 62</inkml:trace>
  <inkml:trace contextRef="#ctx0" brushRef="#br0" timeOffset="77292.09">13851 3281 0,'0'-13'31,"-13"13"-16,13-14 1,-14 14-16,1-13 16,0 13-1,0 0-15,0-13 16,-1 13-16,1 0 16,0-13-16,0 13 15,-1 0-15,1-14 16,0 14-1,0 0-15,-1-13 16,1 0-16,0 13 16,0-13-16,0 13 15,13-13 1,-14 13 0,14-14-16,-13 14 15,26 27 32,1-27-31,-14 13-16,13-13 15,-13 13-15,13-13 0,-13 13 16,13-13-16,-13 14 0,13-14 16,-13 13-1,-26-26 32,26-1-47,-13 14 0,0-13 0,-1 13 16,1-13-16,0 13 0,0 0 0,-1-13 15,1 13-15,0-13 0,0 13 16,0 0-16,-1 0 0,14-14 0,-13 14 16,0 0-16,0-13 15,-1 26 1,14 1-1,-13-14-15,13 13 16</inkml:trace>
  <inkml:trace contextRef="#ctx0" brushRef="#br0" timeOffset="79661.44">15174 7594 0,'0'-14'0,"0"1"16,0 0-1,0 0 1,-13 39 31,13-13-47,0 1 15,0-1-15,-14 0 0,14 0 16,0 0-16,0 1 0,-13-1 16,13 0-16,0 0 0,0 1 15,0-1-15,0-26 47,0-1-47,0 1 0,13 0 0,-13 0 16,0-1-16,0-12 0,14 13 0,-14 0 15,0-14-15,13 14 0,-13 0 16,0-1-16,13 1 0,-13 0 0,0 0 16,0 26 15,-13 0-31,13 0 15,0 1-15,-13 12 0,13-13 0,0 1 16,-14-1-16,14 0 0,0 0 0,0 0 16,-13 1-16,13-1 15,0 0-15,0 0 0,0 1 16,0-54 15,13 27-31,-13-1 16,0 1-16,0 0 0,0 0 0,0 0 15,14-1-15,-14 1 0,0 0 0,0 0 16,0-1 0,0 1-16,0 53 31,0-27-31,-14 0 0,14 1 16,0-1-16,0 13 0,-13-13 0,13 1 15,0-1-15,0 0 0,0 0 0,0 1 16,0-1-16,0 0 15,13-26 1,-13 0 0,0-1-16,14 1 15,-14 0-15,0-14 0,0 14 16,0-13-16,0 13 0,0-14 0,13 14 16,-13-14-16,0 14 0,0 0 0,0 0 15,0-1-15,-27 41 31,27-14-31,0 14 0,-13-14 16,13 13-16</inkml:trace>
  <inkml:trace contextRef="#ctx0" brushRef="#br0" timeOffset="81095.27">15134 7924 0,'13'-13'78,"-13"0"-78,14 13 15,-1 0-15,0-13 0,0 13 16,1 0-16,-1 0 0,-13-14 16,13 14-16,0 0 15,0 0-15,1 0 0,-1 0 16,-13 14-16,13-1 0,-13 0 16,0 0-1,0 1-15,-13-14 0,13 13 0,0 0 16,-13 0-16,13 0 0,-14-13 0,14 14 15,-13-1-15,0 0 0,13 0 16,-13-13-16,0 14 0,13-1 16,-14-13-16,1 13 0,0 0 15,0-13-15,13 13 16,-14 1 0,41-14 30,-14-14-46,0 14 0,1 0 16,-1 0-16,0-13 0,0 13 16,0 0-16,1 0 0,-1-13 15,0 13-15,0 0 0,1 0 0,-1-13 0,0 13 16,0 0 0,1 0-16,-1-13 15,-40 26 48,14-13-63,0 0 0,0 0 15,-1 0-15,1 13 0,0-13 16,0 0-16,-1 0 0,1 13 16,0-13-16,0 0 0,0 13 15,-1-13-15,1 0 0,0 0 16,0 0-16,-1 0 15,1 14-15,0-14 16,0 0 0,26-14 31,0 1-47,-13 0 15,13 13-15,1-13 0,-1 13 16,0-13-16,0-1 0,1 1 15,-1 13-15,-13-13 0,13 0 16,0 13-16,-13-14 16,13 14-16,-13-13 0,14 0 0,-14 0 15,13 0-15,-13-1 32,0 1-32,-13 13 15,-1-13-15,-12 13 16,13 0-16,0 0 15,-1 0-15,1 0 16,0 13-16,0-13 16,13 13-16,-14-13 0,1 0 15,13 14-15,-13-14 0,13 13 16,-13 0-16</inkml:trace>
  <inkml:trace contextRef="#ctx0" brushRef="#br0" timeOffset="81925.48">15147 7924 0,'14'0'0,"12"0"31,-26 14-31,13-14 0,1 13 16,-14 0-16,13 0 16,-13 0-16,0 1 15,0-1-15,-13 0 16,-1 0-16,14 1 0,-13-14 0,13 13 16,-13 0-16,0-13 15,-1 13-15,1 0 0,0 1 16,0-1-16,-1-13 31,28 13 0,-1-13-31,0 0 16,0 0-16,1 0 0,-1 0 0,0 0 16,0 0-16,1-13 0,-1 13 0,13 0 15,-13 0-15,1 0 0,-1 0 16,0 0-16,0-13 0,1 13 0,-1 0 15,0 0-15,0 0 0,1 0 16,-1 0 0,0 0-16,0 0 47,-39 0 15,13 0-62,-1 13 0,1-13 16,0 0-16,0 0 0,-1 13 15,1-13-15,0 0 0,0 0 16,-1 0-16,14 13 0,-13-13 16,0 0-16,0 0 15,0 0 1,13 14-16,-14-14 15,1 0 1,0 0 0,0 0 46,-1-14-31</inkml:trace>
  <inkml:trace contextRef="#ctx0" brushRef="#br0" timeOffset="85539.08">21947 8427 0,'0'0'0,"-13"-13"0,13 0 15,0-1 1,0 54 15,13-27-31,-26 27 16,13-14-16,-13 14 0,13 0 15,0-14-15,-13 14 0,-1 0 0,14-14 16,-13 0-16,13 1 0,0-1 16,-13-12-16,13 12 0,0 1 0,-13-14 15,13 0-15,0 0 0,0 0 0,-14 1 16,14-1-16,0 0 15,-13 0 1,13-39 15,13-1-15,-13 14-16,0 0 16,0 0-16,0 0 0,0-1 0,14-12 15,-14 13-15,13-1 0,-13-12 16,0 13-16,13-14 0,-13 14 0,0-13 15,13 12-15,-13-12 0,0 13 0,14-14 16,-14 14-16,0-14 0,0 14 16,13 0-16,-13-13 0,0 12 0,0 1 15,0 0-15,0 0 0,0-1 0,-13 1 16,13 0-16,0 0 0,0 0 16,0-1-1,0 1-15,-14 13 0,14-13 16,27 26 31,-14-13-47,0 13 15,0-13-15,1 0 0,-1 0 16,0 0-16,0 0 0,1 0 0,-1 0 16,13 0-16,-13 0 0,1 0 0,12 0 15,1 0-15,-14 0 0,13 0 16,1 0-16,-1 0 0,14 0 15,-14 0-15,1 0 0,-1-13 0,14 13 16,-14 0-16,1 0 0,13-13 0,-14 13 16,0 0-16,1 0 0,13-13 15,-14 13-15,1 0 0,-1-14 0,0 14 16,1 0-16,13-13 0,-14 13 0,1 0 16,12 0-16,-12-13 0,12 13 15,1 0-15,0 0 0,-14-13 0,14 13 16,-14 0-16,14 0 0,0 0 0,-1 0 15,1 0-15,-13 0 0,12-14 16,-12 14-16,12 0 0,-12 0 0,13 0 16,-14 0-16,14 0 0,-1 0 0,-12 0 15,13 0-15,-14 0 0,14 0 0,-14 0 16,14 0-16,-14 0 16,1 0-16,-1 0 0,1 14 15,-1-14-15,1 0 0,-1 0 0,-13 0 0,14 0 16,-1 0-16,-13 0 0,14 0 0,-14 13 15,14-13-15,-1 0 0,-13 0 16,0 0-16,14 0 0,-1 0 0,-12 0 16,12 0-16,1 0 0,-1 0 0,-13 0 15,14 0-15,-14 0 0,13 0 16,-12 0-16,12 0 0,-13 0 0,1 0 16,12 0-16,-13 0 0,0 0 15,1 0-15,-1-13 0,13 13 0,-12 0 0,-1 0 16,0 0-16,0 0 15,0 0-15,1 0 0,12 0 0,-13 0 16,93 0 0,-93 0-16,1 0 15,25 13-15,-25-26 16,-1 13-16,0 0 0,0 0 16,1 0-16,-1 0 15,0 0-15,0 0 16,0 0-1,1 0 17,-14 26-1,-14-13-15,14 1-16,0-1 0,0 0 15,0 0-15,0 1 0,0-1 0,0 0 16,0 0-16,0 0 0,0 1 0,0 12 15,0-13-15,0 1 0,0-1 0,0 0 16,0 0-16,-13 0 0,13 14 16,0-14-16,0 0 0,-13 1 0,13-1 15,0 0-15,0 0 0,-13 1 16,13-1-16,0 0 16,0 0-16,-13-13 0,13 13 15,0 1-15,0-1 16,0 0-1,-14 0 17,-12-13 15,13 0-32,-1 0-15,1 0 16,0 0-16,0 0 0,-1 0 0,-12 0 15,13 14-15,0-14 0,-14 0 16,14 0-16,-14 0 0,14 0 0,-13 13 16,12-13-16,-12 0 0,0 0 0,12 13 15,-12-13-15,-1 13 0,14-13 16,-13 0-16,13 14 0,-14-14 0,14 0 16,-14 13-16,14-13 0,-13 0 0,12 0 15,1 13-15,-13-13 0,13 0 16,-14 0-16,14 0 0,0 13 0,-1-13 15,-12 0-15,13 0 0,-1 0 16,-12 0-16,13 13 0,0-13 0,-14 0 16,1 0-16,12 0 0,-12 0 0,13 0 15,-14 0-15,1 0 0,13 14 16,-14-14-16,1 0 0,-1 0 0,14 0 16,-14 0-16,1 0 0,13 0 0,-14 0 15,1 0-15,-1 0 0,14 0 0,-13 0 16,-1 0-16,1 0 0,-1 0 15,1 0-15,-1-14 0,1 14 0,13 0 16,-14 0-16,1 0 0,-1 0 0,1 0 16,-1-13-16,14 13 0,-13 0 15,-1 0-15,1 0 0,-1 0 0,1 0 16,13 0-16,-14 0 0,1 0 16,13 0-16,-14 0 0,14 0 0,0 0 15,-14 0-15,14 0 16,-13 0-16,12 0 0,-52 0 15,53 0-15,0 0 0,-1 0 16,1 0-16,0 13 0,0-13 16,0 0-16,-1 0 0,1 0 15,0 0-15,0 0 0,-1 0 0,1 0 16,0 0-16,0 0 0,-1 0 16,1 0-16,0 0 0,0 0 15,0 0-15,-1 0 0,-12 0 16,13 0-16,-1 0 0,1 0 0,0 0 15,0 0-15,-14 0 0,14 0 16,0 0-16,0 0 0,-1 0 0,1 0 16,-13 0-16,12 0 0,1 0 0,0 0 15,-13 0-15,12 0 0,1 0 16,-13 0-16,12 0 0,-12 0 0,-1 0 16,14 0-16,-13 0 0,-1 0 0,14 0 15,0 0-15,-14 0 0,14 0 16,0 0-16,-14 0 0,14 0 15,0 0-15,0 0 0,0 0 0,-1 0 16,1 0-16,0 0 0,0 0 0,-1 0 16,1 0-16,0 0 15,0 0-15,0 0 0,-1 0 0,1 0 16,0 0-16,0 0 16,-1 0-16,1 0 15,53 0 16,-27 0-31,27 0 0</inkml:trace>
  <inkml:trace contextRef="#ctx0" brushRef="#br0" timeOffset="86609.74">24249 8903 0,'-26'-13'47,"12"13"156,14 13-109</inkml:trace>
  <inkml:trace contextRef="#ctx0" brushRef="#br0" timeOffset="89482.42">2659 10226 0,'-13'0'15,"39"13"1,-12-13 0,-1 0-16,0 0 0,0 0 0,14 14 15,-14-14-15,0 0 0,14 0 0,-14 0 16,0 0-16,0 0 0,1 0 0,-1 0 15,0 0-15,-13 13 16,13-13-16,-13 13 16,0 0-16,-13-13 15,0 14-15,0-1 0,-1 0 0,1 0 16,0 0-16,0 1 0,-14-1 16,14 0-16,0 0 0,-14 1 0,14-1 0,0 0 15,0 0-15,-1 1 0,1-1 16,0-13-16,0 13 0,13 0 15,-14-13-15,14 13 0,-13-13 0,13 14 16,-13-1-16,13 0 16,-13-13-1,13 13-15,13 1 16,0-14 0,-13 13-16,27-13 15,-14 0-15,0 0 16,0 0-16,1 0 0,-1 0 15,0 0-15,0 0 0,0 0 0,-13 13 16,14-13-16,-1 0 0,0 0 16,0 0-16,1 0 15,-1-13-15</inkml:trace>
  <inkml:trace contextRef="#ctx0" brushRef="#br0" timeOffset="89770.41">2434 10530 0,'40'0'47,"-27"0"-47,0 0 15,1 0-15,-1 0 0,0 0 16,0-13-16,0 13 0,1 0 16,12 0-16,-13 0 0,1 0 0,-1 0 15,13-13-15,-12 13 0,-1 0 0,0 0 16,0 0-16,14-13 0,-14 13 15,0 0-15</inkml:trace>
  <inkml:trace contextRef="#ctx0" brushRef="#br0" timeOffset="90065.35">3201 10451 0,'53'-13'15,"-39"13"1,-1 0-16,0 0 0,0 0 16,1 0-16</inkml:trace>
  <inkml:trace contextRef="#ctx0" brushRef="#br0" timeOffset="90266.31">3149 10623 0,'26'-13'31,"-13"13"-31,0-13 16,1 13-16,-1 0 0,13-14 15,-12 14-15,-1-13 0,0 13 16,0-13-16,1 13 15</inkml:trace>
  <inkml:trace contextRef="#ctx0" brushRef="#br0" timeOffset="90934.26">4128 10226 0,'0'0'16,"0"-13"-16,13 39 31,-13-12-31,13-1 0,-13 0 16,0 0-16,0 1 0,0 12 0,0-13 16,0 0-16,0 1 0,0-1 15,0 0-15,0 0 0,0 1 0,0-1 16,0 0-16,0 0 0,0 1 0,-13-1 15,13 0 1,0 0-16,13 0 16</inkml:trace>
  <inkml:trace contextRef="#ctx0" brushRef="#br0" timeOffset="91112.48">4405 10425 0,'0'-14'0</inkml:trace>
  <inkml:trace contextRef="#ctx0" brushRef="#br0" timeOffset="91618.31">4908 10173 0,'-53'-26'32,"40"26"-32,0 0 0,-1 13 15,-12-13-15,13 13 0,-1 0 0,-12 1 16,13-14-16,0 13 0,13 0 0,-14 0 16,1 1-16,13-1 15,0 0-15,0 0 0,13-13 16,-13 14-16,14-14 0,-1 0 15,0 0-15,0 0 16,0-14-16,1 14 0,-1 0 0,0-13 0,0 0 16,14 0-16,-14-1 0,0 14 15,1-13-15,-1 0 0,0 0 0,0-1 16,0 14 0,-13-13-16,14 13 0,-14 13 15,0 1 1,0-1-16,0 0 15,0 0-15,0 1 0,-14-1 0,14 0 16,0 14-16,0-14 0,0 0 0,-13 0 16,13 0-16,0 1 0,-13-1 0,13 0 15,0 0-15,0 1 16,-13-14-16,13 13 0,0 0 0,13 0 16</inkml:trace>
  <inkml:trace contextRef="#ctx0" brushRef="#br0" timeOffset="91954.57">5239 10200 0,'-53'13'16,"40"0"-16,-1 0 15,14 1-15,-13-1 0,13 0 16,0 0-16,-13 1 0,26-1 0,-13 0 16,0 0-16,13 0 0,-13 1 0,14-1 15,-1-13-15,-13 13 0,13-13 16,0 0-16,1 0 0,12 0 16,-13-13-16,-13 0 15,0-1 1,0 1-16,-13 13 0,0-13 15,0 13-15,-1-13 16,1 13-16,0 0 0,0 0 16,13 13-16,-14-13 0,1 0 15,0 13-15,0-13 0,-1 0 0,1 13 16</inkml:trace>
  <inkml:trace contextRef="#ctx0" brushRef="#br0" timeOffset="92838.33">2606 11337 0,'0'-13'0,"-26"53"16,26-27 0,0 0-16,0 1 15,-14-1-15,14 0 0,0 0 16,0 0-16,0 1 0,0-1 16,0 0-16,0 0 0,0 1 15,14-41 16,-1 27-15,-13-13-16,13-14 0,-13 14 16,13 0-16,1 0 0,-1 0 0,-13-1 15,13 1-15,0 0 0,1 0 16,-1 13-16,0 0 16,0 0-1,-13 13-15,13 0 0,1 0 16,-14 1-16,0-1 15,13 0-15,-13 0 0,0 0 16,0 1-16,13-1 0,-13 0 16,0 0-16,13 1 15,1-14 1,-1 0-16</inkml:trace>
  <inkml:trace contextRef="#ctx0" brushRef="#br0" timeOffset="93033.65">3003 11271 0,'13'-13'0,"27"13"31,-27 0-31,0 0 15,1 13-15,-1-13 0</inkml:trace>
  <inkml:trace contextRef="#ctx0" brushRef="#br0" timeOffset="93228.81">3043 11470 0,'0'0'0,"39"-14"47,-25 1-47,-1 13 15,0 0-15,-13-13 16,13 13-16,1 0 0,-1 0 0,-13-13 16,13 13-16</inkml:trace>
  <inkml:trace contextRef="#ctx0" brushRef="#br0" timeOffset="93609.8">3969 11232 0,'-13'0'0,"-1"0"0,14 13 16,-13-13-16,0 13 0,-27 13 31,27-26-31,0 14 0,-1-1 16,14 0-16,-13-13 15,13 13-15,0 1 16,13-1-1,1-13-15,-1 0 16,0 0-16,0 0 0,14 13 16,-14-13-16,0 0 0,14 0 0,-14 0 15,0 0-15,14-13 0,-14 13 16,0 0-16,0 0 0,1 0 0,-1 0 16,0 0-16,0-13 15</inkml:trace>
  <inkml:trace contextRef="#ctx0" brushRef="#br0" timeOffset="93862.74">4101 11192 0,'0'0'0,"-13"13"16,0 0-1,13 1-15,0-1 0,-14 0 16,14 0-16,0 0 0,-13 14 0,13-14 16,0 0-16,-13 1 0,13-1 0,-13 13 15,13-12-15,-14-1 0,14 0 16,0 0-16,0 0 0,0 1 0,0-1 16,0 0-16</inkml:trace>
  <inkml:trace contextRef="#ctx0" brushRef="#br0" timeOffset="94178.48">4313 11245 0,'-14'26'15,"14"-13"-15,0 1 16,0-1-16,14-13 0,-14 13 15,0 0-15,13-13 0,-13 14 0,13-14 0,0 13 16,1-13-16,-1 0 0,0 0 16,0 0-16,1 0 0,12 0 0,-13 0 15,0-13-15,1 13 0,-1-14 16,0 1-16,-13 0 0,13 13 16,-13-13-16,0-1 0,0 1 15,-13 0-15,13 0 0,-13 0 0,0-1 16,-1 1-16,1 0 0,0 0 0,0 13 15,0-14-15,-1 14 0,1 0 16,0 0-16,0 0 0,-1 14 0,-12-14 16,-1 13-16</inkml:trace>
  <inkml:trace contextRef="#ctx0" brushRef="#br0" timeOffset="95267.29">2619 12184 0,'0'53'0,"-13"-40"0,13 0 16,0 1-16,0-1 15,0 0-15,-13-13 0,13 13 16,0 1-16,13-28 47,-13 1-47,13 13 16,-13-13-16,14 0 15,-1 13-15,0 0 16,0 0-16,1 0 15,-14 13-15,13-13 16,-13 13-16,13 0 0,-13 1 16,0-1-16,13-13 15,-13 13 1,0 0 0,27-26-1,-27 0 1,13 0-16,0-1 15,0 1-15,1 13 16,-1-13-16,0 13 16,-13 13-16,13-13 15,1 13-15,-14 1 16,13-14-16,-13 13 0,13 0 16,0 0-1,0-13 16</inkml:trace>
  <inkml:trace contextRef="#ctx0" brushRef="#br0" timeOffset="95490.7">3201 12184 0,'0'-13'0,"14"13"16,-1 0-1,0 0-15,0 0 16,14 0-16,-14 0 16,0 0-16,1 0 15</inkml:trace>
  <inkml:trace contextRef="#ctx0" brushRef="#br0" timeOffset="95666.48">3241 12277 0,'27'13'31,"-14"-13"-31,0-13 16,0 13-16,1 0 15,-1 0-15,13 0 0,-13 0 16,1 0-16</inkml:trace>
  <inkml:trace contextRef="#ctx0" brushRef="#br0" timeOffset="96170.83">4220 12012 0,'0'-13'15,"-13"39"1,13-12-16,0-1 0,0 0 16,0 0-16,0 0 0,0 1 15,0-1-15,0 0 0,0 0 0,0 14 16,0-14-16,0 0 0,-13 1 0,13-1 15,0 0-15,0 0 0,13-13 16,-13 13-16,0 1 0</inkml:trace>
  <inkml:trace contextRef="#ctx0" brushRef="#br0" timeOffset="96518.39">4299 12065 0,'14'-13'16,"-1"-14"0,0 27-16,14 0 15,-14 0-15,0 0 16,0 0-16,1 14 15,-1-1-15,0-13 0,-13 13 16,13 0-16,-13 0 0,13-13 0,-13 14 16,14-1-16,-14 0 0,0 0 0,13 1 15,-13-1-15,0 0 0,0 0 16,0 1-16,13-1 0,-13 0 16,0 0-16,0 0 15,13 1 1</inkml:trace>
  <inkml:trace contextRef="#ctx0" brushRef="#br0" timeOffset="96715.34">4392 12224 0,'0'-13'0,"13"-1"31,1 14-31,-1 0 0,0 0 16,0 0-16,0 0 0,1-13 0,-1 13 16,0 0-16,0 0 0,1-13 15,12 13-15,-13 0 0,1 0 0,12-13 16,-13 13-16,14-14 0</inkml:trace>
  <inkml:trace contextRef="#ctx0" brushRef="#br0" timeOffset="96982.53">4815 11999 0,'-13'13'16,"26"-26"-16,-39 26 0,26 0 0,-13-13 0,13 14 16,0-1-1,13 0-15,-13 0 0,0 0 16,13 1-16,-13-1 0,13 0 0,1 0 15,-14 1-15,0-1 16,0 0-16,0 0 0,13-13 16,-13 14-16,-13-1 0,13 0 15,-14 0-15,1-13 16,0 13-16,0-13 0,-1 0 16,1 14-16,0-14 0,-13 13 0</inkml:trace>
  <inkml:trace contextRef="#ctx0" brushRef="#br0" timeOffset="97582.61">2924 13018 0,'-40'13'16,"80"-26"-16,-93 26 0,53 0 0,-13-13 16,13 13-1,0 0-15,13-13 0,-13 14 16,13-14-16,-13 13 0,13-13 0,0 13 16,-13 0-16,14-13 0,-1 14 15,0-1-15,-13 0 16,13-13-16,-13 13 0,0 0 15,0 1 1,-13-14-16,13 13 0,-13-13 16,0 13-16,-1-13 0,14 13 0,-13-13 15,0 14-15,0-14 0</inkml:trace>
  <inkml:trace contextRef="#ctx0" brushRef="#br0" timeOffset="98045.7">3082 13018 0,'14'13'31,"-14"0"-31,0 0 16,0 0-16,0 1 0,0-1 15,0 0-15,0 0 0,13 1 0,-13-1 16,0 0-16,0 0 15,0 0-15,0 1 16,13-54 15,-13 27-15,0 0-16,0-1 0,0 1 0,0 0 16,13 0-16,-13-1 15,14 1-15,-14 0 0,13 0 16,0 13-16,-13-13 15,13 13-15,0 0 0,1 13 16,-1-13-16,0 0 0,-13 13 16,13-13-16,-13 13 0,14 0 15,-14 1-15,13-1 16,-13 0-16,0 0 0,0 1 16,0-1-16,0 0 0,-13 0 15,13 0-15,-14-13 16,14 14-16,-13-14 0</inkml:trace>
  <inkml:trace contextRef="#ctx0" brushRef="#br0" timeOffset="98229.74">3744 12965 0,'0'0'0,"26"0"0,-12 0 16,-1 0-16</inkml:trace>
  <inkml:trace contextRef="#ctx0" brushRef="#br0" timeOffset="98463.23">3691 13110 0,'26'0'47,"1"-13"-31,-14 13-16,0 0 15,1-13-15,-1 13 0,0 0 16,0-14-16</inkml:trace>
  <inkml:trace contextRef="#ctx0" brushRef="#br0" timeOffset="99008.37">3254 13189 0,'-26'14'0,"13"-14"0,-1 13 0,1-13 16</inkml:trace>
  <inkml:trace contextRef="#ctx0" brushRef="#br0" timeOffset="99823.34">4405 12846 0,'0'0'0,"14"-14"16,-1 14-16,0 0 15,0 0-15,0 14 16,1-1-16,-14 0 0,0 0 16,0 0-16,-14 1 15,14-1-15,-13 0 0,0 0 0,13 1 16,-13-1-16,0 0 0,13 0 0,-14 1 16,1-1-16,13 0 15,-13-13-15,13 13 16,26-13-1,1 0 1,-14 0 0,0-13-16,14 13 0,-1-13 0,-13 0 0,14 13 15,-1-14-15,-12 1 0,12 0 16,-13 0-16,0 13 0,1-14 16,-1 1-16,0 13 0,0-13 15,1 26 16,-14 0-31,0 1 16,13-14 0,-13 13-16,26-13 15,-13 0-15,1 0 16,-1 0-16,0-13 0,-13-1 16,13 14-1,-13-13-15,0 0 0,0-14 16,-13 27-16,13-13 15,-13 13-15,0-13 0,-1 13 0,14-13 16,-13 13-16,0 0 16,0 0-1</inkml:trace>
  <inkml:trace contextRef="#ctx0" brushRef="#br0" timeOffset="100746.07">5106 13044 0,'-26'13'31,"13"-13"-31,0 13 0,-1 1 16,1-1-16,-13-13 0,12 13 16,1 0-16,0-13 0,0 14 15,-1-1-15,1-13 0</inkml:trace>
  <inkml:trace contextRef="#ctx0" brushRef="#br0" timeOffset="100922.22">5212 13018 0,'-39'13'0,"78"-26"0,-92 39 0,27-13 16,13-13-16,-1 13 0,1-13 0,0 14 15,0-1-15,0 0 0,-1-13 16,1 13-16,13 1 0</inkml:trace>
  <inkml:trace contextRef="#ctx0" brushRef="#br0" timeOffset="120253.3">24752 8731 0</inkml:trace>
  <inkml:trace contextRef="#ctx0" brushRef="#br0" timeOffset="120408.13">24725 8758 0,'-13'0'31,"0"-14"-16</inkml:trace>
  <inkml:trace contextRef="#ctx0" brushRef="#br0" timeOffset="120530.68">24659 8771 0</inkml:trace>
  <inkml:trace contextRef="#ctx0" brushRef="#br0" timeOffset="120673.54">24699 8797 0</inkml:trace>
  <inkml:trace contextRef="#ctx0" brushRef="#br0" timeOffset="120815.34">24699 8850 0</inkml:trace>
</inkml:ink>
</file>

<file path=ppt/ink/ink32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3:18:56.742"/>
    </inkml:context>
    <inkml:brush xml:id="br0">
      <inkml:brushProperty name="width" value="0.05292" units="cm"/>
      <inkml:brushProperty name="height" value="0.05292" units="cm"/>
      <inkml:brushProperty name="color" value="#0070C0"/>
    </inkml:brush>
  </inkml:definitions>
  <inkml:trace contextRef="#ctx0" brushRef="#br0">9141 3321 0,'-13'105'16,"0"-39"-16,13-13 15,-13 27-15,-1-1 0,1 1 16,0-1-16,13 27 0,-13-14 0,0-12 15,13-1-15,0 14 0,-14-27 0,14 13 16,0 54-16,0-81 0,0-12 16,-13 0-16,13-1 0,0-12 15,0-14-15,0 0 0,0 1 16,0-1-16</inkml:trace>
  <inkml:trace contextRef="#ctx0" brushRef="#br0" timeOffset="929.56">8850 3334 0,'0'0'0,"0"-13"0,14 13 16,-1 0-16,0 0 0,0 0 15,27 0-15,0 0 0,26 0 16,0-14-16,13 14 0,1 0 0,-1 0 16,14-13-16,-1 13 0,14-13 0,13 13 15,13-13-15,1-1 0,12 1 16,1 0-16,145-14 0,-132 14 16,-14 0-16,14 0 0,0 0 0,13-1 15,-14 1-15,14 13 0,-13-13 16,13 0-16,0 13 0,-13-14 15,13 14-15,-14-13 0,1 13 0,132 0 16,-158 0-16,-1 0 0,-26-13 16,-1 13-16,1 0 0,80 0 15,-107 0-15,14-13 0,-27 13 16,13 0-16,-13 0 0,-13-14 0,0 14 16,0 0-16,-27 0 0,14 0 15,-13-13-15,-1 13 0,-13 0 0,14 0 16,-14 0-16,0 0 0,0 0 15,1 0-15,-1 0 0,-13 13 32,0 1-32,0-1 0,-13 0 0,-1 14 15,1-1-15,0 14 0,-14-1 16,1 14-16,13 14 0,-14-15 16,14 15-16,0-1 0,0 13 0,-1 0 15,1 1-15,0-14 0,13 13 16,0 1-16,0-14 0,13 0 0,-13 13 0,13-12 15,-13-1-15,14 0 16,-14-13-16,13 13 0,-13-26 0,13 13 16,-13-14-16,0 14 0,13-13 0,-13-1 0,0 1 15,0 0-15,0-14 0,0 1 16,0 12-16,-13 1 0,13-13 0,0-1 16,-13 27-16,0-27 0,-14 27 15,14-26-15,-14-1 16,14 1-16,-13-14 0,13 13 15,-14-12-15,1-1 0,-1 0 0,-12 0 16,-1 1-16,0-1 0,-13-13 0,0 13 16,-13-13-16,0 0 0,-13 13 15,-1-26-15,-12 13 0,-1 0 0,-13-13 16,-26 13-16,-14-13 0,1 13 0,-1-14 16,-12 14-16,-1-13 0,0 13 0,-13 0 15,13 0-15,-13 0 0,0 0 16,0 13-16,14-13 0,-1 0 15,0 14-15,0-14 0,14 13 0,-1-13 16,14 13-16,0 0 0,0-13 0,26 14 16,13-14-16,0 13 0,-92-13 15,106 0-15,-14 0 0,27 0 16,-13 0-16,26 0 0,0-13 0,0 13 16,0 0-16,27-14 0,-1 14 15,1 0-15,13-13 0,-1 13 0,1-13 16,0 13-16,13-13 0</inkml:trace>
  <inkml:trace contextRef="#ctx0" brushRef="#br0" timeOffset="7509.28">13216 4405 0,'0'14'16,"13"-14"15,0 13-31,1-13 0,-1 0 16,13 0-16,-12 0 0,12 0 0,0 0 15,14 0-15,-13 0 0,12 0 16,-12 0-16,12 0 0,14 0 16,-13 0-16,0 0 0,-1 0 0,-12 0 15,13 0-15,-14 0 0,0 0 0,1 0 16,-14 0-16,0 0 0,14 13 16,-14-13-16,0 0 0,1 0 15,-1 0-15,0 0 16,0 0-16,0 0 15,1 0 1,-14-13 0,0 0 31</inkml:trace>
  <inkml:trace contextRef="#ctx0" brushRef="#br0" timeOffset="9705.48">4233 8109 0</inkml:trace>
  <inkml:trace contextRef="#ctx0" brushRef="#br0" timeOffset="12272.93">6945 8983 0,'-13'0'31,"26"0"-15,1 13-16,-1-13 0,13 0 0,-13 0 15,27 13-15,-13-13 0,-1 0 16,14 13-16,13-13 0,-27 0 16,27 0-16,-13 0 0,-1 0 0,1 14 15,-13-14-15,12 0 0,-12 0 0,12 0 16,14 0-16,-26 0 0,12 0 16,14 0-16,-13 0 0,0 0 0,-14 0 15,14 0-15,0 0 0,-14 0 0,14 0 16,-14 0-16,1 0 15,-1 0-15,1 0 0,-1 0 0,0 0 16,1 0-16,-14 0 0,14 0 0,-1 0 16,1 0-16,-14 0 0,13 0 0,1 0 15,-1 0-15,-13 0 0,14 0 16,-1 0-16,1 0 0,-14 0 0,13 0 16,-12 0-16,12 0 0,-13 13 0,14-13 15,-14 0-15,0 0 0,0 0 16,14 0-16,-14 0 0,0 0 15,1 0-15,-1 0 0,0 0 0,0-13 16,1 13-16,-1 0 16,0 0-16,0 0 0,0 0 15,1-14-15,-1 14 16,0 0-16,0 0 16,-13-13-16,14 13 0,-1 0 15,0 0-15,-13-13 0,13 13 0,1 0 16,-1-13-16,0 13 15,0 0-15,14-14 16,-14 14 0,0 0-16,0 0 15,1-13 1,-1 13-16,0 0 0,0 0 16,1 0-16,-1 0 15,0 0-15,0 0 16,0 0-1,1 0-15,-1 0 16,0 0 0,0-13-16,1 13 15,-1 0-15,0-13 16,0 13 0,1-14-16,-1 14 15,-13-13-15,13 13 0,-13-13 16,13 0-16,-13 0 15,13 13-15,-13-14 0,0 1 16,14 0-16,-14 0 0,0-1 0,13-25 16,-13 25-16,0-12 0,13 13 0,-13-14 15,0 14-15,0-27 16,0 27-16,0-13 0,13-1 16,-13 14-16,-13 0 0,13 0 15,0-1-15,0 1 0,0 0 16,0 0-16,0-1 15,-13 1-15,13 0 0,0 0 16,-13 0-16,-1 13 16,14-14-16,-13 14 15,0-13-15,0 13 16,0 0-16,-1-13 0,-12 13 16,13 0-16,-1-13 0,1 13 15,0 0-15,-27 0 16,14 0-16,-1-14 0,1 14 0,-1 0 15,-12 0-15,12 0 0,-26 0 0,14 0 16,-14 0-16,0-13 0,0 13 16,0 0-16,0 0 0,-13 0 0,13 0 15,-26-13-15,26 13 0,-13 0 0,13 0 16,-14 0-16,15 0 0,-15 0 16,15 0-16,-1 13 0,0-13 0,0 0 15</inkml:trace>
  <inkml:trace contextRef="#ctx0" brushRef="#br0" timeOffset="17619.31">16563 8744 0,'53'27'31,"-40"-27"-31,0 0 16,1 0-16,-1 0 0,13 13 15,-13-13-15,1 0 0,12 0 0,-13 0 16,14 0-16,-14 0 0,0 0 0,14 0 16,-14 0-16,0-13 15,0 13-15,1 0 0</inkml:trace>
  <inkml:trace contextRef="#ctx0" brushRef="#br0" timeOffset="17849">16880 8639 0,'14'0'0,"-28"0"0,54 0 0,-27 13 15,14-13-15,-14 0 0,0 13 16,14-13-16,-14 13 0,13-13 16,-12 14-16,-1-1 0,0-13 15,0 13-15,1 0 0,-14 0 0,13 1 16,-13-1-16,0 0 0,-13-13 15,13 13-15,0 1 0,-14-1 16,14 0-16,-13 0 0,13 1 16,-13-1-1</inkml:trace>
  <inkml:trace contextRef="#ctx0" brushRef="#br0" timeOffset="18105.75">17608 8546 0,'0'0'0,"0"26"16,0-12-1,13-14-15,-26 13 0,13 0 16,0 14-16,0-14 0,0 0 0,-13 14 15,13-14-15,-13 0 0,13 13 0,0-12 16,-14-1-16,14 0 0,0 0 0,0 1 16,0-1-16,0 0 15</inkml:trace>
  <inkml:trace contextRef="#ctx0" brushRef="#br0" timeOffset="18547.68">17952 8533 0,'0'0'0,"-26"13"15,-1-13-15,-13 13 16,27-13-16,0 13 0,0 1 0,-1-14 15,1 13-15,13 0 0,-13-13 0,13 13 16,0 1-16,0-1 16,13-13-16,0 0 0,1 13 15,-1-13-15,0 0 0,14-13 16,-1 13-16,-13 0 0,14-13 0,-14 13 16,13 0-16,-12-14 0,-1 14 0,0 0 15,0 0-15,1 0 16,-1 0-16,0 0 15,-13 14-15,0-1 0,0 0 16,0 0-16,0 1 16,0-1-16,-13 0 0,13 0 0,-13-13 15,13 13-15,0 1 0,-14-1 16,14 0-16,-13 0 0,13 1 16,0-1-16,-13-13 15,26 13 1</inkml:trace>
  <inkml:trace contextRef="#ctx0" brushRef="#br0" timeOffset="19042">17754 8837 0,'0'-13'32,"0"0"-17,13 13 1</inkml:trace>
  <inkml:trace contextRef="#ctx0" brushRef="#br0" timeOffset="19431.34">18666 8480 0,'-39'13'32,"25"0"-32,1 1 0,0 12 15,-13-13-15,-1 14 0,14-1 0,-14 1 16,14-14-16,13 13 0,-13-12 15,13-1-15,0 0 0,0 0 0,0 0 16,13 1-16,0-1 16,1-13-16,-1 0 15,-13-13 1,0-1-16,-13 14 16,-1-13-16,1 13 0,-13 0 15,12 0-15,-12 13 0,0-13 16,-14 0-16,13 0 0,1 14 15</inkml:trace>
  <inkml:trace contextRef="#ctx0" brushRef="#br0" timeOffset="21131.75">6826 7726 0,'27'-27'15,"-14"27"-15,0 0 16,0 0-16,1 0 16,-1 0-16,0 0 0,0 14 0,1-14 15,-14 13-15,13 0 0,-13 0 16,13 1-16,-13-1 15,-13 0-15,13 0 0,-13 0 16,13 1-16,-14-1 0,1 0 16,0 0-16,0 1 0,13-1 0,-14-13 15,1 13-15,0 0 0,0 1 16,-1-14-16,14 13 16,-13-13-16,0 13 15,13 0 1,-13-13-1,0 13 48,13-26 62</inkml:trace>
  <inkml:trace contextRef="#ctx0" brushRef="#br0" timeOffset="21404.45">6654 7686 0,'0'0'16,"-13"40"-1,13-27-15,-13 0 0,13 14 16,-13-1-16,13-13 0,-14 27 0,1-13 16,0-1-16,13-13 0,-13 14 0,13-1 15,-14-13-15,14 14 0,0-14 16,0 0-16,0 1 0,0-1 0,0 0 16,0 0-16,14 0 0,-1-13 15</inkml:trace>
  <inkml:trace contextRef="#ctx0" brushRef="#br0" timeOffset="21769.16">6800 7818 0,'26'14'32,"-13"-14"-17,1 0-15,-1 0 0,13 0 0,-12 0 16,12 0-16,1 0 0,-14 0 16,13 0-16,1 0 0,-1 0 0</inkml:trace>
  <inkml:trace contextRef="#ctx0" brushRef="#br0" timeOffset="22113.92">7474 7739 0,'0'0'15,"-13"-13"-15,0 13 16,0 0-16,0 0 0,-1 0 15,-12 13-15,13-13 0,-1 0 0,1 13 16,0-13-16,0 14 0,13-1 16,0 0-16,0 0 15,0 0-15,13 1 0,0-14 16,-13 13-16,13 0 0,1-13 16,-1 13-16,0 1 0,0-1 15,1 0-15,-14 0 16,-14 1-1,1-14-15,0 13 16,-14-13-16,14 13 0,-13-13 0,-1 13 0,14 0 16,-13-13-16,12 14 0,-12-14 0,13 0 15,-1 13-15,1-13 0</inkml:trace>
  <inkml:trace contextRef="#ctx0" brushRef="#br0" timeOffset="23797.62">11139 9313 0,'79'-13'31,"-65"26"-31,-14 1 16,0-1-16,-14 0 16,14 0-16,-13 14 0,-40 12 15,27-12-15,-1-1 0,1-12 16,-1 12-16,14-13 0,0 0 0,0-13 15,-1 14-15,1-1 0,0 0 16,0-13-16,13 13 0,0 1 16,13-14-1,0 0-15,0 0 16,14 0-16,-1 0 0,1-14 16,-1 14-16,14-13 0,26 0 15,-26 0-15,39-27 0,-52 27 16,-1-14-16,1 14 0,-1 0 15,-13 0-15,14-1 0,-27 1 0,13 0 16,0 13-16,-13-13 0,0-1 16,-13 28 15,0-1-31,13 0 0,0 0 16,0 1-16,0-1 15,13 13-15,0-12 16,0-14-16,1 13 0,-1-13 15,0 0-15,0 0 0,1-13 0,12 13 16,-13 0-16,0-14 16,1 1-16,-1 0 0,-13 0 0,13-1 15,-26 1-15,13 0 0,-13 0 0,13-1 16,-14 14-16,1-13 0,-13 13 16,13-13-16,-1 13 0,1 0 0,-13 0 15,12 0-15,1 13 0,0-13 0,-14 13 16,14-13-16,0 14 0</inkml:trace>
  <inkml:trace contextRef="#ctx0" brushRef="#br0" timeOffset="26079.48">13401 10134 0,'-66'26'32,"40"-13"-32,-1 0 0,1 1 0,-14 12 15,13-13-15,1 1 0,0-1 16,12 0-16,-12 0 0,13-13 0,-1 14 15,1-1-15,0-13 0,13 13 0,-13 0 16,13 0-16,0 1 16,13-14-16,0 0 0,0 0 15,1 13-15,12-13 0,1 0 16,-1 0-16,0 0 0,14-13 0,0 13 16,0 0-16,-1 0 0,-12 0 15,-1-14-15,1 14 0,-14 0 0,13 0 16,-12-13-16,-1 13 0,0 0 0,0-13 15,0 13-15,-13-13 0,14 13 16,-14-13-16</inkml:trace>
  <inkml:trace contextRef="#ctx0" brushRef="#br0" timeOffset="26292.47">13454 10081 0,'-13'13'16,"13"0"-1,-13 0-15,13 1 0,0-1 0,-14 13 16,14 1-16,0-14 0,-13 27 0,0-14 16,0 14-16,13-14 0,-14 1 15,14-14-15,-13 13 0,0 1 0,13-14 16,-13 14-16,13-14 0,0 0 0,-13 0 16,13 0-16,0 1 0,-14-14 0,14 13 15,14-13 1</inkml:trace>
  <inkml:trace contextRef="#ctx0" brushRef="#br0" timeOffset="26628.02">13758 10147 0,'-26'26'16,"13"-13"-16,13 1 15,0-1-15,0 0 0,-14 0 0,14 1 16,0 12-16,0-13 0,14 1 0,-14-1 16,0 0-16,13 0 0,0 0 15,0-13-15,1 14 16,12-14-16,-13 0 0,14 0 0,-14-14 16,13 14-16,-12-13 0,-1 0 0,0 0 15,0 0-15,1-1 0,-14 1 16,13-13-16,-13 12 0,0 1 0,-13 0 15,13 0-15,-14-1 0,1-12 0,0 26 16,0-13-16,-14 0 0,14 13 16,0 0-16,-14 0 0,14 0 15,-13 13-15,12-13 0,-12 13 0,13 0 16,-1 0-16,-12 1 0,13-1 0</inkml:trace>
  <inkml:trace contextRef="#ctx0" brushRef="#br0" timeOffset="31637.82">17754 3916 0,'0'106'31,"0"-93"-31,0 0 0,0 14 16,0-14-16,-14 13 0,14-12 0,0-1 15,0 0-15,0 13 0,-13-12 0,13-1 16,0 0-16,0 0 0,0 1 16</inkml:trace>
  <inkml:trace contextRef="#ctx0" brushRef="#br0" timeOffset="31995.08">17978 3929 0,'27'-13'31,"-14"26"-31,0-13 0,1 0 0,-14 13 16,13-13-16,0 14 0,-13-1 0,13 0 16,-13 0-16,14 0 0,-14 1 0,0-1 15,0 0-15,0 14 0,0-14 16,0 0-16,0 0 0,0 1 15,0 12-15,0-13 0,0 0 0,0 1 0,0-1 16,0 0-16,0 0 16,0 1-16,0-1 0,0 0 15,0 0 1</inkml:trace>
  <inkml:trace contextRef="#ctx0" brushRef="#br0" timeOffset="32196.1">17992 4194 0,'13'-14'16,"0"14"0,27 0-1,-27 0-15,0-13 16,1 13-16,-1 0 0,0 0 15,13-13-15,-12 13 0,-1 0 0,0 0 0,0 0 16,1-13-16</inkml:trace>
  <inkml:trace contextRef="#ctx0" brushRef="#br0" timeOffset="32539.69">18494 3982 0,'-13'-13'0,"26"26"0,-39-13 16,13 0-16,-1 0 0,1 0 15,13 13-15,-13-13 0,13 13 16,-13 1-16,26-1 16,-13 0-16,0 0 0,13-13 15,-13 14-15,13-1 0,1 0 16,-14 0-16,13-13 15,0 14-15,-13-1 0,13-13 0,-13 13 0,0 0 16,0 0 0,-13 1-16,0-1 15,0 0-15,-1-13 0,1 13 0,-13 1 16,-1-1-16,14-13 0,-13 13 0,12-13 16,-12 13-16,13-13 0,-1 0 15,14 13-15,-13-13 0,0 0 0</inkml:trace>
  <inkml:trace contextRef="#ctx0" brushRef="#br0" timeOffset="32927.57">19116 3969 0,'0'-13'15,"13"39"1,-13 0-16,0-12 0,0-1 0,14 0 16,-14 14-16,0-14 0,0 13 15,0-12-15,0-1 0,0 0 0,-14 13 16,14-12-16,0-1 0,0 0 0,0 0 15</inkml:trace>
  <inkml:trace contextRef="#ctx0" brushRef="#br0" timeOffset="33128.51">18918 4154 0,'66'0'31,"-53"0"-31,14 0 0,-1 0 16,0 0-16,1 0 0,-1 0 15,1 0-15,-1 0 0,1 0 0,-1 0 16,27 0-16,-26-13 16</inkml:trace>
  <inkml:trace contextRef="#ctx0" brushRef="#br0" timeOffset="34509.56">20069 3956 0,'13'26'15,"-13"-13"-15,0 0 16,0 1-16,0-1 0,0 0 0,0 14 16,0-14-16,0 0 0,0 0 15,0 1-15,-13-1 0,13 0 16,0 0-16,0 0 0,0 1 0,0-1 16,0 0-16</inkml:trace>
  <inkml:trace contextRef="#ctx0" brushRef="#br0" timeOffset="34686.18">20227 4141 0</inkml:trace>
  <inkml:trace contextRef="#ctx0" brushRef="#br0" timeOffset="35124.78">20518 3982 0,'0'0'0,"-13"0"0,0 0 0,0 0 16,0 13-16,-1 0 15,1-13-15,0 14 0,13-1 0,-13-13 16,13 13-16,-14-13 0,14 13 15,0 1-15,0-1 16,14-13-16,-1 0 16,0 0-16,14 0 15,-14 0-15,-13-13 16,13 13-16,0 0 0,0 0 16,1 0-16,-1 0 15,0 13-15,-13 0 16,0 0-1,0 1-15,0-1 0,0 0 16,0 0-16,-13 0 0,13 1 16,0-1-16,0 0 0,0 0 15,0 1 1</inkml:trace>
  <inkml:trace contextRef="#ctx0" brushRef="#br0" timeOffset="35436.17">20862 4035 0,'-13'-13'0,"0"26"16,0 0-16,-1 0 16,14 1-16,-13-1 0,13 0 0,-13 0 15,13 1-15,0-1 0,-13 0 16,13 0-16,0 0 0,13 1 15,-13-1-15,13 0 0,0-13 32,1 0-32,-1 0 15,0-13 1,-26 0 15,0 13-15,-1 0-1</inkml:trace>
  <inkml:trace contextRef="#ctx0" brushRef="#br0" timeOffset="35839.89">20029 3770 0,'-66'66'31,"53"-26"-31,-1-13 0,1 12 0,13 1 16,-13 0-16,13-1 0,-13 1 0,13-13 15,0-1-15,0 0 0,13 1 0,-13 13 16,13-14-16,-13 0 0,13-12 15,1 12-15,-1-13 0,13 1 0,-13-1 16,14 0-16,-14-13 0,27 0 16,-14 13-16,1-26 0</inkml:trace>
  <inkml:trace contextRef="#ctx0" brushRef="#br0" timeOffset="36202.26">20929 3744 0,'26'26'15,"-13"-26"-15,0 14 0,1 12 16,-1-13-16,13 27 0,-12-14 0,12 1 16,-13-1-16,1 1 0,-1-1 15,0 1-15,-13-14 0,0 0 0,0 14 16,0-14-16,0 0 0,0 0 0,-13 1 16,13 12-16,-13-26 0,-1 13 0,14 0 15,-13 1-15,0-14 16,0 13-16,-1 0 15,1-13-15</inkml:trace>
  <inkml:trace contextRef="#ctx0" brushRef="#br0" timeOffset="36466.01">21497 3744 0,'-39'53'32,"12"-27"-32,14 14 0,-13-14 15,12 14-15,1-13 0,-13 12 16,12-12-16,14-1 0,-13 1 0,13-1 16,0-13-16,0 1 0,0-1 0,0 0 15,0 0-15,13 0 0,-13 1 16,14-1-16,-14 0 0,13-13 0,-13 13 15,13-13-15,0 0 0,1 0 0,-1 0 16,0 0-16,13 0 16</inkml:trace>
  <inkml:trace contextRef="#ctx0" brushRef="#br0" timeOffset="39316.64">21484 4048 0,'0'-13'31,"13"13"-15,1 0 0,-1 0-16,0 0 15,0 13-15,1-13 0,-1 13 16,0 1-16,0-1 0,-13 0 16,0 0-1,0 1-15,-13-1 0,13 0 16,-13-13-16,0 13 0,13 0 0,-14-13 15,1 14-15,0-1 16,0-13-16,13 13 0,-14-13 16,14 13-16,0 1 31,27-14-15,-14 0-16,0 0 15,14 0-15,-14-14 0,13 14 0,1 0 0,-1-13 16,1 13-16,13-13 0,-14 0 15,0 13-15,1-14 0,-1 1 0,-12 0 16,12 13-16,-13-13 0,1 0 0,-1 13 16,0 0-16,-13-14 0,13 14 15,-13-13-15,13 13 0,-39 13 32,13 1-17,13-1 1,0 0-16,13-13 15,-13 13-15,13-13 16,0 13-16,1-13 0,-1 0 16,0 0-16,0-13 15,1 13-15,-14-13 0,13 0 16,-13 0 0,0-1-16,-13 1 15,13 0-15,-14 13 0,1-13 0,0-1 16,13 1-16,-13 0 0,-14 0 0,14 13 15,0-14-15,0 1 0</inkml:trace>
  <inkml:trace contextRef="#ctx0" brushRef="#br0" timeOffset="39534.97">22027 3784 0,'39'13'15,"-26"0"-15,1-13 0,39 53 16,-40-27-1,0 1-15,0 13 0,1-14 0,-1 0 16,0 14-16,-13-13 0,0-14 0,0 13 16,0 1-16,0-14 0,0 13 0,-13 1 15,13-1-15,-13 1 0,-1-14 0,1 13 16,0-12-16,-14 12 16,14-13-16,-13 14 0,-1-14 15,1 0-15,-14 1 0,-39 12 16</inkml:trace>
  <inkml:trace contextRef="#ctx0" brushRef="#br0" timeOffset="39949.29">19645 4551 0,'0'0'0,"27"-13"32,-14 13-32,27 0 0,13 0 0,13 0 15,13 0-15,0 0 0,27 0 16,0 0-16,26-14 0,14 14 0,-14 0 15,27 0-15,-27 0 0,14-13 16,-1 13-16,-12 0 0,-1 0 0,-26 0 16,0 0-16,-14 0 0,1 0 0,-14 0 15,1 0-15,-28 0 0,1 0 16,0-13-16,-13 13 0,-14 0 0,1 0 16,-1 0-16,1 0 0,-14 0 0,0 0 15,1 0-15,-1-13 0,-53 13 31,27 0-15,-14 0-16</inkml:trace>
  <inkml:trace contextRef="#ctx0" brushRef="#br0" timeOffset="40608.47">21101 4855 0,'0'13'31,"-14"1"-31,1-1 0,0-13 16,0 13-16,-1 0 0,1 0 15,0-13-15,0 14 0,-14-1 0,14 0 16,0 0-16,0-13 0,13 14 0,-14-1 16,1-13-16,13 13 0,-13-13 15,13 13-15,0 1 16,13-1-16,0 0 16,1-13-16,-1 0 0,0 0 0,0 13 15,14-13-15,-14 0 16,13 0-16,-12 0 0,12 13 0,-13-13 0,14 0 15,-14-13-15,0 13 0,14 0 0,-14 0 16,0 0-16,0 0 0,1 0 16,-14-13-16,13 13 0,0 0 15,-13-13-15</inkml:trace>
  <inkml:trace contextRef="#ctx0" brushRef="#br0" timeOffset="40856.83">21167 4855 0,'-14'13'15,"1"-13"-15,13 14 16,0-1-16,-13 0 0,13 0 16,0 27-16,-13 0 15,13-14-15,0-13 16,0 14-16,0-14 0,0 0 0,0 0 0,0 14 15,0-14-15,0 0 0,0 1 16,0-1-16,13 0 16,-13 0-16,13-13 0,0 0 15</inkml:trace>
  <inkml:trace contextRef="#ctx0" brushRef="#br0" timeOffset="42045.89">20320 5080 0,'13'26'31,"-13"-12"-31,0-1 16,13-13-16,-13 13 0,0 0 0,14 1 15,-14-1-15,13 0 0,0-13 0,-13 13 16,13-13-16,1 14 0,-1-1 16,0-13-16,0 0 15,1-13-15,-1-1 16,-13 1-16,0 0 0,0 0 16,0-1-16,0 1 0,-13-13 0,13 12 15,-14-25-15,1 12 0,-13-39 16,12 26-16,-12 14 0,13 0 15,13 12-15,-14 1 0,1 0 16,13 0-16,-13-1 0,13 1 0,0 0 16,0 0-16,13-1 15,0 14-15,14-13 0,13 13 16,13-13-16,-14 13 0,14-13 0,0 13 16,13-13-16,14 13 0,-14-14 0,0 14 15,-13-13-15,26 13 0,-13-13 0,-13 13 16,0 0-16,0 0 0,0-13 15,-13 13-15,-1 0 0,-12 0 0,-1 0 16,1-14-16,-14 14 0,0 0 0,14 0 16,-14 0-16,0 0 15,0 0-15,1 0 16,-1 0-16,0 0 16,0 0-16,-13 14 31,0-1-31</inkml:trace>
  <inkml:trace contextRef="#ctx0" brushRef="#br0" timeOffset="42548.69">21511 4921 0,'-40'27'31,"27"-14"-31,13 0 0,0 0 16,0 1-16,-14-14 0,28 13 0,-14 0 16,0 0-16,0 1 0,13-14 15,0 13-15,0 0 0,1-13 0,-1 0 16,0 0-16,0 13 0,1-26 0,12 13 15,-13 0-15,0 0 0,1 0 16,-1-13-16,-13 0 0,13 13 0,0-14 16,-13 1-16,0 0 0,0 0 0,0-1 15,0 1-15,0 0 0,-13 0 16,0-1-16,0 1 16,-1 0-16,-12 13 0,13 0 15,0-13-15,-1 13 0,-12 0 0,13 0 16,-1 0-16,-12 0 0</inkml:trace>
  <inkml:trace contextRef="#ctx0" brushRef="#br0" timeOffset="43428.96">18031 6125 0,'0'27'15,"0"-14"-15,0 0 16,0 13-16,0-12 0,0 12 0,0 1 16,-13-1-16,13 1 0,-13 12 15,0-12-15,13-1 0,-14-13 0,14 14 16,-13-14-16,13 14 0,-13-14 0,13 0 15</inkml:trace>
  <inkml:trace contextRef="#ctx0" brushRef="#br0" timeOffset="43869.04">18190 6125 0,'0'0'0,"0"-13"0,13 13 15,1 0 1,-1 0-16,13 0 15,-13 0-15,1 0 0,-1 0 16,0 0-16,0 0 0,1 0 0,-14 13 16,13-13-16,0 0 0,0 13 15,1-13-15,-14 14 0,0-1 16,13-13-16,-13 13 0,0 0 0,0 0 16,0 14-16,0-14 0,-13 0 15,13 14-15,0-14 0,0 14 0,-14-14 16,14 13-16,0-13 0,0 1 15,-13-1-15,13 13 0,0-12 16,-13-1-16,13 0 0,0 0 0,0 1 16,0-1-1,0 0-15</inkml:trace>
  <inkml:trace contextRef="#ctx0" brushRef="#br0" timeOffset="44114.37">18296 6390 0,'0'0'0,"26"0"31,-12 0-31,-1 0 15,0 0-15,0 0 16,1 0-16,-1 0 0,0 0 16,0 0-16,-13-14 0,13 14 0,1 0 15,-1 0-15</inkml:trace>
  <inkml:trace contextRef="#ctx0" brushRef="#br0" timeOffset="44540.57">18759 6257 0,'-13'-13'31,"-1"13"-31,1 13 0,0-13 15,0 0-15,0 0 16,-1 14-16,1-14 0,13 13 16,0 0-1,0 0-15,0 1 16,13-14-16,-13 13 0,14-13 16,-14 13-16,13-13 0,-13 13 15,13 0-15,0 1 0,0-1 16,-13 0-16,14 0 15,-14 1 1,-14-14 0,14 13-16,-13-13 0,0 13 0,0 0 15,0-13-15,-1 0 0,1 14 0,0-14 16,0 0-16,-1 0 16,1 0-16,0 0 15,26-14 1</inkml:trace>
  <inkml:trace contextRef="#ctx0" brushRef="#br0" timeOffset="44960.17">19288 6350 0,'13'13'32,"1"-13"-17,-1 0-15,0 0 16,0 0-16,1 0 16,-1 0-1,0 0 16,0 0-15</inkml:trace>
  <inkml:trace contextRef="#ctx0" brushRef="#br0" timeOffset="45792.89">20294 6006 0,'0'-13'0,"-14"26"16,1 0-16,13 0 15,-13 14-15,0-1 0,-1 1 0,1 13 16,0-14-16,0 14 0,-1-14 15,1 14-15,13-14 0,-13-12 0,13 12 16,0 0-16,0-12 0,0 12 0,0-13 16,0 1-16,0 12 0,0-13 15,0 1-15,0-1 0,13 0 0,0 0 16,-13 0-16,14-13 0,-1 0 16,0 14-16,0-14 15,1 0-15</inkml:trace>
  <inkml:trace contextRef="#ctx0" brushRef="#br0" timeOffset="46092.62">20518 6284 0,'14'-13'0,"-14"39"31,0-13-31,-14-13 16,14 14-16,0-1 0,0 0 16,-13 0-16,13 0 0,0 1 15,0-1-15,-13 0 16,13 0-16,0 1 0,0-1 15,-13-13-15,13 13 16,13 0 0</inkml:trace>
  <inkml:trace contextRef="#ctx0" brushRef="#br0" timeOffset="46397">20730 6376 0</inkml:trace>
  <inkml:trace contextRef="#ctx0" brushRef="#br0" timeOffset="46825.73">20995 6271 0,'-14'0'0,"-12"0"16,-27 26 0,40-26-1,0 13-15,-1 1 0,14-1 16,0 0 0,14 0-1,-1-13 1,0 0-16,0 0 15,1 0-15,-1 0 16,0 0-16,0 0 16,-13 13-1,13-13-15,-13 14 0,0-1 16,0 0-16,0 0 16,0 1-16,0-1 0,0 0 15,-13 0-15,13 1 0,0-1 16,-13-13-16,13 13 0,0 0 31,13-13-31</inkml:trace>
  <inkml:trace contextRef="#ctx0" brushRef="#br0" timeOffset="47145.44">21246 6363 0,'-40'0'32,"40"13"-32,-13-13 0,0 14 15,0-1-15,13 0 0,0 0 0,-14 1 16,14-1-16,14 0 16,-14 0-1,13-13-15,-13 14 16,13-14-16,0-14 31,-26 1 0,0 0 1</inkml:trace>
  <inkml:trace contextRef="#ctx0" brushRef="#br0" timeOffset="47624.94">21511 6152 0,'0'0'0,"66"66"31,-53-27-31,0-25 0,-13-1 16,0 0-16,0 14 0,0-14 0,0 0 15,0 13-15,-13-12 0,13-1 16,-13 13-16,0-12 0,-1-1 16,1 0-16,0 0 0,-14 1 15,27-1-15,-13-13 0,0 13 16</inkml:trace>
  <inkml:trace contextRef="#ctx0" brushRef="#br0" timeOffset="47949.23">22040 6006 0,'-53'40'16,"26"-27"-1,1 13-15,13 1 0,-14 13 0,14-14 16,-13 0-16,12 1 0,-12-1 16,13 14-16,-1-27 0,14 14 0,-13-14 15,13 13-15,0-12 0,0-1 0,0 0 16,0 14-16,0-14 16,0 0-16,13 0 0,-13 1 0,14-14 0,-14 13 15,13 0-15,0-13 0,0 13 0,1-13 16,-1 0-16,0 0 0,0 0 15,1 0-15,-1 0 0,0 0 16,0-13-16</inkml:trace>
  <inkml:trace contextRef="#ctx0" brushRef="#br0" timeOffset="48623.97">22172 6244 0,'0'0'0,"13"-13"0,1 26 32,-14 0-32,0 14 15,0-14-15,0 0 16,-14 1-16,14-1 0,-13 0 16,13 0-16,-13 0 0,13 1 15,-13-1-15,13 0 16,0 0-16,-14-13 15,14 14-15,14-1 16,-1-13 0,0 0-16,0 0 0,1 0 15,12-13-15,-13 13 0,0 0 0,14-14 16,-14 14-16,0-13 0,14 13 16,-14 0-16,0-13 0,1 13 15,-1 0-15,0 0 0,-13-13 16,13 26-1,0-13-15,-13 13 16,14-13 0,-14 13-16,13-13 15,0 0-15,14 0 16,-1 0 0,-26-13-16,13 13 0,0-13 15,-13 0 1,0-1-1,-13 14-15,13-13 0,-13 13 16,0-13-16,0 13 0,-14 0 16,14-13-16,0 13 15,-1 0-15,1-13 16,0 13-16</inkml:trace>
  <inkml:trace contextRef="#ctx0" brushRef="#br0" timeOffset="48893.78">22609 5966 0,'13'0'0,"0"0"16,27 40 0,-40-27-16,13 14 0,0-1 15,0-13-15,-13 14 0,14-1 0,-14 1 16,0-1-16,13 1 0,-13-1 15,0 1-15,0-1 0,0 1 16,0-1-16,-13 14 0,-1-1 16,-12 1-16,13-13 0,0-14 15,-1 0-15,1 13 0,0-12 16,-14-1-16,-26 13 16,40-12-16,-26-1 15</inkml:trace>
  <inkml:trace contextRef="#ctx0" brushRef="#br0" timeOffset="49445.2">20399 6826 0,'53'-13'32,"27"0"-17,-27 13-15,13-13 16,13 13-16,93-27 0,-79 27 15,-1-13-15,14 13 0,13-13 16,13-1-16,-39 14 0,13-13 0,-13 13 16,-1 0-16,93-13 0,-92 13 15,-14 0-15,1 0 0,-27 0 16,0 0-16,-14 0 0,1 0 0,-14 0 16,1 0-16,-1-13 0,1 13 15,-14 0-15,0 0 0,0 0 16,1 0-16,-54 13 15,27-13 1</inkml:trace>
  <inkml:trace contextRef="#ctx0" brushRef="#br0" timeOffset="50206.84">21127 7197 0,'0'26'31,"0"-13"-15,13 1-16,-13-1 0,0 13 0,0-13 15,13 1-15,-13 12 0,0-13 16,14 1-16,-14-1 0,13 0 0,-13 0 16,13-13-16,0 27 0,1-27 15,-14 13 1,13-26-16,0 0 15,-13-1-15,13 1 0,-13 0 16,0-14-16,0 14 0,0-13 16,0-1-16,0 1 0,0-1 0,0 14 15,0-13-15,-13-1 0,13 14 0,0-13 16,0 12-16,0 1 0,0 0 16,0 0-16,0-1 15,13 1-15,0 0 0,1 0 16,25-1-16,1 14 0,0-13 15,39 0-15,-26 0 0,-13 13 16,13-13-16,0 13 16,0 0-16,-1-14 0,-12 14 0,0 0 15,-14-13-15,1 13 0,-1 0 0,1 0 0,-14 0 16,0 0-16,0 0 0,1-13 16,-1 13-16,0 0 0,0 0 15,-26 13 1,0 0-1,0 1-15,-14-1 0,-13 13 16,14-13-16,-14 14 0</inkml:trace>
  <inkml:trace contextRef="#ctx0" brushRef="#br0" timeOffset="50570.42">21643 7250 0,'13'0'0,"-39"13"32,12-13-32,1 13 0,0-13 15,-13 13-15,12 0 0,1 1 16,0-1-16,-14-13 0,27 13 0,-13 0 15,0-13-15,0 14 0,13-1 0,-14-13 16,14 13-16,0 0 16,14 1-16,-1-1 0,0-13 15,0 0-15,-13 13 0,27-13 16,-14 0-16,0 0 0,1 0 0,-1 13 16,0-13-16,0 0 0,0-13 15,1 13-15,-1 0 0,0 0 0,0 0 16,1-13-16,-1 0 15,0 13-15,-13-14 0,13 14 16</inkml:trace>
  <inkml:trace contextRef="#ctx0" brushRef="#br0" timeOffset="50792.78">21683 7263 0,'-27'26'0,"54"-52"0,-54 65 0,14-39 15,13 14-15,-13-1 0,13 0 0,-14 0 16,14 1-16,0 12 0,-13-13 16,13 1-16,0-1 0,-13 0 0,13 13 15,0-12-15,-13-1 0,13 0 16,0 0-16,13-13 0,-13 14 16,0-1-1,13-13-15,0 0 0,1 0 16,-1 0-16</inkml:trace>
  <inkml:trace contextRef="#ctx0" brushRef="#br0" timeOffset="51090.31">21881 7448 0,'0'0'0,"-26"13"32,26 0-17,0 1-15,0-1 16,13 0-16,0-13 15,0 0-15,14 0 16,-1 0-16,-13 0 0,1 0 0,-1-13 16,0 13-16,0-13 15,1 13-15,-1-14 0,0 1 0,-13 0 16,13 0-16,-13 0 0,0-1 0,0 1 16,0 0-16,-13 13 0,13-13 15,0-1-15,-13 1 0,0 0 0,-1 0 16,1 13-16,0 0 0,0-14 15,-14 14-15,14 0 16,0 0-16,13 14 16</inkml:trace>
  <inkml:trace contextRef="#ctx0" brushRef="#br0" timeOffset="51240.65">22437 7527 0,'-14'-13'0,"14"0"16,-13 13-1,13-13-15</inkml:trace>
  <inkml:trace contextRef="#ctx0" brushRef="#br0" timeOffset="76958.77">17039 10544 0,'0'-14'0,"0"1"16,0-13-1,0 52 32,0 1-47,0-14 0,0 0 0,-13 14 16,13-1-16,0 0 0,0 1 0,-13-1 16,13-12-16,0 12 0,0 1 15,-14-1-15,14-13 0,0 0 16,0 1-16,0-1 0,-13 0 0,13 0 15,13 1-15</inkml:trace>
  <inkml:trace contextRef="#ctx0" brushRef="#br0" timeOffset="77500.33">17330 10517 0,'27'-13'31,"-14"13"-15,0 0-16,0 0 15,1 0-15,-1 0 0,0 0 16,0 0-16,0 0 16,1 0-16,-14 13 15,13-13-15,-13 13 0,0 1 16,0 12-16,0 1 0,0-14 16,-13 0-16,13 13 15,0-12-15,0 12 0,0 1 0,0-14 16,0 13-16,0-12 0,0-1 15,0 0-15,0 0 16,0 0-16,13-13 16,-13 14-16,0-1 15,13-13-15</inkml:trace>
  <inkml:trace contextRef="#ctx0" brushRef="#br0" timeOffset="77715.84">17317 10755 0,'0'-13'16,"26"13"0,1 0-1,-14 0-15,0 0 0,14 0 16,-1-13-16,-13 13 15,14 0-15,-14 0 0,0 0 16,1 0-16,-1 0 0,0 0 16,0-13-16,1 13 0</inkml:trace>
  <inkml:trace contextRef="#ctx0" brushRef="#br0" timeOffset="78119.02">18031 10570 0,'0'-13'0,"-13"13"0,0 0 16,0 0-16,-1 0 0,1 0 16,0 0-16,0 0 0,0 13 0,-1-13 15,-25 13-15,25-13 16,1 14-16,0-1 15,13 0-15,0 0 16,0 0-16,13 1 16,-13-1-16,27 0 15,-27 0-15,26 1 16,-13-1-16,1-13 0,-14 13 16,13-13-16,-13 13 0,0 1 15,0-1 1,-13 0-16,-1 0 0,1 0 15,0-13-15,0 14 0,-1-14 0,-12 13 16,13 0-16,-1-13 16,1 13-16,0-13 0</inkml:trace>
  <inkml:trace contextRef="#ctx0" brushRef="#br0" timeOffset="78377.77">18389 10491 0,'0'0'0,"0"-13"32,-14 39-32,14 0 15,0-12-15,0 12 0,-13-13 16,13 14-16,0-14 0,0 0 15,0 14-15,0-14 0,0 0 0,0 0 16,0 14-16,0-14 0,13 0 16,-13 14-16,14-14 15,-14 0-15,13-13 16</inkml:trace>
  <inkml:trace contextRef="#ctx0" brushRef="#br0" timeOffset="78587.14">18269 10729 0,'-13'-13'15,"53"13"17,-27 0-32,0-14 0,14 14 0,-14 0 0,14 0 15,-14 0-15,13-13 0,-13 13 16,14 0-16,-14 0 0,0 0 0,14-13 15,-14 13-15,0 0 16,1 0-16,-14-13 0,13 13 0,0 0 16</inkml:trace>
  <inkml:trace contextRef="#ctx0" brushRef="#br0" timeOffset="79135.28">19420 10411 0,'0'0'16,"-26"14"-1,13-1-15,0 0 16,-14 27-16,14-1 15,0-12-15,-1-1 0,14-12 0,0 12 16,-13-13-16,13 14 0,0-14 16,13 0-16,-13 14 0,14-1 15,-1-13-15,0-13 0,14 14 16,-14-14-16,0 13 16,0-26-16,0 13 0,1-14 15,-1 1-15,-13 0 0,0 0 16,13-1-16,-13 1 0,-13 0 15,13 0-15,-13-1 16,-1 1-16,1 13 0,0 0 16,0 0-16,-14 0 15,14 13-15,0 1 16,0-14-16,13 13 16</inkml:trace>
  <inkml:trace contextRef="#ctx0" brushRef="#br0" timeOffset="79266.11">19539 10663 0,'0'-14'0,"-13"14"32</inkml:trace>
  <inkml:trace contextRef="#ctx0" brushRef="#br0" timeOffset="79619.75">19950 10451 0,'13'40'32,"-13"-27"-32,0 0 0,-13 0 15,-1 1-15,14-1 0,-26 27 16,26-27-16,-13 0 0,-1-13 0,14 13 16,-13 0-16,13 1 15,-13-14-15,13 13 0,0 0 16,0 0-1,13-13-15,0 0 16,1 0-16,12 0 16,-13 0-16,14-13 15,12 0-15,-25 0 16</inkml:trace>
  <inkml:trace contextRef="#ctx0" brushRef="#br0" timeOffset="79894.89">20214 10544 0,'-13'-14'0,"-14"41"32,27-14-17,0 0-15,14 1 16,-1-1-16,0-13 16,0 0-16,1 0 0,-1 0 15,0 0-15,0 0 0,1 0 16,-1-13-16,0 13 0,-13-14 0,13 1 15,0 0-15,-13 0 0,0-1 16,-13 1-16,13 0 0,0 0 16,-13 13-16,0-13 0,0-1 15,-14 14-15,1 0 16,-107 40 15</inkml:trace>
  <inkml:trace contextRef="#ctx0" brushRef="#br0" timeOffset="80502.22">17052 11655 0,'0'26'15,"0"-12"-15,-13-1 16,13 27-16,-13-14 0,13 0 15,-13 14-15,13-13 16,-14-14-16,14 13 0,-13 14 16,13-27-16,0 0 0,0 1 15,0-1-15,0 0 0,0 0 16,13-13-16,-13 14 0</inkml:trace>
  <inkml:trace contextRef="#ctx0" brushRef="#br0" timeOffset="80853.73">17238 11721 0,'26'-13'15,"-13"13"1,1 0-16,12 0 0,-13 13 16,0-13-1,-13 13-15,14-13 0,-1 14 0,-13-1 0,13 0 16,-13 13-16,0-12 16,13-1-16,-13 0 15,0 0-15,0 1 0,0-1 0,0 0 16,0 0-16,0 0 0,14 14 15,-14-14 1,0 0-16,0 1 0,0-1 16</inkml:trace>
  <inkml:trace contextRef="#ctx0" brushRef="#br0" timeOffset="81038.55">17211 11959 0,'13'-13'32,"1"13"-32,-14-13 0,13 13 15,0 0-15,27 0 16,-27 0-16,0-14 0,0 14 16,14 0-16,13 0 15,-27 0-15,0 0 0,0 0 0,0-13 16</inkml:trace>
  <inkml:trace contextRef="#ctx0" brushRef="#br0" timeOffset="81333.66">17727 11787 0,'0'0'0,"-26"0"0,12 0 15,1 0-15,0 13 16,13 1-16,0-1 15,0 0 1,0 0-16,0 1 0,13-1 16,-13 0-16,27 13 0,-14 1 15,0-27 1,-13 13-16,0 0 0,13 1 16,-26-1-16,13 0 15,-13-13-15,13 13 0,-13-13 16,-1 14-16,1-14 0,-13 13 15,12-13-15,1 0 0,0 0 16</inkml:trace>
  <inkml:trace contextRef="#ctx0" brushRef="#br0" timeOffset="81608.91">18230 11867 0,'26'0'31,"-13"0"-31,1 0 0,-1 0 0,0 0 15,0 0-15,14 0 16,-14 0-16,0 0 0,1 0 16,-1 0-16,0 0 0,13-14 15</inkml:trace>
  <inkml:trace contextRef="#ctx0" brushRef="#br0" timeOffset="82181.71">19315 11443 0,'-53'40'32,"53"-27"-32,-14 0 15,1 14-15,-13 26 0,13-27 16,-1 27-16,14-40 16,-13 14-16,13-14 0,13 27 15,-13-27-15,14 13 0,-1-12 0,0-14 16,13 26-1,-12-26-15,-1 0 0,0 0 0,14 0 16,-14 0-16,0 0 0,-13-13 0,13 13 16,-13-13-16,14-1 15,-28 1-15,14 0 0,-13 0 16,0 0-16,0-1 16,-1 14-16,1 0 0,0 0 15,0 0-15,-1 0 0,1 0 16,0 0-16</inkml:trace>
  <inkml:trace contextRef="#ctx0" brushRef="#br0" timeOffset="82336.08">19500 11708 0,'-13'-13'31</inkml:trace>
  <inkml:trace contextRef="#ctx0" brushRef="#br0" timeOffset="83000.14">19751 11562 0,'13'-13'0,"1"0"0,-1 26 16,13-13-1,-12 13-15,-1 1 16,-13-1-16,0 0 0,0 13 16,0-12-16,0-1 0,-13 0 15,13 0-15,-14 1 0,1 12 16,0-13-16,0 1 16,-1-1-16,1 0 15,13 0 1,13-13-1,1 0 1,-1 0-16,0 0 0,0-13 16,27 0-16,-14 13 15,1-13-15,-14-1 0,40-12 0,-40 26 16,14-13-16,-14-1 0,0 1 16,0 13-16,1-13 0,-1 0 15,-13 26 32,-13 0-31,13 0-16,13-13 0,-13 14 0,13-1 15,0-13 1,1 0-16,-1 0 0,13 0 16,-13 0-16,1-13 0,-1 13 15,0-14-15,0 1 16,-13 0-16,14 0 0,-14-1 15,-14-12-15,1 13 16,0 0-16,0 13 0,-1-14 16,1 14-16,0 0 0,0 0 15,0 0-15,-27 0 0,13 0 16,1 14-16</inkml:trace>
  <inkml:trace contextRef="#ctx0" brushRef="#br0" timeOffset="86142.78">7686 13189 0,'13'14'0,"-13"-1"15,-13 0-15,13 14 0,0-14 16,0 13-16,-13 1 0,13-1 15,-13 1-15,13-1 0,0 1 0,-14-14 16,14 13-16,-13 1 0,13-14 16,0 13-16,-13-12 0,0 52 31,13-53-31,0 0 16</inkml:trace>
  <inkml:trace contextRef="#ctx0" brushRef="#br0" timeOffset="86942.92">8030 13203 0,'0'0'0,"-13"13"31,0 0-15,13 0-16,-14 1 0,1 12 0,0-13 16,0 27-16,0-14 0,-1 1 15,1-1-15,13 1 0,-13-1 0,13-12 16,0 12-16,0-13 0,0 14 16,0-14-16,13 0 0,-13 14 15,13-14-15,1 0 0,-14 0 16,13-13-16,0 13 0,0-13 15,0 0-15,1 0 0,-1-13 16,0 13-16,-13-13 16,13 13-16,-13-13 0,0 0 15,-13-1 1,13 1-16,-26 13 16,26-13-16,-14 13 0,-12 0 15,13 0 1</inkml:trace>
  <inkml:trace contextRef="#ctx0" brushRef="#br0" timeOffset="88139.39">8414 13269 0,'0'-13'31,"-13"-1"-31,-1 14 16,1 0 0,0 0-1,0 0-15,-1 0 16,14 14-16,-13-14 0,0 0 16,13 13-16,-13-13 15,13 13-15,0 0 16,0 1-16,0-1 0,0 0 15,13 0 1,-13 0-16,0 1 0,13-1 0,-13 0 16,13 0-16,-13 1 0,0-1 0,0 0 15,0 0-15,0 14 16,0-14-16,0 0 0,-13 14 16,0-14-16,0 0 0,-1 0 15,1-13-15,0 14 16,0-14-16,0-14 15,26 1 1,0 0 0,-13 0-16,13 13 15,0-14-15,1-12 0,12 13 16,-13 0-16,1-14 0,-1 14 16,0 0-16,0-1 0,1-12 15,-14 13-15,13-1 0,-13 1 0,0 0 16,0 0-16,0 0 15,-13-1-15,-1 14 16,1-13 0,0 13-16,0 13 15,-1 1 17</inkml:trace>
  <inkml:trace contextRef="#ctx0" brushRef="#br0" timeOffset="88476.78">8559 13533 0,'0'14'16,"13"-41"31</inkml:trace>
  <inkml:trace contextRef="#ctx0" brushRef="#br0" timeOffset="89361.72">9141 13295 0,'-13'-13'47,"0"13"-32,0 0 1,-1-13-16,1 13 16,0 0-16,13 13 15,-26-13-15,12 0 16,1 13 0,0 1-16,13-1 15,0 0-15,0 0 16,0 0-16,0 1 15,0-1-15,0 0 0,0 0 0,13 1 16,-13-1-16,0 13 0,0-12 0,13-1 16,-13 0-16,0 0 15,0 0-15,0 1 0,-13 12 16,13-13-16,-13-13 0,13 27 16,-13-27-16,13 13 0,-14-13 15,1 13-15,0-26 31,26 0-15,-13-14-16,13 27 0,-13-13 16,14 0-16,-14 0 0,13-1 0,0 1 15,0 0-15,1-13 16,-1-1-16,-13 14 0,13-14 16,-13 14-16,13 0 0,-13 0 15,0-1-15,0 1 16,0 0-16,0 0 0,0 0 0,-13-1 15,0 14-15,0-13 16,-1 26 15</inkml:trace>
  <inkml:trace contextRef="#ctx0" brushRef="#br0" timeOffset="90240.13">9485 13309 0,'-26'0'0,"13"0"16,-1 13-16,1-13 0,-13 13 15,12 0-15,1 0 0,13 1 0,-26-1 16,13 0-16,13 0 16,-14 1-16,14-1 0,-13 0 0,13 14 15,0-14-15,0 0 0,0 0 16,0 0-16,0 1 16,13-1-16,1-13 15,12 0 1,-26-13-16,13 13 15,0-14-15,1 1 16,-1 0-16,0 0 16,0 0-1,-13-1-15,14 14 16,-1 0 15,0 14-15,-13-1-16,0 0 15,13-13-15,-13 13 16,0 0 0,14-13-1,-1 0 17,0 0-17,-13-13-15,13 13 16,0 0-1,1 0 1,-1 13 15,0-13-15,-13 14 0,13-14-1,1-14 16,-1 14-31,0 0 16,-13-13-16,13 13 16,1-13-1</inkml:trace>
  <inkml:trace contextRef="#ctx0" brushRef="#br0" timeOffset="90812.12">10874 13282 0,'-13'-13'0,"0"39"31,13-12-31,-13 12 16,13-13-16,-14 0 0,14 1 15,0-1-15,0 0 0,0 14 16,0-14-16,0 0 0,0 0 16,0 1-16,0-1 0,0 0 0,0 0 0,0 0 15,0 1-15,14-14 0,-14 13 16,0 0-16,0 0 15</inkml:trace>
  <inkml:trace contextRef="#ctx0" brushRef="#br0" timeOffset="91361.24">10649 13533 0,'0'0'16,"-13"0"-1,26-13 17,1 13-32,-1-13 15,0 13-15,0 0 0,1 0 16,-1 0-16,0 0 0,0 0 0,1-13 16,-1 13-16,0 0 0,13 0 15,-12 0-15,-1 0 0,0-13 0,0 13 16,27 0-16,-27 0 15,14-14-15,-14 14 0,0-13 16,14 13-16,-14-13 16,0 13-16,0 0 0,-13-13 15,14 13-15,-1 0 16,0 13 15,-13 0-31,0 0 16,0 1-16,0-1 0,13 0 15,-13 0-15,13 0 0,-13 1 16,14-14-16,-1 13 0,0 0 16,0-13-16,1 0 0,-1 0 0,13 0 15,-12 0 1,-1-13-16,0 13 0,-13-13 0,13 13 16,-13-14-16,13 1 0,-13 0 15,-13 0-15,13 0 16,-13-1-16,0 14 0,0-13 15,-1 13-15,-12 0 16,-1 0-16,14 0 0,0 0 16,13 13-16,-13-13 0,-1 14 15</inkml:trace>
  <inkml:trace contextRef="#ctx0" brushRef="#br0" timeOffset="91920.68">12674 13295 0,'0'27'31,"0"-14"-31,0 0 0,0 14 16,0-14-16,-14 27 0,14-14 15,0-13-15,-13 27 0,13-14 16,0-12-16,0-1 0,0 0 16,0 0-16,0 14 0,0-14 15,0 0-15,13 0 16,1 1-16</inkml:trace>
  <inkml:trace contextRef="#ctx0" brushRef="#br0" timeOffset="92671.69">13137 13322 0,'-40'-13'16,"27"13"-16,-1-14 16,1 14-16,0 0 15,0 0-15,0 14 0,-1-14 16,1 13-1,13 0-15,-13-13 0,13 13 16,0 0-16,0 1 0,0-1 0,13 0 16,-13 0-16,0 14 0,13-14 15,-13 0-15,14 27 0,-14-27 16,13 0-16,-13 27 16,0-27-16,0 1 0,-13-1 15,13 0-15,-14-13 0,1 13 16,0-13-16,0 0 15,-1 0 1,1 0-16,13-13 16,13 0-1,1 0-15,-1 13 16,-13-14-16,13 1 0,0 13 16,1-13-16,12 0 0,-13-1 0,0 1 15,14-13-15,-14 13 16,0-1-16,-13 1 0,14 0 0,-14 0 15,13-14-15,-13 14 0,0 0 16,-13-1-16,13 1 0,-14 0 16,1 13-1,0-13-15,0 13 0,-1 0 16,14 13-16,-13-13 0,0 0 16,0 13-16,13 0 15,0 1 1</inkml:trace>
  <inkml:trace contextRef="#ctx0" brushRef="#br0" timeOffset="93008.98">13467 13242 0,'0'-13'16,"14"26"-1,-14 14-15,-14-27 16,14 26-16,0 1 16,0-14-16,0 13 0,-13-12 0,13 12 15,0 1-15,0-14 0,0 13 0,0-12 16,0 12-16,0-13 16,-13 14-16,13-14 0,0 0 0,0 0 15,0 1-15,0-1 0,0 0 0,0 0 16,0 0-16,0 1 15,0-1-15,0-53 79</inkml:trace>
  <inkml:trace contextRef="#ctx0" brushRef="#br0" timeOffset="93254.15">13719 13467 0</inkml:trace>
  <inkml:trace contextRef="#ctx0" brushRef="#br0" timeOffset="93777.3">14089 13229 0,'13'0'0,"14"0"16,-14 13-1,0-13-15,-13 14 0,13-1 16,-26 13 0,13-12-16,-13-1 0,0 0 15,13 0-15,-13 0 0,-1 1 16,-12-1-16,26 0 0,-27 14 16,1-14-16,26 0 0,-13-13 15,13 13-15,-14 1 16,14-1-16,14 0 15,-1-13 1,-13 13-16,13-13 0,14 0 16,-14 0-16,13 0 15,-12 0 1,-1 0-16,-13-13 0,13 13 0,0-13 16,0 13-16,-13-13 0</inkml:trace>
  <inkml:trace contextRef="#ctx0" brushRef="#br0" timeOffset="94696.71">14499 13242 0,'-13'0'32,"-14"0"-32,14 14 0,0-1 15,0 0-15,0 0 16,13 1-16,-14-14 0,14 13 16,0 0-16,0 0 0,-13 0 15,13 1-15,13-1 16,-13 0-16,0 0 0,0 1 15,14-14-15,-1 13 16,0-26 15,0 13-31,0-14 16,1 1 0,-1 13-16,0-13 15,0 13-15,-13-13 16,14 13-16,-1 0 0,-13-14 15,13 14 1,0 0-16,1 0 16,-14 14-1,13-14-15,-13 13 16,0 0 0,13-13-16,-13 13 15,0 1 1,13-14-1,-13 13 1,13-26 15,1 13-31,-1 0 16,0 0 0,0 13-1,1 0 1,-14 0-1,13-13 1,-13 14-16,13-1 16,0-13-1,1 0 1,-1-13-16,0 13 16,0-14-16,0 14 0,1-13 15,12 0-15,-26 0 16,13 13-16,1-14 15,-1 14-15,0 0 16</inkml:trace>
  <inkml:trace contextRef="#ctx0" brushRef="#br0" timeOffset="94847.06">14949 13441 0,'13'13'16,"-39"-26"-16,65 26 0,-65-26 0,66 26 16,-40-26-16,13 13 0,0-13 15,0-1 1,-26 14-1,-13-13 1</inkml:trace>
  <inkml:trace contextRef="#ctx0" brushRef="#br0" timeOffset="95502.82">6813 13004 0,'13'40'0,"0"-27"16,-13 27-16,0 0 0,14 12 15,-14 15-15,0 65 16,0-66-16,0 0 0,0 14 0,0-14 15,0 0-15,0-26 0,0 12 16,0 1-16,0-13 0,0 0 0,0-14 16,0 1-16,0-14 0,0 13 15,0-12-15,13-1 16</inkml:trace>
  <inkml:trace contextRef="#ctx0" brushRef="#br0" timeOffset="96765.6">6496 13004 0,'39'-13'0,"-12"13"0,-1 0 15,14 0-15,171-13 16,-131 13-16,-1 0 16,1 0-16,12 0 0,-12 13 15,-1-13-15,14 0 0,-1 0 0,1 13 16,-1-13-16,14 14 0,13-14 0,14 13 16,-1-13-16,0 13 0,119 0 15,-118 0-15,12 1 0,133-1 16,-132-13-16,-14 0 15,13 13-15,1-13 0,-1 0 0,1 0 16,13 0-16,-14 13 0,1-13 0,158 0 16,-158 0-16,-14 14 15,13-14-15,-12 13 0,-1-13 0,0 0 16,1 13-16,-1-13 0,-13 13 0,13 0 16,-13-13-16,14 14 15,-14-14-15,-14 13 0,28-13 0,-1 13 16,-39-13-16,52 0 0,-39 13 0,-13-13 0,39 0 15,-26 14-15,26-14 16,-39 13-16,12-13 0,81 13 16,-94-13-16,1 13 0,0-13 0,-1 14 15,1-14-15,-14 13 0,0-13 0,1 13 16,-1-13-16,1 0 0,-1 13 16,0-13-16,-13 0 0,-13 13 0,14-13 15,-15 0-15,28 14 0,-27-14 0,0 0 16,13 0-16,-13 0 0,66 13 15,-53-13-15,-13 0 0,0 13 16,0-13-16,-14 0 0,1 0 0,0 0 16,-1 0-16,-12 13 0,-1-13 15,14 0-15,-27 0 0,14 0 0,-1 0 16,1 0-16,-1 14 16,-13-14-16,1 0 0,-1 0 15,0 0-15,0 0 0,0 0 16,1 0-1,-1 0-15,0 13 32,-26 13-17,13-12 1,-13 12-16,13-13 16,-14 14-16,14 12 0,-13 1 15,0-14-15,13 14 0,-13 0 0,0 39 16,13-39-16,0 0 0,0-14 15,0 1-15,0-1 0,13 0 16,-13 1-16,13-1 0,-13 1 0,13 26 16,0-40-16,-13 0 15,0 0-15,0 1 0,0-1 16,0 0 0,-26-13-16,13 0 0,-14 0 15,-26 0-15,0 0 16,-13 0-16,-79-13 0,52 13 15,-79-13-15,66-1 16,-26 1-16,0 13 0,-146-13 16,146 0-16,-27 13 0,13-13 15,-12 13-15,12-14 0,-171 1 16,145 13-16,13-13 0,-185 0 16,159 13-16,13-14 0,-199 1 15,186 13-15,-13 0 0,-173-13 16,173 13-16,13-13 0,-199 13 15,186 0-15,12-14 16,1 14-16,0 0 0,13 0 0,-185 0 16,198 0-16,-13 0 0,13 14 15,14-14-15,-14 0 0,14 0 16,12 13-16,1 0 0,0-13 16,-1 13-16,14 1 0,27-1 0,-1-13 15,1 13-15,12 0 0,-12 1 0,12-1 16,14 0-16,-13-13 0,12 13 15,15 0-15,12-13 0,0 14 0,0-14 16,14 13-16,0-13 0,12 0 0,-12 0 16,13 13-16,-1-13 15,1 13-15,0-13 16</inkml:trace>
  <inkml:trace contextRef="#ctx0" brushRef="#br0" timeOffset="97497.1">4141 13189 0,'-27'0'31,"14"14"-31,0-1 16,0 13-16,-14-12 0,1 12 0,12 14 15,-12-14-15,13 1 0,0 12 0,-1-12 16,14-1-16,-13 1 0,13-14 16,0 13-16,0-12 0,0 12 0,13-13 15,-13 27-15,14-27 0,-1 0 16,0 1-16,0-1 0,14 0 15,-14-13-15,0 13 0,14-13 16,-14 0-16,0 0 0,27 0 16,-27 0-16,13 0 0,1-13 15,-14 13-15,0-13 0,27 0 0,-27 13 16,0-14-16</inkml:trace>
  <inkml:trace contextRef="#ctx0" brushRef="#br0" timeOffset="98082.99">4498 13361 0,'-13'0'31,"52"14"-16,-25-14-15,-1-14 0,13 14 16,-12 0-16,12 0 0,0-13 0,1 13 16,-14-13-16,14 0 0,-14 13 15,13-13-15,-13-1 0,1 14 16,-14-13-16,13 0 0,0 13 0,-13-13 16,13 13-16,-13-14 0,0 1 15,0 53 16,-13-14-31,13-12 0,-13 12 16,13 14-16,-13-1 0,13 1 16,-14-13-16,14 12 0,-13 1 0,13-14 15,0 1-15,-13-1 0,-13 40 16,12-52 0,1 12-16,-13 1 0,12-27 0,-12 13 15,0 0-15,12-13 16,1 0-16,0 0 0,0 0 15,-1 13-15,41-13 32,-1 0-32,-12 0 15,12-13-15,27 13 16,-27 0-16,14-13 0,0 13 0,-1-13 16,-12 13-16,-1 0 0,1-14 15,-1 14-15,-13 0 0,14 0 0,-14-13 16,14 13-16,-14 0 0,0 0 0,0-13 15,1 13-15,-1 0 0,0-13 16,0-1-16</inkml:trace>
</inkml:ink>
</file>

<file path=ppt/ink/ink32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3:20:41.185"/>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7263 3770 0,'0'0'0,"0"27"0,-13-1 0,13-13 16,0 14-16,-14-14 0,14 14 0,0-1 16,-13 1-16,13-1 0,0 0 0,-13-12 15,13 12-15,0-13 0,-13 14 0,13-14 16,0 0-16,0 1 0,-14-1 15,14 0-15</inkml:trace>
  <inkml:trace contextRef="#ctx0" brushRef="#br0" timeOffset="325.49">7474 3797 0,'0'0'0,"14"0"0,12-13 32,-13 13-32,1 13 0,-1-13 15,0 13-15,0 0 16,-13 0-16,0 1 0,14-1 15,-14 0-15,0 0 0,0 1 16,0-1-16,0 0 0,0 0 0,0 14 16,0-14-16,0 0 0,0 0 0,0 1 15,-14-1-15,14 0 0,0 0 0,0 1 16,0-1-16,0 0 0,0 0 16</inkml:trace>
  <inkml:trace contextRef="#ctx0" brushRef="#br0" timeOffset="501.48">7488 4048 0,'0'0'0,"-14"-13"16,28 0 0,-1 13-16,13 0 15,-12-14-15,-1 14 0,0 0 16,0 0-16,1-13 0,-1 13 0,13 0 15,-13 0-15,1-13 0,12 13 16</inkml:trace>
  <inkml:trace contextRef="#ctx0" brushRef="#br0" timeOffset="802.36">8096 3810 0,'-13'0'0,"-40"13"32,40-13-32,0 0 0,13 13 15,-14-13-15,14 14 0,0-1 16,0 0-16,0 0 0,0 1 16,0-1-16,0 0 0,14 0 15,-14 1-15,0-1 0,0 0 16,0 0-16,0 0 15,-14 1-15,14-1 0,-13-13 0,0 13 16,0 0-16,0 1 0,-1-14 16,14 13-16,-13-13 0,0 13 0,0-13 15,13 13-15,-14-13 0,1 0 0</inkml:trace>
  <inkml:trace contextRef="#ctx0" brushRef="#br0" timeOffset="1021.56">8401 3717 0,'13'0'0,"-13"14"32,0-1-32,0 0 0,0 0 15,-13 1-15,13-1 0,-14 26 16,14-25-16,-13 12 0,13 1 15,-13-14-15,13 0 0,0 0 16,0 1-16,-13-1 0,13 0 16</inkml:trace>
  <inkml:trace contextRef="#ctx0" brushRef="#br0" timeOffset="1205.01">8268 3916 0,'13'-13'0,"14"-1"31,-14 1-31,0 13 0,27 0 16,-13-13 0,-14 13-16,0 0 0,0 0 0,0 13 15</inkml:trace>
  <inkml:trace contextRef="#ctx0" brushRef="#br0" timeOffset="1416.76">8202 4128 0,'27'0'31,"-1"0"-31,-13 0 0,0 0 16,1 0-16,-1 0 0,0-14 0,0 14 16,1 0-16,12 0 0,-13 0 15,1 0-15</inkml:trace>
  <inkml:trace contextRef="#ctx0" brushRef="#br0" timeOffset="1866.79">9406 3704 0,'0'66'31,"0"-52"-31,-13 12 0,13 0 16,0 1-16,-14 13 0,14-14 0,-13 1 15,13-1-15,-13 0 0,13 1 16,0-14-16,-13 14 0,13-14 0,0 0 15,0 0-15</inkml:trace>
  <inkml:trace contextRef="#ctx0" brushRef="#br0" timeOffset="2033.73">9578 4008 0,'0'0'16</inkml:trace>
  <inkml:trace contextRef="#ctx0" brushRef="#br0" timeOffset="2401.58">9922 3797 0,'-13'0'15,"26"0"-15,-53 13 0,27-13 0,-14 0 16,14 13-16,0-13 0,-13 13 0,12-13 16,1 14-16,0-14 0,0 13 0,-1-13 15,14 13-15,-13-13 0,13 13 0,13 1 31,1-14-31,-1-14 0,0 14 0,0 0 16,14 0-16,-14-13 0,13 13 16,-12 0-16,-1 0 0,0-13 0,0 13 15,1 0-15,-1 0 0,0 0 16,-13 13 0,0 0-16,0 1 15,0-1-15,-13 13 0,13-12 0,-13 12 16,-1-13-16,1 0 0,0 14 0,13-14 15,-13 0-15,-1 1 16,14-1-16,0 0 0,0 0 16,14-13-16</inkml:trace>
  <inkml:trace contextRef="#ctx0" brushRef="#br0" timeOffset="2698.73">10186 3850 0,'-52'39'16,"38"-25"0,1-1-16,0 0 0,0 14 0,-1-14 15,14 13-15,0-13 0,-13 1 0,13-1 16,13 0-16,-13 0 0,14 1 16,-1-1-1,0-13-15,0 13 0,1-13 16,-1-13-1,-13 0 1,-13-1 0,-1 14-1,1 0-15,0 0 16,0 14 0</inkml:trace>
  <inkml:trace contextRef="#ctx0" brushRef="#br0" timeOffset="3354.34">10901 3757 0,'-93'66'16,"67"-39"0,-1-14-16,1 13 0,13 1 0,-14-14 15,1 14-15,12-14 0,-12 0 16,13 0-16,0-13 0</inkml:trace>
  <inkml:trace contextRef="#ctx0" brushRef="#br0" timeOffset="3530.91">10623 3823 0,'0'0'0,"40"13"31,-27 1-31,0-1 0,0 0 16,14 0-16,-14 1 0,0-1 0,1 0 15,-1 14-15,0-14 0,0 0 16,0 0-16,1 0 0,-1 1 0,0-1 16,0-13-16,-13 13 0,14 0 0</inkml:trace>
  <inkml:trace contextRef="#ctx0" brushRef="#br0" timeOffset="4182.24">11589 3572 0,'13'0'0,"-26"0"0,39-13 0,-13 13 0,1 0 15,-1 13-15,0-13 0,0 0 0,1 13 16,-1 0-16,0 1 0,-13-1 16,13 0-16,-13 0 0,0 0 0,0 14 15,-13-14-15,13 14 0,-13-14 0,0 13 16,-1-12-16,1 12 0,13-13 15,-13 0-15,0 1 0,13-1 16,-14-13-16,14 13 0,0 0 0,0 1 16,14-14-1,12 0-15,-13 0 16,14-14-16,13 1 0,-14 0 16,14 0-16,-1-1 0,120-65 31,-146 79-31,1 0 0,-1-13 0,0 13 0,0 0 15,0 13 1,-13 0-16,0 1 16,14-14-16,-1 13 15,-13 0-15,13-13 0,0 0 16,1 0-16,-1 0 16,0-13-16,0 13 0,-13-13 0,14 13 15,-14-14-15,13 1 0,-13 0 16,0 0-16,0-1 0,-13 1 15,13 0-15,-14 0 0,1-1 16,0 14-16,0 0 0,-14 0 16,14 0-16,-14 0 0,-12 14 15,12-1-15,-12 0 0,-14 14 0,13-14 16,-13 13-16,13-12 0</inkml:trace>
  <inkml:trace contextRef="#ctx0" brushRef="#br0" timeOffset="4401.53">11404 4101 0,'52'-13'0,"319"-53"15,-292 52 1,1 1-16,-14 0 0,13 13 16,1-13-16,-1 0 0,0 13 0,1-14 15,-14 1-15,0 13 0,-26-13 0,13 13 16,-14 0-16,-12-13 0,-14 13 15,13 0-15,-12 0 0,-1 0 0,0 0 16,-26 13 0,-14 0-16</inkml:trace>
  <inkml:trace contextRef="#ctx0" brushRef="#br0" timeOffset="5036.52">11430 4524 0,'0'27'0,"13"39"16,0-53-16,-13 14 15,14-1-15,-14 1 0,13-14 16,-13 13-16,13 1 0,0-14 0,-13 13 16,14-12-16,-1-1 0,0 0 15,-13 0-15,13-13 0,1 0 16,-1 0 0,-13-13-16,0 0 0,0 0 0,0-1 15,0-12-15,0-1 0,0-12 0,-13-1 16,13 0-16,-14 1 0,1-1 0,13 0 15,0 14-15,-13-1 16,13 1-16,0 13 0,0 0 0,0-14 0,0 14 16,13 13-16,0-13 0,14-1 0,-1 1 15,14 0-15,0 13 0,13 0 16,-1-13-16,1 13 0,13 0 16,-13 0-16,14 0 0,-1 0 15,0 0-15,-13 0 0,13 0 0,-26 0 0,12 0 16,-12 0-16,-13 0 0,-1 0 15,1 0-15,-14 0 0,0 13 0,-13 0 16,-13 0-16,0 1 16,-1-1-16,-25 0 0,12 0 0,-13 14 15</inkml:trace>
  <inkml:trace contextRef="#ctx0" brushRef="#br0" timeOffset="5413.99">12039 4617 0,'13'0'31,"-40"13"-31,14 0 15,-13-13-15,12 14 0,-12-1 0,13 0 16,-27 0-16,27 14 0,-27-14 16,40 0-16,-13-13 0,0 13 15,-1 1-15,14-1 0,-13-13 16,26 13-16,-13 0 16,14-13-16,-1 0 0,13 14 15,1-14-15,-14 13 0,13-13 16,-12 0-16,12 0 0,-13 0 0,1 0 15,-1 0-15,13 0 0,-12 0 16,-1 0-16,0 0 0,0-13 0,0 13 16,-13-14-16,14 14 0,-1-13 0,-13 0 15,0 0-15</inkml:trace>
  <inkml:trace contextRef="#ctx0" brushRef="#br0" timeOffset="5853.44">12131 4643 0,'-26'-66'31,"26"53"-31,-14 26 31,14 1-31,-13-1 0,13 0 16,0 13-16,0-12 0,0-1 15,0 0-15,0 14 0,0-14 16,0 0-16,0 0 0,0 0 0,0 1 0,0 12 16,13-13-16,-13 1 15,14-1-15,-14 0 0,13-13 16,0 0-16,0 0 0,1 0 15,-1 0-15,0 0 0,0 0 0,1-13 16,-1 13-16,0 0 0,0-13 16,0 13-16,1 0 0,-1-14 15,0 28 1,0-1-16,1-13 16,-1 13-1,0-13-15,0 0 0,0 0 16,1 13-16,12-26 0,-13 13 0,14 0 15,-14 0-15,14-13 0,-14 13 16,0-13-16,0 13 0,-13-14 0,13 1 16,-13 0-16,0 0 0,-13-1 15,13 1-15,-13 0 0,0 0 0,0 0 16,-14-1-16,14 14 0,-14-13 16,1 13-16,13-13 0,-14 13 0,14 0 15,0 0-15,0-13 0,-1 13 0,1 13 16</inkml:trace>
  <inkml:trace contextRef="#ctx0" brushRef="#br0" timeOffset="5976.93">12938 4868 0,'-40'-26'16</inkml:trace>
  <inkml:trace contextRef="#ctx0" brushRef="#br0" timeOffset="6918.67">7541 6919 0,'13'66'31,"-13"-53"-31,0 14 0,-13-1 16,13 1-16,0-1 0,-14-13 0,14 14 15,-13-1-15,13 1 0,-13-1 0,13-13 16,-13 14-16,13-14 0,-14 13 15,14-12-15,0-1 0,-13 0 0,13 0 16,0 1-16,0-1 16</inkml:trace>
  <inkml:trace contextRef="#ctx0" brushRef="#br0" timeOffset="7336.94">7739 7038 0,'0'0'0,"13"-13"16,1 13-16,-1 13 16,13-13-16,-13 0 0,1 0 15,-1 0-15,13 0 0,-12 0 0,-1 13 16,0-13-16,0 0 0,1 0 0,-14 13 16,13-13-16,-13 14 15,13-14-15,-13 13 0,0 0 0,0 0 16,0 1-16,-13-1 0,13 0 15,0 0-15,-13 0 0,13 1 0,-14 12 16,14-13-16,0 1 0,-13 12 16,13-13-16,-13 0 0,13 1 0,0-1 15,0 13-15,0-12 0,-13 12 16,26-13 0,-13 1-16,13-14 15</inkml:trace>
  <inkml:trace contextRef="#ctx0" brushRef="#br0" timeOffset="7534.01">7752 7329 0,'0'-13'31,"27"13"-15,-14 0-16,0 0 15,14 0-15,-14 0 0,0 0 0,14-14 16,-14 14-16,13 0 0,-12 0 0,12-13 16,-13 13-16,14 0 0,-14-13 0,13 13 15</inkml:trace>
  <inkml:trace contextRef="#ctx0" brushRef="#br0" timeOffset="7854.48">8295 7144 0,'-40'0'15,"80"0"-15,-93 13 0,40-13 0,-1 0 16,14 13-16,-13-13 0,13 13 16,0 1-16,0-1 15,0 0-15,13 0 0,-13 1 16,14-1-16,-1 0 15,0 0-15,-13 0 0,13 1 0,0-1 16,-13 0-16,14 0 0,-14 1 16,0-1-16,-14 0 15,14 0-15,-13 1 0,0-14 16,13 13-16,-13-13 0,0 0 0,-1 13 16,1-13-16,0 0 0,0-13 15,13 0 1</inkml:trace>
  <inkml:trace contextRef="#ctx0" brushRef="#br0" timeOffset="8062.56">8930 6985 0,'-14'66'31,"1"-53"-31,13 14 0,-13-14 16,13 0-16,0 14 0,-13-14 0,13 0 0,0 0 15,-13 14-15,13-14 16,0 0-16,0 1 0</inkml:trace>
  <inkml:trace contextRef="#ctx0" brushRef="#br0" timeOffset="8260.57">8718 7197 0,'26'-14'16,"-12"14"0,-1-13-16,0 13 0,0 0 15,14 0-15,-14 0 0,14 0 0,-14 0 16,0 0-16,13 0 0,1 0 15,-14 0-15,14 13 16,-14-13-16</inkml:trace>
  <inkml:trace contextRef="#ctx0" brushRef="#br0" timeOffset="8469.67">8639 7435 0,'0'0'16,"39"-13"-1,-25 13-15,-1 0 0,53 0 16,-53 0 0,0 0-16,14 0 0,-14-14 0,0 14 15,1 0-15,-1 0 0,0 0 16</inkml:trace>
  <inkml:trace contextRef="#ctx0" brushRef="#br0" timeOffset="9068.69">9975 6892 0,'-119'106'31,"105"-79"-31,-12 12 16,13-12-16,0 13 0,-1-14 15,1 0-15,0 1 0,13-14 0,0 14 16,26 52 0,-12-66-16,-1-13 0,0 13 15,0-13-15,0 0 0,1 0 16,-1 0-16,0 0 0,0-13 15,-13 0 1,14 0-16,-14-1 0,-14 1 16,14 0-16,-13 0 0,13 0 15,-13 13-15,0-14 0,-1 1 16,1 0 0</inkml:trace>
  <inkml:trace contextRef="#ctx0" brushRef="#br0" timeOffset="9188.9">10014 7223 0,'14'-13'32</inkml:trace>
  <inkml:trace contextRef="#ctx0" brushRef="#br0" timeOffset="9810.14">10438 7038 0,'0'0'0,"13"0"16,-13 13-16,0 0 16,-13 1-16,13-1 0,-13 0 15,-1 0-15,1 14 0,0-14 0,0 0 16,-1 0-16,14 1 0,-13-1 16,0 0-16,0 0 0,13 1 15,-13-14-15,13 13 16,13 0-1,0-13 1,0 0-16,14-13 16,-14 13-16,0 0 0,14-13 0,-14 13 15,13-14-15,1 14 0,-14-13 0,13 0 16,1 0-16,-14 13 0,0-14 16,1 14-16,-1-13 0,0 13 0,0-13 15,0 13-15,-13-13 16,0 39 15,0-13-15,14 1-16,-1-1 15,0-13-15,0 0 16,1 0-16,-1 0 0,0 0 16,0-13-16,1 13 0,-1-14 15,0 1-15,-13 0 16,0 0-16,0 0 15,-13-1-15,0 1 16,-1 0-16,-12 13 16,13-13-16,-1 13 0,1 0 15,0 0-15,0 13 0,-1-13 0,1 0 16,0 0-16</inkml:trace>
  <inkml:trace contextRef="#ctx0" brushRef="#br0" timeOffset="10525.27">11324 7051 0,'-53'40'31,"40"-27"-31,0 0 0,0 1 0,13-1 16,-14 0-1,14 0-15,0 0 0,0 1 16,0-1-16,14 0 16,-1-13-16,13 0 15,-13 0 1,1-13-16,-1 13 0,0 0 0,0-13 16,1 13-16,-1 0 0,0 0 0,0 0 15,1 0 1,-1 0-16,0 0 0,0 0 15,0 0-15,-13 13 16,14-13-16,-1 0 16,0 13-1,0-13 1,1 0-16,-1 0 16,0 13-1,0-13-15,1 0 16,-1 0-16,0 0 15,0-13-15,0 13 0,14 0 16,-14 0-16,0 0 16,1-13-16,-1 13 0</inkml:trace>
  <inkml:trace contextRef="#ctx0" brushRef="#br0" timeOffset="10644.97">11880 7250 0,'13'-14'16,"0"1"15</inkml:trace>
  <inkml:trace contextRef="#ctx0" brushRef="#br0" timeOffset="13044.42">8043 10517 0,'0'53'16,"-13"-13"-16,13-14 0,-13 14 15,13-14-15,-13 14 0,-1-13 16,1 12-16,0-12 0,13-1 0,-13 1 15,0-14-15,-1 13 0,14 1 0,-13-14 16,0 0-16,13 0 0,-13 1 16,13-1-16,-14 0 0,14 0 0,0 1 15</inkml:trace>
  <inkml:trace contextRef="#ctx0" brushRef="#br0" timeOffset="13410.34">8308 10636 0,'-13'0'32,"-1"13"-32,1 1 0,0-1 0,13 13 0,-13-12 15,-14 25-15,14-12 0,0-1 16,0 14-16,13-14 0,-14-12 15,14 12-15,0-13 0,0 1 0,0-1 16,0 0-16,0 0 0,14 0 16,-14 1-16,13-14 0,-13 13 0,13-13 15,0 0-15,1 0 16,-1-13-16,0 13 0,-13-14 16,0 1-16,13 13 0,-13-13 15,0 0-15,-13 0 0,13-1 16,0 1-16,-13 13 15,0 0-15,-1-13 16,1 13 0,13 13-16,-13-13 0,0 0 15</inkml:trace>
  <inkml:trace contextRef="#ctx0" brushRef="#br0" timeOffset="14048.64">8599 10663 0,'-40'0'16,"40"26"0,0-13-1,0 14-15,13-14 0,-13 0 16,0 14-16,0-14 0,0 27 16,-13-27-16,13 13 15,-13-12-15,13-1 0,-13 0 0,0 0 0,-1 1 16,1-1-16,0-13 0,13 13 15,-13-13-15,39-26 32,-26 12-32,13 1 15,14 0-15,-14 0 0,0-1 0,14 1 16,-14-13-16,0 12 0,0 1 16,1 0-16,-1-13 0,0 12 0,-13 1 15,13 0-15,-13 0 0,0-1 0,0 1 16,0 0-16,0 0 15,0-1-15,-13 14 0,0 0 16,0 0 0,-1 0-16,1 0 0,13 14 0,-13-1 15,13 0-15,-13-13 16</inkml:trace>
  <inkml:trace contextRef="#ctx0" brushRef="#br0" timeOffset="14200.88">8824 10782 0,'13'-13'0</inkml:trace>
  <inkml:trace contextRef="#ctx0" brushRef="#br0" timeOffset="14664.43">9181 10610 0,'-13'0'0,"13"13"16,0 0 0,0 0-16,13-13 0,-13 27 15,0-14-15,0 0 0,0 14 0,13-14 16,-13 14-16,0-14 0,0 0 0,0 13 16,0-12-16,0-1 0,-13 13 15,13-12-15,-13-1 0,0 0 0,-1 0 16,1 1-16,0-28 31,26-12-15,0 26-16,1-13 0,-1-1 15,-13-12-15,26 13 0,-12-1 16,-1-12-16,0 13 0,-13 0 0,13-1 16,0-12-16,-13 13 0,0-1 15,14 14-15,-14-13 0,-14 0 0,1 0 16,13-1-16,-13 14 0,0-13 15,0 13-15,-1 0 16,1 0-16,0 0 0,0 0 16,-1 13-16,1-13 15</inkml:trace>
  <inkml:trace contextRef="#ctx0" brushRef="#br0" timeOffset="15206.35">9591 10663 0,'-66'53'16,"53"-53"-16,0 26 15,-1-26-15,14 13 16,-13 14-16,13-14 0,-13-13 16,13 13-16,13 0 0,-13 1 15,13-14-15,1 0 16,12 0-16,-13 0 0,0 0 15,1 0-15,-1-14 0,0 14 0,0 0 16,1 0-16,-1 0 0,13 0 16,-12 0-1,-1 14-15,0-1 16,0 0 0,0-13-1,1 0 1,-1 0-16,0 0 0,0 0 15,1 0 1,-1 0-16,0 0 0,0 0 16,0 13-16,1-13 15,-1 0-15,-13-13 16,13 13-16,0 0 0,1 0 16,-1 0-16,0 0 0</inkml:trace>
  <inkml:trace contextRef="#ctx0" brushRef="#br0" timeOffset="16258.27">12052 10464 0,'0'-13'16,"0"79"15,-13-53-31,13 14 0,0-14 0,0 14 0,0-1 16,-14 0-16,14-12 0,0 12 15,0-13-15,0 14 0,0-14 0,-13 0 16,13 1-16,0-1 0,0 0 15,0 0-15,0 0 16</inkml:trace>
  <inkml:trace contextRef="#ctx0" brushRef="#br0" timeOffset="16719.87">11814 10729 0,'0'0'0,"13"0"32,0 0-32,0 0 0,1 0 0,-1 0 15,26 0-15,-12 0 16,-1-13-16,1 13 0,-1 0 0,1 0 0,-1 0 16,1 0-16,12-14 0,-12 14 15,-1 0-15,1 0 0,-14-13 0,13 13 16,-12 0-16,-1 0 0,0 0 0,0-13 15,1 13 1,-1 13-16,-13 0 16,0 1-1,13-1-15,-13 0 16,13 0-16,0 1 16,1-1-16,-1-13 0,0 0 15,0 0-15,14 13 16,-14-13-16,0 0 0,1 0 0,-1-13 15,0 13-15,0 0 0,0-13 0,1-1 16,-14 1-16,0 0 16,0 0-16,-14-1 0,14 1 15,-13 0-15,0 0 0,0 13 0,0-14 16,-1 1-16,1 13 0,0 0 16,0 0-16,-1 0 15,1 0-15</inkml:trace>
  <inkml:trace contextRef="#ctx0" brushRef="#br0" timeOffset="17238.62">14142 10411 0,'0'-13'16,"0"40"0,0-14-1,0 0-15,13 0 0,-13 14 0,-13-14 16,13 13-16,0 1 0,0-14 0,0 14 16,0-14-16,0 13 0,0 1 15,0-14-15,-13 0 16,13 0-16,13 1 0,-13-1 0,13 0 15</inkml:trace>
  <inkml:trace contextRef="#ctx0" brushRef="#br0" timeOffset="17976.64">14605 10478 0,'-13'0'0,"26"0"0,-39-14 0,12 14 16,1 0-16,0 0 0,0 0 0,-14 0 16,14 0-1,0 14-15,13-1 0,-14-13 16,14 13-16,0 0 0,0 0 16,14 1-16,-14 12 0,0-13 15,0 1-15,13-1 0,-13 13 0,0-13 16,0 1-16,-13-1 0,13 0 15,0 0-15,-14 1 0,14-1 0,-13 0 16,-13 14 0,13-27-16,-1 13 0,1-13 15,0-13 1,26-1 0,0 1-16,1 0 0,-1 0 15,13-1-15,-13 1 0,14 0 0,-1-14 16,-12 14-16,-1 0 0,0 0 15,0 0-15,1-1 0,-1 1 16,-13 0-16,13 13 0,-13-13 0,0-1 16,0 1-16,0 0 0,-26 13 15,-1 0 1,14 0-16,0 0 16,-1 13-16,1 0 0,0-13 15,0 14-15,13-1 0</inkml:trace>
  <inkml:trace contextRef="#ctx0" brushRef="#br0" timeOffset="18186.36">14817 10491 0,'0'0'0,"13"0"15,-13 13-15,0 0 16,0 0-16,0 1 0,0-1 15,0 0-15,0 0 0,0 1 0,0 12 0,0-13 16,0 14-16,0-14 0,0 0 16,0 0-16,-13 1 0,13-1 0,0 0 15,0 0-15,0 1 0,0-1 16</inkml:trace>
  <inkml:trace contextRef="#ctx0" brushRef="#br0" timeOffset="18342.66">15108 10742 0,'13'-13'31,"-13"0"0</inkml:trace>
  <inkml:trace contextRef="#ctx0" brushRef="#br0" timeOffset="18777.34">15544 10464 0,'40'0'16,"-27"0"-16,0 0 0,1 0 15,-1 14-15,0-14 0,-13 13 16,13 0-16,1 0 0,-14 0 15,0 1-15,0-1 0,0 13 16,-14-12-16,1-1 0,13 0 0,-13 13 16,0-12-16,-1-1 0,1 0 15,0 0-15,13 1 0,-13-14 16,0 13-16,26-13 31,13 0-15,1 0-16,-14 0 0,0-13 15,0 13-15,14 0 0,-14 0 16,0-14-16,14 14 0,-14 0 0,13-13 16,-12 13-16,12-13 0,-13 13 0</inkml:trace>
  <inkml:trace contextRef="#ctx0" brushRef="#br0" timeOffset="19472.84">16312 10398 0,'-53'0'31,"39"13"-31,1 1 16,0-1-16,0 0 0,-1 0 0,1 1 15,0 12-15,13-13 0,-13 0 16,13 1-16,0-1 0,0 0 0,0 0 15,0 1-15,0-1 0,0 0 16,13 0-16,-13 0 0,13-13 16,-13 14-16,13-14 0,1 13 15,-1-13-15,0 0 16,14 0-16,-14-13 16,0 13-16,0 0 0,1-14 15,-1 14-15,-13-13 0,13 13 16,0-13-16,0 13 0,-13-13 0,14 0 15,-1 13-15,0-14 0,0 14 16,-13-13-16,14 13 0,-1 0 16,0 0-1,0 13 1,-13 1-16,0-1 16,14 0-1,-14 0-15,13 0 31,0-13-31,0 0 16,0 0 0,14 0-16,-14 0 15,0 0-15,1 0 16,-1 14 0,0-14-16,0 0 15,1 13-15,-1-13 16,0 0-1,0 0-15,0 13 16,1-13-16,-1 0 0,0 0 16,0 13-1,1-26-15,-1 13 16,0 0-16,0-13 0,14 0 16,-14 13-16,0-14 0,14 14 15,-14-13-15,0 13 0,0-13 16</inkml:trace>
  <inkml:trace contextRef="#ctx0" brushRef="#br0" timeOffset="20239.37">6826 10332 0,'0'0'0,"13"-13"0,1 13 0,-14 13 16,0 13-16,13-12 0,-26 25 15,13 1-15,0 26 0,0 0 16,-14 14-16,1-1 0,13 0 0,-13 1 16,0 12-16,0-12 0,-1 79 15,1-80-15,13 0 0,-13 1 16,13-14-16,-13-13 0,13 0 0,-14-14 16,14 1-16,-13-13 0,13-1 0,0-13 15,0 0-15,-13 1 0</inkml:trace>
  <inkml:trace contextRef="#ctx0" brushRef="#br0" timeOffset="21600.62">6641 10345 0,'0'0'0,"93"-26"15,-67 26-15,-13 0 0,27 0 16,-14 0-16,27 0 0,0 0 0,13 0 16,-13 0-16,27 0 0,-1 0 15,-26 0-15,26 0 0,1 0 0,-1 0 16,14 0-16,-14 0 0,14-13 0,-1 13 15,1 0-15,0-14 0,39 1 0,-13 13 16,13-13-16,-39 0 0,39 13 16,0-14-16,1 1 0,-1 0 0,-13 0 15,13 13-15,1-14 0,-1 1 0,0 13 16,0-13 0,1 0-16,131 0 0,-118-1 0,-14 1 15,0 0-15,14 13 0,-14-13 0,1 13 16,12-14-16,-13 1 0,14 13 0,-14-13 15,14 13-15,-14 0 0,0-13 16,1 13-16,12 0 0,-13-14 0,1 14 16,-1 0-16,0 0 0,-26 0 15,26 0-15,-26-13 0,0 13 0,26 0 16,-26 0-16,13 0 0,-13 0 0,0 0 16,0 0-16,0 0 0,13 0 0,-13 0 15,26 0-15,-26 0 0,26 0 0,-13 0 16,-13 0-16,0 13 15,-1-13-15,1 0 0,0 0 0,26 0 16,-26 14-16,-13-14 0,13 0 0,0 13 16,-14-13-16,14 13 0,-13-13 15,-1 0-15,1 13 0,-1-13 0,1 14 16,-14-14-16,14 0 0,-14 13 0,1-13 16,-1 13-16,0-13 0,1 13 0,-14-13 15,13 0-15,-12 14 0,-15-14 16,1 13-16,0-13 0,13 13 15,-13-13-15,0 13 0,0-13 0,0 0 16,0 13-16,0-13 0,-13 0 0,13 0 16,-14 14-16,-12-14 0,12 0 15,-12 0-15,-1 0 0,14 0 0,-27 0 16,14 13-16,-1-13 0,-13 0 0,1 0 16,-1 13-16,0-13 0,0 0 15,-13 13-15,13-13 0,-13 14 0,0-1 16,0 0-16,0 14 0,0-14 0,-13 13 15,0 14-15,0 0 0,0-1 0,13 1 16,-14 0-16,1-1 0,13 1 16,-13 0-16,13-1 0,0 14 0,0-13 15,0 0-15,0 13 0,0-14 0,13 1 16,-13 0-16,13-1 16,1 1-16,-1 0 0,0-1 0,0-12 15,0 13-15,1-1 0,-1-12 0,-13-1 16,13 1-16,-13-14 0,0 13 0,13-12 15,-26 12-15,13-13 0,0 14 16,-13-14-16,0 0 0,-1 14 0,-12-14 16,-14 13-16,14-12 0,-27 12 15,0-13-15,-13 0 0,0 14 0,-14-14 16,1 0-16,-14 1 0,-26-1 0,0 0 16,-13 0-16,0-13 0,-14 14 0,1-14 15,-14 13-15,0-13 0,0 0 0,-13 0 16,14 0-16,-14 0 15,-14 0-15,15 0 0,-1-13 0,-14 13 16,1 0-16,0-14 0,0 14 0,-1-13 16,1 13-16,-13-13 0,-1 13 0,14-13 15,-13 13-15,-1-14 0,1 1 16,-1 13-16,1-13 0,0 13 0,-1-13 16,1 13-16,12-14 0,-12 14 0,13 0 15,0-13-15,-1 13 0,14 0 0,0 0 16,0 0-16,1-13 0,-1 13 15,13 0-15,0 0 0,0 0 16,14 0-16,-14 0 0,-132-13 16,145 26-16,1-13 0,-1 0 15,14 0-15,0 0 0,0 0 0,-1 13 16,27-13-16,1 0 0,-28 0 0,27 13 16,-26-13-16,40 0 0,-14 0 0,0 14 15,13-14-15,-13 0 0,-66 0 16,93 0-16,-14 0 0,14 0 15,0 0-15,13 0 0,-1 13 0,15-13 16,-1 0-16,0 0 0,13 0 16,0 13-16,1-13 0,12 0 0,1 0 15,-1 13-15,14-13 0,-13 0 0,12 0 16,1 14-16,0-14 0,0 0 16,-1 13-16,1-13 15</inkml:trace>
  <inkml:trace contextRef="#ctx0" brushRef="#br0" timeOffset="22466.72">19235 10702 0,'-132'80'16,"105"-67"-16,-12 13 15,12 1-15,1-1 0,13 1 0,-14-1 16,14 1-16,13-1 0,-13-13 0,13 1 15,0-1-15,0 13 0,13-12 0,-13-1 16,13 0-16,14 0 16,-14 0-16,13 1 0,1-1 0,-14-13 15,13 13-15,14-13 0,-13 0 0,-1 13 16,1-13-16,-14 0 0,13-13 16,1 13-16,-1 0 0,1-13 0,-1 13 15,1-13-15,-1 13 0,-13-14 0</inkml:trace>
  <inkml:trace contextRef="#ctx0" brushRef="#br0" timeOffset="22773.75">19764 10755 0,'-13'0'16,"53"14"-16,-27-14 15,14 0-15,-14 0 0,13 0 0,1 0 16,-14 0-16,13 0 0,1 0 15,-14 0-15,13-14 0,1 14 0,-14 0 16,0 0-16,1 0 0,-1-13 16,0 13-16</inkml:trace>
  <inkml:trace contextRef="#ctx0" brushRef="#br0" timeOffset="23111.05">20069 10742 0,'-14'27'0,"28"-54"0,-41 67 15,27-27-15,0 0 0,-13 0 16,13 1-16,0 12 0,0-13 0,0 1 16,0-1-16,0 13 15,0-12-15,0-1 0,-13 13 0,13-13 16,0 1-16,0-1 0,-14 0 0,14 0 16,-13 1-16,0-1 0,13 0 15,-13 0-15,0-13 0,-1 13 16,1 1-16,0-14 0,0 0 0,-1 13 0,1-13 15,0 0-15,0 0 0,0 0 16,-1 13-16,1-13 0,0 0 16,53 13-1,-27-13 1,0 0-16,0 0 16,14 0-16,-14 0 0,13-13 0,1 13 15,12 0-15,1 0 0,-13 0 0,-1 0 16,1 0-16,-1 0 0,0 0 15</inkml:trace>
  <inkml:trace contextRef="#ctx0" brushRef="#br0" timeOffset="23248.82">20439 11179 0,'13'0'0,"1"0"32,-14-14-32</inkml:trace>
  <inkml:trace contextRef="#ctx0" brushRef="#br0" timeOffset="24092.89">20955 10451 0,'40'-13'15,"-80"26"-15,93-26 0,-40 13 0,14 0 0,-1 0 16,-13 0-16,14 13 0,-1-13 0,14 27 15,-14-14-15,-12 13 0,12 1 0,-13-1 16,0 14-16,-13-14 0,0 40 16,0-26-16,-13 0 0,0-1 15,-13 14-15,12-13 0,1 0 0,-13-1 16,-1 1-16,14-13 0,-13 12 16,12 1-16,-12-14 0,-1 14 15,14-13-15,0-1 0,0 0 0,-14 1 16</inkml:trace>
  <inkml:trace contextRef="#ctx0" brushRef="#br0" timeOffset="24220.67">20915 11615 0,'27'-39'31</inkml:trace>
  <inkml:trace contextRef="#ctx0" brushRef="#br0" timeOffset="24617.59">21722 10689 0,'27'-53'15,"-14"53"-15,-13-13 0,13 0 0,0 0 16,14 13-16,-14-14 0,0 14 0,14 0 15,-14 0-15,0 0 0,14 14 0,-14-1 16,13 0-16,1 13 0,-14 14 16,0-13-16,1 12 0,-14 1 0,0 0 15,0-14-15,0 27 0,0-13 0,-14-1 16,1 1-16,0 13 0,-14-13 16,14 13-16,-13-14 0,13 1 15,-14 0-15,1-1 0,-1-12 0,14 13 16,0-14-16,-14 14 0,14-14 0,-13 1 15,12-1-15</inkml:trace>
  <inkml:trace contextRef="#ctx0" brushRef="#br0" timeOffset="24720.21">21762 11787 0,'0'-13'0</inkml:trace>
  <inkml:trace contextRef="#ctx0" brushRef="#br0" timeOffset="32077.9">18627 4167 0,'-14'13'0,"1"-13"31,40 0 32,-14 0-63,0 0 0,14 0 0,-14 0 16,26 0-16,1-13 0,0 13 0,13 0 15,-14-13-15,14 13 0,-13 0 16,13-13-16,-13 13 0,-14 0 0,1-13 15,12 13-15,-25 0 0,12 0 0,-13 0 16,14 0-16,-14 0 0,0 0 0,0 0 16,1 0-16,12-14 15,-13 14 1,1 0 0</inkml:trace>
  <inkml:trace contextRef="#ctx0" brushRef="#br0" timeOffset="32791.76">19248 3903 0,'-13'0'31,"40"0"125,-14 0-140,0 0-16,0 0 16,1 13-1,-1-13-15,0 0 0,0 0 16,1 13-16,-1-13 0,0 0 0,13 13 15,-12-13-15,-1 14 0,13-14 16,-12 13-16,-1-13 0,0 0 16,0 13-16,0-13 0,1 0 0,-1 0 15,-13 13-15,13-13 0,0 13 16,1-13-16,-14 14 16,13-1-16,-13 0 0,0 0 15,0 1-15,0-1 0,0 0 16,-27 27-16,14-14 15,0 1-15,0-1 0,-14-13 0,14 14 16,0-14-16,0 0 0,-1 14 0,1-14 16,0 0-16,13 0 0,-13 1 15,13-1-15</inkml:trace>
  <inkml:trace contextRef="#ctx0" brushRef="#br0" timeOffset="34041.41">19963 3731 0,'0'-14'0,"0"28"0,0 12 47,0-13-31,0 1-16,0-1 0,0 0 15,0 0-15,0 0 0,-13 1 16,13-1-16,0 0 16,13-39 30,0 12-46,0 1 0,-13 0 16,13 0-16,1 0 16,-1 13-16,0-14 0,0 14 15,1 0 1,-1 14-16,-13-1 0,13-13 16,-13 13-16,0 0 15,0 0-15,13 1 16,1-14 31,-1-14-32,0 1-15,0 0 16,0 13-16,1-13 0,-1 13 16,13 0-1,-26 13-15,14-13 0,-1 13 16,0-13-16,-13 13 0,13 1 15,-13-1 1,14 0-16,-14 0 16,13-13-16,0 14 15,0-14-15</inkml:trace>
  <inkml:trace contextRef="#ctx0" brushRef="#br0" timeOffset="34722.5">20452 3903 0,'14'-27'16,"-28"54"-16,41-67 0,-27 27 0,13 13 15,-13-14-15,13 1 0,-13 0 0,13 0 16,-13 0-16,14-1 0,-14 1 16,0 0-16,13 0 0,-13-1 15,-27 41 16,14-14-15,0 0-16,13 1 0,0-1 16,0 0-16,0 0 15,0 0-15,0 1 0,13-1 0,0 0 16,1-13-16,-1 13 16,0-13-16,0 0 0,1 0 0,12 0 15,-13 0-15,14-13 0,-14 13 16,13 0-16,1-13 0,-1 0 0,-12 13 0,12-14 15,0 1-15,-12 0 0,12 0 0,-13 0 16,1 13-16,-1-14 0,0 1 16,0 0-16,-13 0 15,0-1-15,-26 14 32,13 14-17,-14-1-15,14-13 0,13 13 16,-13-13-16,-1 13 0,1 1 15,13-1-15,0 0 16,0 0 0,0 0-16,13-13 15,1 0-15,-1-13 16,13 0 0,-12 0-16,-1 0 0,-13-1 15,13 14-15,-13-13 0,13 0 0,-13 0 16,14 13-16,-14-14 15,13 28 1,-13-1 0,0 0-16,0 0 15,0 1-15,0-1 16,0 0-16,13-13 0,-13 13 0,0 0 16,13-13-16,0 14 15</inkml:trace>
  <inkml:trace contextRef="#ctx0" brushRef="#br0" timeOffset="34968.53">21101 3691 0,'0'-27'16,"26"41"15,-26-1-31,0 0 0,13-13 16,-13 13-16,0 1 0,0-1 0,0 0 15,0 0-15,-13 1 0,13-1 16,0 0-16,-13 0 0,0 0 16,-1-13-16,14 14 0,-13-1 0,0-13 15,13 13-15,-13-13 0,-1 13 16,1-13-16,26-13 31,1 13-15</inkml:trace>
  <inkml:trace contextRef="#ctx0" brushRef="#br0" timeOffset="35484.58">21299 3678 0,'-27'13'63,"27"0"-63,-13-13 0,13 13 15,0 1-15,-13-1 0,13 0 16,0 0-16,13 1 16,-13-1-16,13-13 15,1 0 1,-1 0-16,0 0 16,-13-13-16,13 13 0,-13-14 15,14 1-15,-1 13 16,-13-13-16,13 13 15,0-13 1,-13 26 0,14 0-16,-14 0 15,0 1 1,13-1 0,0-13 15,0-13-31,0-1 31,1 1-31,-1 13 0,-13-13 0,13 13 16,0 0-16,-13-13 0,14 13 15,-1 0-15,0-14 16,14 14 0,-27 14-16,0-1 15,13 0 1</inkml:trace>
  <inkml:trace contextRef="#ctx0" brushRef="#br0" timeOffset="35761.37">21709 3784 0,'0'-27'0,"13"14"31,-26 0-15,0 26-1,0 0 1,-1 0 0,14 1-1,14-1 1,-1-13 15,0 0-31,0 0 0</inkml:trace>
  <inkml:trace contextRef="#ctx0" brushRef="#br0" timeOffset="37161.68">22291 3413 0,'0'0'0,"0"27"32,0-14-32,-13 0 0,13 0 15,0 14-15,0-14 0,-13 13 0,13 1 16,0-14-16,0 14 0,-14-14 15,14 0-15,0 0 0,0 0 0,0 1 16,-13-1-16,13 0 0,0 0 16,0 1-16,27-28 31,-14 14-15,0-13-16,0 0 0,1 13 15,-1-13-15,0 13 16,0-14-16,1 14 0,-1 0 0,0 14 15,0-14-15,0 13 16,-13 0-16,14 0 16,-14 1-16,13-14 15,-13 13-15,13-13 0,0 13 16,1-13-16,-1 0 0,0 0 16,0 0-16,0 0 0,1 0 0,-1-13 15,0 13-15,0-13 16,1 13-16,-1-14 0,0 1 0,0 0 15,1 0-15,-1 13 0,-13-14 0,13 1 16,0 0-16,-13 0 16,13 0-16,-39 39 31,13-13-15,13 0-16,0 1 15,0-1-15,13 0 16,-13 0-16,13-13 15,0 0-15,1 14 0,-1-28 16,0 14-16,0 0 0,1 0 16,-1 0-16,0-13 0,0 13 0,1 0 15,-14-13-15,13 13 0,0-13 0,0 13 16,0 0 0,1 0-1,-1 13 1,0 13 15,0-12-15</inkml:trace>
  <inkml:trace contextRef="#ctx0" brushRef="#br0" timeOffset="37277.94">22953 3585 0,'0'0'0,"-14"0"16</inkml:trace>
  <inkml:trace contextRef="#ctx0" brushRef="#br0" timeOffset="37978.35">23125 3598 0,'-14'0'0,"14"-13"0,-26 26 16,13 1 15,26-1-16,0 0 1,0 0 0,-13 0-16,14-13 15,-14 14-15,0-1 16,0 0-16,0 0 16,-14 1-1,14-1-15,-13-13 16,0 13-1,0-13-15,13 13 16,13-13 31,13 0-31,-26-13-16,14 13 0,-1 0 0,0 0 15,-13-13-15,13 13 0,1-13 0,-1 13 16,-13-14-16,13 1 15,0 0-15,0 0 0,1-1 0,-1-12 16,0 0-16,0-1 0,-13 1 0,14-1 16,-1 1-16,-13-1 0,13 14 15,-13-13-15,0 12 0,0 1 0,13 0 16,-13 0-16,0-1 0,-26 28 47,26 12-47,-13-13 0,13 1 15,-14-1-15,14 0 0,0 13 0,-13-12 16,13-1-16,0 0 0,0 0 0,0 1 16,0-1-16,0 0 0,13 0 15,-13 1-15,0-1 0,0 0 16,0 0-16,14 0 16,-14 1-1,13-14 1</inkml:trace>
  <inkml:trace contextRef="#ctx0" brushRef="#br0" timeOffset="38724.74">23984 3453 0,'-13'-13'0,"-26"26"16,25-13-1,1 13-15,0 0 0,0 0 0,-1 1 16,1-14-16,13 13 0,-13 0 0,13 0 16,0 1-16,0-1 15,13 0-15,-13 0 0,13-13 0,1 14 16,-1-14-16,0 13 0,14-13 0,-14 0 16,0 0-16,0 0 0,0-13 15,1 13-15,-1-14 0,0 1 0,0 0 16,1 0-16,-1-1 0,-13 1 15,0 0-15,0 0 0,-13-1 16,-1 14-16,1-13 16,0 13-16,0-13 0,-1 13 0,1 0 15,0 0-15,0 0 16,0 0-16,52 0 31,-26 0-15,1 0-16,-1-13 0,0 13 15,14-13-15,-14 13 0,0-14 0,0 14 16,1 0-16,-1 0 0,0-13 0,0 13 16,0 0-16,-13 13 0,14-13 15,-14 14-15,13-1 0,-13 0 16,0 13-16,-13 1 0,13-14 0,-14 27 16,1-14-16,-13 14 0,13-14 15,-14 1-15,14-1 0,0 1 16,13-14-16,-14 0 0,1 1 0,0-1 15,39-26 17,1-14-32,-1 14 15,14-14-15,-14 14 0,14-13 0,-13-1 16,12 14-16,-12-13 0,-14 12 0,13 1 16,-12 13-16,-41 0 31,1 13-31</inkml:trace>
  <inkml:trace contextRef="#ctx0" brushRef="#br0" timeOffset="39582.55">20505 4313 0,'-13'0'0,"26"0"0,-39 13 16,13-13-16,-14 13 0,14 0 0,-14 1 15,1 12-15,-1 1 0,1-14 16,13 13-16,-14 1 0,14-1 0,0 1 0,0-14 16,-1 13-16,14-12 0,0-1 15,0 0-15,0 0 0,14-13 0,-14 13 16,13 1-16,0-14 0,0 0 0,1 0 16,-1 0-16,0 0 0,13 0 15,-12-14-15,12 1 0,-13 0 0,14-13 16,-14 12-16,14 1 0,-14-13 15,0 12-15,-13 1 0,13 0 0,0 0 16,-13-1-16,14 14 0,-14-13 16,-14 26 15,14 1-31,-13-14 0,13 13 0,0 0 16,-13-13-16,13 13 15,0 1-15,0-1 0,13 0 16,0-13-1,1 0-15,-1 0 0,0 0 16,0 0-16,1 0 16,-1 0-16,0 0 0,-13 13 0,27-13 15,-14 0-15,0 0 16,0 0-16,0 14 16,1-14-1,-1 0-15,0 0 16,0-14-1,1 14 1,-1 0-16,0-13 16,13 13-1,-12 0 1,-1 0-16,0 0 16,0 0-16,1 0 0,-1 13 15,0-13-15</inkml:trace>
  <inkml:trace contextRef="#ctx0" brushRef="#br0" timeOffset="40178.15">21550 4458 0,'-13'27'31,"13"-14"-31,0 0 16,0 0-16,0 1 16,0-1-16,0 0 15,0 0-15,0 1 16,13-14-1,1-14-15,-14 1 16,13 13-16,0-13 0,-13 0 16,13 13-16,0-14 0,1 14 15,-14-13-15,13 13 0,0 0 0,-13-13 16,13 13-16,1 13 16,-1-13-16,-13 13 0,0 1 15,13-14-15,-13 13 0,0 0 16,-13 0-16,13 1 0,0-1 15,-13 0-15,13 0 16,26-26 15,-13 0-15,1 13-16,-1-13 0,0-1 16,0 14-16,0-13 0,1 13 15,-1 0-15,0 0 0,0 0 0,1 0 16,-1 0-16,0 0 0,0 0 15,-13 13-15,14-13 0,-1 14 16,-13-1-16,13-13 16,-13 13-16,13 0 15</inkml:trace>
  <inkml:trace contextRef="#ctx0" brushRef="#br0" timeOffset="40768.93">22106 4617 0,'13'-13'16,"0"-14"0,-13 14-16,14 13 15,-14-13-15,13 0 16,-13-1-1,-13 41 17,13-14-17,-14 0-15,14 1 16,0-1 0,14-13-16,-14 13 15,13-13 1,0 0-1,0-13-15,1 13 0,-14-13 16,13 13-16,0 0 0,0-14 16,0 14-16,14 0 15,-14 0-15,0 14 16,1-1 0,-1 0-1,-13 0 1,0 0-16,13 1 31,0-14-15,1 0-16,-14-14 15,13 14-15,0 0 0,0 0 16,0-13-16,1 13 16,-1 0-16,0 0 15,14 0 16,-14 0-15</inkml:trace>
  <inkml:trace contextRef="#ctx0" brushRef="#br0" timeOffset="42332.76">20135 5530 0,'-27'0'31,"14"0"-31,-13 26 0,-14-13 0,0 14 16,-13 13-16,0-1 0,1 1 0,-15 26 15,1-13-15,-13 13 0,-1 0 16,-12 14-16,-1-1 0,-13 0 15,1 1-15,-1 12 0,0 1 0,-40 13 16,1 13-16,26-26 0,-27 26 0,14 0 16,-13 0-16,25-27 0,15 1 15,-41 13-15,40-14 0,-39 27 0,39-39 16,-13 12-16,13-12 0,0 12 16,-13 1-16,0 0 0,13-14 0,-13 14 15,27-14-15,-14 0 0,0-13 0,13 14 0,1-14 16,-1 0-16,14 0 15,13-13-15,13-13 0,0-14 0,0 14 16,26-27-16,-12 14 0,25-14 0,-12 0 16,13-13-16,13 13 0,-13-13 0,-1 14 15,1-14-15,0 0 16,0-14 0</inkml:trace>
  <inkml:trace contextRef="#ctx0" brushRef="#br0" timeOffset="42757">15544 8480 0,'-13'13'15,"13"14"1,-13-14-16,13 13 0,-13 1 0,-1 12 16,1 1-16,13 0 0,-13-1 0,0 1 15,-1 0-15,1 0 0,0-1 0,0 1 16,13 0-16,-13-1 0,-1-12 15,14-1-15,-13 1 0,13-14 0,0 13 16,0-12-16,0-1 0,0 0 0,0 0 16,13 1-16,-13-1 0,14 0 0,-14 0 15,13-13-15,0 13 0,0 1 16,0-14-16,14 13 0,13 0 16,-27-13-16,13 0 0,-12 0 15,-1 0-15,13 0 0,-13 0 16,1 0-16,12 0 0,-13 0 0,14-13 15,-14 13-15,13-13 0,14-1 0,-13 1 16,-1-13-16,14 13 0</inkml:trace>
  <inkml:trace contextRef="#ctx0" brushRef="#br0" timeOffset="43477">18759 7739 0,'0'-53'0,"-40"-39"31,14 65-31,13 27 16,-1-13-16,1 13 0,-13 13 0,-1-13 15,1 13-15,-14 14 0,14-14 0,-14 13 16,13 1-16,-12-1 16,12 1-16,1-1 0,13 1 0,-1-1 15,1 1-15,0-1 0,13-13 0,0 1 0,0-1 16,0 0-16,13-13 15,0 13-15,1-13 0,-1 0 0,13 0 16,1-13-16,-1 0 0,14 0 0,-14-14 16,1 1-16,13 12 0,-14-12 0,0 0 15,-12-1-15,12 14 0,-13 0 16,1 13-16,-1-14 0,0 14 16,0 0-16,-13 14 15,0-1-15,13 13 0,-13-12 0,0 12 16,-13 0-16,13 1 0,0-1 15,-13 1-15,13-1 0,-13 1 0,13-1 16,0 1-16,-13-14 0,13 13 0,0-12 16,0-1-16,-14 0 15,14 0-15,0 0 16,0 1-16,14-28 47</inkml:trace>
  <inkml:trace contextRef="#ctx0" brushRef="#br0" timeOffset="43888.41">19156 7699 0,'0'0'0,"0"-13"16,-13 13-1,-1 13-15,-12-13 0,13 14 0,-27-1 16,14 13-16,-14-12 0,13 12 16,-12-13-16,12 0 0,1 1 0,13-1 15,-1 0-15,1 0 0,13 1 16,-13-14-16,13 13 0,13 0 16,14-13-1,-14 0-15,13 0 0,-13 0 16,14-13-16,-1 13 0,1 0 0,13 0 15,-27 0-15,0 0 16,13 13-16,-12-13 0,-1 0 0,0 13 16,0 1-16,-13-1 15,0 0-15,-13 0 0,13 0 0,-13 1 16,0-1-16,-14 13 0,1-12 16,-1 12-16,1-13 0,-1 0 0,1 14 15,-1-14-15,1 0 0,0 1 0,12-1 16,1-13-16,0 13 0,0-13 0,-1 0 15,41-26 1</inkml:trace>
  <inkml:trace contextRef="#ctx0" brushRef="#br0" timeOffset="44153.4">19645 7554 0,'0'-13'16,"-26"39"-16,13-13 0,-1 1 16,1-1-16,0 13 0,0-13 15,-1 27-15,-12-13 0,13-1 0,-14 1 16,14-1-16,0 0 0,0 1 0,-14-1 16,14-12-16,0 12 0,13-13 15,-13 1-15,-1 12 0,1-13 16,13 0-16,-13 1 0,0-1 15,13 0-15,-14-13 0,14 13 0</inkml:trace>
  <inkml:trace contextRef="#ctx0" brushRef="#br0" timeOffset="44316.58">19341 7818 0,'0'-13'0,"0"0"16,13 0-1,1 13-15,12 0 16,-13 0 0</inkml:trace>
  <inkml:trace contextRef="#ctx0" brushRef="#br0" timeOffset="44461.34">19698 7832 0,'13'-14'15</inkml:trace>
  <inkml:trace contextRef="#ctx0" brushRef="#br0" timeOffset="53855.91">17224 10570 0,'-13'-13'16,"0"0"-1,0 13-15,-1 13 16,1-13-16,0 0 0,0 13 16,0-13-16,13 13 15,0 1-15,13-1 16,-13 0-16,13 0 15,0 0-15,-13 1 0,13-14 16,1 13-16,-1 0 16,0 0-16,-26 1 31,0-14-15,-1 13-16,1-13 0,-13 0 0,-1 0 15,14 13-15,-13-13 0,-1 13 0,1 1 16,12-14-16,-12 13 0</inkml:trace>
  <inkml:trace contextRef="#ctx0" brushRef="#br0" timeOffset="59993.08">15677 384 0,'13'13'16,"0"-13"-16,0-13 0,0 13 0,14 0 0,-14 0 15,14 0-15,-1 0 0,1 0 16,-1 0-16,-13 0 0,14 0 0,-14 0 15,13 0-15,-12 0 0</inkml:trace>
  <inkml:trace contextRef="#ctx0" brushRef="#br0" timeOffset="60185.44">15624 582 0,'0'0'0,"39"-13"31,-25 0-15,-1 13-16,13 0 0,-13-14 0,27 14 15,-13 0-15,-1 0 0,1 0 16,12-13-16,1 13 0,-14 0 0</inkml:trace>
  <inkml:trace contextRef="#ctx0" brushRef="#br0" timeOffset="60569.47">16947 437 0,'-67'-27'16,"41"27"-16,13 0 0,-14 0 15,1 0-15,-1 0 0,14 0 0,-13 0 16,-1 0-16,14 13 0,-13-13 0,12 14 15,1-14-15,0 0 0,0 13 0,13 0 16,13 0 0,0-13-1,0 0-15,1 0 0,-1 0 16,0 0-16,13 0 0,-12 0 16,-1 0-16,0 0 0,0 0 15,1 13-15,-1 1 0,0-14 16,-13 13-16,13 13 0,-13-12 0,0-1 15,0 13-15,0-12 0,0 12 16,0 0-16,-13-12 0,13 12 0,0-13 16,0 1-16,0 12 0,-13-13 15,13 1-15,0-1 0,0 0 0,0 0 0,0 0 32,0 1-32</inkml:trace>
  <inkml:trace contextRef="#ctx0" brushRef="#br0" timeOffset="60937.31">17264 542 0,'-40'0'16,"14"0"-16,-1 14 0,14-14 15,0 0-15,0 0 0,0 13 16,-1-13-16,14 13 0,-13-13 0,13 13 16,0 1-16,13-1 15,-13 0-15,14-13 0,-1 13 16,0 0-16,0 1 0,14-1 0,-14 0 16,0-13-16,-13 13 0,13 1 0,1-1 15,-1 0-15,-13 0 16,-13 1-16,13-1 15,-14 0-15,-25 13 0,12-12 16,1-1-16,-1-13 0,1 13 16,-14 0-16,14 1 0,-1-1 15,14-13-15,0 13 0,0-13 0,-1 0 16</inkml:trace>
  <inkml:trace contextRef="#ctx0" brushRef="#br0" timeOffset="61121.72">17582 529 0,'0'0'0,"0"13"15,0 14 1,-14-14-16,1 0 0,0 14 16,0-1-16,-1 1 0,-12-1 15,-1 1-15,14-1 0,-13 1 0,-14-1 16,27 0-16,-14-12 0,1-1 15,13 0-15,0 0 0,-1 1 0</inkml:trace>
  <inkml:trace contextRef="#ctx0" brushRef="#br0" timeOffset="61356.77">17542 714 0</inkml:trace>
  <inkml:trace contextRef="#ctx0" brushRef="#br0" timeOffset="62517.47">17410 622 0</inkml:trace>
  <inkml:trace contextRef="#ctx0" brushRef="#br0" timeOffset="62716.27">17674 886 0</inkml:trace>
  <inkml:trace contextRef="#ctx0" brushRef="#br0" timeOffset="68984.41">7766 11880 0,'13'-27'0,"0"54"31,-13-14-31,0 13 0,-13-12 16,13 12-16,0 14 0,0 0 16,-13-1-16,13 14 0,0-13 15,-14 0-15,14-14 0,0 0 0,0 14 16,27 79 0,-1-92-16,-13-1 15,1-13-15,12 1 0,1-1 0,12 0 16,1 0-16,0 0 0,-1 1 15,14-14-15,0 0 0,27 13 0,-14-13 16,26 0-16,-12 0 0,105 0 16,-93 13-16,14-13 0,27 0 0,-1 0 15,-26 13-15,26-13 0,0 14 0,1-1 16,-1 0-16,0 0 0,0 1 16,14-14-16,-14 13 0,14 0 15,-14 0-15,14-13 0,-1 13 0,-13 1 16,14-14-16,-1 13 0,1-13 0,0 13 15,-1-13-15,-13 0 0,14 13 0,-1-13 16,-12 14-16,-1-14 0,0 13 16,-26-13-16,-13 13 0,13-13 0,-14 13 15,1-13-15,-1 14 0,-12-14 0,-1 0 16,-26 0-16,13 13 0,-13-13 16,0 0-16,-13 0 0,-1-13 15,-12 13-15,12 0 0,14-14 0,-39 14 16,12 0-16,-13 0 0,14-13 15,-14 13-15,0-13 0,0 13 0,1 0 16,-1-13-16,0-1 16,0 14-16,-13-13 0,14 13 0,-14-13 15,13 0-15,-13-1 0,13 1 0,-13-13 16,0 13-16,13-14 0,-13 1 0,0-1 16,14-13-16,-14-12 0,0 12 15,0-13-15,13 13 0,-13-26 0,13 26 16,0-12-16,0 12 0,-13-13 0,14 26 15,-14-12-15,13 12 0,-13 1 16,0 13-16,13-14 0,-13 14 16,0 0-16,0-1 0,0 1 0,0 0 0,0 0 15,0 0 1,0-1-16,13 14 16,1 0-1,-1 0-15,-13 14 16,13-14-16,-13 13 0,13-13 15</inkml:trace>
  <inkml:trace contextRef="#ctx0" brushRef="#br0" timeOffset="95268.64">19725 7461 0,'13'-13'0,"-26"26"0,26-39 0,-13 13 0,0-1 15,13 1-15,-13 0 16,0 0-16,0-1 0,0 1 16,0 0-16,0 0 0,-13-1 0,13 1 15,-13-13-15,-1 13 0,-12-14 16,13 1-16,-27-1 0,-53-39 15,54 40-15,-14-1 16,-53-13-16,66 27 0,-26 0 0,27 0 16,-14 0-16,0-1 0,0 14 15,0 0-15,0 0 0,0 0 0,-26 0 16,12 14-16,-12-1 0,13 0 0,-13 13 16,12 1-16,-12-1 0,-14 14 15,14 13-15,0 0 0,-1 0 16,14 0-16,0-14 0,0 28 0,26-15 0,-13 1 15,14 0-15,-1-13 0,13 26 16,1-13-16,0 0 0,12 0 16,1 0-16,0-13 0,13-1 0,0 14 15,0-13-15,13-1 0,14 14 0,-14 0 16,13 0-16,14-13 0,-14 13 16,14-13-16,0-1 0,-1 1 15,14 0-15,-13-1 0,0 1 0,13-14 0,0 1 16,13-1-16,-13 1 0,13-1 0,0-13 15,0 1-15,66-1 16,-79-13-16,27 0 0,-14 0 0,13-13 16,-13-1-16,14 1 0,-14 0 0,0-13 15,0 12-15,0-12 0,0 13 16,-13-14-16,14 1 0,-15-1 16,1 1-16,0-1 0,-13 1 0,13-1 15,-13 1-15,-14 0 0,0-1 0,1 1 16,-1-1-16,1 1 0,-14-1 15,14 1-15,-14-14 0,0 14 0,0-1 16,0-13-16,1 14 0,-1-14 0,0 1 16,0 12-16,1-12 0,-14 12 15,13-13-15,0 14 0,0-14 0,0 27 16,-13-13-16,14-1 0,-14 1 16,0 12-16,13-12 0,-13 13 0,0-14 15,0 14-15,0-13 0,-13-1 0,13-13 16,-14 14-16,1-14 0,-13 14 15,13-14-15,-14 14 0,1-1 0,-1 1 16,1-1-16,-1 1 0,-12-1 0,-28-12 16,28 12-16,12 14 0,-12 0 15,-1-14-15,13 14 0,-12 0 16,-1 0-16,0-1 0,1 14 0,-1-13 16,0 13-16,1 0 0,-1-13 0,14 13 15,-14 0-15,0 13 0,14-13 16,-1 0-16,-12 13 0,12 1 15,14-1-15,-14-13 0,27 13 0,-13 0 16,13 1-16,-13-1 0,26 0 16</inkml:trace>
  <inkml:trace contextRef="#ctx0" brushRef="#br0" timeOffset="97613.22">20214 7964 0,'27'0'31,"-14"0"-15,13 0-16,1 0 0,26 13 0,-14-13 15,1 13-15,13-13 0,-13 14 16,13-14-16,-14 0 0,1 13 0,-14-13 16,1 0-16,-1 0 0,1 0 0,-1 0 15,-13 0-15,14 0 0,-14 0 16,0 0-16,1 0 0,-1 0 0,0 0 16,0-13-16,1 13 15,-1 0-15,-13-14 0,13 1 16,-13 0-1</inkml:trace>
  <inkml:trace contextRef="#ctx0" brushRef="#br0" timeOffset="97907.6">20849 7832 0,'27'0'31,"-1"13"-31,-13-13 16,14 13-16,-1-13 0,1 13 0,12 1 0,-12-1 15,-1 0-15,-12 0 0,12 1 16,-13-14-16,0 13 0,1 0 0,-1 0 16,0-13-16,-13 13 0,0 1 0,0-1 15,0 0-15,-13 0 0,0 1 16,-14-1-16,14 0 0,-13 0 15,12 0-15,-12 1 0,13-1 0,-1 0 16,1 0-16,0 1 0,13-1 0,0 0 16</inkml:trace>
  <inkml:trace contextRef="#ctx0" brushRef="#br0" timeOffset="98518.89">22437 7752 0,'26'-13'0,"-52"26"0,65-26 16,-25 0-1,-28 0 1,1 13-16,-13 0 0,12 0 0,-12 0 15,0 0-15,-14 0 0,13 0 16,-12 13-16,12 0 0,1-13 16,-1 13-16,1-13 0,13 14 0,-1-1 15,1-13-15,0 13 0,13 0 0,0 0 16,0 1-16,13-1 16,14 0-16,-14 0 0,13 1 15,1-1-15,-1 0 0,1-13 0,12 13 16,-12 1-16,-1-14 0,1 13 0,-14-13 15,13 0-15,-12 13 16,-1-13-16,0 0 0,-13 13 16,13-13-16,-39 13 15,13 1-15,-1-14 16,1 13-16,-13-13 0,-1 13 0,1-13 16,13 13-16,-14-13 0,1 14 0,12-14 15,-12 13-15,13-13 0,0 13 0,-1-13 16,1 0-16,0 13 0,0-13 15,13 13-15,-14-13 0,41 0 16,-14 0 0</inkml:trace>
  <inkml:trace contextRef="#ctx0" brushRef="#br0" timeOffset="98735.92">23151 7686 0,'0'0'0,"13"-13"15,1 0 1,-41 26 0,27 0-16,-26 0 0,12 1 0,-12 12 15,13 1-15,-14-1 0,1-13 0,13 14 16,-14-1-16,14-13 0,0 14 16,-14-14-16,14 14 0,0-14 0,-14 13 15,14-13-15,0 1 0,0-1 0,-1 0 16,14 0-16</inkml:trace>
  <inkml:trace contextRef="#ctx0" brushRef="#br0" timeOffset="98877.15">22635 7832 0,'0'-27'16,"13"27"-1,1 0-15,-1 13 0,0-13 16</inkml:trace>
  <inkml:trace contextRef="#ctx0" brushRef="#br0" timeOffset="99042.55">23178 7990 0,'13'0'31,"0"0"-15,0 0-1</inkml:trace>
  <inkml:trace contextRef="#ctx0" brushRef="#br0" timeOffset="99819.5">23879 7832 0,'0'-14'16,"-27"28"-1,27-1-15,-13-13 0,13 13 16,-13 0-16,-1 1 0,14-1 0,-13 0 16,13 0-16,0 1 0,0-1 0,0 0 15,0 0-15,0 0 16,13-13-16,-13 14 0,14-14 0,-1 13 16,0-13-16,0 0 0,1 0 15,-1 0-15,0-13 16,0 13-16,1-14 0,-1 14 15,0 0 1,0 14-16,-13-1 16,13-13-16,-13 13 0,0 0 15,14 1-15,-1-1 16,0-13-16,-13 13 0,13-13 16,14-13-16,-14 13 15,0-13-15,1 13 0,-14-14 16,13 1-16,0 0 0,0 0 0,-13-1 15,13 1-15,-13 0 0,14 0 16,-14 0-16,0-1 0,13 14 16,-13-13-16,-13 40 31,13-14-15,-14 0-16</inkml:trace>
  <inkml:trace contextRef="#ctx0" brushRef="#br0" timeOffset="100084.29">24408 7964 0,'0'0'0,"13"-26"15,-26 12 1,0 1-16,-1 26 16,1-13-16,0 14 0,0-14 15,-1 13-15,1 0 0,0 0 16,0-13-16,0 13 0,13 1 0,-14-1 15,14 0-15,0 0 0,0 14 16,14-27 0,-14 13-16,13-13 0,0 13 0,0-13 15,0 13-15,1-13 0,-1 0 0,0 14 16,14-14-16,-14 0 0,0 0 0,14 0 16,-14 0-16,0 0 15,0 0-15</inkml:trace>
  <inkml:trace contextRef="#ctx0" brushRef="#br0" timeOffset="101153.34">22662 8572 0,'-67'-13'31,"54"26"-31,-13-13 0,12 14 16,-12-1-16,0 0 0,-1 14 0,1-14 15,-1 13-15,1-12 0,-1 12 0,14 0 16,0-12-16,0-1 0,-1 13 15,14-12-15,-13-1 0,13 0 0,0 0 16,0 1-16,0-1 0,13 0 16,1 0-16,105 0 15,-93-13-15,14 0 16,-1-13-16,1 13 0,0-13 0,-14 0 16,14 0-16,-14-1 0,1 1 0,-1 0 15,-12 0-15,-1-1 0,-13 1 16,13 13-16,0-13 0,-13 0 15,0-1-15,-13 14 16,0 0 0,0 14-1,-1-14-15,1 0 0,13 13 0,-13-13 16,0 13-16,-1-13 0,14 13 16,-13 1-16,13-1 31,13 0-16,1-26-15,-1 13 16,0 0 0,0-13-16,1 13 0,-1 0 15,0 0-15,0 0 16,1 0-16,-1 0 16,0 0-16,-13 13 0,13-13 15,0 13-15,-13 0 16,14 1-1,-1-14 17,0-14-17,0 14 1,1-13 0,-1 13-1,0 0-15,0 0 31,-13 13-15,14-13 0,-14 14-16</inkml:trace>
  <inkml:trace contextRef="#ctx0" brushRef="#br0" timeOffset="102309.34">23482 8625 0,'-13'-13'32,"13"0"-17,0 0 32,-14 39 62,1-13-109,13 1 16,-13-14-16,13 13 0,-13 0 0,13 14 16,-14-14-16,14 0 0,-13 0 0,13 0 15,-13 1-15,13-1 0,-13 0 0,13 0 16,0 1-16,0-1 0,-14-13 16,14 13-16,0 0 15,0 1 1,14-41-1,-1 27 1,0-13-16,0 13 0,1-13 16,-1 13-16,0-14 0,27 1 0,-27 13 15,0 0-15,0 0 16,1 0-16,-1 13 16,0 1-16,-26-1 15,13 0-15,-13 0 16,-1 1-16,1-14 15,0 13-15,0-13 0,0 13 0,-1-13 16,14 13-16,-13-13 0,0 0 0,0 13 16,-1-13-16</inkml:trace>
  <inkml:trace contextRef="#ctx0" brushRef="#br0" timeOffset="102569.24">23588 8916 0,'39'0'0,"67"-39"31,-93 26-31,14-1 0,-14 1 0,13 0 16,-12 13-16,-1-13 0,-13-1 16,13 14-16,-13-13 0,13 13 0,-52 13 31,25-13-31,1 14 0,0-1 15,0 0-15,0-13 0,-1 13 16,14 1-16,-13-14 0,13 13 0,0 0 16,0 0-16,13 0 15,1-13-15,-1 0 0,0 14 16,13-14-16,-12 13 0,12-13 0,-13 0 16,1 0-16</inkml:trace>
  <inkml:trace contextRef="#ctx0" brushRef="#br0" timeOffset="103298.4">22767 9459 0,'0'0'0,"0"-13"0,-13 26 47,0-13-47,13 13 0,0 0 16,-13 1-16,13-1 15,13 0-15,-13 0 0,13 0 16,0-13 0,1 14-16,-1-14 15,0 0-15,0 0 0,1 0 0,-1 0 16,0 0-16,-13 13 0,13-13 15,0 0-15,1 13 16,-1-13-16,0 13 0,0-13 16,1 14-1,-1-14-15,0 0 16,-13-14-16,13 14 16,1-13-16,-1 0 15,-13 0-15,13-1 16,-13 1-16,0 0 0,0 0 15,0 0-15,-13 13 16,13-14-16,-13 28 16,-14-14-1,14 13-15</inkml:trace>
  <inkml:trace contextRef="#ctx0" brushRef="#br0" timeOffset="104031.37">23111 9472 0,'40'13'16,"-27"-13"-1,-13 14-15,0-1 0,14-13 0,-14 13 16,0 0-16,0 0 0,0 1 16,0-1-16,0 0 0,-14-13 0,14 13 15,0 1-15,0-1 16,14-26 15,-1-1-31,0 1 16,-13 0-16,13 13 0,0-27 15,1 27-15,-1-13 0,0 0 0,0 0 16,1 0-16,-1 13 0,0-14 0,0 1 16,0 13-1,1 13 16,-28 14-15,14-14 0,-13 0-16,13 0 0,0 1 15,0-1-15,13 0 16,-13 0-16,14-13 16,-14 14-16,13-14 0,0 0 15,0 0-15,14-14 0,-14 14 0,0 0 16,-13-13-16,14 0 0,-1 0 15,0-1-15,-13 1 0,13 0 16,-13 0-16,0 0 0,13-1 0,-13 1 16,-13 0-16,13 0 15,0-1-15,-13 14 0,0 0 16,13 14 0,0-1-1,0 0-15,13-13 16,-13 13-16,13 1 15,-13-1-15,13-13 0,-13 13 0,14-13 16,-14 13-16,13 0 0,-13 1 16,13-14-16,-13 13 15,13-13 1,1 0 0,-1-13-1,0 13-15,0-14 16,1 14-1,-1 0-15,0 0 16,13 0-16,-12 0 16,-1 0-16</inkml:trace>
  <inkml:trace contextRef="#ctx0" brushRef="#br0" timeOffset="104657.28">24037 9379 0,'-13'0'16,"26"0"-16,-39 0 31,13 0-15,-1 0 15,1 0 0,-26 14-15,25-14 0,1 0-16,13 13 15,-13-13-15,13 13 0,-13 0 16,13 1-1,0-1-15,13 0 16,0-13-16,0 0 16,1 13-16,-1-13 0,0 0 15,0 0-15,0 14 16,1-14-16,-1 13 0,0-13 16,-13 13-16,13-13 0,-13 13 0,14-13 15,-14 13-15,0 1 0,0-1 16,0 0-16,0 0 15,-14 1-15,14-1 0,-13-13 0,0 13 16,0 0-16,-1 1 0,1-14 0,0 0 16,0 13-16,0 0 15,-1-13-15,28-26 32,12 12-32,0-12 0,1-1 15,13-12-15,-1 12 0,14-12 16,0-1-16,0 13 0,0-12 0,0 12 15,0 1-15,0-1 0,-14 14 0,-12-13 16,13 12-16,-14 1 0,0 0 16,1 0-16,-14 0 0,0 13 0,1-14 15</inkml:trace>
  <inkml:trace contextRef="#ctx0" brushRef="#br1" timeOffset="110149.22">18481 8943 0,'-26'13'16,"12"0"-16,-105 93 15,80-66-15,-1-14 16,0 14-16,14 0 0,-14-14 0,14 14 15,-1-14-15,1 14 0,-1-14 0,14 1 16,-13-1-16,12-12 0,1 12 16,0-13-16,0 1 0</inkml:trace>
  <inkml:trace contextRef="#ctx0" brushRef="#br1" timeOffset="110529.18">18005 9260 0,'0'0'0,"-13"0"0,-14 14 0,14-1 15,-13 0-15,-1 14 0,1-1 16,12 0-16,-12 1 0,-1-1 0,1 1 15,0-1-15,-1 1 0,14-1 0,0-13 16,13 14-16,-14-14 0,14 0 16,-13 1-16,13-1 0,0 0 0,0 0 15,0 1-15,13-1 16,1-13-16,-1 13 16,0-13-16,0 0 0,1 0 0,-1 0 15,13 0-15,-13 0 0,14 0 0,-14 0 16,14-13-16,-14 13 0,13 0 0,-12-13 15,12 13-15,-13 0 0,14-14 16,-14 14-16,0 0 0,14-13 0,-14 13 16,0 0-16,0-13 0,1 13 15</inkml:trace>
  <inkml:trace contextRef="#ctx0" brushRef="#br1" timeOffset="111285.84">21934 7488 0,'13'26'0,"-39"173"31,-1-107-31,-12 14 0,12 0 0,-13 13 16,1 0-16,-1 0 0,0 0 0,1 13 16,-1-26-16,0 13 0,1-13 15,12 0-15,1-13 0,12-27 0,1 13 16,0-26-16,0 13 0,13-26 15,-13 0-15,13-1 0,0-12 0,-14-1 16,14-13-16,0 1 0,14-41 31,-1 1-31</inkml:trace>
  <inkml:trace contextRef="#ctx0" brushRef="#br1" timeOffset="112184.53">21974 7474 0,'397'0'31,"-226"0"-31,-78 0 0,106 0 16,-94 0-16,1 0 15,-13 0-15,13 0 0,-1 0 0,1-13 16,0 13-16,-13-13 0,-1 13 0,14-13 0,-26 0 16,12-1-16,-12 1 0,-1 13 15,0-13-15,-13 0 0,1-1 16,-14 14-16,-14-13 0,14 13 0,-13-13 15,13 13-15,-27-13 0,14 13 0,-14 0 16,1 0-16,12 0 0,-12-14 0,-1 14 16,1 0-16,-1 0 0,1 0 15,-1 0-15,1 14 0,-1-14 0,-13 0 16,27 0-16,0 13 16,-27 0-16,-13 0 0,0 1 15,0-1-15,-13 0 0,13 14 16,-27-1-16,14 0 0,-13 1 0,-1 13 15,14-14-15,-14 14 0,14-1 16,-13 1-16,-1 0 0,-12 52 16,25-52-16,1 0 0,0 13 15,0-14-15,-1 14 0,1 0 0,0 13 16,0-13-16,13-13 0,-13 13 0,13-13 16,0 13-16,0-14 0,0 14 0,0-13 15,0-1-15,0 14 0,13-13 0,-13 0 16,0-1-16,13 14 0,-13-13 15,0 0-15,13-1 0,-13 1 0,0 0 16,13 0-16,-13-1 0,0 1 0,0 0 16,0-1-16,0-12 0,0 26 0,14-14 15,-14 1-15,0-14 16,0 1-16,0-1 0,0 1 0,0-1 16,0 1-16,-14-1 0,14 1 0,0-14 15,0 13-15,0-12 0,0-1 0,-13 13 16,13-12-16,0-1 0,0 0 15,-13-13-15,13 13 0,-13 0 0,0 1 16,-1-1-16,1-13 16,-13 13-16,-1-13 0,-13 0 0,-12 13 15,12-13-15,-13 0 0,-13 0 0,13 0 16,-26 0-16,-14 0 0,0 0 16,1 0-16,-1-13 0,-13 13 0,-26 0 15,0 0-15,-1-13 0,-12 13 0,-93 0 16,92 0-16,14 0 0,26 0 15,-106 0 1,80 13-16,-66-13 0,92 0 0,13 0 16,14-13-16,-14 13 0,27-13 0,-13-1 15,13 1-15,13-13 0,0-14 16,13 14-16,0-27 0,14 13 0</inkml:trace>
  <inkml:trace contextRef="#ctx0" brushRef="#br1" timeOffset="112613.11">23561 6628 0,'-26'26'16,"-1"-12"-16,1 12 0,-27 14 16,13-1-16,-26 1 15,0 26-15,0-13 0,0 0 0,13 0 16,0-13-16,13 13 0,-13-14 0,-26 41 16,52-41-16,-39 14 15,40-26-15,12-14 0,-38 27 16,52-27-16,-14-13 0,14 13 15,-13-13-15</inkml:trace>
  <inkml:trace contextRef="#ctx0" brushRef="#br1" timeOffset="112956.49">22741 6615 0,'0'0'15,"26"39"-15,-12-12 0,12-1 0,1 14 0,-1 0 16,0-1-16,14 14 0,0-13 16,0 13-16,-1 0 0,14-14 0,-13 14 15,0-13-15,-1 13 0,1-13 0,13-14 16,-27 14-16,14-14 0,-14 1 0,1-1 15,-14-13-15,0 1 0,1-1 16,-1 0-16,0 0 0,0-13 16,-13 13-16,13-13 0,1 14 0,-1-28 31,0 14-15,-13-13-16,13 0 15</inkml:trace>
</inkml:ink>
</file>

<file path=ppt/ink/ink32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3:22:48.992"/>
    </inkml:context>
    <inkml:brush xml:id="br0">
      <inkml:brushProperty name="width" value="0.05292" units="cm"/>
      <inkml:brushProperty name="height" value="0.05292" units="cm"/>
      <inkml:brushProperty name="color" value="#FF0000"/>
    </inkml:brush>
  </inkml:definitions>
  <inkml:trace contextRef="#ctx0" brushRef="#br0">18018 5133 0,'40'0'141,"13"0"-141,0 0 16,-14 0-1,14 0-15,-13 0 0,0 0 16,-27 0-1,0 0-15,27 0 16,-14 0-16,1 0 0,-1-13 16,1-14-16,12 14 15,-25 0-15,12-14 16,0 14-16,-12 0 16,-1 0-1,0 13-15,0-14 16,1 14-16,-1 0 15,0 0 1,0-13-16,14 0 16,-14-14-1,0 14-15,-13-13 16,13-14-16,-13 0 16,0 1-16,0-1 15,14 14-15,-14-1 16,0 1-1,0-1-15,0 14 0,0 0 16,0-14-16,0 14 16,0-13-16,0 12 15,-14 1 1,14-13-16,-13-1 16,13 1-16,0 13 15,-13-14-15,13 1 0,-13 12 16,13 1-16,0 0 15,0 0-15,0-1 16,-14 14 0,14-26-16,-13 26 15,13-13 1,-13 13 0,13-13-16,-26-1 15,12 1 1,1 13-1,0-13-15,0 13 16,-1 0 0,-12 0-1,13 0 1,0 0-16,-1 0 16,-12-13-16,13 13 15,-14 0 1,14 0-16,0 0 15,-14 0 1,1 0-16,13 0 16,-1 0-16,-25 0 15,12-14-15,-13 14 0,1-13 16,-1 13-16,0 0 16,-12 0-16,25 0 15,-13 0 1,1 0-16,12 0 15,1 0-15,13 0 16,-14 0-16,1 0 16,-1 0-16,1 0 15,-1 0-15,1 0 16,-1 13-16,14-13 16,0 14-16,-14-14 15,1 13-15,-1 13 16,14-26-16,0 0 15,13 14-15,-13-14 16,0 13-16,-14 0 16,27 0-1,0 0 1,-13 1 0,0-1-1,13 0 1,0 0-16,-14-13 0,14 14 15,0-1-15,0 0 16,-13 27-16,13-14 16,0 1-1,-13-1-15,13 1 16,0-1-16,-13-13 16,13 1-1,0-1 1,0 0-1,0 0 1,0 0 0,0 14-1,0-14 1,0 0 0,0 1-1,0-1-15,0 0 0,0 0 16,0 27-1,0-27-15,0 0 0,13 14 16,0-14-16,-13 0 16,0 14-1,0-14-15,27 0 16,-27 14-16,13-27 16,-13 13-16,13 13 15,0-12 1,-13-1-1,14 0 1,-1-13-16,0 13 16,0-13-16,-13 14 15,27-1-15,-14 0 16,13 0-16,1 0 16,-14 1-16,14-1 15,-1-13-15,-13 0 16,0 0-1,1 0-15,12 0 16,-13 0 0,14 0-16,-14 0 15,0 0-15,1 0 16,-1 0 0,0 0 15,0 0-31,0 0 15,1 0 1,-1 0-16,0 0 16,14 0-1,-14 0 1,0 0 0,0 0-1,1 0 48,-1 0-48</inkml:trace>
  <inkml:trace contextRef="#ctx0" brushRef="#br0" timeOffset="1504.99">16642 8268 0,'27'0'125,"12"0"-125,28 0 15,-14-13-15,-1 13 16,-12-13-16,66 0 16,26-14-16,-26 27 15,0-13-15,0 0 16,66-1-16,-106 14 15,-26-13-15,-14 13 16,0 0 0,-12 0 62</inkml:trace>
  <inkml:trace contextRef="#ctx0" brushRef="#br0" timeOffset="3961.36">20452 8281 0,'14'0'62,"-1"0"-62,13 0 16,-13 0 0,27 0-16,0 0 15,13 0-15,26 0 0,14-13 16,-27 13-1,-13 0-15,39 0 16,27-13-16,-39 13 16,-1 0-16,-13-13 15,14 13-15,12-13 0,1 13 16,-14 0-16,-26 0 16,13 0-1,-13 0-15,-13 0 16,-14 0-16,14 0 15,-13 0-15,-1 0 16,-13 0 0,0 0-1</inkml:trace>
  <inkml:trace contextRef="#ctx0" brushRef="#br0" timeOffset="5987.28">1945 7752 0,'0'27'32,"0"-1"-32,0 14 15,0 13 1,0 0-16,0 13 16,-14 13-16,1 14 0,-13-27 15,26 13 1,-13-26-16,13 0 15,0-26-15,0 12 16,0 1-16,0-14 16,0 1-16,0-14 15,0-39 63,0-1-62,0-12-16,0-28 16,26-25-1,-26-1-15,13 27 0</inkml:trace>
  <inkml:trace contextRef="#ctx0" brushRef="#br0" timeOffset="11535.51">2924 8123 0,'-14'39'0,"28"-25"16,-1-14-16,13 0 15,-12-14-15,-1 1 16,0 13-16,0-13 0,-13 0 16,13-1-16,-13-12 0,14 13 0,-14 0 15,0-1-15,0-12 0,0 13 0,0-1 16,0 1-16,-14 0 16,14 0-16,-26 13 15,13 0-15,13 13 0,-13 0 0,-1-13 16,1 13-16,0 1 0,13-1 15,-13 0-15,13 0 0,-14 1 16,14-1-16,14 0 0,-1 0 31,0-26-31,0 13 0,1-13 16,-1 0-16,-13-1 16,13 1-16,-13 0 0,0 0 0,13-1 15,-13 1-15,0 0 0,0 0 16,-13 26 15,0 0-31,13 0 0,0 1 16,0-1-16,0 0 0,0 0 15,0 1-15,13-1 0,0 0 16,0-26 0,1 13-1,-1-13-15,-13-1 16,0 1-16,13 13 15,-13-13-15,13 26 32,-13 0-32,0 1 15,14-1-15,-1 0 16,0 0 0,0-13-1,1 0-15,-1-13 16,-13 0-1,0 0-15,0-14 16,0 14-16,0 0 16,-13-1-1,13 1-15,-14 26 16,1-13 0,0 14-16,0-1 0,13 0 15,0 0-15,0 1 16</inkml:trace>
  <inkml:trace contextRef="#ctx0" brushRef="#br0" timeOffset="11946.01">2924 8453 0,'-14'27'32,"14"-14"-17,0 0-15,0 1 16,0-1-16,0 0 0,0 0 16,0 0-16,0 14 15,0-14 1,-13-13-16,13 13 15</inkml:trace>
  <inkml:trace contextRef="#ctx0" brushRef="#br0" timeOffset="12131.19">2924 8308 0,'-14'-13'0</inkml:trace>
  <inkml:trace contextRef="#ctx0" brushRef="#br0" timeOffset="12485.81">3149 8281 0,'13'-13'0,"-26"40"46,13-14-46,0 0 16,0 0-16,-14 1 0,14-1 0,0 13 16,-13-12-16,13-1 0,0 0 0,0 0 15,0 0-15,-13 1 0,13-1 16,0 0-16,0 0 0,0 1 0,0-1 16,0 0-16,0 0 0,0 0 15,0 1-15,13-14 16,-13 13-16,13 0 0,1-13 15,-14 13-15,13-13 16,0 0-16,0 0 16,-13-13-16,13 13 0,1-13 15</inkml:trace>
  <inkml:trace contextRef="#ctx0" brushRef="#br0" timeOffset="12698.48">3003 8506 0,'13'-13'31,"0"13"-31,1 0 0,-1 0 16,0 0-16,0 0 0,1 0 0,-1-13 15,0 13-15,0 0 0,1 0 0,-1 0 16,0 0-16,0-13 15,0 13-15,1 13 0</inkml:trace>
  <inkml:trace contextRef="#ctx0" brushRef="#br0" timeOffset="14903.09">1918 7911 0,'0'-13'31,"13"0"-15,-13-1-16,0 1 15,0 0-15,0 0 16,-13 13-16,13-14 0,0 1 15,0 0-15,0 0 0,-13 13 16,13-13-16,0-1 0,0 1 16,0 0-16,0 0 15,-13-1-15,26 1 16,0 0 0,0 13-16,1 0 15,-1 0-15,13-13 0,1 13 16,26-14-16,-14 14 0,14-13 0,0 13 15,13-13-15,14 13 0,-14-13 16,93 0-16,-67-1 0,-12 14 16,12-13-16,1 13 0,-1-13 15,14 0-15,-13 13 0,39-14 0,-39 1 16,39 13-16,-13-13 0,13 0 0,-39-1 16,39 14-16,-13-13 0,0 0 0,-13 0 15,-13 13-15,13-13 0,13-1 16,-13 14-16,-1-13 0,-12 13 15,0-13-15,-1 13 0,1 0 0,0-13 0,-14 13 16,0-14-16,14 14 0,-14 0 16,-13 0-16,1 0 0,-15-13 15,1 13-15,0 0 0,0 0 0,-13 0 16,0-13-16,-1 13 0,-12 0 0,-1 0 16,-13 0-16,14 0 0,-1 0 15,-12 0-15,-1 0 0,0 0 16,0 0-16,0 0 15,1-13-15,-1 26 16,0-13 0,0 13-1,1 0 1,-14 1-16,0-1 0,13 0 16,0 0-16,-13 14 0,13-14 15,1 27-15,-1-14 0,0 1 0,0-1 0,0 14 16,1-14-16,-1 1 0,0 12 15,0-12-15,1-1 0,-1 14 16,0-14-16,0 1 0,1 13 0,-1-14 16,0 14-16,-13-14 0,13-13 15,-13 14-15,13-1 0,-13 14 0,14-14 0,-14 1 16,0-1-16,13 1 0,-13-1 16,0 1-16,0-1 0,0 1 0,13-1 15,-13 1-15,0-14 0,0 13 0,0-12 16,-13 12-16,13-13 0,0 14 15,0-14-15,0 0 0,-13 0 0,-1 14 16,1-14-16,0 0 16,-13 0-16,12 1 0,-12-14 0,-14 13 15,0 0-15,1 0 0,-14-13 16,-13 14-16,-14-14 0,1 0 0,0 13 16,-1-13-16,-12 0 0,12 0 0,-12 13 15,-1-13-15,0 0 0,1 0 0,-1 13 16,1-13-16,-1 14 0,-13-14 15,14 0-15,-14 13 0,0-13 0,13 13 16,-39-13-16,0 13 0,13-13 0,-14 13 16,28-13-16,-15 14 0,-12-1 15,40-13-15,-14 13 0,13-13 16,-13 13-16,14 1 0,-1-14 0,0 13 16,1-13-16,-1 13 0,1-13 0,-1 13 15,14-13-15,-14 14 0,14-14 0,-14 13 16,14-13-16,-14 0 0,14 13 15,-1-13-15,14 0 0,-13 13 0,26-13 16,0 0-16,0 0 0,-13 0 0,13 0 16,0 0-16,13 0 0,1 0 0,-1 0 15,14 0-15,-14 0 0,13 13 16,1-13-16,0 0 0,12 0 0,1 0 16,-13-13-16,12 13 0,1 0 15,0 0-15,0 0 16,-1 0-16,1 0 15,0 0 1,0 0-16,0 0 16,-1 0 15</inkml:trace>
  <inkml:trace contextRef="#ctx0" brushRef="#br0" timeOffset="15581.86">7064 8242 0,'0'0'0,"27"13"15,-14-13-15,14 0 16,-1 0-16,-13 0 0,14 0 0,-1 13 16,1-13-16,-1 0 15,0 0-15,14 0 0,-13 0 0,-14 0 16,13 0-16,-12 0 0,-1 0 0,0 0 15,0 0-15,0-13 0,1 13 16,-1 0-16,-13-13 0,13 13 0</inkml:trace>
  <inkml:trace contextRef="#ctx0" brushRef="#br0" timeOffset="15834.69">7382 8109 0,'26'-13'0,"-12"13"0,12 0 16,-13 0-16,0 0 0,14 0 0,-14 13 16,14-13-16,-1 14 0,1-1 15,-14 0-15,13 0 0,-13 1 0,1-1 16,-1 0-16,0 0 0,0 14 0,-13-14 16,0 0-16,14 0 0,-28 1 15,14-1-15,-13 13 0,13-12 16,-13-1-16,0 13 0,-1-12 0,1-1 15,0 0-15,0 0 0,0 0 16,13 1 0</inkml:trace>
  <inkml:trace contextRef="#ctx0" brushRef="#br0" timeOffset="16451.09">8850 8149 0,'14'-13'16,"-41"26"15,14-13-31,0 0 0,-1 13 15,1-13-15,0 0 0,0 14 0,-14-1 16,14-13-16,0 0 0,13 13 16,-13-13-16,-1 13 15,28 1 1,-1-14-16,-13 13 0,13-13 16,0 0-16,0 0 0,1 13 15,-1-13-15,0 0 0,0 13 0,1-13 16,-1 0-16,0 13 0,0-13 15,1 14-15,-1-14 0,0 13 0,0-13 16,-13 13-16,13-13 0,-13 13 16,14 1-16,-14-1 0,0 0 15,-14 0-15,14 1 0,-13-14 16,0 13-16,0 0 0,0 0 0,-14 0 16,14 1-16,-27 12 0,-13 1 15,27-14-15,-1-13 0,-12 13 16,25 0-16,1-13 0,0 0 0,0 13 15</inkml:trace>
  <inkml:trace contextRef="#ctx0" brushRef="#br0" timeOffset="16662.77">9181 8229 0,'0'0'0,"-13"26"32,13-13-32,-13 0 0,13 14 15,-14-14-15,-12 27 16,13-27-16,-1 14 0,1-14 0,0 13 16,0-13-16,0 1 0,-1-1 15,14 0-15,-13 0 0,0 1 0</inkml:trace>
  <inkml:trace contextRef="#ctx0" brushRef="#br0" timeOffset="16841.93">8864 8242 0,'-14'0'0,"28"0"0,-28-13 0,28 26 47,-14 0-47,13 0 16</inkml:trace>
  <inkml:trace contextRef="#ctx0" brushRef="#br0" timeOffset="16975.08">9155 8414 0</inkml:trace>
  <inkml:trace contextRef="#ctx0" brushRef="#br0" timeOffset="17662.72">9988 8295 0,'-26'13'32,"26"0"-17,0 0-15,0 1 0,0-1 16,0 0-16,0 0 16,13 1-16,-13-1 0,13-13 15,0 13-15,0-13 0,1 0 16,-1 0-16,0 0 0,0 0 15,1-13-15,-1 13 0,0-13 16,14 13-16,-14-14 0,0 14 0,0-13 16,0 13-16,1 0 15,-1 13-15,0-13 16,-13 14-16,0-1 16,13-13-16,-13 13 0,14-13 15,-14 13-15,13-13 0,0 0 16,0 0-1,-13-13-15,14 13 0,-14-13 16,13 13-16,-13-13 0,13-1 0,-13 1 16,0 0-16,13 0 0,-13-1 0,0 1 15,13 0 1,-13 0-16,14 13 16,-28 26 15</inkml:trace>
  <inkml:trace contextRef="#ctx0" brushRef="#br0" timeOffset="17945.75">10570 8361 0,'0'0'0,"0"-27"16,-13 27-1,-14 14 1,27-1-16,-13-13 0,13 13 16,-13 0-16,0 1 0,13-1 0,0 0 15,-13 0-15,13 0 0,0 1 0,13-1 16,-13 0-16,0 0 16,13-13-16,-13 14 0,13-14 15,0 0-15,1 13 0,-1-13 0,0 0 16,0 0-16,1 0 0,12 0 0,-13 0 15,0 0-15,1-13 0,25 13 16</inkml:trace>
  <inkml:trace contextRef="#ctx0" brushRef="#br0" timeOffset="18810.81">11390 8162 0,'0'0'0,"-13"0"16,13-13-16,-13 13 15,-14 13-15,27 1 16,-13-1-16,0 0 0,0 0 16,-1 1-16,14-1 0,-13 13 0,0-13 15,13 1-15,-13 12 0,13-13 0,0 1 16,0-1-16,0 0 0,0 0 16,13 1-16,-13-1 15,13-13-15,0 13 0,1-13 0,-1 0 16,13 0-16,-12 0 0,12-13 0,1 13 15,-14 0-15,13-13 0,14-14 16,0 14 0,-27 0-16,0-1 0,0-12 0,1-1 31,-14 14-31,-14 0 16,1 26-1,0-13 1,13 13-16,-13-13 0,13 14 15,-14-14-15,14 13 16,0 0-16,-13-13 16,13 13-16,0 1 0,0-1 15,13 0 1,14-13 15,-27-13-31,13 13 16,0 0-1,1-13-15,-1 13 16,0 0-16,0 0 16,0 13-1,1 0 1,-14 0 0,0 1-1,13-1 16,13-13-15,-12-13 0,-1 13-16,0 0 0,0 0 15,1-14 1,-1 14-16,0 0 16,0 0-1,-26 14 16,0-1-31</inkml:trace>
  <inkml:trace contextRef="#ctx0" brushRef="#br0" timeOffset="19805.63">9816 9088 0,'-26'0'0,"52"0"0,-66 0 15,27 0-15,0 0 0,0 0 0,-1 14 16,-12-14-16,13 13 0,-14-13 16,14 13-16,0 0 0,-14 1 15,14-1-15,0-13 0,0 13 16,13 0-16,-14-13 0,28 14 16,-14-1-1,13-13-15,-13 13 0,13-13 0,0 0 16,1 13-16,-1-13 0,0 13 0,0-13 15,1 14-15,-1-1 0,0 0 16,0 0-16,-13 1 0,13-1 0,-13 13 16,14-13-16,-14 1 0,0 12 0,-14-13 15,14 14-15,-13-14 0,0 14 16,0-14-16,0 0 0,-1 0 16,1 14-16,0-27 0,-14 13 0,14 0 0,0 0 15,0-13-15,-1-13 16,28 0-1,-14 0-15,39-27 16,-25 14-16,12-1 0,27-26 16,-27 40-16,1-14 0,13 14 15,-27 0-15,0 0 16,0 0-16,0 13 0,1-14 16,-1 28 15,-13-1-31,0 0 15,0 0-15,0 0 16,13-13-16,-13 14 0,13-14 16,1 13-16,-1-13 0,0 0 15,0 0-15,1 0 0,-1-13 16,13 13-16,-13-14 0,1 14 0,12-13 16,-13 0-16,1 0 0,-1 0 0,-13-1 15,13-12-15,-13 13 0,0-1 16,0 1-16,0 0 0,0 0 0,-13 13 15,0-13-15,-1 13 0,1 0 0,-13-14 16,12 14-16,1 0 0,-13 14 0,13-14 16,-14 0-16,14 13 0,0 0 15,-1-13-15,1 13 0,0-13 0,13 13 16,0 1-16,13-1 16,0-13-16,1 13 15,12-13-15,-13 0 0,14 0 16,-14 0-16,13 0 0,14 0 0,-13 0 15</inkml:trace>
  <inkml:trace contextRef="#ctx0" brushRef="#br0" timeOffset="20510.65">10874 9115 0,'-26'40'16,"26"-27"0,0 0-16,0 0 15,0 1-15,0-1 0,0 0 16,13 0-16,-13 0 0,13 1 15,1-1-15,-1-13 16,0 13-16,0-26 16,1 13-16,-1-13 15,0 13-15,0-14 16,0 1 15,1 26-15,-14 1-1,13-14-15,0 13 16,0 0 0,1-13-16,-1-13 15,0 13-15,0 0 16,-13-13-16,13 13 0,1-14 16,-14 1-16,13 13 0,-13-13 0,0 0 15,13 0-15,-13-1 0,13 1 16,-13 0-16,0 0 0,0-1 0,14 1 15,-14 0-15,-14 13 32,1 0-17,0 13-15,0 0 16</inkml:trace>
  <inkml:trace contextRef="#ctx0" brushRef="#br0" timeOffset="21338.58">11232 9168 0,'0'0'0,"13"-13"0,0 13 0,0 0 16,-13 13 0,13-13-16,-13 13 0,0 0 15,0 14 1,0-14 0,0 13-16,-13-12 15,13-1 16,13-40-15,-13 14 0,14 13-16,-14-13 0,0 0 0,13 0 15,0-1-15,-13 1 0,13 13 16,1-13-16,-14 0 0,13-1 0,0 1 16,0 0-16,1 13 0,-14-13 0,13-1 15,0 14-15,0-13 0,0 13 0,-13-13 16,14 13-16,-1 0 15,-13-13-15,13 13 0,0 0 0,1 13 32,-28-13-17,14 26-15,-13-12 16,13-1-16,-13 0 16,13 0-16,0 1 0,0-1 15,0 0-15,0 0 16,13 1-16,0-14 15,14 0 1,-14-14-16,0 14 16,-13-13-16,14 13 0,-14-13 15,13 0-15,-13-1 0,0 1 16,13 0-16,-26 0 0,13-1 16,0 1-16,-13 13 15,13-13-15,13 39 47,-13-12-31,13-14-16,-13 13 15,13 0-15,-13 0 16,13-13-16,-13 14 0,14-1 16,-1 0-16,0 0 31,0-13-16,1 0 1,-1 0-16,0-13 16,0 13-16,1 0 15,-1-13-15,0 13 16,0 0 0,0 0-16,1 0 31,-1 0-16,0 0-15,0 0 0,1 0 16,-1 0 0</inkml:trace>
  <inkml:trace contextRef="#ctx0" brushRef="#br0" timeOffset="21854.42">12065 9009 0,'0'0'0,"-13"-13"0,0 13 16,-1 0-16,14 13 15,-13-13 1,13 13-16,0 1 16,0-1-1,0 0-15,13-13 0,-13 13 16,0 0-16,0 1 0,0-1 15,0 0 1,0 0-16,-13 1 0,0-1 16,0 0-1,26-39 17,0 12-17,0 1-15,14-13 0,-14-1 0,13 1 16,1 13-16,-1-14 0,1 14 15,-1-14-15,1 14 0,-14 0 0,0 0 16,0-1-16,1 14 0,-14-13 0,13 0 16,0 13-16,-13-13 0</inkml:trace>
  <inkml:trace contextRef="#ctx0" brushRef="#br0" timeOffset="22578.02">11179 10147 0,'0'0'0,"-14"-13"0,1 13 0,0 0 16,0 0-16,-1 13 0,-12-13 15,13 13-15,-14 0 0,14 0 0,-13 14 16,12-14-16,1 0 0,0 1 16,0-1-16,0 0 0,13 0 0,-14 1 15,14-1-15,14 0 16,-1-13-16,0 0 0,13 0 16,-12-13-16,25 0 15,-25 13-15,-1-14 0,0 14 16,0-13-16,0 13 0,1-13 0,-1 13 31,0 13-31,-13 0 16,0 1-16,0-1 0,-13 0 15,13 13-15,0-12 0,-13 12 0,-1-13 16,14 14-16,-13-14 0,13 0 16,-13 1-16,13-1 0,0 0 0,-13 0 15,13 0-15,-13-13 0,13 14 0,26-28 47,-13 14-47</inkml:trace>
  <inkml:trace contextRef="#ctx0" brushRef="#br0" timeOffset="22911.69">11443 10253 0,'-66'0'32,"53"0"-32,0 13 0,-1-13 15,1 0-15,0 13 0,0-13 0,13 13 16,13 1 0,-13-1-16,13 0 0,0-13 15,-13 13-15,14 0 0,-1 1 16,0-1-16,0-13 0,-13 13 0,14 0 15,-1 1-15,-13-1 16,0 0-16,0 0 0,-13 1 16,13-1-16,-14-13 0,1 13 0,-13 0 15,12 0-15,1-13 0,0 14 16,-14-14-16,27 13 0,-13-13 0,0 0 16,26-27-1</inkml:trace>
  <inkml:trace contextRef="#ctx0" brushRef="#br0" timeOffset="23111.14">11787 10200 0,'0'0'0,"13"-14"16,-13 28 0,-13 12-16,13-13 15,-13 1-15,0-1 0,0 13 0,-14 1 16,14-1-16,0 1 0,-14-1 0,1 1 15,12-1-15,-12 1 0,13-14 0,0 13 16,-1-13-16,1 1 0,0-1 16,0-13-16,-1 13 0,14 0 15</inkml:trace>
  <inkml:trace contextRef="#ctx0" brushRef="#br0" timeOffset="23253.19">11523 10398 0,'0'0'0,"-14"-26"0,14 12 31,-13 1-31,26 0 31,1 13-31,-1 0 16,0 0-16,0 13 0</inkml:trace>
  <inkml:trace contextRef="#ctx0" brushRef="#br0" timeOffset="23365.83">11787 10372 0,'0'13'0,"0"-26"0,13 26 32,1-26-17,-1 13-15</inkml:trace>
  <inkml:trace contextRef="#ctx0" brushRef="#br0" timeOffset="28057.77">15094 10054 0,'-26'93'16,"13"-80"-16,13 0 15,0 0-15,-13-13 0,13 14 0,0-1 16,-14-13-16,14 13 0</inkml:trace>
  <inkml:trace contextRef="#ctx0" brushRef="#br0" timeOffset="28383.05">15359 10067 0,'0'14'31,"0"-1"-31,13 0 16,-26-13-16,13 13 0,13 1 0,-26-1 15,13 0-15,0 0 16,0 0-16,0 1 16,0-1-1</inkml:trace>
  <inkml:trace contextRef="#ctx0" brushRef="#br0" timeOffset="28560.55">15386 9882 0,'-14'0'15</inkml:trace>
  <inkml:trace contextRef="#ctx0" brushRef="#br0" timeOffset="28887.11">15452 10041 0,'0'40'31,"0"-27"-31,0 0 0,26-13 47,-26-13-31,13 13-16,1 0 0,-1 0 15,0 0 1,0 0 0,1 0-16,-1 0 0,-13 13 15,13-13-15,0 0 0,0 0 16,1 0-16,-1 0 16,13 0-16</inkml:trace>
  <inkml:trace contextRef="#ctx0" brushRef="#br0" timeOffset="29487.42">16021 9869 0,'0'0'0,"26"-13"0,0 26 16,-12-13 0,-14 13-16,13 0 15,-13 1-15,0-1 0,0 0 16,0 0-16,-13 1 0,-1-1 0,14 0 15,-13 0-15,0 0 0,13 1 16,-13-1-16,0 0 0,13 0 16,-14-13-16,14 14 0,14-1 31,-1-13-31,13-13 0,-13 13 16,1 0-16,12-14 0,-13 14 15,14-13-15,-14 13 0,0 0 0,0-13 16,1 13-16,-1 0 0,13 0 15,-12 0 1,-1 13-16,0-13 0,0 0 16,1 0-16,-1 0 15,0 0-15,0-13 16,0 13-16,1-13 16,-14-1-16,13 14 0,-13-13 15,0 0-15,0-13 16,-13 26-16,13-14 0,-14 1 15,1 0 1,0 13-16,0-13 16</inkml:trace>
  <inkml:trace contextRef="#ctx0" brushRef="#br0" timeOffset="30606.88">17370 9790 0,'-13'0'0,"26"0"0,-53 13 16,27 0-16,-13 13 15,12-12-15,14-1 0,-13 0 16,0 14-16,13-14 0,-13 0 0,13 0 16,0 14-16,0-14 0,0 0 15,13 0-15,-13 1 0,13-1 0,0-13 16,-13 13-16,14-13 0,-1 13 0,0-13 15,0 0-15,0 0 0,1 0 16,12-13-16,-13 13 0,1-13 16,-1 0-16,0-1 0,0 1 0,0-13 15,1 13-15,-1-14 0,-13 14 0,13 0 16,0-14-16,-13 14 0,14 0 0,-14-1 16,13 14-16,-13-13 0,0 0 15,13 0-15,-26 39 31,13-13-31,0 14 16,-13-27-16,13 13 0,0 0 16,0 1-16,0-1 0,-14-13 0,14 13 15,0 0-15,0 1 16,0-1 0,14 0-1,-1-13 1,-13 13-16,13-13 0,-13 13 15,13-13-15,1 0 0,-14 14 16,13-14-16,0 0 0,0 0 16,0 0-16,1 0 0,-1 0 15,0 0-15,0-14 0,1 14 0,-1 0 16,0-13-16,0 13 0,-13-13 16,14 13-16,-1-13 0,0 0 15,-13-1 1,-13 14 31,0 14-47,13-1 15,0 0 1,13-13 15,0 0-31,0 13 16,0-13-1,1 0 1,-1 13 0,0 1-1,0-1 1,1-13 15,-1-13-15,0 13-16,0 0 15,1-14 1,-1 14-16,0 0 16,0 0-16,0-13 15,1 13-15,-1 0 0</inkml:trace>
  <inkml:trace contextRef="#ctx0" brushRef="#br0" timeOffset="31143.66">18203 9869 0,'-13'0'15,"26"0"-15,-39 0 0,13 13 16,-1-13-16,1 13 15,0 1-15,0-1 16,0 0-16,13 14 31,26-1-15,80-52 31,-80 12-47,-13 1 0,1 13 0,-14-13 15,13 13-15,-13-13 0,13 13 0,0-14 16,1 28 15,-1-1 1,0-13-17,0 0-15,1 0 16,-1 13-1,0-13-15,0 13 32,-13 1-17,-13-14 1,13 13-16</inkml:trace>
</inkml:ink>
</file>

<file path=ppt/ink/ink32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3:23:43.818"/>
    </inkml:context>
    <inkml:brush xml:id="br0">
      <inkml:brushProperty name="width" value="0.05292" units="cm"/>
      <inkml:brushProperty name="height" value="0.05292" units="cm"/>
      <inkml:brushProperty name="color" value="#FF0000"/>
    </inkml:brush>
  </inkml:definitions>
  <inkml:trace contextRef="#ctx0" brushRef="#br0">5318 225 0,'0'40'16,"0"52"0,27 27-1,12-13-15,41 79 16,-27-26-16,13 53 0,-13-27 15,26 66-15,-26-79 16,-27-13 0,14-53-16,-13-27 0,-27-39 15,0-27 1,13-13-16</inkml:trace>
  <inkml:trace contextRef="#ctx0" brushRef="#br0" timeOffset="1664.99">5490 437 0,'27'13'46,"25"-13"-46,54 13 16,27-13-16,78 26 16,14-26-16,-53 0 15,119 0-15,66 0 16,331 0-16,-225 0 16,-26 0-16,-186 0 15,252 0-15,-186 0 16,14 0-16,-79 0 15,-1 0-15,40 0 16,-119 0-16,-13-13 16,-14 0-16,14 0 15,26 0 1,-26-1-16,-80 1 16,67 0-16,-40 13 0,92-13 15,-79-1-15,13 14 16,-13-13-16,-13 13 15,27-13-15,-67 13 16,13-13 0,-39 13-16,-1-13 15,-25 13 48,-14 13-32,0 13-15,0 27-16,13 26 15,0 14-15,0 13 16,14 13-16,26 66 16,-40-39-16,27-54 15,-27 41-15,27 12 16,26 120-1,-53-212-15,-13-40 16,0 13-16,-26-12 109,-67-1-93,0 13-16,-79-13 16,-39 1-16,-120 12 15,-39-13-15,-107 14 16,-92-27-16,-79 0 16,-132 0-16,131 0 15,41 0-15,26 53 16,66-27-16,-132-26 15,185 0-15,66 0 16,79 0-16,54 0 16,-1-26-16,159 26 15,14-13 1,12 13-16,27 0 16,0-14-16,27 1 15,13 13-15,-27 0 0,14 0 16,12 0-16,-12 0 15,-1 0-15</inkml:trace>
  <inkml:trace contextRef="#ctx0" brushRef="#br0" timeOffset="7487.71">1323 3638 0,'-13'0'32,"39"13"-17,-13-13-15,14 0 16,-1 0-16,-12 0 0,25 0 16,1 0-16,13 13 0,0-13 0,0 0 15,0 0-15,-1 0 0,28 0 0,-1 0 16,1 0-16,12 0 15,-12 0-15,12 14 0,1-14 0,-1 0 0,1 0 16,13 0-16,-14 0 0,14 0 0,-13 0 16,13 0-16,0 13 0,-14-13 15,1 0-15,13 13 0,-14-13 0,1 0 16,-1 13-16,1-13 0,-14 14 0,1-14 16,-1 0-16,1 13 0,65 0 15,-66-13-15,-26 0 16,0 0-16,0 13 0,0-13 0,0 0 15,0 14-15,0-14 0,-14 0 0,14 0 16,-13 13-16,13-13 0,-13 0 16,-1 0-16,-12 13 0,13-13 0,-14 0 15,0 0-15,14 0 0,-13 0 0,-1 0 16,-13 0-16,14 0 0,-1 0 16,1 0-16,-14 0 0,13 0 0,-12 0 15,12 0-15,-13 0 0,1 0 16,-1 0-16,0 0 0,0 0 0,0 0 15,1 0-15,-1 0 0,0 0 16,0 0-16,1 0 0,-1 0 0,0 0 16,0 0-16,0 0 15,1 0-15,-1 0 0,0-13 0,0 13 16,14 0-16,-14 0 0,0 0 0,1 0 16,-1 0-16,13 0 0,-13 0 0,1 0 15,-1 0-15,0 0 0,0 0 16,14 0-16,-14 13 0,0-13 0,1 0 15,-1 0-15,0 0 0,13 0 0,-12 0 16,-1 0-16,13-13 0,-12 13 16,12 0-16,-13 0 0,14 0 0,-14 0 15,13-13-15,-12 13 0,12 0 16,-13 0-16,1 0 0,12 0 0,-13 0 16,0 0-16,1-14 0,-1 14 15,13 0-15,-12 0 0,-1 0 0,0 0 16,0 0-16,1 0 0,-14-13 15,13 13-15,0 0 0,0 0 0,0-13 16,1 13-16,-1-13 0,0 13 16,0-14-16,1 14 0,-1-13 0,0 0 15,0 13-15,1-13 0,-1-1 16,0 14-16,-13-13 0,13 0 0,0 0 16,1 0-16,-1-1 0,0 1 15,0 0-15,1 0 0,-14-1 0,13 1 16,0 0-16,0 0 0,1-14 15,-1 14-15,0 0 0,0 0 0,0-1 16,1 1-16,-14 0 0,13 0 0,-13-1 16,13 1-16,-13 0 15,13 0-15,-13 0 0,0-1 0,0 1 16,0 0-16,0 0 16,-13-1-16,13 1 0,-13 0 15,0 0-15,-1-1 0,1 1 16,0 0-16,0 0 0,-14 0 15,14-1-15,-13 1 0,-1 0 0,-13-14 16,14 27-16,0-26 0,-1 13 16,1-1-16,-14 1 0,13 0 0,-12 0 15,12 0-15,-12-1 0,-1 1 0,13 0 16,-12 0-16,-1 13 0,0-14 0,1 1 16,-1 0-16,0 0 0,1 13 15,12-13-15,-12-1 0,12 14 0,-13-13 16,14 0-16,-1 0 0,-12 13 0,12-14 15,-12 1-15,-1 0 0,0 0 16,-52-14-16,-1 1 16,40 26-16,-66-40 15,66 27-15,-79-14 0,79 14 16,-13 0-16,0 13 0,-1-13 16,15-1-16,-1 14 0,0-13 0,0 13 15,0 0-15,-26-13 0,26 13 0,-14 0 16,1 0-16,0-13 0,0 13 15,0 0-15,13 0 0,0 0 16,-13 0-16,13 0 0,-13 0 0,13 0 0,-13-13 16,13 13-16,-53 0 0,53 0 15,0-14-15,-53 14 16,67 0-16,-14-13 0,0 13 0,0 0 16,0 0-16,0-13 0,0 13 0,0 0 15,0 0-15,0-13 16,1 13-16,-1 0 0,0 0 0,13 0 15,0 0-15,1 0 0,-1 0 0,0 0 16,-13 0-16,14 0 0,-14 0 0,26 13 16,-12-13-16,12 0 0,1 13 15,-14-13-15,0 13 0,14-13 0,-1 14 16,1-14-16,-1 13 0,1-13 0,-14 13 16,1 0-16,12 0 0,14 1 15,-14-1-15,1-13 0,0 26 16,-1-12-16,14-1 0,-14-13 0,1 13 15,13 0-15,-14 1 0,14-1 0,-13 0 16,12 0-16,-12 0 0,13-13 16,-14 14-16,14-1 0,0 0 0,0-13 15,-14 13-15,14 1 0,0-14 0,-1 13 16,1 0-16,0-13 0,0 13 0,-1-13 16,1 14-16,0-1 0,0-13 15,0 13-15,-1 0 0,1-13 0,0 13 16,0 1-16,-1-14 0,1 13 0,0 0 15,13 0-15,-13 1 0,-1-14 16,1 13-16,0 0 0,13 13 0,-13-12 16,0-1-16,13 0 0,-14 0 0,1 1 15,13-1-15,-13 13 0,13-12 16,-13-1-16,13 0 0,-14 13 16,14-12-16,-13-1 0,13 13 0,0-12 15,0 12-15,0-13 0,0 1 0,0 12 16,0-13-16,0 0 0,0 14 0,0-14 15,0 0-15,13 14 0,-13-14 16,14 0-16,-14 0 0,13 1 16,0-1-16,-13 0 0,13 0 0,1 1 0,-1-1 15,0 0-15,0 0 0,0-13 16,1 14-16,-1-14 16,0 13-16,0-13 0,1 13 0,-1-13 0,0 0 15,0 13-15,1-13 0,-1 13 0,0-13 16,0 14-16,0-14 15,1 13-15,-1-13 0</inkml:trace>
  <inkml:trace contextRef="#ctx0" brushRef="#br0" timeOffset="14254.76">14407 3704 0,'-27'0'16,"14"0"-16,13-13 16,13 0 15,14 13-31,-1-14 15,14 1-15,-1 0 0,1 0 16,13 0-16,13-14 0,0 14 16,0-14-16,1 14 0,-1-13 0,0 12 15,-13 1-15,0-13 0,0 13 0,-14 13 16,-12-14-16,12 1 0,-25 13 16,-1-13-16,0 13 0,0 0 15,1-13-15,-1 13 0,0 0 0,-13-14 0,13 14 16,-13-13-16,0 0 31</inkml:trace>
  <inkml:trace contextRef="#ctx0" brushRef="#br0" timeOffset="14588.77">15094 3281 0,'0'-13'0,"27"13"31,-14 0-15,14 13-16,-14-13 0,0 0 0,14 13 15,-14-13-15,13 13 0,1 1 16,-14-1-16,13 0 0,1 0 15,-1 0-15,1 14 0,-14-14 0,0 0 16,0 1-16,1 12 0,-14-13 0,13 0 16,-13 1-16,0-1 0,0 0 15,0 0-15,0 1 0,-13-1 0,13 13 16,-14-12-16,1-1 0,0 0 0,0 0 16,-14 0-16,14 1 0,0-1 0,0 0 15,-1-13-15,1 13 0,0 1 16</inkml:trace>
  <inkml:trace contextRef="#ctx0" brushRef="#br0" timeOffset="17342.89">16179 2355 0,'0'-13'0,"13"-1"15,1 28 1,-14-1-1,0 0-15,0 0 0,13 53 16,-13-39-16,0 13 16,13-14-16,-13 0 0,0 14 15,0-27-15,0 1 16,0 12-16,0-13 0,0 1 0,0-1 16,0 0-16,13-13 0,-13 13 15,14-13-15,12-13 16</inkml:trace>
  <inkml:trace contextRef="#ctx0" brushRef="#br0" timeOffset="17670.74">16457 2461 0,'0'0'0,"13"-27"0,-13 14 16,-13 39 15,13-12-15,0-1-16,0 0 0,0 14 15,0-14-15,0 0 0,0 13 16,13-12-16,-13-1 16,27 13-16,-14-12 0,13-1 15,-12-13-15,-1 0 0,0 0 16,0 0-16,1 0 0,-1-13 0,0 13 16,-13-14-16,13 1 0,-13 0 0,14-14 15,-14 1-15,13 13 0,-26 0 16,13-1-16,0 1 0,-14 0 15,14 0-15,-13-1 0,0 1 16,0 0-16,-1 13 0,1 0 0,0 0 16,-14 0-16,14 0 0,0 0 15,0 13-15,0-13 0,-1 13 0,1-13 16,13 14-16</inkml:trace>
  <inkml:trace contextRef="#ctx0" brushRef="#br0" timeOffset="18917.83">17052 2355 0,'-26'-13'0,"13"13"0,-1 0 16,1 0-16,13 13 0,-13-13 0,0 13 15,0-13-15,13 13 16,-14 0-16,-12 14 0,26-14 0,-13 0 16,-1 14-16,14-14 0,0 0 15,0 1-15,0-1 16,14-13-16,-14 13 0,13 0 16,0-13-16,0 0 15,14 0-15,-14-13 0,0 0 16,0 0-1,1-1-15,-1 1 0,0 0 0,-13 0 0,13 13 16,1-14-16,-14 1 0,13-13 16,0 26-16,-13-14 15,13 1 1,-13 40 15,0-14-31,0 0 0,0 0 16,0 1-16,0-1 15,0 0-15,14-13 0,-14 13 0,13 1 16,0-1 0,0-13-16,0 0 15,1 0-15,-1 0 0,0 0 0,0 0 16,14 0-16,-14-13 0,0-1 16,1 14-16,-1-13 0,0 0 0,0 13 15,0-13-15,1-1 0,-1 14 0,-13-13 16,13 13-16,-13-13 0,13 13 15,-13-13-15,14 13 0,-14-14 16,13 14-16,-13-13 16,0 26 46,-13 1-62,13-1 16,0 0-16,0 0 15,0 1-15,-14-1 0,28-13 16,-14 13-16,0 0 0,13 1 16,0-1-1,0-13-15,0 0 0,1 0 16,-1 0-16,0 0 0,0 0 0,1 0 16,-1 0-16,0-13 0,0 13 15,1-14-15,-1 14 0,0-13 16,0 0-16,0 0 0,1-1 15,-14 1-15,13 0 0,-13 0 16,0-1 0,13 14-16,-13-13 15,-13 26 32,13 1-31,0-1-16,0 0 15,0 0-15,13 1 16,-13-1 0,13-13-16,-13 13 15,14-13-15,-1 0 16,0 0-16,0 0 0,1 0 16,12 0-16,-13 0 0,0 0 15,1-13-15,-1 13 0,0-13 16,0 13-16,1-14 0,-1 1 0,0 13 15,-13-13-15,13 13 0,-13-13 0,14 13 16,-14-14-16,-27 28 47,27-1-47,-13-13 0,13 13 16,0 0-16,13 1 15,-13-1 1,13-13-16,1 13 0,-1-13 0,0 0 15,0 13-15,0-13 0,1 0 0,-1 0 16,0 14-16,0-14 16,1 13-16,-28 0 15,1-13-15,0 13 0,0-13 16</inkml:trace>
  <inkml:trace contextRef="#ctx0" brushRef="#br0" timeOffset="19201.55">16748 2897 0,'-13'0'0,"26"0"0,14-13 31,-1 0-31,14 13 0,13-13 0,13-1 16,0 1-16,0 0 0,0-14 0,14 14 15,-14 0-15,13 0 0,-13-1 0,14 1 16,-14 0-16,-13 13 16,0-13-16,-14 13 0,1-13 0,-14 13 15,1 0-15,-14 0 0,0 0 0,1 0 16,-14 13-16,-14 0 16,1-13-16,0 13 15</inkml:trace>
  <inkml:trace contextRef="#ctx0" brushRef="#br0" timeOffset="19416.88">16761 3003 0,'53'0'16,"-26"-13"-16,12 13 15,67-13-15,-40-1 0,1 14 16,-1-13-16,0 0 0,0 13 0,-13-13 15,0-1-15,-14 1 0,14 13 0,-13-13 16,0 0-16,-1 0 0,-12-1 16,-14 1-16,0 13 0,-13-13 0,14 0 15,-14-1-15,0 1 0,-14 0 0,1 0 16</inkml:trace>
  <inkml:trace contextRef="#ctx0" brushRef="#br0" timeOffset="19702.75">16523 2143 0,'40'-13'15,"-27"13"-15,14 0 16,12-13-16,14 13 0,0 0 0,0-14 15,26 14-15,1-13 0,-1 13 16,-13 0-16,14-13 0,-14 13 0,13 0 16,-13-13-16,14 13 0,-27-13 15,0 13-15,-14 0 0,1 0 0,-14 0 16,1-14-16,-14 14 0,0 0 0,1 0 16</inkml:trace>
  <inkml:trace contextRef="#ctx0" brushRef="#br0" timeOffset="19939.33">16947 2209 0,'79'0'15,"-53"-13"-15,14 13 16,13 0-16,-13 0 0,13 0 15,-14-13-15,14 13 0,-13 0 0,13-13 16,-14 13-16,1 0 0,-13 0 0,12-14 16,-12 14-16,-1 0 0,14-13 15,-14 13-15,1 0 0,-1 0 0,1 0 16,-1-13-16,1 13 0,-1 0 0,1 0 16,-1 0-16</inkml:trace>
  <inkml:trace contextRef="#ctx0" brushRef="#br0" timeOffset="20184.77">18600 2037 0,'13'40'31,"-13"-14"-31,0 1 0,0-1 15,0 1-15,0 12 0,0 1 0,0 0 16,0 0-16,0-14 0,0 14 16,-13 13-16,13-27 0,0 1 15,0-1-15,0 0 0,-13-12 16,13 12-16,0-13 0,-13 1 0,13-1 16</inkml:trace>
  <inkml:trace contextRef="#ctx0" brushRef="#br0" timeOffset="20387.79">18508 2130 0,'0'0'0,"-14"26"16,14 1-16,0-14 15,0 13-15,-13 1 0,13-1 0,0 14 16,0-13-16,0-1 0,13 0 15,-13 1-15,0-1 0,0 1 0,0-1 16,0 1-16,0-14 0,-13 13 0,13-12 16,-13-1-16</inkml:trace>
  <inkml:trace contextRef="#ctx0" brushRef="#br0" timeOffset="20967.41">15822 2275 0,'0'0'0,"13"53"31,-13-26-31,0-1 16,0 14-16,0 13 0,0-13 0,0 12 15,0 1-15,-13 0 0,13-13 0,0 13 16,0-13-16,-13 13 0,13-14 16,0-12-16,-13-1 0,13-13 0,0 14 15,0-14-15,0 0 0,0 0 16</inkml:trace>
  <inkml:trace contextRef="#ctx0" brushRef="#br0" timeOffset="21139.69">15968 2474 0,'0'-27'0,"0"54"0,13-67 16,-26 80-1,-1-14-15,14 14 0,-13 0 16,0-14-16,13 27 0,-13-13 0,13-1 15,-14 14-15,14-13 0,0 13 16,0-13-16,0 13 0,0-14 16,0-12-16,0-1 0</inkml:trace>
  <inkml:trace contextRef="#ctx0" brushRef="#br0" timeOffset="21739.98">18865 2275 0,'53'-13'15,"-40"13"-15,13 0 16,1 0-16,-1 0 0,1 0 0,12 0 16,-12 0-16,13-13 0,-1 13 0,-12 0 15,-1 0-15,1 0 0,-1 0 16,1 0-16,-14 0 0,0 0 0,0 0 15,1-13-15,-1 13 0,0 0 0</inkml:trace>
  <inkml:trace contextRef="#ctx0" brushRef="#br0" timeOffset="22015.13">19248 2117 0,'40'0'0,"66"26"31,-80-13-31,1 1 16,-1-1-16,1 0 0,-1 0 0,-13 0 16,14 1-16,-14-1 0,0 0 0,1 0 15,-14 1-15,0-1 0,0 0 16,0 0-16,0 1 0,-14 12 15,1-13-15,-40 40 0,27-40 16,-1 14-16,14-14 0,-13 14 0,-1-14 16</inkml:trace>
  <inkml:trace contextRef="#ctx0" brushRef="#br0" timeOffset="22718.85">20055 1958 0,'-13'-13'15,"26"39"1,-13-13-1,14 1-15,-14-1 0,0 0 0,0 14 16,13-14-16,-13 13 0,0-13 16,0 14-16,0-1 0,0-12 0,0 12 15,0-13-15,0 0 0,0 14 0,0-14 16,0 0-16,0 1 0,0-1 16,-13-13-16,13 13 0,0 0 15</inkml:trace>
  <inkml:trace contextRef="#ctx0" brushRef="#br0" timeOffset="23035.93">20002 1998 0,'0'-14'0,"0"28"0,14-41 15,-1 14-15,-13 0 0,13 13 16,0-14-16,1 14 0,-1 0 16,0 0-16,0 0 0,14 0 0,-14 0 15,0 0-15,14 14 0,-14-1 0,0-13 16,0 13-16,1 0 0,-1-13 16,-13 14-16,0-1 0,0 0 15,0 0-15,0 1 0,0-1 16,-13 0-16,-1 0 0,1 0 15,0 1-15,0-1 0,-1-13 16,1 13-16,0-13 0,13 13 0,-13-13 16,0 14-16,-1-14 15</inkml:trace>
  <inkml:trace contextRef="#ctx0" brushRef="#br0" timeOffset="23358.8">20346 2077 0,'-13'53'31,"0"-40"-31,13 0 0,0 1 16,0-1-16,13 0 16,-13 0-16,13 0 0,1 1 15,-1-14-15,0 13 0,0-13 0,1 0 16,25 0-16,-25 0 0,-1 0 15,0-13-15,0-1 16,0 1-16,1 0 0,-14 0 16,0 0-16,0-1 0,0 1 15,-14 0-15,14 0 16,-13 13-16,0 0 0,0-14 0,0 14 16,-14 0-16,14 0 0,0 0 0,-14 0 15,14 0-15,0 0 0,-1 0 0,1 0 16,0 0-16,13 14 0,-13-14 15,0 0-15</inkml:trace>
  <inkml:trace contextRef="#ctx0" brushRef="#br0" timeOffset="23885.11">20532 1945 0,'0'0'0,"0"-14"31,13 41-31,-13-14 16,0 0-16,0 1 0,0 12 16,0-13-16,0 14 0,0-14 0,0 13 15,0 1-15,0-14 0,0 14 0,0-14 16,0 13-16,0-13 0,0 14 16,0-14-16,0 0 0,0 1 15,0-1-15,-13 0 0,13 0 0,0 1 16,0-1-16,0 0 15,0 0 1,-14-39 15,14 13-31,0-14 16,14 14-16,-14-14 0,0 1 0,13-14 16,-13 1-16,13-1 0,-13 0 0,13 14 15,-13 13-15,14-14 0,-14 14 16,13 0-16,-13-1 0,13 1 0,0 0 15,14 13 1,-27 13-16,13-13 0,0 13 16,-13 1-16,13-14 0,-13 13 15,0 0-15,0 0 0,0 1 0,0-1 16,0 0-16,-13 0 0,0 0 16,0 14-16,0-14 0,-1 0 15,1-13-15,0 14 0,0-1 0,-14 0 16,14-13-16,0 13 0,-1-13 0,1 13 15,0-13-15</inkml:trace>
  <inkml:trace contextRef="#ctx0" brushRef="#br0" timeOffset="25163.92">20783 2037 0,'0'0'0,"0"14"47,-13-1-47,13 0 16,0 0-16,-13-13 0,13 13 15,0 1-15,0-1 0,0 0 16,13-13-1,0 0 1,0 0-16,0-13 16,1 0-16,-1 13 0,0-14 15,-13 1-15,13 13 0,1-13 0,-1 0 16,0 13 0,0 0-1,-13 13-15,14-13 16,-14 13-16,13 0 0,0-13 15,-13 14-15,13-14 16,0 0-16,1 0 16,-1 0-16,0 0 0,-13-14 15,13 1-15,1 0 16,-1 0-16,-13 0 0,13-14 0,0 1 16,1-14-16,-1 13 0,0-12 0,0 12 15,-13 14-15,13-13 0,-13 12 0,0 1 16,0 0-16,0 0 0,14-1 15,-28 41 17,1-1-32,13 1 0,-13-14 0,13 14 15,0-1-15,-13-13 0,13 14 16,0-14-16,13 13 0,-13-12 0,0 12 16,13-13-16,-13 1 0,13-1 0,1 0 15,-1 0-15,0-13 16,14 13-16,-14-13 0,0 0 0,0 0 15,0 0-15,14 0 0,-14 0 0,0 0 16,1-13-16,-1 13 0,0-13 0,0 0 16,1 0-1,-14-1-15,-27 28 32,14-14-17,0 13-15,-1 0 16,1-13-16,13 13 0,-13-13 15,13 13-15,0 1 0,0-1 16,13-13 0,14 0-1,-14 0 1,13 0-16,-12 0 16,-1 0-1,0 0-15,0 0 16,0-13-16,1 13 0,-1 0 15,-13-14-15,13 14 0,-13-13 0,13 0 16,1 0-16,-1 0 0,-13-14 16,13 1-16,0-14 0,1 13 0,-1-12 15,0-1-15,0 14 0,-13-14 16,13 27-16,-13-1 0,14-12 0,-14 13 16,13 0-16,0 26 31,-13 13-31,0-13 0,0 14 15,0-14-15,0 14 0,0-1 0,0 1 16,0-14-16,0 13 0,0 1 16,0-14-16,0 13 0,0-12 0,0-1 15,-13 0-15,13 0 0,0 1 0,-13-1 16,13 0-16,-14-13 16,14 13-16,-13-13 0,0 0 15,0 0-15,13-13 31,0 0-31,13 0 16,-13-1-16,13 14 0,0-13 0,1 0 16,-1 0-16,0 13 0,14-14 0,-14 1 15,0 13-15,0-13 0,1 13 0,-1 0 16,0 0-16,0 0 16,0 0-16,1 13 0,-1 0 15,-13 1-15,13-1 16,-13 0-16,0 0 15,-13 1-15,13 12 16,-13-13-16,13 0 16,-14 1-16,14-1 15,-13-13 1</inkml:trace>
  <inkml:trace contextRef="#ctx0" brushRef="#br0" timeOffset="25296.93">21894 1945 0,'-13'-14'31</inkml:trace>
  <inkml:trace contextRef="#ctx0" brushRef="#br0" timeOffset="25699.01">22066 1958 0,'0'13'0,"0"0"16,-13-13-16,13 14 0,0-1 16,0 0-1,0 0-15,13-13 16,0 0-1,1-13 1,-1 0-16,0 0 16,0-1-16,1 1 0,-14 0 0,13 0 15,-13-1-15,13 1 0,-13 0 0,13 13 16,-13-13-16,0 0 16,14 39 15,-14-13-31,13 0 15,-13 1 1,13-1-16,-13 0 16,13-13-1,-13 13 1,13-13-16,1 0 16,-1 0-1</inkml:trace>
  <inkml:trace contextRef="#ctx0" brushRef="#br0" timeOffset="26200.01">22463 1892 0,'27'-13'31,"-14"13"-31,0 0 0,0 0 16,0 0-16,14 0 0,-14 0 16,0 0-16,14 0 0,-14 0 0,0 0 15,1 0-15,12 0 0,-13 0 0,0 0 16,1 0-16,-1 0 16,0 0-16,0 0 15</inkml:trace>
  <inkml:trace contextRef="#ctx0" brushRef="#br0" timeOffset="26479.89">22582 1693 0,'0'0'0,"0"-13"16,27 13-16,-14 0 0,0 13 15,0-13-15,14 14 0,-14-14 16,13 13-16,1 13 0,-14-13 0,14 1 16,-1 12-16,-13-13 0,1 1 0,-1 12 15,0-13-15,-13 1 0,13 12 16,-13-13-16,0 0 0,0 1 0,0-1 16,0 0-16,-13 0 0,13 1 0,-13-1 15,0 0-15,-1 0 0,14 1 16,-13-1-16,0 0 0,0-13 15,-1 13-15</inkml:trace>
  <inkml:trace contextRef="#ctx0" brushRef="#br0" timeOffset="28443.71">23336 1349 0,'-13'27'16,"0"-14"-16,0 0 15,-1 1-15,1 25 0,0-12 0,-14-1 16,27 1-16,-13-14 0,0 13 0,13-12 15,0-1-15,0 0 16,0 13-16,0-12 0,0-1 16,13 0-16,0 0 0,1-13 15,-1 0-15,0 0 0,0 0 16,14 0-16,-14-13 0,0 13 0,27-26 16,-27 26-16,0-14 0,1 1 15,-1 0-15,0 0 0,0 0 16,-13-1-16,14 14 0,-14 14 47,0-1-47,0 0 15,0 0-15,13-13 0,-13 13 16,13-13-16,0 14 0,0-14 0,1 13 16,-1-13-16,0 0 0,0 0 0,1 0 15,-1 0-15,0-13 0,0 13 16,1-14-16,-1 1 0,-13 0 15,0 0-15,0 0 0,0-1 16,0 1-16,0 0 0,-13 13 16,13-13-16,-14-1 0,1 14 15,0-13-15,0 13 0,-1 0 0,1 0 16,0 0-16,0 0 0,-1 13 16</inkml:trace>
  <inkml:trace contextRef="#ctx0" brushRef="#br0" timeOffset="28714.88">23707 1482 0,'13'26'31,"0"-13"-16,-13 1-15,0-1 0,13 0 0,-13 0 16,0 1-16,0-1 16,0 0-16,0 0 15,0 0-15,0 1 16,-13-14-16,0 13 16,0-13-1,-1 0-15</inkml:trace>
  <inkml:trace contextRef="#ctx0" brushRef="#br0" timeOffset="28930.32">23984 1244 0,'14'-27'31,"-28"54"-31,14-14 16,0 13-16,-13-13 0,13 14 15,-13-1-15,13-12 0,-13 12 0,13 1 16,-13-1-16,13 0 0,0 1 16,0-1-16,0-12 0,0 12 0,0-13 15,0 14-15,0-1 0,13-13 16,-13 1-16,13-1 0</inkml:trace>
  <inkml:trace contextRef="#ctx0" brushRef="#br0" timeOffset="29145.77">23839 1468 0,'13'-13'15,"0"13"-15,1 0 0,-1 0 16,0 0-16,0 0 0,1 0 15,-1 0-15,0 0 0,13 0 0,-12 0 16,-1 0-16,0 0 0,14-13 16,-14 13-16,0 0 0</inkml:trace>
  <inkml:trace contextRef="#ctx0" brushRef="#br0" timeOffset="29751.78">24342 1124 0,'0'0'16,"-14"0"-16,1 14 16,13-1-16,-13 0 0,13 0 0,-13 1 15,0-1-15,13 13 0,-14-12 16,14 12-16,-13-13 0,13 14 0,0-14 16,-13 13-16,13-12 0,0-1 15,0 0-15,13 14 0,-13-1 16,13-26-16,-13 13 0,0 0 15,14 1-15,-1-1 0,0-13 16,0 0 0,0 0-1,1 0 1,-1 0 0,-13 13-1,13-13 1,0 0-1,1 0-15,-1 0 16,-13-13-16,13 13 16,0 0-16,1 0 15,-1 0-15,0 13 16,-13 0-16,13 1 0,-13-1 16,0 0-16,0 0 0,0 14 15,-13-14-15,13 13 0,0-12 0,-13 12 16,0-13-16,13 14 0,-14-14 0,14 0 15,0 0-15,-13-13 0,13 14 16,0-1-16,-13-13 0,13 13 16,13-39 15,0 12-31,-13-12 0,14 13 16,-1 0-16,0-14 0,0 14 0,0-14 15,1 14-15,-1 0 0,-13 0 16,-27 26-1,14 0 1,-13 0-16,-1 14 0</inkml:trace>
  <inkml:trace contextRef="#ctx0" brushRef="#br0" timeOffset="30283.14">23865 2262 0,'-26'13'15,"13"-13"1,-1 0-16,1 0 16,0 0-16,0-13 0,0 13 15,13-13-15,-14 0 0,14-1 16,0 1-16,0-13 0,0 13 16,14-14-16,-1 1 0,0-14 0,13 14 15,-12-1-15,-1 1 0,13 12 0,-12-12 16,-1 26-16,-13-13 15,13-1-15,0 14 0,-26 27 32,0-14-32,-14 0 0,1 14 15,-1-14-15,-12 14 0,12-14 0,-12 0 16,12 13-16,1-12 0,13-14 0,-1 13 16,1 0-16,0-13 0,13 13 0,-13-13 15,13 14 1,13-14-16,27-14 15,-1 14-15,1-13 0,39 0 16,-39 0-16,0 13 0,-14-14 16,1 14-16,-1-13 0,0 13 15,-12 0-15,-1 0 0</inkml:trace>
  <inkml:trace contextRef="#ctx0" brushRef="#br0" timeOffset="30828.76">22834 2461 0,'0'0'0,"26"0"16,-13 0 0,14-14-16,-14 14 0,13-13 15,1 13-15,-1-13 0,-12 0 0,12 13 16,-13-14-16,14 1 0,-14 0 16,0 0-16,-13 0 0,13 13 0,-13-14 15,14 1-15,-1 0 0,-40 26 31,27 0-31,-13 1 16,0 12-16,-14 0 0,14 1 0,-13-1 16,13 14-16,-1-13 0,1-1 0,0 14 15,0-14-15,-1-13 0,14 14 16,0-14-16,0 14 0,-13-14 16,26 0-16,-13 0 0,0 0 15,14-13-15</inkml:trace>
  <inkml:trace contextRef="#ctx0" brushRef="#br0" timeOffset="31008.88">23244 2593 0,'-14'13'32,"1"0"-17,-13 40 1,13-39-1,13-1-15,-14 0 0,14 0 0,-13 0 16,13 1-16</inkml:trace>
  <inkml:trace contextRef="#ctx0" brushRef="#br0" timeOffset="31162.69">23191 2500 0,'0'0'0,"-13"0"0,13-13 16,-14 26-16,1-13 15</inkml:trace>
  <inkml:trace contextRef="#ctx0" brushRef="#br0" timeOffset="31618.86">23230 2553 0,'0'0'0,"14"13"0,-1 1 16,-13-1-16,0 0 15,0 0-15,0 1 16,0-1 0,0 0-1,13-13 1,0 0-1,1 0 1,-14-13-16,13 13 16,0 0-1,0 0 1,-13 13 0,13-13 15,1 0 0,-1 0-31,0-13 16,0 13-1,1 0 1,-1 0 0,0 0-1,0 0-15,1 0 16,-1 13-16,0-13 15,0 0-15</inkml:trace>
  <inkml:trace contextRef="#ctx0" brushRef="#br0" timeOffset="31907.03">23746 2646 0,'0'0'0,"0"-27"0,14 14 15,-28 13 17,1 13-17,0-13 1,0 14-16,13-1 0,-14 0 15,14 0-15,0 1 16,0-1-16,14 0 0,-1-13 16,0 13-16,0-13 15,1 0-15</inkml:trace>
  <inkml:trace contextRef="#ctx0" brushRef="#br0" timeOffset="32607.01">24315 2408 0,'-53'13'31,"40"0"-31,0-13 0,13 13 16,-13-13-16,-1 14 0,14-1 0,-13 0 15,13 0-15,0 1 0,0-1 16,0 0-1,13 0-15,1-13 16,-1 0-16,0 0 16,0 13-16,1-13 15,-1 0 1,-13 14-16,13-14 0,0 0 16,-13 13-16,13-13 15,1 0-15,-1 0 16,0 0-16,0 0 15,1-13-15,-1 13 16,0-14-16,0 14 16,-13-13-16,14 13 15,-14-13-15,13 13 16,13 0 15,-26 13-31,13-13 16,-13 13-16,14-13 15,-14 14-15,13-14 0,0 13 32,0-13-32,1 0 15,-1 0 1,0 0-16,0 0 16,0-13-16,1 13 15,-1-14-15,0 14 0,0-13 16,1 13-16</inkml:trace>
  <inkml:trace contextRef="#ctx0" brushRef="#br0" timeOffset="33027.73">24897 2315 0,'0'-13'0,"0"26"0,0-39 16,-26 39 15,26 0-15,0 0-16,-13 1 0,13 12 0,-14-13 15,14 0-15,-13 14 0,0-14 16,13 0-16,-13 14 0,13-14 0,0 0 16,0 14-16,-14-14 0,14 0 15,0 0-15,-13 1 0,13-1 16,0 0-1,-13-13-15,13 13 16,13-39 47,0 13-63,1 13 0,-1 0 0,13-14 15,-12 14-15,-1-13 0,13 13 0,-12 0 16,-1 0-16,0-13 0,27 13 15,-27 0-15,0 0 16,0-13-16,1 13 0</inkml:trace>
  <inkml:trace contextRef="#ctx0" brushRef="#br0" timeOffset="36184.66">2236 4961 0,'-14'0'0,"1"-13"31,53 13-15,-27 0-16,14 0 0,-14 0 0,27 0 16,-14 0-16,27 0 0,0 13 0,-13-26 15,12 26-15,1-13 0,-13 0 16,13 0-16,-13 0 0,-1 0 15,-12 0-15,13 0 0,-14 0 0,0 0 0,1 0 16,-1 0-16,1 0 0,-1 0 16,-13 0-16,14 0 0,-14 0 15,0 0-15,1 0 0,-1 0 16,-13 13-16,-13-13 31,-1 13-31,1-13 0,-13 0 0,-1 14 16,1-14-16,-27 13 0,26-13 0,-39 13 15,0 0-15,13 1 0,-13-1 0,13-13 16,13 13-16,1-13 0,12 13 16,1-13-16,-1 0 0,14 13 0,0-13 15,0 0-15,-1 0 0,1 0 0,0 0 16,53 0 15,-27 0-31,13 0 0,1 0 16,13 0-16,-14 0 0,14 0 15,13 0-15,-14 0 0,1 0 0,0 0 16,-14 0-16,14 0 0,-14 0 0,14 0 16,-14 0-16,1 0 0,-14-13 15,14 13-15,-14 0 0,0 0 0,0 0 16,0 0-16,1 0 0,-1 0 0,0 0 16,0 0-16,1 0 15,-1 0-15,-26 13 94</inkml:trace>
  <inkml:trace contextRef="#ctx0" brushRef="#br0" timeOffset="45046.04">3612 5424 0,'0'-13'0,"-14"0"16,14-1-1,-13 14 1,13-13 0,-13 40-1,13-14-15,0 0 16,0 13-16,-13-12 0,13 12 0,0 1 16,0-1-16,-14-13 0,14 14 0,0-1 15,0 1-15,-13-14 16,13 13-16,0-12 0,0 12 0,0-13 15,0 0-15,0 1 0,0-1 0,0 0 16,0 0-16,0 1 16,0-1-1</inkml:trace>
  <inkml:trace contextRef="#ctx0" brushRef="#br0" timeOffset="46191.78">3559 5411 0,'0'-13'0,"13"13"16,-13-14-16,13 14 0,0 0 0,1 0 16,-1-13-16,13 13 0,1-13 0,-1 13 15,1-13-15,92-1 16,-80 14-16,28-13 15,-28 13-15,-12 0 0,-1 0 0,1-13 16,-14 13-16,13 0 0,-12 0 16,-1 0-16,13 0 0,-13 0 0,1 0 15,-1 0-15,0 0 0,14 0 16,-14 0 0,0 0-16,0 0 15,0 13 1,-13 0-16,14 1 15,-14-1-15,13 0 16,-13 0-16,0 14 0,0-14 0,0 13 16,0-12-16,0 12 0,13-13 0,-13 14 15,0 12 1,0-12-16,13-14 0,-13 27 16,0-14-16,0-12 0,14 12 15,-14-13-15,0 0 0,0 1 16,13-14-16,-13 13 0,0 0 15,0 0-15,0 1 32,-13-14-17,13 13-15,-14-13 16,1 0-16,0 0 0,0 0 16,-1 0-16,1 0 0,-13 13 15,13-13-15,-14 0 0,1 0 0,-1 0 16,14 0-16,-27 13 0,27-13 0,-13 0 15,-1 0-15,1 0 0,-14 0 16,27 14-16,-14-14 0,1 0 0,-1 0 16,1 0-16,13 13 0,-14-13 0,14 0 15,0 0-15,0 0 0,-14 0 16,14 0-16,0 13 0,-1-13 16,1 0-16,0 0 0,0 0 15,-1 0 1,1 0-16,0 13 15,0-13 1,0 0 0,-1 0-1,1 0 48,0 0 109</inkml:trace>
  <inkml:trace contextRef="#ctx0" brushRef="#br0" timeOffset="50467.86">6456 6324 0,'0'0'0,"-13"13"15,26 13-15,0-26 16,-13 13-16,13 1 0,1-1 0,12 0 16,-13 0-16,27 1 0,-14-1 15,1 0-15,13 0 0,-14 1 0,14-1 16,-1-13-16,-12 13 0,26-13 15,-14 0-15,-12 0 0,26 0 0,0 0 16,-14 0-16,14 0 0,0-13 16,0 13-16,-13-13 0,13-1 0,-14 14 15,1-13-15,-13 0 0,12 13 0,-26-13 16,14-1-16,-1 1 0,-12 0 16,-1 13-16,0-13 0,0-1 0,1-12 15,-1 13-15,-13 0 0,13-1 0,-13 1 16,0-13-16,0 12 0,0 1 15,0-13-15,0 12 0,0-12 0,0 13 16,-13 0-16,13-14 0,0 14 0,-13-14 16,-1 14-16,14-13 0,-13 12 0,0 1 15,0-13-15,-1 13 0,1-14 16,0 14-16,-14-14 0,1 14 16,13-13-16,0 13 0,-1-1 0,-12 1 15,13 0-15,-1 0 0,-12-1 0,13 1 16,-1 0-16,1 0 0,0-1 15,-13 1-15,12 13 0,1-13 0,0 0 16,-14 0-16,14 13 0,-13-14 16,13 1-16,-14 13 0,14-13 0,0 13 15,-14-13-15,14 13 0,-27-14 16,27 14-16,0-13 0,0 13 0,-14 0 16,14 0-16,0-13 0,-1 13 0,1 0 15,-13 0-15,12 0 16,1 0-16,0 0 0,0 0 0,0 0 15,-1 0-15,1 0 0,-13 0 0,12 0 16,1 0-16,0 0 0,0 13 16,0-13-16,-1 0 0,1 0 0,0 0 15,0 13-15,-1-13 0,1 0 0,0 0 16,0 14-16,-1-14 0,14 13 16,-13-13-16,0 13 0,0-13 0,0 13 15,13 1-15,-14-14 0,1 13 0,0 0 16,0-13-16,-1 13 0,14 0 0,-13 1 15,0-1-15,0 0 0,-1-13 16,14 13-16,-13 1 0,13-1 16,-13-13-16,0 13 0,13 0 0,-13 1 15,-1-1-15,14 0 0,-13 0 16,0 0-16,13 1 16,-13-1-16,13 0 0,-14 0 15,14 1-15,-13-1 0,13 13 16,0-13-16,-13-13 0,13 14 15,0-1-15,0 0 0,0 0 16,0 1-16,0-1 0,0 0 16,0 0-16,0 1 0,13-1 15,-13 0-15,0 0 0,13 0 16,-13 1-16,0-1 16,0 0-16,14 0 0,-14 1 15,0-1-15,13 0 0,-13 0 16,0 1-16,0-1 15,13-13-15,-13 13 0,0 0 0,0 0 16,13-13-16,-13 14 16,14-1-16,-1-13 15,-13 13-15,13-13 16,0 0-16,0 13 0,14-13 16,-14 0-16,14 14 15,-14-14-15,0 0 16,0 0-16,1 0 0</inkml:trace>
  <inkml:trace contextRef="#ctx0" brushRef="#br0" timeOffset="57295.1">10782 7924 0,'0'-13'0,"0"53"31,0-27-31,-13 13 16,13-12-16,0-1 0,0 13 0,-14-12 15,14 12-15,0-13 0,-13 14 16,13-14-16,0 0 0,0 0 16,0 1-16,-13-1 0,26-26 46,0-1-46,-13 1 0,14 0 16,-14-14-16,13 14 0,0 0 16,0-13-16,0 12 0,1 1 15,-1 0-15,0 0 0,0-1 16,1 14-16,-1-13 0,13 13 16,-26 13-16,14-13 15,-14 14-15,13-14 0,-13 13 0,13-13 16,-13 13-16,0 0 0,0 1 0,13-1 15,-13 0-15,0 0 16,0 0-16,0 1 16,0-1-16,0 0 0,0 0 15,13-13-15,-13 14 16,14-14-16</inkml:trace>
  <inkml:trace contextRef="#ctx0" brushRef="#br0" timeOffset="57508.9">11218 8030 0,'14'0'0,"-1"-13"0,0 13 16,0 0-16,14 0 15,-1 0-15,1 0 16</inkml:trace>
  <inkml:trace contextRef="#ctx0" brushRef="#br0" timeOffset="57679.89">11205 8176 0,'0'0'0,"40"-14"62,-27 1-62,0 13 0,0 0 16,1-13-16,-1 13 16</inkml:trace>
  <inkml:trace contextRef="#ctx0" brushRef="#br0" timeOffset="58068.8">11906 7924 0,'-26'14'16,"13"-14"-1,-1 13-15,1 0 0,0 0 0,-14 0 16,14 1-16,-13-1 0,13 0 0,-14 0 16,14-13-16,0 14 0,13-1 15,-14-13-15,1 13 0,0 0 16,0-13-16,26 13 31,0-13-31,0 0 0,1 0 16,-1 0-16,13 0 0,-12 0 15,-1 0-15,13 0 0,-13 0 0,14-13 16,-1 13-16,-12 0 0,-1 0 16,0 0-16,0 0 0,14-13 15,-14 13-15,0 0 0,0 0 16,1-13-16</inkml:trace>
  <inkml:trace contextRef="#ctx0" brushRef="#br0" timeOffset="58302.93">11946 7898 0,'-27'26'32,"27"-12"-32,-13-1 0,13 0 15,-13 0-15,13 14 0,-13-14 16,13 0-16,-13 0 0,13 14 0,-14-14 15,14 0-15,-13 0 0,13 14 16,0-14-16,-13 0 0,13 1 0,0-1 16,0 0-16,0 0 15,0 1 1,13-14-16</inkml:trace>
  <inkml:trace contextRef="#ctx0" brushRef="#br0" timeOffset="58634.79">12303 7818 0,'0'-13'16,"-13"40"0,0-14-16,-1 0 0,1 0 15,13 14-15,-13-14 0,0 14 16,0-1-16,13-13 0,0 14 15,-14-14-15,28 13 0,-14-12 0,0-1 16,13 0-16,-13 0 0,13 0 0,0 1 16,0-14-16,14 13 0,-14-13 15,14 0 1,-27-13-16,13 13 0,-13-14 0,13 14 16,-13-13-16,0 0 0,-13 13 15,13-13-15,-13 13 0,-1-13 0,1 13 16,-13 0-16,12 0 0,-12 0 15,0 0-15,-1 13 0,-13 0 16,14 0-16,-1 0 0,1 1 0,0-14 0</inkml:trace>
  <inkml:trace contextRef="#ctx0" brushRef="#br0" timeOffset="60527.71">11007 8956 0,'-40'40'31,"27"-14"-31,0-12 16,-1 12-16,-12 0 0,13 1 15,-14-1-15,14 1 0,-14-1 0,14 1 16,-13-1-16,13-13 0,-1 14 16,1-14-16,13 0 0,-13 1 0,0-1 15,-1 0-15</inkml:trace>
  <inkml:trace contextRef="#ctx0" brushRef="#br0" timeOffset="60743.55">10755 9062 0,'27'0'15,"-14"13"-15,0 0 16,0 1-16,1-1 0,-1 0 16,0 0-16,-13 1 0,13-1 15,1 0-15,-14 0 0,13 1 0,-13-1 16,13 0-16,0 0 0,-13 0 15,14-13-15,-14 14 0</inkml:trace>
  <inkml:trace contextRef="#ctx0" brushRef="#br0" timeOffset="61054.52">10742 8877 0,'0'0'0,"53"-13"16,-40-1 0,0 14-16,14 0 0,-14 0 15,14 0-15,-14 0 0,13 0 0,-12 0 16,12 0-16,0 0 0,14 14 16</inkml:trace>
  <inkml:trace contextRef="#ctx0" brushRef="#br0" timeOffset="61318.15">11443 9102 0,'27'0'31,"-14"13"-15,0-13-16,14 0 16,-14 0-16,0 0 0</inkml:trace>
  <inkml:trace contextRef="#ctx0" brushRef="#br0" timeOffset="61532.98">11377 9300 0,'27'0'16,"-1"0"-1,-13 0-15,0-13 0,1 13 16,-1 0-16,0 0 0,-13-13 0,13 13 16,1 0-16,-1-14 0,0 14 15,0 0-15</inkml:trace>
  <inkml:trace contextRef="#ctx0" brushRef="#br0" timeOffset="62792.53">12211 8916 0,'-27'-13'15,"1"13"1,12 0 0,1 0-1,0 0-15,0 13 16,13 1-1,0-1-15,0 0 0,0 0 0,0 1 16,0-1-16,0 13 0,0-12 0,13-1 16,-13 0-16,0 13 0,13-12 15,-13-1-15,0 0 0,0 0 16,0 1-16,0-1 0,-13 0 0,13 0 16,-13-13-16,13 14 0,-14-14 15,1 0-15,0 13 16,-13-26-16,26-1 31,13 1-31,-13 0 16,13 0-16,0 13 0,0-14 0,1 1 15,12-13-15,-13 12 0,1 1 16,12-13-16,-13 13 0,1-1 16,-14 1-16,13 0 0,-13 0 15,0-1-15,13 1 0,-26 0 16,13 0-16,-13-1 15,-1 14 1,1 0-16,0 0 0,0 0 16,-1 0-16</inkml:trace>
  <inkml:trace contextRef="#ctx0" brushRef="#br0" timeOffset="63116.67">12528 8811 0,'-53'66'31,"53"-53"-31,-13 13 16,0 1-16,-1-1 15,1 1-15,13-14 0,0 14 0,0-14 16,0 0-16,13 27 0,-13-27 15,14 0-15,-1 0 0,0 1 16,0-14-16,1 0 0,-1 0 16,0 0-16,0 0 0,0 0 0,1 0 15,-14-14-15,13 14 0,-13-13 16,0 0-16,-13-14 16,13 14-16,-14 13 0,-12-26 15,13 26-15,0 0 0,-14-13 0,14 13 16,0 13-16,-14-13 0,14 0 15,-14 13-15,1 0 0,0-13 0</inkml:trace>
  <inkml:trace contextRef="#ctx0" brushRef="#br0" timeOffset="65851.08">10782 10213 0,'13'13'109,"-39"-13"282,12 0-391,1 13 15,0-13-15,0 0 0,-1 0 16,1 0-16,0 14 0,0-14 15,-1 0-15,1 0 0,0 13 0,0-13 16,13 13-16,13 0 31,-13 1-31,13-14 0,0 13 0,14 0 16,-14-13-16,0 13 0,14 0 0,-14-13 16,0 14-16,1-1 0,-1-13 15,0 13-15,0 0 0,0 1 16,-13-1-16,0 0 0,0 0 15,-13 1-15,13-1 16,-13-13-16,0 13 0,-14 0 0,14 0 16,0-13-16,-14 14 0,14-14 15,0 13-15,-14-13 0,14 0 0,0 13 16,0-13-16,0 0 16,-1 0-16,1 0 0,0 0 15,39-13 1,-12 13-1</inkml:trace>
  <inkml:trace contextRef="#ctx0" brushRef="#br0" timeOffset="66543.58">10967 10372 0,'-13'-14'31,"13"41"-15,0-14-16,0 14 16,0-14-1,0 0-15,0 0 0,0 1 16,0-1-1,0 0-15,0-39 47,0 12-47,-13 1 0,13 0 16,13 0-16,-13-1 0,0 1 16,0 0-16,13-14 0,-13 14 0,13 0 15,0 0-15,1 0 0,-1-1 16,0 14-16,0 0 15,1 0-15,-1 0 0,0 14 16,0-14-16,0 13 0,1-13 0,-14 13 16,13 0-16,0 0 0,-13 1 15,13-1-15,-13 0 0,0 0 16,0 1-16,-13-14 0,13 13 0,0 0 16,0 0-16,-13 1 0,0-1 15,-1 0-15,1-13 0,13 13 16,-13-13-16,13 13 15,-13-13-15,0 0 16,-1 14-16,1-14 0,26-27 47</inkml:trace>
  <inkml:trace contextRef="#ctx0" brushRef="#br0" timeOffset="66746.89">11536 10253 0,'13'-14'0,"27"14"16,-27-13-1,0 13-15,0 0 0,1 0 16,-1 0-16,0 0 0,0 0 15,1 13-15,-1-13 16</inkml:trace>
  <inkml:trace contextRef="#ctx0" brushRef="#br0" timeOffset="66947.53">11536 10411 0,'13'14'31,"0"-14"-15,1 0-16,12 0 15,-13 0-15,0-14 16,1 14-16,12 0 0,-13-13 16,1 13-16</inkml:trace>
  <inkml:trace contextRef="#ctx0" brushRef="#br0" timeOffset="67444.56">12475 10001 0,'0'0'0,"-13"0"15,0 13 1,-1-13-16,14 14 0,-13-1 15,13 0-15,-13 0 0,0 1 0,13 12 16,-14-13-16,14 14 0,0-14 0,0 13 16,0-12-16,0-1 0,0 0 15,0 0-15,14 1 0,-14-1 0,0 0 16,13-13-16,0 13 0,0 1 16,1-14-16,-1 0 15,0 0 1,0-14-16,-13 1 15,14 13-15,-14-13 0,-14 0 16,14-1 0,-13 1-16,0 0 15,0 26 1,-1-13-16,1 0 16</inkml:trace>
  <inkml:trace contextRef="#ctx0" brushRef="#br0" timeOffset="67603.89">12621 10213 0,'0'-13'31</inkml:trace>
  <inkml:trace contextRef="#ctx0" brushRef="#br0" timeOffset="67984.59">12938 10028 0,'0'0'0,"13"0"0,1 0 15,-14 13-15,13-13 16,-13 13-16,0 0 16,0 1-16,0-1 0,-13 0 15,13 0-15,-14 1 0,14-1 0,-13 0 16,13 0-16,-13 0 0,13 1 15,0-1 1,13-13 0,0 13-16,1-13 15,-1 0-15,13 0 16,-12 0 0,-1-13-16,0 13 15,0 0-15,0 0 16,1 13-1</inkml:trace>
  <inkml:trace contextRef="#ctx0" brushRef="#br0" timeOffset="71158.53">11205 11337 0,'0'0'0,"0"-26"16,-13 26-16,13-13 0,-13-1 15,-1 1-15,-12 26 16,13-13-16,-1 14 15,1-1-15,-13 0 0,13 0 16,-1 1-16,1-1 0,0 13 0,0-12 16,13-1-16,-14 0 0,14 0 15,0 0-15,0 1 0,0-1 16,14-13-16,-1 0 16,0 0-16,0 0 0,14-13 15,-14 13-15,0-14 0,14 1 0,-14 0 16,0 0-16,0 0 0,1 13 15,-1-14-15,0 1 0,0 13 0,1-13 16,-1 26 0,0-13-16,-13 13 15,0 1-15,0-1 0,0 0 0,0 0 16,0 14-16,0-14 0,0 13 0,-13-12 16,13 12-16,0-13 0,0 14 0,-13-14 15,13 13-15,0-12 0,0-1 16,0 0-16,-14 0 0,14 1 0,0-1 15,0 0-15,0 0 16,0 1-16,27-14 31</inkml:trace>
  <inkml:trace contextRef="#ctx0" brushRef="#br0" timeOffset="71615.64">11668 11390 0,'-13'0'15,"-14"0"1,14 14-16,0-14 0,0 0 15,0 13-15,-1-13 0,1 13 0,0-13 16,0 13-16,-1-13 0,14 13 16,-13-13-16,13 14 0,-13-14 15,26 13-15,0 0 16,1 0-16,-1-13 16,0 14-1,0-14-15,1 13 0,-1-13 16,-13 13-16,13-13 0,-13 13 0,13-13 15,-13 14-15,13-1 16,-13 0-16,0 0 16,-13 0-16,13 1 0,-13-1 0,0 0 15,0 14-15,-14-14 0,14 0 16,-14 0-16,14 1 0,-13-1 16,12 0-16,-12-13 0,13 13 0,0 0 15,-14-13-15,14 14 0,0-14 0,-1 13 16,1-13-16</inkml:trace>
  <inkml:trace contextRef="#ctx0" brushRef="#br0" timeOffset="71891.48">12158 11311 0,'-14'40'31,"14"-27"-31,-13 0 0,0 0 0,0 14 16,-1-1-16,1 1 0,0-1 16,0 14-16,-14-14 0,14 1 15,0 12-15,0-12 0,-1-14 0,1 14 16,0-14-16,13 13 0,-13-12 0,-1-1 15,14 0-15,-13 0 0,13 0 16,-13-13-16,0 14 0</inkml:trace>
  <inkml:trace contextRef="#ctx0" brushRef="#br0" timeOffset="72064.39">11840 11549 0,'0'0'0,"-13"0"0,13-13 16,26 26 31,-26 0-47</inkml:trace>
  <inkml:trace contextRef="#ctx0" brushRef="#br0" timeOffset="72240.84">12250 11668 0,'13'13'31,"1"-26"-15,-1 13-1,-13-13-15</inkml:trace>
  <inkml:trace contextRef="#ctx0" brushRef="#br0" timeOffset="73507.14">12912 11284 0,'-27'14'32,"14"-1"-17,0 0-15,13 0 0,-13 14 0,-1-14 16,1 14-16,0-14 0,0 13 16,13 1-16,-14-14 0,14 0 15,0 0-15,0 1 0,0-1 0,14 0 16,-1 0-16,0-13 0,0 14 15,1-14-15,-1 0 0,0 0 16,0-14-16,0 14 0,14-13 0,-14 13 16,0-13-16,1 0 0,-1 13 0,0-14 15,0 1-15,1 13 16,-1-13-16,-13 26 16,0 0-1,0 1-15,0-1 16,0 0-16,0 0 15,13-13-15,-13 14 0,13-14 16,0 0-16,1 0 0,-1 0 16,0 0-16,-13-14 15,13 14-15,-13-13 16,14 13-16,-14-13 0,0 0 0,0-1 16,0 1-16,0 0 0,0 0 15,-14-1 1,14 1-16,14 0 31,-1 26-15,0-13-16,13 13 15,-12-13-15,-1 14 16,0-14-16,0 0 0,1 13 16,-1-13-16,0 0 0,-13 13 0,13-13 15,1 13-15,-1-13 16,0 0-16,0 14 15,0-14 17,1 13-17,-1-13 1,0 0-16,0 0 16,1 0-1,-1 0-15,0-13 16,0 13-16,1-14 15,-1 14-15,0 0 0,0-13 16,0 13-16,1-13 0</inkml:trace>
  <inkml:trace contextRef="#ctx0" brushRef="#br0" timeOffset="74311.94">15782 10914 0,'0'0'0,"-13"0"15,-13 0 1,26 13-16,13 1 31,0-14-31,0 0 0,1 0 16,12 0-16,-13 0 0,1 0 0,-1 0 15,13 0-15,-13 0 0,1 0 0,-1 0 16,0 0-16,0 0 16,1 13-16,-14 0 15,0 0-15,-14 0 16,14 1-16,-13-1 0,0 0 15,13 0-15,-13 1 0,-1 12 0,1-13 16,0 0-16,0 1 0,0 12 16,-1-13-16,14 1 0,-13-1 0,0 0 15,0 0-15,13 1 16,0-1-16,-14-13 0,14 13 0,-13 0 16,26 0-1,1 1 1,-1-14-16,0 0 15,0 0-15,1 13 0,-1-13 0,0 0 16,0 0-16,0 0 0,1 0 16,-1 0-16,0 0 0,0 0 15,1 0-15,-1 0 0,-13-13 16,13 13-16,0-14 16</inkml:trace>
  <inkml:trace contextRef="#ctx0" brushRef="#br0" timeOffset="74559.55">15769 11139 0,'-13'0'16,"39"0"15,-12 0-31,-1 0 0,0 0 0,0 0 16,1-13-16,-1 26 0,0-26 15,0 13-15,0 0 0,14 0 0,-14 0 16,14 0-16,-14 0 0,0 0 0,14 0 16</inkml:trace>
  <inkml:trace contextRef="#ctx0" brushRef="#br0" timeOffset="74843.63">16378 11086 0,'26'0'32,"-13"0"-32,1 0 15,-1 0-15,0 0 0,0 0 16</inkml:trace>
  <inkml:trace contextRef="#ctx0" brushRef="#br0" timeOffset="75027.97">16325 11192 0,'-13'13'31,"39"-13"-15,-13 0-16,0 0 16,14 0-16,-14 0 15</inkml:trace>
  <inkml:trace contextRef="#ctx0" brushRef="#br0" timeOffset="75819.75">17105 10861 0,'14'13'31,"-14"1"-16,0-1-15,0 0 0,-14 0 0,14 14 16,0-14-16,0 13 0,-13-12 0,13-1 16,0 13-16,0-12 0,-13-1 0,13 13 15,0-13-15,-13 1 0,13-1 16,0 0-16,-14 0 0,14 1 16,0-1-16,14 0 15</inkml:trace>
  <inkml:trace contextRef="#ctx0" brushRef="#br0" timeOffset="76003.81">17343 11086 0,'0'0'16</inkml:trace>
  <inkml:trace contextRef="#ctx0" brushRef="#br0" timeOffset="76506.73">17740 10848 0,'-13'-13'0,"-13"13"31,12 0-31,1 0 0,0 13 0,-14 0 15,14 0-15,0-13 0,-13 27 16,12-14 0,14 0-16,-13 1 0,26-1 15,1 0 1,-1-13-16,13 0 16,-13 0-16,1-13 0,-1 13 15,-13-13-15,13 13 0,0-14 0,1 14 16,-1-13-16,0 13 0,0 0 0,-13-13 15,14 13-15,-1 0 16,0 0 0,-26 13-16,13 0 15,0 1-15,0 12 0,-13-13 16,13 0-16,-14 1 0,14-1 16,-13 0-16,0 14 0,13-14 15,-13 0-15,13 0 0,-14 0 16,14 1-16,0-1 15,0 0-15,14-13 16,-1 0-16</inkml:trace>
  <inkml:trace contextRef="#ctx0" brushRef="#br0" timeOffset="76853.84">18018 10874 0,'-13'0'0,"26"0"0,-26-13 16,-14 40 0,14-14-1,13 0-15,-13 0 0,0 14 16,13-14-16,-13 0 0,13 14 16,-14-14-16,14 0 0,0 0 15,0 1-15,0-1 0,0 0 0,14 0 16,-1 0-16,0-13 0,-13 14 0,13-14 15,0 0-15,1 0 0,-1 0 16,0 0-16,0-14 0,1 14 16,-14-13-16,13 13 0,-13-13 15,13 13-15,-13-13 16,-13 0-16,0-1 16,-1 14-1,1 0-15,0 14 0,0-14 16,-1 0-16,1 13 0,0-13 15</inkml:trace>
</inkml:ink>
</file>

<file path=ppt/ink/ink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0.938"/>
    </inkml:context>
    <inkml:brush xml:id="br0">
      <inkml:brushProperty name="width" value="0.025" units="cm"/>
      <inkml:brushProperty name="height" value="0.025" units="cm"/>
      <inkml:brushProperty name="ignorePressure" value="1"/>
    </inkml:brush>
  </inkml:definitions>
  <inkml:trace contextRef="#ctx0" brushRef="#br0">102 0,'-46'61,"0"1,45-62,1 0,-1 1,0-1,1 1,-1-1,1 1,-1-1,1 1,-1-1,1 1,-1 0,1-1,0 1,-1 0,1-1,0 1,0 0,-1 0,1-1,0 1,0 0,0-1,0 1,0 0,0 0,0-1,0 1,0 0,0 0,0-1,1 1,-1 0,1 1,0-1,1 0,-1 0,1 0,0 0,-1 0,1 0,0-1,0 1,0-1,-1 1,1-1,0 1,2-1,76 1,-68-2,48 0,-43 1</inkml:trace>
</inkml:ink>
</file>

<file path=ppt/ink/ink33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3:25:03.827"/>
    </inkml:context>
    <inkml:brush xml:id="br0">
      <inkml:brushProperty name="width" value="0.05292" units="cm"/>
      <inkml:brushProperty name="height" value="0.05292" units="cm"/>
      <inkml:brushProperty name="color" value="#FF0000"/>
    </inkml:brush>
  </inkml:definitions>
  <inkml:trace contextRef="#ctx0" brushRef="#br0">5741 3294 0,'14'-13'0,"-1"13"0,0 0 16,14 0-16,-1-13 0,1 13 0,12-14 16,1 14-16,13-13 0,-14 13 15,14-13-15,-13 13 0,13-13 16,-13 13-16,-1 0 0,-12-14 0,-1 14 15,1 0-15,-1 0 0,-13 0 0,14 0 16,-14 0-16,0 0 16</inkml:trace>
  <inkml:trace contextRef="#ctx0" brushRef="#br0" timeOffset="213.92">5781 3373 0,'-26'0'0,"52"0"0,-52 14 0,12-14 16,41 13 0,-14-13-16,14 0 15,-1 0-15,1 0 0,12 0 0,1 0 16,0-13-16,12 13 0,-12 0 0,-13-14 16,-1 14-16,1 0 0,-1 0 15,0 0-15,1 0 0,-14 0 0,0 0 16,1 0-16</inkml:trace>
  <inkml:trace contextRef="#ctx0" brushRef="#br0" timeOffset="693.56">6668 3982 0,'0'0'0,"66"-13"16,79-14 0,-92 14-16,13 0 0,0 13 15,1-13-15,-15 13 0,1-14 0,0 14 16,0 0-16,-13-13 0,0 13 16,-14 0-16,-13 0 0,0 0 0,1 0 15,-1 0-15</inkml:trace>
  <inkml:trace contextRef="#ctx0" brushRef="#br0" timeOffset="895.39">6548 4128 0,'-13'0'0,"26"0"0,1 13 15,-1-13 1,13 0-16,1 0 0,-1-13 0,27 13 15,0 0-15,0-14 0,0 14 0,13-13 16,0 13-16,-13 0 0,13-13 16,-13 0-16,-13 13 0,13 0 0,-14-14 15,-12 14-15</inkml:trace>
  <inkml:trace contextRef="#ctx0" brushRef="#br0" timeOffset="1431.88">8797 4511 0,'80'0'16,"-54"-13"0,14 13-16,0 0 0,13-13 0,-14 13 15,14 0-15,-13-14 0,0 14 0,-14 0 16,14 0-16,-14 0 0,-13 0 16,14 0-16,-14 0 0</inkml:trace>
  <inkml:trace contextRef="#ctx0" brushRef="#br0" timeOffset="1631.17">8652 4591 0,'0'0'16,"53"0"-1,-27 0 1,1 0-16,-1-14 0,27 14 0,-13-13 15,13 13-15,-14 0 0,54-26 16,-53 26-16,-1 0 16,-12 0-16,-1 0 0</inkml:trace>
  <inkml:trace contextRef="#ctx0" brushRef="#br0" timeOffset="2263.71">9750 5133 0,'53'-13'32,"-27"13"-32,27 0 15,-13-14-15,13 14 0,-14 0 0,14 0 16,0-13-16,0 13 0,0 0 0,0-13 15,-13 13-15,-1 0 0,-12 0 16,-1 0-16,1 0 0,-14 0 0,0 0 16,1 0-16,-14 13 0</inkml:trace>
  <inkml:trace contextRef="#ctx0" brushRef="#br0" timeOffset="2452.17">9631 5278 0,'26'0'16,"1"-13"-16,-1 13 15,14 0-15,0-13 0,-1 13 0,14-13 16,-13 13-16,13-13 0,-14 13 0,1 0 16,-13-14-16,-1 14 0,1 0 15,25 0-15,-38 0 16</inkml:trace>
  <inkml:trace contextRef="#ctx0" brushRef="#br0" timeOffset="14565.12">9723 5093 0,'27'0'62,"-14"13"-62,0-13 0,14-13 16,-14 13-16,13 0 0,-12 0 15,12 0-15,-13 0 0,1 0 0,12 0 16,-13 0-16,1-13 0,-1 13 16,0 13-16,0-13 0</inkml:trace>
  <inkml:trace contextRef="#ctx0" brushRef="#br0" timeOffset="14912.62">9644 5292 0,'-13'0'16,"39"13"-1,-12-13-15,-1 0 16,13 0-16,-13 0 0,14 0 16,-14 0-16,14 0 0,-1-13 0,0 13 15,1 0-15,-1 0 0,1 0 16,-14 0-16,14 0 0,-1-14 0,-13 14 16,0 0-16,1 0 0,-1 0 0,0 0 15,0 0-15,1 0 16,-1 0-16,0 0 15,0 0 1</inkml:trace>
  <inkml:trace contextRef="#ctx0" brushRef="#br0" timeOffset="21919.61">20188 1667 0,'0'-13'0,"-40"26"31,27 0-31,-14 0 16,1 1-16,-14 12 0,14-13 15,-14 14-15,14-14 0,-1 13 0,1-12 16,-1-1-16,14 0 0,0 0 0,0 1 16,-1-1-16,14 0 0,0 0 15,14 0 1,12 1-16,-13-14 0,14 13 15,-1-13-15,1 0 0,-1 13 0,40-13 16,-39 0-16,-1 13 16,1-13-16,-1 0 0,-13 0 0,14 0 15,-14 0-15,0 0 0,0-13 0,1 13 16,-1 0-16,-13-13 0,13 13 0</inkml:trace>
  <inkml:trace contextRef="#ctx0" brushRef="#br0" timeOffset="22175.39">20254 1614 0,'0'0'16,"-13"26"-1,-1-12-15,-12 12 16,13 14-16,-1-14 0,-12 40 15,13-39-15,0 13 0,-1-14 16,1-13-16,13 14 0,-13-1 16,0 14-16,-1-27 0,14 0 15,0 1-15,-13 12 0,13-13 0,0 0 16,13 1 0</inkml:trace>
  <inkml:trace contextRef="#ctx0" brushRef="#br0" timeOffset="22474.06">20624 1707 0,'-53'79'16,"27"-53"-16,-1 14 0,14-13 15,0-1-15,0 0 0,13-12 16,-13 12-16,13-13 0,0 1 0,13 12 15,-13-13-15,13 1 16,0-14 0,0 0-1,-13-14-15,0 1 0,0 0 16,0 0-16,0-1 16,-13 1-16,0 13 15,-13 13-15,12 1 16,-25-1-16,12 13 0,1 1 0,-14-1 15</inkml:trace>
  <inkml:trace contextRef="#ctx0" brushRef="#br0" timeOffset="22876.22">20135 2752 0,'-13'0'0,"-14"0"0,14 0 0,0 13 16,-1 0-16,-12-13 0,13 13 0,-14 1 15,1-1-15,13 0 0,-14 0 0,14 1 16,-14-1-16,14 0 0,0 0 16,0 0-16,0 1 0,13-1 15,0 0-15,0 0 16,13-13-16,0 14 0,0-14 0,14 13 16,-1-13-16,-13 13 0,14-13 15,-1 0-15,-13 0 0,1 0 16,12 0-16,-13 0 0,1 0 0,12-13 15,-13 13-15,1 0 0,-1-13 16,0-1-16</inkml:trace>
  <inkml:trace contextRef="#ctx0" brushRef="#br0" timeOffset="23074.6">20095 2686 0,'-13'-14'0,"13"67"31,-13-40-31,13 1 0,0 12 16,0 1-16,0-1 0,-14 14 0,14-14 15,-13 1-15,13-1 0,-13 1 16,13-14-16,-13 13 0,13-13 0,0 1 16,0-1-16,-14 0 0,14 0 0,14 1 15</inkml:trace>
  <inkml:trace contextRef="#ctx0" brushRef="#br0" timeOffset="23374.87">20466 2791 0,'-14'-13'16,"28"26"-16,-41-26 0,14 13 0,0 13 0,-1-13 0,1 0 15,-13 14-15,12-1 16,1 0-16,13 0 0,0 14 16,13-14-1,1 0-15,-14 0 0,13 1 0,0-1 16,0-13-16,-13 13 0,14 0 16,-14 1-16,13-1 0,-13 0 15,0 0-15,-13 0 0,-1 1 0,-12 12 16,-1-13-16,-25 14 15,25-14-15,14-13 0,-27 13 16,27-13-16,0 0 0</inkml:trace>
  <inkml:trace contextRef="#ctx0" brushRef="#br0" timeOffset="23729.31">19804 2368 0,'-66'26'0,"26"1"0,-39 39 16,39-26-16,0 13 15,1 0-15,12 0 0,1 13 0,13 0 16,-1 0-16,1 0 0,13 0 0,13 53 16,14-66-16,-14 0 0,27 0 15,-1 0-15,1-13 0,119 52 16,-14-52 0,-105-40-16,-13 0 0,25 0 15,-12-13-15,0-1 0,0 1 16,-1-13-16,1-1 0,0 1 0,-14-14 15,27-26-15</inkml:trace>
  <inkml:trace contextRef="#ctx0" brushRef="#br0" timeOffset="24343.03">20995 1521 0,'-27'-66'0,"-12"0"15,-279-146 1,252 199 0,0 0-16,-14 0 0,27 13 15,-26 13-15,-14 0 0,-12 14 0,12-1 16,-13 27-16,14 0 0,-94 79 15,107-66-15,0 27 0,-27 66 16,53-80-16,40-13 0,-1 0 16,1 1-16,26-1 0,27 66 15,0-79-15,13 13 0,119 53 16,-66-79-16,-1-1 0,1-12 16,13-1-16,14-12 0,-1-14 15,106-14-15,-106 1 0,-13-13 16,14-14-16,-14 0 0,-13 1 15,-1-14-15,-12 0 0,-14-13 0,1-1 16,-27-12-16,-14-13 0,-25 25 16,-1-12-16,-13 0 0,-13-80 15,-27 66-15,0 14 0,-79-67 16,53 93-16,-80-39 0,80 65 16,0 1-16,0 13 0,0-1 15,0 14-15,0 14 0,-14-1 0,14 13 16,-27 27-16,1 0 0,12 0 15,1 13-15</inkml:trace>
  <inkml:trace contextRef="#ctx0" brushRef="#br0" timeOffset="24835.38">19857 2289 0,'212'-67'16,"-146"54"-16,79 13 0,-79 0 15,14 0-15,79 27 0,-93-14 0,13 13 16,-13 1-16,0 13 15,-13-14-15,53 53 0,-66-26 0,-14-13 16,14 53-16,-40-54 16,0 1-16,0 0 0,-13-1 15,-14 14-15,-12-13 0,-1 0 0,-13-1 16,-13 1-16,-27 0 0,-105 39 16,79-52-16,0 12 0,-146 14 15,133-26-15,-106 12 16,145-25-16,14-14 0</inkml:trace>
  <inkml:trace contextRef="#ctx0" brushRef="#br0" timeOffset="32895.12">9710 6601 0,'0'0'15,"0"-13"-15,-13 0 0,0 13 16,13-13-16,-13 13 0,-1 0 16,1 0-16,0 0 15,0 0-15,-1 0 0,1 13 16,0 0-16,13 0 16,0 1-16,0-1 0,13 0 15,-13 0-15,13 14 0,14-1 0,-14 1 16,14 12-16,-14-25 15,0 12-15,0-13 0,0 0 16,1 1-16,-14 12 0,13-13 16,-26 1-16,13-1 0,0 0 0,-14 0 15,1 1-15,0-14 0,0 13 16,0-13-16,-1 13 0,1-13 0,0 0 16,0 0-16,-1 0 0,1 0 15,0-13-15,13 0 0,0-14 16,13 1-1,0-1-15,1 14 0,12-14 16,-13 1-16,14 0 0,-1-1 0,14-26 16,-27 40-16,0-27 15,-13 27-15,14-13 16,-14 12-16,0 1 0,-14 0 0,14 0 16,-13-1-16,0 1 0,0 13 15,-1-13-15,1 13 0,0 0 16,-13 0-16,12 0 0,1 0 0,-13 0 15,12 13-15,-12 0 0,26 1 16,-13-1-16,26 0 16,0-13-16,0 13 15,1-13-15</inkml:trace>
  <inkml:trace contextRef="#ctx0" brushRef="#br0" timeOffset="33220.57">9909 6562 0,'13'0'0,"-26"0"0,13 26 31,0-13-15,-14 1-16,1-1 0,0 13 0,0 1 16,13 12-16,-14-12 0,1 13 0,13-14 15,0 14-15,0-14 0,0-13 16,13 1-16,1 12 0,-1-13 16,0-13-16,0 14 0,14-14 15,-14 13-15,14-13 0,-1-13 16,-13 13-16,0-14 15,-13 1-15,0 0 16,-13 0-16,0-1 16,0 1-16,-14 0 0,14 13 15,0-13-15,-14 13 0,1-14 16,-1 14-16,14 14 0,0-14 0,0 0 16,0 0-16,-1 13 0,-12 0 15,13 0-15,13 1 16</inkml:trace>
  <inkml:trace contextRef="#ctx0" brushRef="#br0" timeOffset="33567.03">10835 6443 0,'0'-14'0,"-14"41"31,14-14-31,0 0 0,-13 1 0,13 25 15,-13-26-15,13 14 0,-13-1 16,13 1-16,0-14 0,-13 0 16,13 1-16,0-1 0,0 0 15,0 0-15,0 0 0,0 1 0,-14-1 16,14 0-16,0 0 16</inkml:trace>
  <inkml:trace contextRef="#ctx0" brushRef="#br0" timeOffset="33771.87">10636 6668 0,'0'-14'0,"53"1"31,-40 0-31,1 13 16,12 0-16,1 0 0,-1 0 0,-13-13 15,14 13-15,-1 0 0,1 0 0,-14 13 16,13-13-16,-12 0 0,-1 13 16,0-13-16,0 13 0,-13 1 15,0-1-15</inkml:trace>
  <inkml:trace contextRef="#ctx0" brushRef="#br0" timeOffset="33968.17">10557 7025 0,'26'13'31,"-12"-13"-31,-1 0 0,0 0 0,13 0 16,-12-13-16,-1 13 0,13 0 0,-12 0 15,12 0-15,-13 0 0,1 0 0,12-14 16,-13 14-16,0 0 0</inkml:trace>
  <inkml:trace contextRef="#ctx0" brushRef="#br0" timeOffset="34897.3">11734 6456 0,'0'-13'15,"0"26"-15,0 13 32,-13 1-32,13-1 0,0-13 0,-13 27 15,0 0-15,13-14 0,-14 14 0,14-14 16,-13 1-16,13-1 0,-13 1 15,13-14-15,0 13 0,-13-12 0,13-1 16,0 13-16,-14-12 0,14-1 0,0 0 16,0 0-16</inkml:trace>
  <inkml:trace contextRef="#ctx0" brushRef="#br0" timeOffset="35066.87">11906 6760 0,'-13'-13'31</inkml:trace>
  <inkml:trace contextRef="#ctx0" brushRef="#br0" timeOffset="35456.33">12343 6535 0,'-40'-13'31,"27"13"-31,-14 0 0,1 13 0,-14 0 15,1 1-15,12-1 0,-13 13 16,27 1-16,0-27 0,-13 26 16,26-12-16,13-1 15,0-13-15,27 0 16,-27 0-16,13 0 16,1-13-16,-14-1 0,14 14 15,-14-13-15,13 0 0,-13 13 0,1-13 16,-1 13-16,0-14 0,0 14 0,1 0 15,-14 14 1,0-1-16,0 0 16,0 0-16,-14 14 0,14-14 0,-13 13 15,0 1-15,-14 13 16,14-14-16,0 0 0,0-12 16,13-1-16,-13 13 0,13-12 15,0-1-15</inkml:trace>
  <inkml:trace contextRef="#ctx0" brushRef="#br0" timeOffset="35767.73">12740 6509 0,'13'0'0,"-40"0"15,14 0 1,0 13-16,-13 0 0,12 14 0,-12-1 15,-1 1-15,14-1 0,-13 1 0,26-1 16,-14-13-16,1 27 0,13-27 16,0 14-16,13-14 15,-13 0-15,14-13 0,-1 13 0,0-13 16,0 0-16,1 0 16,-1 0-16,0 0 0,-13-13 15,13 13-15,-13-13 16,-13 13-16,0-13 15,0 13-15,-1 0 0,1 0 16,-13 13-16,12-13 0,1 0 16,0 13-16,0-13 0,0 0 0,-1 13 15</inkml:trace>
  <inkml:trace contextRef="#ctx0" brushRef="#br0" timeOffset="36483.71">13666 6178 0,'-66'79'31,"52"-39"-31,1 0 0,-13 13 0,12 0 16,1-14-16,0 1 0,13 0 0,-13-1 15,13 1-15,0 0 0,0-14 16,0 1-16,13-1 0,-13 1 0,13-14 16,-13 13-16,13-13 0,-13 1 15,14-1-15,-1 0 0,-13 0 0,13-13 16,0 14-16,1-14 15,-1 0-15,0-14 0,0 14 0,0 0 16</inkml:trace>
  <inkml:trace contextRef="#ctx0" brushRef="#br0" timeOffset="37511.31">14261 6204 0,'-53'53'31,"27"-26"-31,12 13 16,-12-14-16,13 14 0,-14-1 0,14-12 15,-27 39-15,27-26 0,13-14 16,0 14-16,0-27 16,0 0-16,0 1 0,13-1 0,-13 0 15,14-13-15,-1 13 0,0-13 16,0 13-16,14-26 16,-14 13-16,-13-13 15,13 0-15,-13 0 16,0-1-16,-13 14 0,13-13 15,-13 0-15,0 13 16,13-13-16,-14 13 0,-12 0 16,13 0-16</inkml:trace>
  <inkml:trace contextRef="#ctx0" brushRef="#br0" timeOffset="37629.85">14195 6588 0,'0'0'16,"0"-13"-16</inkml:trace>
  <inkml:trace contextRef="#ctx0" brushRef="#br0" timeOffset="38015.58">14499 6416 0,'0'0'0,"13"0"0,1 0 16,-1 0-16,0 13 15,0 1-15,-26 12 16,13-13 0,-13-13-16,13 14 0,-13-1 0,-1 0 15,1 0-15,13 0 0,-13-13 16,13 14-16,-13-1 16,13 0-16,0 0 15,13-13 1,0 0-16,0 0 0,1 0 15,12 0-15,-13 0 0,1-13 16,12 13-16,-13 0 0,14-13 0,-14 13 16,0-13-16,14-1 0,-14 14 0,0-13 15</inkml:trace>
  <inkml:trace contextRef="#ctx0" brushRef="#br0" timeOffset="38272.51">14936 5940 0,'0'0'0,"53"79"31,-53-39-31,13 26 0,0-26 16,-13-1-16,0 1 0,0 0 0,0 0 15,-13-1-15,13 1 0,-13-14 16,-1 14-16,1 0 0,0-14 15,0 1-15,-1-1 0,1-13 0,-13 27 16,13-27-16,-1 1 0,-12 12 16,-1 0-16,1-12 0,0-1 0,-1 0 15,1 14-15</inkml:trace>
  <inkml:trace contextRef="#ctx0" brushRef="#br0" timeOffset="38649.12">13269 7276 0,'40'-13'16,"-80"26"-16,106-39 0,-26 12 0,13 14 16,13-13-16,0 0 0,13 13 0,93-27 15,-92 27-15,12-13 0,1 13 16,-1-13-16,1 13 0,13-13 0,-14 13 16,1-13-16,0 13 0,79-14 15,-93 14-15,0 0 0,40-13 16,-66 13-16,0-13 0,-26 13 15,12 0-15,-25 0 0,12 0 16,-13 0-16,1 0 0,-1 0 0,-40 0 31,1 0-31</inkml:trace>
  <inkml:trace contextRef="#ctx0" brushRef="#br0" timeOffset="40225.83">14221 7541 0,'-145'53'32,"118"-40"-32,-12 13 0,12-13 0,-12 1 15,12 12-15,1-13 0,12 1 16,1-14-16,0 13 0,0 0 0,-1 0 15,1 1-15,13-1 0,0 13 16,13-26 0,1 13-16,-1-13 0,13 0 15,-12 14-15,12-14 0,1 0 0,-1 0 16,27 0-16,-27 0 0,1 0 16,-14 0-16,14 0 0,-1 0 0,-13 0 15,0 0-15,14-14 0,-14 14 16,0 0-16,1 0 0,-14-13 0,13 13 15</inkml:trace>
  <inkml:trace contextRef="#ctx0" brushRef="#br0" timeOffset="40442.1">14221 7541 0,'0'-14'0,"-26"41"31,26-14-31,-13 0 0,13 1 16,-14 12-16,1-13 0,0 27 0,0-14 16,0 1-16,-14 13 0,14-14 0,0 0 15,-1 1-15,1-1 16,0-12-16,0 12 0,13-13 0,-14 1 16,14-1-16,0 0 0,14 0 15</inkml:trace>
  <inkml:trace contextRef="#ctx0" brushRef="#br0" timeOffset="40762.82">14618 7594 0,'-79'52'31,"66"-25"-31,-14-1 0,14 1 0,0-1 15,-1-12-15,1 12 0,13-13 0,-13 0 16,13 1-16,0-1 0,13 0 16,0 0-16,-13 1 0,14-14 15,-1 0-15,0 0 16,14 0-16,-27-14 0,13 14 16,-13-13-16,0 0 0,13 13 0,-13-13 15,0-1-15,-13 1 0,13 0 16,-13 13-16,13-13 0,-14 13 15,1 0-15,0-13 0,-14 13 16,14 0-16,-13 13 0,13-13 0,-14 0 0,1 0 16,-1 13-16,-12-13 15</inkml:trace>
  <inkml:trace contextRef="#ctx0" brushRef="#br0" timeOffset="41347.86">13388 7726 0,'0'0'0,"-13"26"31,13-12-31,0-1 0,-14 0 0,14 13 16,0-12-16,0 12 0,0-13 15,-13 14-15,13-14 0,13 0 0,-13 1 16,0-1-16,0 0 0,0 0 0,14 0 16,-14 1-16,13-14 0,0 0 15,0 0 1,1-14-16,-1 14 0,-13-13 0,26-26 15,-26 12-15,14 1 16,-1-14-16,-13 13 0,0-12 0,0-1 16,0 0-16,0 1 0,0 12 0,0 1 15,0-1-15,0 1 0,0-1 16,0 14-16,0 0 0,0-14 0,0 14 16,13 0-16,0 0 0,0 13 0,14-13 15,-1-1-15,67 1 0,-27 0 16,80 0-1,-67 13-15,14 0 0,79 0 16,-80 0-16,-12 0 0,92 0 16,-106 0-16,0 0 0,-13 0 0,0 0 15,0 0-15,-14 0 0,-12 0 16,-1 0-16,-13 0 0,14 0 0,-14 0 16,0 0-16,1 0 15,-41 0 16,14 13-31</inkml:trace>
  <inkml:trace contextRef="#ctx0" brushRef="#br0" timeOffset="42210.73">16470 6747 0,'27'0'16,"-1"0"0,-13 0-16,1 0 0,12-13 15,-13 13-15,14 0 0,-14 0 0,14 0 0,-14 0 16,0 0-16,0 0 0</inkml:trace>
  <inkml:trace contextRef="#ctx0" brushRef="#br0" timeOffset="42373.98">16523 6919 0,'13'13'16,"1"-13"-1,-1 0-15,0 0 0,14 0 0,-14 0 16,0 0-16,14-13 0</inkml:trace>
  <inkml:trace contextRef="#ctx0" brushRef="#br0" timeOffset="45502">15412 9459 0,'53'-13'0,"-40"13"0,14 0 0,-14 0 16,79 0-1,-65-14-15,26 14 0,-27 0 16,1 0-16,-14 0 0,0 14 0,14-14 16</inkml:trace>
  <inkml:trace contextRef="#ctx0" brushRef="#br0" timeOffset="45692.03">15412 9591 0,'-13'0'0,"66"13"47,-14-13-47,28 0 16,-28-13 0,14 13-16</inkml:trace>
  <inkml:trace contextRef="#ctx0" brushRef="#br0" timeOffset="46059.37">18031 9353 0,'119'0'0</inkml:trace>
  <inkml:trace contextRef="#ctx0" brushRef="#br0" timeOffset="46210.52">17939 9512 0,'39'0'0,"-12"0"16,26-13-16,39-14 31</inkml:trace>
  <inkml:trace contextRef="#ctx0" brushRef="#br0" timeOffset="54180.84">11496 5940 0,'-40'291'0,"80"-582"0,-93 661 15,40-290-15,13 39 0,-13-13 16,0-1-16,13-25 0,0 12 0,-14 14 0,1-26 15,13 12-15,-13-12 0,0-1 16,13 0-16,-14 1 0,1-14 16,0 13-16,13-26 0,-13 13 0,13-26 15,-14 0-15,14-1 0,-13 14 16,0-39-16,13-1 0,0 0 16,0 0-16</inkml:trace>
  <inkml:trace contextRef="#ctx0" brushRef="#br0" timeOffset="55368">11761 5781 0,'53'0'0,"-106"0"0,132-13 15,-66 13-15,14 0 0,-1-13 16,14 13-16,0-14 0,-1 14 0,14 0 15,-13-13-15,13 13 0,66-26 16,-53 26-16,13-13 0,-12-1 16,-1 14-16,13-13 0,-13 13 0,0-13 15,14 0-15,-14 13 0,13-14 16,1 14-16,-14-13 0,13 13 0,-13-13 16,14 13-16,-27 0 0,26 0 0,-13 0 15,13-13-15,-12 13 0,12 0 16,-13 0-16,0 0 0,-13 0 0,13 0 15,67 0-15,-54 0 16,-13 0-16,0 0 0,0 0 16,1 0-16,-14 0 0,13 0 0,-13 0 15,13 0-15,-13 0 0,13 0 0,-13 0 16,0 0-16,0 0 0,-14 0 0,1 0 16,0 0-16,26 13 15,-40-13-15,1 0 0,-1 0 0,-13 0 16,14 0-16,-1 0 0,-12 0 0,-1 0 15,13 0-15,-13 0 0,1 0 16,-1 0-16,0 0 0,0 0 16,1 0-16,-1 13 15,0-13 1,-13 13-16,13 1 0,-13-1 16,0 0-16,14 0 0,-14 1 0,0 12 15,13 0-15,-13 14 0,0-13 0,13 26 16,-13-14-16,0 1 0,0 0 15,13 12-15,-13-12 0,-13 13 16,13 13-16,0-13 0,-26 66 0,26-53 16,-14-13-16,1 13 15,13-13-15,-13 14 0,-14 38 16,27-52-16,-13 0 0,0-13 0,13 13 16,-13 0-16,-1 39 0,14-52 0,-13 0 15,13 13-15,0-14 16,0 1-16,0 0 0,0-1 0,0 27 15,0-26-15,0 0 0,0 13 16,0-14-16,0 1 0,0-13 16,0-1-16,0 14 0,-13-14 15,13 1-15,0-1 0,0 1 0,0-1 16,0-13-16,0 14 0,0-1 0,-13-13 16,13 14-16,0-14 0,0 14 15,-13 12-15,13-26 0,0 14 16,-14 13-16,14-27 0,-13 0 15,13 14-15,0-14 0,-13 0 16,13 0-16,0 0 0,-13 1 16,13-1-16,-14 0 0,14 0 0,0 1 15,-13-14-15,13 13 0,-13 0 0,0 0 16,-1-13-16,14 14 0,-13-14 16,0 0-16,-13 13 0,12-13 15,-12 0-15,-1 0 0,-52 0 16,26 0-16,-26 0 0,-1 0 0,1-13 15,-14 13-15,1-14 0,-41 14 0,14-13 16,-13 0-16,-13 0 16,12 13-16,-12-14 0,-14 14 0,0-13 0,1 13 15,-1-13-15,0 13 0,0 0 16,14 0-16,-14 0 0,13 0 0,14 0 16,0 0-16,26 0 0,13 0 0,1 13 15,-1-13-15,14 0 0,0 0 16,26 0-16,-14 13 0,15-13 0,-1 0 15,13 0-15,13 0 0,1 0 16,-27 0-16</inkml:trace>
  <inkml:trace contextRef="#ctx0" brushRef="#br0" timeOffset="62211.83">19434 6152 0,'-27'-14'15,"54"28"-15,-67-41 0,27 27 0,0 0 0,-1 0 16,1 0-16,-13 0 0,12 0 15,1 0-15,0 0 0,0 13 0,-1-13 16,1 14-16,0-1 0,13 0 16,0 0-16,0 0 0,0 14 0,13-14 15,-13 14-15,13-14 0,1 13 16,-1-12-16,-13 12 0,13 0 0,0-12 16,1 25-16,-14-25 0,0-1 15,0 0-15,0 0 16,0 1-16,-14-1 0,14 0 0,-13-13 15,0 13-15,-14-13 16,14-13-16,13 0 16,0-14-1,0 14-15,13 0 16,1 0-16,-1-1 0,0-12 0,14 13 16,-14-1-16,13 1 0,-12-13 15,12 13-15,-13-1 0,0 1 16,1 0-16,-1 0 0,-13-1 0,13 1 0,0 0 15,-13 0-15,0-1 0,0 1 0,0 0 16,0 0-16,-13 13 16,0-27-16,0 14 0,-1 13 15,1-13-15,0 13 0,0 0 16,0 0-16,-1 0 0,1 0 0,0 0 16,0 13-16,-1-13 0,1 13 15,13 1 1</inkml:trace>
  <inkml:trace contextRef="#ctx0" brushRef="#br0" timeOffset="62577.11">19870 6019 0,'-26'0'16,"13"0"-16,-1 13 0,1 1 15,-13 12-15,12 1 0,-12-1 16,13 14-16,-14-14 0,14 14 0,0-14 16,-14 41-16,14-28 0,13-26 15,0 14-15,0-14 0,0 14 16,13-14-16,-13 0 0,14 0 0,-1 1 16,0-1-16,0 0 0,0-13 0,1 13 15,-1-13-15,0 0 16,0-13-16,1 13 15,-14-13-15,0 0 16,-14-1-16,14 1 0,-13 0 16,0 13-16,13-13 0,-13 13 15,-1-14-15,1 14 0,-13-13 16,-1 13-16,14 0 0,-13 0 16,12 0-16,1 0 0,0 0 0,0 0 15</inkml:trace>
  <inkml:trace contextRef="#ctx0" brushRef="#br0" timeOffset="62867.02">20267 6085 0,'0'27'31,"0"-1"-15,0-12-16,-13-1 0,0 26 16,13-12-16,-14-14 0,1 27 15,13-27-15,0 0 0,-13 1 16,13-1-16,-13 0 0,13 13 15,-14-12-15,14-1 16,0 0-16</inkml:trace>
  <inkml:trace contextRef="#ctx0" brushRef="#br0" timeOffset="63267.93">20095 6310 0,'53'-13'31,"-27"13"-31,-12 0 0,-1 0 16,13 0-16,-12-13 0,12 13 0,-13 0 15,14 0-15,-14 0 0,0 0 0,14 0 16,-14 0-16,0 13 0,0-13 16,1 13-16,-1-13 15</inkml:trace>
  <inkml:trace contextRef="#ctx0" brushRef="#br0" timeOffset="63640.42">20082 6641 0,'40'-13'31,"-27"13"-31,0 0 0,0 0 16,0 0-16,1 0 0,-1 0 0,0 0 15,0 0-15,1 0 0,-1 0 16,0 0-16,14-13 15,-14 13-15,0 0 16,-13-14 0,13 14-16</inkml:trace>
  <inkml:trace contextRef="#ctx0" brushRef="#br0" timeOffset="64063.9">21153 5966 0,'14'14'15,"-14"-1"-15,0 0 0,-14 13 16,14-12-16,0 12 0,0 1 15,0-1-15,-13 1 0,13-1 16,0 0-16,-13 1 0,13-1 0,0-12 16,-13 12-16,13 1 0,-13-14 0,13 0 15,0 0-15,-14 0 0,14 14 16,0-14-16,0 0 16,0 1-16</inkml:trace>
  <inkml:trace contextRef="#ctx0" brushRef="#br0" timeOffset="64240.15">21365 6310 0,'-13'-13'31,"0"13"-16</inkml:trace>
  <inkml:trace contextRef="#ctx0" brushRef="#br0" timeOffset="64673.33">21616 6072 0,'14'-13'0,"12"13"15,-13-13-15,1 13 16,-1 0-16,0 0 0,0 0 0,1 0 16,-1 0-16,0 0 0,0 0 0,0 0 15,1 0-15,-14 13 16,13-13-16,-13 13 0,0 0 16,13 1-16,-13-1 0,0 0 0,-13 14 15,13-14-15,0 13 0,-13 1 0,13-14 16,-14 13-16,14 1 0,-13-1 0,13-12 15,-13 12-15,13-13 0,0 14 0,0-14 16,-13 0-16,13 0 0,0 1 0,0-1 16,0 0-1,0 0-15,0 1 0,13-14 16,0 0-16</inkml:trace>
  <inkml:trace contextRef="#ctx0" brushRef="#br0" timeOffset="64898.55">21616 6376 0,'0'0'0,"27"-26"31,-14 26-16,0 0-15,1 0 0,12 0 0,-13 0 16,1 0-16,12-13 0,-13 13 0,14 0 16,-14 0-16,0 0 0,14 0 0,-14 0 15,0 0-15</inkml:trace>
  <inkml:trace contextRef="#ctx0" brushRef="#br0" timeOffset="65438.8">22278 6125 0,'-79'-26'31,"65"26"-31,1 0 0,-13 13 0,-1-13 16,1 13-16,-1 0 0,1 1 0,13-14 15,-1 13-15,1 0 0,0-13 16,13 13-16,0 0 16,13-13-16,14 14 0,-14-28 15,0 14-15,13 0 0,1-13 16,-1 13-16,-12 0 0,12-13 16,-13 13-16,1 0 0,-1-13 0,0 13 15,0 0-15,-13 13 0,13-13 16,-13 13-16,0 0 0,0 1 15,0-1-15,-13 13 0,13-12 0,-13 12 16,13-13-16,-13 14 0,0-14 0,13 13 16,-14-12-16,14 12 0,-13-13 0,13 1 15,0-1-15,0 0 0,-13 0 16,13 1-16,0-1 0,0 0 16,0 0-16</inkml:trace>
  <inkml:trace contextRef="#ctx0" brushRef="#br0" timeOffset="66118">18706 5768 0,'0'0'0,"0"40"16,0-14-16,0 27 15,-13 0-15,13 13 0,0 0 0,-13 0 16,13 14-16,-14-14 0,14 0 0,0 0 16,-13 0-16,13-13 0,0 0 15,0 0-15,0-13 0,-13-1 16,13 1-16,0-13 0,0-1 0,0-13 15,0 14-15,0-14 0,0 0 0</inkml:trace>
  <inkml:trace contextRef="#ctx0" brushRef="#br0" timeOffset="66807.1">18600 5715 0,'53'-26'16,"-106"52"-16,133-66 0,-28 27 0,1-13 0,14 12 15,12 1-15,0 0 0,14 0 16,39-14-16,1 14 0,-1-13 0,13 12 16,1-12-16,13 13 0,-1-14 15,14 14-15,0-13 0,0 12 0,0-12 16,0-1-16,0 14 0,13-13 0,-13 12 15,-13 1-15,0 0 0,-14 13 16,-12-13-16,-27 0 0,-14 13 0,1 0 16,-14-14-16,0 14 0,-26 0 0,0 0 15,0 0-15,-13-13 0,-14 13 16,1 0-16,-14 0 0,0 0 0,14 0 16,-14 13-16,0-13 0,0 0 0,1 0 15,-14 14-15,13-1 0,0 0 16,0 0-16,1 0 0,-1 14 15,0-1-15,0 14 0,1-13 0,-1 12 16,-13 14-16,13 0 0,-13-13 0,13 26 16,-13 0-16,0 0 0,0 14 15,0-14-15,0 13 0,0-13 0,0 14 16,0-14-16,0 0 0,13 0 0,-13-13 16,14 13-16,-14-13 0,13 0 15,0-13-15,-13 13 0,13-14 16,-13-12-16,0 12 0,0-12 0,0 12 15,0-25-15,0-1 0,0 13 16,0-12-16,-13-1 0,13 0 16,-13-13-16,0 13 0,-14 1 0,1-14 15,-1 13-15,-26-13 0,0 0 0,-26 0 16,0-13-16,-14 13 0,-13-14 16,-39 14-16,-1-13 0,-13 0 0,-12 0 15,-1-1-15,-14 1 0,1 13 0,-13-13 16,-1 13-16,-12 0 0,-1 13 0,-66-13 15,80 13-15,-1-13 0,1 14 16,-173 25-16,186-25 0,26 12 16,14-13-16,-1 14 0,27-14 15,27 0-15,12 0 0,14 1 0,13-14 0,14 13 16,-1-13-16,13 0 16,14 0-16,0 0 0,0 0 0</inkml:trace>
  <inkml:trace contextRef="#ctx0" brushRef="#br0" timeOffset="70350.75">5067 9379 0,'106'14'15,"-27"-14"1,-26-14-16,0 14 0,13 0 16,0 0-16,13 0 0,1-13 15,-1 13-15,1 0 0,12-13 0,-12 13 16,12 0-16,-12-13 0,12 13 0,-12-13 16,-14 13-16,13-14 0,-26 14 0,13 0 15,-26 0-15,13-13 0,-14 13 16,-12 0-16,-1 0 0,1 0 15,-14 0-15,0 0 0</inkml:trace>
  <inkml:trace contextRef="#ctx0" brushRef="#br0" timeOffset="70707.75">5636 9591 0,'0'0'0,"53"0"0,-14 0 15,14-13-15,-13 13 0,26 0 0,0-13 16,13 13-16,-12 0 0,12-14 0,-13 14 16,-13 0-16,26-13 0,-26 13 0,14 0 15,-15 0-15,1-13 16,-13 13-16,13 0 0,-13 0 0,-1-13 0,1 13 15,-14 0-15,27 0 0,-39 0 16,12-13-16,-13 13 16,1 0-16,-1 0 0,0 0 15,0 0-15,0 0 0,1 0 16</inkml:trace>
  <inkml:trace contextRef="#ctx0" brushRef="#br0" timeOffset="72220.32">15478 9419 0,'80'-13'16,"-67"13"-16,0 0 16,0 0-16,0 0 0,1 0 0,-1 0 15,0 0-15,0 0 0,1 0 0,-1 0 16,0 0-1</inkml:trace>
  <inkml:trace contextRef="#ctx0" brushRef="#br0" timeOffset="72545.75">15412 9618 0,'40'-14'0,"-27"14"15,0 0-15,0 14 16,1-14-16,-1 0 0,0 0 15,14 0-15,-14 0 0,0 0 0,0 0 16,0 0-16,1 0 0,-1 0 16,0 0-16,0 0 0,1 0 0,-1 0 15,0 0-15,0 0 16,0 0-16</inkml:trace>
  <inkml:trace contextRef="#ctx0" brushRef="#br0" timeOffset="74791.94">7448 11549 0,'13'0'31,"0"-13"-31,1 13 31,-14-13-15,-14 13 15,1-14-31,0 14 0,0 0 16,0 0 0,-1 0-16,1 0 0,0 14 0,0-14 15,-1 0-15,1 13 0,0-13 16,13 13-16,0 14 15,13-14 1,-13 0-16,13 0 0,1 14 16,-1-14-16,0 0 0,0 0 15,1 14-15,-1-14 0,0 0 0,-13 1 16,13 12-16,-13-13 0,13 0 0,-13 1 16,0-1-16,0 0 0,-13-13 15,13 13-15,-13-13 16,0 14-16,0-28 31,13 1-31,13 0 16,-13 0-16,13-1 0,-13 1 15,13 0-15,0 0 0,1-14 0,-14 14 16,13 0-16,0-14 0,-13 14 16,13 0-16,-13-14 0,14 1 15,-14 13-15,0 0 0,0-1 0,0 1 16,0 0-16,0 0 0,-14-1 0,1 1 15,13 0-15,-13 13 16,0-13-16,-1 13 16,1 13-16,0-13 0,13 13 15,-13-13-15,13 13 0,0 1 16</inkml:trace>
  <inkml:trace contextRef="#ctx0" brushRef="#br0" timeOffset="75147.34">7792 11523 0,'13'0'0,"-39"26"47,13-13-47,-1 1 16,14-1-16,-13 0 0,-13 0 15,12 0-15,1 1 16,13-1-16,-13-13 0,13 13 0,-13 0 16,13 1-16,-14-14 0,14 13 15,0 0 1,14 0-16,-1-13 16,0 14-16,0-14 15,1 0-15,-1 0 0,0 0 0,0 0 16,1 13-16,-1-13 0,0-13 0,0 13 15,0 0-15,1 0 16,-1 0-16,0-14 0,0 1 16,-13 0-1</inkml:trace>
  <inkml:trace contextRef="#ctx0" brushRef="#br0" timeOffset="75334.8">7858 11562 0,'-13'0'15,"26"0"-15,-39 14 0,26-1 16,-14 0-16,14 0 16,0 0-16,0 14 0,-13-14 0,13 0 15,0 14-15,0-1 0,-13-12 16,13-1-16,0 13 0,0-13 0,-13 14 16,13-14-16,0 0 0,0 1 15,0-1-15,0 0 0,13 0 16</inkml:trace>
  <inkml:trace contextRef="#ctx0" brushRef="#br0" timeOffset="75496.71">8136 11734 0,'-13'-13'31,"13"0"-31</inkml:trace>
  <inkml:trace contextRef="#ctx0" brushRef="#br0" timeOffset="75898.33">8295 11523 0,'13'0'0,"0"-14"31,0 28-31,1-14 0,-14 13 0,13-13 15,-13 13-15,13 0 0,-13 1 16,0-1-16,0 0 0,-13 0 16,13 0-16,0 1 0,-13-1 0,13 0 15,-14-13-15,14 13 0,0 1 0,-13-1 16,13 0 0,0 0-16,0 1 15,13-1 1,1-13-1,-1 0-15,0 0 16,0 0 0,14 0-16,-27-13 15,13 13-15,0-14 0</inkml:trace>
  <inkml:trace contextRef="#ctx0" brushRef="#br0" timeOffset="76113.11">8705 11496 0,'0'0'0,"0"13"16,0 1-16,0-1 0,0 0 15,0 0-15,0 1 16,0-1-16,0 0 0,0 0 0,0 0 16,-13 1-16,13-1 0,0 0 15,-14 0-15,14 1 16,0-1-16,-13 0 15</inkml:trace>
  <inkml:trace contextRef="#ctx0" brushRef="#br0" timeOffset="77835.73">14579 11377 0,'13'-13'15,"-40"0"17,1 13-17,13 0-15,-1 0 16,1 0-16,0 0 15,0 0-15,-1 0 16,14 13-16,0 0 16,0 14-1,0-14-15,14-13 0,-1 39 16,-13-25-16,13-1 0,-13 0 16,13 14-16,-13-14 0,0 0 0,0 0 15,0 1-15,0-1 0,0 0 16,-13-13-16,13 13 0,-13 0 0,0 1 15,-1-14-15,1 13 0,0-13 16,0 13-16,0-13 16,-1 0-1,14-13-15,0 0 16,14-1-16,-1 1 16,0 0-16,0 13 0,0-13 15,1 0-15,-1-1 0,-13 1 0,13 0 16,0 0-16,1-1 0,-14 1 15,13 0-15,-13 0 0,13-1 16,-13 1-16,0 0 0,-13 0 16,13 0-16,0-1 0,-13 14 15,13-13-15,-14 13 16,1-13 0,0 13-16</inkml:trace>
  <inkml:trace contextRef="#ctx0" brushRef="#br0" timeOffset="78178.05">14751 11337 0,'26'-13'15,"0"13"-15,-12 0 16,-1 0-16,0 0 0,-13 13 16,13-13-16,-13 14 0,14-14 0,-14 13 15,13 0-15,-13 0 0,13 1 0,-13 12 16,0-13-16,0 0 0,13 14 0,-13-14 15,0 0-15,0 1 0,0-1 16,0 13-16,0-12 0,0-1 0,0 0 16,0 0-16,0 0 0,0 1 15,0-1-15,0 0 0,-13 0 16,13 1 0</inkml:trace>
  <inkml:trace contextRef="#ctx0" brushRef="#br0" timeOffset="78355.64">14724 11536 0,'0'0'15,"13"-13"1,1 13-16,-1 0 0,0 0 16,0 0-16,0 0 0,1 0 0,-1 0 15,0 0-15,0 0 0,1 0 16,-1 0-16,13 0 0,-13 0 15,1 0-15,-1 0 0,0 0 0,0 0 0</inkml:trace>
  <inkml:trace contextRef="#ctx0" brushRef="#br0" timeOffset="78533.86">15359 11496 0,'-26'-13'31</inkml:trace>
  <inkml:trace contextRef="#ctx0" brushRef="#br0" timeOffset="79077.11">15835 11324 0,'0'0'0,"14"0"0,-1 0 0,0-13 16,0 13-16,14 0 0,-14 0 15,0 0-15,0-13 0,1 13 0,-1 0 16,0 0-16,-13 13 0,13-13 16,1 13-16,-14 0 15,0 1-15,0-1 0,0 0 16,0 0-16,0 1 0,0 12 15,-14-13-15,14 0 0,0 14 16,-13-1-16,13-12 0,0-1 0,-13 13 16,13-12-16,0-1 0,0 13 0,0-13 15,-13 1-15,13-1 0,0 0 0,13 0 16,-13 1-16,0-1 16,13-13-16</inkml:trace>
  <inkml:trace contextRef="#ctx0" brushRef="#br0" timeOffset="79276.67">15835 11576 0,'27'-27'31,"-1"27"-31,-13 0 0,1 0 0,-1 0 16,0 0-16,0 0 0,1 0 16,12 0-16,-13-13 0,14 13 0,-1 0 0,-13 0 15,14 0-15,-1 0 0</inkml:trace>
  <inkml:trace contextRef="#ctx0" brushRef="#br0" timeOffset="79586.12">16444 11390 0,'0'-13'0,"-13"13"0,-1 0 16,1 0-16,0 0 15,0 0-15,-1 0 0,1 13 0,0-13 16,0 0-16,0 14 0,13-1 0,-14-13 16,14 13-16,0 0 15,14-13 1,-1 0-16,0 0 0,0 0 15,0 0-15,1 0 0,-1 0 16,0 13-16,0-13 0,1 14 16,-1-1-16,-13 0 15,0 0-15,13 1 0,-13-1 16,0 0-16,0 0 16,0 1-16,0-1 0,0 0 15,-13 0-15,13 0 16,0 1-16</inkml:trace>
  <inkml:trace contextRef="#ctx0" brushRef="#br0" timeOffset="81325.14">7752 12091 0,'-26'0'31,"13"14"-31,-1-14 16,14 13-16,-13 0 0,13 0 0,0 1 15,-13-1-15,13 13 0,0-12 0,0 12 16,0-13-16,0 14 0,0-1 15,0 1-15,0-14 0,13 13 0,-13 1 16,13-1-16,1-13 0,-14 14 0,13-14 16,0 0-16,14 14 0,-14-14 15,0 0-15,0 0 0,14 1 0,-14-1 16,0-13-16,0 13 0,14-13 0,-14 13 16,0-13-16,14 0 0,-14 0 15,0 0-15,0 0 0,14 0 0,-14-13 16,0 13-16,14-13 0,-14 13 15,0 0-15,0-13 0,14 13 16,-14-14-16,0 1 0,40-26 16,-26 25-16,-1 1 0,1 0 15,12-14-15,-12 1 0,65-27 16,-39 40-16,0-14 0,0 1 16,0-1-16,0 14 0,0-13 0,13 13 15,-13-1-15,13 1 0,-13-13 0,13 12 16,0 1-16,-13 0 0,13 13 15,-13-13-15,0 13 0,13-14 16,-13 1-16,13 13 0,14-13 0,-14 13 0,13 0 16,-13 0-16,14 0 0,-14 0 15,0 0-15,14 0 0,-1 0 16,14 13-16,-14-13 0,0 13 0,-13 1 16,14-1-16,-1-13 0,1 13 0,-14 0 15,13 14-15,0-14 0,-12 0 16,-1 1-16,0 12 0,0-13 0,0 14 15,-13-14-15,13 13 0,-13-12 0,0 12 16,-13-13-16,-1 14 0,1-14 16,0 0-16,0 14 0,-14-14 0,14 0 15,-14 0-15,1 14 0,-14-14 16,13-13-16,-13 13 0,1 0 0,39 14 16,-53-14-16,13-13 15,0 0-15,-13 13 0,13-13 16,1 14-16,-1-14 15,-13 13-15,13-26 16,0 13 0,0-14-16,-13 1 15,14 13-15,-1-13 0,-13 0 16,13 13-16,0-14 0,1-12 0,-1 13 16,13 0-16,-12-14 15,12 14-15,0-14 0,41-12 16,-28 25-16,27-25 0,-13 26 0,-13-1 15,13 1-15,0 0 0,0 0 16,13-1-16,-13 1 0,0 0 16,13 13-16,13-13 0,-13 13 0,14-13 15,-14 13-15,13 0 0,-13 0 0,-13 0 16,27 0-16,-1 0 0,-13 0 0,14 0 16,-1 13-16,-13-13 0,14 13 15,-14-13-15,0 13 0,0-13 0,0 13 16,0 1-16,0-1 0,1 0 15,-1 0-15,0-13 0,0 14 0,0-1 16,-13 0-16,0-13 0,0 13 0,0 0 16,13-13-16,-13 14 0,0-14 15,0 0-15,0 13 0,-14-13 0,14 0 16,-13 0-16,-14 0 0,14 0 16,13-13-16,-13 13 0,-1-14 0,-12 14 15,13-13-15,-14 0 0,0 13 0,1-13 16,-1 0-16,-12 13 0,12-14 0,-13 1 15,14 0-15,-14 0 0,0-1 16,0 14-16,1-13 0,-1 0 16,0 0-16,0 0 0,1-1 15,-14 1-15,0 0 16,13 13-16,-13-13 0,0-1 16,0 1-16,0 0 0,0 0 15,0-1-15</inkml:trace>
  <inkml:trace contextRef="#ctx0" brushRef="#br0" timeOffset="90867.07">9128 11602 0,'0'-13'0,"13"13"63,14 0-48,-14 0-15,0 13 16,1-13-16,12 0 0,-13 0 0,14 0 16,-1 0-16,1 13 0,12-13 0,-12 0 15,-1 0-15,14 0 0,-14 0 16,14 13-16,-14-13 0,14 0 0,13 0 16,0 0-16,0 0 0,0 0 0,0 0 15,0 0-15,13 0 0,-13 0 16,13 0-16,0 14 0,13-14 0,-12 0 15,12 0-15,0 0 0,1 0 16,-1 13-16,0-13 0,1 0 0,-1 0 16,1 13-16,-1-13 0,0 0 15,1 13-15,-1-13 0,0 0 0,1 14 16,-14-14-16,13 0 0,1 0 0,-1 13 16,-13-13-16,14 0 0,-28 0 15,15 0-15,-14 13 0,13-13 0,-13 0 16,13 0-16,-13 0 0,13 0 0,-13 0 15,13-13-15,-13 13 0,0 0 0,0 0 16,0 0-16,-1 0 0,-12 0 16,13 0-16,-13 0 0,-14 0 15,14-13-15,-14 13 0,14 0 0,-13 0 16,12 0-16,-12 0 0,12 0 16,1 13-16,-14-13 0,14 0 0,-13 0 15,12 0-15,-12 0 0,12 0 0,-12 0 16,-1 0-16,1 0 0,-1 0 0,1 0 15,12 0-15,-12 0 0,-14 0 16,14 0-16,-1 0 0,0 13 0,1-13 16,-1 0-16,1 0 0,-14 0 0,14 0 15,-14 0-15,0 0 0,0 0 16,0-13-16,1 13 0,-1 0 16,0 0-16,0 0 15,1 0 1,-14-13-1,13 13 1,-13-14-16</inkml:trace>
  <inkml:trace contextRef="#ctx0" brushRef="#br0" timeOffset="91316.97">13864 11536 0,'-13'0'16,"39"13"15,-12-13-31,-1 13 16,0-13-16,-13 14 15,13-14-15,1 13 0,-1-13 0,0 13 16,0-13-16,-13 13 0,13-13 16,1 13-16,-1-13 15,0 14-15,0-1 16,1-13 0,-1 0-1,-13 13 1,0 0 15,0 1-31,-13-14 0,13 13 0,-14 0 16,1-13-16,0 13 0,-14 1 0,1 12 15,0-13-15,-1 0 0,-13 1 16,14-1-16,-14 0 0,14 0 16,-14 1-16,0-1 0,14-13 0,-14 13 15,-13-13-15</inkml:trace>
  <inkml:trace contextRef="#ctx0" brushRef="#br0" timeOffset="92534.98">9300 11430 0,'13'-13'31,"-39"26"1,13-13-17,-1 0-15,1 13 0,-13-13 16,13 0-16,-14 13 0,14-13 0,-14 14 16,14-14-16,-13 13 0,-1-13 0,14 13 15,0-13-15,-14 0 0,14 13 0,0-13 16,0 0-16,-1 14 0,1-14 15,0 13-15,0-13 0,-1 0 16,1 13 0,13 0-1,0 1 17,0-1-17,13-13-15,-13 13 16,14-13-16,-14 13 0,13-13 0,-13 13 15,13 1-15,0-1 0,1 0 16,-14 0-16,13-13 0,0 14 16,-13-1-16,13 0 0,-13 0 15,14-13-15,-14 14 0,13-1 0,0-13 16,-13 13-16,13 0 0,-13 0 0,13-13 16,-13 14-16,14-14 15,-14 13-15,13 0 16,-13 0 31</inkml:trace>
  <inkml:trace contextRef="#ctx0" brushRef="#br0" timeOffset="93619.16">18799 10729 0,'0'0'0,"-14"-27"15,14 14-15,-13 13 0,-53-26 32,53 26-32,0 0 0,-14 13 15,14-13-15,-14 13 0,14 0 0,-13 1 16,13-1-16,-1 13 0,1-12 15,0-1-15,0 0 0,13 0 0,0 0 16,-14-13-16,14 14 0,14-1 0,-14 0 16,13-13-16,0 0 15,14 0-15,-14 0 16,0-13-16,0 0 0,0 13 16,1-14-16,-1 1 0,0 0 0,0 0 15,1 0-15,-14-1 0,13 1 0,0 13 16,-13-13-16,13 13 15,-13 13 1,0 0-16,0 1 0,0-1 16,0 13-16,0-13 0,0 1 0,0 12 15,0 1-15,0-14 0,0 13 0,-13-12 16,13 12-16,0-13 0,0 0 16,0 1-16,-13-1 0,13 0 0,0 0 15,0 1-15,0-1 0,0 0 16</inkml:trace>
  <inkml:trace contextRef="#ctx0" brushRef="#br0" timeOffset="94047.78">19116 10716 0,'0'0'15,"-40"-14"-15,27 14 0,0 14 0,0-14 16,0 0-16,-1 0 0,1 13 16,0-13-16,13 13 0,-13-13 0,13 13 15,-14-13-15,14 14 0,0 12 16,14-13-1,-1 0-15,0 1 0,0-14 16,1 13-16,-1-13 0,13 13 0,-13 0 16,1-13-16,-1 14 0,0-1 15,0-13-15,1 13 0,-1-13 16,0 13-16,0 1 0,-13-1 16,14-13-16,-14 13 0,-14 13 15,1-12-15,0-1 16,0 0-16,-14 0 0,14 1 0,-14-1 15,14-13-15,-13 13 0,13 0 16,-1-13-16,-12 13 0,-1 1 16,14-14-16,0 13 15</inkml:trace>
  <inkml:trace contextRef="#ctx0" brushRef="#br0" timeOffset="94270.93">19553 10689 0,'0'0'0,"13"0"0,-26 13 31,13 1-31,0 12 16,-14-13-16,1 1 0,13 12 0,-13-13 15,0 14-15,13-1 0,-13-13 16,-1 14-16,1-1 0,0-12 0,13-1 15,-13 13-15,13-13 0,-14 1 0,1-1 16,0 0-16,0 0 0,13 1 0,-13-14 16,13 13-16,-14-13 0</inkml:trace>
  <inkml:trace contextRef="#ctx0" brushRef="#br0" timeOffset="94415.71">19275 10835 0,'-13'-14'0,"39"28"47,-13-14-47</inkml:trace>
  <inkml:trace contextRef="#ctx0" brushRef="#br0" timeOffset="94561.9">19592 10941 0,'14'0'16,"-1"0"15,-26 26 0</inkml:trace>
  <inkml:trace contextRef="#ctx0" brushRef="#br0" timeOffset="95115.84">18997 11377 0,'0'0'0,"27"0"0,-1 0 0,-13 0 0,14 0 15,-1 0-15,1-13 0,12 13 16,1-13-16,13 13 0,-13-14 0,13 1 16,-1 0-16,1 0 0,0-14 15,13 14-15,-13 0 0,-13-14 0,13 1 16,-13-1-16,13 1 0,-14-1 0,1 1 16,-14-14-16,14 1 0,-14-1 15,1 0-15,-1-13 0,1 0 0,-1 1 16,14-1-16,-14-14 0,-12 15 15,-1-15-15,0 1 0,-13 0 0,-13 0 16,0 13-16,-27 0 0,0 0 0,-13 0 16,-13 0-16,-26 14 0,-1-1 15,14 27-15,-14 0 0,-13-1 0,14 14 16,-41 14-16,1-1 0,13 0 16,0 13-16,13 14 0,-13 0 0,13 13 15,14-14-15,-1 28 0,0-14 16,14 13-16,0 0 0,26 0 0,-13 13 15,26-26-15,13 0 0,1 13 0,13-13 16,13 0-16,0-13 0,13 26 16,13-13-16,1-13 0,-1 12 0,80 28 15,-40-40-15,0-14 0,1 0 16,-1 1-16,13-1 0,-13-12 0,0-1 16,1 0-16,-15-13 0,1 0 15,27 13-15,-54-13 0,1-13 16,26 13-16,-27-13 0,1 13 15,-14-13-15,13 13 0,1-14 16,-1 1-16</inkml:trace>
  <inkml:trace contextRef="#ctx0" brushRef="#br0" timeOffset="95782.62">20360 10835 0,'0'0'16,"39"0"0,-12 0-1,-1 0-15,1 0 0,12-14 16,1 14-16,13 0 0,-13 0 0,13 0 16,-14-13-16,1 13 0,26 0 15,-26 0-15,-14-13 0,1 13 16,-1 0-16,-13 0 0,14 0 0,-14 0 15,0 0-15,1-13 0,-1 13 16,-26-13 15,-1-1-15</inkml:trace>
  <inkml:trace contextRef="#ctx0" brushRef="#br0" timeOffset="96231.72">20796 10610 0,'40'13'31,"-27"-13"-31,0 0 15,14 13-15,-14-13 0,14 0 0,25 13 16,-25 1-16,-1-14 16,1 13-16,-1-13 0,-12 0 0,12 13 15,0-13-15,-12 0 0,12 13 0,-13-13 16,1 0-16,12 14 0,-13-14 0,0 0 16,1 13-16,-1-13 15,0 0-15,0 0 16,-13 13-16,14-13 15,-14 13 1,-14 1-16,14-1 16,-13 0-16,0 0 15,0 0-15,13 1 0,-14-14 16,1 13-16,0 0 0,0 0 16,-14-13-16,14 14 0,0-1 0,0 0 15,-1-13-15,1 13 0,0 1 0,0-14 16,0 13-16,-1 0 0,14 0 15,-13-13-15,0 13 0,0-13 0</inkml:trace>
  <inkml:trace contextRef="#ctx0" brushRef="#br0" timeOffset="97994.88">18799 12171 0,'26'0'31,"-13"0"-31,14 0 0,-14-13 16,0 13-16,14 0 0,-14 0 15,0-14-15,0 14 0,1 0 0,-1 0 16,-40-13 15,14 26-31,-13-13 0,12 0 0,-12 0 16,0 0-16,-1 14 0,1-14 15,-1 13-15,14-13 0,-27 13 16,27-13-16,0 13 0,0-13 0,-1 14 16,14-1-1,14-13-15,-1 13 16,0-13-16,13 0 16,-12 0-16,-1 13 0,0-13 0,14 0 15,-14 0-15,0 13 0,14-13 16,-14 0-16,0 14 0,0-14 0,0 13 15,1-13-15,-14 13 0,0 0 16,-14 1 0,14-1-16,-26 0 0,13 0 0,-14 0 15,1 14-15,-1-14 0,1 0 0,-1 1 16,1-1-16,0-13 0,-1 13 0,1-13 16,12 13-16,1-13 0,-13 14 15,13-14-15,-1 0 0,14 13 0,-13-13 16,40-13 15,-14-1-31,13 1 0,14-13 0</inkml:trace>
  <inkml:trace contextRef="#ctx0" brushRef="#br0" timeOffset="98250.66">19539 12065 0,'0'0'0,"-26"13"31,26 0-31,-13 1 0,-14-1 16,14 13-16,-13 1 15,-1-1-15,1 1 0,13 12 0,-14-12 16,1-1-16,-1 1 0,1-14 0,12 13 16,1 1-16,0-14 0,0 0 0,0 14 15,-14-14-15,14 0 0,0 1 16,-1-1-16,1 0 15,0-13-15,13 13 0,-13-13 0,-1-13 16</inkml:trace>
  <inkml:trace contextRef="#ctx0" brushRef="#br0" timeOffset="98382.92">19103 12330 0,'0'-14'0,"13"1"15,0 13 1,1 0 0</inkml:trace>
  <inkml:trace contextRef="#ctx0" brushRef="#br0" timeOffset="98544.93">19434 12435 0,'0'0'15,"-14"0"17,1 0-17</inkml:trace>
  <inkml:trace contextRef="#ctx0" brushRef="#br0" timeOffset="99227.17">20174 12211 0,'40'0'15,"-13"0"-15,-1 0 16,1 0-16,12 0 0,-12 0 16,12 0-16,1 0 0,-13 0 15,12 0-15,-12 0 0,12 0 0,-12 0 0,-14-14 16,14 14-16,-1 0 0,-13 0 16,0 0-16,1 0 0,-1 0 15,0 0-15,0 0 16,1 0-16</inkml:trace>
  <inkml:trace contextRef="#ctx0" brushRef="#br0" timeOffset="99554.42">20611 12012 0,'0'0'16,"27"0"0,-14 13-16,0-13 0,0 0 0,0 14 15,1-14-15,-1 13 0,0-13 0,0 13 16,1-13-16,-1 13 0,0-13 16,0 13-16,0 1 0,1-14 15,-1 13-15,0 0 0,-13 0 0,13 1 16,-13-1-1,0 0-15,0 0 0,-13 1 0,0-1 16,0 0-16,-1 0 0,1 0 16,0 1-16,-13-1 0,12 0 15,1 0-15,0 1 0,0-14 0,-1 13 16,1-13-16,13 13 16</inkml:trace>
</inkml:ink>
</file>

<file path=ppt/ink/ink33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3:26:57.465"/>
    </inkml:context>
    <inkml:brush xml:id="br0">
      <inkml:brushProperty name="width" value="0.05292" units="cm"/>
      <inkml:brushProperty name="height" value="0.05292" units="cm"/>
      <inkml:brushProperty name="color" value="#FF0000"/>
    </inkml:brush>
  </inkml:definitions>
  <inkml:trace contextRef="#ctx0" brushRef="#br0">5146 2434 0,'-13'0'0,"26"0"0,-26-13 0,0 39 16,13-12-1,0-1-15,0 13 0,-14 1 16,14 12-16,0 1 0,-13 0 0,13 0 16,0-1-16,-13 1 0,13 13 0,0 26 15,-13-52-15,13-1 16,0 1-16,0-1 0,0 0 0,0 1 15,0-1-15,0-12 0,0 12 0,0-13 16,0 1-16,0-1 16,0 0-16</inkml:trace>
  <inkml:trace contextRef="#ctx0" brushRef="#br0" timeOffset="2750.29">5133 2474 0,'26'0'0,"27"-27"15,-13 27-15,-14 0 16,1 0-16,13-13 0,-1 13 16,14 0-16,-13 0 0,13-13 0,0 13 15,0 0-15,26 0 0,-13 0 16,14-13-16,-14 13 0,13 0 16,0 0-16,1-14 0,-1 14 0,80 0 15,-80-13-15,1 13 0,-14 0 0,13-13 16,1 13-16,-14 0 0,13-13 15,0 13-15,-12 0 0,12 0 16,-26-13-16,13 13 0,-13 0 0,13-14 16,0 14-16,0 0 0,1-13 15,-1 13-15,0 0 0,-13 0 0,0-13 16,13 13-16,-13 0 0,0-13 0,0 13 16,-14 0-16,14 0 0,0 0 15,-13 0-15,13-14 0,0 14 0,-14 0 16,1 0-16,0 0 0,-1 0 0,-12 0 15,12 0-15,-12 0 0,13 0 16,-1 0-16,-12 0 0,-1 0 0,14-13 16,-14 13-16,14 0 0,-13 0 15,-1 0-15,0 0 0,1 0 16,-1 0-16,14 0 0,-13 0 0,-1 0 16,0 0-16,1 0 0,13 0 0,-14 0 15,1 0-15,-1 0 0,0 0 16,1 0-16,13 0 0,-14 0 15,27-13-15,-27 13 0,14 0 16,-13 0-16,-1 0 0,0 0 0,1 0 16,-1 0-16,1 0 0,-1 0 15,27 0-15,-26 0 0,12 0 0,-12 0 16,-1 0-16,1 0 0,-1 13 0,1-13 16,-1 0-16,1 0 15,-1 0-15,27 0 0,-27 0 16,1 0-16,-1 0 0,1 0 0,-1 0 15,1 0-15,-1 0 0,-13 0 16,14 0-16,-1 0 0,1 0 0,-1 0 16,1 0-16,-1 0 0,-13 0 0,14 0 15,-1 13-15,1-13 0,-1 0 16,14 0-16,-14 0 0,1 0 0,-1 0 16,1 0-16,-1 0 0,1 0 15,-1 0-15,14 0 0,-14 0 0,1 0 16,12 0-16,-12 0 0,13 14 0,-14-14 15,0 0-15,1 0 0,-1 0 16,1 0-16,-1 0 0,1 0 0,-1 0 16,1 0-16,-14 0 0,13 0 15,1 0-15,-14 0 0,13 0 0,-12 0 16,-1 0-16,13 0 0,-12 0 0,-1 0 16,0 0-16,0 0 0,1 0 15,-1 0-15,0 0 0,0-14 16,0 14-16,1 0 0,-1 0 15,0 0 1,0 0-16,1 0 0,12 0 16,-13 0-1,1 0 1,-14-13-16,13 13 16,0 0-1,0 0 1,0 13 31,-13 1-32,14-1-15,-14 0 16,13 0-16,-13 1 0,0-1 0,13 0 16,-13 0-16,0 0 15,13 1-15,-13-1 0,14 13 0,-14-12 16,0-1-16,13 0 0,-13 0 0,0 14 15,13-14-15,-13 0 0,0 14 16,0-14-16,0 0 0,0 0 0,0 14 16,0-14-16,0 0 0,0 1 0,0 12 15,0-13-15,-13 0 0,13 14 16,0-14-16,0 0 0,0 1 0,0 12 16,13-13-16,-26 1 0,26-1 15,-13 0-15,0 0 0,0 0 0,0 1 16,0-1-16,0 0 15,0 0-15,0 1 16,13-1 0,-13 0 15,0 0 0,-13-13-15,0 0-1,0 13 1,-14-13 0,14 0-16,0 0 15,-1 14-15,1-14 0,-13 0 0,13 0 16,-14 0-16,1 13 0,-1-13 16,1 0-16,-14 0 0,0 13 0,-13-13 15,14 0-15,12 0 0,-26 0 0,0 0 16,14 13-16,-14-13 0,-53 0 15,53 0-15,-53 0 16,53 0-16,0 0 0,0 0 0,14 0 16,-14 0-16,13 0 0,1 0 15,-1 0-15,-13 0 0,13 0 0,1 0 16,-14 0-16,0 0 0,13 0 0,-13 0 16,0 0-16,13 0 0,1 0 0,-1 0 15,0 0-15,14 0 16,-27 0-16,13 0 0,1 0 0,12 0 15,-26 0-15,0 0 0,14 0 0,-1 0 16,0 0-16,1 0 0,-1 0 16,13 0-16,-12 0 0,-1 0 0,0 0 15,1 0-15,-1 0 0,0 0 0,14-13 16,-14 13-16,1 0 0,-1 0 16,0 0-16,-13 0 0,14 0 15,-14 0-15,0 0 0,13-13 0,-13 13 16,13 0-16,-13 0 0,14 0 0,-14 0 15,13 0-15,1 0 0,-1 0 16,-13 0-16,13 0 0,-13 0 0,0 0 16,14 0-16,-14 0 0,13 0 0,14 0 15,-14 0-15,0 0 0,14 0 16,-14 0-16,14 0 0,-14 0 0,0 13 16,14-13-16,-27 0 0,13 0 0,1 0 15,-1 0-15,0 0 0,0 0 16,1 13-16,-1-13 0,14 0 0,-14 0 15,13 0-15,-12 0 0,12 0 0,1 0 16,-1 0-16,1 0 0,0 14 16,-1-14-16,1 0 0,-1 0 15,14 0-15,-14 0 0,1 0 0,0 0 16,-1 0-16,1 13 0,-1-13 16,1 0-16,12 0 0,-12 0 0,0 0 15,-1 0-15,1 13 0,-1-13 0,1 0 16,-1 0-16,1 0 0,-1 0 0,1 0 15,-1 0-15,14 0 0,-13 0 16,-1 0-16,1 0 0,-1-13 0,1 13 16,-1 0-16,14 0 0,-13 0 0,-1 0 15,1 0-15,13 0 0,-14 0 16,1 0-16,-1 0 0,14 0 0,-13 0 16,-1 0-16,1 0 0,-1 0 15,1 0-15,-1 0 0,1 0 0,-1 0 16,1 0-16,-1 0 0,1 0 15,0 0-15,-1 0 0,14 0 0,-14 0 16,14 0-16,-13 0 0,12 0 0,1 0 16,-13 0-16,13 0 0,-1 0 15,1 0-15,0 0 0,0 0 0,-1 0 16,1 0-16,0 0 0,0 0 0,-1 0 16,1 0-16,0 0 15,0 0-15,0 0 0,-1 0 16,1 0-16,0 0 0,0 0 0,-1 0 15,1 0-15,0 0 0,0 0 0,0 0 16,-1 0-16,1 0 0,0 0 16,0 0-16,-1 0 15,1 13-15,0-13 0,0 0 0,-1 0 16,1 0-16,0 0 16,0 0-16,-14 0 15,1 0-15,13 0 16,-1 13-1,1-13-15,0 0 0,0 0 16,-1 0-16,1 0 16,0 0-1,0 0-15,0 0 16,-1 0-16,1 0 16,0 0-16,0 0 15,-1 0 1,1 0-1,0 0 64,0 0-17</inkml:trace>
  <inkml:trace contextRef="#ctx0" brushRef="#br0" timeOffset="8265.03">7011 3572 0,'-13'0'0,"13"-13"31,40 13-15,-27 0-16,14 0 16,-1 13-16,27-13 15,0 0-15,0 0 0,0 0 0,0 0 16,0 0-16,-1 0 0,1 0 0,0 0 15,0 0-15,0 0 0,0 0 16,0 13-16,0-13 0,-13 0 0,-1 0 16,-12 0-16,-1 13 0,1-13 0,-14 0 15,0 14-15,0-14 0</inkml:trace>
  <inkml:trace contextRef="#ctx0" brushRef="#br0" timeOffset="8652.52">7144 3757 0,'0'0'0,"66"-13"0,-40 13 16,107 0-1,-80 0-15,-14-13 0,14 13 0,0 0 16,-13 0-16,13 0 0,0 0 16,0 0-16,-1 0 0,-12 0 0,0 0 15,0 0-15,-1 0 0,-12 0 0,-1 0 16,1 0-16,-1 0 16,0 0-16,-12 0 0,-1 0 0,13 0 15,-12 0-15,-1 0 0,0 0 16,0 0-16,1 0 15,-1 0-15</inkml:trace>
  <inkml:trace contextRef="#ctx0" brushRef="#br0" timeOffset="10572.53">9895 4524 0,'0'-13'31,"0"53"-31,0-27 15,0 27-15,-13 52 0,13-52 0,-13 26 16,0-13-16,-1 0 0,14 13 0,-13-13 0,0 0 16,0-13-16,13-1 0,-13 14 15,13-26-15,-14 12 0,14-12 16,-13-1-16,13-12 0,0 12 0,0-13 16,0 1-16,-13-1 0,13 0 15</inkml:trace>
  <inkml:trace contextRef="#ctx0" brushRef="#br0" timeOffset="11335.83">9882 4511 0,'13'-13'15,"1"13"-15,-14-13 0,26 13 0,-13 0 16,14 0-16,12 0 0,54 0 16,-40 0-16,13 0 0,14 0 0,-1 0 15,0 0-15,14 13 0,-14-13 16,14 0-16,-14 0 0,1 0 0,12 0 15,-12 0-15,-1 13 0,-13-13 16,0 0-16,-13 0 0,0 0 16,0 0-16,0 0 0,-13 0 0,-14 0 15,14 0-15,-14 0 0,-13 13 0,14-13 16,-1 0-16,-12 0 0,-1 0 16,0 0-16,0 0 0,1 0 15,-1 14-15,0-14 0,-13 13 16,13 0-16,-13 0 0,13 1 15,-13-1-15,0 13 0,0-13 0,14 14 16,-14 13-16,13-1 0,-13 1 0,0 0 16,13-1-16,-13 1 0,13 0 15,-13-1-15,14 1 0,-14 0 16,0-1-16,13-12 0,-13-1 0,0 1 16,0-1-16,0 1 0,0-14 0,0 13 15,0-12-15,0 12 0,0-13 16,0 1-16,0-1 0,-13 0 15,13 0-15,-14-13 0,1 14 0,0-14 16,0 0-16,-1 13 0,-12-13 16,0 0-16,-41 0 0,14 0 15,1-13-15,-1 13 0,-80-14 16,54 14-16,-67-13 16,67 0-16,-14 13 0,1 0 15,12-13-15,-12 13 0,12 0 0,-12 0 16,13-14-16,-14 14 0,14 0 0,-1 0 15,1 0-15,-1 0 0,27 0 16,-13 0-16,13 0 0,14 0 0,-41 0 16,54 0-16,-1 0 0,1 0 15,0 0-15,12 0 0,1 0 0,-13 0 16,12 0-16,1 0 16,-13 0-16,12 0 15,1 0-15,0 0 31</inkml:trace>
  <inkml:trace contextRef="#ctx0" brushRef="#br0" timeOffset="20791.74">10081 10239 0,'13'-13'0,"-26"0"47,-14 13-32,14 0 1,0 13-16,-1-13 16,1 0-16,13 13 0,-13-13 15,0 14-15,13-1 16,0 0-1,0 0-15,13-13 16,-13 14-16,13-1 0,0 0 16,1 0-16,-14 0 0,13 1 15,-13-1 1,0 0-16,-13 0 16,13 1-16,-14-14 15,1 13-15,0-13 16,0 0-1,26-27 17,-13 14-32,13 13 15,-13-13-15,13 13 0,1-13 0,-1-1 16,0 1-16,0 0 0,1 0 16,-1 0-1,-13-1-15,13 14 0,-13-13 0,0 0 16,13 0-16,-13-1 15,0 1 1,-13 0-16,-13 26 47</inkml:trace>
  <inkml:trace contextRef="#ctx0" brushRef="#br0" timeOffset="21131.76">10279 10213 0,'0'0'0,"-13"13"32,13 0-17,-13-13-15,-1 14 0,14-1 16,-13-13-16,0 26 0,0-26 0,13 14 15,-14-1-15,1 0 16,0 0-16,13 0 16,-13-13-16,13 14 15,0-1 1,13-13 0,-13 13-16,13-13 15,0 0-15,1 0 16,-1 0-16,0 0 15,0 0-15,1 0 16,-1-13 0,0 13-1</inkml:trace>
  <inkml:trace contextRef="#ctx0" brushRef="#br0" timeOffset="21356.89">10319 10213 0,'-13'13'32,"13"0"-32,0 1 15,-14-14-15,14 26 16,0-13-16,0 1 0,-13-1 16,13 0-16,0 13 0,0-12 0,0-1 15,-13 0-15,13 0 0,0 1 0,0-1 16,0 0-16,0 0 0,-13-13 0,13 14 15,0-1 1,0 0-16</inkml:trace>
  <inkml:trace contextRef="#ctx0" brushRef="#br0" timeOffset="21514.14">10385 10372 0,'0'-14'32</inkml:trace>
  <inkml:trace contextRef="#ctx0" brushRef="#br0" timeOffset="21983.93">10451 10200 0,'0'0'15,"13"13"1,1-13-1,-14 13-15,-14 0 16,14 1-16,0-1 16,-13-13-16,13 13 0,0 0 15,-13-13-15,13 14 0,0-1 16,-13-13-16,13 13 16,0 0-1,13-13 1,0 0-1,0 0 1</inkml:trace>
  <inkml:trace contextRef="#ctx0" brushRef="#br0" timeOffset="22176.27">10570 10200 0,'0'13'32,"0"0"-32,0 0 0,-13-13 15,13 14-15,0-1 0,0 0 0,-13 0 16,13 1-16,-14-1 16,14 0-16,0 0 0</inkml:trace>
  <inkml:trace contextRef="#ctx0" brushRef="#br0" timeOffset="23373.88">11814 10213 0,'0'-13'0,"0"39"62,0-13-46,0 1-16,0-1 0,0 0 15,0 0-15,0 1 0,-14-1 16,14 0-16,0 0 0,-13 0 16,0 1-16,0-1 15,0 0 1,26-39 15,0 12-15,-13 1-16,13 13 15,-13-13-15,13 13 0,-13-13 0,14 0 16,-1-1-16,-13 1 0,13 0 16,-13 0-16,0-1 15,0 1-15,0 0 31,-13 13-31,0 0 32</inkml:trace>
  <inkml:trace contextRef="#ctx0" brushRef="#br0" timeOffset="23690.76">12052 10186 0,'0'0'16,"-13"27"15,-1-27-31,14 13 16,-13 0-16,0 1 16,0-14-16,13 13 0,-14-13 15,14 13-15,-13-13 0,13 13 0,-13 1 16,13-1-1,0 0 1,13-13 0,0 13-16,1-13 15,-1 0 1,0 0-16,0 0 0,1 0 16,-1 0-16,0-13 15,0 13-15,0 0 0</inkml:trace>
  <inkml:trace contextRef="#ctx0" brushRef="#br0" timeOffset="23912.94">12131 10200 0,'0'0'16,"-13"-14"-16,13 41 31,-13-27-31,13 13 0,0 0 16,-14 1-16,14-1 0,0 0 15,-13 0-15,13 1 0,-13-1 16,13 0-16,0 0 0,-13 0 0,13 1 16,0-1-16,0 0 0,-13 0 0,13 1 15,0-1 1,13-13-16</inkml:trace>
  <inkml:trace contextRef="#ctx0" brushRef="#br0" timeOffset="24073.03">12263 10319 0,'-13'0'15</inkml:trace>
  <inkml:trace contextRef="#ctx0" brushRef="#br0" timeOffset="24448.74">12356 10213 0,'13'-13'0,"14"13"31,-27 13-31,13-13 0,0 0 31,-13 13-31,13-13 16,-13 13-16,0 1 0,0-1 16,0 0-1,0 0-15,0 1 0,0-1 16,0 0-16,0 0 16,0 0-16,0 1 0,0-1 15,0 0 1</inkml:trace>
  <inkml:trace contextRef="#ctx0" brushRef="#br0" timeOffset="24645.08">12382 10345 0,'0'0'0,"14"-13"31,-1 13-31,-13-13 0,13 13 16,0 0-16,1 0 0,-1 0 15,0-13-15,0 13 0,1 0 0,12-14 16</inkml:trace>
  <inkml:trace contextRef="#ctx0" brushRef="#br0" timeOffset="24928.81">12726 10200 0,'-13'-27'31,"0"27"-31,0 13 0,0-13 16,-1 0-16,1 0 0,0 14 15,0-1 1,26 0 0,0-13-1,0 0-15,1 0 0,-14 13 16,13-13-16,0 14 15,0-14-15,-13 13 16,0 0-16,13-13 0,-13 13 16,0 1-16,0-1 15,0 0 1,0 0-16,0 0 16,0 1-1</inkml:trace>
  <inkml:trace contextRef="#ctx0" brushRef="#br0" timeOffset="29288.82">17092 7858 0</inkml:trace>
  <inkml:trace contextRef="#ctx0" brushRef="#br0" timeOffset="29444.8">17714 7766 0,'13'0'0,"-26"0"0,39-14 15,-12 14-15,-1 0 16</inkml:trace>
  <inkml:trace contextRef="#ctx0" brushRef="#br0" timeOffset="29577.06">18640 7713 0,'0'0'0,"13"0"15,0 0-15,1 0 16</inkml:trace>
  <inkml:trace contextRef="#ctx0" brushRef="#br0" timeOffset="29701.82">19341 7699 0,'13'0'0,"-26"0"0,40 0 16</inkml:trace>
  <inkml:trace contextRef="#ctx0" brushRef="#br0" timeOffset="29823.97">20214 7713 0,'27'0'0,"-54"0"0,67 0 0,-27 0 16,0 0-16</inkml:trace>
  <inkml:trace contextRef="#ctx0" brushRef="#br0" timeOffset="30152.95">20915 8215 0,'0'0'15,"0"14"1,0-1 15,0 0-15,0 0-16</inkml:trace>
  <inkml:trace contextRef="#ctx0" brushRef="#br0" timeOffset="30286.28">20743 8625 0,'0'0'15,"-26"0"-15,13 0 0,-14 0 16,14 0-16,0 0 0,0 0 16</inkml:trace>
  <inkml:trace contextRef="#ctx0" brushRef="#br0" timeOffset="30440.29">19487 8850 0,'-40'0'0,"13"0"15,14 0-15,-13 0 0,13 14 0,-14-14 0,1 0 16</inkml:trace>
  <inkml:trace contextRef="#ctx0" brushRef="#br0" timeOffset="30580.33">18746 9115 0,'-14'13'0,"28"-26"0,-41 26 0,14-13 15</inkml:trace>
  <inkml:trace contextRef="#ctx0" brushRef="#br0" timeOffset="30729.05">18230 9022 0,'-66'-13'31,"52"0"-31</inkml:trace>
  <inkml:trace contextRef="#ctx0" brushRef="#br0" timeOffset="30848.84">17608 8705 0</inkml:trace>
  <inkml:trace contextRef="#ctx0" brushRef="#br0" timeOffset="31121.75">17833 8070 0,'106'-13'16</inkml:trace>
  <inkml:trace contextRef="#ctx0" brushRef="#br0" timeOffset="31256.24">18600 8043 0,'13'0'0,"-26"0"0,40 0 16,-14 0-16,0 0 16,0 0-1</inkml:trace>
  <inkml:trace contextRef="#ctx0" brushRef="#br0" timeOffset="31391.74">19222 8229 0,'26'0'16,"-52"0"-16,52 13 0,-12-13 0,-14 13 16,-14 0-1,1 0 1</inkml:trace>
  <inkml:trace contextRef="#ctx0" brushRef="#br0" timeOffset="31520.61">19156 8559 0,'0'0'0,"-13"0"16,-14 0-16,14 0 0,0 13 0,-27-13 15,14 0-15,-1 0 16</inkml:trace>
  <inkml:trace contextRef="#ctx0" brushRef="#br0" timeOffset="31636.27">18150 8599 0,'-52'-13'16,"-15"-14"-1</inkml:trace>
  <inkml:trace contextRef="#ctx0" brushRef="#br0" timeOffset="31728.95">17714 8414 0,'0'0'0,"-13"-13"15,13-1 1,13 1-16</inkml:trace>
  <inkml:trace contextRef="#ctx0" brushRef="#br0" timeOffset="32102.03">19632 8136 0,'0'0'0,"27"0"0,-14 0 0,0 0 16,0 0-16,0 0 15,1 0 1,-1 0-16,0 0 0,0 0 0,1 0 16,-1 0-16,0 0 0,0 0 0,14 13 15,-14-13-15,0 0 0,0 0 16,1 13-16,-1-13 0,0 0 16,0 0-16,1 0 0,-14 14 0,13-14 15,0 0-15,0 0 16,0 0-16,1 13 15,-1-13-15,0 0 16,0 0-16</inkml:trace>
  <inkml:trace contextRef="#ctx0" brushRef="#br0" timeOffset="32223.86">20280 8387 0,'0'0'16,"0"14"-16,0-1 0,0 0 15,-13 0 1,13 0-1</inkml:trace>
  <inkml:trace contextRef="#ctx0" brushRef="#br0" timeOffset="32343.92">20201 8639 0,'-13'13'0,"26"-26"0,-40 39 0,14-26 0,0 0 0,13 13 16,-13-13-16,0 0 15,-1 0 1</inkml:trace>
  <inkml:trace contextRef="#ctx0" brushRef="#br0" timeOffset="33247.75">18904 10054 0,'-13'27'31,"13"-14"-31,0 0 16,-13 14-16,13-1 0,-13-13 15,13 14-15,0-1 0,-13-13 0,13 14 16,0-14-16,-14 0 0,14 1 0,0-1 16,0 0-16,0 0 0,0 0 15,14-26 16,-1 0-31,0 0 0,-13 0 16,13-1-16,0 1 0,1 0 16,-1 0-16,0 13 0,0-14 15,1 14-15,-1-13 0,0 13 16,0 0-16,-13 13 0,14-13 16,-14 14-16,13-14 15,-13 13-15,0 0 0,0 0 16,13-13-1,0 0 1,0-13 0,1 0-16,-1 13 0,0-13 0,14-1 15,-14 14-15,0-13 0,0 13 16,-13-13-16,14 13 0,-1 0 0,0 0 16,0 0-1,0 13 1,-13 0-16,0 1 15,14-1 1,-14 0-16,13-13 0,0 0 16,0 13-16</inkml:trace>
  <inkml:trace contextRef="#ctx0" brushRef="#br0" timeOffset="33836.74">19500 10292 0,'0'-13'16,"13"0"-16,-13 0 16,13-1-16,-13 1 15,0 0 1,-13 39 31,0-26-47,13 14 0,0-1 15,0 0-15,-13-13 16,13 13-16,0 1 16,13-14-16,-13 13 0,13-13 15,-13 13-15,13-13 0,0 0 0,1 0 16,-1 0-16,0 0 0,14-13 0,-14 13 15,0 0-15,14-13 0,-14 13 16,0-14-16,13 1 0,-12 0 16,-1 13-1,-13-13-15,-13-1 16,-1 14-16,1 0 16,0 0-1,0 0-15,13 14 0,-13-14 0,-1 0 16,14 13-1,0 0 1,14 0-16,-1-13 16,-13 14-16,13-14 0,0 13 15,0-13-15,1 13 16,-1-13-16,0 0 16,0 0-16,1 0 15,-1 0 1,0 0-16,0 0 0,1 0 15,-1-13-15</inkml:trace>
  <inkml:trace contextRef="#ctx0" brushRef="#br0" timeOffset="36391.8">22304 8506 0,'0'14'16,"-13"-14"46,0 13 47,0-13 266,-1 0-328,41 0 344,-14 0-375,0 0-1,1-13-15,-1 13 0,0 0 0,0 0 16,1 0-16,-1-14 0,13 14 0,-13 0 15,1 0-15,-1-13 0,0 13 16,0 0-16,1 0 0,-1-13 0,0 13 16,0 0-16,-13-13 15,13 26 1,1-13-16,-14 13 0,-14 0 16,14 1-16,0-1 0,-13 13 15,13-13-15,-13 1 0,0 12 16,13-13-16,-13 14 0,-1-14 0,14 14 15,-13-14-15,13 0 0,-13 0 16,13 0-16,0 14 0,-13-27 16,13 13-16,-14 0 0,14 1 0,0-1 15,-13 0 1</inkml:trace>
  <inkml:trace contextRef="#ctx0" brushRef="#br0" timeOffset="36588.82">22251 8744 0,'0'-13'0,"53"13"32,-39 0-32,12 0 15,1 0-15,-1 0 0,-13-13 0,14 26 16,-1-26-16,1 13 0,-14 0 0,13 0 15,-13 0-15</inkml:trace>
  <inkml:trace contextRef="#ctx0" brushRef="#br0" timeOffset="36893.01">22834 8546 0,'13'0'0,"13"13"15,-26 0 1,-13 1-16,0-1 0,0 13 16,-1-12-16,1 12 0,0-13 0,-14 14 15,14-14-15,0 0 0,0-13 0,13 13 16,-14 1-16,14-1 0,0 0 31,14-13-31,-1 0 0,0 0 16,0 0-16,54-13 15,-54 13 1,13 0-16,-13 0 0,1 0 16,-1 0-16,0 0 15</inkml:trace>
  <inkml:trace contextRef="#ctx0" brushRef="#br0" timeOffset="38252.83">22463 9618 0,'0'-14'31,"13"14"-31,-13 27 78,-13-14-78,13 0 0,-13 1 16,13-1-16,-13 0 0,13 0 15,0 0-15,-14 1 0,1-1 16,13 0-16,-13 0 0,13 1 15,-13-1-15,13 0 0,0 0 0,-13 0 16,-1 1-16,14-1 16,0 0-16</inkml:trace>
  <inkml:trace contextRef="#ctx0" brushRef="#br0" timeOffset="38583.83">22622 9710 0,'0'13'47,"-13"1"-47,13-1 0,0 0 16,0 0-16,13 1 15,-13-1-15,13-13 0,0 13 16,1-13-16,12 0 15,-13-13 1,0 13-16,1-13 0,-1-1 16,-13 1-16,0 0 15,0 0-15,0-1 16,-13 14-16,13-13 16,-14 13-16,1 0 0,-26 0 15,25 0-15,1 0 0,0 0 16,0 0-16,-1 0 0</inkml:trace>
  <inkml:trace contextRef="#ctx0" brushRef="#br0" timeOffset="38845.78">23098 9631 0,'-40'13'31,"27"0"-31,13 1 0,-13-1 16,0-13-16,0 13 0,-14 13 15,27-12-15,-13-1 16,13 0-16,0 0 16,13-13-16,0 14 0,14-14 15,-14 0 1,0 0-16,0 0 0,1-14 0,-1 14 15,0-13-15,0 13 16</inkml:trace>
  <inkml:trace contextRef="#ctx0" brushRef="#br0" timeOffset="39027.94">23217 9657 0,'13'-39'15,"1"25"-15,-41 28 32,27-1-32,-13 0 15,0 0-15,13 1 0,-13-1 16,-1 13-16,1-13 0,13 14 0,-13-14 15,13 14-15,-13 25 16,13-38-16,0-1 16,-14 0-16,14 0 0,0 14 15,-13-14-15,13 0 0,0 1 0,-13-1 16</inkml:trace>
  <inkml:trace contextRef="#ctx0" brushRef="#br0" timeOffset="39715.79">22569 10319 0,'-13'26'15,"13"-13"-15,0 1 0,-14-1 16,14 13-16,0-12 0,0-1 16,0 13-16,-13-12 0,13-1 0,0 0 15,-13 0-15,13 0 0,0 1 16,-13-1-16,13 0 0,-13-13 16,26-13 15,0 0-31,-13-1 15,13 1-15,0 0 0,1 0 16,-1 0-16,0-1 0,0-12 0,1 13 16,-14-1-16,13 1 0,0 0 0,-13 0 15,0-1-15,13 1 16,-13 0-16,0 0 0,0 0 16,-13-1-1,0 14-15,0 0 16,-1 0-16,1 14 0,0-14 0,0 0 15,-1 13-15,1-13 0,13 13 0</inkml:trace>
  <inkml:trace contextRef="#ctx0" brushRef="#br0" timeOffset="39979.79">22794 10358 0,'0'0'0,"13"0"0,0 14 31,-13-1-31,-13 0 16,13 0-16,-13 1 0,0-1 16,13 0-16,-14 0 0,14 1 15,-13-1 1,26 0-16,-13 0 16,14-13-16,-1 0 0,0 0 15,0 0-15,1 13 16,-1-13-16,0-13 0,0 13 0,0 0 15,14 0-15,-14 0 0,0 0 0,1 0 16,-1 0-16</inkml:trace>
  <inkml:trace contextRef="#ctx0" brushRef="#br0" timeOffset="42099.82">22582 11046 0,'0'-13'47,"0"0"0,13 13 281,-39 13-31,13-13-297,13 13 16,-14 1-16,14-1 15,0 0-15,-13 0 0,13 0 16,0 1-16,0-1 0,-13 0 16,13 0-16,0 1 0,-13-1 0,13 0 15,0 0-15,-13 1 0,-1-1 0,14 0 16,-13-13-16,0 13 0,0 0 16,-1-13-16,1 14 15,0-14-15,13-14 16,0 1-1,0 0-15,13 13 0,-13-13 16,13 0-16,1-1 0,-1 1 0,0 0 16,0 0-16,1-1 0,-1 14 15,0-13-15,0 0 0,0 0 16,-13-1-16,14 1 0,-1 0 16,-13 0-1,-13 0-15,-1 13 16,1 13-16,0-13 15,0 13-15,0-13 16,13 13-16</inkml:trace>
  <inkml:trace contextRef="#ctx0" brushRef="#br0" timeOffset="42832.79">22781 11099 0,'0'-13'16,"13"0"-1,-40 39 32,27-13-47,-13 1 16,0-14-16,13 13 16,-13 0-16,-1 0 0,1 1 15,13-1-15,-13-13 16,13 13-1,-13-13-15,13 13 0,-13-13 16,13 14 0,-14-1 31,1 0 62,26-13-31,1 13-78,-1-13 16,0 0-16,0 0 0,0 0 15,14 0-15,-14 0 16,0-13-16,1 13 0,12 0 0,-13 0 16,1 0-16,-1 0 0,0 0 0,0 0 15,0-13 1,1 13-16</inkml:trace>
  <inkml:trace contextRef="#ctx0" brushRef="#br0" timeOffset="43028.94">22847 11099 0,'0'-13'31,"-13"39"-31,13-12 0,0-1 16,0 13-16,-14-12 0,14 12 0,-13-13 16,0 14-16,13-1 0,-13-13 15,13 14-15,-14-14 0,14 14 16,-13-14-16,13 13 0,0-12 0</inkml:trace>
  <inkml:trace contextRef="#ctx0" brushRef="#br0" timeOffset="43648.98">22490 11840 0,'-27'27'31,"27"-14"-31,-13-13 0,13 26 16,0-13-16,-13 1 0,13-1 0,-14 13 15,1-12-15,13-1 0,-13 0 16,0 14-16,0-14 0,13 0 15,-14 0-15,1 0 16,26-39 15,1 13-31,-1 0 16,0-14-16,0 14 0,0-14 16,14 1-16,-14 13 0,27-40 15,-40 40-15,13-14 16,-13 14-16,-13-14 15,0 27-15,13-13 16,-14 13-16,1 0 0,0 0 0,0 13 16,-1-13-16,1 0 0,0 14 15,0-1-15,0 0 0,-1 0 16</inkml:trace>
  <inkml:trace contextRef="#ctx0" brushRef="#br0" timeOffset="44258.84">22754 11893 0,'-13'0'0,"26"0"0,-26-13 0,0 13 32,-1 13-17,14 0 1,-13 0-16,13 1 16,-13-1-16,13 0 0,-13 0 15,13 1-15,-13-1 0,-1 0 16,14 0-16,-13 1 0,13-1 15,-13-13-15,13 13 0,-13 0 16,26 0 15,13-26-31,-12 13 0,-14-13 16,13 13-16,0 0 0,-13-13 0,13 13 16,0-13-16,-13-1 15,0 1 1,0 0-16,-13 13 15,13-13-15,-13 13 0,-13 0 16,12 13-16,1-13 16,0 0-16,13 13 0,-13-13 15,13 13-15</inkml:trace>
  <inkml:trace contextRef="#ctx0" brushRef="#br0" timeOffset="44980.55">22304 12660 0,'14'27'32,"-14"-14"-32,0 0 0,-14 0 15,14 1-15,-13-1 0,13 0 0,-13 0 16,13 1-16,-13-1 0,-1-13 16,14 13-16,-13 0 0,13 1 15,-13-14-15,26-14 31,0 1-15,1 0-16,-1 0 0,0-1 0,0-12 16,1 13-16,-14-1 0,13-12 15,0 13-15,-13 0 0,13-1 0,-13 1 16,0 0-16,0 0 0,0-1 16,-13 14-16,13-13 15,-13 13-15,0 0 0,-1 0 16,1 13-16,13 1 15,0 12 1</inkml:trace>
  <inkml:trace contextRef="#ctx0" brushRef="#br0" timeOffset="46248.22">22569 12687 0,'-13'0'0,"52"0"47,-12-13-32,-14 26 1,0-13-16,1 0 16,-1 13-16,-13 0 15,13 0-15,-13 1 0,0-1 16,0 13-16,0-12 15,0-1-15,0 0 0,0 0 0,0 1 16,0-1-16,0 0 0,-13 0 0,13 0 16,-13 1-16</inkml:trace>
  <inkml:trace contextRef="#ctx0" brushRef="#br0" timeOffset="46371.78">22635 12912 0,'27'-14'0,"-54"28"0,80-28 15,-40 1-15,0 13 0,1-13 16,12 0-16,1 13 0,12-13 0,-12-1 16,12 1-16,1 0 0</inkml:trace>
  <inkml:trace contextRef="#ctx0" brushRef="#br0" timeOffset="47175.73">22503 7673 0,'-66'-27'15,"52"27"1,-12 0-16,0 14 0,-1-14 0,-13 13 15,14 0-15,-14 0 0,14 1 0,13-14 16,-14 13-16,14 0 0,13 0 0,-13 1 16,13-1-16,13 0 15,0-13 1,0 0-16,14-13 0,-1 13 0,14-13 16,0 13-16,-1-14 0,-12 1 15,-1 13-15,1-13 0,-14 13 0,0 0 16,0 0-16,1 13 15,-28 0-15,14 1 0,-13-1 16,0 0-16,0 13 0,-1 14 16,-12-13-16,13-1 0,0-13 0,-1 14 0,1-14 15,0 13-15,13-12 0,-13-1 0,13 0 16,-14 0-16,14 1 0,0-1 16,14-13-16,-14 13 0,13 0 15</inkml:trace>
  <inkml:trace contextRef="#ctx0" brushRef="#br0" timeOffset="47488.55">22847 7620 0,'-106'40'31,"93"-27"-31,13 0 0,-14-13 16,14 13-16,0 1 16,0-1-16,14 0 0,-1-13 15,0 13-15,0 1 0,-13-1 0,14 0 16,-1 0-16,0 0 0,0 1 0,-13-1 16,14 0-16,-14 0 0,13 1 15,-13 12-15,0-13 0,-13 1 0,13-1 16,0 13-16,-14-13 0,14 1 0,0 12 15,-13-13-15,0 1 0,13 12 16,-13-13-16,13 0 0,-14 1 0</inkml:trace>
  <inkml:trace contextRef="#ctx0" brushRef="#br0" timeOffset="48495.85">22146 966 0,'0'0'0,"0"26"16,13-13-16,-13 14 0,0-1 15,0 1-15,0 12 0,0 1 16,0 13-16,0-13 0,13 13 0,-13 0 15,13 13-15,1 0 0,-14-13 16,13 13-16,13-13 0,-13 13 16,1-13-16,12 0 0,-13 0 0,14 0 15,-14 0-15,0 0 0,1-1 0,-1-12 16,0 13-16,-13-13 0,13 13 16,-13 0-16,13 13 0,-13-27 0,0 28 15,0-15-15,0 1 0,0-13 0,0 26 16,-13 0-16,13-13 0,-26 66 15,13-66-15,-1 0 0,1 0 16,0 13-16,0-13 0,-1 0 0,1 13 16,0-13-16</inkml:trace>
  <inkml:trace contextRef="#ctx0" brushRef="#br0" timeOffset="48792.8">22079 5067 0,'-13'92'0,"26"-184"0,-52 356 15,26-197-15,-1-15 16,1 15-16,-13-15 0,12 15 0,1-14 16,0 13-16,0 0 0,0-13 0,-14 13 0,14-13 15,0 0-15,-1 0 16,1 13-16,13-27 0,-13 14 0,13-13 15,-13 13-15,13 0 0,0 13 0,-14-13 16,14 13-16,-13-13 0,0 13 16,13 0-16,-13 0 0,0 1 0,-1-1 15,1 0-15,0 0 0,-14 0 0,14 0 16,0 0-16,0 1 0,-1-14 16,1 13-16,0-13 0</inkml:trace>
  <inkml:trace contextRef="#ctx0" brushRef="#br0" timeOffset="50056.68">23945 1191 0,'0'53'0,"0"-106"0,0 145 15,0-52-15,0 0 0,-13 26 16,13 0-16,-14 0 0,1 172 16,13-158-16,-13 78 15,13-65-15,0-1 0,0-12 0,-13 26 16,13-14-16,0-12 15,0 12-15,0-12 0,13 12 0,-13-12 0,0-1 16,13 0-16,0 14 0,-13-14 0,14 14 16,-1 0-16,0 12 15,0-12-15,0 0 0,-13-1 0,14-12 16,-14-1-16,13 14 0,-13-14 0,0 14 0,0-14 16,0 14-16,0-14 0,0 14 15,0-1-15,-13-13 0,13 27 16,-14-13-16,1 13 0,13-27 15,-26 93-15,13-13 0,-1-80 16,1 14-16,0-14 0,0 1 16,-1-1-16,1 0 0,0 1 0,0 26 15,-1-27-15,-12 14 0,0-1 16,-1 14-16,14-13 0,-14-1 0,1 1 16,0-1-16,-1 14 0,-26 79 15,40-105-15,-14 26 0,14-27 16,0 14-16,0-14 0,0 0 0,13 14 15,-14-14-15,1 1 0,0 26 16,13-14-16,-13-12 0,13-1 0,-14 14 16,14-14-16,-13 27 0,0-14 0,0 14 15,-1-13-15,1 13 0,0-14 16,-13 14-16,12 0 0,-12-14 0,13 14 16,-14-13-16,14 0 0,-13 12 0,12-12 15,-12-14-15,13 14 0,-14 13 16,14-27-16,-14 14 0,14-1 15,-13-12-15,13 12 0,-14 1 0,1 0 16,-1 12-16,14-38 0,0 38 16,-14-25-16,14-1 0,-13 14 0,12-14 15,1 0-15,0 1 0,0-1 0,-1-13 16,1 14-16,0-14 0,0 0 0,13 13 16,-14-12-16,1-1 0,0 13 15,13-13-15,-13 0 0,13 0 0,-13 1 16,-1 12-16,14-13 0,-13 0 0,0 0 15,13 14-15,-13-14 0,-1 0 0,-12 14 16,13-1-16,-1 0 0,-12 67 16,13-67-16,0 1 0,-1-14 15,1 0-15,0 0 0,0 0 0,-1-13 16,1 0-16,13 0 16,-13-13-16,0-1 0,0 1 0,-1-14 15,1 1-15,0-14 0</inkml:trace>
  <inkml:trace contextRef="#ctx0" brushRef="#br0" timeOffset="50807.69">21365 8281 0,'13'14'0,"1"-14"16,-14 13-16,13 13 0,-13 1 0,13 13 16,-13-1-16,0 27 0,0 14 0,-13-1 15,0 40-15,-1 0 0,-12 146 16,-1-120-16,14 14 0,-13 0 15,12 0-15,1-1 0,-13 1 0,13 13 16,-14-13-16,1 0 0,-1-1 16,14-12-16,-13-1 0,-1 1 0,14-14 15,-14 0-15,14-12 0,-13-15 0,12-25 16,1-1-16,13-13 0,-13 0 16,0 1-16,0-1 0,-1-13 0,1-14 15,0 1-15,13-14 0</inkml:trace>
  <inkml:trace contextRef="#ctx0" brushRef="#br0" timeOffset="53209.16">18838 12647 0,'-13'0'16,"26"0"-16,-26 13 0,26 1 31,1-14-31,12 0 16,0 0-16,1-14 0,13 14 0,-1-13 0,14 0 15,-13 0-15,0-1 16,-14 1-16,14 0 0,-27 0 0,13-1 16,-12 1-16,-1 0 0,0 0 0,-13 0 15,13-1-15,-13 1 0,14 0 16,-28 0-1,1 26 1,0 0-16,0 0 0,-1 14 0,1-1 16,-13 1-16,13 12 0,-1-12 15,-12 13-15,13-1 0,-1-12 16,1 12-16,13 1 0,-13-13 0,13-1 0,-13-13 16,13 14-16,0-14 15,0 13-15,-14-12 0,14-1 0,0 0 16,0 0-16,14-13 0,-14 14 0</inkml:trace>
  <inkml:trace contextRef="#ctx0" brushRef="#br0" timeOffset="53516.11">19288 12687 0,'27'13'16,"-27"0"-1,0 0-15,0 1 0,0 12 16,0-13-16,0 27 0,-14-27 16,14 14-16,0-14 0,-13 0 15,13 0-15,0 1 0,-13-1 0,13 0 16,-13 0-16,26-52 31,-13 25-31,13-12 16,-13 13-16,13 0 0,1-1 15,-14-12-15,13 13 0,0-1 16,-13 1-16,13 13 0,-13-13 0,14 13 16,-1-13-1,0 13-15</inkml:trace>
  <inkml:trace contextRef="#ctx0" brushRef="#br0" timeOffset="54067.85">19513 12687 0,'-13'13'32,"0"0"-32,13 0 15,0 1-15,-14-1 0,14 0 16,0 0-16,0 1 16,0-1-16,0 0 0,0 0 15,0 1-15,0-1 0,0 0 16,14-13-16,-14 13 15,13-13-15,0 0 16,13-13-16,-12 0 16,-1 13-16,-13-13 0,13-1 15,0 14-15,1-13 0,-14 0 16,13 13-16,-13-13 0,13 13 16,-13-14-16,0 41 31,0-14-16,0 0-15,0 1 16,0-1 0,13-13-16,14 0 15,-14 0-15,0-13 0,0 13 16,1-14-16,-1 14 0,0-26 0,0 13 16,1-1-16,-1 1 0,0 0 15,-13 0-15,13 13 0,-13-14 16,14 1-16,-1 13 0,-26 13 31,-1 1-31,14-1 16,0 0-16,0 0 0,0 1 15,0-1-15,14 0 16,-14 0-16,13-13 16,0 0-16,0 0 0,0 14 0,1-14 15,-1 0-15,13 0 0,1-14 0,-1 14 16,1-13-16</inkml:trace>
  <inkml:trace contextRef="#ctx0" brushRef="#br0" timeOffset="54715.67">20280 12607 0,'-13'14'0,"-13"39"31,26-40-31,-14 0 16,14 0-16,0 0 0,0 1 16,0-1-16,-13-13 15,13 13-15,13-39 32,-13 12-32,14 14 15,-14-13-15,13 13 16,-13-13-16,13 13 0,-13-13 0,13 13 15,1 0-15,-1 13 16,0-13-16,0 13 16,-13 0-16,13-13 0,-13 14 0,0-1 15,0 0-15,14-13 16,-14 13-16,0 1 0,0-1 31,26-26-15,-26-1-16,13 1 15,1 0-15,-1 13 16,-13-13-16,13 13 16,0 0-16,1 0 0,-1 0 15,0 13-15,0-13 0,0 13 16,1-13 0,-14 13-16,13-13 0,-13 14 0,13-14 15,0 0-15,1 13 16,-1-13-16,0 0 15,0 0-15</inkml:trace>
  <inkml:trace contextRef="#ctx0" brushRef="#br0" timeOffset="55310.81">20690 12753 0,'0'-13'0,"0"26"0,0-40 16,-13 14-1,13 0-15,-13 13 16,0 13-1,13 0 1,0 1-16,-13-14 16,13 13-16,0 0 15,13 0-15,0-13 0,-13 14 16,13-14-16,0 0 0,1 0 16,-1 0-16,0 0 0,0-14 0,14 14 15,-14-13-15,0 13 0,14-13 16,-14 0-16,0-1 0,-13 1 0,13 0 0,1 13 15,-14-13-15,13 0 16,-13-1-16,-13 1 16,-1 13-16,1 13 31,0-13-31,13 14 0,-13-14 16,13 13-16,-14-13 0,14 13 15,0 0-15,14-13 16,-14 13-1,13-13-15,0 0 16,0 0-16,1 0 16,-1 0-16,0 0 31,-13 14-31,13-14 0,-13 13 16,14 0-1,-1-13 16,0 13-31,0-13 16,-13-13-16,13 13 16,1 0-1,-1 0-15,0 0 16,-13 13 15,-13 1-31</inkml:trace>
  <inkml:trace contextRef="#ctx0" brushRef="#br0" timeOffset="55931.63">20545 13110 0,'-13'0'0,"39"0"31,27 0-15,-26 0-16,-14-13 16,13 13-16,1-13 0,12 13 0,-12-14 15,-1 1-15,14 13 0,-14-13 16,1 0-16,-1 0 0,1-1 0,-1 1 16,1 0-16,-14 0 0,13-1 15,-12 1-15,-1 0 0,13 0 0,-12-1 16,-1 1-16,-13-13 0,13 13 0,0-14 15,-13 1-15,0 12 0,13-12 16,-13-14-16,-13 14 0,13-14 0,-13 0 16,-40-65-16,27 52 0,-14 0 15,0-13-15,-13-1 0,-13 15 16,-13-1-16,-1 0 0,-12 13 16,-1 0-16,14 14 0,-1 13 0,-12-1 15,-14 1-15,13 13 0,-12 0 0,-1 0 16,-27 0-16,14 13 0,0 1 15,0 12-15,0 1 0,-92 25 16,118-12-16,0 0 0,1 13 0,-1-14 16,14 14-16,-14 0 0,27 13 15,0 1-15,0-1 0,13 0 0,13-13 16,14 0-16,-1 13 0,1-13 0,26 0 16,0-14-16,0 14 0,13 0 0,13 0 15,14 0-15,0-13 0,13-1 16,13 1-16,0 0 0,0-14 0,27 14 15,13-14-15,-27-12 0,14-1 16,-1 0-16,1-13 0,-1 0 0,1 0 16,0-13-16,12 0 0,-12-1 15,-14 1-15,1 0 0,-1-14 0,1 14 16,-14 0-16,0 0 0,-27 0 0,14-1 16,-13 14-16,-13-13 0,-1 13 15,0 0-15</inkml:trace>
  <inkml:trace contextRef="#ctx0" brushRef="#br0" timeOffset="56099.88">20598 13229 0,'0'0'0,"0"-13"31,0 0-16,13 13-15,-13-14 16</inkml:trace>
  <inkml:trace contextRef="#ctx0" brushRef="#br0" timeOffset="56233.66">20783 13229 0</inkml:trace>
  <inkml:trace contextRef="#ctx0" brushRef="#br0" timeOffset="57995.99">11377 7064 0,'-13'-66'32,"0"53"-17,-27-40 1,13 40-16,14-14 0,-13 14 0,-1-13 16,1 12-16,-14 1 0,14-13 15,-14 13-15,14-1 0,-14 1 0,0 0 16,1 13-16,-1-13 0,-13 13 0,13 0 15,-13 0-15,0 13 0,-13-13 0,13 26 16,-13-12-16,13-1 0,0 13 16,0 14-16,1-14 0,-1 14 0,0-13 15,0 25-15,13-12 0,0 0 0,1 0 16,-1-1-16,14 14 0,12-26 16,1 12-16,0 1 0,13-14 15,0 1-15,0-1 0,0 14 0,13-14 16,14 1-16,-14 13 0,26-14 15,-12 1-15,13-1 0,13-13 0,-1 14 16,1-14-16,0 13 0,13-12 0,1-1 16,-1-13-16,0 13 0,0-13 0,13 13 15,-12-13-15,-1 0 0,-13 0 16,26 0-16,-13 0 0,0-13 0,0 13 16,1-13-16,-1 0 0,-13-1 0,13-12 15,-13 13-15,0-1 0,-14-12 16,1 13-16,0-14 0,-1 14 0,-12-13 15,-1-14-15,1 0 0,-1 14 16,1-40-16,-14 26 0,-13 0 16,13 14-16,-13-1 0,-13 1 15,13-14-15,-13 1 0,-14 12 0,14 1 16,-13-14-16,-14 13 0,0 1 0,0-14 16,1 14-16,-14 13 0,0-14 15,0 14-15,-53-14 16,53 14-16,0 13 0,-39 0 15,52 0-15,0 13 0,1 1 16,-1-1-16,0 0 0,1 0 0,-1 14 0,0-14 16,14 14-16</inkml:trace>
  <inkml:trace contextRef="#ctx0" brushRef="#br0" timeOffset="63391.78">9062 11218 0,'-13'-13'0,"26"26"0,-26-39 0,0 26 0,-1 0 16,1 0-16,0-13 0,-27 26 16,14-13-16,-1 0 15,14 0-15,-13 0 0,-1 13 0,14-13 16,-14 0-16,14 13 0,-13-13 0,12 0 16,1 14-16,0-14 15,0 13-15,0-13 0,-1 13 0,1 0 16,0 0-16,0 1 0,13-1 15,-14 13-15,14-12 0,0-1 0,0 0 16,-13 27-16,13-14 16,0-13-16,-13 14 0,13-14 0,0 0 15,-13 14-15,13-14 0,0 0 0,0 14 16,-14-14-16,14 0 0,0 0 16,0 1-16,0-1 15,-13 0-15,13 0 16,0 1-1,13-14 17,1 0-32,-1 0 0,0 0 15,0 0-15,1 0 0,12 0 0</inkml:trace>
  <inkml:trace contextRef="#ctx0" brushRef="#br0" timeOffset="64379.67">13692 11721 0,'27'-13'31,"-14"13"-31,13 0 0,-12 0 16,-1-13-16,0 13 0,0 0 16,0 0-16,1 0 0,-1 0 0,0 0 15,14 0-15,-14 0 16,0 0-1,-13 13-15,13-13 0,1 13 16,-1 0-16,-13 1 0,0-1 16,13 0-16,-13 0 15,0 0-15,0 14 0,13-14 0,-13 0 16,0 1-16,0 12 0,13-13 0,-13 0 16,0 14-16,0-14 15,14 0-15,-14 1 0,0 12 0,0-13 16,13 1-16,-13-1 0,0 0 0,13 0 15,-13 0-15,0 1 0,0-1 16,13 0-16,-13 0 0,0 1 0,14-1 16,-14 0-16,0 0 15,13 1 1,-13-1-16,0 0 16,-13 0-1,13 0-15,-14 1 16,1-1-16,0-13 15,0 13-15,-1-13 0,1 13 0,0-13 16,-13 14-16,12-14 0,-12 13 0,-1-13 16,14 0-16,-13 0 0,12-13 15,-12 13-15</inkml:trace>
  <inkml:trace contextRef="#ctx0" brushRef="#br0" timeOffset="74266.24">3784 9869 0,'-27'13'0,"-92"106"31,93-92-31,-1-1 0,14 14 0,0-14 16,-1 14-16,1-14 0,0 1 16,13-1-16,-13-12 0,13-1 0,0 0 15,13 14-15,-13-14 0,13 0 0,-13 0 16,13 0-16,1 1 0,-1-1 15,0-13-15,0 13 0,1-13 0,12 0 16,-13 0-16,0 0 0,1 0 0,12 0 16,1-13-16,-1 13 0,14-13 15,-14-1-15,14-12 0,-14 13 0</inkml:trace>
  <inkml:trace contextRef="#ctx0" brushRef="#br0" timeOffset="74800.37">4260 9869 0,'39'0'31,"-25"-13"-31,12 13 16,-13-14-16,14 14 0,-1-13 15,-12 13-15,12-13 0,-13 13 16,0-13-16,1 13 0,-1-13 0,0-1 16,0 14-1,-13-13-15,0 40 31,-13-14-31,13 0 0,0 13 0,-13-12 16,13 12-16,0-13 0,-13 14 0,13-1 16,0 1-16,-14-1 0,14 1 15,0-1-15,-13-13 0,13 1 16,0 12-16,0-13 0,-13 1 0,13-1 0,0 0 16,-13-13-16,13 13 15,0 0-15,-13-13 16,52-13 15,-26 13-31,1-13 0,-1 0 0,13 13 16,-12-13-16,12-1 0,-13 1 15,1 13-15,12-13 0,-13 13 0,27-13 16,-27 13-16,0 0 16,1 13-16</inkml:trace>
  <inkml:trace contextRef="#ctx0" brushRef="#br0" timeOffset="74989.62">3982 10570 0,'13'0'16</inkml:trace>
</inkml:ink>
</file>

<file path=ppt/ink/ink33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3:28:30.767"/>
    </inkml:context>
    <inkml:brush xml:id="br0">
      <inkml:brushProperty name="width" value="0.05292" units="cm"/>
      <inkml:brushProperty name="height" value="0.05292" units="cm"/>
      <inkml:brushProperty name="color" value="#FF0000"/>
    </inkml:brush>
  </inkml:definitions>
  <inkml:trace contextRef="#ctx0" brushRef="#br0">15994 2937 0,'-13'0'31,"0"13"-15,13 0-16,-14 1 16,14 12-16,-13 0 0,0 14 15,0-13-15,-14 12 0,14 1 16,-13 26-16,26-26 0,-14 0 16,1-14-16,0 14 0,13-1 0,-13-12 15,13-1-15,-14-13 0,14 14 16,0-14-16,-13 0 0,13 14 0,0-14 15,0 0-15,0 1 0,0-1 0,0 0 16,0 0 0,0 0-16,0 1 15,0-1 1,13-13 0,14 0-1,-14-13-15,0 13 0,1 0 0,-1 0 16,0 0-16,13 0 0,1 0 0,-14 0 15,14 0-15,-1 0 0,1 13 16,12-13-16,1 0 0,13 0 0,-14 0 16,14 13-16,-13-13 0,13 0 0,0 13 15,0-13-15,0 0 0,0 14 16,0-14-16,0 0 0,-1 0 0,15 0 16,-14 0-16,-1 0 0,15 13 0,-15-13 15,15 0-15,-14 0 0,-1 0 16,54 0-16,-53 0 15,-13 0-15,13 0 0,-14 0 0,1 0 0,0 13 16,-14-13-16,14 0 0,-14 0 0,14 0 16,-13 0-16,-1 0 15,14 0-15,-14 0 0,1 0 0,-1 0 16,1 0-16,-1 0 0,1 0 0,-1 0 16,0 0-16,1 0 0,-14 0 15,14 0-15,-14 0 0,13 0 0,-12 0 16,12 0-16,-13 0 0,14-13 0,-14 13 15,0 13-15,0-13 0,14 0 0,-14 0 16,0 0-16,14 0 0,-14 0 16,0 0-16,14 0 0,-14 0 15,0 0-15,0 0 0,1 0 0,-1 0 16,0 0-16,0 0 0,14-13 16,-14 13-1,0 0-15,0 0 16,1 0-16,-1-13 31,0 13-31,0 0 16,1-14-16,-1 14 15,0-13 1,0 13-16,-13-13 16,13 13-16,-13-13 0,14 13 15,-1 0-15,-13-14 0,13 14 16,0-13-1,1 13-15,-14-13 0,13 0 16,0 0-16,-13-1 16,13 1-16,-13 0 0,13 0 0,-13-1 15,14 1-15,-14 0 0,0-14 16,13 14-16,-13-13 0,0 13 0,0-1 16,13-12-16,-13 13 0,0-14 0,13 14 15,-13 0-15,0-14 0,0 14 16,14-13-16,-14 12 0,0-12 0,13 13 15,-13-14-15,0 1 0,13 13 16,-13-14-16,0 14 0,13 0 0,-13-1 16,0-12-16,14 13 0,-14-1 15,13 1-15,-13 0 0,0 0 16,0 0-16,13 13 16,-13-14-16,0 1 15,0 0 16,-13 13-31,0 0 16,-1 0-16,1 0 16,13-13-16,-13 13 0,0 0 0,-14 0 15,-13 0-15,1 0 16,12 0-16,-12 0 0,-1 0 16,-13 0-16,0 0 0,0-14 0,0 14 15,0 0-15,0 0 0,1 0 0,-15 0 16,15 0-16,-1 0 0,-14-13 0,15 13 15,-1 0-15,0 0 0,0 0 16,0 0-16,0 0 0,0 0 16,-13 13-16,13-13 0,0 0 0,-13 0 0,13 0 15,0 0-15,-13 0 0,13 0 16,0 0-16,-53 14 16,53-14-16,14 0 0,-14 0 0,0 0 15,13 13-15,0-13 0,1 0 0,12 0 16,-12 0-16,12 0 0,1 13 15,-14-13-15,14 0 0,-1 0 0,1 0 16,-1 0-16,1 13 0,-1-13 0,1 0 16,13 0-16,-14 14 0,14-14 15,-14 0-15,14 13 0,0-13 0,0 13 16,-1-13-16,1 13 0,0-13 0,13 13 16</inkml:trace>
  <inkml:trace contextRef="#ctx0" brushRef="#br0" timeOffset="522.86">17304 2897 0,'-13'0'0,"13"-13"16,0 0-1,13 0-15,13-27 16,-13 13-16,14 1 0,52-40 15,-39 26-15,0 0 0,-1 1 0,1-1 16,13 0-16,-13 14 0,26-27 16,-40 26-16,1 14 0,-1-13 15,-13 13-15,1-1 16,-1 14-16,-13-13 16,13 13-16,-39 0 31</inkml:trace>
  <inkml:trace contextRef="#ctx0" brushRef="#br0" timeOffset="797.37">17634 2289 0,'67'-14'31,"-54"1"-31,13 13 16,1 0-16,-1 0 0,-13 13 0,14-13 16,-1 0-16,1 0 0,-14 14 0,14-14 15,-14 0-15,13 13 0,-13-13 16,1 13-16,-1 0 0,0-13 16,0 14-16,-13-1 0,14 0 0,-14 0 15,0 0-15,0 1 0,0 12 16,0-13-16,-14 1 0,14-1 15,-13 27-15,0-40 0,13 13 16</inkml:trace>
  <inkml:trace contextRef="#ctx0" brushRef="#br0" timeOffset="1829.06">17965 1508 0,'0'0'0,"0"27"47,13-14-32,-13 0-15,0 0 0,0 14 0,0-14 16,0 0-16,14 0 0,-14 1 16,0-1-16,0 0 0,0 0 15,13-13-15,-13-13 47,13 0-47,-13 0 0,0-1 16,13 1-16,-13 0 0,0 0 15,14 13-15,-14-13 0,13-1 0,-13 1 16,13 13-16,0 0 16,1 0-16,-1 0 15,-13 13-15,13 1 16,0-1-16,-13 0 16,13-13-16,-13 13 0,14 0 15,-1-26 32,-13 0-47,13 0 16,-13 0-16,13 13 15,-13-14-15,0 1 0,14 13 0,-14-13 16,13 13-16,0 0 0,0-13 16,0 13-16,1 0 15,-1 0-15,0 0 16,0 13-16,1 0 15,-1-13-15,-13 13 0,13-13 16,0 14-16,1-1 16,-1-13-16</inkml:trace>
  <inkml:trace contextRef="#ctx0" brushRef="#br0" timeOffset="2922">18534 1535 0,'-13'-27'15,"26"54"-15,-26-67 0,0 40 16,13-13-16,-14-1 16,1 28 15,13-1-31,-13-13 0,13 13 15,0 0-15,-13 1 0,26-1 16,-13 0-16,0 0 16,13-13-16,-13 14 15,13-1-15,1-13 0,-1 13 16,0-13-16,0 0 0,1 0 0,-1 0 16,13 0-16,-13 0 0,1 0 15,-1-13-15,0 13 0,27-13 16,-27-1-16,13 1 15,-12 13-15,-14-13 0,13 0 0,0-1 16,-13 1-16,13 0 16,-13 0-1,0-1-15,0 1 16,-13 13-16,0 0 16,0 13-1,-1 1-15,14-1 16,-13-13-16,13 13 15,0 0 1,0 1-16,13-1 16,1-13-1,-1 0 1,0 0-16,-13-13 16,13 13-16,-13-14 15,14 14-15,-14-13 0,13 13 16,-13-13-16,13 13 15,-13-13-15,13 13 16,-13-14-16,14 28 47,-1-14-47,-13 13 16,13 0-16,0 0 15,-13 1 1,13-14-1,-13 13 1,14-13 0,-1 0-1,0-13 1,0 13 0,1 0-16,-14-14 15,13 14 1,0 0-1,0 0 1,1 0 0,-1 0 15,0 0 16,0-13 0,0 13-16,-13-13-15,14 13 15,-1-13 0</inkml:trace>
  <inkml:trace contextRef="#ctx0" brushRef="#br0" timeOffset="3598.9">19539 1151 0,'-13'-13'0,"0"26"16,0 0-1,13 0-15,-13 1 16,13-1-16,0 0 0,0 0 15,0 1-15,0-1 0,0 0 16,13-13-16,-13 13 0,13-13 0,0 13 16,0-13-16,1 0 15,-1 0-15,0 0 0,0-13 16,1 13-16,-14-13 0,13 13 0,-13-13 16,0 0-16,0-14 15,0 14-15,-13 13 16,-1-13-16,1 13 0,0 0 15,-14 0-15,14 0 16,0 0-16,39 13 47,-12-13-47,-1 0 0,13 0 16,-12 0-16,-1 0 0,0 13 15,14-13-15,-14 13 0,0-13 0,0 14 16,0-1-16,14 13 15,-14-13-15,0 1 0,-13 25 16,0-25-16,0-1 0,-13 27 16,0-14-16,13-13 0,-13 14 0,-1-14 15,1 0-15,0 0 16,0 1-16,0-1 0,-1-13 16,1-13 15,13-14-16,0 14-15,13 0 0,1-1 0,-14-12 16,26 0-16,-13 12 0,0-12 16,27-1-16,-27 14 0,1 0 15,12 0-15,-13-1 0,1 14 16,-1 0-16,0-13 0</inkml:trace>
  <inkml:trace contextRef="#ctx0" brushRef="#br0" timeOffset="4415.03">20280 1336 0,'0'-40'0,"0"80"0,14-93 0,-14 40 0,13-13 15,-13-1-15,13-13 0,0 14 0,0-14 16,1 1-16,-1-1 0,0 0 15,14-26-15,-27 40 0,13-1 16,0-13-16,-13 27 0,0 0 16,0 0-16,13 0 0,-26 39 31,0-13-31,0 14 0,13-14 16,-14 13-16,1 1 0,13-14 15,0 13-15,-13 1 0,13-1 16,13 1-16,-13-1 15,13 1-15,-13-14 0,14 13 16,-1-12-16,0-1 0,0-13 16,1 0-16,-1 0 15,0 0-15,0-13 16,0-1-16,1 1 0,-14 0 0,13 0 16,0 0-16,-13-1 0,13 1 0,1-13 15,-14 12-15,0 1 0,13 0 16,-13-14-16,13 27 0,-13-13 15,0 0-15,0 0 0,13 0 16,-13-1-16,0 1 16,0 40 15,-13-14-15,13 0-16,0 13 0,-13-12 15,13-1-15,0 0 0,0 0 16,-13 1-16,13-1 0,0 0 15,0 0-15,0 1 0,0-1 16,0 0-16,13 0 16,0-13-1,0 0 1,1 0-16,12 0 16,-13 0-16,0 0 15,-13-13-15,14 13 16,-1 0-16,-13-13 15,13 13-15,0 0 47,1 13-47,-1 0 16,0-13 0,0 0-1,0 0-15,1 0 16,-1 0-16,-13-13 15,0 0-15</inkml:trace>
  <inkml:trace contextRef="#ctx0" brushRef="#br0" timeOffset="4613.07">20214 1085 0,'53'-27'31,"26"14"-31,-39 0 0,0 13 16,52-27-16,-65 27 0,13 0 15,-14-13-15,1 13 0,-1 0 0,0 0 16,1 0-16,-1 0 0,-12 0 16,-1 0-16,0 0 0</inkml:trace>
  <inkml:trace contextRef="#ctx0" brushRef="#br0" timeOffset="4965.18">20955 1124 0,'0'-13'16,"0"0"-16,0 0 15,0 0-15,-13-1 16,13 1-16,-13 13 16,-1 0-1,1 0-15,13 13 16,-13-13-16,13 14 0,-13-1 15,26-13-15,-13 13 16,13-13-16,14 13 16,-14-13-16,0 0 0,0 0 0,0 0 15,14 13-15,-14-13 0,0 0 16</inkml:trace>
  <inkml:trace contextRef="#ctx0" brushRef="#br0" timeOffset="5661.95">18746 2011 0,'0'40'31,"-14"-14"-31,14-13 0,0 0 0,0 14 16,-13-1-16,13-12 0,0 12 15,0-13-15,0 0 0,0 14 16,-13-14-16,13 0 0,0 1 0,0-1 15,0 0-15,0 0 0,0 1 16,0-41 15,0 14-31,0-14 0,0 14 16,0-13-16,0-1 0,13 1 16,-13-1-16,13 1 0,-13-14 0,14 27 15,-14-13-15,0 12 0,13-12 0,0 13 16,-13-1-16,13 14 0,1-13 15,-1 13-15,0 0 16,0 0-16,1 13 0,-14 1 16,0-1-16,0 0 0,0 0 15,0 1-15,-14-1 0,1 0 16,0 0-16,0 14 0,-1-14 0,1 0 16,0-13-16,0 13 0,13 1 0,-14-14 15,1 13-15,13 0 16,13-26-1</inkml:trace>
  <inkml:trace contextRef="#ctx0" brushRef="#br0" timeOffset="5946.94">18944 2077 0,'0'0'16,"0"26"15,-13-26-31,13 14 16,0-1-16,0 0 15,0 0-15,13-13 0,-13 14 16,13-14-16,1 13 0,-1-13 0,0 0 16,0 0-16,1 0 0,-1 0 0,0 0 15,0-13-15,0 13 0,1-14 16,-1 14-16,-13-13 0,13 0 16,-13 0-1,-13-1-15,13 1 16,-13 13-16,-1 0 0,1-13 15,0 13-15,0 0 0,0 0 16,-1 0-16,1 0 0,0 13 16,0-13-16</inkml:trace>
  <inkml:trace contextRef="#ctx0" brushRef="#br0" timeOffset="6369.9">19063 1931 0,'13'-13'0,"-26"26"0,40-13 47,-27 14-47,0-1 16,0 0-16,0 0 0,13 14 0,-13-14 15,0 14-15,0-1 0,0 0 16,0 1-16,0-1 0,0 1 0,0-14 16,0 13-16,0 1 0,0-14 0,0 0 15,0 1-15,0-1 0,0 0 16,0 0-16,0 1 0,0-1 15,0-40 17,0 14-17,0 0-15,0-14 0,13 14 0,-13-13 16,13-1-16,-13 1 0,14 13 0,-1-14 16,-13 14-16,13-14 0,0 14 15,1 13-15,-14-13 0,13 0 0,0 13 16,0-13-16,0 13 15,1 13-15,-14 0 16,0 0-16,-14 0 16,14 1-16,-13-1 0,13 0 15,-13-13-15,0 13 0,0 1 0,-1-14 16,14 13-16,-13-13 16,0 0-16</inkml:trace>
  <inkml:trace contextRef="#ctx0" brushRef="#br0" timeOffset="7611.94">19354 2037 0,'0'0'0,"0"-13"15,-26 26 16,26 1-15,0-1-16,0 0 16,0 0-1,0 0-15,13-13 0,0 14 16,1-14 0,-1 0-16,-13-14 0,13 14 15,0 0-15,0 0 0,-13-13 16,14 13-16,-1-13 0,0 13 15,0 13 1,1-13 0,-14 13-16,13 1 15,0-14 1,0 0 0,0-14-16,1 1 15,-1 0-15,13-27 16,-12 1-16,-1 12 0,0-13 15,0 1-15,1 12 0,-1-12 0,-13 12 16,13 1-16,0 12 0,-13 1 16,0 0-16,13 0 0,-13 0 15,-13 52 1,0-26-16,0 14 0,0 13 16,13-14-16,-14 1 0,14-1 15,-13 14-15,13-27 0,0 13 16,0-12-16,0-1 0,13 0 15,1 0-15,-14 1 0,13-14 16,13 0-16,40 0 16,-26-14-1,-27 14-15,1-13 0,-1 13 0,0-13 16,0 13-16,-13-13 0,13 13 16,-13-14-16,14 14 0,-14-13 15,-14 0 1,1 13-1,0 13 1,0-13-16,0 13 0,-1-13 16,14 14-16,-13-14 0,13 13 0,-13 0 15,13 0 1,0 1 0,13-1-16,0-13 15,1 0-15,-1 0 16,0-13-16,0 13 15,14-14 1,-14 1-16,0 0 0,0 0 0,1-14 16,-1 14-16,0-14 0,0 1 15,0 0-15,1-14 0,-14 13 16,13-12-16,0 25 0,0-12 0,-13 0 16,14 12-16,-14 1 0,0 0 0,13 13 15,-13-13-15,0-1 0,13 14 16,0 14-1,-13 12-15,14-13 0,-14 14 16,0-1-16,13-13 0,-13 14 0,0 26 16,0-27-16,13 1 15,-13-14-15,0 13 0,0-12 0,0-1 16,0 0-16,0 0 0,0 1 16,0-1-16,-13 0 0,0-13 31,-1 0-16,1-13-15,13 0 0,0-1 16,13 14-16,-13-13 16,14 0-16,-14 0 0,13-1 15,13-12-15,-13 13 0,14-14 0,-14 14 16,14 0-16,-14 0 0,13-1 0,1 1 16,-14 13-16,0-13 0,0 13 15,1 0-15,-1 0 0,0 13 16,0-13-16,1 27 15,-14-14-15,0 0 16,0 0-16,0 1 0,0-1 16,0 0-16,-14 0 15,14 0-15,-13 1 0,13-1 16,-13-13-16</inkml:trace>
  <inkml:trace contextRef="#ctx0" brushRef="#br0" timeOffset="7732.2">20386 1720 0,'0'0'15,"-13"0"1</inkml:trace>
  <inkml:trace contextRef="#ctx0" brushRef="#br0" timeOffset="8214.89">20545 1733 0,'0'13'16,"-13"40"15,26-40-31,-13 1 15,0-1-15,13 0 16,0 0-16,1-13 16,-1-13-1,0 13-15,0-13 16,-13 0-16,14-1 0,-14-25 16,0 25-16,13 1 15,-13 0-15,0 0 0,0 0 0,-13-14 16,13 14-16,0 0 15,0 26 32,13 0-47,0-13 0,-13 13 16,13-13-16,0 0 0,-13 14 16,14-14-16,-1 13 0,0-13 15,0 13-15,1-13 16,-1 0-1,0 13-15,0-13 32,0 0-17,1-13 1</inkml:trace>
  <inkml:trace contextRef="#ctx0" brushRef="#br0" timeOffset="8341.31">20968 1746 0,'13'0'15,"-26"0"-15,40 0 0,-27-13 32</inkml:trace>
  <inkml:trace contextRef="#ctx0" brushRef="#br0" timeOffset="11862.85">6959 4154 0,'39'0'31,"-12"0"-31,-14 0 0,13-13 16,14 13-16,-13 0 0,12-13 0,-12 13 16,-1 0-16,14 0 0,-14 0 0,1-14 15,-14 14-15,13 0 0,-12 0 16,-1 0-16,0 14 0,0-14 0</inkml:trace>
  <inkml:trace contextRef="#ctx0" brushRef="#br0" timeOffset="12321.21">6919 4286 0,'0'0'0,"26"13"31,-12-13-31,-1 0 0,0 0 16,13 0-16,-12 0 0,12 0 0,1 0 15,-1 0-15,1 0 0,25 0 16,-25 0-16,-14 0 0,27 0 16,-14 0-16,-13 0 0,1 0 15,-1-13-15,0 13 16,0 0-16,1 0 16,-1 0-16,0 0 15,0 0 1,1 0 31,-28 0 46,14-13-61,14 0-32</inkml:trace>
  <inkml:trace contextRef="#ctx0" brushRef="#br0" timeOffset="13817.58">8189 4180 0,'53'0'15,"-27"0"1,-13 0-16,27 0 0,-13-13 16,26 13-16,-14 0 0,14 0 0,-13-13 15,13 13-15,-14 0 0,-12 0 16,-1 0-16,1 0 0,-1 0 0,1-13 16,-14 13-16,13 0 0,-12 0 0,-1 0 15,0 0-15,0 0 16,1 0-16,-1-13 0,0 13 0,-26 13 47</inkml:trace>
  <inkml:trace contextRef="#ctx0" brushRef="#br0" timeOffset="14473.84">8295 4286 0,'26'-13'31,"-13"13"-31,1 0 16,-1 0-16,13 0 0,1 0 0,-1 0 0,1 0 16,-1-13-16,14 13 0,-14 0 15,1 0-15,26 0 16,-27 0-16,1 0 0,12 0 15,-26 0-15,1 0 0,12 0 16,-13 0-16,1 0 0,-1 0 16,0 0-16,0 0 15,1 0-15,-1 0 16,0 0 0,0 0 15,0 0 16,-26 13 203,0-13-250,0 0 15,0 13-15,-1-13 16</inkml:trace>
  <inkml:trace contextRef="#ctx0" brushRef="#br0" timeOffset="17967.29">13613 4167 0,'26'13'31,"-13"-13"-15,1 0-16,-1 0 0,13 0 0,1 0 16,-1 14-16,14-14 0,-14 0 15,14 0-15,0 0 0,-14 0 0,40 0 16,-39 0-16,-1 0 0,14 0 15,-27-14-15,14 14 16,-14 0-16,0 0 0,0 0 16,-65 14 15</inkml:trace>
  <inkml:trace contextRef="#ctx0" brushRef="#br0" timeOffset="18995.36">13626 4247 0,'-53'13'0,"106"-26"0,-132 26 15,65-13-15,1 0 0,0 0 0,0 13 16,0-13-16,-1 0 16,14 13-16,14 0 15,-1-13 1,0 0-16,0 0 0,14 14 0,-14-14 16,13 0-16,1 0 0,-14 13 0,13-13 15,1 0-15,-1 0 0,14 0 0,-13 0 16,-14 0-16,13 0 0,1 13 15,-14-13-15,13 0 0,-12 0 0,-1 0 16,0 0-16,0 0 0,1 0 16,-1 0-16,0 0 0,0 0 15,-13 13 1,13-13 0,1 0-1,-1 0 1,0 0 15,-13-13 110,0 0 406</inkml:trace>
  <inkml:trace contextRef="#ctx0" brushRef="#br0" timeOffset="19913.98">15544 4260 0,'119'-13'31,"-79"13"-31,13 0 0,0 0 16,-13-14-16,12 14 0,1 0 0,-13 0 16,0 0-16,52 0 0,-52 0 15,-14-13-15,14 13 0,-13 0 16,-1 0-16,27 0 0,-40 0 16,14 0-16,-14 0 0,0 0 15,14-13-15,-14 13 16</inkml:trace>
  <inkml:trace contextRef="#ctx0" brushRef="#br0" timeOffset="20223.41">15796 4379 0,'53'-13'0,"-106"26"0,132-26 0,-39 13 0,-14 0 15,1 0-15,26-14 0,-14 14 16,1 0-16,0-13 0,-14 13 16,14 0-16,-14 0 0,14-13 0,-14 13 15,-12 0-15,12 0 0,-13 0 16,0 0-16,1 0 0,-1 0 0,0 0 15,0 0-15,1 0 0,-1 0 16</inkml:trace>
  <inkml:trace contextRef="#ctx0" brushRef="#br0" timeOffset="26464.32">19116 4458 0,'0'40'62,"0"-27"-62,0 0 0,0 1 0,-13 12 16,13 1-16,0-1 0,-13 0 15,-14 54-15,27-41 0,-13 1 16,-13 0-16,12 0 0,1-1 16,-13 1-16,12 0 0,1-14 0,0 14 15,0-14-15,-1 1 0,14-1 0,-13 1 16,0-14-16,0 40 0,0-40 15,13 0-15,-14 14 16,1-14-16,13 0 0,-13 14 16,0-14-16,13 0 0,-14-13 15,14 13-15,-13 1 16,0-1 0,13 0 15,26 0-16,-12-13-15,12 0 0,14 0 16,13 0-16,26-13 0,0 13 0,14 0 16,13-13-16,26 13 0,0-13 15,14-1-15,0 14 0,12-13 0,-12 13 16,-1-13-16,1 13 0,-1 0 0,-12 0 16,-28 0-16,15 0 15,-15 0-15,81 0 0,-94 0 16,-12 13-16,65 0 0,-92-13 15,-13 14-15,-1-14 0,-12 0 0,-1 13 16,-12-13-16,12 0 16,-13 13-16,-26 0 15,0-13-15</inkml:trace>
  <inkml:trace contextRef="#ctx0" brushRef="#br0" timeOffset="27822.82">1244 6006 0,'0'0'0,"-14"0"0,14 13 31,14-13-15,-14 13-16,13-13 0,0 14 0,13-14 15,1 0-15,13 13 0,13-13 16,-14 13-16,14-13 0,0 0 0,13 0 16,0 13-16,14-13 0,-1 0 0,0 0 15,-12 0-15,12-13 0,14 13 16,79-13-16,-93 13 16,14 0-16,-1-13 0,1 13 0,-14-14 0,14 14 15,92-13-15,-106 13 16,93-13-16,-92 13 15,-1 0-15,93 0 0,-93 0 16,1 0-16,-1 0 0,1 0 0,-1 13 16,-13-13-16,0 0 15,0 0-15,0 0 0,1 0 0,-1 0 16,-13 0-16,0 0 0,0 0 0,-1 0 16,1 0-16,0 0 0,-13 0 0,13-13 15,0 13-15,-14 0 0,41 0 16,-40-13-16,-14 13 0,0 0 15,14 0-15,-13-13 0,-1 13 0,14 0 16,-14 0-16,1-14 0,-1 14 16,1 0-16,-14 0 0,13 0 0,-12-13 15,25 13-15,-26 0 0,1 0 16,-1 0-16,0 0 0,0 0 16,1-13-16,-1 13 0,0 0 15,0 0-15,0 0 0,1-13 16,-1 13-16,-13-14 15,13 14-15,0-13 0,1 0 16,-14 0-16,13 0 0,0-1 16,-13 1-16,0-13 0,13-27 15,1 26-15,-14-12 0,0-1 16,0 0-16,-14 0 0,14-52 16,-13 52-16,0 1 0,0-41 15,-1 40-15,14 1 0,-13 12 16,13 14-16,-13-13 0,0-1 0,13 14 15,-14-14-15,14 14 0,-13 0 0,13-13 16,0 12-16,0 1 0,0 0 16,0 0-16,0-1 0</inkml:trace>
  <inkml:trace contextRef="#ctx0" brushRef="#br0" timeOffset="28770.89">19010 4485 0,'-13'-14'0,"0"14"15,39-13 17,-12 13-32,12 0 15,67 0-15,-27 0 0,13 0 16,14 0-16,-1 0 0,41 0 15,12 0-15,1 0 0,12-13 0,1 13 16,0 0-16,0 0 0,13 0 0,-14 0 16,14 0-16,-13 0 15,-13 0-15,12 13 0,-25-13 0,-1 0 16,-26 0-16,0 13 0,-14-13 0,1 0 16,-14 14-16,1-14 0,-27 0 15,-14 0-15,1 0 0,-14 0 0,-12 13 16,-14-26-16</inkml:trace>
  <inkml:trace contextRef="#ctx0" brushRef="#br0" timeOffset="29905.57">1759 5239 0,'-13'-13'16,"40"26"15,-1 0-15,-13-13-16,27 0 0,13 13 0,13-13 16,0 0-16,27-13 0,-1 13 15,1-13-15,39 13 0,1-13 0,-1-1 16,0 1-16,1 0 0,-1 0 0,0-1 15,0-12-15,14 13 0,-14-1 16,1-12-16,-14 13 0,13 0 0,-13-1 16,-26 1-16,-1 0 0,1 0 0,-1 13 15,-12-14-15,-1 1 0,-13 13 16,0-13-16,-13 13 0,0 0 16,-13 0-16,0 0 0,-14-13 0,1 13 0,-14 0 15,0 0-15,0 0 0,0 13 16</inkml:trace>
  <inkml:trace contextRef="#ctx0" brushRef="#br0" timeOffset="45469.84">16563 6707 0,'-13'13'0,"-1"14"15,1-14-15,0 0 0,0 14 16,0-14-16,-1 0 0,1 14 0,-13-14 16,12 0-16,1 0 0,0 14 15,-14-1-15,14-12 0,13-1 16,-13-13-16,13 13 0,-13 0 0,13 0 16,0 1-16,0-1 15,13-13-15,0 0 16,0 13-16,1-13 0,-1 0 15,0 13-15,0-13 0,27 0 16,-13 0-16,-14 0 0,13 0 16,-13 0-16,14 0 0,-14 0 0,14-13 15,-14 13-15,13 0 0,-12-13 0,-1 13 16,0-13-16</inkml:trace>
  <inkml:trace contextRef="#ctx0" brushRef="#br0" timeOffset="45643.69">16854 6892 0,'0'0'0,"13"0"32,-26 27-17,13-14-15,0 0 0,-13-13 16,13 14-16,-13-1 0,13 0 0,-14 13 16,14-12-16,-13-1 0,13 0 0,-13 0 15,13 1-15</inkml:trace>
  <inkml:trace contextRef="#ctx0" brushRef="#br0" timeOffset="45777.7">16854 6800 0,'-13'0'0</inkml:trace>
  <inkml:trace contextRef="#ctx0" brushRef="#br0" timeOffset="46177.88">16960 6932 0,'0'13'0,"-13"1"16,13-1-1,0 0-15,0 0 0,-14 0 16,14 14 15,14-40 0,-1 13-31,-13-14 0,13 14 16,-13-13-16,13 13 0,0 0 16,1 0-16,-1-13 15,0 26-15,0-13 0,1 13 16,-1-13-16,0 14 16,0-1-16,1 0 15,-1 0-15,0-13 16,0 14-1,0-14-15,1 0 16</inkml:trace>
  <inkml:trace contextRef="#ctx0" brushRef="#br0" timeOffset="46834.96">17383 6985 0,'0'-26'16,"0"52"-16,13-66 0,-26 27 31,0 26 0,0-13-31,13 14 16,0-1-16,-14 0 15,14 0-15,0 0 0,0 1 16,14-1-16,-1 0 16,0 0-16,0-13 0,1 0 15,12 0-15,-13 0 0,0 0 16,14 0-16,-1-13 0,-12 13 0,12-13 16,-13 13-16,1-13 0,38-14 15,-38 14 1,-1 0-16,-13 0 15,0-1 1,-13 14-16,-1 0 16,1 0-1,0 0-15,13 14 16,-13-14-16,13 13 16,13 0-1,0-13 1,0 13-1,1-13-15,-1 0 16,0 0-16,-13 13 16,13-13-16,1 14 15,-1-1 1,0-13 15,0-13-15,1 13-16,-14-14 0,13 1 15,0 0-15,0 0 0,0 0 16,1-1-16,-1 1 0,13 13 0,-12-13 16,12 0-16,-13-1 0,1 14 15,12-13-15,0 13 0</inkml:trace>
  <inkml:trace contextRef="#ctx0" brushRef="#br0" timeOffset="48402.6">18455 6787 0,'-14'0'15,"28"0"-15,-41 0 0,14 0 0,0 0 16,0 13-16,-1 0 15,1 0 1,0 0-16,13 1 0,-13-1 16,13 0-1,13-13-15,-13 13 0,13-13 16,0 0-16,1 0 0,-1 0 16,0-13-16,0 13 15,0 0-15,1 0 16,-1 0-1,0 0-15,0 0 0,1 13 16,-1-13-16,-13-13 16,13 13-16,0 0 0,1-13 15,-1 13-15,0-13 0,13-14 16,-12 14-16,-1 0 0,13-40 16,-12 13-16,-1 14 0,26-40 15,-25 26-15,-1 13 0,0-12 16,0 26-16,-13-1 0,14-12 15,-28 66 17,1-27-32,0 26 0,0-12 15,-1 13-15,1-1 0,0-12 0,13-1 16,0 27-16,-13-40 16,26 27-16,-13-27 15,0 14-15,13-14 0,0 0 16,1 0-16,12-13 15,-13 0-15,1 0 0,-1 0 16,0 0-16,0-13 0,1 13 16,-1-13-16,0 13 15,0-13-15,0 13 0,-13-14 0,14 14 0,-1-13 16,0 13-16,-13-13 16,13 13-16,-13-13 0,14 13 15,-1-13-15,0 13 16,-13-14 15,-26 28 0,12-14-31,14 13 0,-13-13 16,0 0-16,13 13 0,-13-13 16,-1 13-16,1-13 15,13 13-15,-13-13 0,13 14 16,13-1-1,0-13 1,-13 13 0,14-13-16,-1 13 0,0 1 15,-13-1-15,13 0 16,-13 0-16,0 1 16,0-1-16,-13 0 0,0 0 15,0-13-15,13 13 16,-14 1-1,1-14-15,40-27 32,-14 27-32,-13-13 15,13 13-15,14-13 0,-14 0 16,0-1-16,14 1 0,-14 0 16,13 0-16,1-1 0,-14 1 15,0 0-15,0 13 0,1-13 0,-1-1 16,0 14-16,-39 14 47,12-1-47,14 0 15,-13-13-15,13 13 16,13 1 0,1-14-16,-1 0 15,0-14-15,0 14 16,1 0-16,-1-13 15,0 0-15,0 0 0,0-1 0,14 1 16,13-40-16,-27 27 0,0-14 16,27-13-16,-27 27 0,0 13 15,-13-1-15,13 1 16,-13 0-16,14 0 0,-28 39 31,14-13-31,-13 1 16,0 25-1,13-25-15,-13 12 0,13-13 0,-13 0 16,13 14-16,0-14 0,-14-13 0,14 13 16,0 1-16,-13-1 15,13 0-15,27-26 32,-14 13-32,0 0 15,0 0-15,0 0 0,1 0 16,-1 0-16,0 0 15,-13 13-15,13-13 0,-13 13 16,0 0-16,0 1 16,-13-1-1,0 0-15,0 0 0,-1-13 16,-12 0-16,26 14 16,-26-14-16,12 0 15,14-14-15,14 1 16,-1 0-1</inkml:trace>
  <inkml:trace contextRef="#ctx0" brushRef="#br0" timeOffset="48881.45">19460 6813 0,'66'-53'16,"-53"40"-16,1 13 15,-1-13-15,0 13 0,0 0 16,1 0-16,-14 13 16,13-13-16,-13 13 0,0 14 15,0-14 1,0 0-16,-13-13 0,13 13 15,0 0-15,0 1 16,-14-14-16,14 13 16,14-26-1,-1-1 1,0 14-16,0-13 0,-13 0 16,27 0-16,-1 0 15,-13-1-15,14 1 0,-14 0 16,0 13-16,1 0 15,-14-13-15,13 13 16,-26 13 15,-1 0-15,14 0 0,-13-13-16,26 14 15,1-14 1,-1 0-16,13 0 15,-12 0 1,-1 0-16,0 13 16,0-13-16,0-13 15,1 13-15,-1 0 16,-40 0 15</inkml:trace>
  <inkml:trace contextRef="#ctx0" brushRef="#br0" timeOffset="49363.66">16087 7779 0,'13'13'16,"-13"0"-16,0 0 15,0 14-15,-13 13 16,13-14-16,-14 14 0,1-1 16,13-12-16,-13 13 0,0-1 0,-14 14 15,14-26-15,13-14 16,-13 40-16,13-40 16</inkml:trace>
  <inkml:trace contextRef="#ctx0" brushRef="#br0" timeOffset="49594.66">16312 7832 0,'39'-80'0,"-12"27"15,-27 40-15,13-13 0,-13 12 16,13 1-16,-26 53 16,0 26-1,-1-39-15,-25 92 16,26-80-1,-1 1-15,1 26 0,13-39 0,-13 12 16,13-12 0,0-14-16,0 27 0,-13-27 0,13 0 15,0 0-15</inkml:trace>
  <inkml:trace contextRef="#ctx0" brushRef="#br0" timeOffset="49800.25">15915 8083 0,'0'0'0,"26"-13"15,1 13 1,-1-13-16,53-1 16,-39 14-16,53-13 15,-67 13-15,27-13 16,-40 13-16,14 0 15,-1 0-15,-13 0 0,14 0 0,-14 0 16,0 0-16</inkml:trace>
  <inkml:trace contextRef="#ctx0" brushRef="#br0" timeOffset="50182.91">16550 8017 0,'-14'-13'0,"1"26"0,-26 13 32,25-12-17,28-1 1,-1-13-16,0 0 16,0 0-16,0 0 0,27 0 15,-27-13-15,1 13 0,12 0 16,-13 0-16,1 0 15,-1 13-15,-13 0 0,13 0 16,-13 14-16,0-14 16,0 0-16,0 14 0,-13-1 0,13 1 15,-13 25-15,13-25 0,-14 39 16,14-39-16,-13-14 16,13 0-16,-13 0 0,13 0 15,-13 1-15,-1-1 0,1-26 31,13-1-31,0 1 16,0 0-16,0-13 16</inkml:trace>
  <inkml:trace contextRef="#ctx0" brushRef="#br0" timeOffset="50595.75">16907 7752 0,'0'0'16,"-13"40"0,13-27-16,-14 14 0,1 12 15,0 1-15,13-13 0,-13 25 0,-14 28 16,27-41-16,-13 1 16,0 0-16,13-14 0,-13 14 0,13-27 15,-14 27-15,14-27 0,0 0 16,0 1-16,-13-14 0,13 13 15,13-40 1,-13 1-16,14 13 16,12-27-16,-13 14 0,14-14 15,-1 0-15,27-39 0,-26 52 16,-1 1-16,-13-1 0,0 14 0,1 0 16,-1 13-16,0-13 0,0 13 15,-13 13-15,14-13 0,-14 13 16,0 0-16,-14 1 0,1-1 15,0 13-15,0 1 0,-14-1 0,-12 27 16,25-40-16,1 1 0,0-1 16,0 0-16,13 0 0,-14-13 0,14 14 15</inkml:trace>
  <inkml:trace contextRef="#ctx0" brushRef="#br0" timeOffset="51393.08">17304 7924 0,'-13'0'0,"-27"0"32,27 14-32,-1-14 15,1 0-15,0 13 0,-14 13 16,14-26-16,13 13 0,0 1 15,0-1 1,13 0 0,1-13-16,12 0 15,-26-13-15,13 13 0,1-13 16,-1 13-16,0-14 16,0 1-1,-26 26 16,0 1-15,26-1-16,0-13 16,-13 13-16,14-13 15,-1 0-15,13-13 16,-13 13-16,1-13 0,-1-1 0,13 1 16,-12 0-16,25-27 0,-12 14 15,-14-1-15,27-26 16,-27 27-16,0 0 0,0-1 0,1-13 15,-1 27-15,0 0 0,-13-14 16,-13 41 15,13 12-31,-13-13 0,-14 40 16,14-26-16,13-1 16,-13-13-16,-1 40 0,14-39 0,0 12 15,0-13-15,0 1 0,0-1 16,0 0-16,0 0 15,0 0-15,14-13 0,-1 0 16,13 0-16,-26-13 16,14 0-16,-1 13 0,13-40 15,-13 27-15,14-27 16,-14 14-16,0 13 0,1-14 16,-1 14-16,0 0 0,-13 0 15,0-1-15,13 14 0,-39 27 31,26-1-31,-13-13 0,-1 27 16,1-27-16,13 1 0,0-1 16,0 0-16,-13 0 0,13 1 15,0 12-15,13-26 0,-13 13 16,0 0-16,13-13 16,-13-13 15,-13 0-31</inkml:trace>
  <inkml:trace contextRef="#ctx0" brushRef="#br0" timeOffset="51543.58">17502 7871 0,'-26'-13'0,"52"26"0,-66-26 15,67 0 17,-14 13-17,0-13-15,14 13 0,-14 0 16,0 0-16,1 0 0,-1-14 15,0 14-15,13 0 0,-12 0 0,-1 0 16</inkml:trace>
  <inkml:trace contextRef="#ctx0" brushRef="#br0" timeOffset="52038.93">17833 7924 0,'26'-26'16,"-52"52"-16,52-65 0,-12 39 0,-14-14 16,13 14-16,-13-13 0,13 13 15,-13-13-15,-40 26 31,40 0-31,-13 1 0,0-14 16,13 13-16,-13 0 0,13 0 0,-14-13 16,14 14-16,0-1 0,14 0 15,-1-13-15,0 13 16,0-13-16,1 0 16,-1-13-16,0 13 0,0 0 0,1-13 15,12 0-15,-13 13 0,0-14 16,27 1-16,-27 0 0,1 0 15,12 13-15,-13-14 16,1 14-16,-1 0 0,-13 14 16,13-14-16,-13 13 15,0 0-15,0 0 16,0 1-16,-13-1 0,13 0 16,-13 0-16,-1 0 15,1-13-15,13 14 16</inkml:trace>
  <inkml:trace contextRef="#ctx0" brushRef="#br0" timeOffset="52207.97">18362 7805 0,'0'40'31,"-13"-40"-31,13 13 0,0 0 0,-13 1 15,13-1-15,-14 0 0,14 0 16,-13 1-16,0-1 0,13 0 0,-13 0 16,13 0-16,-14-13 0,14 14 15</inkml:trace>
  <inkml:trace contextRef="#ctx0" brushRef="#br0" timeOffset="52339.8">18322 7713 0,'0'-14'0,"-13"1"31,0 26-31</inkml:trace>
  <inkml:trace contextRef="#ctx0" brushRef="#br0" timeOffset="52773.59">18865 7818 0,'0'0'0,"-13"0"0,-1 14 16,14-1-16,0 0 15,0 0-15,0 1 16,0 12-16,0-13 0,0 1 16,14 12-16,-14-13 15,0 0-15,0 1 16,-14-14-16,14 13 0,-13 0 16,0-13-16,0 13 0,-1-13 15,1-13-15,0 13 16,13-13-16</inkml:trace>
  <inkml:trace contextRef="#ctx0" brushRef="#br0" timeOffset="52973.92">19275 7580 0,'26'27'15,"-26"-14"-15,0 13 16,-13-12-16,13 12 0,-13-13 0,13 14 15,-13-1-15,-1 14 0,1-14 16,0 27-16,0-26 0,0-14 16,13 27-16,-14-27 0,14 0 15,0 0-15,0 1 0,0-1 16,14-13-16</inkml:trace>
  <inkml:trace contextRef="#ctx0" brushRef="#br0" timeOffset="53540.78">19090 7924 0,'0'0'0,"119"-26"32,-93 26-17,-13-13-15,14 13 0,-1-14 0,1 1 16,-1 13-16,1-13 0,-14 13 0,0-13 15,14-1 1,-14 14-16,0-13 0,0 13 16,-13-13-16,-26 39 47,13-12-47,13-1 15,-14-13-15,14 13 0,0 0 16,0 1-16,0-1 15,0 0-15,14 0 16,-1-13-16,-13 14 0,13-14 16,0 0-16,1 0 0,12 0 15,-13-14-15,0 14 0,1 0 16,-14-13-16,13 0 0,0 13 16,-13-13-16,13-1 0,1 14 15,-14-13-15,13 13 0,-13-13 0,13 13 16,-13-13-16,13 13 15,1 13 1,-14 0-16,0 0 16,0 1-16,0-1 0,0 0 0,13 0 15,-26 1-15,13-1 16,0 0-16,0 0 0,-14 0 0,1 1 16,13-1-16,-13-13 15,13 13-15,-13-13 16,13-26-1</inkml:trace>
  <inkml:trace contextRef="#ctx0" brushRef="#br0" timeOffset="53723.3">19857 7660 0,'26'-14'16,"-52"28"-16,52-14 15,-26 13 1,0 0-16,0 0 0,0 14 15,0-1-15,0 1 0,0-1 16,0-13-16,-13 14 0,13-14 16,-13 27-16,13-27 0,0 0 15,-13 14-15,13-14 16</inkml:trace>
  <inkml:trace contextRef="#ctx0" brushRef="#br0" timeOffset="53872.05">19791 7898 0,'0'-13'0,"0"-1"16,13 14-16,0 0 15,1-13-15,-1 13 0,0 0 16,0 0-16,0 0 0,1-13 16,-1 13-16,0-13 0,0 13 0</inkml:trace>
  <inkml:trace contextRef="#ctx0" brushRef="#br0" timeOffset="54288.1">20532 7818 0,'370'-158'15,"-740"316"-15,912-396 0,-515 225 0,25 0 16,-38 0 0,-1 13-16,-13-14 15,13 14-15,-13-13 0,13 0 16</inkml:trace>
  <inkml:trace contextRef="#ctx0" brushRef="#br0" timeOffset="54754.88">21683 7236 0,'26'0'31,"1"0"-31,-14 0 15,13 0-15,1 14 0,12-14 16,-12 0-16,-14 13 0,0-13 0,1 0 16,-1 0-16,0 0 0,-13 13 15,13-13-15,-13 13 0,-13 14 16,0-27-16,0 26 0,-1-13 16,1 1-16,-13-1 0,-1 13 15,27-12-15,-13-1 0,0 13 16,-1-26-16,14 13 0,-13 1 15,13-1-15,13 0 16,-13 0-16,14-13 0,-1 14 16,0-14-16,0 13 0,1-13 15,25 0-15,-25 0 0,-1 0 16,0 0-16,0 0 0,0-13 16,1 13-16,-1 0 0,0-14 0</inkml:trace>
  <inkml:trace contextRef="#ctx0" brushRef="#br0" timeOffset="54946.69">21736 7461 0,'26'0'32,"-13"0"-32,14 0 15,-14 0-15,53 0 16,-39 0-16,-1 0 15,-13-13-15,14 13 0,-1 0 0,-13 0 16,14 0-16,-1-13 16,1 13-16,-14 0 0,13-13 0,-12 13 0</inkml:trace>
  <inkml:trace contextRef="#ctx0" brushRef="#br0" timeOffset="55581.13">20770 8096 0,'13'0'0,"0"0"0,14 13 16,-1 14-16,1-14 15,39 53-15,79 53 32,-131-105-32,12-1 15,14 13 1,-27-26-16,-13 14 0,13-14 15,0 0-15,-13 13 0,14-13 16,-1 0-16,0 0 0,0-13 16,0 13-16,14-14 15</inkml:trace>
  <inkml:trace contextRef="#ctx0" brushRef="#br0" timeOffset="55995.71">21908 8096 0,'-14'27'31,"14"-14"-31,-13 0 0,0 0 16,0 27-16,-1-27 0,1 27 15,13-14-15,0-12 16,0 25-16,0-25 0,0-1 16,13 27-16,1-27 15,-1-13-15,0 13 0,14 0 0,-14-13 16,0 13-16,0-13 0,0 0 0,14 0 16</inkml:trace>
  <inkml:trace contextRef="#ctx0" brushRef="#br0" timeOffset="56182.26">21722 8268 0,'0'0'0,"40"0"31,-27 0-31,0 13 0,14-13 0,26 0 16,-13-13-16,-14 13 0,14 0 15,-1-13-15,1 13 16,53-13-16,-54 13 0,1 0 0</inkml:trace>
  <inkml:trace contextRef="#ctx0" brushRef="#br0" timeOffset="58737.89">16298 9155 0,'0'-14'16,"0"28"-16,0-41 0,-13 14 15,0 13 1,0 0-16,-1 13 15,1-13-15,0 13 0,0 1 0,-1-1 16,1 13-16,-13 1 16,-14 26-16,27-14 0,0-12 15,13-1-15,-14 14 0,14-27 16,0 27-16,14-27 0,-14 0 0,13 1 16,0-1-16,-13 0 15,13-13-15,27 13 0,-27-13 16,0 0-16,1 0 0,12-13 0,-13 13 15,1 0-15,12-13 0,-13 0 16,14-1-16,12-12 0,-25-1 16,12 1-16,1-14 0,-14 14 15,0-1-15,14-26 16,-14 27-16,-13 13 0,13-14 16,0 1-16,-13 13 0,0-1 0,13 1 15,-13 0-15,0 0 0,0-1 0,0 1 16,-13 26 15,0 1-31,13-1 0,-13 0 16,13 0-16,-13 1 0,13-1 0,-14 13 15,14-12-15,-13-1 0,13 0 16,0 0-16,0 0 0,-13 1 0,13-1 16,0 0-16,13 0 15,0-13-15,1 0 16,-1 0-1,0 0-15,-13 14 0,13-14 16,0 0-16,1 13 0,-1 0 16,0-13-16,-13 13 0,13-13 15,1 13-15,-1 1 0,0-14 16,0 13-16,1-13 16,12 0-1,-26-13-15,13 13 0,0 0 16,1-14-16,-1 14 15,0 0 1,-13 14 0,0-1-16,0 0 15,0 0 1,-13 1-16,13-1 16</inkml:trace>
  <inkml:trace contextRef="#ctx0" brushRef="#br0" timeOffset="58874.76">16880 9247 0,'-13'0'31</inkml:trace>
  <inkml:trace contextRef="#ctx0" brushRef="#br0" timeOffset="59261.9">17277 9247 0,'14'-13'0,"-28"26"0,14-39 16,0 13-16,-13 13 16,0 0-1,0 13-15,-1-13 16,1 13-16,0 0 0,13 0 16,0 1-16,-13-1 0,13 13 15,0-12-15,0-1 0,0 13 16,0-13-16,0 14 0,0-14 15,0 0-15,0 1 0,0-1 16,0 0-16,-14 0 0,1-13 16,13 14-16,-13-14 15,0 0-15,0 0 16,-1 0 0,14-14-16,14 1 15,-1 0-15,0 13 16</inkml:trace>
  <inkml:trace contextRef="#ctx0" brushRef="#br0" timeOffset="60059.66">17370 9287 0,'13'-27'0,"-26"54"0,39-54 15,-52 27 17,13 14-32,-1-14 15,1 13-15,0-13 0,0 13 16,13 0-16,-13-13 0,13 14 15,0-1-15,0 0 16,13-13 0,13 0-1,-13 0-15,1 0 16,-1 0-16,-13 13 0,13-13 16,-13 13-16,0 14 15,0-14 1,0 0-16,0 1 15,0-1-15,0 0 16,13-13 0,1-13-1,-1 13-15,13-40 16,-13 27-16,14 0 16,-14-1-16,14-12 15,-14 13-15,-13 0 16,13 13-16,-13 13 31,0 0-31,0 0 16,0 0-16,0 1 0,0-1 15,0 0-15,0 0 0,13 1 32,1-14-32,-1 0 15,0-14-15,0 14 0,14-13 16,-1-13-16,-13 12 0,1 1 15,12 13-15,-13-13 0,1 0 16,-14 0-16,13-1 0,0 14 16,-13-13-16,13 13 0,-13-13 15,-13 13 1,0 0 0,0 0-16,-1 13 15,14 0-15,-13 1 16,26-1-1,1 0 1,-1-13-16,0 0 16,0 0-16,0 13 15,1-13 1,-1 0 0,-13 13-16,0 1 15,13-14-15,-13 13 16,-13-13-1,13 13-15</inkml:trace>
  <inkml:trace contextRef="#ctx0" brushRef="#br0" timeOffset="60525.93">18984 8916 0,'13'-13'16,"-13"53"0,-13-27-1,13 0-15,0 1 0,-13 12 0,13-13 16,-14 14-16,1-1 0,13-13 16,-13 14-16,13-1 0,-13-12 0,13-1 0,-14 13 15,14-12-15,0-1 0,-13 0 16,13 0-16,0 0 0</inkml:trace>
  <inkml:trace contextRef="#ctx0" brushRef="#br0" timeOffset="60945.09">18838 9247 0,'0'0'0,"0"-13"16,-13 0-16,26 0 16,1-1-1,-1 14-15,0 0 16,0-13-16,14 13 0,-14 0 0,0 0 15,14 0-15,-14-13 0,0 13 16,14 0-16,-14 0 0,0 0 0,0 0 16,0-13-16,1 13 0,-1 0 15,0 13 1,-13 0 15,0 0-15,13-13-1,-13 14-15,14-14 0,-1 0 16,0 0-16,14 0 16,-14 0-16,0 0 15,0 0-15,0-14 16,14 28-16,-14-14 16,0 13-1,-26 0 16,13 0-31,-13-13 0,13 13 0,-27 1 16,14-14 0,13 13-16,-13-13 0</inkml:trace>
  <inkml:trace contextRef="#ctx0" brushRef="#br0" timeOffset="61091.74">19526 9155 0</inkml:trace>
  <inkml:trace contextRef="#ctx0" brushRef="#br0" timeOffset="61946.83">16431 10292 0,'0'0'0,"-14"27"31,14-14-31,-13 13 16,13-12-16,0 12 0,-13 14 15,13-27-15,0 14 0,-13-1 16,13 0-16,0-12 16,0-1-16,-14-13 0,14 13 0,0 0 15,0 1-15,0-54 32,0 27-17,14-40-15,-1 26 0,0-12 16,0-1-16,1 13 0,-1-12 0,13-1 15,-12 14-15,-1-1 0,0 1 16,0 12-16,0 1 0,1 0 16,-1 0-16,0 26 15,0-13-15,-13 13 0,14 0 0,-14 14 16,13-14-16,-13 14 0,13-1 16,-13-13-16,0 14 0,13-1 15,-13 1-15,0-1 0,0-13 0,0 14 16,0-14-16,0 14 0,0-14 15,0 0-15,0 0 0,0 0 0,0 1 16,0-1-16,0 0 0,0 0 0,-13 1 16</inkml:trace>
  <inkml:trace contextRef="#ctx0" brushRef="#br0" timeOffset="62118.76">16404 10517 0,'-13'-13'0,"26"0"31,0 13-31,1-13 16,-1 13-16,27 0 0,-27 0 15,13-14-15,14 14 0,-27 0 16,0 0-16,40-13 0,-39 13 16,12 0-16,-13-13 15</inkml:trace>
  <inkml:trace contextRef="#ctx0" brushRef="#br0" timeOffset="63342.61">16894 10372 0,'-14'26'31,"1"-13"-31,13 1 16,-13-1-16,13 0 16,0 0-16,-13-13 0,13 14 0,0-1 15,-13 0 1,39-13 15,-13-13-15,0 13-16,1-13 15,-1 13 1,-13 13-16,13-13 16,0 0-16,1 0 15,-14 13-15,13-13 0,0 0 16,0 0-16,0 0 0,1 0 0,12 0 15,1 0-15,-14 0 0,13-13 0,1 13 16,-14-13-16,13 13 0,-12 0 0,12-14 16,-13 14-16,-13-13 0,27 0 15,-40 13 32,-1 13-31,14 0-16,14 1 15,-1-1-15,0-13 16,0 0-16,1 0 16,-1 0-16,0 0 15,0-13-15,0-1 16,-13 1-16,0 0 16,0 0-16,-13 13 0,13-14 15,-13 1-15,0 0 16,0 0-1,-1 13 1,1 0 15,13 13-31,0 0 47,13 0-31,1-13-1,-1 0-15,0 0 16,-13 14 0,13-14-16,0 0 15,1 0-15,-1 0 16,0 13 0,0-13-1,1 13 1,-1-13-16,-13 13 15,13-13 1,0 0-16,0 0 47,-13-13-31,14 13-16,-14-13 0,13 0 15,0-1 1,0 14 15,1-13 0,-1 13-31,0 0 0,0 0 16,1 0-16,-1 0 16,0-13-16,0 13 15,-26 13 32,0 0-31,26 1 15,0-14-15,0 0-1,1 0-15,-1 0 16,0 13-1,0-13 1,1 0 0,-14 13-16,13-13 0,0 0 15,0-13-15,1 13 0,12 0 16</inkml:trace>
  <inkml:trace contextRef="#ctx0" brushRef="#br0" timeOffset="63698.83">18230 10266 0,'0'0'0,"92"0"32,-39 0-32,53-27 0,-53 27 15,13-13-15,66-13 0,-79 12 16,53-12-16,-53 13 16,-13 0-16,26-1 0,-40 14 15,1-13-15,-1 13 0,-12 0 16,-14-13-16,13 13 0,0 0 15,0-13-15,1 13 16,-1 0-16,-13-14 16</inkml:trace>
  <inkml:trace contextRef="#ctx0" brushRef="#br0" timeOffset="64495.11">19751 9816 0,'0'-13'0,"-40"52"31,27-25-31,0-1 16,13 13-16,0-12 0,-13-1 0,13 0 15,0 0-15,0 14 0,0-14 16,0 0-16,13 0 0,0 1 16,-13-1-16,13-13 0,1 0 0,12 13 15,-13-13-15,1 0 0,12-13 0,-13 13 16,1-13-16,-1 13 0,0-14 15,0 1-15,0 0 0,1 0 0,-14 0 16,0-1-16,0 1 0,0 0 16,0 0-16,0-1 0,-14 1 0,14 0 15,-13 0-15,0 13 0,13-14 16,-13 1-16,0 0 16,39 26 15,-26 0-31,13 1 15,0-14-15,1 13 0,-1 0 0,0 0 16,0 1-16,-13-1 0,14 0 0,-1 0 16,0 1-16,-13-1 0,13-13 15,-13 13-15,13 0 16,14-13 31,-27-13-47,13 13 0,0 0 15,1 0 1,-1-13-16,0 13 16,0 13-16,1-13 15,-1-13-15,0 13 16,0 0-16,0 0 0,1-13 0,-1 13 16,0 0-16,0-14 0,1 14 15,-1-13-15,0 13 16,-13 13 15,0 1-15,13-14-16,1 0 15,-1 0-15,-13 13 0,13-13 16,0 0-16,-13 13 16</inkml:trace>
  <inkml:trace contextRef="#ctx0" brushRef="#br0" timeOffset="64850.24">18534 10478 0,'0'-14'0,"13"41"32,1-14-32,-1 0 0,13 0 0,-13 14 15,14-1-15,-1 1 0,-12-1 0,38 14 16,-25-14-16,-14 1 0,14-1 15,-1-12-15,-13-1 0,1 0 16,-1 0-16,-13 0 0,13 1 0,0-14 16,-13 13-16,13-13 0,1 0 15,-1 0-15,0 0 0,14 0 16,-14 0-16,0-13 0</inkml:trace>
  <inkml:trace contextRef="#ctx0" brushRef="#br0" timeOffset="65133.14">20042 10464 0,'-13'66'16,"13"-39"-16,-13-1 15,13 14-15,-14-14 0,14 1 0,0-1 16,0 1-16,0-1 0,-13 1 16,13-14-16,0 27 0,-13-27 15,13 0-15,0 0 0,-13 1 0</inkml:trace>
  <inkml:trace contextRef="#ctx0" brushRef="#br0" timeOffset="65618.1">19844 10848 0,'0'-13'16,"0"26"-16,13-40 0,-13 14 16,13 13-16,0 0 0,1-13 15,-1 0-15,13 13 0,-12-13 16,12-1-16,0 14 0,-12-13 0,12 0 15,-13 13-15,14-13 0,-14 13 0,0-14 16,1 14-16,-1 0 0,0-13 16,0 26-16,0-13 15,-13 14-15,14-14 16,-14 13-16,0 0 16,13-13-16,-13 13 0,0 1 15,13-14-15,-13 13 0,13-13 16,1 0-16,-1 0 15,0 0-15,0 0 16,1 0-16,-1-13 0,0-1 16,0 14-16,0 0 15,1 0-15,-1 0 16,0 0 0,-13 14-16,13-14 0,1 0 15,-1 13-15,0-13 0,0 0 16,1 0-16,-1-13 0,0 13 15,0 0-15,0-14 0,1 14 16,-1-13-16,0 0 16,0 13-16,1-13 15,-1 13 1,-13-14-16,13 14 0,0 0 16,1 0-16,-1-13 0</inkml:trace>
  <inkml:trace contextRef="#ctx0" brushRef="#br0" timeOffset="65860.89">20757 10663 0,'-14'26'32,"14"-13"-32,0 1 15,14-14-15,-14 13 16,13-13-16,0 13 16,0-13-16,0 0 0,1 0 15,-1-13-15,0 13 0,0 0 16,-13-13-16,14 13 0,-1-14 15,-13 1-15,0 0 16,-13 0-16,-1-1 16,1 14-16,0-13 15,0 13 1,-1 0-16,1 0 16</inkml:trace>
  <inkml:trace contextRef="#ctx0" brushRef="#br0" timeOffset="66353.92">21378 10636 0,'-13'-13'31,"0"26"-15,13 0-16,0 1 15,0-1 1,13 0-1,0-13 1,1 0 0,-1 0-16,-13 13 15,13-13-15,0 0 16,0 14-16,1-14 16,-1 0-1,0 0-15,0 0 0,1 0 16,-1-14-16,0 14 0,0 0 15,-13-13-15,14 13 16,-1-13-16,0 13 16,0 0-1,0 0-15,1 0 16,-1-13-16</inkml:trace>
  <inkml:trace contextRef="#ctx0" brushRef="#br0" timeOffset="66998.3">21802 10623 0,'-27'-13'32,"1"13"-32,13 13 0,-1-13 15,1 13 1,0-13-16,26 13 31,14-13-15,-1 0-1,-13 0-15,0 0 0,1 0 16,-1 0 0,0 0-16,0 14 0,1-14 15,-1 0-15,0 13 0,0-13 16,1 13 0,-1-13-16,0 0 15,0 13-15,0-26 16,1 13-1,-1 0-15,0 0 16,0 0-16,-13 13 0,14-13 16,-14 14-16,13-1 15,-13 0-15,0 0 16,0 1-16,0-1 0,-13 0 0,13 0 16,-14 0-16,1 1 0,0-1 0,0 0 15,-1 0-15,1-13 0,0 14 16,0-14-16,13 13 0,-13-13 0,26-27 31,0 14-31,0 0 16,14-14-16,-1 1 0,1 0 0,-1-1 15,-13 1-15,14-1 0,12 14 0,-12-14 16,-1 14-16,14 0 0,-14 0 0,1 13 16,-1 0-16,1-13 0,-14 13 15,14 0-15,-14 0 0,0 0 16,0 0-16,0 0 0,1 0 0,-1-14 15,0 14-15,0 0 16,1 0-16,-1 0 16,0-13 15,-26 0-15,13 0-1</inkml:trace>
  <inkml:trace contextRef="#ctx0" brushRef="#br0" timeOffset="68377.39">22027 6032 0,'0'0'0,"52"-13"0,-25 0 15,13 13-15,52-13 16,-39 13-16,0 0 0,-13 0 0,-1 0 16,1 13-16,0 0 0,13 14 15,-27-14-15,1 13 0,-14 1 0,13 13 16,-12-14-16,-1 14 0,0 26 15,-13-13-15,13 13 0,-13 0 16,13 0-16,-13 0 0,14 14 0,-14-1 16,13-13-16,0 14 0,0-1 0,1 14 15,12-14-15,-13 14 0,14-14 16,26 106-16,-27-92 0,14-1 16,-14-12-16,1 12 0,12-12 0,-12 26 15,13-14-15,-14 1 0,1-1 0,-14 14 16,13 0-16,-13 0 0,1 0 15,-1-14-15,0 27 0,0-13 0,-13 0 16,14 0-16,-1 0 0,-13-14 0,13-12 16,-13 12-16,13-12 0,0 12 0,-13-12 15,14-1-15,-1 0 16,-13 1-16,13-14 0,0 13 0,1-13 16,-14 14-16,13-14 0,0 66 15,-13-66-15,13-13 0,-13 0 0,0 0 16,0 0-16,0-13 0,-13 52 15,13-52-15,0 0 0,-13-14 16,13 1-16,0-1 0,-13-13 0,13 1 16,-14 12-16,1-13 0,0-13 0,13 13 15,-13-13-15,-1 14 0,-12-14 16,13 0-16,-27-14 0,14 1 0,-14 0 16,0 0-16,1-14 0,-14-12 0,-13 12 15</inkml:trace>
  <inkml:trace contextRef="#ctx0" brushRef="#br0" timeOffset="69713.77">16695 6403 0,'0'-27'16,"0"54"-16,-13-67 0,0 27 0,0 13 0,-14-13 16,1 0-16,-1 13 0,1 0 15,-1 0-15,-12 0 0,-1 0 0,0 0 16,0 13-16,-12-13 0,12 13 0,0 13 15,-13-12-15,14 25 0,-14-12 16,13-1-16,14 14 0,-14 0 0,13-14 16,-12 27-16,12-13 0,14-1 0,-13 14 15,12 0-15,-12 0 0,13 0 0,-1 0 16,1 13-16,0-13 16,0 0-16,-1 13 0,14-13 0,-13 13 15,0-13-15,0 13 0,13 0 0,-13-13 16,13 13-16,-14 1 0,1-14 0,13 13 15,-13 0-15,0 0 0,-1 0 16,14 0-16,-13 14 0,0-14 0,13 13 16,-13-13-16,0 0 0,-1 14 0,1-14 15,13 0-15,-13 13 0,0-12 16,-1-1-16,1 0 0,13 0 0,-13 0 16,0 0-16,-1 1 0,1-15 0,0 15 15,0-1-15,13 0 0,-13-13 16,-1 13-16,1-13 0,0 0 15,0-14-15,-1 28 0,14-28 0,-13 1 16,13 13-16,-13-13 0,13 12 0,-13-12 16,-1 0-16,14 0 0,-13-1 0,0 1 15,13 0-15,-13-1 0,0-12 16,-1 12-16,1-12 0,13-1 16,-13-12-16,13 12 0,-13-13 0,13 14 15,0-14-15,-14 0 0,14 0 0,0 1 16,0-1-16,0 0 0,0 0 0,0 1 15,0-1-15,14 0 0,-14 0 0,0 14 16,13-14-16,-13 0 0,13 0 16,0 1-16,1-1 0,-1 0 0,0 14 15,13-14-15,-12 0 0,12 0 16,1 0-16,-1 1 0,14-1 0,-1 0 16,1 0-16,13 1 0,-13-1 0,13-13 15,0 13-15,13 0 0,0 1 16,-13-1-16,13-13 0,-13 13 0,13 0 15,-13-13-15,0 13 0,0-13 0,0 0 16,-14 14-16,14-14 0,0 0 16,-13 0-16,-14 0 0,1 0 0,-1 0 15,-13 0-15,14-14 0,-14 14 0</inkml:trace>
  <inkml:trace contextRef="#ctx0" brushRef="#br0" timeOffset="71276.64">1257 8956 0,'39'-40'32,"-25"40"-32,-1 0 0,13 0 15,-12 0-15,12 0 0,-13 0 0,1 14 16,12-14-16,-13 13 0,-13 0 16,13 0-16,-13 1 0,14-1 0,-14 0 15,-14 0-15,14 14 0,-13-14 0,0 13 16,0 1-16,0-14 0,13 0 15,-14 1-15,1-1 0,0 0 0,13 0 16,0 1-16,-13-14 0,13 13 0,0 0 16,13-13-1,0 0 1,14 0-16,-14 0 0,0 0 16,13-13-16,-12 13 0,12-13 15,1 13-15,-1-14 0,-13 1 0,1 13 16,12-13-16,-13 0 0,0-1 0,14 1 15</inkml:trace>
  <inkml:trace contextRef="#ctx0" brushRef="#br0" timeOffset="71655.69">1799 8665 0,'0'0'0,"0"27"16,0-1 0,0-13-16,13 0 0,-13 14 15,0-14-15,0 14 0,0-14 0,0 13 16,0-12-16,14-1 0,-14 0 0,0 13 16,0-12-16,0-1 15,0 0-15,13-39 31,0 12-15,0 1-16,1 0 0,-1 0 16,-13 0-16,13 13 0,0-14 15,0 14-15,1 0 0,-1-13 0,0 13 16,0 0-16,1 13 0,-1-13 16,0 14-16,0-14 15,1 13-15,-14 0 0,13-13 16,0 0-16</inkml:trace>
  <inkml:trace contextRef="#ctx0" brushRef="#br0" timeOffset="71930.91">2183 8811 0,'0'0'0,"0"-14"16,13 1 0,13 26-1,-26 1 1,14-14-1,-14 13-15,13-26 47,0-1-47,0 1 16,-13 0-16,0 0 0,14-1 16,-1 14-16,-13-13 0,13 13 15,-13 13 16,-13 1-31,-14 25 0,14-12 16,-40 26-16</inkml:trace>
  <inkml:trace contextRef="#ctx0" brushRef="#br0" timeOffset="72339.67">1918 9274 0,'119'-40'31,"-79"14"-16,13-1-15,0-13 0,39-26 16,-25 40-16,-15-14 0,54-39 16,-53 39-16,-13 0 0,53-52 15,-54 52-15,1-13 16,0-13-16,-14 13 0,1-13 0,-14-13 16,0 12-16,-13-12 0,-13 0 0,-14-14 15,-12 14-15,-14-1 0,0 14 0,0 26 16,-13 1-16,-14 12 0,1 14 15,-14 0-15,1 26 0,-41 14 0,1 12 16,0 14-16,-14 0 0,-26 53 16,14-14-16,-147 147 0,199-147 15,1 1-15,12 13 0,14-1 16,13-12-16,13 13 0,13-13 0,13-1 16,27-26-16,0 14 0,14-14 0,12-13 15,14 0-15,0 0 0,26-14 16,0-12-16,13-1 0,40 1 0,-26-14 15,-1-13-15,14 0 0,27-13 0,-14-1 16,0-12-16,0-14 0,-13 14 0,13-14 16,-27 14-16,14-14 0,-40 13 15,67-12-15,-81 26 0</inkml:trace>
  <inkml:trace contextRef="#ctx0" brushRef="#br0" timeOffset="73091.72">2103 9432 0,'27'53'0,"-54"-106"0,67 133 0,-13-41 0,-1 1 16,14 0-16,-1 0 0,1-1 15,13 14-15,13 0 0,0 0 0,14 13 16,-1-13-16,0 0 0,14 0 0,0 0 15,12-14-15,1 14 0,13 0 16,0-13-16,0 0 0,14-1 16,-1 1-16,146 39 0,-133-52 0,1 13 15,171-1-15,-158-12 16,13-27-16,0 13 0,0-13 16,13 0-16,199 0 0,-199 0 15,14-13-15,12-1 0,-12 1 0,12 13 16,41-26-16,-41 13 0,-12-1 15,52-12-15,-52 13 0,250-27 16,-263 14-16,12-1 0,1 14 0,-14-14 16,13 1-16,-13-1 0,1 14 0,-1-13 15,-13-1-15,0 1 0,-13-1 16,-1 1-16,1 13 0,132-40 16,-159 40-16,-13-14 0,0 14 15,-26 0-15,0-1 0,-1-12 0,1 13 0,-27-1 16,13 1-16,-12 13 0,-1-13 15,-13 0-15,-14 0 0,14 13 16,-26-14-16,12 14 0,-12-13 0,-14 13 16,13 0-16,-12-13 0,-1 13 0,0 0 15,0 0-15,1-13 16,-1 13-16,0 0 0,0-14 16,1 14-16,-1 0 15,0 0-15,0-13 16,0 13-1,1 0-15,-1 0 16,0 0 0,0-13-1</inkml:trace>
  <inkml:trace contextRef="#ctx0" brushRef="#br0" timeOffset="73391.3">12502 9618 0,'0'0'0,"26"13"15,-13-13 1,14 13-16,12-13 0,41 27 15,-41-14-15,1 0 0,0 0 0,0 0 16,-1 1-16,-12 12 0,-1-13 0,-13 14 16,1-1-16,-14-13 0,13 14 15,-26 13-15,-1-1 0,-12 1 0,-1 13 16,-12 0-16,-14-13 0,-13 26 0,13 0 16,-13-13-16,-14 0 0,14 13 15,-13-13-15,-1 0 0,1 0 16</inkml:trace>
  <inkml:trace contextRef="#ctx0" brushRef="#br0" timeOffset="77501.5">17648 6522 0,'-14'-53'32,"1"40"-32,0 0 0,-13-1 15,-1-12-15,1 13 0,-14-1 0,0 1 16,-26 0-16,13 0 0,0 0 0,0-1 15,0 1-15,1 13 0,-15-13 16,-38 13-16,25 0 0,-65 0 16,65 0-16,1 13 0,0 0 15,-67 14-15,67-14 0,-1 0 16,1 0-16,13 14 0,0-14 16,-1 14-16,1 12 0,13-12 0,-13-1 15,13 14-15,14 0 0,-14-1 0,13-12 16,0 12-16,14 1 0,-1-13 0,14-1 15,0 14-15,13-14 16,0 1-16,13 12 0,14 41 16,-1-41-16,14 1 0,66 39 15,-27-26-15,14-13 0,-1 0 0,14-1 16,0-12-16,13-1 0,0-12 16,0 12-16,13-13 0,1 0 0,-1 1 15,0-1-15,14-13 0,-14 13 0,0 0 16,14-13-16,-14 14 0,0-14 0,14 0 15,-14 13-15,14-13 0,-14-13 16,14 13-16,-1 0 0,1-14 0,-1 1 16,14 0-16,0 0 0,13-14 0,-14 14 15,1-13-15,13-1 0,0 1 0,-13-1 16,0 1-16,-14-1 0,14 1 16,-27-1-16,14 1 0,-27-1 15,0 1-15,-13 13 0,-14-14 0,1 14 16,-14 0-16,1-14 0,-14 14 0,0-13 15,0 12-15,-13-12 0,-13 13 16,-1-14-16,-12 1 0,-1-1 0,1 1 16,-14-1-16,0-12 0,-13 12 0,0 1 15,0-14-15,-13 1 0,-14-14 16,-12 13-16,-14-13 0,-93-53 16,67 40-16,-14 13 0,-118-53 15,92 67-15,-14-1 0,-12-13 0,-14 26 16,-13-12-16,-13 12 0,0 14 15,-14 0-15,-65-14 0,52 27 16,-13 0-16,-53 14 0,0-1 0,1 13 16,12 1-16,27-1 0,-13 14 0,26 13 15,53-13-15,13-1 0,0 1 16,14 13-16,26 0 0,0 0 0,26 0 16,14 0-16,39-14 0,0 14 0,14-13 15,-1 0-15</inkml:trace>
  <inkml:trace contextRef="#ctx0" brushRef="#br0" timeOffset="78192.66">21749 6443 0,'-13'0'0,"118"-14"32,-65 1-32,53 0 15,-40 13-15,13-13 0,0-1 0,0 1 16,0 13-16,-13-13 0,0 13 0,0-13 15,-13 0-15,-1 13 0,1-14 16,0 14-16,-1-13 0,-12 0 0,12 13 16,-12-13-16,-1-1 0</inkml:trace>
  <inkml:trace contextRef="#ctx0" brushRef="#br0" timeOffset="78456.64">22754 6032 0,'146'0'31,"-93"14"-31,-14-14 16,27 13-16,-13 0 0,0 14 15,0-14-15,-13 0 0,0 14 0,-1-14 16,-12 0-16,-1 13 0,-13 1 0,1-14 15,-1 0-15,-13 1 0,-13 12 16,13-13-16,-27 27 0,-13-14 0,1 14 16,-1 0-16,-13 0 0,0-14 0,0 14 15,14-1-15</inkml:trace>
  <inkml:trace contextRef="#ctx0" brushRef="#br0" timeOffset="80336.72">16021 7646 0,'-93'-39'16,"66"39"-16,1 13 0,13-13 0,-14 13 16,1 0-16,13 1 0,-14 12 15,14 1-15,-14-1 0,14 14 16,-40 238-1,40-212-15,13 0 16,-13-13-16,0 13 0,-1-13 16,-12 0-16,13-14 0,-14 41 15,1-54-15,13 14 0,-1-14 16,1-12-16,0-1 0,0 0 0,-1 0 16,1 1-16,0-14 0,13 13 0,-13-13 15,13-13 1,13-14-16,0 14 15,0 0-15,14-1 0,-14 1 0,0 0 16,14 13-16,-14 0 0,0 0 0,1 13 16,12 0-16,-13 14 0,0-1 0,-13 27 15,0 13-15,0 1 0,-26 78 16,13-39-16,-14 0 16,-12 92-16,25-105 0,-39 145 15,40-172 1,-13 132-16,26-145 15,0 0-15,0 27 16,26-14-16,1-40 16,-14-12-16,0-1 0,14-13 0,-1 0 15,-13 0-15,40 0 0</inkml:trace>
  <inkml:trace contextRef="#ctx0" brushRef="#br0" timeOffset="105678.05">11337 13467 0,'-13'-13'0,"40"13"16,-14-13-1,0 13-15,0 0 0,1 0 16,12 0-16,-13 0 0,0 0 16,1 0-16,12 0 0,-13-13 15,14 13-15,-14 0 0,0 0 0,14 0 16,-14 0-16,0 0 0,0 0 16,1 0-16,-1 0 0,0 0 15,0 0-15,1 0 0,-1 0 16,0 0-16,-13-14 15,13 14-15,1-13 16</inkml:trace>
  <inkml:trace contextRef="#ctx0" brushRef="#br0" timeOffset="105953.83">11734 13269 0,'27'13'47,"-27"0"-47,13-13 0,-13 14 15,13-1-15,0 0 0,-13 0 0,14 0 16,-1 1-16,-13-1 0,0 0 16,13 14-16,-13-14 0,0 0 0,0 0 15,0 14-15,-13-14 0,13 0 0,-13 14 16,-1-14-16,1 0 0,13 0 15,-13 1-15,0-1 0,0 0 16,13 0-16,-14-13 0,14 13 16</inkml:trace>
  <inkml:trace contextRef="#ctx0" brushRef="#br0" timeOffset="106381.89">12634 13282 0,'0'0'15,"-13"-13"-15,-1 13 0,1 0 0,0 13 16,0-13-16,-1 13 16,14 1-16,-13-14 0,0 26 15,13-13-15,-13 0 0,0 1 0,13 12 16,0-13-16,-14 1 0,14 12 0,0-13 15,0 1-15,14-1 0,-14 13 0,0-13 16,13 1-16,0-1 0,-13 0 16,13 0-16,0 1 0,1-14 0,-1 13 15,0-13-15,0 13 0,1-13 0,-1 0 16,0 0-16,0 0 0,1-13 16,-1 13-16,0-13 0,0 13 0,0-14 15,1 14-15,-1-13 0</inkml:trace>
  <inkml:trace contextRef="#ctx0" brushRef="#br0" timeOffset="106664.62">12925 13295 0,'0'-13'0,"0"26"0,0-39 15,-13 52 1,-1-12-1,14-1-15,-13-13 0,13 26 0,0-13 16,-13 1-16,13-1 16,-13 0-16,13 0 0,-13 1 0,13 12 15,0-13-15,-14-13 0,14 14 16,0-1-16,-13 13 0,0-13 16,13 1-1,0-1-15,13 0 16,0-26-1,1 13-15</inkml:trace>
  <inkml:trace contextRef="#ctx0" brushRef="#br0" timeOffset="107017.68">12965 13242 0,'13'-26'0,"-26"52"0,39-65 0,-13 25 15,1 14-15,-1 0 16,0 0-16,-13 14 0,13-14 16,0 13-16,-13 0 0,0 0 15,0 1-15,-13-1 0,0 0 0,0 14 16,-14-1-16,14-13 0,-13 0 16,12 14-16,1-14 0,0-13 0,0 13 15,-1 1-15,1-1 0,0-13 16,13 13-1,0 0-15,13 1 16,0-14 0,-13 13-16,14-13 0,-1 0 15,0 0-15,0 0 0,1 0 0,-1 0 16,0 0-16,0 0 0,1 0 0,-1 0 16,0-13-16,0 13 0,0 0 0,1 0 15,-1-14-15,0 14 0,0 0 16,1 0-16</inkml:trace>
  <inkml:trace contextRef="#ctx0" brushRef="#br0" timeOffset="107625.47">13256 13242 0,'26'0'47,"-13"0"-47,1 0 0,-1 0 0,0 0 15,0 0-15,0 0 0,1-13 0,-1 13 16,0 0-16,0 0 16,1 0-1,-1 0-15,-13 13 16,0 1-16,0-1 15,-13 0-15,13 0 16,-14 14-16,14-14 0,-13 0 0,13 14 16,-13-14-16,0 0 0,-1 14 0,1-14 15,0 13-15,13-12 0,-13-1 16,0 0-16,-1-13 0,1 13 0,0 0 16,0-13-16,-1 14 15,1-14 1,40-14 31,-14 14-47,-13-13 0,13 13 15,27-13-15,-27 13 0,0-13 16,14 13-16,-1 0 0,-13-13 0,14 13 16,-1-14-16,1 1 0,-1 0 15,1 0-15</inkml:trace>
  <inkml:trace contextRef="#ctx0" brushRef="#br0" timeOffset="107881.82">13745 13269 0,'-13'-13'16,"0"13"-1,-1 13 1,1 0-16,13 0 16,0 1-16,0-1 0,-13 0 15,13 0-15,0 0 0,0 1 0,13-1 16,-13 0-16,0 0 0,0 1 15,0-1-15,0 0 0,0 0 0,0 1 16,0-1-16,-13 0 0,13 0 0,0 0 16,-13-13-16,13 14 0,-14-1 15,1-13-15,0 13 0,0 0 16,0-13-16,-1 0 0,14-13 31</inkml:trace>
  <inkml:trace contextRef="#ctx0" brushRef="#br0" timeOffset="108348.7">14129 13335 0,'-40'53'31,"40"-40"-15,-13 0-16,13 1 0,0-1 15,-13 13-15,13-12 0,0-1 0,-14 13 16,14-13-16,0 1 0,-13-1 0,13 0 16,0 0-16,0 1 15,-13-1-15,13 0 16,13-53-1,-13 14 1,27-1-16,-14-12 0,0 12 0,0 1 16,1-14-16,-1 27 0,0-14 0,0 14 15,0 13-15,1-13 0,-14 0 16,13 13-16,0 0 0,0 0 16,1 13-1,-14 0 1,-14 0-16,14 1 0,-13-1 15,0-13-15,0 13 0,-1 0 16,1-13-16,-13 14 16,26-1-16,-13-13 0,13 13 15</inkml:trace>
  <inkml:trace contextRef="#ctx0" brushRef="#br0" timeOffset="109065.96">13348 13811 0,'53'13'0,"-26"-13"0,-1 14 16,239 12 0,-199-26-16,-13 0 0,13 0 15,-13 0-15,0-13 16,26 13-16,93-40 16,-119 27-16,0 0 0,0-14 15,-14 14-15,1-13 0,0-14 0,0 0 16,-1 1-16,-12-1 0,-1 0 0,-13-13 15,1 14-15,-1-1 0,-13-13 0,0 13 16,-13-26-16,-14 13 0,1-13 16,-14 13-16,-26-26 0,0 26 0,0-13 15,-27 13-15,-13 0 0,0 13 0,-13 1 16,0 12-16,-13 1 0,0-1 0,-1 14 16,1 13-16,-14 0 0,1 13 15,-1 0-15,14 14 0,-13 13 16,12-1-16,1 1 0,0 13 0,13 13 15,0-13-15,13 13 0,13 0 16,1 0-16,25 0 0,1 14 0,27-27 16,-1 0-16,13 13 0,14-13 0,13-14 15,0 14-15,27 0 0,-1 0 0,14 0 16,13-13-16,26 13 16,14 0-16,13-14 0,-14 1 0,14-14 15,13 1-15,0-1 0,0 1 0,13-14 0,-39-13 16,13 13-16,-13-13 0,12 0 0,-12-13 15,0 13-15,-1 0 0,-12-13 16,-1 13-16,-13-13 0,-13 13 16,0 0-16,0-14 0</inkml:trace>
  <inkml:trace contextRef="#ctx0" brushRef="#br0" timeOffset="110600.36">14843 13322 0,'106'-13'31,"-80"13"-31,-12 0 15,12 0-15,14 13 0,-14-13 0,1 0 0,-1 0 16,-13 0-16,14 0 0,-1 0 16,-12 0-16,-1 0 0,13 0 0,-13 0 15,1 0-15,-1 0 0,-13-13 16,13 13-16,0 0 0</inkml:trace>
  <inkml:trace contextRef="#ctx0" brushRef="#br0" timeOffset="110848.57">15319 13137 0,'27'-14'15,"-14"14"-15,14 0 0,-14 0 0,0 0 16,13 14-16,1-14 16,-1 13-16,1 0 0,-1 0 0,1 0 15,-14 1-15,13-1 0,-12 0 0,-14 0 16,13 14-16,-13-14 0,13 0 15,-26 1-15,13-1 0,0 0 0,-13 0 16,-1 0-16,1 1 0,0-1 0,13 0 16,-13 0-16,0 1 0,-1-1 15,1 0-15,13 0 0,-13-13 0,13 14 16</inkml:trace>
  <inkml:trace contextRef="#ctx0" brushRef="#br0" timeOffset="119209.69">15359 13123 0,'40'0'0,"26"14"31,-53-14-31,0 0 0,1 13 0,-1-13 16,0 0-16,0 13 0,1-13 16,-1 13-16,0-13 15,-13 13-15,13-13 16,-13 14-16,0-1 16,0 0-16,-13 0 15,13 1-15,-13-1 0,0 0 0,-1 0 16,1 1-16,0-1 0,0 0 0,-1 0 15,-12 0-15,13 1 0,-1-1 16,1 0-16,-13 0 0,26 1 0,-13-14 16,-1 13-16,14 0 15</inkml:trace>
  <inkml:trace contextRef="#ctx0" brushRef="#br0" timeOffset="119905.8">16576 13282 0,'-53'53'16,"53"-40"-1,-13 0-15,13 1 0,0-1 16,-13 0-16,13 0 0,0 1 15,0-1-15,-13-13 0,13 13 16,13-26 15,0 0-31,-13-1 16,13 1-16,0 0 0,1-14 16,-1 14-16,0 0 0,0 0 0,-13 0 15,14 13-15,-1-14 0,0 1 0,0 13 16,1 0-1,-1 0-15,-13 13 0,13 1 16,-13-1-16,13-13 16,-13 13-16,13 0 15,-13 0-15,14-13 16,-14 14-16,13-14 16,0-14-16,0 14 15,1-13-15,-1 0 0,0 0 0,0 0 16,1-1-16,-1 14 0,0-13 0,0 13 15,-13-13-15,13 13 0,1 0 16,-1 0-16,0 13 16,0 0-16,-13 1 15,14-1-15,-14 0 0,0 0 16,0 0-16,0 1 16,0-1-16,13 0 0,-13 0 15,13-13-15,0 0 16,14 0-1</inkml:trace>
  <inkml:trace contextRef="#ctx0" brushRef="#br0" timeOffset="120141.67">17224 13216 0,'14'-13'32,"-28"52"-17,1-25 1,13 12-16,-13-13 0,13 1 0,-13-1 15,13 0-15,0 0 0,-14 0 16,14 1-16,0-1 0,0 0 16,0 0-16,14-13 0,-14 14 15,13-1-15,0-13 0,0 13 16,1-13-16,-1 0 16,0 0-16,0 13 0,1-13 15,-14 14-15,13-14 0</inkml:trace>
  <inkml:trace contextRef="#ctx0" brushRef="#br0" timeOffset="120670.07">16722 13732 0,'0'13'0,"0"0"16,13-13-16,0 14 0,0-14 15,1 13-15,12-13 0,14 13 0,-1 0 16,14-13-16,0 13 0,0-13 0,0 14 16,0-14-16,0 0 0,0 0 0,0 0 15,0-14-15,0 14 0,-1-13 16,-12 0-16,13 13 0,-13-26 16,-1 12-16,1-12 0,0-1 0,0 1 15,-14-1-15,14 1 0,-27-14 16,13 14-16,1-27 0,-14 13 0,40-66 15,-53 54-15,13 12 0,0 0 0,-13-13 16,-13 14-16,13-28 16,-26 28-16,-1-14 0,1 13 0,-27 0 15,0 1-15,0 12 0,-13 1 0,-13-1 16,-1 14-16,-12 0 0,-14 13 16,13 0-16,-13 13 0,-13 0 0,0 14 15,13-1-15,1 14 0,-1 0 0,26-1 16,14 1-16,-13 13 0,26-13 0,13 13 15,0-1-15,1 1 0,26 0 16,-14 40-16,40-40 16,1 0-16,12 0 0,14 0 0,-1-14 15,14 1-15,13 13 0,1-27 16,-1 14-16,0-14 0,0 1 16,0-1-16,0-12 0,-26-1 0,13 0 0,-13-13 15,-1 0-15,-12 0 0,-1 13 0,1-13 16,-1-13-16,-13 13 0,1 0 15,12 0-15,-13 0 0,1 0 0</inkml:trace>
  <inkml:trace contextRef="#ctx0" brushRef="#br0" timeOffset="128860.64">14327 13851 0,'0'-13'0,"0"39"31,13-13-31,-13 1 15,0-1-15,0 0 0,14 14 0,-14-14 16,0 0-16,13 13 0,-13-12 16,13-1-16,-13 13 0,0-12 0,13-1 15,-13 13-15,0-12 0,14-1 0,-14 0 16,0 0-16,13 0 0,-13 1 16</inkml:trace>
  <inkml:trace contextRef="#ctx0" brushRef="#br0" timeOffset="129058.47">14407 13957 0,'-14'0'16,"1"13"-1,0 0-15,0 0 0,-1 1 16,1-14-16,0 13 0,13 0 0,-13 0 15,0 1-15,-1-1 0,14 0 16,-13 0-16,0 1 0,13-1 0</inkml:trace>
  <inkml:trace contextRef="#ctx0" brushRef="#br0" timeOffset="129241.91">14420 13811 0,'26'13'0,"27"40"31,-40-39-31,-13-1 0,14 0 16,-1 0-16,-13 1 0,13-1 0,0 0 16</inkml:trace>
  <inkml:trace contextRef="#ctx0" brushRef="#br0" timeOffset="142780.89">11404 13229 0,'0'-79'0,"0"66"16,0-1-16,13-12 0,-13 13 0,0-14 16,0 1-16,0-1 0,0 1 15,0-1-15,0 1 0,0-1 0,0 14 16,0-13-16,0 13 0,0-1 16,0 1-16,0 0 0,13 0 15,-13-1-15,0 1 0,0 0 16,13 26 15,0 0-31,1 1 0,-14-1 16,13-13-16,-13 13 0,13 0 0,0 1 15,1-1-15,-14 0 16,13-13-16,-13 13 0,13 0 16,-13 1-16,-13-1 15,0 0 1,-1-13-16,1 13 15,0-13-15,-14 14 0,14-14 16,0 13-16,0-13 0,0 13 0,-1-13 16,1 0-16,0 0 0,0 13 15,-1-13-15,1 0 0,0 0 16,26-13 15,0 0-31,1 13 0,12-13 16,-13-1-16,1-12 0,12 13 0,-13-1 15,0 1-15,1 0 0,-1 0 16,0 0-16,0-1 0,1 1 16,-1 0-16,0 0 15,-13 39 17,-13-13-32,13 1 15,-13 12-15,-1-13 0,14 14 16,-13-14-16,0 13 0,0-12 15,13 12-15,-14-13 0,1 14 0,13-14 0,-13 0 16,13 14-16,-13-14 0,13 0 16,-13-13-16,13 13 0,0 1 0,-14-1 15,14 0-15,0 0 16,-13-13 0</inkml:trace>
  <inkml:trace contextRef="#ctx0" brushRef="#br0" timeOffset="143862.65">13507 13824 0,'0'27'109,"-13"-27"-109</inkml:trace>
  <inkml:trace contextRef="#ctx0" brushRef="#br0" timeOffset="144706.47">13679 13944 0,'0'-14'0,"0"1"31,0 0 63,-27 13-16</inkml:trace>
  <inkml:trace contextRef="#ctx0" brushRef="#br0" timeOffset="145054.01">13428 13772 0,'26'13'31,"-13"0"-31,-13 0 0,27 14 16,-14-14-16,0 13 0,0-12 15,1-1-15,-1 13 0,0-12 0,0-1 16,1 13-16,-14-13 0,13 1 15,-13-1-15,13 0 0,-13 0 0,13 1 16,-13-1-16,0 0 0</inkml:trace>
  <inkml:trace contextRef="#ctx0" brushRef="#br0" timeOffset="148689.35">24183 9194 0,'0'0'0,"0"-13"0,-27 13 47,14 0-47,0 0 16,-13 0-16,12 0 0,-12 0 16,-1 0-16,-12 13 0,-1-13 0,-13 0 15,13 14-15,1-14 0,-1 0 0,0 13 16,14-13-16,-1 0 0,1 13 0,0-13 15,-14 13-15,27-13 16,-1 0-16,1 0 0,0 0 16</inkml:trace>
  <inkml:trace contextRef="#ctx0" brushRef="#br0" timeOffset="149132.42">23760 9036 0,'0'0'0,"-40"0"0,13 0 16,14 13-16,-13-13 0,13 0 0,-14 13 15,-26 0-15,27 0 16,-1-13-16,1 14 0,13-1 15,-14 0-15,1-13 0,12 13 0,-12 1 0,13-1 16,-1-13-16,1 13 0,13 0 16,-13 1-16,13-1 0,0 0 15,0 0-15,13 0 16,-13 1-16,13-1 0,1 0 0,12 0 16,-13 1-16,14-14 0,-14 13 0,14 0 0,-14 0 15,13 0-15,-13 1 0,1-14 16,12 13-16,1 0 0,-14-13 15,0 13-15,0-13 16,-13 14-16,14-14 16,-1 0-1,0 0 17,0 0-32,0 0 15,1 0-15</inkml:trace>
  <inkml:trace contextRef="#ctx0" brushRef="#br0" timeOffset="153268.48">3598 8559 0,'0'-13'0,"0"66"31,0-27-31,0 41 0,0-28 0,0 1 16,0 39-16,14-39 15,-14 0-15,13-1 0,-13-12 0,0-1 16,13 1-16,-13-1 0,13-13 16,-13 14-16,13-14 0,-13 14 0,14-14 15,-14 0-15,0 0 16</inkml:trace>
  <inkml:trace contextRef="#ctx0" brushRef="#br0" timeOffset="153641.62">3545 8586 0,'0'0'16,"14"-40"-16,-14 27 0,0 0 0,13-1 0,-13-12 15,13 13-15,0-1 0,-13 1 16,14 0-16,12 13 0,-13-13 0,0 13 16,1 0-16,12 0 0,-13 0 0,14 0 15,-14 13-15,27 13 16,-27-12-16,0-1 0,0 0 15,1 0-15,-14 14 0,0-14 0,13 0 16,-13 0-16,0 1 0,-13-1 16,13 13-16,0-12 0,-14-1 0,14 0 15,-13 0-15,13 1 0,-13-1 0,13 0 16,-13-13-16,13 13 0,-13-13 0,13 13 16,-14 1-1,14-1-15</inkml:trace>
  <inkml:trace contextRef="#ctx0" brushRef="#br0" timeOffset="154038.1">3929 8665 0,'-13'-13'31,"26"39"1,0-26-32,-13 14 15,14-14-15,-1 0 0,0 0 16,0 0-16,0 0 16,-13-14-16,14 14 0,-1 0 15,0 0-15,0 0 16,1 0-16,-1 14 0,-13-1 15,13 0-15,0 0 16,-13 0-16,14 14 0,-1-1 0,-13-12 16,13 12-16,-13 1 0,13-1 0,-13 0 15,0 1-15,0-1 0,0-12 16,0 12-16,0-13 0,0 14 0,0-14 16,0 0-16,0 0 0,-13 1 0,13-1 15,0 0-15,-13-13 0,0 13 16,-1-26-1,14 0-15,-13 0 0</inkml:trace>
  <inkml:trace contextRef="#ctx0" brushRef="#br0" timeOffset="154297.62">4299 8268 0,'0'-13'0,"0"26"0,0-39 0,0 52 32,0 1-32,14-14 15,-14 13-15,0 1 0,0-1 0,0 14 16,13 0-16,-13-14 0,0 14 16,0-14-16,13 14 0,-13-14 15,13 1-15,-13-14 0,0 14 0,14-14 16,-14 13-16,13-13 0,-13 1 15,0-1-15,13 0 0,-13 0 0,13 1 16</inkml:trace>
  <inkml:trace contextRef="#ctx0" brushRef="#br0" timeOffset="154704.71">4604 8215 0,'13'14'31,"-13"-1"-15,0 13-16,0-13 0,0 14 16,0 13-16,0-14 0,0 1 0,-13 12 15,13-12-15,0-1 0,0 1 0,-13-14 16,13 13-16,0-13 0,0 1 15,0-1-15,0 0 0,0 0 16,0 1-16,13-1 31,0-26-15,0 13-16,0 0 16,1 0-16,-1 0 0,13 0 15,-12 0-15,-1 0 16,0 0-16,-13-14 15,13 14-15,0 0 0,1 0 16,-14-13-16,13 13 0,-13-13 16,-13 13-1</inkml:trace>
  <inkml:trace contextRef="#ctx0" brushRef="#br0" timeOffset="155369.91">4273 8546 0,'0'-13'16,"13"0"0,0 13-16,-13-14 0,27 14 0,-14-13 15,14 0-15,-14 13 0,13-13 16,14-1-16,0 1 0,-1 0 0,1 0 16,0 13-16,-14-13 0,14-1 0,0 1 15,-1 13-15,-12-13 16,-1 0-16,1 13 0,-14-14 0,0 14 15,0 0-15,1-13 0,-1 13 0,0 0 16,0 0-16,-13 27 31,-13-27-31,13 13 16,0 13-16,-13-12 0,13-1 0,0 13 16,0-13-16,-13 1 0,13-1 15,0 13-15,13-12 0,-13-1 0,0 0 16,0 0-16,13 0 0,0 1 15,0-1-15,1-13 16,12-13-16,-13 13 16,1-14-16,-1 1 15,0-13-15,-13 13 0,0-14 16,0 1-16,0 12 0,-13-12 16,13 13-16,-13 0 0,-1-1 15,1 14-15,0-13 0,0 0 16,-1 13-16,1 0 0,0 0 15,0 0-15,13 13 16,13 0 0,0-13-1,0 0-15,1 0 16,-1 0-16,0 0 0,0 14 16,1-14-16,12 0 0,-13 13 15,1-13-15,-1 0 0,0 0 16,0 0-16,-13 13 0,13-13 0,1 0 15,-1 0-15,0 13 16,0-13 0,1 0-16,-1 0 15,0 0-15,0 0 16,-39 27 0</inkml:trace>
  <inkml:trace contextRef="#ctx0" brushRef="#br0" timeOffset="155908.75">3889 9208 0,'53'-14'16,"-13"14"-16,0-13 0,-1 0 15,28-14-15,-1 14 0,0-13 0,13-1 16,-13 1-16,14 13 0,-1-14 16,0 1-16,1-1 0,-1 1 0,14-1 15,-14 1-15,1-1 0,-14 1 0,13-14 16,-13 14-16,0-1 0,-13-12 0,13-1 16,-13 0-16,13 0 0,1-26 15,-14 13-15,-1 1 0,-12-1 0,26-14 16,-13 1-16,-13-13 0,0 13 0,-14 0 15,0 0-15,-12-1 0,-1 1 16,-13 0-16,-13-13 0,-1 13 0,-25 13 16,-1-14-16,-13 15 0,-13-1 0,-13 13 15,-27 0-15,0 14 0,-13 13 0,-13-1 16,-1 28-16,1-14 0,0 26 16,-1 0-16,1 14 0,0 0 15,13 0-15,0 26 0,0-13 0,13 13 16,13 13-16,1 1 0,-1-1 0,14 0 15,13 14-15,-1-1 0,14 1 16,1 0-16,25-1 0,1-26 16,12 14-16,1-14 0,13 0 0,13 0 0,14 0 15,-1 1-15,14-15 0,0 1 0,13-13 16,0 0-16,13-1 0,0-12 16,13-1-16,-13 1 0,14-14 0,-1 0 15,-13 1-15,0-14 0,1 0 16,-1 0-16,0-14 0,0 1 0,-26 0 15,13-14-15</inkml:trace>
  <inkml:trace contextRef="#ctx0" brushRef="#br0" timeOffset="157626.1">16351 11417 0,'-13'66'15,"13"-53"-15,-13 14 16,13-14-16,0 13 0,-13 1 0,13-14 16,0 13-16,0-12 0,0 12 15,0-13-15,0 1 0,0-1 0,-14-13 16,14 13-16,0 0 0,0-39 47,0-27-47,14 26 0,-14-12 15,13-1-15,-13 0 0,13 1 0,0-14 16,0 26-16,1-12 0,12-1 16,1 13-16,-14 1 0,13 0 0,-12 12 15,-1 14-15,0-13 0,0 13 0,0 13 16,1-13-16,-1 14 0,0-1 15,-13 0-15,13 13 0,1 1 16,-14-14-16,13 27 0,0 13 0,-13-27 16,13 1-16,-13-14 0,0 13 15,0-12-15,-13 12 0,13-13 16,0 14-16,0-14 0,-13 13 0,13-12 16,-13-1-16,-1 0 0,1 0 15</inkml:trace>
  <inkml:trace contextRef="#ctx0" brushRef="#br0" timeOffset="157988.99">16364 11655 0,'-13'-13'16,"40"13"-16,-14-14 16,0 14-16,14 0 0,-1-13 0,14 0 15,-1 0-15,1 0 0,0-1 0,0 1 16,-1 0-16,-12 0 0,-14-1 15,13 1-15,-12 13 0,-1-13 0,0 0 16,-13-1-16,13 14 0,-13-13 16,-13 13-1,0 13 1,13 1 0,0-1-16,0 0 0,0 0 15,0 1-15,0-1 0,0 0 0,0 0 16,0 14-16,-13-14 0,13 0 15,-14 0-15,14 1 0,-13-1 16,13 0-16,-13 0 0,0 1 0,-1-14 16,-12 13-16,13 0 0,0-13 0,-1 13 15,1-13-15,26-26 32</inkml:trace>
  <inkml:trace contextRef="#ctx0" brushRef="#br0" timeOffset="158358.26">16867 11509 0,'0'27'47,"0"-14"-47,0 0 0,13 1 15,-13-1-15,0 0 0,0 0 0,14 0 16,-14 1-16,0-1 0,0 0 15,-14 0-15,14 1 0,0-1 16,-13-13-16,13 13 0,0 0 0,-13-13 16,13 14-16,-13-14 0,13 13 0,13-26 47,0 13-32,-13-14-15,13 14 0,1-13 16,-1 13-1,0 0 1,-13 13-16,0 1 16,0-1-16,0 0 15,-13-13-15,13 13 0,0 0 16,-13-13-16,13 14 0</inkml:trace>
  <inkml:trace contextRef="#ctx0" brushRef="#br0" timeOffset="158493.09">16999 11549 0,'0'-13'32</inkml:trace>
  <inkml:trace contextRef="#ctx0" brushRef="#br0" timeOffset="159134.62">17119 11589 0,'0'0'15,"-27"0"1,14 0 0,13 13-16,0 0 15,0 0-15,-13 1 0,13-1 0,0 0 16,0 0-16,0 14 0,-14-14 15,14 14-15,-13-14 0,13 0 16,-13 0-16,13 0 0,-13 1 0,-1-1 16,14 0-16,-13 0 0,0-13 0,13 14 15,-13-14-15,13 13 0,-13-13 16,26-27 0,0 14-1,0 0-15,0 0 0,14-14 16,-14 14-16,0 0 0,1 0 15,12-1-15,-13 14 0,1-13 0,-1 13 16,0-13-16,0 13 0,0 0 16,-13 13-16,14 0 15,-14 1 1,0-1-16,-14-13 0,14 13 0,0 0 16,-13 0-1,40-26 32,-14 0-47,0 13 16,0-13-16,1 13 15,12 0 1,-13 0 0,1 0-16,-1 0 0,0 0 15,0 0-15,0 0 0</inkml:trace>
  <inkml:trace contextRef="#ctx0" brushRef="#br0" timeOffset="160408.4">17582 11602 0,'0'26'15,"-14"-12"-15,14-1 16,0 0-16,0 0 0,-13-13 16,13 14-16,0-1 0,0 0 15,0 0-15,-13-13 16,39-13 15,-26 0-31,14 13 16,-1-13-16,0 13 15,0 0-15,0-14 0,1 14 16,-1 14-16,0-14 16,0 13-16,1-13 15,-1 13 1,0 0-16,0 1 16,-13-1 15,14-26-16,-1-1-15,0 14 16,0-13-16,0 13 16,1 0-16,-14-13 0,26 26 15,-13-13-15,1 0 16,-1 13-16,0-13 16,0 0-16,1 0 15,-1 0-15,0 0 0,0 0 16,0 0-16,1 0 0,-1 0 0,0-13 15,0 13-15,-13-13 0,14 13 16,-1-13-16,0 13 0,-13-14 16,13 14-16,-13-13 0,-13 40 47,0-27-47,13 13 15,0 0-15,0 0 16,0 1-1,13-14-15,0 0 16,14 0-16,-14-14 16,0 14-16,0 0 0,1 0 15,-1-13-15,0 13 16,0 0-16,1 13 16,-1-13-1,-13 14-15,13-14 0,0 13 16,0-13-16,14 0 15,-14 0 1,14 0-16,-14-13 0,0 13 0,0-14 16,1 14-16,-1-13 15,13 0-15,-13 0 0,1-14 0,12 1 16,-13 12-16,1-12 0,12-27 16,-13 27-16,1 12 0,-1 1 15,-13 0-15,13 0 0,-13-1 16,0 54-1,-13-27 1,13 14-16,0-14 0,-13 40 16,13-27-16,0 1 0,0-1 15,0-12-15,0 12 0,0-13 0,-14 14 16,14-14-16,0 0 16,-13 0-16,-13-26 31,12 0-31,1 0 0,13 0 15,-13-1-15,0 1 16,13 0-16,0 0 0,0-1 16,13 1-16,0 0 0,0 13 15,14-13-15,13-1 0,-14 1 16,0 13-16,14-13 16,0 13-16,-1-13 0,1 13 0,0-13 15,-14 13-15,14 0 0,-14 0 0,-12 0 16,12 0-16,-13 0 0,14 0 15</inkml:trace>
  <inkml:trace contextRef="#ctx0" brushRef="#br0" timeOffset="161064.6">17873 11880 0,'66'-13'0,"159"-1"15,-172 14 1,-1 0-16,1-13 0,0 13 15,0 0-15,0 0 0,0 0 0,-13 0 16,-14 0-16,1 0 0,-14 0 0,13 0 16,-12 0-16,-1 0 15,-53 13 1,14-13-16,-1 0 0,-26 14 16,0-14-16,0 0 0,1 0 15,-28 0-15,14 13 0,-13-13 16,26 0-16,-13 0 0,13 0 0,13 13 15,0-13-15,14 0 0,-1 0 16,14 0-16,0 13 0,39-13 16,1 13-16,-1-13 15,14 0-15,13 0 0,13 0 16,53 0-16,-66 0 0,13 0 16,40 0-16,-53 0 0,-13 0 15,-14 0-15,1 0 0,-1 0 0,-13 0 16,14 0-16,-14 0 0,0 0 15,0 0-15,1 0 0,-1 0 16</inkml:trace>
</inkml:ink>
</file>

<file path=ppt/ink/ink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1.573"/>
    </inkml:context>
    <inkml:brush xml:id="br0">
      <inkml:brushProperty name="width" value="0.025" units="cm"/>
      <inkml:brushProperty name="height" value="0.025" units="cm"/>
      <inkml:brushProperty name="ignorePressure" value="1"/>
    </inkml:brush>
  </inkml:definitions>
  <inkml:trace contextRef="#ctx0" brushRef="#br0">41 1,'-4'3,"0"5,0 4,0 3,2 3,-3 1,0 1,0 0,2 1,0-1,2-4</inkml:trace>
</inkml:ink>
</file>

<file path=ppt/ink/ink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2.273"/>
    </inkml:context>
    <inkml:brush xml:id="br0">
      <inkml:brushProperty name="width" value="0.025" units="cm"/>
      <inkml:brushProperty name="height" value="0.025" units="cm"/>
      <inkml:brushProperty name="ignorePressure" value="1"/>
    </inkml:brush>
  </inkml:definitions>
  <inkml:trace contextRef="#ctx0" brushRef="#br0">19 4,'-2'2,"0"0,0 0,1 0,-1 0,1 0,0 1,-1-1,1 0,0 1,0-1,1 1,-1 0,0-1,1 1,0 0,0-1,-1 1,1 0,1-1,-1 1,0 0,1-1,-1 1,1-1,0 1,0-1,0 1,0-1,0 1,1-1,-1 0,1 0,-1 0,1 0,0 0,0 0,0 0,0 0,0-1,0 1,5 2,-5-3,-1 0,1 1,0-1,0 0,-1 0,1 0,0-1,0 1,0 0,0-1,0 1,0-1,0 1,0-1,0 0,0 0,0 0,1 0,-1 0,0-1,0 1,0-1,0 1,0-1,0 0,-1 1,1-1,0 0,0 0,0-1,-1 1,1 0,0 0,-1-1,0 1,1-1,-1 0,0 1,1-1,-1 0,0 0,0 0,-1 1,1-1,0 0,-1 0,1 0,-1 0,1 0,-1-1,0 1,0-2,0 1,0 1,0 0,0-1,0 1,0-1,-1 1,1-1,-1 1,0 0,1-1,-1 1,0 0,-1 0,1 0,0 0,0 0,-1 0,1 0,-1 0,0 0,0 1,1-1,-1 0,0 1,0 0,-1 0,1-1,0 1,0 0,0 1,-1-1,1 0,0 1,-1-1,1 1,-4-1,-10 0</inkml:trace>
</inkml:ink>
</file>

<file path=ppt/ink/ink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3.251"/>
    </inkml:context>
    <inkml:brush xml:id="br0">
      <inkml:brushProperty name="width" value="0.025" units="cm"/>
      <inkml:brushProperty name="height" value="0.025" units="cm"/>
      <inkml:brushProperty name="ignorePressure" value="1"/>
    </inkml:brush>
  </inkml:definitions>
  <inkml:trace contextRef="#ctx0" brushRef="#br0">142 0,'-11'8,"0"0,0 1,1 0,0 1,1 0,-12 15,-11 12,29-35,1 0,-1 1,1-1,0 1,0 0,0 0,0 0,0 0,1 0,-1 0,1 1,-1 2,2-5,0 0,0 0,0-1,0 1,0 0,0-1,0 1,1 0,-1-1,0 1,0 0,1-1,-1 1,0-1,1 1,-1-1,1 1,-1 0,0-1,1 1,0-1,-1 0,2 1,27 7,74-11,-85 3</inkml:trace>
</inkml:ink>
</file>

<file path=ppt/ink/ink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3.701"/>
    </inkml:context>
    <inkml:brush xml:id="br0">
      <inkml:brushProperty name="width" value="0.025" units="cm"/>
      <inkml:brushProperty name="height" value="0.025" units="cm"/>
      <inkml:brushProperty name="ignorePressure" value="1"/>
    </inkml:brush>
  </inkml:definitions>
  <inkml:trace contextRef="#ctx0" brushRef="#br0">97 1,'-3'3,"-4"5,-2 4,2 3,-2 3,0 1,-1-2,2-1,1 0,-1-3,1 0,1 2,2 0,2-2</inkml:trace>
</inkml:ink>
</file>

<file path=ppt/ink/ink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4.734"/>
    </inkml:context>
    <inkml:brush xml:id="br0">
      <inkml:brushProperty name="width" value="0.025" units="cm"/>
      <inkml:brushProperty name="height" value="0.025" units="cm"/>
      <inkml:brushProperty name="ignorePressure" value="1"/>
    </inkml:brush>
  </inkml:definitions>
  <inkml:trace contextRef="#ctx0" brushRef="#br0">81 17,'25'-11,"-11"5,-30 12,12-5,1 0,0 0,0 0,1 1,-1 0,0-1,0 1,1 0,-1 0,1 0,-1 1,1-1,0 1,0-1,0 1,-3 5,5-6,-1 0,1 1,-1-1,1 0,-1 0,1 0,0 1,0-1,0 0,1 0,-1 1,0-1,1 0,0 0,-1 0,1 0,0 0,0 0,0 0,0 0,0 0,1 0,-1 0,0-1,4 3,-4-3,0 0,0 0,0 0,0 0,0 0,0 0,0 0,0 0,-1 0,1 0,0 1,-1-1,1 0,-1 0,1 1,-1-1,0 0,1 1,-1-1,0 1,0-1,0 0,0 1,0-1,0 0,0 1,-1-1,1 0,0 1,-1-1,1 0,-1 1,0-1,1 0,-1 0,0 0,0 1,0-1,1 0,-1 0,-2 0,-3 4,-1-1,1 0,-1 0,0 0,-15 4,16-6,-6 2</inkml:trace>
</inkml:ink>
</file>

<file path=ppt/ink/ink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5.833"/>
    </inkml:context>
    <inkml:brush xml:id="br0">
      <inkml:brushProperty name="width" value="0.025" units="cm"/>
      <inkml:brushProperty name="height" value="0.025" units="cm"/>
      <inkml:brushProperty name="ignorePressure" value="1"/>
    </inkml:brush>
  </inkml:definitions>
  <inkml:trace contextRef="#ctx0" brushRef="#br0">31 18,'64'-13,"-51"9,-44 13,28-8,1 0,-1-1,0 1,0 0,1 0,-1 0,1 1,-1-1,1 1,-1-1,1 1,0 0,0 0,0 0,0 0,0 0,0 0,-1 3,2-2,1 0,0 0,0 0,0 0,0 0,0 0,0 0,1 0,0 0,0 0,-1 0,2-1,-1 1,0 0,0-1,1 1,1 2,-1-3,-1 1,1 0,-1-1,0 1,0 0,0-1,-1 1,1 0,-1 0,1 0,-1 0,0 0,0 0,0-1,-1 5,0-5,1-1,-1 1,0 0,0 0,0-1,0 1,-1 0,1-1,0 0,-1 1,1-1,-1 0,1 1,-1-1,0 0,1 0,-1 0,0-1,0 1,0 0,1-1,-1 1,-3 0,-11 2</inkml:trace>
</inkml:ink>
</file>

<file path=ppt/ink/ink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1:44:28.461"/>
    </inkml:context>
    <inkml:brush xml:id="br0">
      <inkml:brushProperty name="width" value="0.05292" units="cm"/>
      <inkml:brushProperty name="height" value="0.05292" units="cm"/>
      <inkml:brushProperty name="color" value="#0070C0"/>
    </inkml:brush>
  </inkml:definitions>
  <inkml:trace contextRef="#ctx0" brushRef="#br0">9379 6138 0,'199'-13'31,"-120"13"-31,-13-13 16,14 13-16,12 0 0,-12-13 0,-1 13 16,1 0-16,-14 0 0,13 0 0,-13-14 15,0 14-15,-13 0 0,0 0 16,-13 0-16,0 0 0,-1 0 0,-12 0 15,-1-13-15,1 13 0,-14 0 16,0 0-16,14 0 0,-14 0 16,0 0-16,0 0 15,0 13-15,1-13 32</inkml:trace>
  <inkml:trace contextRef="#ctx0" brushRef="#br0" timeOffset="722.2">12263 6072 0,'159'0'31,"-93"0"-31,14 13 16,-1-13-16,14 0 0,-14 0 0,14 14 0,-1-14 15,1 0-15,-1 13 0,1-13 0,0 13 16,-14-13-16,14 13 16,-14-13-16,0 14 0,1-14 0,-14 13 15,-13-13-15,0 0 0,0 13 0,-27-13 16,14 0-16,-27 0 0,14 0 15,-14 13-15,0-13 0,0 0 0,0 0 16,1 0-16,-54-13 31</inkml:trace>
  <inkml:trace contextRef="#ctx0" brushRef="#br0" timeOffset="1633.35">450 6734 0,'-13'0'0,"26"0"0,0-14 15,13 14-15,1 0 0,26-13 16,0 13-16,26 0 0,1-13 16,-1 13-16,27 0 0,-14-13 15,41 13-15,-41-13 0,14 13 0,0-14 16,0 14-16,0 0 0,-14-13 16,14 13-16,-27 0 0,14 0 0,-27 0 15,13-13-15,-26 13 0,0 0 0,0 0 16,-13 0-16,-14 0 0,1 0 15,-1 0-15,-12 0 0,12 0 0,-13 0 16,0 0-16,1 0 0,-1 0 16,0 0-16,0 0 15,1 0 1</inkml:trace>
  <inkml:trace contextRef="#ctx0" brushRef="#br0" timeOffset="3269.01">14301 4591 0,'0'-14'0,"13"14"16,0 0-16,0 0 0,14 0 0,-1 0 15,1 0-15,26 0 0,-14 0 16,14 14-16,0-14 0,0 13 0,-13-13 15,13 13-15,-14-13 0,1 13 0,-13-13 16,-1 13-16,0 1 16,1-1-16,-14 0 0,14 0 0,-14 1 15,-13-1-15,13 13 0,0 1 0,-13-14 16,0 27-16,14-14 0,-14 14 16,0 13-16,13-14 0,-13 1 0,0 13 15,13-13-15,-13 13 0,0-14 0,13 27 16,-13-26-16,13 13 0,1 13 0,-14-13 15,13 0-15,0 0 16,0 0-16,1 0 0,12 53 0,-13-67 16,1 1-16,-1 0 0,0-1 0,0 1 15,0 0-15,-13-14 0,14 1 16,-14-1-16,0 1 0,13-1 16,-13-13-16,0 0 0,0 1 0,0-1 15,-13 13-15,13-12 0,-14-1 0,1-13 16,0 13-16,0 0 0,0 1 15,-1-14-15,-12 13 0,-1-13 0,-12 13 16,12 0-16,-26 0 0,14-13 0,-1 14 16,-13-1-16,13 0 0,-26 0 15,13 1-15,0-1 0,14 0 0,-14 0 16,-13 1-16,26-1 0,-13 0 0,0-13 16,0 13-16,-26-13 0,-1 0 15,1 0-15</inkml:trace>
  <inkml:trace contextRef="#ctx0" brushRef="#br0" timeOffset="4096.22">1058 4577 0,'0'0'0,"-26"-13"15,13 13 1,-1 0-16,-12-13 0,-1 13 0,1 0 15,0 0-15,-27 0 0,0 13 16,0-13-16,0 0 0,0 0 16,0 0-16,13 13 0,-13-13 0,14 0 15,-1 0-15,14 0 0,-14 14 16,14-14-16,-1 0 0,1 0 0,-1 13 16,14-13-16,-14 0 0,14 13 0,0-13 15,0 13-15,0-13 0,-1 13 16,1 1-16,0-1 0,0 0 0,13 0 15,-14 14-15,14-14 0,-13 13 0,13 1 16,-13-1-16,13 14 0,-13 0 0,-1-1 16,14 14-16,-13 0 0,0 0 15,13 13-15</inkml:trace>
  <inkml:trace contextRef="#ctx0" brushRef="#br0" timeOffset="5349.87">529 6919 0,'-13'0'0,"-14"0"16,14 0-1,-13-13-15,13 13 0,-1 0 16,1 0-16,0-14 0,-14 14 16,14 0-16,-26-13 15,12 13-15,14-13 0,-14 13 0,14 0 16,0-13-16,0 13 0,-1 0 0,1-14 15,0 14-15,0 0 0,0 0 16,-1 0-16,1 0 0,13-13 0,-13 13 16,0 0-16,-1 0 0,1 0 15,13-13 1,-13 13-16,0 0 16,-1 0-1,1-13 16,0 13-15</inkml:trace>
  <inkml:trace contextRef="#ctx0" brushRef="#br0" timeOffset="10355.68">10874 6099 0,'14'0'0,"39"0"31,-40 0-31,0 0 0,13 0 0,-12 0 0,12 0 16,-13 0-16,14 0 0,-1 0 16,1 0-16,-1 0 0,1 0 0,-14 0 15,13 0-15,1 0 0,-1 13 0,14-13 16,13 0 0,-27 0-16,40 0 0,-39 0 15,-1 0-15,1 0 0,-1 0 0,1 0 16,-1 0-16,-13 13 0,14-13 15,-1 0-15,-12 0 0,12 0 0,-13 0 16,1 0-16,12 0 0,-13 13 0,0-13 16,1 0-16,12 0 0,-13 0 15,1 0-15,-1 0 0,0 0 16,0 0-16,0 0 0,1 0 0,-1 0 16,-13 14-16,13-14 0,0 0 15,1 0-15,-1 0 16,0 0-16,0 0 0,1 0 15,-1 0 1,0 0 0,0 0-16,0 0 15,1 0 17,-1 0-17,0 13-15,0-13 16,1 0-16,-1 0 15,0 0 1,0 0-16,1 0 16,-1 0-1,13 0-15,1 0 16,-14 13 0,0-13-16,0 0 15,1 0-15,-1 0 16,0 0-1,0 0 17,0 0 30</inkml:trace>
  <inkml:trace contextRef="#ctx0" brushRef="#br0" timeOffset="14712.69">4538 7210 0,'-40'-40'16,"27"14"-16,-14-1 0,1 1 16,-1-1-16,-12-12 0,-1-1 15,-13 0-15,0 14 0,13-14 0,-12 14 16,12-1-16,0 1 0,14-1 0,-14 14 16,14 0-16,-14-14 0,13 14 15,-12 0-15,-1 0 16,0 0-16,27-1 15,0 14-15,0 0 0,-1 0 0,1 0 16,0 0-16,0 0 16,13 14-16,-14-14 0</inkml:trace>
  <inkml:trace contextRef="#ctx0" brushRef="#br0" timeOffset="15185.34">3757 6734 0,'0'26'31,"0"-13"-31,0 1 0,0-1 16,0 0-16,0 0 0,0 0 0,0 1 16,0-1-16,0 0 15,0 0-15,0 1 16,-13-41 15,13 14-31,-13-14 16,-1-25-16,1 25 0,13 1 0,0-1 15,-13 1-15,13 13 0,0-14 0,0 14 16,0 0-16,-13-14 0,13 14 16,13 0-16,-13-1 0,0 1 15,13 0-15,0 0 16,1 13-16,-1 0 0,13 0 15,-12 0-15,12 0 0,0 0 0,1 0 16</inkml:trace>
  <inkml:trace contextRef="#ctx0" brushRef="#br0" timeOffset="19760.3">7779 7289 0,'0'-13'16,"0"39"15,0-12-31,0-1 0,0 13 15,0-12-15,-13-1 0,13 13 0,0 1 16,0-14-16,0 13 0,-14-12 0,14 12 16,0-13-16,0 1 0,-13 12 15,13-13-15,0 1 0,0-1 0,0 0 16,0 0-16,0 0 16</inkml:trace>
  <inkml:trace contextRef="#ctx0" brushRef="#br0" timeOffset="22113.15">7739 7250 0,'66'-14'32,"-26"14"-32,-14 0 15,1 0-15,-1-13 0,1 13 0,-1 0 16,14 0-16,-14 0 0,14 0 15,-14 0-15,14-13 0,0 13 0,0 0 16,-1 0-16,1 0 0,13-13 0,-13 13 16,-1 0-16,1 0 0,13-14 15,-14 14-15,-12 0 0,13 0 0,-14 0 16,14 0-16,-14 0 0,14-13 16,-14 13-16,1 0 0,-1 0 15,14 0-15,-14-13 0,1 13 0,-1 0 16,14 0-16,-13 0 0,-1-13 0,0 13 15,14 0-15,-13 0 0,12-13 16,1 13-16,-14 0 0,14-14 0,-13 14 16,-1 0-16,0 0 0,1-13 0,-1 13 15,1 0-15,-1 0 0,1-13 16,-14 13-16,13 0 0,-12 0 0,12 0 16,-13 0-16,1 0 0,12 0 0,-13 0 15,1 0-15,-1 0 0,13 0 16,-13 0-16,1 0 0,12-13 15,-13 26-15,1-26 0,12 13 0,-13 0 16,14 0-16,-14 0 0,0 0 16,14 0-16,-14 0 0,13 0 0,-12 0 15,-1 0-15,13 0 0,-13 0 0,1 0 16,-1 0-16,13 0 0,-12 0 16,-1 13-16,0-26 0,0 13 0,1 0 15,12 0-15,-13 0 0,0 0 0,1 0 16,-1 13-16,0-13 0,14 0 15,-14-13-15,0 26 0,0-13 0,1 0 16,12 0-16,-13 0 0,0 0 0,1 0 16,12 0-16,-13 0 15,1 0-15,12 0 0,-13 0 0,1 0 16,12 0-16,-13 0 0,0 0 0,14 0 16,-14 0-16,0 0 0,14 0 15,-14 0-15,0 0 0,0 0 0,14 0 16,-14 0-16,0 0 0,1 0 0,-1 0 15,0 0-15,0 0 16,1 0-16,-1 0 0,0 0 16,0 0-16,0 0 0,1 0 15,-1 0 1,0 0-16,0 0 16,1 0-16,-1 0 15,0 0 1,-13 13-16,13-13 15,1 0 1,-14 13 0,13-13-16,-13 14 15,0-1-15,13 0 16,-13 0-16,0 0 16,0 1-16,0-1 15,0 0-15,0 0 0,0 14 16,0-14-16,0 0 0,0 0 0,0 1 15,0-1-15,0 0 16,0 0-16,0 1 0,13 25 16,-13-25-16,0-1 0,0 0 0,0 0 15,0 0-15,0 1 0,0-1 16,0 0-16,0 0 0,13-13 0,-13 14 16,0-1-16,0 0 0,0 0 15,0 1-15,14-14 0,-14 13 0,0 0 16,0 0-1,0 0-15,13 1 16,-13-1 15,0 0-31,-13 0 32,13 1-17,0-1 1,-14 0-1,14 0 1,-13-13 31,0 0-31,-13 0-1,12 0-15,1 0 16,0 0-16,0 0 0,-1 0 15,1 0-15,0 0 0,0-13 0,-14 13 16,14 0-16,0 0 0,-14 0 0,14 0 16,-13 0-16,12 0 0,-12-13 0,13 13 15,-14 0-15,1 0 0,-1 0 16,14 0-16,-13-13 0,-1 13 0,1 0 16,-1 0-16,14 0 0,-13-14 0,-1 14 15,1 0-15,-1 0 0,14 0 16,-13 0-16,-1 0 0,1-13 15,12 13-15,-12 0 0,-1 0 0,1 0 16,0 0-16,12 0 0,-12 0 16,-14 0-16,14-13 0,-1 13 0,1 0 15,-1 0-15,14 0 0,-13 0 0,12 0 16,-12 0-16,-1 0 0,14 0 16,-13 0-16,13 0 0,-14 0 0,14 0 15,-14 0-15,14 0 0,0 0 0,-27 0 16,27 0-16,0 0 0,0 0 15,-1-13-15,1 13 0,0 0 16,0 0-16,-1 0 0,1 0 0,0 0 16,0 0-16,0-14 0,-1 14 15,1 0-15,0 0 0,0 0 16,-1 0-16,1 0 0,0-13 0,-14 13 16,14 0-16,0 0 0,-13 0 0,12-13 15,1 13-15,-13 0 0,12 0 16,1 0-16,-13 0 0,13-13 0,-1 13 15,-12 0-15,13 0 0,-1 0 16,1 0-16,-13 0 0,12 0 0,1-13 0,0 13 16,0 0-16,0 0 0,-1 0 15,1 0-15,0 0 0,0 0 0,-1 0 16,-12 0 0,13 0-16,-1 0 15,1 0-15,0 0 0,-13 0 16,12 0-1,1 0-15,0 0 0,0 0 16,-1 13-16,1-13 0,0 0 16,0 0-16,-1 0 0,1 0 0,0 0 15,0 0-15,-14 0 0,14 0 16,0 0-16,0 0 0,-1 0 0,1 0 16,0 0-16,0 0 0,-1 0 0,1 0 15,0 0-15,0 0 0,-14 0 0,14 0 16,0 0-16,0 13 15,-1-13-15,1 0 0,0 0 0,0 0 16,0 0-16,-1 0 0,1 0 0,-13 0 16,12 0-16,1 0 15,0 0-15,13 13 0,-13-13 0,-1 0 16,1 0-16,0 0 0,0 0 16,0 0-16,-1 0 15,1 0-15,0 13 0,0-13 16,-1 0-1,1 0-15,0 0 16,0 0-16,-1 0 16,1 0-1,0 14-15,0-14 16,0 0-16,-1 0 16,1 0-16,0 0 0,0 0 15,-1 0-15,1 0 0,0 0 16,-13 0-16,12 0 0,1 0 15,0 0-15,0 0 0,-14 0 0,14 0 16,0 0-16,-1 0 0,-12 0 16,13 0-16,-14 0 0,14 0 0,-13 0 0,-1 0 15,1 0-15,-1 13 0,-12-13 16,12 0-16</inkml:trace>
  <inkml:trace contextRef="#ctx0" brushRef="#br0" timeOffset="27288.19">714 8109 0,'40'0'16,"-80"0"-16,93 0 0,-39 0 0,12 0 0,-13 0 16,0 0-16,14 0 0,-14 0 0,0 0 15,14 0-15,-14 0 0,13 0 16,1 0-16,-1 0 0</inkml:trace>
  <inkml:trace contextRef="#ctx0" brushRef="#br0" timeOffset="27525.06">926 8162 0,'0'0'0,"26"0"31,-12 0-31,-1 0 0,0 0 0,14 0 16,-14 0-16,0 0 0,14 0 0,-14 0 16,0 0-16,13 0 0,-12 0 15,-1 0-15,0 0 0,14 0 0</inkml:trace>
  <inkml:trace contextRef="#ctx0" brushRef="#br0" timeOffset="32258.3">7885 8123 0,'26'0'15,"-13"0"-15,14 0 16,-14 0-16,13 0 0,1 0 0,-1 0 0,1 0 15,12 0-15,1 0 0,13 0 16,0 0-16,0 0 0,0 0 16,0 0-16,13 0 0,-13 0 0,0 0 15,13 0-15,-13 0 0,0 0 0,13 0 16,-13 0-16,0 0 0,13 0 16,-13 0-16,0 0 0,0 0 0,0-14 15,-14 14-15,-12 0 0,12 0 0,-12 0 16,-1 0-16,-13 0 0,14 0 15,-1 0-15,-12 0 0,12 0 0,-13 0 16,1 0-16,-1 0 0,0 0 0,0 0 16,0-13-16,1 13 0,-1 0 15,0 0-15,0 0 0,1 0 16,-1 0 0,0 0-1,0 0-15,1 0 16,-1 13-16,0-13 31,0 0-15,0 0 15,1 0-15,-14 14-1,13-14 1,0 0-1,0 13 1,1-13-16,-1 0 16,0 0-16,13 0 0,-12 0 15,-1 0-15,13 0 0,1 0 0,-14 0 16,14 0-16,-1 0 0,0 13 16,1-13-16,-1 0 0,14 0 0,-13 0 15,12 0-15,1 0 0,-14 0 0,27 0 16,-13-13-16,13 13 0,0 0 15,-13 0-15,-14 0 0,14 0 0,-14 0 16,14 0-16,-14 0 0,14 0 16,-14 0-16,1 13 0,-1-13 0,1 0 15,-14 0-15,13 0 0,-12 0 16,12 0-16,-13 0 0,14 0 0,-14 0 16,0 0-16,1 0 0,12 0 0,-13 0 15,0 0-15,1 0 16,-1 0-16,0 0 0,0 0 31,1 0-15,-1 0-16,0 0 31</inkml:trace>
  <inkml:trace contextRef="#ctx0" brushRef="#br0" timeOffset="33518.61">11972 8096 0,'0'0'0,"53"0"16,-39 0-16,12 0 0,0 0 0,-12 0 15,12 0-15,1 0 0,12 0 16,14 0-16,-13 0 0,13 0 0,0 0 16,13-13-16,-13 13 0,0 0 0,13 0 15,0 0-15,-13 0 0,0 0 16,13 0-16,-13 0 0,0 0 0,0 0 16,-14-13-16,14 13 0,-13 0 0,-14 0 15,1 0-15,-1 0 0,1 0 16,-1 0-16,-12 0 0,-1 0 0,0 0 15,0 0-15,0 0 0,1 0 0,-1 0 16,0 0-16,0 0 31,1 0-15</inkml:trace>
  <inkml:trace contextRef="#ctx0" brushRef="#br0" timeOffset="37692.17">437 8480 0,'39'0'31,"-26"0"-31,1 0 0,-1 0 16,0 0-16,14 0 0,-14-13 0,13 13 16,-12 0-16,12 0 15,0 0-15,-12-14 0,12 14 0,1 0 16,-14 0-16,13 0 0,-12-13 0,-1 13 15,0 0-15,0 0 0,0 0 16,1 0-16,-1 0 0</inkml:trace>
  <inkml:trace contextRef="#ctx0" brushRef="#br0" timeOffset="41078.49">10610 8559 0,'53'0'0,"-106"0"0,132 0 0,-52 0 0,-1 0 16,1 0-16,12 0 0,1 0 16,13 0-16,0 0 0,0 0 0,0 0 15,13 0-15,-13 0 0,0 0 0,-1 0 16,-12 0-16,13 0 0,-13 0 15,-14 0-15,14 0 0,-14 0 0,1 0 16,-1 0-16,1 0 0,-14 0 0,0 0 16,14 0-16,-14 0 15,0 0-15,0 0 0,1 0 0,12 0 16,-13 0 0,1 0-1,-1 0-15,0 0 16,0 0-1,0 0 1,1 13-16</inkml:trace>
  <inkml:trace contextRef="#ctx0" brushRef="#br0" timeOffset="42057.51">12700 8572 0,'106'0'31,"-80"0"-31,14 0 15,0 0-15,13 0 0,0 0 0,-1 0 16,1 0-16,13 14 0,-13-14 0,0 0 16,0 0-16,13 0 0,-13 0 15,0 0-15,0 0 0,-13 13 0,13-13 16,-14 0-16,1 0 0,-13 0 0,-1 0 16,0 0-16,1 0 0,-14 0 15,0 0-15,14 0 0,-14 0 0,0 0 16,1 0-16,-1 0 15,0 0-15,0 0 16,0 0-16,1 0 16,-41-13 77,14 13-93,0 0 16</inkml:trace>
  <inkml:trace contextRef="#ctx0" brushRef="#br0" timeOffset="43329">5927 9935 0,'-40'13'15,"27"1"1,-14 12-16,14-13 0,0 14 16,0-1-16,-1 14 0,1-14 15,0-12-15,13 12 0,-13-13 0,13 14 16,-14-14-16,14 0 0,0 0 0,14 1 15,-14-1-15,0 0 0,13-13 16,0 13-16,0-13 0,1 0 16,12-13-16,-13 13 0,1 0 15,-1-13-15,0 13 0,0 0 16,0-13-16,1 13 0,-1 0 16,0 13-16,0-13 0,1 13 15,-14 0-15,13-13 16,-13 14-16,0-1 0,0 0 0,0 0 15,0 0-15,0 1 0,0-1 0,0 0 0,0 14 16,0-14 0,0 0-16</inkml:trace>
  <inkml:trace contextRef="#ctx0" brushRef="#br0" timeOffset="43668.77">6138 10226 0,'14'40'16,"-14"-27"-16,0 0 16,13 1-16,-13-1 0,0 0 15,0 0-15,0 0 0,0 1 0,13-14 16,-13 13-16,0 0 0,0 0 15,13-39 17,-13 13-32,0-1 15,13 14-15,-13-13 0,0 0 16,14 0-16,-14 0 0,13-1 0,0 1 16,0 0-16,1 13 15,-14-13-15,13 13 0,0 0 16,0 0-16,1-14 0</inkml:trace>
  <inkml:trace contextRef="#ctx0" brushRef="#br0" timeOffset="43916.1">6403 10266 0,'0'26'16,"0"-12"0,13-1-16,-13 0 0,13 0 15,1 0-15,-1-13 0,0 0 16,0 14-1,1-14-15,-1 0 16,0-14-16,0 14 0,-13-13 16,0 0-1,0 0-15,-13 13 16,13-13-16,-13 13 0,0-14 16,-1 14-1,1 14 1</inkml:trace>
  <inkml:trace contextRef="#ctx0" brushRef="#br0" timeOffset="44552.25">6747 10279 0,'0'27'16,"26"12"15,-12-39-31,-14 13 16,13-13-16,0 0 0,0 0 16,0-13-16,1 0 15,-1 0 1,0 0-16,-13-1 0,13 14 15,-13-13-15,0 0 0,14 13 16,-14-13-16,13 39 31,-26-13-15,13 1 0,0-1-16,0 0 0,0 0 15,0 0-15,0 1 0,0-1 16,0 0-16,0 0 15,0 1-15</inkml:trace>
  <inkml:trace contextRef="#ctx0" brushRef="#br0" timeOffset="45005.14">7157 10200 0,'-26'53'31,"26"-40"-31,0 0 0,0 14 0,-14-14 16,14 13-16,0 1 0,0-14 0,0 13 15,0-12-15,0 12 0,0 1 16,-13-14-16,13 0 0,13 0 15,-13 0-15,0 1 0,-13-1 0,13 0 16,0 0 0,13-52-1,-13 25 1,0-12-16,14 0 0,-14-14 0,13 0 16,0 0-16,0 14 0,0-14 15,1 14-15,-1 13 0,-13-14 0,13 14 16,0 13-16,-13-13 0,14 13 0,-14-14 15,13 28 1,-13-1-16,-13 0 16,13 14-16,-14-14 0,1 0 0,0 0 15,13 1-15,-13-1 16,13 0-16,-14 0 0,28 0 16</inkml:trace>
  <inkml:trace contextRef="#ctx0" brushRef="#br0" timeOffset="45516.78">8136 10081 0,'-13'13'0,"13"0"0,-14 0 16,14 1-16,0-1 0,0 13 0,-13-13 15,13 1-15,0 12 0,0-13 16,-13 1-16,13 12 0,0-13 0,0 1 15,0-1-15,0 0 16,0 0-16,13-39 31,-13 13-31,0-1 0,13-25 16,1-1-16,-14 13 0,13-12 16,0-14-16,0 13 0,1 0 0,-1 14 15,0 0-15,0 12 0,1 1 0,-14 0 16,13 0-16,0-1 0,0 14 15,0 14-15,-13-1 16,14 13-16,-14-12 0,0 12 0,13-13 16,-13 14-16,0-1 0,0 1 15,0-1-15,0-13 0,0 14 16,0-14-16,0 13 0,0-12 0,0-1 16,0 0-16,0 0 0,13 1 15,-13-1-15</inkml:trace>
  <inkml:trace contextRef="#ctx0" brushRef="#br0" timeOffset="45745.09">7990 10239 0,'-13'0'15,"53"0"16,-27 0-31,0 0 0,14 0 0,-1-13 16,1 13-16,-1 0 0,14 0 16,0-13-16,-1 13 0,14 0 0,-13-13 15,13 13-15,-14-14 0,1 14 0,0 0 16,-1 0-16,1 0 0</inkml:trace>
  <inkml:trace contextRef="#ctx0" brushRef="#br0" timeOffset="46421.21">12846 9723 0,'-80'40'16,"54"-13"-16,12-1 15,-12 0-15,0 14 0,-1-13 0,14-1 16,0 14-16,-14-14 0,14 14 0,13-27 16,-13 14-16,13-14 0,0 0 15,0 0-15,0 1 0,13-1 16,0-26-16,0 13 0,14 0 15,-14-14-15,27-12 16,-14 13-16,14-1 0,-14 1 0,1 0 16,-1 0-16,-12 13 0,12-14 0,-13 14 15,0 0-15,1 0 0,-1 14 0,0-14 16,0 13-16,-13 0 0,14 0 16,-14 1-16,13-1 0,-13 0 0,0 0 15,0 1-15,0-1 0,0 0 0,0 13 16,-13-12-16,13-1 15</inkml:trace>
  <inkml:trace contextRef="#ctx0" brushRef="#br0" timeOffset="46756.98">13110 10014 0,'0'0'0,"0"27"16,0-14 0,-13 0-16,13 1 0,0-1 15,0 0-15,0 0 0,-13 1 16,13-1-16,0 0 0,0 0 0,0 0 16,13-39 30,-13 13-46,0 0 0,13-14 0,-13 14 16,13 0-16,-13-1 0,14 1 0,-1 0 16,-13 0-16,13 13 15,-13-14-15,13 14 0,0 0 0,-13-13 16,14 13-16,-1 0 0,0 0 16,0 0-16</inkml:trace>
  <inkml:trace contextRef="#ctx0" brushRef="#br0" timeOffset="46991.96">13295 10041 0,'0'0'15,"0"13"-15,-13 0 16,13 1-16,0-1 16,0 0-16,13 0 15,1-13 1,-14 14-16,13-14 0,0 0 0,0 0 16,0 0-16,1-14 15,-1 14-15,-13-13 0,13 0 16,-13 0-16,0-1 0,0 1 15,-13 13-15,13-13 0,-13 0 16,-1 13-16,-12 0 16,13 0-16,0 13 15,-1-13 1,14 13-16</inkml:trace>
  <inkml:trace contextRef="#ctx0" brushRef="#br0" timeOffset="47400.55">13560 10041 0,'-27'13'32,"27"0"-32,0 1 15,-13-1-15,13 0 0,0 0 16,13 1-16,-13-1 16,14-13-16,-14 13 0,13-13 15,0 13-15,0-13 16,1-13-1,-1 0-15,0 0 16,0-1-16,-13 1 0,13 0 16,-13 0-16,14 13 0,-14-14 15,13 1 1</inkml:trace>
  <inkml:trace contextRef="#ctx0" brushRef="#br0" timeOffset="47797.87">13798 9975 0,'-13'13'15,"13"0"-15,0 0 0,-13 14 0,13-1 16,0 1-16,-14-1 0,14 14 15,-13-14-15,13 14 0,0-13 0,-13-1 16,13 1-16,-13-1 0,13 0 0,0-12 16,0 12-16,-14-13 0,14 1 15,-13-1-15,13 0 0,-13-13 16,13-13 0,0 0-16,0-1 15,0-12-15,0-1 0,13-12 16,0-1-16,1-13 0,-1 13 0,0 1 15,0-1-15,1 14 0,12-14 0,-13 27 16,0-1-16,1 1 0,-1 0 16,0 13-16,0 0 0,1 0 15,-14 13-15,13 0 16,-26 1-16,13-1 0,0 0 16,-14 0-16,1 14 0,0-14 0,0 0 15,-1 1-15,14-1 0,-13 0 0,13 0 16,-13-13-16,13 13 0</inkml:trace>
  <inkml:trace contextRef="#ctx0" brushRef="#br0" timeOffset="48064.01">14552 9776 0,'-26'27'16,"12"-14"-16,14 0 0,-13 0 16,0 1-16,0 12 15,13-13-15,-14 14 0,1-14 0,13 0 16,-13 14-16,0-14 0,13 0 0,0 0 16,-13 1-16,13-1 0,0 0 0,-14 0 15,14 1-15,0-1 16</inkml:trace>
  <inkml:trace contextRef="#ctx0" brushRef="#br0" timeOffset="48762.85">14512 9803 0,'0'0'0,"14"-13"0,-1 13 15,0 0 1,0 13-16,-13 0 16,0 0-16,0 0 15,0 1-15,-13-1 0,13 0 16,-13 0-16,13 1 16,0-1-1,13 0-15,0 0 16,-13 1-16,14-14 0,-14 13 15,13 0-15,-13 0 0,0 0 16,-13 1-16,-1-1 16,1-13-16,13 13 0,-13-13 15,-14 0-15,14 13 0,0-13 0,0 0 16,-1 0-16,1 14 0,0-14 16,0 0-16,-14 0 0,14 0 0</inkml:trace>
  <inkml:trace contextRef="#ctx0" brushRef="#br0" timeOffset="50946.43">5689 9723 0,'13'0'32,"0"0"-32,0 0 15,0 0-15,1 0 0,-1 0 0,13 0 16,-12 0-16,12 0 0,1 0 15,-1 0-15,0 0 0,-12 0 0,12 0 16,1 0-16,-1 0 0,0 0 0,1 0 16,-1 0-16,-12 0 0,12 0 15,1 0-15,-1 0 0,0 0 0,1 0 16,-1 0-16,1 0 0,-14 0 0,14 0 16,-1 0-16,0 0 0,1 0 15,-1 0-15,-12 0 0,12 0 0,1 0 16,-1 0-16,0 0 0,14 0 15,-13-13-15,12 13 0,1 0 16,13 0-16,-13 0 0,12 0 0,1 0 16,0 0-16,0 0 0,0-13 0,0 13 15,13 0-15,-13 0 0,13 0 16,-13-13-16,0 13 0,13 0 0,0 0 16,14-13-16,-1 13 0,1 0 0,-14 0 15,0 0-15,-13 0 0,13 0 16,-13-14-16,13 14 0,0 0 0,0 0 15,0 0-15,1 0 0,-1 0 16,0 0-16,-13 0 0,13 0 0,0 0 16,0 0-16,14-13 0,-14 13 15,13 0-15,-13 0 0,0 0 0,1 0 16,-15 0-16,15-13 0,-15 13 16,15 0-16,-14 0 0,-1 0 0,15 0 15,-1 0-15,-13 0 0,13 0 0,-13-13 16,0 13-16,0 0 0,13 0 15,-13 0-15,0 0 0,-1 0 0,15 0 16,-14-14-16,13 14 0,0 0 0,-13-13 16,0 13-16,13 0 0,-13 0 15,0-13-15,13 13 0,-13 0 0,0 0 16,0-13-16,-1 13 0,1 0 0,13 0 16,-13-14-16,0 14 15,0 0-15,0 0 0,13 0 0,-13-13 16,13 13-16,1 0 0,-15 0 0,28-13 15,-14 13-15,0 0 0,13-13 16,-12 13-16,-14 0 0,13 0 0,0-13 16,13 13-16,-13 0 0,14 0 0,-14-14 15,13 14-15,-26 0 0,13 0 16,-13 0-16,13 0 0,-13-13 0,13 13 16,1 0-16,-1 0 0,13 0 0,-26 0 15,26-13-15,-12 13 0,-15 0 0,1-13 16,14 13-16,-15 0 15,81-14-15,-67 14 16,-13 0-16,0 0 0,13-13 0,-13 13 0,0 0 16,0 0-16,0-13 0,-14 13 15,14 0-15,0 0 0,-13 0 0,-1 0 16,1 0-16,-13 0 0,12 0 0,-12-13 16,-14 13-16,13 0 0,1 0 15,-14 0-15,0 0 0,1 0 0,-1 0 16,0 0-16</inkml:trace>
  <inkml:trace contextRef="#ctx0" brushRef="#br0" timeOffset="51804.1">8916 9260 0,'0'14'31,"-13"-1"-15,13 0-16,0 0 0,0 1 0,0-1 16,0 0-16,-13 0 0,13 0 15,0 14-15,13-14 0,-13 0 16,0 1-16,13-1 0,1 0 15,-1-13 1,0-13-16,0 13 16,1-13-16,-1 13 0,0-14 15,0 14-15,1 0 16,-1 0-16,0 0 16,0 0-16,0 0 15,-13 14-15,14-14 0,-1 0 16,0 0-1,14 0-15,-27-14 0,13 14 16,0 0-16,-13-13 0,13 0 0,-13 0 16,14-1-16,-14 1 15,0 0-15,0 0 0,0 0 0,0-1 16,0 1-16,0 0 0,0 0 0,0-1 16,0 1-16,0 40 46</inkml:trace>
  <inkml:trace contextRef="#ctx0" brushRef="#br0" timeOffset="52116.94">9379 9313 0,'0'40'15,"0"-27"1,0 0-16,0 1 16,14-1-16,-1-13 15,-13 13-15,13-13 0,0 0 0,14 0 16,-14 0-16,0 0 0,1 0 0,-1-13 16,0 13-16,0-13 15,0-1-15,-13 1 0,0 0 16,0 0-16,0 0 15,-13-1-15,0 1 0,0 13 16,13-13-16,-13 13 0,-1 0 16,1 0-16,0 0 0,0 0 15,-1 13-15,1-13 0,13 13 16</inkml:trace>
  <inkml:trace contextRef="#ctx0" brushRef="#br0" timeOffset="52400">9631 9287 0,'13'0'16,"-26"0"-16,39 13 0,-12 0 15,-14 1-15,13-1 0,-13 0 16,0 0-16,0 0 0,13 1 0,-13-1 16,0 0-16,0 0 15,0 1-15,0-1 16,0-40 15,0 14-31,0 0 16,13 0-16,-13-1 0,0 1 15,13 0-15,1 0 0,-1 0 16,0 13 0,-13-14-16,13 14 0,1 0 0,-14-13 15,13 13-15,0 0 0,0 0 16</inkml:trace>
  <inkml:trace contextRef="#ctx0" brushRef="#br0" timeOffset="52740">10120 9168 0,'0'0'0,"0"26"16,-13-12 0,13-1-16,-13 0 15,13 0-15,0 0 0,0 1 0,-13-1 16,13 0-16,0 0 0,0 1 0,0-1 15,0 0 1,-14-13 0,1 0-1,-13 0 1,12 13-16,1-13 16,0 0-16,0 13 0,0-13 0,-1 14 15,1-1-15,13 0 16,0 0-1,13-13-15,1 0 16,-1 0-16,0 0 0,0 0 16,0 0-16,1-13 0,-1 13 15,13 0-15,-12 0 0,-1-13 0,13 13 16,-12 0-16,-1-13 0</inkml:trace>
  <inkml:trace contextRef="#ctx0" brushRef="#br0" timeOffset="53114.18">11218 9088 0,'14'53'16,"-14"-39"-1,0-1-15,0 0 0,0 14 16,13-14-16,-13 13 0,0-13 0,0 14 15,0-14-15,0 0 0,0 1 0,0-1 16,0 0-16,0 0 0,0 0 0,0 1 16,0-1-16,0 0 31</inkml:trace>
  <inkml:trace contextRef="#ctx0" brushRef="#br0" timeOffset="53376.38">11271 9062 0,'13'-40'0,"-26"80"0,40-80 15,-27 27-15,13 13 0,0 0 0,0 0 16,1 0-16,-1 0 0,0 13 16,0-13-16,1 14 0,-1-14 15,-13 13-15,13 0 0,-13 0 0,0 0 16,0 1-16,-13-1 15,13 0-15,-13-13 0,-1 13 16,1-13-16,0 14 0,0-14 16,-1 0-16,1 0 0,0 13 0,0-13 15,-1 0-15,14 13 16,-13-13-16</inkml:trace>
  <inkml:trace contextRef="#ctx0" brushRef="#br0" timeOffset="53673.62">11549 9194 0,'0'27'16,"-13"-14"-1,26 0-15,-13 0 0,13 1 16,1-14-1,-1 0-15,0 0 16,0 0-16,0 0 0,1-14 16,-1 14-16,-13-13 0,13 13 0,-13-13 15,13 13-15,-13-13 0,0 0 16,0-1-16,14 1 0,-14 0 16,0 0-16,-14 13 15,14-14 1</inkml:trace>
  <inkml:trace contextRef="#ctx0" brushRef="#br0" timeOffset="54094.03">12012 9141 0,'13'0'0,"1"0"15,-1 0-15,0 14 16,-26-1-1,13 0-15,-13 0 16,-1-13-16,1 14 0,0-1 0,0 0 16,-1-13-16,14 13 15,-13 0-15,0-13 0,0 14 0,-1 25 32,14-25-17,14-1-15,-1-13 16,0 13-16,0-13 0,1 0 0,12 0 15,-13 0-15,1 0 0,-1 0 0,0 0 16,13 0-16,-12 0 0,-1 0 16,0 0-16,0-13 15</inkml:trace>
  <inkml:trace contextRef="#ctx0" brushRef="#br0" timeOffset="54265.27">11919 9260 0,'-13'0'0,"26"0"0,14 0 31,-14 0-31,0 0 16,1 0-16,12 0 0,-13 0 16,1 0-16,12 0 0,-13 0 0,14 0 15</inkml:trace>
  <inkml:trace contextRef="#ctx0" brushRef="#br0" timeOffset="54645.14">12409 9141 0,'0'0'16,"0"14"-16,13-14 15,-13 13-15,-13 0 16,13 0-16,-13 1 0,13-1 16,-14 0-16,1 0 0,0 0 0,13 1 15,-13-14-15,13 13 0,-13 0 0,13 0 16,-14-13-16,14 14 0,0-1 15,0 0-15,14 0 16,-1-13 0,0 0-16,0 0 0,0 13 15,1-13-15,-1 0 0,0 0 16,0 0-16,1-13 0,-1 13 16,0 0-16</inkml:trace>
  <inkml:trace contextRef="#ctx0" brushRef="#br0" timeOffset="54820.12">12263 9287 0,'14'0'15,"-1"0"-15,0 0 0,0 0 16,1-13-16,-1 13 0,0 0 15,0 0-15,14 0 0,-14 0 0,0 0 16,0 0-16,1 0 0</inkml:trace>
  <inkml:trace contextRef="#ctx0" brushRef="#br0" timeOffset="55077.25">12687 9168 0,'13'0'31,"-13"13"-31,-13 0 16,13 1-1,0-1-15,0 0 0,0 0 16,0 0-16,0 1 0,0-1 0,0 0 16,0 0-16,0 1 0,0-1 15,13 0-15,0 0 16,0-13-1,1 0-15,-1 0 0,0 0 16,0-13-16,1 13 16</inkml:trace>
  <inkml:trace contextRef="#ctx0" brushRef="#br0" timeOffset="55334.48">12938 9208 0,'-13'13'47,"13"0"-47,0 0 16,0 0-16,-13 1 15,13-1-15,0 0 16,13-13-16,-13 13 0,0 1 16,0-1-16,13-13 0,0 0 15,1 0-15,-1 13 16,0-13-16,0 0 15,1 0 1,-1-13-16</inkml:trace>
  <inkml:trace contextRef="#ctx0" brushRef="#br0" timeOffset="55577.58">13004 9313 0,'-13'-13'0,"26"13"62,1 0-46,-14-13-16,0 0 15,0-1 1,0 1 0,-14 13-16,14-13 15,14 0 1,-14 0-16,13 13 15,0-14-15,0 14 16,0-13-16,1 13 0</inkml:trace>
  <inkml:trace contextRef="#ctx0" brushRef="#br0" timeOffset="57813.25">4445 10186 0,'40'0'16,"-27"0"-16,13 0 15,1 0-15,-1 0 0,14 0 0,13-13 16,-13 13-16,-1 0 0,1 0 16,13 0-16,-27-13 0,14 13 0,-14 0 15,14 0-15,-13 0 0,-1 0 0,-13-13 16,14 13-16,-14 0 0,0 0 16,0 0-16,1 0 0,-1 0 0,0 0 15,0 0-15,1 0 16,-1 0-16,-13-13 15,13 13-15,0 0 16</inkml:trace>
  <inkml:trace contextRef="#ctx0" brushRef="#br0" timeOffset="58206.08">5120 9975 0,'13'26'16,"0"-26"-16,0 13 0,1-13 0,-1 14 16,13-1-16,-12-13 0,12 13 0,-13 0 15,14-13-15,-1 14 0,-13-1 16,1 0-16,12-13 0,-13 13 16,1 1-16,-1-14 0,0 13 0,0 0 15,-13 0-15,0 0 16,0 1-16,-13-14 15,0 13-15,0 0 0,-1 0 0,1-13 16,-13 14-16,12-1 0,-12 0 16,-1-13-16</inkml:trace>
  <inkml:trace contextRef="#ctx0" brushRef="#br0" timeOffset="59245.24">2381 10385 0,'-13'26'16,"13"1"-1,0-14-15,0 0 0,0 1 16,0-1-16,0 0 16,0 0-16,0 0 15,0-52 32,0 26-47,13 13 0,-13-14 0,0 1 16,13 0-16,-13 0 0,14-1 15,-1 1-15,0 13 16,0 0-16,1 0 16,-1 0-16,0 13 0,0-13 15,1 14-15,-14-1 0,13-13 16,-13 13-16,13-13 0,-13 13 0,13 1 15,-13-1 1,0-53 15,13 27-15,-13 0-16,14-1 16,-1 1-16,0 0 0,0 0 15,1 13-15,-1 0 0,13 0 16,-26 13-16,14-13 15,-14 13-15,13 0 0,-13 1 16,0-1-16,0 0 0,0 0 16,13 1-16,-13-1 0,0 0 15,0 0-15,13-13 16,-13 13-16,13-13 0</inkml:trace>
  <inkml:trace contextRef="#ctx0" brushRef="#br0" timeOffset="59624.52">2897 10385 0,'0'-13'15,"-13"39"1,13-13-1,0 1-15,0-1 0,0 0 16,13-13 0,-13 13-16,13-13 0,1 0 15,-1 0-15,0 0 16,0-13-16,1 0 16,-1 0-16,-13-1 0,13 1 15,-13 0-15,13 0 0,-13-1 16,0 1-16,13 13 15,-13-13-15,0 39 32,0-12-32,0 12 15,14-13 1,-14 1-16,13-14 16,-13 13-16</inkml:trace>
  <inkml:trace contextRef="#ctx0" brushRef="#br0" timeOffset="59909.34">3254 10345 0,'-13'0'0,"0"13"32,0-13-32,13 14 15,0-1-15,0 0 16,0 0-16,13-13 15,-13 14-15,0-1 0,0 0 16,13 0-16,-13 1 16,-13-1-16,13 0 15,0 0-15,-13-13 0,13 13 16,-14-13-16,14 14 16,-13-14-1</inkml:trace>
  <inkml:trace contextRef="#ctx0" brushRef="#br0" timeOffset="60052.28">3307 10411 0,'14'0'0,"-1"-13"15,0 26 1,-13 1 0,0-1-1,0 0-15,0 0 16,0 1-16,0-1 0,0 0 15</inkml:trace>
  <inkml:trace contextRef="#ctx0" brushRef="#br0" timeOffset="60204.18">3453 10306 0,'0'0'0,"-13"0"16,-1 13 0</inkml:trace>
  <inkml:trace contextRef="#ctx0" brushRef="#br0" timeOffset="60457.25">3585 10358 0,'-13'14'0,"0"12"16,13-13-16,-14 1 15,14-1-15,14 0 16,-14 0-16,13 1 0,0-14 16,-13 13-16,13-13 15,1 0-15,-1 0 0,0 0 16,0 0-16,0 0 0,1 0 15,-1 0 1,0 0-16,0-13 0,1 13 0,-1 0 16,-13-14-16</inkml:trace>
  <inkml:trace contextRef="#ctx0" brushRef="#br0" timeOffset="61477.39">14909 10014 0,'53'0'31,"-40"0"-15,14 0-16,-1 14 0,-12-14 15,12-14-15,0 14 0,1 0 0,-1 0 0,1 0 16,-14 0-16,14 0 0,-14 0 15,0 0-15,0 0 0,0 0 0,1 0 16,-1 0-16</inkml:trace>
  <inkml:trace contextRef="#ctx0" brushRef="#br0" timeOffset="61853.1">15002 9869 0,'-27'13'31,"14"-13"-31,0 0 0,0 13 15,-1-13-15,1 14 0,0-14 16,0 13-16,0 0 16,-1-13-16,1 13 15,13 1-15,-13-14 0,0 13 16,13 0-16,0 0 16,0 0-1,0 1 1,13-14-16,-13 13 15,13-13-15,0 0 0,1 13 16,-1-13-16,0 0 16,-13 13-16,13-13 0,0 0 0,1 0 15,-1 0-15</inkml:trace>
  <inkml:trace contextRef="#ctx0" brushRef="#br0" timeOffset="62456.78">15743 10081 0,'0'39'31,"0"-12"-15,0-14-1,0 0-15,0 0 0,13 1 31,0-28 1,0 14-32,1-13 0,-1 13 0,-13-13 15,13 13-15,0-13 0,1 13 16,-1 0-16,0 0 0,-13-13 0,13 13 16,0 13-16,1-13 15,-14 13-15,13-13 0,-13 13 16,13 0-16,-13 1 15,13-14-15,1 13 0,-1-13 16,0 0 0,0 0-16</inkml:trace>
  <inkml:trace contextRef="#ctx0" brushRef="#br0" timeOffset="62700.39">16126 10173 0,'0'0'0,"-13"13"46,13 1-30,13-1-16,1-13 0,-1 0 16,0 0-16,0 0 15,0 0-15,1 0 0,-14-13 16,13 13-16,0-14 0,-13 1 16,0 0-1,-13 0-15,13 0 0,-13-1 16,-1 14-16,14-13 0,-13 13 0,0 0 15,0 0-15,0 0 16</inkml:trace>
  <inkml:trace contextRef="#ctx0" brushRef="#br0" timeOffset="63385.65">16364 10253 0,'14'13'32,"-14"0"-17,0 0-15,0 1 16,0-1-1,13 0 1,0-26 15,0 0-15,1 13-16,-14-14 16,13 14-16,0 0 0,0 0 15,-13-13 1,14 26-16,-1-13 15,0 0-15,-13 14 16,13-14 0,-13 13-16,13-13 15,14 0 17,-14-13-32,0 13 15,-13-14-15,14 14 0,-1 0 16,0-13-1,0 13-15,1 0 16,-1 0-16,0 13 16,0-13-1,0 14-15,1-14 0,-1 13 16,0-13-16</inkml:trace>
  <inkml:trace contextRef="#ctx0" brushRef="#br0" timeOffset="63726.04">16841 10279 0,'0'-13'0,"-13"39"31,13-12-16,0-1-15,13-13 16,-13 13-16,0 0 16,13-13-16,0 13 15,0-13-15,1 0 16,-1-13-16,0 13 0,0-13 16,1 13-1,-14-13-15,13 13 0,-13-13 0,13 13 16,-13-14-16,13 14 15,-13-13 1,13 26 15</inkml:trace>
  <inkml:trace contextRef="#ctx0" brushRef="#br0" timeOffset="64112.59">17119 10292 0,'0'14'31,"0"-1"-31,13 0 0,-13 0 16,0 0 0,0 1-16,0-1 0,-13 0 15,13 0-15,-14 1 16,28-41 46,-1 14-62,0 0 0,0 13 16,0-14-16,1 14 0,-1-13 0,0 13 16,-13-13-16,13 13 15,1 0-15,-1 13 31,-13 0-15,-13 1-16,13-1 16,0 0-16,0 0 15</inkml:trace>
  <inkml:trace contextRef="#ctx0" brushRef="#br0" timeOffset="64243.53">17357 10226 0</inkml:trace>
  <inkml:trace contextRef="#ctx0" brushRef="#br0" timeOffset="64405.05">17410 10332 0,'-14'26'31,"14"-12"-31,14-1 16,-1-13-16,0 0 15,0 0-15,0 0 0,1 0 16</inkml:trace>
  <inkml:trace contextRef="#ctx0" brushRef="#br0" timeOffset="64550.1">17793 10372 0</inkml:trace>
  <inkml:trace contextRef="#ctx0" brushRef="#br0" timeOffset="66920.56">4987 10954 0,'0'39'32,"0"-25"-32,0-1 0,0 0 15,-13 0-15,13 1 0,0-1 16,-13 0-16,13 0 0,0 0 0,0 1 15</inkml:trace>
  <inkml:trace contextRef="#ctx0" brushRef="#br0" timeOffset="67305.1">5093 10821 0,'0'0'16,"13"0"-16,1 14 0,-14-1 0,13 0 15,-13 0-15,13 1 0,-13-1 0,0 13 16,13-12-16,-13 12 0,0 0 0,0 1 16,0-1-16,-13 14 0,13 0 15,-13-14-15,0 14 0,13-14 0,-14 1 16,1-1-16,13 1 0,-13-1 15</inkml:trace>
  <inkml:trace contextRef="#ctx0" brushRef="#br0" timeOffset="67656.11">4855 11800 0,'13'-13'0,"-26"26"0,40-39 16,-14 26 0,-13 13-16,0 0 15,0 1-15,0-1 0,0 0 16,-13 0-16,13 1 15,-14-1-15,14 0 0,-13 0 16,13 0-16,0 1 16,27-14 15,-14 0-15,0-14-16,0 14 15,0 0-15,1 0 0,-1 0 0,0-13 16</inkml:trace>
  <inkml:trace contextRef="#ctx0" brushRef="#br0" timeOffset="67845.42">5054 11642 0,'0'0'0,"26"13"15,-13 0-15,-13 0 16,0 1-16,13-1 0,-13 0 0,0 0 15,0 1-15,-13 12 0,13-13 16,0 14-16,0-14 0,-13 0 16,13 0-16,0 1 0,-13-1 0,13 0 15</inkml:trace>
  <inkml:trace contextRef="#ctx0" brushRef="#br0" timeOffset="68436.27">4670 13586 0,'0'27'32,"-13"-14"-17,13 0-15,0 0 0,0 1 16,0-1-16,0 0 0,0 0 15,13-13-15</inkml:trace>
  <inkml:trace contextRef="#ctx0" brushRef="#br0" timeOffset="68681.38">4855 13560 0,'-13'40'16,"26"-27"-1,-13 0-15,13 0 0,1-13 16,-1 0 0,0 0-16,-13-13 0,13 13 15,-13-13-15,13 13 0,-13-13 0,0-1 16,-13-12 0,0 13-16,0-1 15,0 14-15,-1 0 0,1-13 16,0 13-16,0 0 0,-1-13 15</inkml:trace>
  <inkml:trace contextRef="#ctx0" brushRef="#br0" timeOffset="69368.16">12211 10795 0,'0'26'16,"0"1"-1,0-14-15,0 0 16,0 1-16,-14-1 0</inkml:trace>
  <inkml:trace contextRef="#ctx0" brushRef="#br0" timeOffset="69563.2">12356 10663 0,'13'0'16,"-13"13"-16,27 66 15,-27-65-15,0-1 16,-14 13-16,14-13 0,-13 14 15,13-1-15,0 1 0,-13-14 0,13 0 16</inkml:trace>
  <inkml:trace contextRef="#ctx0" brushRef="#br0" timeOffset="70000.27">12184 11404 0,'13'13'31,"-13"0"-31,0 0 16,-13 0-16,13 1 0,0-1 0,-13 0 15,13 0-15,-13 1 0,13-1 16,0 0-16,0 0 0,-14-13 15,14 14-15,0-1 0,14 0 16,-1-13 0,13 0-1,-12-13-15,-1 13 0,0 0 16,0-13-16,0 13 0,1-14 16,-1 1-16</inkml:trace>
  <inkml:trace contextRef="#ctx0" brushRef="#br0" timeOffset="70165.42">12409 11311 0,'13'13'0,"-13"0"0,0 1 0,0-1 16,-13 0-16,13 14 0,0-14 0,-13 13 16,13-13-16,-14 14 15,14-1-15,-13 1 0,13-1 0,-13-12 16,0 12-16,13-13 0,0 14 0</inkml:trace>
  <inkml:trace contextRef="#ctx0" brushRef="#br0" timeOffset="70903.97">12197 13494 0,'14'13'15,"-14"0"-15,0 0 0,-14-13 0,14 14 16,0-1-16,0 0 0,0 0 0,0 1 16,0 12-16,0-13 0,-13 0 15,13 1-15,0-1 0,13-13 16</inkml:trace>
  <inkml:trace contextRef="#ctx0" brushRef="#br0" timeOffset="71153.23">12303 13600 0,'0'26'16,"13"-13"-1,1-13 1,-1 0-16,0 0 15,-13-13 1,0 0 0,0 0-16,-13 13 15,0-14-15,-1 14 16,1 0-16,0 0 16,13-13-16,-13 13 15</inkml:trace>
  <inkml:trace contextRef="#ctx0" brushRef="#br0" timeOffset="71315.98">12356 13335 0,'13'0'0,"40"66"31,-40-39-31,1-1 0,-1 14 0,-13-14 0,0 14 16,0-14-16,0 14 0,0 0 15,-13-1-15,-1 1 0,1 0 16,0-1-16,0-12 0</inkml:trace>
  <inkml:trace contextRef="#ctx0" brushRef="#br0" timeOffset="74868.22">13745 9022 0,'27'14'16,"-14"-1"-16,-26 0 16,13 0-16,-14-13 0,14 13 15,-13 1-15,0-14 0,0 13 0,13 0 16,-14 0-16,1-13 0,0 14 0,0-14 16,-1 13-16,1-13 15,13 13-15,-13-13 0,13 13 16,13-13 15,14 0-15,-14 0-16,0 0 0,0 0 0,14 0 15,-14 0-15,14-13 0,-1 13 16,0 0-16,1-13 0,13 0 0</inkml:trace>
  <inkml:trace contextRef="#ctx0" brushRef="#br0" timeOffset="75141.98">14102 8969 0,'-26'-13'16,"13"13"0,-1 0-16,1 13 0,0 1 15,0-1-15,13 0 16,0 0-16,0 1 0,0-1 16,0 0-16,13-13 15,-13 13-15,13 0 0,0-13 0,1 0 0,-14 14 16,13-14-16,0 0 0,0 0 15,1-14-15,-1 14 16,-13-13-16,0 0 0,0 0 16,-13 0-16,-1-1 15,1 14-15,0-13 16,0 13-16,-1 0 0,1 0 16,-13 0-16,12 0 15,1 0-15</inkml:trace>
  <inkml:trace contextRef="#ctx0" brushRef="#br0" timeOffset="75391.83">13441 8864 0,'-119'185'31,"106"-159"-31,13 1 0,0-1 16,0 1-16,13-1 0,0 1 15,13 12-15,1-26 0,-14 14 0,27-1 16,-14-12-16,1-1 0,-1 0 0,1-13 16,-1 13-16,1-13 0,12 0 15,-12-13-15</inkml:trace>
  <inkml:trace contextRef="#ctx0" brushRef="#br0" timeOffset="75769.47">14195 8758 0,'79'79'16,"-65"-52"-16,-1-1 15,0 0-15,0 14 0,0-13 16,1-1-16,-14 1 0,13-1 0,-13-13 16,0 14-16,0-14 0,0 13 0,-13-12 15,13 12-15,-14 1 0,1-14 0,0 0 16,-13 13-16,12-12 0,1-1 16,0 0-16,0-13 0,-1 13 0,1-13 15</inkml:trace>
  <inkml:trace contextRef="#ctx0" brushRef="#br0" timeOffset="77916.17">6284 10901 0,'-40'53'15,"40"-40"-15,-13 0 16,13 14-16,0-14 0,0 0 16,-13 0-16,13 14 0,0-14 0,0 0 15,0 0-15,-14 1 0,14-1 16,14 0-16</inkml:trace>
  <inkml:trace contextRef="#ctx0" brushRef="#br0" timeOffset="78456.16">6403 10914 0,'26'0'32,"-12"0"-32,-1 0 0,0 13 15,0-13-15,1 0 0,-1 0 16,13-13-16,-13 13 16,-13-13-1,-13 0 1,-13 13-1,13 0-15,-1 0 16,1 0-16,0 0 0,0 13 0,-1-13 16,14 13-1,0 0-15,0 1 0,14-1 16,-14 0-16,13 0 0,-13 0 16,13-13-16,-13 14 0,0-1 0,0 0 15,0 0-15,0 1 16,-13-1-16,0 0 0,-1-13 0,1 13 15,0 0-15,-14 1 0,14-1 0,-13 0 16,13 0-16,-1 1 0,-12-1 16</inkml:trace>
  <inkml:trace contextRef="#ctx0" brushRef="#br0" timeOffset="78810.53">6032 11734 0,'0'27'31,"-13"-14"-31,13 0 0,0 0 16,0 1-16,0-1 0,-13 0 15,13 0-15,0 1 0,0-1 0,0 0 16,0 0-16,0 0 0,0 1 15,0-1 1</inkml:trace>
  <inkml:trace contextRef="#ctx0" brushRef="#br0" timeOffset="79256.84">6271 11681 0,'0'0'0,"-27"14"0,14-1 0,0 0 16,-1 0-16,1 1 0,0-1 16,0 0-16,0 0 0,-1 0 0,14 1 15,-13-1-15,0 0 0,13 0 16,0 1-16,0-1 15,0 0-15,13-13 16,-13 13-16,13-13 0,1 0 0,-1 13 16,0-13-16,0 0 0,0-13 0,1 13 15,-1-13-15,0 13 0,14-13 0,-14 0 16,0-1-16,0 1 0,1 0 16,-14-14-16,13 14 0,-13 0 15,0 0-15,0 0 0,0-1 0,0 1 16,0 0-16,0 0 15,-27 26 1,27 0-16,-13 0 0,0 1 0,13 12 16,-13-13-16,-1 14 0,14-1 15,-13 14-15,0-1 16,13-12-16,0-1 0,-13-12 16,13-1-16,0 13 0</inkml:trace>
  <inkml:trace contextRef="#ctx0" brushRef="#br0" timeOffset="79601.5">6059 12369 0,'-27'27'31,"27"-14"-31,0 0 0,-13 0 0,13 14 16,-13-14-16,13 0 0,-13 14 0,13-14 16,-13 13-16,13-12 0,0-1 0,0 0 15,0 0-15</inkml:trace>
  <inkml:trace contextRef="#ctx0" brushRef="#br0" timeOffset="79860.28">6125 12435 0,'27'-13'31,"-14"26"-31,-13 1 0,-13-1 16,13 0-16,0 0 0,-14 14 0,14-14 16,-13 0-16,0 0 0,13 1 0,-13-14 15,13 13-15,0 0 16,-14 0-16,28-13 15,-1 0 1,-13 14-16,13-14 0,14-14 16,-14 14-16,0 0 0,0 0 15,-13 14-15,13-14 0,1 0 0,-1 13 16</inkml:trace>
  <inkml:trace contextRef="#ctx0" brushRef="#br0" timeOffset="80304.13">5927 13004 0,'-14'40'16,"1"-27"-1,13 0-15,0 1 0,0-1 0,0 13 16,0-12-16,0-1 15,0 0-15</inkml:trace>
  <inkml:trace contextRef="#ctx0" brushRef="#br0" timeOffset="80461.86">6085 13004 0,'0'-13'16,"-13"40"-1,13-14-15,0 0 0,0 0 16,13 0-16,-13 1 0,0-1 0,0 0 16,14 0-16</inkml:trace>
  <inkml:trace contextRef="#ctx0" brushRef="#br0" timeOffset="80873.37">5847 13507 0,'0'0'0,"14"0"0,-1-13 0,0 13 15,0 0 1,0 0-1,-13 13-15,14-13 16,-14 13-16,13-13 0,-13 13 0,0 1 16,13-1-16,-13 0 15,0 0-15,0 1 0,0-1 0,0 0 16,0 0-16,0 0 0</inkml:trace>
  <inkml:trace contextRef="#ctx0" brushRef="#br0" timeOffset="81048.34">5821 13666 0,'0'0'0,"0"-14"0,13 1 32,66-13-17,-52 13-15,-14 13 16,14 0-16,-14-14 0,0 14 15,0 0-15</inkml:trace>
  <inkml:trace contextRef="#ctx0" brushRef="#br0" timeOffset="83213.17">13679 10676 0,'-13'26'15,"13"-12"-15,-14-1 16,14 13-16,0-12 0,-13-1 0,13 0 16,0 0-16,0 14 0,-13-14 0</inkml:trace>
  <inkml:trace contextRef="#ctx0" brushRef="#br0" timeOffset="83586.2">14049 10689 0,'-79'66'31,"53"-52"-31,-1-1 16,14 13-16,0-13 0,-1-13 0,-12 27 15,26-14-15,-13-13 0,13 13 16,0 1-1,13-14-15,0 0 0,0 0 16,14 0-16,-14-14 0,0 1 16,1 13-16,12-13 15,-13 0-15,0-14 0,1 14 0,-14 0 16,13 0-16,0 13 0,-13-14 0,0 1 16,-13 26-1,0 1 1,-1-1-16,1 0 0,0 0 0,0 14 15,-14-1-15,14 1 0,0-1 16,0-13-16,-1 14 0,14-14 0,0 13 16,-13-12-16,13-1 0</inkml:trace>
  <inkml:trace contextRef="#ctx0" brushRef="#br0" timeOffset="83902.48">13732 11364 0,'-13'79'31,"-1"-52"-31,14-14 16,0 13-16,-13 1 0,13 13 0,-13 26 15,0-40-15</inkml:trace>
  <inkml:trace contextRef="#ctx0" brushRef="#br0" timeOffset="84320.9">13970 11470 0,'-13'-14'16,"0"28"-1,13-1-15,0 0 16,0 0-16,0 1 0,0-1 16,-14 0-16,14 0 0,-13 1 15,0-1-15,13 0 0,-13 0 0,-1 0 16,1 1-16,0-14 15,0 0-15,26-14 32,-13 1-32,13 0 0,0 0 15,1 0-15,-1-1 0,0-12 0,0 13 16,1-1-16,-14 1 0,13 0 0,-13 0 16,0-1-16,0 1 0,0 0 15,-13 0-15,13 0 16,-14 13-16,1 0 0,0-14 15,0 28 1,-1-1-16,14 0 0</inkml:trace>
  <inkml:trace contextRef="#ctx0" brushRef="#br0" timeOffset="84661.05">13573 12237 0,'0'26'15,"0"-12"1,-13-1-16,13 0 0,0 14 0,0-14 16,-13 13-16,13-13 0,0 14 15,-14-14-15,14 14 0,0-14 0,0 0 16,0 0-16</inkml:trace>
  <inkml:trace contextRef="#ctx0" brushRef="#br0" timeOffset="84925.56">13838 12224 0,'-53'0'15,"40"13"-15,-1 0 16,1 0-16,0-13 0,0 14 15,13-1-15,0 0 16,0 0-16,26-13 16,-13 0-16,1 0 15,-1 14-15,0-14 16,0 13-16,0 0 0,1 0 16,-14 0-16,0 1 0,13-1 0,-26 0 15,13 0-15,0 14 0,0-14 16,0 0-16,0 1 0,-14-1 0,14 0 15,0 0-15</inkml:trace>
  <inkml:trace contextRef="#ctx0" brushRef="#br0" timeOffset="85592.99">13573 13004 0,'13'-13'31,"-13"40"-31,0-14 15,-13 0-15,13 0 16,-13 0-16,0 1 16,13-1-16,0 0 15,-14 0-15,28 1 16,12-28 0,-13 14-1,1-13-15,-1 13 0,0-13 0,0 13 16,0-13-16,1 13 0,-1-14 0,0 14 15,0 0 1,1 0-16,-1 14 16,0-14-1,-13 13 1,13-13-16,1-13 16,-1 13-1,-13-14-15,0 1 0,-13 0 16,13 0-1,-14 13-15,14-13 0,-13 13 0,0 0 16,0 0 0,-1 13-16,1-13 0,13 13 15</inkml:trace>
  <inkml:trace contextRef="#ctx0" brushRef="#br0" timeOffset="87268.29">13560 13666 0,'0'-14'0,"0"1"15,13 13 1,0 0-16,1 0 16,-1 0-16,0 0 0,0 0 15,0 0 1,-13 13-16,14-13 0,-1 14 15,-13-1-15,0 0 0,0 0 16,13-13-16,-13 14 0,0-1 0,0 0 16,0 0-16,0 1 0,0-1 0,0 0 15,0 0-15,0 0 0,0 1 16,-13-14-16,13 13 0,0 0 16,-13 0-1</inkml:trace>
  <inkml:trace contextRef="#ctx0" brushRef="#br0" timeOffset="87453.14">13520 13824 0,'0'-13'0,"0"26"0,13-26 32,1 0-32,-1 13 15,0 0-15,0-13 0,1 13 0,-1 0 16,0-13-16,0 13 0,14-14 0,-14 14 15,0 0-15,0-13 0,1 13 16,12-13-16,-13 13 0,1-13 0,-1 13 16</inkml:trace>
  <inkml:trace contextRef="#ctx0" brushRef="#br0" timeOffset="95098.07">7845 1508 0,'145'-13'0,"-290"26"16,383-39-16,-106 26 0,1-14 15,12 1-15,1 0 0,26-13 0,-14 12 16,14 1-16,14 0 0,-14 0 0,13-14 16,0 14-16,0 0 0,-13-1 0,13 1 15,-26 0-15,13 0 0,-13 0 16,-14 13-16,-12-14 0,-28 14 0,-12 0 15,-14-13-15,1 13 0,-14 0 0,-26 13 16,13-13-16,-14 0 0,-25 0 0,12 14 16,-13-14-16,0 13 15</inkml:trace>
  <inkml:trace contextRef="#ctx0" brushRef="#br0" timeOffset="95796.06">17251 1191 0,'251'13'15,"-158"-26"-15,-1 13 16,41 0-16,12-14 0,1 14 0,-1 0 15,1 0-15,-1 0 0,1 0 0,-1 0 16,-12 0-16,-14 0 0,-13 0 16,-1 14-16,-12-14 0,0 0 0,-14 0 15,0 0-15,-26 0 0,0 0 16,-13 0-16,-14 0 0,-12 0 0,12 0 0,-13 0 16,0 0-16,1 0 0,-1 0 15,-53 0 16</inkml:trace>
  <inkml:trace contextRef="#ctx0" brushRef="#br0" timeOffset="96685.99">22093 331 0,'39'-13'15,"-78"26"-15,92-26 0,-40 13 0,0 0 0,0 0 16,1 13-16,-1-13 0,-13 13 16,13 0-16,0 0 0,-13 1 15,0 12-15,13-13 0,-13 14 0,0-14 16,0 13-16,0 1 0,0-14 0,-13 14 16,13-1-16,0 1 15,-13-1-15,13-13 0,0 14 0,-13-1 16,13-13-16,-13 14 0,13-14 0,0 0 15,0 1-15,0-1 0</inkml:trace>
  <inkml:trace contextRef="#ctx0" brushRef="#br0" timeOffset="96809">22225 939 0,'0'13'31,"-13"-13"-31</inkml:trace>
  <inkml:trace contextRef="#ctx0" brushRef="#br0" timeOffset="98092.66">15756 238 0,'13'-13'16,"-26"26"-16,39-26 0,1 26 0,-14-13 16,0 13-16,1 1 0,-1-1 0,-13 0 15,13 0-15,0 14 0,-13-1 16,0 1-16,0-1 0,-13 1 0,13 12 15,-13-12-15,0 12 0,-14-12 0,14 13 16,13-27-16,-13 13 0,-1-13 16,1 14-16,13-14 0,-13 0 0,0 1 15</inkml:trace>
  <inkml:trace contextRef="#ctx0" brushRef="#br0" timeOffset="98233.26">15729 1032 0</inkml:trace>
  <inkml:trace contextRef="#ctx0" brushRef="#br0" timeOffset="107094.43">2289 10372 0,'-14'119'0,"54"145"31,-40-224-31,13 0 0,1-1 16,-14-12-16,13-1 0,-13 1 0,0-14 16,13 13-16,-13-12 15</inkml:trace>
  <inkml:trace contextRef="#ctx0" brushRef="#br0" timeOffset="107701.47">2156 10200 0,'14'-14'0,"-1"14"15,13 0-15,-13-13 0,27 13 16,13-13-16,0-13 0,13 12 16,0 1-16,14-13 0,-1-1 0,27 1 15,-13-1-15,12 1 0,-12-14 0,13 0 16,-27 27-16,1-13 0,-1-1 16,0 1-16,1 13 0,52-27 15,-66 27-15,-26-1 0,-1 14 16,-12-13-16,-1 13 0,1 0 0,-14-13 15,0 13-15,1 0 0,-14 13 16,13-13-16,0 13 0,-13 1 16,0-1-16,0 0 0,0 14 15,0-14-15,-13 13 0,13 1 16,0-1-16,0 1 0,0 12 0,0-12 16,0 12-16,0-12 0,0-1 0,13 1 15,-13-1-15,13 1 0,0 12 16,-13-25-16,14 12 0,-1-13 0,0 14 15,-13-1-15,13-12 0,-13-1 16,14 13-16,-14-13 0,0 1 0,0-1 16,0 13-16,-14 1 0,1-1 15,0-12-15,-14 12 0,14 0 16,-13-12-16,-14 12 0,14-13 0,-14 14 16,13-14-16,-12 13 0,-14 1 15,0-1-15,0-12 0,0 12 0,0 14 16,-13-14-16,13 1 0,-13-1 0,-80 40 15,80-39-15,0 12 16,-13-12-16,13-1 0,0 1 0,13-1 16</inkml:trace>
  <inkml:trace contextRef="#ctx0" brushRef="#br0" timeOffset="108198.52">2858 11179 0,'-14'39'16,"28"-78"-16,-28 105 0,14-53 0,-13 13 0,13 14 16,-13 0-16,13-14 0,-13 27 15,13-13-15,-14 0 0,14-1 0,0 1 16,-13 0-16,13-14 0,0 1 15,0-1-15,0 1 0,0-14 0,0 0 16,0 0-16,0 0 0,-13 1 0</inkml:trace>
  <inkml:trace contextRef="#ctx0" brushRef="#br0" timeOffset="108434.61">2765 11152 0,'-27'27'15,"54"-54"-15,-67 67 0,27-40 0,13 13 0,-13 0 16,0 14-16,-1-14 0,1 0 16,0 14-16,13-14 0,-13 13 15,-1-12-15,1-1 0,0 0 0,13 0 16,-13 1-16,13-1 0,0 0 15</inkml:trace>
  <inkml:trace contextRef="#ctx0" brushRef="#br0" timeOffset="108593.25">2712 11152 0,'106'13'31,"-93"1"-31,14-14 0,-14 13 15,13-13-15,-13 13 0,14-13 16,-14 13-16,0-13 0,14 0 16,-14 14-16,0-14 0,14 0 0,-14 0 0,0-14 15</inkml:trace>
  <inkml:trace contextRef="#ctx0" brushRef="#br0" timeOffset="109958.33">2368 12528 0,'-40'0'16,"27"0"-1,0 0-15,0 13 0,-1-13 0,1 13 16,-13-13-16,-1 14 0,14-1 0,0-13 16,-14 13-16,14 0 0,0-13 15,13 14-15,-13-1 0,13 0 0,0 0 16,13 1-16,0-1 15,-13 0-15,27 0 0,-14 0 0,0 1 16,0-1-16,14 0 0,-14 0 16,0 1-16,0-1 0,1-13 0,-14 13 15,13 0-15,-13 1 0,13-14 0,-13 13 16,-13 0-16,13 0 0,-13 0 16,-1-13-16,1 14 0,-13-1 0,12 0 15,-12-13-15,0 13 0,-1-13 16,1 14-16,12-1 0,-12-13 15,13 0-15,0 13 0,-1-13 0,1 0 16</inkml:trace>
  <inkml:trace contextRef="#ctx0" brushRef="#br0" timeOffset="111025.35">2394 12687 0,'0'0'0,"-13"0"0,0 13 16,13 0-16,0 0 15,-13 1-15,13-1 0,0 0 16,0 0-16,0 1 0,0-1 16,0 0-16,13 0 0,-13 1 15,13-14-15,-13 13 16,13-13-1,1-13 1,-14-1-16,0 1 16,0 0-16,0 0 0,0-1 15,0 1 1,-14 0 0,28 39 30,-1-12-46,-13-1 32,13-13-32,-13 13 15,13-26 1,1 13 0,-14-13-16,13 13 0,-13-14 15,13 14-15,0-13 0,1 13 16,-1 0-1,0 0 1,0 0-16,-13 13 0,0 1 16,13-14-16,-13 13 15,14-13 1,-14 13-16,13-13 16,0 0 30,-13-13-30,13 13 0,1 0-1,-1-13 32,0-1-31,-13 1-16,13 13 15,-13-13 1,14 13-16,-1-13 16,0-1-1,0 14-15,0-13 16,1 0-16,-14 0 16,13 13-16,-13-13 15,13-1-15,-13 28 47,13-1-31,-13 0-1,0 0-15,14-13 16,-14 13-16,13-13 0,0 0 16,0 0-16,1 0 15,-1 0-15,-13-13 0</inkml:trace>
  <inkml:trace contextRef="#ctx0" brushRef="#br0" timeOffset="112172.79">3056 12515 0,'0'-13'15,"-13"13"-15,26 26 32,-13-13-17,0 0-15,0 1 0,13-1 16,-13 0-16,0 0 15,13-13-15,-13 14 16,14-41 0,-14 14-1,0 0 1,13-1-16,0 1 16,0 13-1,1 0 1,-1 13-1,0-13-15,-13 14 16,13-14 0,0 0-1,1 0 1,-1-14 0,0 14-1,0-13 1,1 13-16,-1-13 15,0 13 1,-13-13-16,13 13 0,1-13 0,-1-1 16,0 1-16,0 0 15,-13 0 1,13 13-16,-13-14 16,0 41 15,14-27-16,-1 13 1,-13 0 0,13-13-16,0-13 15,1 13 1,-14-13-16,0 0 16,13 13-1,0 0 32,-13 13-47,13-13 16,0 0-16,-13 13 15,14-13 1,-1-13 0,0 0-1,0-1 1,1 14 15,-1 14-15,0-1-16,-13 0 15,13-13 1,-13 13-16,0 1 0,-13-1 16,13 0-1,-13 0-15,13 0 16</inkml:trace>
  <inkml:trace contextRef="#ctx0" brushRef="#br0" timeOffset="112334.22">3638 12409 0,'-40'79'16,"80"-158"-16,-40 92 47,0 14-47,0-14 15,0 0-15,0 0 16,0 1-16,0-1 16</inkml:trace>
  <inkml:trace contextRef="#ctx0" brushRef="#br0" timeOffset="112493.23">3612 12250 0,'0'0'0,"-14"-13"0</inkml:trace>
  <inkml:trace contextRef="#ctx0" brushRef="#br0" timeOffset="112663.21">3638 12277 0,'13'39'16,"-26"-78"-16,26 92 0,-13-40 15,13 0-15,-13 0 0,0 0 16,0 1-16,14-14 16,-14 13-16,13-13 15,-13 13-15,13-13 0,0-13 16,1 13-16,-1 0 0,0 0 16,0-13-16,1 13 0,-1 0 15,0 0-15,0 0 16</inkml:trace>
  <inkml:trace contextRef="#ctx0" brushRef="#br0" timeOffset="112934.29">2593 13097 0,'106'-66'31,"-53"39"-31,13 1 0,-13-1 0,13 1 0,0-1 16,13 1-16,-12 0 0,12-1 16,-13 1-16,0 12 0,-13-12 0,0 13 15,-13 13-15,-1-14 0,-12 1 16,-14 13-16,0 0 0,1 0 0,-1 0 15,-26 13-15</inkml:trace>
  <inkml:trace contextRef="#ctx0" brushRef="#br0" timeOffset="113182.28">2540 13229 0,'26'-13'15,"41"-14"-15,144-39 16,-145 40-16,-13-1 16,80-12-16,-67 26 0,0-14 15,-13 14-15,0 0 0,-14-1 16,1 1-16,-13 0 0,-1 13 16,-13-13-16,0 13 0,1 0 15,-1-14-15,0 14 0,0-13 16,-26 0-1</inkml:trace>
  <inkml:trace contextRef="#ctx0" brushRef="#br0" timeOffset="115125.77">9036 11708 0,'0'-13'31,"13"-1"-31,0 14 16,0 0-16,0 14 16,1-14-16,-14 13 15,0 0-15,13-13 0,-26 13 16,13 1-16,-14-1 0,14 0 15,-13 0-15,13 0 0,-13-13 16,13 14-16,13-1 31,0-13-31,1 0 0,-1 0 16,0 0-16,0 13 0,1-13 0,-1 13 16,0-13-16,0 14 0,1-14 0,-14 13 15,13-13-15,-13 13 0,-13 13 16,-1-12-16,1-1 15,0-13-15,0 13 0,-14 0 16,14 1-16,-14-14 0,14 13 0,0-13 16,0 0-16,0 13 0,-1-13 0,1 0 15,0 0 1</inkml:trace>
  <inkml:trace contextRef="#ctx0" brushRef="#br0" timeOffset="115667.08">9485 11695 0,'0'26'31,"-13"-13"-15,13 1-16,0-1 15,0 0-15,0 0 16,0 0-16,0 1 0,0-1 16,0 0-16,0 0 15,0 1 1,13-28 15,1 1-31,-14 0 0,13 0 16,-13-1-16,13 1 0,-13 0 15,13 13 1,0-13-16,1 26 16,-1-13-1,-13 13 1,13-13-16,-13 13 0,13 1 16,1-14-1,-1 0 16,-13-14-31,13 14 0,-13-13 0,13 13 16,-13-13-16,14 13 16,-14-13-16,13 13 15,0 0-15,0 0 16,-13 13 0,13-13-16,-13 13 15,14-13-15,-1 0 16,0 0-16</inkml:trace>
  <inkml:trace contextRef="#ctx0" brushRef="#br0" timeOffset="115826.04">9948 11695 0,'-13'26'31,"13"-13"-31,0 1 16,0-1-1,0 0-15,0 0 16</inkml:trace>
  <inkml:trace contextRef="#ctx0" brushRef="#br0" timeOffset="115978.79">9948 11562 0,'-13'-13'0,"26"26"0,-39-13 16,13 0-1,13 14-15</inkml:trace>
  <inkml:trace contextRef="#ctx0" brushRef="#br0" timeOffset="116265.92">10028 11668 0,'0'13'16,"0"1"-1,0-1-15,0 0 16,13 0 0,0-26 15,0 13-31,1 0 0,-14-13 0,13 13 15,0 0-15,0-13 16,1 13-16,-1 0 16,0 13-16,0-13 15,-13 13-15,13-13 16,-13 13-16,0 1 16,0-1-16,0 0 0,0 0 15</inkml:trace>
  <inkml:trace contextRef="#ctx0" brushRef="#br0" timeOffset="116845.1">9181 12263 0,'0'0'0,"53"-13"16,-13 0-16,13 13 15,-14-13-15,27 0 0,1-1 0,-1 14 16,13-13-16,0 0 0,1 0 16,-1 13-16,-13-14 0,80 1 15,-67 0-15,-26 0 0,13-1 16,-13 14-16,-13-13 0,13 0 0,-13 0 16,-1 0-16,1-1 0,-14 1 0,1 0 15,-1-14-15,1 14 0,-14 0 16,0-14-16,0 14 0,-13-13 0,14-1 15,-14 1-15,0-14 0,-14 1 0,1-1 16,0 0-16,0 0 0,-14 1 16,-12-14-16,12 13 0,1 0 15,-1 1-15,1 12 0,-14-12 0,14 12 16,-14-13-16,0 14 0,1-14 0,-14 14 16,0-1-16,-13 1 0,-1 13 15,14-14-15,-79 14 0,53 0 16,26 13-16,-119 13 0,93 0 15,-14 14-15,14-14 0,-14 27 0,-13-1 16,-66 41-16,93-27 16,-14 0-16,-13 66 0,53-66 15,27-1-15,-27 68 16,40-68-16,13 1 0,13 0 16,0 0-16,14 0 0,-1 0 0,14 0 15,26-13-15,-13-1 0,13-12 0,133 39 16,-107-40-16,80 1 15,-93-27-15,14 0 0,-14 0 16,1-13-16,-1 13 0,1-14 0,-14 1 16,-13 0-16,0 13 0,-14-13 15,-12 13-15</inkml:trace>
  <inkml:trace contextRef="#ctx0" brushRef="#br0" timeOffset="117489.13">9737 12872 0,'132'-93'15,"-79"67"-15,0-14 0,0 1 16,26-14-16,14 0 0,-14 0 16,14 0-16,-1-13 0,1 13 0,-14 13 15,14-13-15,-27 14 0,0 12 16,0 1-16,-13-1 0,-13 1 0,-14 12 15,27 1-15,-26 0 16,-14 13-16,-26 13 16,-1 14-16,-12-14 15,-14 27-15,-13-1 0,1 1 16,-15 13-16,-12 0 0</inkml:trace>
  <inkml:trace contextRef="#ctx0" brushRef="#br0" timeOffset="117717.97">9737 13044 0,'0'0'0,"0"13"16,26-13-16,-13-13 16,80-40-16,-40 13 0,13-26 15,106-53-15,-79 53 0,12 0 16,-12 0-16,13 13 0,0-13 16,79-40-16,-119 79 0,0-12 15,27-1-15,-67 27 0,1 0 16,-1 13-16,-13-14 0,1 14 15,-1 0-15,-13 14 16,-13-1 0,-1-13-16,14 13 0,-13 0 15</inkml:trace>
  <inkml:trace contextRef="#ctx0" brushRef="#br0" timeOffset="162737.46">8255 3281 0,'-26'53'0,"26"39"31,0-65-31,0-14 0,0 13 0,13-12 15,-13-1-15,13 0 0,0 0 16,0 1-16,27-1 0,-27-13 16,1 13-16,12-13 0,1-13 15,-14 13-15,13-13 0,1-1 0,-14 14 0,13-26 16,-12 13-16,-14-1 0,13-12 16,-13 13-16,0 0 0,0-14 15,0 14-15,-13-14 0,-1 14 0,1-13 16,-13 13-16,12-14 0,1 14 0,-13 0 15,13 13-15,-1-14 0,-12 14 16,13 0-16,-1 0 0,1 0 0,-13 0 16,12 14-16,-12-14 0,26 13 0,-13-13 15,0 13-15</inkml:trace>
  <inkml:trace contextRef="#ctx0" brushRef="#br0" timeOffset="163120.03">8506 3149 0,'27'13'0,"-27"0"15,0 0-15,13 0 0,-13 14 0,13-1 16,-13 1-16,13 13 0,-13-1 0,0 1 16,0-14-16,14 1 0,-14-1 15,0 1-15,0-1 0,13-13 0,-13 1 16,0-1-16,0 0 0,0 0 15,13-39 17,-13-1-32,0 14 0,0-13 0,13-1 15,1-12-15,12 25 0,-13-12 16,1 13-16,-1-1 0,13 14 16,-13-13-16,1 13 0,-1 0 0,0 0 15,0 0-15,1 13 16,-1-13-16,-13 14 0,0-1 0,13 0 15,-13 0-15,-13 1 0,13-1 0,0 0 16,-13 0-16,-1 0 0,14 1 16,-13-1-16,13 0 0,-13-13 0,13 13 15</inkml:trace>
  <inkml:trace contextRef="#ctx0" brushRef="#br0" timeOffset="163365.97">8956 3228 0,'0'0'0,"0"26"31,0-12-31,13-1 0,-13 13 0,0-12 16,14-1-16,-14 13 0,0-13 0,13 1 15,-13 12-15,13-13 0,-13 1 16,0-1-16,0 0 0,0 0 0,0 0 15,0 1-15,-13-1 0,13 0 0,-13-13 16,13 13-16,-14-13 16,14 14-16,-13-14 0,0 0 15</inkml:trace>
  <inkml:trace contextRef="#ctx0" brushRef="#br0" timeOffset="163741.43">9181 3453 0,'0'-27'0,"0"-12"16,0 25-1,-13 1-15,0 40 31,13-14-15,0 0-16,-14-13 0,14 13 0,0 1 16,14-1-16,-14 0 0,0 0 15,13 0-15,0-13 16,-13 14-16,13-14 0,1 0 16,-1 0-16,-13-14 0,13 14 0,0 0 15,0 0-15,-13-13 0,14 13 16,-1 0-16,0 0 15,14 0-15,-14 0 16,0 0-16,0 0 16,0 13-1,-13 1 1,14-14-16</inkml:trace>
  <inkml:trace contextRef="#ctx0" brushRef="#br0" timeOffset="164285.79">11258 3373 0,'0'0'0,"-13"0"0,0 0 16,-1-13-1,1 13-15,0-13 16,13 0-16,-13 0 0,-1-1 0,1 1 15,0-13-15,0-14 0,13 13 0,0-12 16,0 12-16,0 1 16,0 13-16,0-14 0,13 14 0,-13 0 0,13-14 15,0 14-15,1 26 32,-28 0-32,14 1 0,-13 25 0,-13-12 15,12 13-15,-25-1 0,12-12 16,1 12-16,13-12 0,-14-1 0,14 1 15,-13-14-15,26 13 0,-14-12 16,1-14-16,13 13 0,0 0 0,-13-13 16,26 13-16,0 1 15,-13-28-15,27 14 0,-14 0 16,13-13-16,14 0 0,13 0 0,-13-1 16,13 1-16,0-13 0,-14 13 0,1-1 15,0-12-15,-1 13 0,1-14 16</inkml:trace>
  <inkml:trace contextRef="#ctx0" brushRef="#br0" timeOffset="164578.04">12131 2858 0,'-13'26'16,"13"-13"-16,-13 0 15,13 14-15,-14-14 16,14 0-16,0 14 0,-13-14 0,13 0 16,0 14-16,0-14 0,0 0 0,0 0 15,0 1-15,0-1 16,0 0-16,13 0 0,-13 1 0,14-1 16,-1-13-16,0 13 0,0-13 15,1 13-15,12-13 0,-13 0 16,1 0-16,-1-13 0,13 13 0,-13 0 15,1 0-15,12-13 0,-13 13 16,1 0-16,-14-13 0</inkml:trace>
  <inkml:trace contextRef="#ctx0" brushRef="#br0" timeOffset="164970.94">12118 3122 0,'-13'0'0,"26"0"0,-40 0 0,67-13 31,-27 13-31,1 0 16,-1-13-16,0 13 0,14 0 0,-14-14 16,0 14-16,-13-13 0,13 13 15,0-13-15,-13 0 16,-13-1-16,0 1 16,0 13-16,0 0 0,-1-13 15,1 13-15,13-13 0,-13 13 16,13-13-16,13-1 15,0 1 1,1 13-16,-1-13 0,0 13 0,13-13 16,-12-1-16,12 14 0,1-13 15,-1 0-15,-13 13 0,0 0 0,1 0 16,-1 0-16,0 0 16,0 13-16,1 0 15,-14 1-15,0-1 0,13 0 16,-13 0-16,0 1 0,0-1 15,-13 0-15,13 0 0,0 0 0,0 1 16,0-1-16,0 0 0,-14 0 0,14 1 16,0-1-16,-13 0 0</inkml:trace>
  <inkml:trace contextRef="#ctx0" brushRef="#br0" timeOffset="165109.06">12330 3069 0,'0'0'0,"0"-13"0,26 39 32,-13-26-32,0 0 15,1 0-15,-1 0 0,13 0 16</inkml:trace>
  <inkml:trace contextRef="#ctx0" brushRef="#br0" timeOffset="165478.07">12647 2910 0,'13'-13'15,"-26"26"-15,26-39 0,-13 13 0,-13 52 32,13-25-17,0-1-15,0 13 0,0-12 0,0 12 16,0 0-16,13-12 0,-13 12 16,0-13-16,0 14 0,0-14 15,0 0-15,0 1 0,14-1 0,-14 0 0,0 0 16,-14 0-1,1-39 1,13 0 0,0 12-16,0-12 0,0-14 15,13 0-15,-13 14 0,14-14 0,-14 14 16,13-1-16,0 14 0,-13 0 0,13 0 16,-13 0-16,13 13 0,1 0 15,12 0-15,-26 13 16,13 0-16,-13 0 0,0 0 15,0 1-15,0-1 0,-13 0 0,13 0 16,-13 14-16,0-14 16,13 0-16,-27 0 0,14 1 15,0-1-15,0 13 0,-14-12 0</inkml:trace>
  <inkml:trace contextRef="#ctx0" brushRef="#br0" timeOffset="166388.84">8903 3929 0,'172'-13'16,"-92"0"-16,12 13 16,27-14-16,0-12 0,27 13 0,-14-1 15,14-12-15,-1 0 0,14-1 0,0 1 16,13-1-16,-14 1 0,1 12 15,13-12-15,-13 0 0,0-1 16,13 14-16,-14-14 0,-12 1 0,13 13 16,-14-14-16,1 1 0,-1-1 0,-13 14 0,1-13 15,-14-1-15,0 1 16,93-27-16,-133 26 0,0 1 16,-13-1-16,1-12 0,-1 12 0,-13-12 15,0-1-15,-14 0 0,1 1 16,0-1-16,-14 0 0,1 14 0,-14-14 15,-13 0-15,-13-26 0,-1 13 16,-12 14-16,-14-14 0,0 13 16,-26-13-16,-13 13 0,0-13 0,-1 14 15,-12-1-15,-107-26 16,93 39-16,-13 1 0,13 0 0,-13-1 16,0 14-16,0 0 0,-13-1 15,0 1-15,-1 0 0,1 13 0,-13 0 16,-1 13-16,-13-13 0,14 13 0,-186 27 15,172-13-15,-13-1 16,0 0-16,0 14 0,14 0 0,-14 0 16,0-1-16,13 1 0,0 0 0,0-1 15,1 1-15,12 13 0,14 0 16,0-13-16,-1 12 0,14 1 0,0 0 16,13 0-16,14 13 0,-1-13 0,14 13 15,-1 14-15,27-14 0,1 13 16,-28 54-16,54-67 15,12 0-15,1 40 0,26-40 16,14-13-16,-1 0 0,27-14 0,0 1 16,27-13-16,-14-1 0,26-13 15,27 0-15,-13-13 0,27 0 0,12-13 16,-13-13-16,14-1 0,-14 1 0,0-1 16,1 1-16,-14-14 0,-13 14 15</inkml:trace>
  <inkml:trace contextRef="#ctx0" brushRef="#br0" timeOffset="167451.5">9102 3585 0,'26'-26'0,"1"-14"32,-27 27-32,0-1 0,13 1 0,-13 0 15,0 0-15,0 0 0,0-1 16,-13 1-16,13 0 15,-14 0-15,1 13 16,0 0 0,0 13-16,-1 0 15,14 0-15,0 1 0,0-1 16,0 0-16,0 0 0,14 0 16,-14 1-16,13-14 0,0 13 15,0-13-15,1 13 0,-1-13 16,0 0-16,0 0 0,14 0 0,-1 0 15,-13 0-15,14-13 0,-14 13 0,14-13 16,-14 13-16,0-14 16</inkml:trace>
  <inkml:trace contextRef="#ctx0" brushRef="#br0" timeOffset="167774.89">9393 3387 0,'-14'0'15,"28"0"-15,-1 26 16,0-13 0,0 1-16,-13-1 0,14 0 15,-14 0-15,13 0 0,-13 1 16,13-1-16,-13 0 0,0 0 16,13 1-16,-13-1 0,0 0 15,0-53 32,0 27-47,14 0 0,-14 0 0,0-14 16,0 14-16,13 0 0,-13 0 15,13-1-15,-13 1 0,13 0 0,0 0 16,1-1-16,-1 14 0,0 0 16,0 0-16,1 0 15</inkml:trace>
  <inkml:trace contextRef="#ctx0" brushRef="#br0" timeOffset="168333.29">9684 3413 0,'13'27'31,"-13"-14"-31,0 0 16,13 0-16,-13 0 0,0 14 0,13-14 15,-13 0-15,14-13 0,-14 14 0,13-1 16,0 0-16,-13 0 16,13-13-16,1-13 15,-14 0-15,13 0 16,-13-1-16,0 1 0,0-13 16,0 12-16,0-12 0,0 13 15,0 0-15,0-14 0,0 14 0,0 0 16,13-1-16,-13 1 0,0 0 0,0 0 15,13 13 1,0 0-16,1 13 16</inkml:trace>
  <inkml:trace contextRef="#ctx0" brushRef="#br0" timeOffset="169187.91">10054 3347 0,'-26'13'16,"26"0"-16,-14 1 16,1-1-16,13 0 15,0 0-15,-13 1 0,13-1 16,0 0-16,0 0 16,0 0-16,26-26 15,-12 0 1,-1 0-1,-13 0-15,13-1 0,0 1 16,-13 0-16,14 13 0,-14-13 16,13 26-1,0-13 1,-13 13-16,13 0 0,-13 1 16,14-14-16,-1 13 15,0-13-15,0-13 16,0 13-16,-13-14 0,14 1 15,-14 0-15,13 0 0,-13-1 16,0 1-16,0-13 0,0 13 16,13-14-16,-13 1 0,0-1 0,0 14 15,0 0-15,0-1 0,0-12 0,0 13 16,13 26 15,-13 0-31,0 0 0,0 14 0,0-14 16,0 14-16,0-1 0,0 1 15,0-1-15,0 0 0,0-12 0,14 12 16,-14-13-16,0 1 0,0-1 0,0 0 16,0 0-16,0 0 15,-14-39 32,1 26-47,13-13 16,13 0-16,-13-1 0,14 1 15,-14 0-15,13 0 16,0-1-16,0 1 0,1 0 16,-1 0-16,0 13 0,-13-13 0,13 13 15,0 0-15,1 0 16,-1 0-16,0 13 16,-13 0-1,0 0-15,0 0 0,0 1 16,13 12-1,-13-13-15,0 1 16</inkml:trace>
  <inkml:trace contextRef="#ctx0" brushRef="#br0" timeOffset="169350.34">10504 3254 0,'0'0'0,"-13"-13"15,0 26 17,13 1-17</inkml:trace>
  <inkml:trace contextRef="#ctx0" brushRef="#br0" timeOffset="169755.36">10570 3201 0,'0'0'0,"-13"0"16,13 14-16,-13-14 16,13 13-16,-14 0 0,14 0 0,-13-13 15,13 14-15,0-1 0,-13 0 0,13 0 16,0 1-16,0-1 15,26-26 17,-26-1-32,14 1 15,-14 0-15,13 0 0,-13-1 16,0 1-16,13 0 16,0 26 15,1 0 0,-1-13-31,0 0 16,0 0-16,0 14 15,1-14 1,-1 0-16,0 0 16</inkml:trace>
  <inkml:trace contextRef="#ctx0" brushRef="#br0" timeOffset="170248.7">10676 3294 0,'0'-13'15,"0"0"-15,0-14 32,13 14-17,0 13 1,1-13-16,-1 13 15,0 0 1,0-14-16,1 14 16,-1-13-1,0 13-15,0-13 16</inkml:trace>
  <inkml:trace contextRef="#ctx0" brushRef="#br0" timeOffset="201622.12">18283 10292 0,'13'0'0,"-13"-13"15,13 13 1,-13 13 15,0 1-31,0-1 0,0 0 16,0 0-16,-13 0 0,13 1 15,0 12-15,0-13 0,0 1 0,0-1 16,0 0-16,0 0 0,0 1 16,13-1-16,-13 0 15,0 0-15,0 0 0,13-13 0,-13 14 16,14-14-16,-1 13 0,0-13 15,0 0-15,1 13 0,-1-13 0,0-13 16,0 13-16,14 0 0,-14 0 16,0 0-16,0-13 0,1 13 15,-1 0-15,0-14 0,0 14 0,1 0 16,-14-13-16,13 13 0</inkml:trace>
  <inkml:trace contextRef="#ctx0" brushRef="#br0" timeOffset="201798.21">18322 10425 0,'53'-14'31,"-39"1"-31,12 13 0,0-13 16,1 13-16,-1-13 0,-12 13 15,12-14-15,-13 14 0,1-13 16,-1 13-16,0-13 0,0 13 0,-13-13 15</inkml:trace>
  <inkml:trace contextRef="#ctx0" brushRef="#br0" timeOffset="202481.08">18481 10306 0,'-26'0'0,"52"0"0,-66 0 0,80-14 32,-27 14-17,1-13-15,12 0 0,1 13 16,-14-13-16,13-1 0,-13 1 0,14 13 15,-14-13-15,0 13 0,1 0 0,-14-13 16,13 13-16,0 13 16,-13 0-1,0 0-15,-13 1 0,13 12 16,0 1-16,0 12 0,0 1 0,-13 0 16,13-1-16,-14 1 0,14 0 15,0-1-15,-13-12 0,13-1 0,0 1 16,-13-1-16,13 1 0,0-14 0,-13 0 15,13 0-15,0 1 0,-14-1 16,1-13 0,0-13-16,13-1 15,0 1-15,0 0 16,0 0-16,0-1 0,13 1 16,-13 0-16,13 0 0,-13-1 0,14 1 0,-1 0 15,-13 0-15,13-14 0,0 14 16,-13 0-16,14 0 0,-14-1 15,13-12-15,-13 13 0,13 0 0,-13-14 16,13 14-16,-13 0 0,13-14 0,-13 14 16,0 0-16,14-14 0,-14 14 15,0 0-15,0 0 0,13 13 16,-13-14-16,0 41 31,0-14-31,0 13 0,-13-12 16,13 12-16,0 1 0,0-1 15,-14 1-15,14-1 0,-13 0 0,13-12 16,0 12-16,0-13 0,-13 1 16,13-1-16,0 0 0,0 0 15,0 0-15,-13-13 0,0 0 16,13-13 0,-14 0-1,14 0-15,14 0 16,-1-1-16,0 1 15,0 13-15,0 0 16,1-13-16,-1 13 0,0 0 16,0-13-16,1 13 0,-1 0 0,13 0 15,-12 0-15,-1 0 0,-13-14 16</inkml:trace>
  <inkml:trace contextRef="#ctx0" brushRef="#br0" timeOffset="203344.58">18971 10478 0,'0'0'15,"-27"0"-15,14 13 16,0 0-1,-1 0-15,14 0 16,0 1-16,0-1 16,14-13-16,-14 13 0,13-13 15,13 0-15,-12 0 16,-1-13-16,13 13 16,-12-13-16,12-1 15,-13 14-15,-13-13 0,13 0 0,1 13 16,-14-13-16,13 0 0,0-1 15,-13 1 1,13 0-16,-13 0 16,0-1-16,14 1 15,-14 0 1,-14 39 31,1-26-47,13 14 0,0-1 0,0 0 15,0 0-15,0 1 0,0-1 16,0 0-16,13-13 0,-13 13 16,14 0-16,-1 1 15,0-14-15,0 0 16,1 0-16,12 0 16,-26-14-16,13 14 0,0-13 15,1 13-15,-1-13 0,0 0 0,0 0 16,1-1-16,-1-12 0,-13 13 0,13-1 15,0 1-15,-13 0 0,14 0 16,-14-1-16,0 1 0,13 0 0,-13 0 16,0 0-16,0-1 15,13 14-15,-13-13 16,-13 53 15,13-27-31,0 0 0,0 0 16,0 1-16,0-1 0,0 13 0,0-12 15,0-1-15,0 0 0,0 0 16,0 14-16,0-14 0,0 0 0,-13-13 16,13 27-16,-14-14 15,1-13 1,0 0 0,0-13-1,26-1 1,0 1-16,0 0 15,14 0-15,-14 0 16,13-14-16,1 14 0,13 0 0,-14-14 16,14 14-16,-1 0 0,-12-1 0,13 1 15</inkml:trace>
  <inkml:trace contextRef="#ctx0" brushRef="#br0" timeOffset="204067.1">19791 10292 0,'0'0'16,"-13"0"-16,-1 0 0,1 14 0,0-1 16,0-13-16,13 13 0,-14 0 15,14 0-15,-13-13 0,13 27 0,13-14 16,1-13-1,-14 13-15,13-13 16,0-13-16,0 13 0,1-13 16,-14 0-1,0-1-15,0 1 0,0 0 16,0 0 0,13 39 15,-13-13-31,13 1 15,-13-1-15,0 0 0,0 14 0,0-14 16,0 0-16,0 14 16,0-14-16,0 0 0,0 0 0,-13 14 15,13-14 1,0 0-16,26-39 31,-12 12-15,105-65 15</inkml:trace>
  <inkml:trace contextRef="#ctx0" brushRef="#br0" timeOffset="204442.93">20426 10239 0,'0'67'31,"0"-54"-31,0 0 0,13 0 0,-13 14 15,0-14-15,13 0 0,-13 14 16,14-14-16,-14 0 16,13-13-16,0 0 15,0-13-15,0 0 16,-13-1-16,14-25 16,-14 25-16,13 1 15,0-13-15,-13 13 0,13-1 16,1 1-16,-1 0 0,0 13 15,0 0-15,1 0 16</inkml:trace>
  <inkml:trace contextRef="#ctx0" brushRef="#br0" timeOffset="205227.97">20836 10253 0,'-40'0'15,"80"0"-15,-93 13 0,40-13 0,13 13 16,-27 0-16,1 1 16,13-1-16,-1 0 0,1 0 15,13 0-15,-13 1 16,13-1-16,13 0 0,-13 0 16,13-13-16,1 0 0,12 0 15,-13-13-15,1 0 16,12-14-16,-13 14 15,0 0-15,1 0 16,-1 0 0,-13 26 15,0 0-15,13 0-1,-13 0-15,13-13 0,1 0 16,-1 0-16,0 0 15,0 0-15,14-13 0,-1 13 16,1-13-16,-14 13 0,13-13 0,1 0 16,-1-1-16,-12 1 15,12 0-15,-13 0 16,-26 13 15,-13 0-15,12 13-16,-39 40 31,40-40-15,13 0-16,40 0 15,-14-26 1,-12 13 0,-1 0-16,106-39 15,-106 25 1,0 14-1,0 0-15,14-13 16,-1 13 15,-12 0-15,12 0 15,-26 13-15,13 1-1,-13-1 1,0 0 0,14-13-1,-14 13-15</inkml:trace>
  <inkml:trace contextRef="#ctx0" brushRef="#br0" timeOffset="205382.41">21484 10200 0</inkml:trace>
  <inkml:trace contextRef="#ctx0" brushRef="#br0" timeOffset="206345.19">21616 10292 0,'0'27'47,"-13"-14"-32,13 0 1,13 0 15,1-13-15,-1-13 0,0 13-1,0-13 1,1 13-16,-1 0 0,0 0 0,0 0 15,1-13-15,25 13 16,-26 0-16,1 0 0,-14-13 16,13 13-16,-53 0 31,27 0-15,0 13-16,0-13 15,13 13 1,-14-13-16,28 13 15,-1 0 1,13-13 0,-13-13-1,1 13-15,25-13 16,-39 0-16,67-53 31,-54 66-31,0-27 16,0 27-1,-13 13 17,13 40-1,-13-39-31,14-1 0,-14 0 16,-14-13-16,14 26 0,-13-12 31,26-28 16,-13 1-47,14 13 15,-1 0-15,0-13 16,0 13 0,1 0-16,-1 0 15,0 0 1,-13 13-16,0 0 15,13 1 1,-26-1-16,13 0 16</inkml:trace>
  <inkml:trace contextRef="#ctx0" brushRef="#br0" timeOffset="206653.97">22172 10292 0,'0'-13'16,"-13"79"-16,13-145 16,13 105-16,0-39 47,-13 26-47,14 1 15,-14-1 1,13-13-1,-13 13-15,13 0 16,0-13 0,0 0-1,-13 13-15,14-13 16,-1 0-16,0 0 0,0 0 16,14 0-1</inkml:trace>
  <inkml:trace contextRef="#ctx0" brushRef="#br0" timeOffset="206945.4">20505 10702 0,'476'-66'31,"-290"53"-15,78-13-16,-92 12 16,-106 1-1,93 0 1,-146 13-16,14 0 0,-67 13 31,14 0-31</inkml:trace>
  <inkml:trace contextRef="#ctx0" brushRef="#br0" timeOffset="207145.46">20452 10782 0,'-119'39'31,"159"-25"-31,688-54 47,-504 14-32,-171 26-15,0-14 0,-26 14 16,-1033 27-16,2038-54 0,-1005 27 0,-1-13 16,-13 13-16,1 0 0,12 0 15</inkml:trace>
  <inkml:trace contextRef="#ctx0" brushRef="#br0" timeOffset="209703.07">17740 9988 0,'0'53'32,"0"-13"-32,0 26 15,-13 13-15,13 1 0,-13 25 16,0 14-16,-1 14 0,-25 145 16,-1 26-16,14-145 0,-1-1 15,14 1-15,-27 145 16,27-145-16,13-27 0,-13 1 0,13-1 15,0-39-15,0-14 0,0 80 16,0-80-16,0-13 0,13 0 16</inkml:trace>
  <inkml:trace contextRef="#ctx0" brushRef="#br0" timeOffset="210573.84">19526 10729 0,'-53'53'0,"106"-106"16,-198 172-16,105-93 0,-13 14 0,-66 53 15,66-54-15,-79 54 16,39-14-16,27-26 16,40-26-16,-1-14 15,14 13-15,0-12 16</inkml:trace>
  <inkml:trace contextRef="#ctx0" brushRef="#br0" timeOffset="210865.77">19500 10676 0,'13'13'16,"0"-13"-1,27 13-15,0 1 0,-1 12 0,80 14 16,-39-14-16,-14-13 16,146 54-16,-107-41 15,239 53-15,-119-26 16,0 0-1,-145-26-15,91-1 0,-104 1 16,118-1-16,-106-13 16,-13-13-1,-39 0-15,-1 0 16</inkml:trace>
  <inkml:trace contextRef="#ctx0" brushRef="#br0" timeOffset="-210524.61">18746 11311 0,'-40'66'0,"27"-53"0,0 1 16,13-1-16,-14 0 16,14 0-16,0 0 15,0 1-15,14-14 0,-14 13 16,13-13-16,13 0 15,-13 0-15,1 0 0,12-13 16,-13 13-16,14 0 0,13-14 0,-14 14 16,14-13-16,-1 13 0,1-13 15,0 13-15</inkml:trace>
  <inkml:trace contextRef="#ctx0" brushRef="#br0" timeOffset="-209663.55">21643 11073 0,'-13'0'16,"26"13"15,0-13-31,-13 13 0,13-13 16,1 13-16,-1-13 0,-13 14 15,13-1-15,0 0 0,-13 14 0,0-14 16,14 0-16,-14 0 0,0 14 0,-14-14 15,14 13-15,-13-12 0,0 25 0,-14-12 16,1-1-16,-1 14 0,-12 0 16,-1-1-16,0 1 0</inkml:trace>
  <inkml:trace contextRef="#ctx0" brushRef="#br0" timeOffset="-208766.26">18772 11139 0,'0'0'0,"-13"13"47,0 0-47,13 1 0,-14-1 0,1 13 15,-13 14-15,13-14 0,-14 1 16,14-1-16,0 1 0,-1-14 0,1 14 16,13-14-16,-13 0 0,13 0 0,-13 0 15,13 1-15,0-1 0,13-13 16,-13 13-16,13-13 15,0 13-15,1-13 0,-1 0 0,0-13 16,0 13-16,14 0 0,-14-13 0,13 13 16,1 0-16,-14-13 15,14 13-15,-14 0 0,27-14 0</inkml:trace>
  <inkml:trace contextRef="#ctx0" brushRef="#br0" timeOffset="-200044.41">23429 10491 0,'0'-13'0,"0"-1"16,13 14 0,-13 27 15,0-14-31,0 0 16,-13 0-16,13 1 0,0-1 0,0 0 15,0 14-15,-13-14 0,13 0 16,0 0-16,0 0 0,0 14 0,-14-1 15,14-12-15,0-1 16,0 0-16,0 0 16</inkml:trace>
  <inkml:trace contextRef="#ctx0" brushRef="#br0" timeOffset="-199602.64">23654 10504 0,'-13'13'0,"-1"14"15,14-14-15,0 0 16,0 0-16,0 1 0,0-1 16,0 0-16,0 0 0,0 0 15,0 1-15,14-14 0,-1 13 16,0-13-16,0 0 16,14 0-16,-27-13 0,13 13 15,0-14-15,0 1 0,1 0 16,-14 0-16,0 0 15,0-1-15,0 1 0,0 0 16,-14 0 0,14-1-16,-13 14 0,0 0 15,0-13-15,-1 13 0,1 0 16,0 13 0,0-13-16</inkml:trace>
  <inkml:trace contextRef="#ctx0" brushRef="#br0" timeOffset="-199262.46">23879 10491 0,'-14'13'31,"14"0"-31,-13 0 16,13 1-16,0-1 0,0 0 15,0 0-15,0 1 16,13-14-16,-13 13 0,14-13 16,-1 0-16,0 0 0,14 0 15,-14 0-15,0 0 16,-13-13-16,13 13 0,0-14 0,-13 1 16,14 0-16,-14 0 15,0-1-15,0 1 0,0 0 0,0 0 16,0 0-16,-14-1 0,1 1 15,13 0-15,-13 13 0,0-13 16,0 13-16,-1 0 0,1 0 16,0 0-1,13 13-15,-13 0 0</inkml:trace>
  <inkml:trace contextRef="#ctx0" brushRef="#br0" timeOffset="-198647.96">24276 10425 0,'-14'26'47,"14"-13"-47,0 1 15,-13 12-15,13-13 0,-13 14 16,0-1-16,13-13 0,0 14 0,-14-1 15,14 1-15,-13-14 0,13 0 0,0 0 16,-13 14-16,13-14 0,0 0 16,-13 1-16,13-1 0,0 0 15,0 0 1,13-39 15,-13 13-31,0-1 0,0 1 16,13-13-16,-13 12 0,13-12 0,-13 13 15,14-14-15,-14 14 0,13 0 16,-13 0-16,13-1 0,0 1 0,1 13 16,-14-13-16,13 13 0,0-13 0,0 13 15,14 0 1,-27 13-16,13-13 0,-13 13 16,0 0-16,0 14 15,-13-27-15,13 13 16,-14-13-16,1 13 0,0 0 15,0-13-15,0 14 0,-1-14 0,14 13 16,-13-13-16,0 0 16</inkml:trace>
  <inkml:trace contextRef="#ctx0" brushRef="#br0" timeOffset="-198227.69">24527 10438 0,'13'-13'0,"-26"26"0,13 0 16,-13 0-1,13 1-15,-14 12 0,1 0 16,0 1-16,0-1 0,0 1 0,-1-1 16,14 1-16,-13-14 0,0 13 15,13-12-15,-13-1 0,13 0 0,0 0 16,-14 1-16,14-1 0,0 0 15,0 0 1,0-39 0,14 13-1,-14-14-15,13 14 0,0-14 0,-13 1 16,13-1-16,-13 14 0,14-13 0,-1 13 16,0-1-16,-13 1 0,13 0 15,-13 0-15,13 13 0,1 0 0,-1 0 31,0 13-31,-13 0 0,-13 0 16,13 1-16,0-1 16,-13 0-16,-1 0 0,14 0 0,-13 1 15,0-1-15,0 0 0,0 0 16,-1 1-16,14-28 31</inkml:trace>
  <inkml:trace contextRef="#ctx0" brushRef="#br0" timeOffset="-198043.56">24739 10385 0,'0'13'32,"0"0"-32,0 1 0,-14-1 15,14 13-15,-13-12 0,0 12 0,0-13 16,13 14-16,-14-14 0,1 0 15,13 0-15,-13 1 0,13 12 0,-13-26 16,13 13-16,0 0 0</inkml:trace>
  <inkml:trace contextRef="#ctx0" brushRef="#br0" timeOffset="-197178.94">23998 11046 0,'0'-13'0,"0"53"16,-14-27-16,14 0 16,0 14-16,-13-1 0,0-13 15,0 27-15,13-13 0,-13-14 0,13 13 16,-14 1-16,14-14 0,-13 0 15,0 14-15,13-14 0,0 0 16,-13 0-16,13 1 0</inkml:trace>
  <inkml:trace contextRef="#ctx0" brushRef="#br0" timeOffset="-196947.78">24090 11073 0,'-13'-13'0,"-53"52"16,53-26-1,-14 14-15,-12-14 0,12 0 16,1 14-16,12-14 0,-12 0 0,-1 1 15,14-1-15</inkml:trace>
  <inkml:trace contextRef="#ctx0" brushRef="#br0" timeOffset="-196775.64">23984 11099 0,'27'13'0,"26"27"31,-40-27-15,0 1-16,1-1 0,-1 0 0,0 0 15,0 1-15</inkml:trace>
  <inkml:trace contextRef="#ctx0" brushRef="#br0" timeOffset="-196266.51">23482 11642 0,'0'0'0,"-13"39"31,13-25-31,0-1 0,0 0 16,0 0-16,13 1 0,-13-1 15,0 13-15,13-13 0,-13 1 16,13-1-16,-13 0 0,13-13 0,-13 13 16,14-13-16,-1 0 15,0-13-15,0 13 0,1-13 16,-14 0-16,13-14 0,0 14 15,-13 0-15,13 0 0,1-1 16,-14 1-16,13 0 0,-13 0 0,13-1 16,0 14-16,-13-13 0,13 13 15</inkml:trace>
  <inkml:trace contextRef="#ctx0" brushRef="#br0" timeOffset="-195882.54">23865 11642 0,'-13'0'0,"0"0"0,-53 39 32,53-25-32,-1-14 0,1 13 15,13 0-15,-13 0 0,13 1 0,0-1 16,-13-13-16,13 13 0,0 0 15,13-13-15,-13 13 0,13 1 16,0-14-16,14 0 16,-27-14-16,13 14 0,0-13 15,0 0-15,1 0 0,-1 13 0,-13-13 16,13-1-16,0 1 0,-13 0 16,14 13-16,-14-13 15,13 13-15,-26 26 31,13-13-15,0 1-16,-14-1 0,14 0 16,0 0-16,0 0 0,14 1 15,-1-1 1</inkml:trace>
  <inkml:trace contextRef="#ctx0" brushRef="#br0" timeOffset="-195483.4">24130 11708 0,'-26'0'31,"12"13"-31,1-13 0,0 13 16,0 1-16,-1-1 0,1 0 15,13 0-15,-13 0 0,0-13 0,13 14 16,0-1-16,-14 0 0,14 0 15,14 1 1,12-14 0,1-14-1,-14 14-15,0-13 0,0 13 0,1-13 16,-1 0-16,0 13 0,0-14 16,0 14-1,1-13-15,-14 26 16,0 1-1,0-1 1,0 0 0,0 0-16,0 1 15,0-1-15,13-13 32,-13 13-32</inkml:trace>
  <inkml:trace contextRef="#ctx0" brushRef="#br0" timeOffset="-194899.65">24328 11642 0,'-13'13'16</inkml:trace>
  <inkml:trace contextRef="#ctx0" brushRef="#br0" timeOffset="-194562.62">24408 11761 0,'0'0'16,"-13"13"-16,13 0 16,0 0-16,-14-13 0,14 14 15,0-1-15,14-26 63,-1 13-63,0-14 15,0 14 1,1 0 0,-1 0-1,-13 14-15,13-14 0,0 0 16,0 0-16,-13 13 0,14-13 0,-1 0 15,0 0-15</inkml:trace>
  <inkml:trace contextRef="#ctx0" brushRef="#br0" timeOffset="-193702.73">24686 11787 0,'0'0'0,"-14"-13"47,1 26-16,0 0-15,13 1 0,0-1-1,0 0 16,13-13-31,0 13 16,1-26 15,-1 13-31,0 0 0,-13-13 16,13 13-16,1-13 0,-14-1 16,13 1-16,0 0 0,13-27 15,-26 27-15,14-13 0,-1-1 16,0 1-16,0 12 0,-13 1 15,14-13-15,-1 13 0,-13-1 0,-27 41 47,14-14-47,0 0 0,0 14 16,13-14-16,-14 13 0,1-12 0,13 12 16,-13-13-16,13 1 0,0 12 0,0-13 15,0 0-15,0 1 16,0-1-16,13-13 0,-13 13 0,13-13 15,1 0-15,-1 0 16,0 0-16,0 0 16,1-13-16,-1 13 0,0-13 15,0 13-15,1 0 32,-14 13-17,0 0-15,13 0 31,0-13-15,-13-13-16,13 13 16,0 13-1,1-13 1,-1 0 0,0-13-1,0 13-15,1 0 16,-1-13-16,-13 0 0,13-1 0,0 14 15,0-13-15,1 0 0,-1 0 0,0 0 16,-13-1-16,13 14 0,-13-13 0,14 13 16,-14-13-16,-14 39 31,1-26-31,13 14 0,-13-1 0,0 0 16,13 0-16,0 0 0,-14-13 15,14 14-15,-13-1 0,13 0 0,-13-13 16,13 13-16</inkml:trace>
  <inkml:trace contextRef="#ctx0" brushRef="#br0" timeOffset="-193491.22">24712 11655 0,'13'0'16,"1"0"-16,-1-13 0,13 13 16,-13 0-16,14 0 0,-1 0 15,1 0-15,-1-14 0,1 14 0,-1 0 16,-13 0-16,14 0 0,-1 0 16,-12 0-16,-1 0 0</inkml:trace>
  <inkml:trace contextRef="#ctx0" brushRef="#br0" timeOffset="-192896.64">24090 12250 0,'-13'40'15,"13"-14"-15,-13-12 16,13-1-16,0 13 0,-13-13 0,13 14 15,-14-14-15,14 14 0,-13-1 0,13-13 16,0 1-16,-13 12 0,13-13 16,-13 0-16,13 1 0,0-1 0,-14 0 15,14 0-15</inkml:trace>
  <inkml:trace contextRef="#ctx0" brushRef="#br0" timeOffset="-192660.68">24143 12237 0,'-26'0'0,"52"0"0,-52 13 0,13-13 15,-1 13-15,-12 1 0,13-1 0,-1 0 16,-12 0-16,-1 14 0,14-14 15,-13 0-15,13 14 0,-14-14 0,14 0 16,0 0-16,-1 1 0,1-1 16,0-13-16</inkml:trace>
  <inkml:trace contextRef="#ctx0" brushRef="#br0" timeOffset="-192496.49">24104 12250 0,'13'0'0,"-26"0"0,26 13 0,0-13 0,-13 14 16,13-1-16,-13 0 0,13 0 15,1 1-15,-1-14 0,0 13 16,0 0-16,1 0 0,12 0 0,-13 1 16,1-14-16</inkml:trace>
  <inkml:trace contextRef="#ctx0" brushRef="#br0" timeOffset="-188955.89">23588 12832 0,'26'27'31,"-26"-14"-31,0 0 0,0 0 16,0 1-16,13-1 0,-13 0 15,0 0-15,-13 1 0,13-1 0,0 13 16,0-12-16,0-1 0,-13-13 0,13 13 16,0 0-16,-13-13 0,13 13 15,0 1-15,0-54 31,13 27-15,-13 0-16,13-14 0,0 14 0,1-14 16,-1 14-16,0-13 0,0 12 0,0-12 15,1 13-15,-1 0 0,0-1 16,0 1-16,1 13 16,-1-13-16,0 26 15,0-13 1,-13 13-16,13-13 0</inkml:trace>
  <inkml:trace contextRef="#ctx0" brushRef="#br0" timeOffset="-188655.94">23865 12991 0,'0'-13'0,"14"0"32,-14-1-32,-27 41 47,14-14-47,13 0 15,0 1-15,0-1 16,0 0-1,0 0-15,13-13 16,0 13-16,1-26 16,-1 13-16</inkml:trace>
  <inkml:trace contextRef="#ctx0" brushRef="#br0" timeOffset="-188406.33">24024 12965 0,'-53'53'0,"106"-120"0,-53 81 0,0-41 16,0 40 31,0 1-47,0-1 15,0 0-15,0 0 16,0 1-16,0-1 16,0 0-16,-13-13 0,13 13 15,0 0-15,-13-13 0,13 14 0,-14-1 16,1-13-1,13 13-15,-13-13 0,0 0 16</inkml:trace>
  <inkml:trace contextRef="#ctx0" brushRef="#br0" timeOffset="-187688.56">24130 12965 0,'-26'13'47,"26"0"-16,13-13 0,0 0-15,0 0 0,0 0-1,-13 13 1,14 1 0,-1-14-16,0 0 31,0 0-31,1-14 0,-1 14 15,0-13-15,0 0 0,1 0 0,-1-1 16,0 1-16,0 0 0,0-14 16,1 1-16,-1 0 0,0 12 0,0 1 15,1 0-15,-14 0 0,13 13 0,-13-14 16,0 41 15,-13-14-31,13 0 0,-14 14 16,14-14-16,-13 13 0,13-12 15,0-1-15,-13 0 0,13 0 0,0 1 16,0-1-16,0 0 0,0 0 0,13-13 16,-13 14-16,13-14 15,14-14-15,-14 14 16,0-13-16,1 0 0,-1 0 16,13-14-16,-13 1 0,14-1 0,-14 1 15,0-14-15,14 14 0,-14-1 16,-13 14-16,13 0 0,0-1 0,-13 1 15,0 0-15,14 13 0,-14-13 16,-14 39 0,14-13-1,0 1-15,0-1 0,-13 13 16,13-12-16,-13 12 0,13-13 0,0 1 16,0 12-16,-13-13 0,13 0 0,0 1 15,0-1-15,0 0 0,-13 0 16,13 1-16,0-1 0,0 0 15</inkml:trace>
  <inkml:trace contextRef="#ctx0" brushRef="#br0" timeOffset="-187483.53">24500 12898 0,'27'-13'0,"26"-13"32,-40 13-32,0-1 0,14 14 0,-14-13 0,13 13 15,-12-13-15,-1 13 0,0 0 16,0 0 0</inkml:trace>
  <inkml:trace contextRef="#ctx0" brushRef="#br0" timeOffset="-186434.99">23786 13322 0,'53'0'0,"-106"0"0,132-13 16,-52 13-16,-1 0 0,1 0 15,12-14-15,14 14 0,-13-13 0,0 13 16,-1 0-16,14-13 0,-13 13 0,-13-13 16,-1 13-16,14 0 0,-14-14 15,1 14-15,-1-13 0,1 0 0,-1 13 16,0-13-16,1-1 0,-1 1 15,1 13-15,-1-13 0,-13 0 0,14 0 16,-14-1-16,14 14 0,-14-13 16,13 0-16,-12 0 0,25-14 15,-26 14-15,1 0 0,12 0 16,-13-1-16,1 1 0,-1 0 16,0 0-16,0-1 0,1 1 0,-14 0 15,13 0-15,-13-1 0,13 1 16,-13 0-16,13-13 0,-13 12 0,0 1 15,13 0-15,-13-14 0,0 14 0,-13 0 16,13-14-16,0 14 0,0-13 16,-13 13-16,13-1 0,-13 1 0,0 0 15,-1-14-15,1 14 0,0 0 16,-14 0-16,14 13 0,-13-14 16,-1 1-16,1 13 0,-1-13 0,1 13 15,-1-13-15,1 13 0,-1-13 0,-12 13 16,12 0-16,-12-14 0,12 14 15,1 0-15,-14 0 0,14 0 0,-14 0 16,13 0-16,-12 0 0,12 0 0,-12 0 16,12 0-16,1 0 0,-14 0 15,0 14-15,1-14 0,12 0 0,1 13 16,-1-13-16,-12 0 0,12 13 0,14-13 16,-14 13-16,1-13 0,-1 0 15,1 13-15,13-13 0,-14 0 0,14 14 16,-13-14-16,12 0 0,1 13 0,-13-13 15,13 0-15,-14 13 16,14 0-16,0-13 0,-14 14 0,14-14 16,0 13-16,-1 0 0,-12-13 0,13 13 15,0 1-15,-1-1 0,1 0 16,0 0-16,0-13 0,13 13 16,-14 1-16,14-1 0,-13 0 0,13 0 15,-13 1-15,13-1 0,-13 0 0,13 0 16,0 1-16,-14-1 0,14 0 15,0 13-15,0-12 0,0-1 16,0 0-16,0 0 0,0 1 0,0-1 16,0 0-16,14 14 0,-14-14 15,0 0-15,13 0 0,-13 0 0,13 14 16,0-14-16,-13 0 0,14 1 0,-1-1 16,0 0-16,0 0 0,14 0 15,-14 1-15,13-1 0,-12 0 0,12-13 16,1 13-16,-1 1 0,1-14 0,-1 0 15,14 13-15,-14-13 0,1 0 16,-1 13-16,0-13 0,1 0 0,-14 0 16,14 0-16,-14 0 0,0 0 0,0 0 15,1 0-15,-1 0 0,0 0 16,0 0-16,0 0 16,1 0-16,12 0 15,-13-13 16</inkml:trace>
  <inkml:trace contextRef="#ctx0" brushRef="#br0" timeOffset="-158415.29">9657 3995 0,'14'-13'0,"-28"0"0,1 26 31,0 0-31,0 0 16,-14 1-16,1 12 0,-1 14 16,-12-14-16,-1 14 0,-13 0 15,13-1-15,1-12 0,-14 12 0,26-12 16,-12 13-16,-1-14 0,13 1 0,1-14 15,13 13-15,-1-13 0,1 1 0,-13-1 16,13 0-16,-1 0 16</inkml:trace>
  <inkml:trace contextRef="#ctx0" brushRef="#br0" timeOffset="-156042.99">9671 3929 0,'0'-13'0,"26"26"16,-13 0-16,0 14 15,27-1-15,-13 1 0,12 12 0,1-12 16,0-1-16,-14 1 0,1-1 15,12 1-15,-12-1 0,-1 1 0,1-14 16,-1 13-16,-13-13 0,14 1 16,-14-1-16,0 0 0,0 0 0,1 1 15,-1-14-15,-13 13 0,13-13 16,0 13-16,1 0 16,-1-13-16,-13 14 15,13-14 1</inkml:trace>
  <inkml:trace contextRef="#ctx0" brushRef="#br0" timeOffset="-150654.97">9049 4392 0,'-13'27'15,"-1"-27"-15,14 13 0,-13 0 0,0 0 16,13 0-16,-13 1 0,13-1 0,-14 0 16,14 0-16,0 1 0,-13-1 15,13 0-15,0 0 0,13-13 16,-13 14-16,14-14 0,-1 0 15,13 0-15,1 0 0,12 0 16,14-14-16,0-12 0,13 13 0,-13 13 16,0-14-16</inkml:trace>
  <inkml:trace contextRef="#ctx0" brushRef="#br0" timeOffset="-150084.52">10226 4220 0,'40'53'31,"-27"-53"-31,0 13 0,14 0 0,-14 1 16,0-1-16,-13 0 0,13 0 0,1 1 16,-1-1-16,-13 0 0,0 0 15,0 1-15,-13-1 16,-1 0-16,1 0 0,-13 14 16,-14-14-16,14 0 0,-14 14 0,0-14 15,-13 0-15,14 14 0,-1-14 0,-13 0 16,13 0-16</inkml:trace>
  <inkml:trace contextRef="#ctx0" brushRef="#br0" timeOffset="-147458.54">1204 1574 0,'-13'27'0,"13"-14"0,-14 13 15,14-12-15,0 25 0,-13-12 0,13 12 16,0 1-16,0 0 0,-13-14 16,13 1-16,0-14 0,0 13 15,0-12-15,0 12 0,0-13 0,0 1 16,0-1-16,0 0 0</inkml:trace>
  <inkml:trace contextRef="#ctx0" brushRef="#br0" timeOffset="-147016.52">1217 1535 0,'0'0'16,"27"-14"-16,-14 14 0,0 0 0,0 0 0,0 0 15,1 14-15,-14-1 16,0 13-16,0-12 0,-14 25 15,1-12-15,0 12 0,-13-12 16,12-1-16,1-13 0,13 14 0,-13-14 0,13 0 16,0 1-16,-13-14 15,13 13-15,13 0 0,0 0 16,-13 1-16,13-14 0,1 13 0,-1 0 16,0 0-1,0 0-15,-13 1 16,0-1-16,-13-13 0,0 13 15,0 0-15,-1-13 0,1 14 16,0-14-16,-14 13 0,14-13 0,0 13 16,0-13-16,-1 0 0,1 0 15</inkml:trace>
  <inkml:trace contextRef="#ctx0" brushRef="#br0" timeOffset="-146651.8">1521 1746 0,'0'0'0,"-26"0"16,13 0-16,-1 13 0,-65 14 31,66-14-31,0 0 0,-1 1 15,14-1-15,-13 0 0,13 0 0,0 1 16,0-1-16,13-13 16,-13 13-16,27-26 15,-14 13-15,0-13 0,14 13 0,-14 0 16,0-14-16,0 14 0,1-13 16,-1 13-1,0 13-15,0-13 16,-13 14-16,14-14 0,-14 13 15,13-13-15,-13 13 0,13-13 16,-13 13-16,13-13 16,1-13-16,-1 13 0,0 0 15,0-13-15</inkml:trace>
  <inkml:trace contextRef="#ctx0" brushRef="#br0" timeOffset="-146480.72">1773 1508 0,'13'-40'16,"-26"80"-16,26-93 0,-13 40 0,13 39 31,-13 1-15,0-1-16,0 1 0,0 13 0,0-1 15,0 14-15,0-13 0,0-1 0,0 1 16,0-13-16,13-1 0,-13 1 16,0-14-16,0 13 0,0-13 15,0 1-15</inkml:trace>
  <inkml:trace contextRef="#ctx0" brushRef="#br0" timeOffset="-146283.59">1640 1865 0,'0'-13'0,"14"0"15,-14 0-15,13 13 0,0-14 0,14 1 16,-1-13-16,0 12 0,14 1 0,-13 0 15,12 0-15,-12 0 16,12-1-16,1 1 0,-13 13 0,-1-13 16,-13 13-16,14 0 0,-14 0 0</inkml:trace>
  <inkml:trace contextRef="#ctx0" brushRef="#br0" timeOffset="-146074.9">2090 1667 0,'-13'0'0,"26"0"0,-39 0 31,26 13-31,13 0 15,-13 1-15,13-1 0,0 0 16,1 0-16,-1 14 0,0-14 16,0 0-16,1 14 0,-14-14 0,13 0 15,-13 14-15,0-14 0,0 0 0,-13 0 16,-1 14-16,1-14 0,-13 13 16,12-12-16,-12-1 0,13 0 0,-14-13 15,1 13-15,13-13 0,-1 0 0,1 0 16,0 0-1</inkml:trace>
  <inkml:trace contextRef="#ctx0" brushRef="#br0" timeOffset="-145261.47">2302 1720 0,'13'39'31,"-13"-12"-15,0-14-16,0 0 0,0 1 15,0-1-15,0 0 16,0 0-16,0 1 16,0-1-16,13-26 31,1-1-31,-14 1 0,13 13 16,-13-13-16,13 0 0,0 13 0,-13-14 15,13 14-15,1 0 16,-1 0-16,0 0 15,-13 14-15,13-14 0,1 13 16,-1 0-16,-13 0 16,13-13-1,-13 14-15,13-14 16,1-14 15,-1 14-15,0 0-1,0-13-15,0 13 16,1 0-16,-1-13 0,0 13 16,0-13-16,1-1 15,-1 14-15,-13-13 0,13 13 0,0-13 16,-13 0 0,0 39 30,14-13-30,-1-26 15,0 13-31,0 0 16,0 0 0,1 13-16,-1-13 15,0 0 1,-13 14-16,13-14 15,1 0-15,-1 0 16,0 0-16,0 0 0,-13-14 16,14 14-16,-1 0 15</inkml:trace>
  <inkml:trace contextRef="#ctx0" brushRef="#br0" timeOffset="-144560.22">3519 1588 0,'-40'0'0,"80"0"0,-93 0 0,40 0 16,0 0-16,-1 0 0,1 0 0,0 13 16,0-13-16,-1 13 0,1 0 15,13 0-15,0 1 16,0-1-16,0 0 0,13-13 15,-13 13-15,14 1 0,-14-1 16,13 0-16,0-13 0,-13 13 0,13 0 16,-13 1-16,0-1 15,-13 0-15,13 0 16,-13-13-16,0 14 0,-1-1 0,-12-13 16,0 26-16,-1-12 15,14-14-15,0 0 0,-1 13 16,1-13-16</inkml:trace>
  <inkml:trace contextRef="#ctx0" brushRef="#br0" timeOffset="-143966.9">3678 1640 0,'0'0'0,"-27"14"31,14-1-31,13 0 0,-13 0 0,0 1 16,13-1-16,0 0 0,-14 0 15,14 0-15,0 1 16,0-1-16,0 0 16,14-13-1,-1 0 1,0 0-1,-13 13 17,13 1-32,-13-1 15,13-13-15,-13 13 0,14 0 16,-1 1-16,0-14 16,0 0-1,1 0-15,-1 0 16,-13-14-16,13 14 0,0-13 15,-13 0-15,14 13 0,-14-13 16,13-1-16,-13 1 16,13 13-1,0 13 1,-13 1 0,13-14-16,-13 13 0,0 0 15,0 0-15,0 1 16,0-1-1,14-13-15,-1-13 32,-13-1-32,0 1 15,13 0-15,0 0 0,-13-1 16,14 1-16,-1 0 16,13 0-16,-12-1 15,-1 14-15,0 0 0,0 0 16</inkml:trace>
  <inkml:trace contextRef="#ctx0" brushRef="#br0" timeOffset="-143697.93">4101 1786 0,'0'0'15,"13"26"1,-13-12-16,14-1 16,-14 0-16,0 0 15,0 1-15,0-1 0,0 0 16,0 0-16</inkml:trace>
  <inkml:trace contextRef="#ctx0" brushRef="#br0" timeOffset="-143562.58">4141 1627 0,'0'13'31</inkml:trace>
  <inkml:trace contextRef="#ctx0" brushRef="#br0" timeOffset="-143255.47">4273 1733 0,'13'26'16,"-13"-12"-16,0-1 16,0 0-16,0 0 15,0 1 1,13-14 46,1 0-46,-1 0-16,0 0 16,0-14-16,1 14 15,-1 0-15,0 0 0,0 0 16,14 0-16</inkml:trace>
  <inkml:trace contextRef="#ctx0" brushRef="#br0" timeOffset="-142939.8">4538 1733 0,'0'0'0,"-14"0"15,1 0 1,0 0-16,13 13 16,0 0-1,0 1-15,13-14 0,-13 13 16,0 0-16,13-13 0,-13 13 0,0 1 15,14-1-15,-14 0 0,0 0 16,0 1-16,0-1 0,-14-13 16,14 13-16,0 0 0,0 0 15,-13-13 1,26-26 15,1 13-15,-14 0-16,26-14 0,-13 14 0,1 0 15,12-1-15,-13 1 0,0 0 0</inkml:trace>
  <inkml:trace contextRef="#ctx0" brushRef="#br0" timeOffset="-142536.47">5490 1627 0,'-13'13'16,"26"-26"-16,-39 40 0,12-1 15,14-13-15,0 1 0,0-1 0,-13 0 0,13 0 16,0 0-16,-13 1 0,13-1 16,0 0-16,0 0 0,0 1 15,-13-54 16,26 27-31,-13-14 0,13 1 16,-13-1-16,13-12 0,1 12 16,-14 1-16,13-1 0,0 1 0,-13 13 0,13-1 15,-13 1-15,14 13 0,-14-13 16,13 13-16,0 0 16,0 13-16,0-13 0,-13 13 15,14 1-15,-1-1 0,0 0 0,-13 14 16,13-14-16,-13 0 0,14 13 15,-14-12-15,13-1 0,-13 0 0,0 14 16,0-14-16,0 0 0,0 0 0,0 0 16,0 1-16</inkml:trace>
  <inkml:trace contextRef="#ctx0" brushRef="#br0" timeOffset="-142347.78">5490 1720 0,'0'-13'31,"13"13"-31,1-14 16,-1 14-16,0 0 0,0 0 16,0-13-16,14 13 15,-14-13-15</inkml:trace>
  <inkml:trace contextRef="#ctx0" brushRef="#br0" timeOffset="-142124.45">5728 1654 0,'13'13'31,"1"0"-31,-14 0 16,13 1-16,-13-1 16,13-13-16,-13 13 15,13-13-15,1-13 16,-1 13-16,-13-13 15,13 13-15,0-14 16,-13 1-16,14 0 0,-1 0 16,-13-1-16,13 14 15,-13-13-15,13 0 16,0 13 0</inkml:trace>
  <inkml:trace contextRef="#ctx0" brushRef="#br0" timeOffset="-141804.28">6059 1548 0,'-13'13'32,"13"0"-17,13 1-15,-13-1 0,13 0 16,-13 0-16,0 0 0,13-13 0,-13 14 15,0-1-15,0 0 0,0 0 16,0 14-16,0-14 0,-13 0 0,13 0 16,-13 1-16,13-1 0,-13-13 0,13 13 15,-14 0-15,1-13 16,13 14-16,0-41 16,13 1-1,1 12-15,-1 1 0,0-13 16,14-1-16,-1 1 0,-13 13 15,14-14-15,-14 14 0,13 0 0,-12 0 16,-1-1-16,0 14 0</inkml:trace>
  <inkml:trace contextRef="#ctx0" brushRef="#br0" timeOffset="-141687.65">6390 1521 0,'13'0'16</inkml:trace>
  <inkml:trace contextRef="#ctx0" brushRef="#br0" timeOffset="-139964.49">2897 2103 0,'-132'67'15,"92"-54"-15,1 13 0,-14 1 16,13-1-16,-13 14 0,13-14 16,14 1-16,-14-1 0,0 1 0,14-1 15,-14 1-15,14-14 0,-1 13 0,1 1 16,-1-14-16,1 0 0,13 0 16,0 1-16,-1-1 0,1 0 15,0-13-15,13 13 0,-13 1 16</inkml:trace>
  <inkml:trace contextRef="#ctx0" brushRef="#br0" timeOffset="-134234.36">1402 2408 0,'27'0'15,"26"26"1,-40-26-16,-13 13 16,0 1-16,0-1 0,0 0 0,-13 14 15,-1-1-15,1 0 0,0 1 16,0-14-16,0 0 0,-1 1 0,14-1 15,-13 0-15,0 0 0,39-26 47,1 0-47,-14 0 0,13-1 16,1 1-16,-1 0 16,1 0-16,-14-1 0,14 1 0,-14 0 15,13 0-15,-13 0 0,1-1 0,-14 1 16,13 0-16,0 13 0,-13-13 15,-13 26 32,13 0-47,13 0 16,0 1-16,1-14 16,-1 0-16,0 0 0,0 0 15,0 0-15,1-14 0,-1 14 0,0-13 16,0 0-16,-13 0 15,0-1 1,0 1-16,0 0 0,-13 13 16,13-13-16,-13-1 0,-14 14 15,14 14 1,0-14-16,13 13 0,0 0 16,-13-13-16,13 13 0</inkml:trace>
  <inkml:trace contextRef="#ctx0" brushRef="#br0" timeOffset="-133574.22">1998 2527 0,'0'26'31,"0"-13"-15,0 1-16,0-1 0,-14 0 0,14 0 15,0 1-15,0-1 0,0 0 0,0 0 16,0 1-16,-13-1 16,26-13-16,-13 13 15,14-13-15,-1 0 16,13-13-16,-12 13 0,12 0 15,-13-13-15,14 13 0,-14-14 0,13 14 16,-12 0-16,12-13 0,-13 13 16,0-13-16,14 13 0,-14 0 0,0-13 15,1 13-15,-1 0 16,0 0-16,0 0 16</inkml:trace>
  <inkml:trace contextRef="#ctx0" brushRef="#br0" timeOffset="-129316.53">1773 3135 0,'-14'14'16,"1"-1"-16,0 0 0,0-13 15,0 26-15,-1-12 0,1-1 0,0 0 16,0 0-16,-1 1 0,1-1 0,0-13 15,13 13-15,-13 0 0,0 1 16,13-1 0,13 0-16,0-13 15,0 0-15,0 0 16,1 0-16,-1 0 0,0 0 0,0 0 16,14 0-16,-14 0 0,13-13 0,-12 13 15,-1 0-15,13 0 0,-12 0 16,-1-13-16,0 13 0,0 0 15</inkml:trace>
  <inkml:trace contextRef="#ctx0" brushRef="#br0" timeOffset="-129091.18">1799 3109 0,'-13'0'0,"13"26"16,-13-12-16,13-1 16,0 0-16,0 13 0,0 1 15,0-14-15,0 14 0,-14-1 0,14 1 16,0-1-16,0 0 0,0 1 0,-13-14 16,13 14-16,0-14 0,0 0 15,0 0-15,13-13 0,-13 13 0</inkml:trace>
  <inkml:trace contextRef="#ctx0" brushRef="#br0" timeOffset="-128768.59">2037 3201 0,'-26'14'31,"26"-1"-31,0 0 0,-13 0 0,13 1 15,0-1-15,0 0 0,0 0 0,0 1 16,0-1-16,0 0 0,13-13 16,0 13-16,0-13 0,1 13 0,-1-13 15,0 0-15,0-13 0,0 13 0,1 0 16,-1-13-16,0 13 0,0-13 16,1 13-16,-14-13 0,13-1 0,-13 1 15,0 0-15,0 0 0,-13 13 0,13-14 16,-14 1-16,1 0 15,0 0-15,0-1 0,-1 14 0,1 0 16,0 0-16,0 0 0,0 0 16,-14 14-16,14-1 0,0-13 15,-1 13-15,1 0 0,13 1 0</inkml:trace>
  <inkml:trace contextRef="#ctx0" brushRef="#br0" timeOffset="-128155.61">2368 3201 0,'13'14'31,"-13"-1"-31,13-13 0,-13 13 0,0 0 16,14 1-16,-14-1 0,0 0 16,0 0-16,0 1 0,0-1 15,13 0-15,-13 0 0,0 0 16,0-52 31,0 26-47,0-1 15,13 1-15,-13 0 0,13 0 0,1-1 16,-14 1-16,13 0 0,0 0 16,0 13-16,-13-14 15</inkml:trace>
  <inkml:trace contextRef="#ctx0" brushRef="#br0" timeOffset="-127583.83">2633 3149 0,'-14'26'32,"1"-13"-17,13 0-15,0 1 16,0-1-16,0 0 15,0 0-15,0 1 16,0-1 0,13 0-1,14-13 17,-27-13-17,13 13-15,0-13 0,1-1 31,-1 14-31,0-13 16,0 13-16,0 0 16,1 0-1,-14 13-15,13-13 16,0 0-16,0 0 16,-13 14-1,14-14 1,-1 0-1,0-14 1,0 14 0,1 0-16,-1-13 15,0 13 1,0 0 0,0 0-16,-13-13 0,14 13 15</inkml:trace>
  <inkml:trace contextRef="#ctx0" brushRef="#br0" timeOffset="-126027.88">2897 2117 0,'40'0'31,"-27"13"-31,14 0 0,-1 0 15,0 14-15,14-1 0,0 1 16,13-1-16,-14 14 0,14-14 0,-13 1 16,13-1-16,0 1 0,-13-1 15,-1 1-15,-12-14 0,12 13 0,-12-12 16,13-1-16,-14 0 0,-13 0 16,14 0-16,-14-13 0,0 14 0,0-14 15,1 0-15,-1 13 0,0-13 16,0 13-1,1-13-15</inkml:trace>
  <inkml:trace contextRef="#ctx0" brushRef="#br0" timeOffset="-125698.83">3651 2368 0,'13'13'31,"-13"0"-31,14-13 0,-14 14 16,13-1-16,-13 0 0,13 0 0,0 1 15,1-1-15,-14 0 0,13 14 16,0-27-16,-13 13 0,13 0 16,-13 0-16,14 0 0,-14 1 0,0-1 15,0 0-15,-14 14 16,1-14-16,0 0 0,0 0 16,-1 1-16,-12-1 0,-1 13 0,1-13 15,0 14-15,-1-14 0,14 0 16,-14 1-16,1-14 0,13 13 0,-1 0 15</inkml:trace>
  <inkml:trace contextRef="#ctx0" brushRef="#br0" timeOffset="-124923.85">4789 2209 0,'0'0'0,"0"40"31,0-27-31,-13 0 0,13 1 16,0 12-16,0-13 0,0 14 0,13-14 15,-13 13-15,0 1 16,0-14-16,0 0 0,0 14 0,0-14 16,0 0-16,0 1 0,0-1 15,0 0-15,0 0 16,0 0-16,13-39 31,-13 13-15,0 0-16,0-1 0,13 1 0,1 0 15,-1 0-15,0-1 16,0 14-16,1 0 16,12 0-16,-26 14 0,13-14 15,0 13-15,-13 0 0,14-13 16,-14 13-16,-14 14 16,1-14-1,0 0-15,0-13 0,13 13 16,-13-13-16,-1 0 0,1 0 15,-13 0-15,12 0 16</inkml:trace>
  <inkml:trace contextRef="#ctx0" brushRef="#br0" timeOffset="-124270.28">5133 2394 0,'0'0'0,"-13"14"15,-1-14-15,1 13 16,0-13-16,13 13 0,-13 0 16,0 1-16,13-1 15,-14-13-15,14 13 16,0 0-1,14-13 1,-1-13 0,0 13-16,0 0 0,-13-13 15,13 13 1,1 13-16,-1 0 31,0-13-31,-13 14 16,13-14-16,1-14 15,-1 14-15,-13-13 0,13 13 16,-13-13-16,13 0 0,1-1 0,-14-12 16,13 13-16,-13-14 0,13 1 15,-13-1-15,13 14 0,-13 0 0,0-14 16,0 14-16,13 13 0,-13-13 0,0 0 16,0 39 15,0-13-31,0 1 0,-13 12 0,13-13 15,0 14-15,0-14 16,0 13-16,0 1 0,13-14 0,-13 14 16,0-14-16,0 0 0,14 0 0,-14 1 15,0-1-15</inkml:trace>
  <inkml:trace contextRef="#ctx0" brushRef="#br0" timeOffset="-124083.05">5199 2474 0,'-13'0'15,"39"-27"1,-12 27 0,-1-13-16,0 13 0,0 0 0,0-13 15,1 13-15,-1-13 0,0 13 0,0 0 16,1-14-16</inkml:trace>
  <inkml:trace contextRef="#ctx0" brushRef="#br0" timeOffset="-122011.02">5741 2222 0,'0'-13'0,"0"26"0,-13-13 31,13 14-15,0-1-16,0 0 0,0 0 0,0 1 15,0-1-15,0 0 0,0 0 0,13 1 16,-13-1-16,0 0 16,0 0-16,14 0 0,-14 1 15,13-14-15,-13 13 16,13-13-16,0-13 15,1 13-15,-1 0 0,-13-14 16,13 14-16,0-13 0,1 13 16,-14-13-16,13 13 0,0-13 31,0 26-31,-13 0 16,13-13-16,1 13 15,-1-13-15,-13 14 16,13-14-16,0 0 0,14 0 15,-1 0 1,-26-14-16,13 1 16,-26-13-1,13 13-15,-13 13 16,0-14-16,0 14 0,-14 0 16,14 0-1,0 14-15,-1-14 16,14 13-16,-13-13 0,13 13 15,0 0-15,13-13 16,1 0-16,-1 0 0,0 0 16,0 0-16,1 0 0,-1 0 15,0-13-15,0 13 0,0 0 0,1-13 16,-1 13-16,0 0 0,-13-13 16,13 13-16,1 0 15,-1-14-15,0 28 31,0-14-15,-13 13 0,14-13-1,-1 0 17,0 0-32,0-13 15,0 13 1,1-14 15,-1 14 0,-13-13-15,13 0 31,0 13-47,1 0 15,-1-13 1,0 13 0,0 0-16,-13-14 0,14 14 15,-14-13-15,0 0 32,13 13 30,0 0-46,0 13-1,0-13-15,-13 13 16,14-13-16,-1 14 16,0-14 15,0-14-16,1 1 1,-14 0-16,13 13 16,0-13-16,0-1 15,1 14-15,-1 0 16</inkml:trace>
  <inkml:trace contextRef="#ctx0" brushRef="#br0" timeOffset="-121791.43">6747 2156 0,'0'14'31,"0"-1"-31,0 0 0,0 0 0,0 14 15,0-14 1,-13 0 0</inkml:trace>
  <inkml:trace contextRef="#ctx0" brushRef="#br0" timeOffset="-121646.43">6694 2090 0,'-26'0'31</inkml:trace>
  <inkml:trace contextRef="#ctx0" brushRef="#br0" timeOffset="-121350.61">6800 2183 0,'0'39'31,"0"-25"-31,0-1 16,13-26 30,0-1-30,0 1 0,1 0-16,-1 13 15,0 0 1,0 0 0,1 0-16,12 0 15</inkml:trace>
  <inkml:trace contextRef="#ctx0" brushRef="#br0" timeOffset="-120522.52">7250 2064 0,'-14'13'32,"14"0"-32,0 0 15,0 1-15,0-1 16,14-13-16,-14 13 16,13-13-16,0 0 15,0 0-15,0 0 0,1 0 16,-14-13-16,26 13 15,-13 0-15,1 0 16,-1 0 0,0 0-1,0 0 17,1-13-17,-1 13 16,-13-14-15,13 14 0,0 0-16,0-13 0,1 13 15,-1 0-15,0 0 16,-13-13-16,13 13 0,1 0 16,-1-13-1,0 26 32,0 0-16,1-13-15,-1-13 0,0 13-1,0 0 1,0 0-1,-13 13 1,0 0 0</inkml:trace>
  <inkml:trace contextRef="#ctx0" brushRef="#br0" timeOffset="-119746.96">7766 2011 0,'0'13'0,"-27"14"31,27-14-15,0 0 0,0 0-16,0 0 31,0 1-31,0-1 15,0 0 1,-13 0-16,39-13 63,-12-13-63,-1 0 15,0 13-15,0-13 0,-13-1 0,13 1 16,1 0-16,-1 0 0,0 0 15,-13-1-15,13 1 0,1 0 0,-1 0 16,-13-1-16,13 14 16,-13 14 15,0-1-31,-13 0 0,0 0 16,13 1-16,0-1 0,-14 0 15,14 0-15,0 0 16,0 1-16,0-1 15,0 0-15,0 0 32,14-13-32,-1-13 31</inkml:trace>
  <inkml:trace contextRef="#ctx0" brushRef="#br0" timeOffset="-119514.59">8123 1879 0,'-14'26'31,"14"-13"-31,0 0 0,-13 1 0,13-1 16,-13-13-16,13 13 0,0 0 0,-13 1 16,13-1-16,0 0 0,-13-13 15,13 13-15,0 1 0</inkml:trace>
  <inkml:trace contextRef="#ctx0" brushRef="#br0" timeOffset="-119347.49">8043 2064 0,'0'0'0,"27"-13"0,-14-1 0,0 1 15,0 13-15,1-13 16,-1 13-16,0-13 0,0 13 16,1 0-1,-1 0-15</inkml:trace>
  <inkml:trace contextRef="#ctx0" brushRef="#br0" timeOffset="-111458.86">4299 3069 0,'-26'13'47,"13"1"-47,0-1 0,-1 0 15,1 0-15,0 1 16,0-1-16,-1 0 15,1-13-15,13 13 0,0 0 16,-13-13-16,26 14 16,0-14-1,1 13-15,-1-26 16,0 13-16,14 0 0,-14 0 16,0 0-16,13 0 0,1 0 0,-14-14 15,14 14-15,-14 0 0,0 0 0,0 0 16,1 0-16</inkml:trace>
  <inkml:trace contextRef="#ctx0" brushRef="#br0" timeOffset="-111237.43">4313 3056 0,'0'0'0,"-14"13"15,14 0-15,0 1 16,0-1-16,0 0 0,0 0 0,0 1 16,0-1-16,0 0 0,0 13 15,0-12-15,0-1 0,0 0 0,0 0 16,0 1-16,0-1 0,0 0 16</inkml:trace>
  <inkml:trace contextRef="#ctx0" brushRef="#br0" timeOffset="-110440.05">4670 3056 0,'13'0'32,"-53"0"-17,40 13-15,-13-13 0,0 13 16,0-13-16,0 14 0,-1-14 0,1 13 16,0-13-16,0 13 0,-1 0 15,14 1 1,14-14-16,-14 13 0,13-13 15,0 0-15,0 13 16,1-13-16,-1 0 0,0 0 16,-13 13-16,13-13 0,0 13 15,-26 1 1,0-1 0,0 0-16,0-13 0,-1 13 15,1-13-15,0 0 0,0 14 0,-1-14 16,1 13-16,0-13 15</inkml:trace>
  <inkml:trace contextRef="#ctx0" brushRef="#br0" timeOffset="-109919.53">4948 3122 0,'39'27'16,"-39"-14"-16,0 0 0,14 0 15,-14 0-15,0 1 16,0-1-16,13-13 0,-13 13 16,0-53 15,0 27-15,0 0-16,0 0 15,13 0-15,-13-1 0,0 1 16,13 13-16,-13-13 0,14 0 0,-1 13 15,0-14-15,0 14 16,14 0-16,-27 14 16</inkml:trace>
  <inkml:trace contextRef="#ctx0" brushRef="#br0" timeOffset="-109503.75">5252 3122 0,'-13'13'32,"13"1"-32,13-14 15,-13 13-15,13 0 16,0-13 0,1 0-16,-1 0 15,0 0-15,0-13 16,1 13-16,-1 0 15,0 0 1,-13-13-16,13 13 16,1 0-1,-1 0 1,0 0 0,0 0-1,0 0 1,1 0-1,-1 0-15,0-14 0,0 14 16,1-13 0,-1 13-16,0 0 15,0 0-15,0 0 16</inkml:trace>
  <inkml:trace contextRef="#ctx0" brushRef="#br0" timeOffset="-109250.65">4564 3440 0,'159'-27'31,"-106"14"-31,13 0 0,0-1 15,0 1-15,14 0 0,-14 0 0,0 13 16,-13-13-16,0 13 0,-14 0 0,14-14 16,-26 14-16,-1 0 0,1 0 15,-14 0-15,0 0 0,0 0 0,-13 14 16</inkml:trace>
  <inkml:trace contextRef="#ctx0" brushRef="#br0" timeOffset="-108971.61">4577 3506 0,'0'0'0,"40"-14"15,-14 14 1,1-13-16,13 13 0,12-13 0,1 0 16,0 13-16,27-13 0,-27-1 0,26 1 15,-13 0-15,0 13 0,-13-13 16,-13 13-16,13-14 0,-13 1 0,-14 13 15,0 0-15,1 0 0,-14 0 0,14-13 16,-14 13-16,0 0 0,0 0 16,0 0-16,1 0 15,-1 0-15,0 0 16,-13 13 15</inkml:trace>
  <inkml:trace contextRef="#ctx0" brushRef="#br0" timeOffset="-107582.16">6403 2593 0,'0'-13'0,"0"-1"16,0 41 15,13-14-31,-13 0 0,0 1 16,0 12-16,0-13 0,0 14 0,0-14 16,-13 0-16,13 14 0,0-14 15,0 13-15,-13-26 0,13 14 0,0-1 16,0 0-16,-14 0 0</inkml:trace>
  <inkml:trace contextRef="#ctx0" brushRef="#br0" timeOffset="-107172.15">6429 2540 0,'-13'-13'0,"-27"39"32,27-13-17,0 1-15,0-1 0,13 0 0,-13 0 16,-1 14-16,1-14 0,0 0 16,0 1-16,13-1 0,-14-13 15,14 13-15,0 0 0,14-26 47,-14 0-47,13 0 0,0-1 16,-13 1-16,13 13 0,-13-13 15,14 13-15,-1-13 0,0 13 16,0 0-16,0 0 16,1 0-16,-1 13 0,0-13 15,0 0-15,1 13 0,-1-13 16,0 0-16,14 13 0,-14-13 0,0 0 15,0 14-15,0-14 0,1 0 16,-1 0-16,0 0 0,0 0 0</inkml:trace>
  <inkml:trace contextRef="#ctx0" brushRef="#br0" timeOffset="-105023.83">4802 2699 0,'0'0'15,"0"39"-15,0-12 0</inkml:trace>
  <inkml:trace contextRef="#ctx0" brushRef="#br0" timeOffset="-103959.53">6390 3162 0,'-27'26'32,"27"-13"-32,-13 1 0,13-1 15,-13-13-15,13 13 0,-13 0 0,13 1 16,0-1-16,-14 0 0,1 0 15,13 1-15,0-1 0,0 0 16,0 0-16,0 0 16,13-13-1,1 0-15,-1 0 0,0 0 16,0 0-16,0 0 0,1 0 0,12-13 16,-13 13-16,1 0 0,12-13 15,-13 13-15,1 0 0,-1-13 16</inkml:trace>
  <inkml:trace contextRef="#ctx0" brushRef="#br0" timeOffset="-103791.66">6337 3334 0,'79'-40'31,"-66"40"-31,1 0 0,-1-13 16,0 13-16,0 0 0,1-13 16,-1 13-16</inkml:trace>
  <inkml:trace contextRef="#ctx0" brushRef="#br0" timeOffset="-103451.2">6376 3215 0,'-13'-14'0,"26"28"0,-13-41 16,14 27-1,-1-13-15,13 13 0,-12 0 0,12-13 16,1 13-16,-1-13 0,0 13 16,1 0-16,-14 0 0,14 0 15,-14 0-15,0 0 0,0 0 0,1 13 16,-1 0-16,-13 0 16,-13 0-1,13 1-15,-14-1 0,14 0 0,-13 14 16,-13-14-16,12 0 0,1 0 15,0 1-15,0-1 0,-1-13 0,1 13 16,0-13-16,26-26 47,0 26-47,1 0 0,-1 0 16,0 0-1,0 0-15,1 0 0,-1 0 0,0 0 16,14 0-16,-14 0 0,0 0 15,0 0-15</inkml:trace>
  <inkml:trace contextRef="#ctx0" brushRef="#br0" timeOffset="-91471.9">1879 3770 0,'-14'-13'0,"41"0"16,-1 0 0,-13 13-16,14-14 15,-1 14-15,14-13 0,0 13 0,26-26 16,-40 26-16,1-14 16,-1 14-16,27-13 0,-26 13 15,-1-13-15</inkml:trace>
  <inkml:trace contextRef="#ctx0" brushRef="#br0" timeOffset="-91151.95">1905 3876 0,'40'-13'0,"-27"0"15,13 13-15,14-14 16,-13 1-16,-1 13 0,40-26 16,-39 13-16,92-27 31,-106 40-15,0 0-1,27-13 16,-40-1-15,13 1 15</inkml:trace>
  <inkml:trace contextRef="#ctx0" brushRef="#br0" timeOffset="-90383.34">3836 3135 0,'0'0'0,"-13"40"15,13-14 1,-13 14-16,13 0 0,0 26 0,-13 53 15,26-53-15,-13 0 0,13-13 16,0 0-16,1 13 0,-1-13 16,0-13-16,0 0 0,1-14 0,-1 14 15,13 13-15,-26-40 16</inkml:trace>
  <inkml:trace contextRef="#ctx0" brushRef="#br0" timeOffset="-89797.84">3731 3029 0,'0'0'0,"39"-39"0,-12 12 16,12 14-16,1-13 0,26-1 15,67-26-15,-54 40 0,0-13 16,146-27-16,-119 39 0,26 1 16,106-26-16,-118 25 15,78-12-15,-105 13 16,-1-1-16,67-12 0,-80 26 0,-13-13 16,-13-1-16,0 14 0,-13 0 15,-14-13-15,1 13 0,-14 0 0,14 0 16,-1 0-16,0 27 15,-12-27-15,-14 13 16,13 13-16,0-12 0,0 12 0,106 278 47,-105-264-47,25 13 16,14 26-16,40 14 46,-93-80-46,-13 14 16,-331 39 31,159-13-47,79-27 0,-13 14 16,0-14-16,-14 14 0,14-14 0,-119 41 15,0-1 1,13 0-16,132-40 0,14 1 15,0-1-15,-54 14 0,67-27 16,27 0-16</inkml:trace>
</inkml:ink>
</file>

<file path=ppt/ink/ink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4.130"/>
    </inkml:context>
    <inkml:brush xml:id="br0">
      <inkml:brushProperty name="width" value="0.025" units="cm"/>
      <inkml:brushProperty name="height" value="0.025" units="cm"/>
      <inkml:brushProperty name="ignorePressure" value="1"/>
    </inkml:brush>
  </inkml:definitions>
  <inkml:trace contextRef="#ctx0" brushRef="#br0">43 4,'-5'4,"1"1,0 0,0 0,1 0,-1 0,1 1,0 0,1-1,-1 1,1 0,0 0,-1 8,3-12,0-1,0 1,0 0,0 0,0 0,0-1,0 1,1 0,-1 0,1-1,-1 1,1 0,0-1,0 1,-1 0,1-1,0 0,2 3,-1-2,1-1,-1 1,0-1,1 1,-1-1,1 0,-1 0,1 0,-1-1,1 1,0 0,-1-1,1 0,0 1,-1-1,4-1,1 1,1-1,-1 0,0-1,0 0,0 0,0 0,0-1,-1 0,1 0,8-6,-13 8,-1 0,1 0,0 0,-1 0,1-1,0 1,-1 0,0-1,1 1,-1-1,0 1,0-1,0 0,0 1,0-1,0 0,0 0,-1 0,1 0,0 0,-1 0,0 0,1 0,-1 0,0 0,0 0,0 0,-1 0,1 1,0-1,-1 0,1 0,-1 0,0 0,1 0,-1 0,0 1,0-1,0 0,0 0,-3-1,1 0,0 0,-1 0,1 1,-1-1,0 1,1 0,-1 0,0 1,-1-1,1 1,0 0,0 0,0 0,-1 0,-8 1,-5-1</inkml:trace>
</inkml:ink>
</file>

<file path=ppt/ink/ink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5.546"/>
    </inkml:context>
    <inkml:brush xml:id="br0">
      <inkml:brushProperty name="width" value="0.025" units="cm"/>
      <inkml:brushProperty name="height" value="0.025" units="cm"/>
      <inkml:brushProperty name="ignorePressure" value="1"/>
    </inkml:brush>
  </inkml:definitions>
  <inkml:trace contextRef="#ctx0" brushRef="#br0">32 0,'14'0,"21"2,-35-2,1 0,-1 0,0 0,0 0,0 0,0 0,0 0,0 0,1 0,-1 0,0 0,0 0,0 0,0 0,0 0,0 0,0 1,0-1,1 0,-1 0,0 0,0 0,0 0,0 0,0 0,0 1,0-1,0 0,0 0,0 0,0 0,0 0,0 0,0 1,0-1,0 0,0 0,0 0,0 0,0 0,0 0,0 1,0-1,0 0,0 0,0 0,0 0,0 0,0 0,-1 0,1 1,0-1,0 0,0 0,0 0,0 0,0 0,0 0,-20 11,12-7,0 0,1 0,-1 1,1 0,-8 6,14-11,1 1,-1 0,0-1,1 1,-1 0,0-1,1 1,-1 0,1 0,0 0,-1-1,1 1,0 0,-1 0,1 0,0 0,0 0,0 0,0 0,0 0,0-1,0 3,1-2,0 1,0-1,0 1,0-1,0 0,0 0,0 1,0-1,0 0,1 0,-1 0,1 0,-1 0,1-1,-1 1,1 0,2 0,-1 0,1 1,-1-1,0 1,0 0,0 0,0 0,0 0,0 0,-1 1,1-1,-1 1,0 0,1 0,-1 0,0 0,-1 0,3 6,-3-8,-1 1,0-1,1 0,-1 1,0-1,0 1,0-1,0 1,-1-1,1 0,0 1,0-1,-1 0,1 1,-1-1,0 0,1 1,-2 1,0-1,0 0,0 0,0 0,0 0,-1 0,1-1,0 1,-1-1,1 0,-1 1,0-1,-3 1,-13 3,1-3</inkml:trace>
</inkml:ink>
</file>

<file path=ppt/ink/ink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6.713"/>
    </inkml:context>
    <inkml:brush xml:id="br0">
      <inkml:brushProperty name="width" value="0.025" units="cm"/>
      <inkml:brushProperty name="height" value="0.025" units="cm"/>
      <inkml:brushProperty name="ignorePressure" value="1"/>
    </inkml:brush>
  </inkml:definitions>
  <inkml:trace contextRef="#ctx0" brushRef="#br0">55 1,'47'0,"-41"0,-31 0,19 1,-1 0,1 0,-1 1,1-1,-1 2,1-1,-8 5,12-6,0 0,1-1,-1 1,1 1,-1-1,1 0,0 0,-1 0,1 1,0-1,0 1,0-1,0 1,-1 1,2-2,0 0,0 0,0 0,0 0,0 0,0 0,0 0,0 0,0 0,0 0,1 0,-1 0,0 0,1 0,-1 0,1 0,-1 0,1 0,0-1,-1 1,1 0,0 0,-1 0,1-1,0 1,0-1,1 2,38 16,-35-17,0 1,-1-1,1 1,0 0,-1 1,0-1,1 1,4 3,-9-5,1 1,0-1,0 0,-1 1,1-1,-1 0,1 1,-1-1,0 1,1-1,-1 1,0-1,0 0,0 1,0-1,0 1,0-1,-1 1,1-1,0 1,-1-1,1 0,-1 1,0-1,1 0,-1 1,0-1,0 0,0 0,0 0,0 1,0-1,-1 1,-1 2,0-1,0 1,-1-1,1 1,-1-1,0 0,0-1,0 1,0-1,0 1,0-1,-1-1,1 1,-1 0,1-1,-1 0,-5 0,-6 1</inkml:trace>
</inkml:ink>
</file>

<file path=ppt/ink/ink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7.794"/>
    </inkml:context>
    <inkml:brush xml:id="br0">
      <inkml:brushProperty name="width" value="0.025" units="cm"/>
      <inkml:brushProperty name="height" value="0.025" units="cm"/>
      <inkml:brushProperty name="ignorePressure" value="1"/>
    </inkml:brush>
  </inkml:definitions>
  <inkml:trace contextRef="#ctx0" brushRef="#br0">115 0,'-72'75,"66"-68,1 0,0 1,0 0,1 0,0 0,1 1,-6 16,9-22,-1-1,1 1,0 0,0-1,0 1,0 0,0-1,0 1,1-1,0 1,-1-1,1 1,0-1,0 1,0-1,0 0,1 1,-1-1,1 0,-1 0,1 0,0 0,0 0,0 0,0-1,0 1,0-1,0 1,0-1,1 0,-1 0,5 2,-2-2,-1 1,1-1,0 0,-1-1,1 1,0-1,0 0,9-1,-14 1,1 0,0 0,-1-1,1 1,0 0,-1 0,1 0,0-1,-1 1,1 0,0-1,-1 1,1 0,-1-1,1 1,0-1,-1 1,0-1,1 1,-1-1,1 1,-1-1,1 0,-1 0,0 0,0 0,0-1,0 1,-1 0,1 0,-1 0,1 0,-1 0,1 0,-1-1,1 1,-1 0,0 0,0 1,0-1,1 0,-1 0,0 0,0 0,-1 0,-31-20,15 11</inkml:trace>
</inkml:ink>
</file>

<file path=ppt/ink/ink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8.256"/>
    </inkml:context>
    <inkml:brush xml:id="br0">
      <inkml:brushProperty name="width" value="0.025" units="cm"/>
      <inkml:brushProperty name="height" value="0.025" units="cm"/>
      <inkml:brushProperty name="ignorePressure" value="1"/>
    </inkml:brush>
  </inkml:definitions>
  <inkml:trace contextRef="#ctx0" brushRef="#br0">36 24,'-3'7,"0"-1,1 1,-1 0,1 0,0 0,1 0,0 0,0 0,0 14,1-18,1-1,-1 0,1 1,-1-1,1 0,0 1,0-1,0 0,0 0,0 0,1 0,-1 0,1 0,-1 0,1 0,0 0,-1-1,1 1,0-1,0 1,0-1,1 0,-1 0,0 0,0 0,0 0,1 0,-1-1,1 1,-1-1,0 0,1 1,3-1,-3 0,0 0,0 0,0 0,0 0,-1-1,1 1,0-1,0 1,0-1,-1 0,1 0,0 0,-1-1,1 1,-1-1,1 1,-1-1,0 0,0 0,0 0,0 0,0 0,0 0,0 0,-1-1,1 1,-1-1,0 1,0-1,0 0,0 1,0-1,0 0,-1 0,1-5,0 5,-1-1,0 0,0 1,0-1,0 1,-1-1,0 1,1-1,-1 1,0 0,-1-1,1 1,-1 0,1 0,-1 0,0 0,0 0,0 0,0 0,-1 1,1-1,-1 1,0 0,0 0,1 0,-1 0,-1 0,1 0,-4-1,-3 1,0 0,0 0,0 1,0 1,-20 0,13 1</inkml:trace>
</inkml:ink>
</file>

<file path=ppt/ink/ink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9.858"/>
    </inkml:context>
    <inkml:brush xml:id="br0">
      <inkml:brushProperty name="width" value="0.025" units="cm"/>
      <inkml:brushProperty name="height" value="0.025" units="cm"/>
      <inkml:brushProperty name="ignorePressure" value="1"/>
    </inkml:brush>
  </inkml:definitions>
  <inkml:trace contextRef="#ctx0" brushRef="#br0">36 0,'0'4,"-4"4,0 4,0 3,1 3,-3-2,0-1,1 1,2-2</inkml:trace>
</inkml:ink>
</file>

<file path=ppt/ink/ink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0.685"/>
    </inkml:context>
    <inkml:brush xml:id="br0">
      <inkml:brushProperty name="width" value="0.025" units="cm"/>
      <inkml:brushProperty name="height" value="0.025" units="cm"/>
      <inkml:brushProperty name="ignorePressure" value="1"/>
    </inkml:brush>
  </inkml:definitions>
  <inkml:trace contextRef="#ctx0" brushRef="#br0">86 0,'-3'7,"-1"5,-4 4,0 2,-2 2,1 1,-2-4,2-1,2 0,-2-2,2-5</inkml:trace>
</inkml:ink>
</file>

<file path=ppt/ink/ink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1.505"/>
    </inkml:context>
    <inkml:brush xml:id="br0">
      <inkml:brushProperty name="width" value="0.025" units="cm"/>
      <inkml:brushProperty name="height" value="0.025" units="cm"/>
      <inkml:brushProperty name="ignorePressure" value="1"/>
    </inkml:brush>
  </inkml:definitions>
  <inkml:trace contextRef="#ctx0" brushRef="#br0">53 1,'0'3,"-3"5,-2 4,-2 3,-4 3,0 1,2 1,2-3</inkml:trace>
</inkml:ink>
</file>

<file path=ppt/ink/ink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2.321"/>
    </inkml:context>
    <inkml:brush xml:id="br0">
      <inkml:brushProperty name="width" value="0.025" units="cm"/>
      <inkml:brushProperty name="height" value="0.025" units="cm"/>
      <inkml:brushProperty name="ignorePressure" value="1"/>
    </inkml:brush>
  </inkml:definitions>
  <inkml:trace contextRef="#ctx0" brushRef="#br0">84 1,'-4'0,"0"3,-1 5,-1 0,-1 3,-2 3,0 2,-1 1,1 2,-2-3,2-4</inkml:trace>
</inkml:ink>
</file>

<file path=ppt/ink/ink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2.966"/>
    </inkml:context>
    <inkml:brush xml:id="br0">
      <inkml:brushProperty name="width" value="0.025" units="cm"/>
      <inkml:brushProperty name="height" value="0.025" units="cm"/>
      <inkml:brushProperty name="ignorePressure" value="1"/>
    </inkml:brush>
  </inkml:definitions>
  <inkml:trace contextRef="#ctx0" brushRef="#br0">44 0,'0'3,"-4"5,0 4,-1 3,-1-1,-1 1,-2 1,0-3</inkml:trace>
</inkml:ink>
</file>

<file path=ppt/ink/ink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1:50:36.941"/>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brush xml:id="br2">
      <inkml:brushProperty name="width" value="0.05292" units="cm"/>
      <inkml:brushProperty name="height" value="0.05292" units="cm"/>
      <inkml:brushProperty name="color" value="#92D050"/>
    </inkml:brush>
    <inkml:brush xml:id="br3">
      <inkml:brushProperty name="width" value="0.05292" units="cm"/>
      <inkml:brushProperty name="height" value="0.05292" units="cm"/>
      <inkml:brushProperty name="color" value="#C00000"/>
    </inkml:brush>
  </inkml:definitions>
  <inkml:trace contextRef="#ctx0" brushRef="#br0">1111 1244 0,'-13'0'47,"26"0"-31,106 13-16,80 13 15,171 1-15,27-27 16,212 0-16,65 0 16,80 0-16,67 0 15,78 0-15,-39 0 16,-146 0-16,-39 0 15,-133 0-15,-145 0 16,-238 0-16,-53 0 16,-80 0-16</inkml:trace>
  <inkml:trace contextRef="#ctx0" brushRef="#br0" timeOffset="936.93">10623 1323 0,'66'0'47,"80"0"-32,39 40-15,53-40 16,53 0-16,106 0 16,26 0-16,-26 0 15,40 0-15,-40 0 16,26 0-16,-66 0 15,185 0-15,-78 0 16,12 0 0,-119 0-16,0 0 15,-158 0-15,-41-14 16,-105 1-16,0-13 16</inkml:trace>
  <inkml:trace contextRef="#ctx0" brushRef="#br0" timeOffset="3648.84">9895 318 0,'0'39'15,"53"107"-15,-13 12 16,26-12-16,-26-1 16,-14-12-16,-12-14 15,12-27-15,-13 1 16,-13-14-16,0-39 15,0 13-15,0-40 16,0-92 78,-26-53-79,13 13-15,13-14 16,0-26-16,-27 14 16,14-1-16,0 14 15,-40 0-15,53 53 16,0 26 0,0 13-16,-14 0 15,14 27-15,14 0 110,52 13-110,66 0 15,0 0-15,40 13 16,14 13-16,-28-12 15,54-14-15,0 0 16,13 0-16,92 0 16,14 0-16,26 0 15,0 0-15,40 0 16,0 0-16,-106 0 16,66 0-16,-26 0 15,-80 0-15,1 0 16,-1 0-1,-26 0-15,-13 0 16,-14 0-16,-26 0 16,-27 0-16,-12 0 15,12 0-15,-39 0 16,13 0-16,-13 0 16,0 0-16,-14 0 15,1 0-15,13 0 16,-14 0-16,14 0 15,-40 0-15,40 0 16,-13 0-16,13 0 16,-14 0-16,27 0 15,-52 0-15,-1 0 16,-40 0-16,-13 0 109,1 0-93,12 39-16,-13-25 16,14 25-1,-14 1-15,13 66 16,14 0-16,-13 13 15,26 26-15,-40 1 16,0-1-16,13-26 16,-12-26-16,-14-40 15,13 0-15,-13-27 16,0-13 93,-27-13-62,-25 0-47,-54 0 16,-27 0-16,-39 0 15,-79 0-15,-106 0 16,-80 0-16,-105 0 16,13 0-1,53 0-15,79 0 16,79 0-16,27 0 16,0 0-16,119 0 15,-26 0-15,39 0 16,27 0-16,-1 0 15,14 0-15,27 0 16,-14 0-16,53 0 16,13 0-16,14 0 15,-1 0 1</inkml:trace>
  <inkml:trace contextRef="#ctx0" brushRef="#br0" timeOffset="12054.73">6085 2566 0,'40'-13'47,"-27"13"-47,1 0 0,-1 0 0,13 0 15,-13 0-15,14 0 16,13 0-16,-1 0 0,1 0 0,13 0 0,0 0 15,0 13-15,53-13 0,13 0 16,-40 0 0,0 0-16,67 14 0,-67-14 15,1 0-15,-1 0 0,-13 0 0,0 0 16,14 0-16,-14 0 0,13 13 16,-13-13-16,67 0 0,-80 0 15,66 13-15,-66-13 16,-1 0-16,1 0 0,-13 13 0,13-13 15,-13 0-15,52 0 0,-39 14 16,-13-14-16,0 0 0,-14 0 16,14 13-16,-14-13 0,27 0 15,-26 13-15,-1-13 0,-13 0 16,27 0-16,-14 0 16,-12 0-16,12 0 0,1 0 15,65 0 32,-79 0-47,14 0 16,118 0 31,-131 0-47,12 0 0,292 13 62,-266-13-62,-25 14 16,-1-14-16,41 0 0,-41 0 15,0 0-15,1 13 0,39-13 16,-40 0-16,1 0 16,26 0-16,-27 0 0,27 13 15,-13-13-15,-14 0 16,14 0-16,-27 0 15,14 0-15,12 0 0,-25 0 16,25 0-16,-25 0 0,-1 0 16,0 0-16,0 0 0,14 0 15,-1 0-15,-13 0 0,1 0 16,12 0-16,1 0 16,-14 0-16,0 0 15,0 0-15,14 0 16,-14 13-16,0-26 15,0 13-15,1 0 0,-1 0 16,0 0-16,0 0 16,1 0-1,-1 0-15,0 0 16,0 0 0,0-13-1,1 13-15,-14-13 16,13 13-16,0-14 15,0 14-15,-13-13 0,14 0 16,-1 0-16,-13-1 16,13 14-16,-13-13 0,13 13 15,-13-13-15,0 0 0,14 13 16,-14-14-16,13 1 0,-13 0 16,0 0-16,13 13 0,-13-13 0,0-1 15,13-12-15,0 13 16,-13-1-16,0 1 15,14 0-15,-14 0 16,13-1-16,-13 1 0,0 0 16,13-13-1,-13-1 1,13 14-16,-13 0 0,0-1 16,0 1-16,0 0 15,14 0-15,-14-1 16,0 1-16,0 0 15,0 0-15,0 0 16,0-1 0,0 1-16,-14 13 15,14-13-15,0 0 16,0-1 0,-13 14-16,13-13 15,0 0-15,-13 13 16,0-13-16,-1 13 15,-12-13 1,13 13-16,-14-14 0,14 14 16,-13-13-16,12 13 0,-25 0 15,-14-13-15,40 13 0,-14-13 16,-13 13-16,1-14 16,12 14-16,14 0 15,-13 0-15,-14-13 0,27 13 16,-14-13-16,1 13 0,-40-13 15,-14-1-15,-12-12 16,12 13-16,-12 0 16,65-1-16,1 14 15,-1 0-15,-26-13 16,27 13-16,-14-13 0,-52 0 16,39-1-1,-265-25 16,239 25-31,39 1 16,-39 0-16,39 13 16,-66-13-16,67 0 0,-54 13 15,53 0-15,-79-14 16,79 14-16,14 0 16,-14 0-16,-39-13 15,-53 13-15,92 0 16,-106-13-16,54 0 15,-40 13 1,65-14-16,1 14 16,40 0-16,-40 0 15,0 0-15,-1 0 16,1 0 0,27-13-16,-28 13 0,1 0 15,0 0-15,40 0 16,-1 0-16,1 13 0,-27-13 15,0 0-15,13 0 16,14 0-16,-14 0 16,27 14-16,-14-14 15,-12 0-15,12 0 16,-12 0-16,25 13 16,-12-13-16,-1 0 15,1 0-15,0 0 16,-14 13-16,0-13 15,14 0 1,12 13 0,-12-13-16,0 14 15,-1-1-15,1-13 16,12 13 0,1-13-16,-13 13 15,12 0-15,1 1 16,-13-1-16,26 0 15,-13 0-15,-1-13 0,1 14 16,0-1-16,0 0 16,-1 0-16,1 1 15,0-14-15,13 13 16,-13-13-16,-1 13 0,1 0 16,0 0-1,0-13-15,0 14 16,-1-1-1,1-13-15,0 13 16,0 0-16,-1-13 16,14 14-16,-13-1 15,0-13-15,13 13 16,-13-13-16,-1 13 0,14 1 16,-13-14-16,13 13 0,-13 0 15,13 0-15,-13 0 0,0 14 16,-1 13-1,14-14-15,-13-13 16,13 0-16,0 1 0,0 25 16,0-12-1,13-1-15,-13 1 0,27-1 16,-14-13-16,53 27 16,0-13-1,14-1-15</inkml:trace>
  <inkml:trace contextRef="#ctx0" brushRef="#br0" timeOffset="14122.83">17727 2117 0,'0'26'0,"0"-13"16,0 1-16,-13 25 15,13 1-15,-13 0 0,-1 39 16,1-39-16,13-1 0,-13 1 15,13-13-15,-13 12 0,13-12 16,-14-1-16,14 1 0,0-14 0,0 13 16,-13 1-16,13-14 0,0 0 15</inkml:trace>
  <inkml:trace contextRef="#ctx0" brushRef="#br0" timeOffset="14861.02">17582 1998 0,'39'-14'0,"1"14"15,-14 0-15,332 0 32,-279 0-32,14 0 0,-14 0 15,0 0-15,14 0 0,0 0 0,-14 0 16,13 0-16,-12 14 0,-1-14 16,-13 0-16,-13 0 0,13 0 0,-13 0 15,-13 0-15,0 0 0,-1 0 0,-25 0 16,12 0-16,1 0 0,-14-14 15,0 14-15,0 0 0,1 0 0,-1 0 16,0 0-16,0 0 0,0 0 16,1 0-16,-1 0 15,-13 14-15,13-14 16,-13 13-16,13-13 16,-13 13-16,0 0 0,14 1 15,-14-1-15,0 0 0,13 0 0,-13 0 16,13 14-16,0-14 0,0 0 0,-13 14 15,14-14-15,-1 13 0,-13-12 16,13 12-16,-13-13 0,13 14 0,-13-14 16,0 14-16,0-14 0,0 13 0,0-13 15,0 1-15,-13 12 0,13-13 0,0 1 16,-13-1-16,13 0 0,-13 0 16,13 1-16,0-1 0,-14 0 15,14 0-15,-13 0 0,13 1 31,-13-14-31,13 13 16,-13-13-16,-14 0 16,14 0-16,0-13 0,-14 13 15,1 0-15,0 0 0,-14-14 0,-13 14 16,0-13-16,-79 0 0,52 0 16,14 13-16,-26-13 0,12 13 15,-12-14-15,-1 14 0,0-13 0,-12 0 16,12 13-16,-13 0 0,14-13 0,-1 13 15,0 0-15,14-14 0,13 14 16,13-13-16,0 13 0,13 0 16,1-13-16,12 13 0,1 0 0,-1-13 15</inkml:trace>
  <inkml:trace contextRef="#ctx0" brushRef="#br0" timeOffset="16026.03">9366 5398 0,'0'26'31,"0"-13"-31,0 0 0,0 14 0,0-1 15,0 1-15,0 12 0,-13-12 16,13-1-16,0 1 0,0-1 0,-13 1 16,13-1-16,0 1 0,-13-14 0,13 13 15,0-12-15,0-1 0,0 0 16,0 0-16,0 1 16</inkml:trace>
  <inkml:trace contextRef="#ctx0" brushRef="#br0" timeOffset="16392.49">9432 5345 0,'14'-14'0,"-1"14"0,27 0 32,-27 14-32,0-1 15,0 0-15,-13 0 16,0 1-16,0-1 0,0 0 0,-13 0 0,13 0 15,-13 1-15,0-1 0,-1 0 16,14 0-16,-13 1 0,-13-1 16,12-13-16,1 13 0,0 0 0,-14 0 15,14-13-15,0 0 16</inkml:trace>
  <inkml:trace contextRef="#ctx0" brushRef="#br0" timeOffset="16630.07">9565 5226 0,'13'79'31,"-13"-53"-31,0 1 0,0 13 0,0-1 16,0 14-16,-13-13 0,13-1 0,0 1 15,0-13-15,0-1 0,-14 1 16,14-1-16,0 0 0,0-12 0,0-1 16,0 0-16,0 0 0,0 1 0,0-1 15,0 0-15</inkml:trace>
  <inkml:trace contextRef="#ctx0" brushRef="#br0" timeOffset="17080.48">9869 5556 0,'-27'-13'16,"54"26"-16,-54-39 0,14 26 15,0 13-15,0-13 0,0 0 16,-14 13-16,14 0 0,0 1 0,-14 12 16,1-13-16,13 14 0,-1-14 0,1 0 15,0 1-15,13-1 0,-13 0 16,13 0-16,0 0 0,13 1 16,0-14-1,0 0-15,1-14 0,-1 14 16,0-13-16,0 0 0,14 0 0,-14 0 15,0-14-15,14 14 0,-14 0 0,0-1 16,0 1-16,0 0 16,1 13-16,-1 0 15,-13 13-15,0 0 16,0 1-16,0-1 16,0 0-16,0 14 15,0-14-15,0 0 0,0 0 0,0 0 16,0 1-16,0-1 0,13-13 15,-13 13-15,13-13 16</inkml:trace>
  <inkml:trace contextRef="#ctx0" brushRef="#br0" timeOffset="17528.82">10200 5530 0,'-53'13'31,"40"0"-31,-14 14 0,14-14 16,0 0-16,-1 14 0,14-14 16,-13 0-16,13 0 0,0 1 0,0-1 15,0 0-15,0 0 0,13 0 16,1-13-16,-1 14 0,0-14 15,0 0-15,1 0 0,12 0 16,-13 0-16,0 0 0,14-14 0,-1 1 16,-12 13-16,12-13 0,-13 0 0,1 0 15,-1-1-15,0 1 0,-13 0 16,13 0-16,0-1 0,-39 28 47,13-1-47,13 0 0,0 0 15,-13 1-15,13-1 0,0 0 16,0 0-16,0 0 16,13 1-16,0-1 0,0-13 15,0 0-15,-13 13 0,14-13 0,-1 0 16,0 0-16,0 0 0,1-13 16,12 13-16,-13 0 0</inkml:trace>
  <inkml:trace contextRef="#ctx0" brushRef="#br0" timeOffset="17962.62">10702 5411 0,'0'-13'31,"-13"39"-31,13-13 0,0 14 0,-13-14 16,13 13-16,-13 14 0,-1-14 0,1 1 15,13-1-15,-13 1 16,13-1-16,-13-12 0,13 12 0,0-13 16,-13 0-16,13 1 0,0-1 0,0 0 15,-14-13-15,14 13 0,27-39 47,-27 13-47,13-1 0,0 1 0,0 0 16,1 0-16,-1 0 0,0 13 15,0-14-15,1 14 0,-1 0 16,0 0-16,0 0 0,1 14 16,-14-1-1,0 0-15,0 0 0,-14 14 16,1-14-16,0-13 0,0 13 16,-1 0-16,1 1 0,0-14 15,0 13-15,-1-13 0,14 13 0,14-26 47,-1 0-47</inkml:trace>
  <inkml:trace contextRef="#ctx0" brushRef="#br0" timeOffset="18231.77">10914 5636 0,'13'13'31,"-26"13"-31,13-12 15,0-1-15,0 0 16,0 0-16,13 0 16,1-13-16,-1 0 0,0 0 15,0 0-15,0 0 0,1 0 0,-1-13 16,0 13-16,0-13 0,-13 0 16,14 0-16,-14-1 0,0-12 15,0 13 1,-27-1-16,14 14 0,-14-13 15,14 13-15,-13 0 0,-1 0 16,1 13-16,-1-13 0,-52 14 16,39-1-16,14-13 0</inkml:trace>
  <inkml:trace contextRef="#ctx0" brushRef="#br0" timeOffset="19184.75">4815 5636 0,'-13'39'16,"13"-25"-16,0-1 16,0 0-16,-13 13 0,13 1 15,0-1-15,-13-12 0,13 12 0,0 1 16,0-14-16,-14 0 0,14 13 0,0-12 16,0-1-16,-13 0 0,13 0 15,13 1 1</inkml:trace>
  <inkml:trace contextRef="#ctx0" brushRef="#br0" timeOffset="19486.21">4762 5543 0,'0'-13'0,"14"0"16,39 13 0,-27 13-1,-13-13-15,1 13 0,12 0 0,-13 0 16,0 1-16,1-1 0,-1 13 16,0 1-16,-13-14 0,0 0 15,0 1-15,0-1 0,0 0 0,-13 0 16,13 0-16,-13 1 0,-1-1 0,1 0 15,0 0-15,0 1 16,0-14-16,-1 13 0,1 0 0,0-13 16,0 13-16,-1 1 0</inkml:trace>
  <inkml:trace contextRef="#ctx0" brushRef="#br0" timeOffset="19665.3">5067 5834 0,'0'13'0,"0"1"15,0-1-15,0 13 16,0-13-16,-13 1 0,13-1 16,0 0-16,-14 0 15,14 1-15</inkml:trace>
  <inkml:trace contextRef="#ctx0" brushRef="#br0" timeOffset="19824.82">5067 5675 0,'-13'-13'15</inkml:trace>
  <inkml:trace contextRef="#ctx0" brushRef="#br0" timeOffset="20102.25">5331 5490 0,'14'27'16,"-14"-14"-16,0 0 16,0 27-16,0-14 0,-14 1 15,14-1-15,0 1 0,0-1 16,0 0-16,0 1 0,0-1 0,0-12 16,0 12-16,0 1 0,0-14 15,0 0-15,0 0 0,14 0 16,-14 1-16,13-1 0,0-13 15,0 0-15,1 0 16,-1 0 0,0-13-16</inkml:trace>
  <inkml:trace contextRef="#ctx0" brushRef="#br0" timeOffset="20360.89">5636 5530 0,'-14'26'32,"1"-13"-32,13 1 0,0 12 15,-13-13-15,13 1 0,0 12 16,0 1-16,0-14 0,0 26 0,0-25 16,0 12-16,13-13 0,0 14 15,-13-1 1,14-26-16,-1 14 0,0 12 15,0-26-15,1 13 16,-1-13-16</inkml:trace>
  <inkml:trace contextRef="#ctx0" brushRef="#br0" timeOffset="20676.16">4551 6165 0,'26'-13'15,"-12"13"-15,12 0 0,0 0 0,14 0 16,13-14-16,0 14 0,-13 0 16,26-13-16,-13 13 0,0 0 0,0 0 15,-1-13-15,1 13 0,40 0 16,-53-13-16,-14 13 0,1 0 16,-1 0-16,-13 0 0,14 0 15</inkml:trace>
  <inkml:trace contextRef="#ctx0" brushRef="#br0" timeOffset="20925.34">4339 6257 0,'66'0'31,"-39"0"-31,-1 0 0,27 0 0,0 0 16,-13-13-16,13 13 0,0 0 16,-1 0-16,1-13 0,40 13 15,-40 0-15,-13 0 0,-1-13 0,-12 13 16,-1 0-16,1 0 0,-1 0 16,-13 0-16,14 0 0,-14 0 0,14 0 15,-14-14-15,0 14 0,13 0 0</inkml:trace>
  <inkml:trace contextRef="#ctx0" brushRef="#br0" timeOffset="21498.62">9393 6072 0,'53'-13'0,"-106"26"0,132-26 16,-52 0-16,12 13 0,14-14 0,0 14 16,0 0-16,13-13 0,0 13 15,14 0-15,-14-13 0,-13 13 0,0 0 16,13 0-16,-13-13 0,0 13 0,0 0 15,-14 0-15,-12 0 0,-1 0 0,1 0 16,-1 0-16,-13 0 0,1 0 16,-1 0-16</inkml:trace>
  <inkml:trace contextRef="#ctx0" brushRef="#br0" timeOffset="21757.3">9379 6125 0,'67'0'0,"-134"0"0,160 0 16,-66 0-16,25 0 0,1 0 0,14 0 16,-1 0-16,0 0 0,0 0 15,-13-13-15,13 13 0,-13 0 0,0 0 16,0 0-16,0 0 0,-14 0 15,1 0-15,-13-13 0,-1 13 16,0 0-16,-12 0 0,-1 0 0,13 0 16,-12 0-16,-1 0 0</inkml:trace>
  <inkml:trace contextRef="#ctx0" brushRef="#br0" timeOffset="28928.94">437 4736 0,'13'79'15,"-13"-52"-15,0-14 0,13 14 16,-13-14-16,0 13 0,0-13 16,0 1-16,0 12 0,0-13 0,13 1 15,-13-1-15,0 0 16,0-39 15,13 12-31,-13-12 16,14 13-16,-1-1 15,-13 1-15,13 13 16,0 0-16,1 0 0,-1 0 16,0 0-16,0 13 0,1 1 15,-1-1 1,0 0-16,0 0 16,-13 1-16,13-14 15,1 13 1</inkml:trace>
  <inkml:trace contextRef="#ctx0" brushRef="#br0" timeOffset="29234.12">807 4987 0,'0'-26'0,"0"-14"31,0 27-31,0 0 16,-13 0-1,0 26 17,13 0-32,0 0 15,13 0-15,-13 1 16,13-14-16,-13 13 15,13-13-15,0 0 0,1 0 16,-1 0-16,0 0 0,0 0 0,1-13 16,12 13-16,-13-14 0,0 14 0</inkml:trace>
  <inkml:trace contextRef="#ctx0" brushRef="#br0" timeOffset="29529.62">1098 4855 0,'0'-13'15,"-13"0"1,0 26-16,-1-13 15,1 0-15,0 13 0,0-13 16,-1 13-16,1-13 16,0 27-16,0-27 0,13 13 0,0 0 15,-14-13-15,14 13 0,0 1 16,14-1 0,-1-13-1,0 0-15,0 0 16,1-13-16,-1 13 15,-13-14-15,13 14 16,0 0-16,-13-13 16,14 13-1,-1 13 1,0-13 0</inkml:trace>
  <inkml:trace contextRef="#ctx0" brushRef="#br0" timeOffset="30080.93">1283 4815 0,'-26'14'31,"26"-1"-15,0 0-16,-13-13 0,13 13 15,0 1-15,0-1 16,0 0-16,13 0 15,0-13 17,0 0-32,0-13 15,1 13-15,-14-13 16,13 13-16,0-13 16,0-1-16,-13 1 15,14 13-15,-14-13 0,0 0 0,13 13 16,-13-14-16,0 1 15,0 0-15,13-14 0,-13 14 16,0 0-16,13 0 0,-13 0 16,0-1-1,0 1-15,0 0 16,0 0 0,14-1-1,-1 41 16,0-14-31,-13 0 16,0 1-16,13-14 0,-13 13 0,0 0 16,0 0-16,13 14 15,-13-14-15,14 0 0,-14 0 16,13 1 0,0-1-16,0-13 15,1 0 1,-1 0-1,0 0-15,0-13 16</inkml:trace>
  <inkml:trace contextRef="#ctx0" brushRef="#br0" timeOffset="30330.16">1693 4749 0,'-13'0'31,"0"0"-31,0 0 0,13 13 16,-14-13-16,14 14 0,-13-1 16,13 0-1,13-13 1,-13 13-16,14-26 16,-1 13-1,0 0-15,-13-13 16,13 13-16,1 0 0,-14-13 15,13 13 1</inkml:trace>
  <inkml:trace contextRef="#ctx0" brushRef="#br0" timeOffset="30943.16">1839 4723 0,'-40'39'31,"27"-25"-15,13-1-16,13 0 16,0-13 15,1-13-15,-1 13-16,0 0 0,0 0 15,1 0 16,-1 0-31,-13-13 16,13 13-16,0 0 16,-13-14-16,13 1 15,1 0-15,-1 13 16,-13-13-16,13 0 16,-13-1-16,13 1 15,-13 0 1,0 0-16,0-1 15,0 1 1,0 0-16,14 26 47,-1 0-47,-13 1 16,0-1-16,13-13 0,-13 13 15,13 0-15,-13 1 0,14-1 16,-1 0-16,0-13 15,-13 13-15,13-13 16,0 0-16,1 0 16,-1 0-16,0 0 15,0 0 1,1 0 0,-1 0-16,-13-13 15,13 13 1</inkml:trace>
  <inkml:trace contextRef="#ctx0" brushRef="#br0" timeOffset="31485.26">2672 4551 0,'-13'0'16,"53"0"15,-27 0-31,0 0 15,0-13-15,1 13 0,-1 0 0,13 0 16,-12-14-16,-1 14 0,0 0 16,0-13-16,14 13 0,-14-13 15</inkml:trace>
  <inkml:trace contextRef="#ctx0" brushRef="#br0" timeOffset="31716.8">2924 4379 0,'66'13'31,"-53"0"-31,0 1 0,0-14 0,1 13 16,-1 13-16,0-13 15,-13 1-15,0-1 0,0 0 16,0 0-16,0 1 0,-13-1 0,0 0 15,13 0-15,0 1 16,-14-14-16</inkml:trace>
  <inkml:trace contextRef="#ctx0" brushRef="#br0" timeOffset="32220.77">3559 4339 0,'-27'0'0,"54"0"0,-67 0 0,27 0 16,-14 13-16,14-13 0,0 0 16,0 0-16,-1 14 0,1-1 15,0-13-15,0 13 16,13 0-16,13 1 0,0 12 15,0-13 1,1 14-16,-1-27 0,0 13 0,0 0 16,0 0-16,1 1 0,-1-1 15,-13 0-15,0 0 0,0 1 16,0-1-16,0 0 0,-13-13 16,-1 13-16,1 0 0,0 1 0,-13-14 15,-1 13-15,1-13 16,12 13-16,1-13 0,-13 0 15,13 0-15,-1 0 16</inkml:trace>
  <inkml:trace contextRef="#ctx0" brushRef="#br0" timeOffset="32785.5">3717 4471 0,'-13'0'0,"-40"27"31,40-14-15,13 0-1,-13 1-15,39-14 47,-13-14-31,1 14-16,-1 0 15,0 0 1,0 0-16,1 14 16,-1-14-16,-13 13 15,13-13-15,0 13 16,1-13-1,-14 13 1,13-26 0,-13 0-16,13 0 15,0 13-15,-13-14 16,13 1-16,1 0 0,-1 0 16,0-1-16,0 14 0,1-13 15,-1 13-15,-13-13 16,13 13-16,0 0 0,1 0 15,-14 13 1,13-13-16,-13 13 16,0 1-16,0-1 15,0 0 1,0 0 0,0 1-16</inkml:trace>
  <inkml:trace contextRef="#ctx0" brushRef="#br0" timeOffset="32914.96">3982 4313 0</inkml:trace>
  <inkml:trace contextRef="#ctx0" brushRef="#br0" timeOffset="33419.53">4141 4286 0,'0'0'16,"0"40"-16,0-27 0,-13 0 0,13 1 15,0-1-15,-14 13 16,14-12-16,0-1 0,0 0 0,0 0 0,14 0 15,-14 1-15,0-1 16,13-13-16,-13 13 0,0 0 0,13-13 16,0 14-16,0-1 0,1-13 15,-14 13-15,13-13 16,0 0-16,-13-13 47,-13 39 15,26-26-46,0 0 0,1 0-16,-1 0 15,0-13-15,0 13 16,-13-13-16,13 0 15,-13-1-15,0 1 16,-13 13-16,13-13 16,-13 0-1,0 13 1,0 13-16,-1-13 16,14 13-1,-13-13-15</inkml:trace>
  <inkml:trace contextRef="#ctx0" brushRef="#br0" timeOffset="33821.91">4419 4445 0,'13'26'31,"-13"-12"-31,0-1 16,0 0-1,0 0-15,0 1 16,0-1 0,13-13-1,0 0 1,0-13 0,1 13-16,-1-14 15,0 14-15,0 0 16,1-13-1</inkml:trace>
  <inkml:trace contextRef="#ctx0" brushRef="#br0" timeOffset="34445.91">4088 4498 0,'-13'0'16,"26"0"-16,-40 0 15,14 0-15,0 13 16,0-13-16,13 13 0,-14-13 16,14 14-16,-13-1 0,13 0 15,-13-13-15,13 13 0,0 1 16,13-1-16,0 0 16,1-13-1,-1 0-15,0 0 0,0 0 16,1 0-16,12 0 0,-13 0 15</inkml:trace>
  <inkml:trace contextRef="#ctx0" brushRef="#br0" timeOffset="35144.83">4458 4551 0,'0'-13'16,"13"-1"-16,1 14 15,-1 0-15,0-13 16,14 13-1,-27 13-15,13-13 0,0 0 16,-13 14-16,13-14 0,1 13 16,-1 0-1,-13 0-15,13-13 16</inkml:trace>
  <inkml:trace contextRef="#ctx0" brushRef="#br0" timeOffset="35544.06">4247 4815 0,'13'14'16,"0"-1"-16,0 0 16,0 14-16,1-14 0,-1 13 0,13 1 15,14 12-15,-13-12 16,-1 13-16,-13-27 15,80 79 17,-93-78-1,13-14-31,-13 13 16</inkml:trace>
  <inkml:trace contextRef="#ctx0" brushRef="#br0" timeOffset="35909.82">4551 5014 0,'13'13'15,"0"0"1,1 1-16,-14-1 16,13-13-16,-13 13 0,13 0 15,0 0-15,0 1 16,-13-1-16,14 0 0,-14 0 15,0 1-15,0-1 16,0 0 0,-14-13-16,14 13 0,-13-13 0,-13 27 15,13-27-15,-14 13 0,14 0 16,-14 0-16,-12 1 0,12-1 16,-12 0-16,12 0 0,-13 1 0,14-1 15</inkml:trace>
  <inkml:trace contextRef="#ctx0" brushRef="#br0" timeOffset="39365.78">304 5861 0,'14'26'0,"-28"-52"0,28 78 0,-14-38 16,0-1-16,0 0 0,0 0 0,0 14 16,0-14-16,0 13 0,0-12 0,0-1 15,0 0-15,0 0 0,0 1 0,0-1 16,0 0-16,0 0 15,13-39 17,-13 13-32,13-1 15,0 1-15,-13 0 0,13 0 0,1 13 16,-1-14-16,0 14 0,0-13 16,14 26-1,-14-13-15,-13 14 0,13-14 16,-13 13-16,13-13 0,1 26 0,-14-12 15,13-14-15,-13 13 0,0 0 16,13 0-16,0 1 16,1-14-1</inkml:trace>
  <inkml:trace contextRef="#ctx0" brushRef="#br0" timeOffset="39710.51">675 6085 0,'0'-13'16,"0"0"-16,0 0 0,0-40 31,0 40-15,-14 13-16,1 13 31,0-13-15,13 13-16,0 0 0,-13-13 0,13 13 15,0 1-15,0-1 16,0 0-16,0 0 16,13 1-16,0-14 15,0 0-15,1 0 16,-1 0-1,0 0-15,0 0 0,1-14 0,-1 14 16,0 0-16</inkml:trace>
  <inkml:trace contextRef="#ctx0" brushRef="#br0" timeOffset="40156.94">966 5940 0,'-14'0'0,"28"0"0,-41 0 15,14 13-15,0-13 16,0 13-16,-1 1 0,14-1 16,-13-13-16,13 13 15,-13 0-15,13 0 16,13-13 0,14-13-1,-14 13 1,-13-13-16,13 13 15,0 0 1,0 0 0,-13 13-1,0 0 1,14-13-16,-14 14 16,13-14-16</inkml:trace>
  <inkml:trace contextRef="#ctx0" brushRef="#br0" timeOffset="40572.04">1111 5887 0,'-13'0'0,"0"26"31,0-26-31,13 14 0,0-1 16,-14 0-16,14 0 0,0 1 15,0-1-15,0 0 0,0 0 16,0 0-16,14 1 16,-1-28-1,0 14-15,0-13 16,0 0-16,-13 0 0,0 0 16,0-1-16,0-12 0,0 13 15,0-14-15,0 1 0,0-1 0,0 1 16,0-1-16,0 14 0,-13 0 0,13 0 15,0-1-15,0 1 0,0 0 16,0 53 0,0-27-1,0 0-15,0 14 0,0-14 0,0 13 16,13 1-16,-13-1 0,14-13 16,-14 14-16,0-14 0,13 0 0,-13 14 15,13-27-15,-13 13 0,13 0 16,1 0-16,-1-13 15</inkml:trace>
  <inkml:trace contextRef="#ctx0" brushRef="#br0" timeOffset="41812.92">1376 5861 0,'-27'26'31,"14"-13"-31,13 0 0,0 1 16,0-1-1,0 0 1,13-13-1,1-13-15,-1 13 0,-13-13 16,13-1-16,0 14 16,-13-13-1,14 13 32,-1 0-31,0 0-1,0 0 1,0 0-16,-13-13 0,14 13 0,-1-13 16,0 13-16,0-13 15,1 13 1,-1 13 0,-13 0-1,0 0 1,13-13-16,-13 13 15,13-13-15,1 0 16,-1 0-16,0 0 16,-13-13-16,13 13 0,0 0 15,-13-13-15,14 0 0,-1 0 16,-13-1-16,0 1 0,0 0 0,13 0 16,-13-14-16,0 14 0,-13-14 15,13 14-15,0-13 0,0 13 0,0-1 16,0 1-16,-13 0 0,13 0 0,0-1 15,0 1-15,0 0 16,0 0-16,0 39 47,0-13-47,0 1 0,0-1 16,0 0-16,13 0 0,-13 1 15,0-1-15,0 0 0,0 0 16,0 0-16,13 1 0,-13-1 0,0 0 15,0 0-15,13-13 0,-13 14 0,0-1 16,0 0-16,14-13 16,-14 13-16,13-13 0,0 0 15,0 0-15,-13-13 16,13 13-16,1-13 0,-1 0 16,-13-1-16,13 14 0,-13-13 15,13 13-15,-13-13 0,0 0 16,14 13-16,-28 26 31,1-13-15,13 1-16,0-1 0,0 0 15,0 0-15,0 1 16,0-1-16,0 0 16,13-13-16,1 13 0,-1-13 15,13-13 1,-12 13-16</inkml:trace>
  <inkml:trace contextRef="#ctx0" brushRef="#br0" timeOffset="42182.12">2077 5821 0,'40'-13'16,"-27"13"-1,0 0-15,0 0 16,1 0-16,-1 0 0,0-14 16,0 14-16,0 0 0,1 0 0,-1 0 15,0-13-15,0 13 0,14-13 16,-14 13-16</inkml:trace>
  <inkml:trace contextRef="#ctx0" brushRef="#br0" timeOffset="42424.7">2249 5622 0,'53'40'31,"-40"-27"-31,0 1 16,1-1-16,-1 0 0,0 0 0,0 0 15,0 1-15,1-1 0,-14 0 16,13 0-16,-13 1 0,0-1 16,-13 0-16,13 0 0,-14 27 15,1-27-15,0 0 0,13 1 0,-13-14 16</inkml:trace>
  <inkml:trace contextRef="#ctx0" brushRef="#br0" timeOffset="45658.07">2725 5517 0,'-13'13'0,"0"-13"0,13 13 0,0 0 16,-13 0-16,13 1 0,0-1 0,-14 0 15,14 0-15,0 1 0,0 12 16,0-13-16,0 1 0,0 12 0,14-13 16,-14 0-16,13 14 0,-13-14 15,13 0-15,-13 1 0,13-1 0,0-13 16,1 13-16,-1-13 0,0 0 15,0 0-15,1 0 0,12 0 0,-13 0 0,14 0 16,-14-13-16,13 13 0,-12-13 16,12-1-16,1 14 0,-14-13 0,0 0 15,0 0-15,0-1 0,1 1 0,-1 0 16,0 0-16,-13 0 0,13-1 16,-13 1-16,14-13 0,-14 12 15,-14 1-15,14 0 0,0 0 16,0-1-16,-13 1 0,0 0 15,0 0-15,13 0 0,-27-1 0,14 14 16,0-13-16,0 13 0,-1-13 0,-12 13 16,13 0-16,-1 0 0,-12 13 15,13-13-15,-14 0 0,-12 13 16,25 1-16,1-14 0,-13 13 0,12-13 16,1 13-16,0-13 0</inkml:trace>
  <inkml:trace contextRef="#ctx0" brushRef="#br0" timeOffset="45920.93">2910 5530 0,'-13'26'0,"0"-13"16,13 1-16,0-1 16,-13 13-16,13-12 0,0-1 0,-13 13 15,13-12-15,-14-1 0,14 13 0</inkml:trace>
  <inkml:trace contextRef="#ctx0" brushRef="#br0" timeOffset="46665.18">2831 6085 0,'-13'40'31,"13"-27"-31,0 1 16,0-1-16,0 0 0,-13 0 16,13 0-16,0 14 0,0-14 0,-14 0 15,14 1-15</inkml:trace>
  <inkml:trace contextRef="#ctx0" brushRef="#br0" timeOffset="46934.85">2858 6032 0,'-27'14'0,"54"-28"0,-54 41 0,14-14 15,0-13-15,13 13 0,-14 1 16,1-1-16,13 0 0,-13 0 0,0 1 16,-1-1-16,1 0 0,0 0 0,0 0 15,0-13-15,13 14 16</inkml:trace>
  <inkml:trace contextRef="#ctx0" brushRef="#br0" timeOffset="47072.93">2738 6125 0,'27'-26'0,"-14"26"0,0-14 15,1 14-15,-1 14 16,0-14-16,0 0 16,1 13-16,-1-13 0,0 0 15,0 0-15,0 13 0,1-13 16,-1 0-16,0 13 0,0-13 15</inkml:trace>
  <inkml:trace contextRef="#ctx0" brushRef="#br0" timeOffset="50951">2805 5768 0,'-14'26'0,"28"-52"0</inkml:trace>
  <inkml:trace contextRef="#ctx0" brushRef="#br0" timeOffset="59169.75">2910 5530 0,'0'-13'47,"-13"39"47,0-13-78,13 0-1,-13 1 1,13-1-16,-13 0 16,13 0-1,-14-13 1,14 14-16,0-1 15,-13-13-15,13 13 16,0 0 0,-13 1-1,13-1 1,-13-13-16,13 13 16,0 0-16,-14 0 31,14 1-16,0-1 17,0 0-17,-13 0 17,13 1-32,0-1 46,0 0-14,13-39 93,-13 12-125,0 1 31,14 13-31,-14-13 16</inkml:trace>
  <inkml:trace contextRef="#ctx0" brushRef="#br0" timeOffset="110871.99">6152 3268 0,'13'0'31,"13"0"-31,-13 0 0,40 0 16,0 0-16,40 0 16,13 0-16,13 0 15,40 0-15,13 0 16,13 0-16,-27 0 15,54 0-15,-53 0 16,26 0-16,-13 0 16,-26 0-16,26 0 15,-27 0-15,14 0 16,0 0-16,-1 0 16,28 0-16,-28 0 15,1 0-15,0 0 16,0 0-16,-54 0 15,14 0 1,1 0-16,-1 0 16,-14 0-16,15 0 15,-1 0-15,-27 0 16,27 0-16,-26 0 16,13 0-16,-14 0 15,14 0-15,-40 0 16,14 0-16,-1 0 15,-26 0-15,-13 0 16,-1 0-16,-12 0 16,-14 0 77,13 0-93,1 0 16,13 0-16,13 0 16,-14 0-16,27 0 15,0 0-15,27 0 16,0 0-16,13 0 16,-14 0-1,14 0-15,-27 0 16,54 0-16,-28 0 15,28 0-15,-1 0 16,-13 0-16,27 0 16,-14 0-16,0 0 15,-13 0-15,-13 0 16,26 0-16,14 0 16,26 0-16,13 0 15,0 0-15,-26 0 16,-13 0-16,-27 0 15,-27 0-15,-26 0 16,27 0-16,-40 0 16,-27 0-16,-12 0 15,-1 0-15,0 0 16,0 0 46,1 0-62,-1 0 32,0 0-17,0 0 1,14 0 0,-14 0-1,0 0-15,14 0 16,12 0-16,14 0 15,0 0-15,26 0 16,-26 0-16,66 0 16,-26 0-16,26 0 15,27 0-15,-14 0 16,66 0-16,-12 0 16,-28 0-16,-12 0 15,-1 0-15,-39 0 16,-26 0-16,12 0 15,-26-27-15,-13 27 16,-13 0-16,0 0 16,-27 0-16,13-13 15,1 13-15,-14 0 16,13 0 0,-12 0 30,12 0-30,-13-13 0,1 13-1,12 0-15,-13 0 16,1 0-16,12-27 16,0 27-1,-12 0-15,12 0 16,14 0-16,-14 0 15,14 0-15,0 0 16,-27 0-16,27 0 16,12 0-16,-12 0 15,13 0-15,0 0 16,0 0-16,26-13 16,-26 13-16,0 0 15,13 0-15,0 0 16,1 0-16,-15 0 15,41 0-15,0 0 16,-40 0-16,13 0 16,-13 0-16,0 0 15,13 0-15,-27 0 16,1 0-16,0 0 16,-14 0-1,14 0-15,-14 0 16,-12 0-16,12 0 15,1 0-15,-1 0 16,0 0-16,14 0 16,66 0-1,-66 0 1,13 0-16,-14 0 16,27 0-16,-13 0 15,-13 0-15,13 0 16,-27 0-16,1 0 15,-1 0-15,1 0 16,-14 0-16,0 0 16,0 0 46,14 0-46,-14 0-1,0 0 1,1 0-16,-1 0 0,13 0 16,-12 0 15,12 0 16,-13 0-32,14 0 1,-14 0 15</inkml:trace>
  <inkml:trace contextRef="#ctx0" brushRef="#br0" timeOffset="113231.97">1204 3850 0,'13'0'62,"40"0"-46,79 26-16,-13-13 16,53 1-16,53 12 15,-53-26-15,40 0 16,26 27-16,-13-27 16,66 0-16,-40 0 15,106 0 1,-65 0-16,-41 0 15,0 0-15,14 0 16,-54 0-16,-39 0 16,-13 0-16,-53 0 15,-53 0-15</inkml:trace>
  <inkml:trace contextRef="#ctx0" brushRef="#br0" timeOffset="117080.93">7633 5636 0,'-13'13'16,"0"0"-16,13 0 15,0 1-15,-13-1 0,13 0 16,0 0-16,0 14 0,-14-1 0,14 1 15,-13-1-15,13 14 0,-13-14 0,13 14 16,-13 0-16,13-1 0,0 1 16,-14 0-16,14-1 0,0 1 0,-13-14 15,13 14-15,0 0 0,0 0 0,-13-1 16,13 1-16,0 0 0,0-1 16,0 1-16,-13 0 0,13-1 0,0 1 15,0 0-15,-14-1 0,14 1 0,0 0 16,0-1-16,-13 1 15,13 0-15,0 13 0,0-14 0,-13 1 16,13 0-16,0 0 0,0-1 0,-13 14 16,13-13-16,0-1 0,-13 1 15,13 0-15,0 0 0,0-1 0,0 1 16,-14 0-16,14-1 0,0 1 0,0 13 16,0-13-16,-13-1 0,13 1 0,0 0 15,0-1-15,-13 1 0,13 13 16,0-13-16,0-1 0,-13 1 0,13 0 15,0 13-15,0-14 0,-14 1 0,14 13 16,0-13-16,-13-1 16,13 1-16,-13 0 0,13 13 0,0-14 15,-13 1-15,13 0 0,0-14 0,-14 14 16,14-1-16,0 1 0,0 0 16,-13 0-16,13-1 0,0 1 0,0 0 15,0-14-15,0 1 0,0 12 0,0 1 16,0-14-16,0 14 0,0 0 15,0-1-15,0 1 0,0 13 16,0-13-16,-13-1 0,13 1 0,0 0 0,0-1 16,0 1-16,0 0 0,-13 0 0,13-1 15,0 14-15,0-13 16,-13-1-16,13 1 0,0 0 0,0 0 16,-14-1-16,14 14 0,0-13 0,0 0 15,0-1-15,0-12 0,0 12 16,0 1-16,0 0 0,0-1 0,0 1 15,0 0-15,0-14 0,14 14 0,-14-14 16,0 1-16,0 13 0,0-1 16,0-12-16,0-1 0,0 1 0,0-1 15,-14 1-15,14 12 16,0-26-16,0 14 0,0-14 16,0 0-16,0 1 0,0-1 0,0 0 15,0 0-15,-13 1 0,0-1 16,0-40 15</inkml:trace>
  <inkml:trace contextRef="#ctx0" brushRef="#br0" timeOffset="118141.05">384 7289 0,'13'80'31,"-13"-54"-31,0-13 0,0 14 16,0-14-16,13 13 0,-13-12 16,0-1-16,0 13 0,0-12 0,0-1 0,0 0 15,0 0-15,0 1 0,0-1 0,13 0 16</inkml:trace>
  <inkml:trace contextRef="#ctx0" brushRef="#br0" timeOffset="118463.93">542 7382 0,'0'26'32,"0"-12"-17,0-1-15,14 13 16,-1-13-16,0 14 0,0-27 15,1 0-15,-1 13 0,0-13 16,0 0-16,0-13 0,1 13 16,-1 0-16,-13-13 0,13 13 0,0-14 0,-13 1 15,0 0-15,14 0 16,-28 0-16,14-1 0,0 1 0,0 0 16,0 0-16,-13-1 0,13 1 0,-13 0 15,0 0-15,-1-1 0,1 14 16,0 0-16,0 0 15,0 0-15,-1 14 0,1-1 16,0-13-16</inkml:trace>
  <inkml:trace contextRef="#ctx0" brushRef="#br0" timeOffset="119068.87">833 7117 0,'0'0'0,"-13"14"31,26 12-31,-13-13 0,0 0 0,0 14 16,0-1-16,14 1 0,-14 12 0,0-12 15,13-1-15,-13 1 0,0-1 16,13 1-16,-13-14 0,0 0 0,0 14 15,13-14-15,-13 0 0,0 0 0,0 1 16,0-1-16,0 0 0,-13-39 47,13 12-47,-13-12 16,13-14-16,-13 1 0,13-1 15,0 13-15,0 1 0,0-1 0,13 1 16,-13 0-16,0 12 0,13 1 0,0 0 15,-13 0-15,14-1 0,-1 14 16,0 0-16,13 0 16,-12 14-16,-14-1 0,13 0 15,-13 0-15,0 1 0,0-1 16,0 0-16,-13 0 0,13 0 0,-14 14 16,14-14-16,-13 0 0,0 1 0,0-14 15,13 13-15,-13 0 0,-1-13 0,1 0 31</inkml:trace>
  <inkml:trace contextRef="#ctx0" brushRef="#br0" timeOffset="119867.55">1124 7131 0,'-26'0'31,"13"0"-31,0 13 0,-1-13 16,14 13-16,-13-13 0,0 13 0,13 0 15,-13 1-15,13-1 0,-14 0 16,14 0-16,0 1 0,0-1 15,0 0-15,14-13 16,-1 0 0,0-13-16,0 0 15,1-1-15,-1 14 16,-13-13 0,13 26-1,0-13 1,0 0-16,-13 14 15,14-14-15,-1-14 16,0 1-16,-13 0 16,13 13-16,-13-13 0,14-1 0,-14-12 15,0 13-15,0-14 0,0 14 0,0-13 16,0 12-16,0-12 0,0-1 16,0 14-16,0 0 0,0 0 15,0 0-15,13-1 0,-13 41 31,0-14-15,0 0-16,0 0 0,13 1 16,-13 12-16,0-13 0,13-13 0,-13 14 15,0-1-15,14-13 0,-14 13 16,13-13-16,0 0 0,0 0 16,0-13-16,1 13 15,-1 0 1,0 0-1,0 13-15,1 0 16,-14 1-16,13-1 0,-13 0 16,13 0-1</inkml:trace>
  <inkml:trace contextRef="#ctx0" brushRef="#br0" timeOffset="119981.53">1561 6826 0,'0'0'0</inkml:trace>
  <inkml:trace contextRef="#ctx0" brushRef="#br0" timeOffset="120172.32">1124 7078 0,'14'-14'31,"-1"1"-31,0 13 0,0-13 16,1 13-16,12-13 0,-13 13 0,14-14 15,-1 14-15,-13-13 0</inkml:trace>
  <inkml:trace contextRef="#ctx0" brushRef="#br0" timeOffset="121059.76">1521 7170 0,'0'13'31,"14"-13"-31,-1 0 15,0-13-15,0 13 16,-13-13-16,14 0 16,-1 0-16,0-1 0,-13 1 15,13 0-15,-13 0 0,13-1 16,-13 1-16,0 0 16,0 0-16,14-1 15,-14 1 1,-14 40 15,14-14-15,0 13-16,14-12 15,-14-1 1,13-13-16,0 13 16,0-26-1,1 13-15,-14-13 16,13 13-16,0 0 15,0 0 1,0 0-16,1 0 16,-1-14-16,0 14 15,0-13 1,1 13-16,-1-13 0,-13 0 16,13 13-16,0-14 0,-13 1 15,14 0-15,-14 0 0,0-14 0,0 14 16,0-13-16,0 12 0,0 1 15,0-13-15,0 12 0,0 1 0,0 0 16,0 0-16,0 0 0,-14 26 31,14 0-15,0 0-16,0 14 0,0-14 0,0 0 16,14 0-16,-14 14 0,0-14 0,0 14 15,13-1 1,-13-13-16,0 0 0</inkml:trace>
  <inkml:trace contextRef="#ctx0" brushRef="#br0" timeOffset="121370.97">1826 7038 0,'0'-13'0,"0"26"0,13-40 15,-13 14-15,13 13 0,-13-13 16,13 0-16,1 0 15,-1 13-15,0-14 0,-13 1 0,13 13 16,0 0-16,1-13 0,-1 13 16,0 0-16,0 0 15,1 0-15,-1 13 16,0-13-16,-13 13 0,13-13 0,1 14 16,-14-1-16,13-13 0,-13 13 15,0 0-15,13 0 0,-13 1 16,0-1-16,0 0 0,0 0 0,-13 1 15,13-1-15,-13 0 16,-1 0-16,1 1 0,0-14 0,0 13 16,-1-13-16,14 13 0,-13-13 0,0 0 15</inkml:trace>
  <inkml:trace contextRef="#ctx0" brushRef="#br0" timeOffset="122984.61">6350 5609 0,'26'-13'31,"-12"13"-31,-1 0 16,0-13-16,-39 26 31,-1-13-15,14 13-16,-13-13 0,-14 13 15,13 1-15,14-14 16,0 13-16,0-13 0,-1 0 0,1 13 0,0-13 15,13 13 17,13 1-32,0-1 0,1-13 0,-1 13 15,0 0-15,14-13 0,-14 13 0,0-13 0,0 14 16,-13-1-16,14-13 16,-14 13-16,0 0 0,0 1 15,-14-1-15,1 0 0,0 0 16,0-13-16,-1 14 0,-12-1 15,13 0-15,-14 0 0,14-13 0,-13 13 16,12-13-16,1 0 0,0 0 0,0 0 16,-1 0-16</inkml:trace>
  <inkml:trace contextRef="#ctx0" brushRef="#br0" timeOffset="123272.01">5953 5530 0,'-13'39'0,"26"-78"0,-39 92 15,26-27-15,0-13 0,-14 27 16,14 0-16,0-1 0,0-12 0,0 13 15,0-1-15,0 1 0,14 0 0,-14-1 16,13-12-16,0 12 16,0-12-16,14-1 0,-1-12 0,-13 12 15,14-26-15,-14 13 0,14-13 0,-1 0 16,1 0-16,12 0 0,1-13 16,0 0-16</inkml:trace>
  <inkml:trace contextRef="#ctx0" brushRef="#br0" timeOffset="123632.04">6482 5358 0,'27'13'0,"-54"-26"0,67 39 0,-27 1 0,14-14 0,-1 13 15,-13 14-15,14-13 16,-14 12-16,14 14 0,-1-13 0,-13 0 15,0-1-15,1 14 0,-14-13 0,0 0 16,0-1-16,0 1 0,-14 0 16,14-1-16,-26-12 0,13 12 0,-14-12 15,14 13-15,-13-27 0,-1 13 0,1-13 16,-1 1-16</inkml:trace>
  <inkml:trace contextRef="#ctx0" brushRef="#br0" timeOffset="124760.08">5517 4882 0,'0'26'47,"0"-13"-47,0 14 0,-14-1 0,14 1 15,-13 12-15,13 1 0,0 0 16,-13-14-16,13 1 0,0-1 0,0-13 16,-13 14-16,13-14 0,0 0 0,0 0 15,0 1 1,0-54-1,0 27-15,0-14 16,0 1-16,13-14 0,0 0 16,-13 1-16,13-14 0,1 13 0,-1 0 15,0 1-15,13-1 0,-12 14 0,-1 12 16,0 1-16,0 0 0,1 0 16,-1 13-16,0 0 0,0 13 15,1-13-15,-1 13 0,0 14 16,-13-14-16,13 0 0,-13 14 0,13-14 0,-13 13 15,0 1-15,0-14 0,0 13 16,0-12-16,0 12 0,0-13 16,0 14-16,0-14 0,-13 0 0,13 0 15,0 1-15,0-1 0,0 0 16,-13-13-16</inkml:trace>
  <inkml:trace contextRef="#ctx0" brushRef="#br0" timeOffset="124939.75">5609 5014 0,'27'0'31,"-14"0"-31,0 0 16,0 0-16,1 0 0,-1 0 0,0 0 15,0 0-15,14 0 0,-14 0 0,0 0 16,0-13-16,1 13 0,-1 0 15</inkml:trace>
  <inkml:trace contextRef="#ctx0" brushRef="#br0" timeOffset="125136.02">5265 4842 0,'-26'53'0,"52"-106"0,-52 119 16,13-40-16,13 1 0,0-1 0,0 14 16,13-13-16,-13 12 0,13-12 15,-13-1-15,13 1 0,0-14 0,1 13 16,-1-12-16,0-1 0</inkml:trace>
  <inkml:trace contextRef="#ctx0" brushRef="#br0" timeOffset="125451.9">5808 4643 0,'39'14'0,"-78"-28"0,105 41 0,-40-14 16,1 0-16,-1 14 0,-13-1 0,14 1 15,-1 12-15,-13-12 16,1-1-16,-1 14 0,0 0 0,-13-14 16,0 1-16,0-1 0,-13 14 0,13-1 15,-27 1-15,14-13 0,-13 12 16,13-12-16,-14-14 0,14 13 0,-14 1 15,14-14-15,0 0 0</inkml:trace>
  <inkml:trace contextRef="#ctx0" brushRef="#br0" timeOffset="126483.81">11576 5411 0,'-40'53'16,"27"-14"-16,-1-25 16,14 12-16,0 0 0,0 1 15,0-14-15,0 14 0,0-1 0,0-13 16,0 14-16,0-14 0,14 13 0,-14-12 15,13-1-15,0 0 0,0 0 16,1 1-16,-1-14 0,-13 13 0,13-13 16,0 0-16,0 0 0</inkml:trace>
  <inkml:trace contextRef="#ctx0" brushRef="#br0" timeOffset="126857.93">11946 5556 0,'-53'13'31,"40"-13"-31,0 14 15,-1-14-15,1 13 16,26 0 0,-13 0-16,14-13 15,-14 14-15,13-14 0,-13 13 16,13 0-16,0 0 0,-13 1 16,0-1-16,0 0 15,0 0-15,0 0 16,-13-13-16,0 14 0,0-1 15,-1-13-15,1 13 16,0-13-16,0 0 16</inkml:trace>
  <inkml:trace contextRef="#ctx0" brushRef="#br0" timeOffset="127187.93">12277 5398 0,'26'13'16,"-52"-26"-16,65 39 0,-25-13 0,-14 0 0,13 1 16,0 12-16,-13 1 0,0-14 0,13 26 15,-26-12-15,13 13 0,-13-14 16,13 14-16,-13-14 0,-1 1 0,1-1 16,0 1-16,0-14 0,-1 13 0,1-12 15,-13-1-15,13-13 0,-1 13 0,-12-13 16,13 0-16,-1 0 0</inkml:trace>
  <inkml:trace contextRef="#ctx0" brushRef="#br0" timeOffset="128323.78">11152 4762 0,'-13'27'15,"0"-14"-15,13 0 16,0 1-16,-14-1 0,14 0 0,-13 0 15,13 14-15,-13-14 0,13 0 0,0 0 16,-13 1-16,13-1 0,0 0 16,0 0-16,-13 1 0,13-1 15,0 0-15,0-39 63,0 12-63,13 1 15,-13 0-15,0 0 0,13-14 0,-13 14 16,13 0-16,-13 0 0,0-14 0,13 14 16,1-14-16,-14 14 0,13-13 15,0 12-15,-13 1 0,13 0 0,1 0 16,-14 0-16,13 13 0,0-14 0,0 14 16,1 0-1,-14 14-15,0-1 16,0 0-16,0 0 0,0 0 15,-14 1-15,14-1 0,0 0 16,0 0-16,0 1 0,0-1 16,14 0-16,-14 0 15,0 1-15,13-14 0,-13 13 16,0 0-16,13 0 0,-13 0 16,-13 1-16,13-1 15,-13-13-15,-1 13 16,1 0-16,0-13 0,0 0 15,-1 14-15</inkml:trace>
  <inkml:trace contextRef="#ctx0" brushRef="#br0" timeOffset="128625.3">10980 4630 0,'0'0'0,"-39"40"16,-1 26-1,13-40-15,14 14 0,0-13 0,0-1 16,13 1-16,0-14 0,-14 13 15,14-13-15,0 14 0,14-14 0,-14 0 16,13 1-16,-13-1 0,13 0 16,0 0-16,1 1 0,-1-14 0,13 13 15,-12-13-15,12 0 0,-13 0 0</inkml:trace>
  <inkml:trace contextRef="#ctx0" brushRef="#br0" timeOffset="128956.55">11390 4485 0,'0'0'0,"14"0"0,-1 13 0,0-13 16,13 26-16,-12-12 0,12 12 0,-13 14 15,1-14-15,-1 1 0,0-1 16,-13 1-16,0-1 0,0 0 16,0 1-16,-13 13 0,13-1 0,-13-12 15,-1 12-15,-12-12 0,-1 13 16,1-1-16,0-12 0,-27 12 0,26-12 15,1-1-15,-1 1 0,1-14 0,-1 14 16</inkml:trace>
  <inkml:trace contextRef="#ctx0" brushRef="#br0" timeOffset="130249.02">4299 6826 0,'0'0'0,"0"40"31,-13-27-15,13 0-16,0 1 0,0-1 15,0 0-15,0 0 0,0 1 0,-13-1 16,13 0-16,0 13 0,0-12 16,-13-1-16,13 0 15,0 0-15</inkml:trace>
  <inkml:trace contextRef="#ctx0" brushRef="#br0" timeOffset="130784.2">4154 6694 0,'-53'26'16,"40"-12"-16,0-1 0,-1 0 16,14 0-16,-26 27 0,13-14 15,-1 1-15,1-1 0,0 14 0,13-13 16,-13 12-16,13-26 0,0 14 0,0-1 16,0 1-16,0-14 0,13 14 0,0-14 15,-13 13-15,27-13 0,-14 1 16,13-1-16,1-13 0,-14 13 15,14-13-15,-1 13 0,0-13 0,1 0 16,-1 0-16,1 0 0,-14 0 0,13-13 16,1 13-16,-14 0 0,14-13 15,-14 13-15,13-13 0,-12-1 0,-1 14 16,0-13-16,0 0 0,0 13 16,1-13-16,-14 0 0,13-1 0,-13-12 15,0 13-15,0-1 0,0-12 0,0-1 16,0 14-16,0-13 0,0-1 15,0 1-15,-13-14 0,-1 14 16,14 12-16,-13-12 0,0 13 0,0 0 16,0-1-16,-1 1 0,1 0 0,0 0 15,-14 13-15,14 0 0,0 0 16,-14 0-16,14 0 0,-13 13 16,13-13-16,-1 13 0,1 0 0,0-13 0</inkml:trace>
  <inkml:trace contextRef="#ctx0" brushRef="#br0" timeOffset="131380.94">4247 7686 0,'0'0'0,"26"-13"0,-13 13 0,14 0 16,-14 13-16,0-13 15,-13 13-15,0 1 16,0-1 0,-13 13-16,13-12 0,-13-1 0,-14 0 15,14 13-15,-13 1 0,-1-14 0,14 0 16,-14 1-16,14-1 0,0 0 0,0-13 16,0 13-16,-1-13 0,14 14 15,-13-14-15,13 13 16,13-13-1,1 0-15,-1 0 0,0-13 16,0 13-16,14 0 0,-14 0 0,13-14 16,1 14-16,-1-13 0,-13 13 0,14-13 15,-1 13-15,-12-13 0,-1-1 16</inkml:trace>
  <inkml:trace contextRef="#ctx0" brushRef="#br0" timeOffset="131768.69">4088 7435 0,'0'0'16,"-53"26"-16,40-13 0,-14 14 16,1-1-16,13 14 0,-14-13 0,14 12 15,0 1-15,-1 0 0,1-1 0,13 14 16,0-13-16,0 0 0,0-1 15,13 1-15,1-14 0,-1 14 0,13-13 16,1-1-16,-1 0 0,1 1 0,12-14 16,-12 0-16,13 1 0,-14-14 15,0 0-15,1 0 0,-1 0 0,1-14 16,12 14-16,-12-13 0,13 0 0,-27 0 16,13-1-16,1 1 0,-14-13 15,0 13-15,0-14 0,1 14 0,-14-27 16,13 14-16,-13-1 0,0-12 0,-13-1 15,13 0-15,-14 1 0,1-1 16,0 0-16,0 14 0,0-1 16,13 1-16,-14 13 0,1-1 0,0 1 15,0 13-15,-1 13 16,1-13-16,0 14 16</inkml:trace>
  <inkml:trace contextRef="#ctx0" brushRef="#br0" timeOffset="132214.17">4061 8546 0,'0'0'0,"27"13"31,-27 0-31,0 1 0,0-1 15,-13 0-15,13 0 0,0 1 16,-14-1-16,14 0 16,0 0-16,0 1 0,14-1 15,-14 0-15,0 0 0,13 0 16,-13 1-16,0-1 16,0 0-16,0 0 15,-13 1-15,-1-14 0,14 13 16,-13-13-16,0 13 0,0-13 15,-1 0-15,1 0 0,0 0 16</inkml:trace>
  <inkml:trace contextRef="#ctx0" brushRef="#br0" timeOffset="132553.29">4008 8414 0,'0'0'0,"-39"13"0,26 0 0,-1 0 15,-12 1-15,13 12 0,-14 1 16,14-1-16,-14 14 0,14-1 0,0 1 16,0 0-16,13-1 0,-13 1 0,13 13 15,13-13-15,0-1 0,0 1 16,0-13-16,14 12 0,13-25 16,-14 12-16,14-13 0,-1 0 0,14 1 15,-26-14-15,26-14 0,-14 14 0,1-13 16,13-13-16,-13-1 0,-1 1 15,-12-1-15,13-12 0,-14 12 0,-13-12 16,0-1-16,-13 0 0,0 0 0,-13-12 16,0-1-16,-13 0 0,-1 0 15,1 0-15,-1 0 0,-13 13 0,14 1 16,0 12-16,12 14 0,-12 0 16,13-1-16,-1 14 0,1-13 15,0 26-15,0 1 0,-14-1 0,14 27 16,0-14-16</inkml:trace>
  <inkml:trace contextRef="#ctx0" brushRef="#br0" timeOffset="132961.5">3995 9604 0,'-13'0'0,"0"0"16,0 14-16,-1-1 0,1 0 15,-13 0-15,12 1 0,1-1 0,0 0 16,0 0-16,-1-13 0,14 13 0,-13 1 16,0-1-16,13 0 15,13 0 1,0 1-16,1-14 0,-1 0 16,0 0-16,14 13 0,-14-13 0,13 0 15,-12 0-15,12 0 16,-13-13-16,14 13 0,-14 0 0,13 0 15,-12-14-15,-1 14 0,0-13 0,0 0 16</inkml:trace>
  <inkml:trace contextRef="#ctx0" brushRef="#br0" timeOffset="133144.64">4128 9538 0,'-27'27'0,"14"-14"0,13 0 15,-13 14-15,13-14 0,-14 13 0,14 14 16,-13-14-16,0 14 0,13 0 0,-13-1 16,-1-12-16,14 13 0,-13-1 15,13-12-15,0-1 0,0 1 0,-13-14 16,13 13-16,0-12 0</inkml:trace>
  <inkml:trace contextRef="#ctx0" brushRef="#br0" timeOffset="133712.62">4075 9287 0,'0'0'0,"-40"0"0,-159 106 31,160-67-31,-1 1 0,14 0 0,-14 13 16,13-14-16,14 14 0,-13 0 16,13 0-16,13-13 0,-14-1 0,14 14 15,0-13-15,14 0 0,-1 13 0,0-14 16,0-12-16,14 13 0,-1-14 16,1 0-16,12-12 0,1-1 15,0 0-15,-1 0 0,1-13 0,0-13 16,-1 13-16,1-13 0,0 0 0,0-1 15,-1-12-15,-12 0 0,12 12 16,-12-12-16,-14-1 0,13 1 0,-12-1 16,-14-12-16,13 12 0,-13 1 0,-13-14 15,-1 0-15,1 1 0,0-14 16,-13 13-16,-1-13 0,1 0 0,-1 0 16,1 14-16,-14-1 0,27 14 0,-14-1 15,14 1-15,0 12 0,0 1 16,-1 13-16,1-13 0,0 26 15,0-13-15,13 13 0,-13 1 0,13 12 16,-14 1-16</inkml:trace>
  <inkml:trace contextRef="#ctx0" brushRef="#br0" timeOffset="134233.04">3956 10702 0,'-27'0'16,"27"14"-16,-13-14 0,0 13 15,-1 0-15,-12-13 0,13 13 0,-1 1 16,1-1-16,0 0 15,0-13-15,13 13 0,13 0 16,-13 1-16,13-14 0,0 13 16,1 0-16,12 0 0,-13 1 15,14-14-15,-14 13 0,0 0 0,1 0 16,-1 1-16,-13-1 0,0 0 0,0 0 16,0 0-16,-13 1 0,-1 12 15,-12 1-15,-14-1 0,14-13 0,-14 14 16,0-14-16,1 0 0,-14 0 0,13 1 15,0-1-15,1-13 0,12 0 16,1-13-16,-1 13 0,14 0 16,0 0-16,-14-14 0</inkml:trace>
  <inkml:trace contextRef="#ctx0" brushRef="#br0" timeOffset="134723.87">3612 10438 0,'-80'79'0,"54"-39"15,-1 13-15,14 0 0,-13 0 0,-1 0 16,14 13-16,0 0 0,-1-13 0,14 13 16,0 0-16,14 0 0,-1-13 15,0 13-15,14-13 0,-1 0 0,14-13 16,-1-1-16,1 1 0,13-13 0,0-1 16,0 1-16,13-14 0,-26-13 15,26 13-15,-26-26 0,12 13 16,15-27-16,-14 14 0,-1-13 0,1-1 15,-13 1-15,13-14 0,-27 0 0,14 1 16,0-1-16,-14 0 0,1-13 16,-14 0-16,0 14 0,0-1 0,-13-13 15,0 0-15,-13-13 0,0 13 0,0-13 16,-14 13-16,1 0 0,-14 13 16,0-12-16,1 25 0,-14-13 0,0 14 15,0 13-15,0-14 0,0 14 0,13 13 16,-12-13-16,12 13 0,0 0 0,0 0 15,1 13-15,-14-13 0,13 0 16,14 0-16,12 13 0,1-26 16,0 13-16</inkml:trace>
  <inkml:trace contextRef="#ctx0" brushRef="#br0" timeOffset="135563.99">8943 6720 0,'-13'27'31,"13"-1"-31,-14-12 16,14-1-16,0 13 0,-13 1 0,13-1 16,0 1-16,0-14 0,0 13 15,0-12-15,-13-1 0,13 0 16,0 0-16,0 0 0,0 1 0,0-1 15</inkml:trace>
  <inkml:trace contextRef="#ctx0" brushRef="#br0" timeOffset="135961.72">8705 6601 0,'-146'186'15,"133"-147"-15,0-12 16,0 12-16,13 1 0,0-13 16,13 12-16,0-12 0,0 12 0,14-12 15,-1-1-15,1 1 0,-1-14 0,1 13 16,12-12-16,-12-1 0,-1-13 15,-13 0-15,14 13 0,-1-13 0,-12-13 16,12 13-16,0-13 0,1-1 16,-1-12-16,1 13 0,-1-14 0,-12 1 15,-1-14-15,0 14 0,-13-14 0,0 14 16,0-14-16,-13-13 0,0 13 16,-1-13-16,-12 0 0,13 14 0,-14 12 15,14 1-15,-14-1 0,14 14 16,0 0-16,-13 0 0,12 13 0,1 0 15,0 0-15,0 13 0,-1 0 0,-12 0 16</inkml:trace>
  <inkml:trace contextRef="#ctx0" brushRef="#br0" timeOffset="136395.6">8916 7752 0,'0'0'0,"27"0"0,-14 14 0,0-14 16,1 0-16,-14 13 0,0 0 15,0 0-15,0 0 0,0 1 0,-14 12 16,-12 1-16,13-1 0,-1 1 16,-12-1-16,13 0 0,-14-12 0,14-1 15,0 0-15,13 0 0,-13-13 0,13 14 16,-14-14-16,14 13 0,14-13 31,12 0-31,-13 0 16,14-13-16,-14 13 0,13-14 0,-12 1 15,12 13-15,1-26 0,-1 12 16,1-12-16,-1 0 0,-13 12 16,0-25-16</inkml:trace>
  <inkml:trace contextRef="#ctx0" brushRef="#br0" timeOffset="136712.06">8877 7567 0,'-252'146'31,"226"-107"-31,-1-12 0,14 12 16,0 1-16,0 0 0,0 13 16,13-14-16,0 1 0,13 0 0,0-1 15,13 1-15,-12-13 0,25-1 0,-12 1 16,13-14-16,-1 0 15,1 0-15,-14-13 0,14 0 0,0 0 16,13-13-16,0-13 0,-14 12 0,14-12 16,-26-14-16,-1 14 0,1-14 15,-1 0-15,-26 1 0,13-14 0,-13 13 16,-13-26-16,0 13 0,0-13 0,-1 13 16,-12 0-16,13 13 0,-1 14 0,-12-1 15,13 1-15,0 13 0,-1-1 16,1 14-16,0 0 0,13 14 0,-13-14 15,-14 13-15,14 13 0</inkml:trace>
  <inkml:trace contextRef="#ctx0" brushRef="#br0" timeOffset="137157.64">8718 8797 0,'26'14'0,"-52"-28"0,66 41 0,-40-14 16,0 0-16,-14 1 0,14-1 16,0 0-16,-13-13 15,13 13-15,0 0 0,0 1 0,13-1 16,1 0-16,-1 0 15,0 1 1,0-1-16,-13 0 16,-13 0-1,13 1-15,-13-14 0,0 0 16,13 13-16,-14-13 0,1 0 0,0 13 16,0-13-16,0 0 0</inkml:trace>
  <inkml:trace contextRef="#ctx0" brushRef="#br0" timeOffset="137628.51">8480 8652 0,'-66'40'0,"132"-80"0,-159 106 0,54-40 0,12 1 15,-13 13-15,14 13 0,13-14 0,-14 14 16,14-13-16,13 0 0,-13-1 15,13 1-15,13 13 0,0-13 0,1-14 16,12 14-16,0-14 0,14 1 0,13-1 16,0-13-16,-13 0 0,26-13 15,-13-13-15,13 0 0,0 0 0,0 0 16,0-14-16,0 1 0,-13-1 16,0-12-16,-13-1 0,0 0 15,-14 14-15,-13-14 0,1 0 0,-14 1 16,0-14-16,-14 13 0,-12-13 0,-1 0 15,1 0-15,0 14 0,-1-14 0,1 26 16,-1 1-16,-13-1 0,14 14 16,0 0-16,-1 13 0,14 0 0,-14 13 15,1-13-15,-1 26 0,1 1 0</inkml:trace>
  <inkml:trace contextRef="#ctx0" brushRef="#br0" timeOffset="138020.1">8599 9975 0,'-27'13'0,"-78"53"32,91-53-32,1 1 0,0-1 15,0 0-15,0 0 0,-1 1 16,14-1-16,0 0 15,14 0-15,-1-13 16,0 13-16,13-13 0,1 0 16,-14 0-16,14 0 0,-1 0 0,0 0 15,1-13-15,-14 13 0,14-13 0,-14 0 16,13 0-16,-12-1 0,-1 1 16</inkml:trace>
  <inkml:trace contextRef="#ctx0" brushRef="#br0" timeOffset="138174.2">8718 9922 0,'-13'0'0,"-14"13"16,14 0-16,0 1 0,0 12 16,13-13-16,-14 27 0,1-14 15,0 1-15,0-1 0,13 1 0,0-1 16,-14 1-16,14-1 0,0 1 0,0-1 16,-13 1-16,13-1 0,0-13 15,0 14-15,0-14 0,0 13 0</inkml:trace>
  <inkml:trace contextRef="#ctx0" brushRef="#br0" timeOffset="138656.97">8731 10888 0,'-26'13'0,"-54"0"31,67-13-31,-13 0 0,12 13 0,1-13 0,0 14 16,0-14-16,0 13 0,13 0 16,13 0-1,0 0 1,0-13-16,0 14 0,-13-1 0,14-13 15,-14 13-15,13-13 0,-13 13 0,0 1 16,-13-1-16,13 0 16,-14 0-16,1 0 0,0 1 0,0-1 15,0-13-15,-1 13 0,1-13 0,0 0 16,0 0-16,-1 0 16,14-13-16</inkml:trace>
  <inkml:trace contextRef="#ctx0" brushRef="#br0" timeOffset="138988.65">8453 10716 0,'-39'13'0,"-67"66"15,79-39 1,-12 0-16,12-1 0,1 1 0,-1 13 16,1 0-16,13 0 0,-1 0 15,1-14-15,13 14 0,0-13 0,13 0 16,1-1-16,-1 1 0,13 0 0,1-14 15,13 1-15,-1-14 0,14 0 16,0-13-16,0 0 0,13-13 0,0 0 16,0-1-16,-13-12 0,53-40 15,-53 39-15,-13-12 16,-14 12-16,-13 1 0,1-14 0,-1 14 16,-13-1-16,0 1 0,-13-14 0,-1 13 15,-12 1-15,0 0 0,-14-14 0,0 13 16,-13 1-16,0 0 0,0 12 15,0-12-15,14 13 0,-1-1 0,0-12 16,1 13-16,-1-1 0,14 1 0,-1 0 16,1-13-16,-14 12 15</inkml:trace>
  <inkml:trace contextRef="#ctx0" brushRef="#br0" timeOffset="139429.31">8321 9459 0,'0'0'0,"-53"40"0,27-14 16,-14 0-16,0 14 0,1 13 0,-1 0 15,0 0-15,14 13 0,-1 0 0,1 0 16,0 0-16,12 14 16,14-14-16,-13 0 0,26 0 0,1 0 15,12-13-15,0 0 0,14 0 0,0-13 16,13-14-16,0 1 0,13-1 16,0-13-16,79-26 0,1-13 15,-1-27-15,-52 13 16,-14 1-16,1-14 0,-14-14 15,0 15-15,-13-1 0,-13-14 0,-27 15 16,13-15-16,-26 1 0,-13 0 0,-13 0 16,-1 0-16,-12 13 0,-1 0 15,-13 0-15,0 13 0,-13 14 16,0-1-16,-14 1 0,14 13 0,0 0 16,13-1-16,-13 14 0,13 0 0,-26 0 15,-1 14-15,-92-1 16,93-13-16</inkml:trace>
  <inkml:trace contextRef="#ctx0" brushRef="#br0" timeOffset="141854.91">1085 7673 0,'0'40'0,"0"26"16,0-53-1,0 0-15,13 14 0,-13-14 0,0 0 16,0 14-16,0-14 0,0 0 16,0 0-16</inkml:trace>
  <inkml:trace contextRef="#ctx0" brushRef="#br0" timeOffset="142373.75">966 7951 0,'0'13'31,"13"0"-16,-13 0-15,13 1 16,-13-1-16,13-13 0,-13 13 16,14 0-16,-14 1 0,13-14 15,0 13-15,0-13 16,1 0-16,-1 0 16,0 0-16,0-13 0,0-1 15,1 1-15,-1 0 0,0-14 0,0 14 16,1 0-16,-14-13 0,13 12 15,0-12-15,0 13 0,-13-1 0,14 1 16,-14 0-16,13 0 0,0-1 16,0 1-16</inkml:trace>
  <inkml:trace contextRef="#ctx0" brushRef="#br0" timeOffset="144132.76">728 8811 0,'13'-14'31,"0"1"-15,-13 0-16,13 0 0,1-1 16,-14 1-16,13 0 0,0-13 0,-13-1 15,13 1-15,-13-1 0,0 1 0,0-1 16,0 1-16,0-1 0,-13 14 16,13-13-16,0 12 0,-13-12 0,13 13 15,0 0-15,-13 13 0,-1 13 31,14 0-31,0 13 0,-13 1 16,13 13-16,13-1 0,-13 14 0,0-13 16,14 13-16,-14 13 0,13-13 0,-13-13 15,13 12-15,0-12 0,-13 0 16,13 0-16,-13-14 0,0 0 0,14 1 16,-14-14-16,0 14 0,0-14 0,-14 0 15,14 0-15,0 1 0,0-1 16,-13-13-16,0 13 15,-13-13-15,12 0 16,1-13-16,0 0 16,0-1-16,-1 14 15,14-13-15,0 0 0,-13 0 16,26-1-16,-13 1 0,0 0 16,14 0-16,-14-1 0,13 1 15,0 0-15,14-13 0,-1-1 0,-13 1 16,14 12-16,-14-12 0,0-1 0,0 14 15,1 0-15,-1-27 16,0 1-16,-13 25 16,0 1-16,0 0 0,0 0 0,0-1 15,0 1-15,-13 13 16,13-13-16,-13 13 0,-1 0 16,14 13-1,-13-13-15,13 13 0,0 1 16,0-1-16,0 0 0,0 0 15,13 1-15,-13-1 0,14 0 16,-1-13-16,-13 13 0,13-13 16,0 14-16,0-14 0,1 0 15,-14 13-15,13-26 0,0 13 16,0-14-16,-13 1 16,0 0-16,0 0 15,0-1-15,0 1 16,0 0-16,0 0 0,0-1 0,0-12 15,0 13 1,0 0 0,14 13-16,-1 13 15,0-13 1,-13 13-16,13 0 0,1-13 0,-14 13 16,13-13-16,-13 14 0,13-14 0,0 13 15,0-13-15,-13 13 16,14-13-16,-1 0 0,0 0 31,-13-13-15,0 0-16,0-1 15,0 1-15,13 0 0,-13 0 16,0 0-16,14-1 0,-14 1 16,0 0-16,13 13 15,-13-13-15,0-1 0,13 14 0,-13-13 16,0 0-1,0 0 1,13 39 47,1-13-48,-1-13-15,0 0 16,0 14-1,0-14-15,-13 13 16,14-13-16,-14 13 0,13 0 31,-13 1-31,0-28 47,13 1-31,-13 0-16,13 0 0,-13-1 15,14 1-15,-14 0 0,13 0 16,-13-1-16,13 1 0,0 13 0,-13-13 16,14 13-16,-1-13 0,0 13 15,0 0 1</inkml:trace>
  <inkml:trace contextRef="#ctx0" brushRef="#br0" timeOffset="147233.81">1217 8639 0,'13'-27'47,"-13"14"-32,0 0 1,0-14 0,0 14-1,-13 39 17,13-12-17,0 12 1,13-13-16,-13 1 15,14-1 1,-1-13 0</inkml:trace>
  <inkml:trace contextRef="#ctx0" brushRef="#br0" timeOffset="147600.9">1310 8546 0,'0'53'15,"0"-40"1,0 0-16,0 14 16,0-14-16,0 0 0,0 1 15,0-1-15,-14-13 0,14 13 0,0 0 16,0-39 31,14 26-47,-14-13 0,0-1 15,13 1-15,0 0 0,-13 0 0,13-1 16,1 1-16,-1 0 16,0 0-16</inkml:trace>
  <inkml:trace contextRef="#ctx0" brushRef="#br0" timeOffset="147721.12">1548 8493 0</inkml:trace>
  <inkml:trace contextRef="#ctx0" brushRef="#br0" timeOffset="158799.96">5146 6204 0,'-13'0'15,"0"0"1,26 14 62,0-14-78,0 0 16,1 13-1,-1-13-15,0-13 0,0 13 16,1 0-16,-1 0 16,0 0-16,0 0 0,0 0 0,1 0 15,-1-14-15,0 14 0,0 0 16</inkml:trace>
  <inkml:trace contextRef="#ctx0" brushRef="#br1" timeOffset="165880.14">6443 4762 0,'-27'0'0,"-13"14"31,27-1-31,0-13 0,13 13 16,-13-13-16,13 13 0,-13-13 15,13 14-15,0-1 0,13-13 16,0 13-16,0-13 16,0 0-16,1 13 0,-1-13 15,0 0-15,0 14 0,1-14 0,-1 13 16,0-13-16,0 0 0,1 13 16,-14 0-1,0 0-15,-14-13 16,1 14-16,13-1 0,-26 0 0,12-13 15,1 13-15,-13-13 0,12 14 16,1-1-16,-13-13 0,13 0 0,-1 13 16,1-13-16,0 0 0</inkml:trace>
  <inkml:trace contextRef="#ctx0" brushRef="#br1" timeOffset="166574.03">6601 4776 0,'-26'0'0,"52"0"0,-65 0 15,25 0 1,1 0-16,13 13 15,-13 0-15,0 0 16,13 1-16,0-1 16,0 0-16,0 0 15,0 1-15,13-14 16,-13 13-16,13-13 16,0 0-16,1 0 15,-14-13-15,13 13 16,-13-14-16,13 1 15,-13 0-15,13 0 16,-13-1 0,0 1-16,0 0 15,14 13-15,-14-13 16,13 13 0,0 0-16,0 0 15,1 13-15,-1-13 0,-13 13 16,13 0-16,-13 1 15,13-14-15,-13 13 0,0 0 16,0 0 0,0-39 31,0 13-32,13 13-15,-13-14 0,0 1 16,14 13-16,-14-13 0,13 0 0,-13-1 15,13 14-15,-13-13 0,13 13 16,1 0 0,-1 0-1,0 0-15,-13 13 0,13 1 16,-13-1-16,13 0 16,-13 0-16,0 1 15,0-1-15,14-13 16,-14 13-16</inkml:trace>
  <inkml:trace contextRef="#ctx0" brushRef="#br1" timeOffset="166725.74">6839 4617 0,'0'0'0,"-13"-13"31</inkml:trace>
  <inkml:trace contextRef="#ctx0" brushRef="#br1" timeOffset="167216.84">6998 4524 0,'13'14'32,"-13"-1"-32,0 0 0,0 14 0,14-14 15,-14 0-15,0 0 0,0 14 16,0-14-16,0 0 0,0 0 0,13 27 31,-13-27-31,0 0 0,0 1 31,-13-14-15,-1 0-16,1 0 16,0 0-1,0 0-15,13 13 0,-13-13 16,-1 13-16,14 0 0,-13-13 16,13 14-16,0-1 15,0 0-15,13-13 0,1 0 16,-1 13-1,-13-26-15,13 13 0,13 0 0,-12 0 16,-1-13-16,0 13 0,0-13 16,1-1-16,-1 14 0,0-13 15,0 0-15,-13 0 0,14-1 16,-14 1-16,0 0 16,-14 0-1,1 26 1,0-13-16,0 0 15,-1 13 1</inkml:trace>
  <inkml:trace contextRef="#ctx0" brushRef="#br1" timeOffset="167900.79">7302 4670 0,'-26'13'31,"13"0"-31,13 1 0,-13-1 0,13 0 16,-14-13-16,14 13 16,0 0-16,0 1 0,0-1 31,14-13-16,-1 0 1,0 0-16,-13-13 0,13 13 0,-13-14 16,13 14-16,-13-26 15,0 13-15,0 0 16,0-1-16,0 1 31,-13 0-31,26 13 31,1 13-15,-1-13 0,0 0-16,-13 13 0,13-13 15,1 14-15,-1-1 16,0 0 0,0-13 15,1-13-31,-1 13 15,0-13 1,0 13 0,0 0-16,1 0 15,-1 0-15,0 0 32</inkml:trace>
  <inkml:trace contextRef="#ctx0" brushRef="#br2" timeOffset="172320.49">12316 4657 0,'0'-14'0,"0"41"32,0-14-17,0 0-15,0 1 0,0-1 0,0 13 16,0-13-16,0 14 0,0-14 0,0 0 16,0 14-16,0-14 0,0 0 15,0 1-15,0-1 0,0 0 0,0 0 16,0 0-16</inkml:trace>
  <inkml:trace contextRef="#ctx0" brushRef="#br2" timeOffset="172641.86">12277 4564 0,'0'-13'0,"53"0"31,-40 13-31,0 0 16,0 13-16,0-13 0,1 13 15,-1 0-15,0 1 0,0-1 0,-13 0 16,0 0-16,0 0 15,-13 1-15,13-1 0,-13 0 16,0 0-16,13 1 0,-14-1 0,1 0 16,0-13-16,0 13 0,0 0 0,-1-13 15,1 0-15,13 14 16</inkml:trace>
  <inkml:trace contextRef="#ctx0" brushRef="#br2" timeOffset="172864.89">12515 4498 0,'0'0'15,"13"0"-15,0 13 16,-13 0 0,0 1-16,0-1 0,13 13 15,-13-12-15,0 12 0,0 0 0,0-12 16,0 12-16,-13-13 0,13 14 15,0-14-15,0 13 0,0-12 0,0-1 16,0 0-16,0 0 0,0 1 16,13-1-16,-13 0 15</inkml:trace>
  <inkml:trace contextRef="#ctx0" brushRef="#br2" timeOffset="173336.25">12859 4670 0,'-13'-13'0,"-14"-1"15,14 28 1,0-14-16,-1 0 0,14 13 16,-13 0-16,0 0 0,0 1 0,-1-1 15,14 0-15,-13-13 0,13 13 0,-13 0 16,13 1-16,0-1 0,0 0 16,13 0-1,14-26-15,-14 0 16,0 13-16,0-13 15,1-1-15,-1 1 0,0 0 16,0 0-16,-13 0 0,0-1 0,14 14 16,-14-13-16,13 13 0,-13-13 15,13 26 17,-26 0-32,13 1 15,0-1-15,0 0 16,0 0-16,0 0 15,13-13-15,-13 14 0</inkml:trace>
  <inkml:trace contextRef="#ctx0" brushRef="#br2" timeOffset="173774.53">13097 4564 0,'-13'-13'0,"-1"26"15,1 0-15,0 1 16,0-1-16,13 0 0,-13 0 16,-1 0-16,14 1 15,0-1-15,-13 0 0,13 0 0,0 1 0,0-1 16,0 0-16,13-13 15,-13 13-15,14-13 16,-1 13-16,0-13 0,13-13 16,-12 13-16,-14-13 0,13 13 15,0-13-15,0 0 16,-13-1-16,14 1 0,-14 0 16,13 13-16,-13-13 0,0-1 15,-13 41 16,-1-27-31,14 13 0,0 0 0,0 1 16,0-1 0,0 0-1,14-13-15,-14 13 16,26-13-16,-13-13 16</inkml:trace>
  <inkml:trace contextRef="#ctx0" brushRef="#br2" timeOffset="174224.09">13467 4405 0,'-13'53'15,"0"-26"1,13-14-16,-13 0 0,13 0 16,0 14-16,-14-14 0,14 14 0,-13-14 15,13 0-15,0 0 0,0 0 0,-13 1 16,13-1-16,0 0 16,0 0-16,13-26 31,0 13-16,-13-13-15,14 13 0,-1-13 16,0-1-16,0 14 0,1-13 16,-1 13-16,0 0 0,0 0 15,0 0 1,-13 13-16,0 1 16,0-1-16,-13 0 15,0 0-15,0-13 16,13 14-16,-13-1 0,-1-13 0,1 0 15,0 13 1</inkml:trace>
  <inkml:trace contextRef="#ctx0" brushRef="#br2" timeOffset="174539.9">13719 4511 0,'-27'27'16,"14"-14"-1,13 0-15,-13-13 0,13 13 16,0 1-16,-14-14 0,14 13 16,0 0-16,14-13 15,-14 13-15,13-13 0,13 0 16,-12-13-1,-1 0 1,-13 0-16,13 13 0,-13-14 16,0 1-16,0 0 0,-13 0 15,13-1-15,-13 1 16,-1 0-16,1 13 16,0 0-16,0 0 0,-1 0 15</inkml:trace>
  <inkml:trace contextRef="#ctx0" brushRef="#br3" timeOffset="182996.73">225 10544 0,'0'-14'0,"0"28"32,13-1-17,-13 0-15,0 0 0,13 14 0,-13-14 16,0 0-16,14 14 0,-14-1 15,13-13-15,-13 14 0,0-14 0,0 0 16,13 14-16,-13-14 0,0 0 0,0 0 16,13 1-16,-13-1 15,-13-26 17,13-14-32,0 14 15,-13-13-15,13-14 0,-13 0 16,13 0-16,0 1 0,-14-1 0,14-13 15,-13 14-15,13 12 0,0 1 0,0-1 16,0 1-16,0 12 0,13 1 16,-13 0-16,0 0 0,0 0 0,0-1 15,14 14-15,-1 0 16,0 14 0,0-1-16,1 0 0,-1 0 0,0 27 15,0-14-15,0 1 0,1-1 0,-1 1 16,0-1-16,-13 1 0,13-1 15,-13-13-15,14 14 0,-14-14 0,13 13 16,-13-12-16,13-1 0,-13 0 0,13 0 16,-13 1-16,13-1 15</inkml:trace>
  <inkml:trace contextRef="#ctx0" brushRef="#br3" timeOffset="183220.96">198 10689 0,'-13'0'0,"40"-26"31,-14 26-31,0-14 0,14 1 16,-14 13-16,13-13 0,1 0 0,-1 0 15,14-1-15,-14 1 0,-12 0 0,12 0 16,0-1-16,-12 1 16</inkml:trace>
  <inkml:trace contextRef="#ctx0" brushRef="#br3" timeOffset="184056.83">635 10067 0,'0'0'16,"-13"-13"-16,0 13 0,-1 13 31,14 1-31,0-1 0,0 13 0,0 1 0,0-1 16,0 14-16,0 13 15,14-13-15,-14-1 0,13 14 0,-13-13 16,13 13-16,0-14 0,-13 1 0,13 0 15,1-1-15,-14-12 0,13-1 16,-13-12-16,13 12 0,-13-13 0,0 1 16,0-1-16,0 0 0,0 0 15,0 0-15,-13-13 16,0 0-16,-1 0 16,1-13-16,0 13 0,0 0 15,13-13-15,-13 13 0,-1-13 0,1 13 16,13-13-1,-13-1-15,13 1 16,0 0-16,0 0 0,0-1 16,13 14-16,-13-13 0,13 0 15,1 0-15,-14-1 0,13 1 0,0 0 16,0 0-16,0 0 0,1-1 0,-1-12 16,-13 13-16,13-1 0,0 1 15,-13 0-15,0-13 0,14 12 0,-14 1 16,0-13-16,0 12 0,13-12 0,-13-1 15,0 1-15,0 0 0,0-1 16,0 14-16,0-14 0,0 14 0,0-13 16,0 12-16,0 1 0,0 0 15,0 0-15,0 0 0,0-1 16,0 1-16,0 53 31,0-14-15,0-13-16,0 14 0,0-1 15,0 1-15,13 26 0,-13-40 16,0 13-16,27 14 16,-27-27-16,13 1 0,-13-1 15,13-13-15,0 13 0,0-13 0,-13 13 16,14-13-16,-1 0 0,0 0 16,-13-13-16,13 13 0,-13-13 15,14 13-15,-14-13 0,0-1 0,13 14 16,-13-13-16,0 0 0,0 0 15,0-1-15,13 41 32,-13-14-17,13-13-15,-13 13 0,13 1 16,1-14-16,-14 13 16,13-13-16,0 0 0,0 0 15,1 0-15,-1-13 16</inkml:trace>
  <inkml:trace contextRef="#ctx0" brushRef="#br3" timeOffset="184247.73">622 10332 0,'39'-13'31,"-25"0"-31,-1 13 0,13-14 0,-12 14 0,-1-13 16,13 13-16,-12-13 0,12 13 15,-13-13-15,0 13 0</inkml:trace>
  <inkml:trace contextRef="#ctx0" brushRef="#br3" timeOffset="184500.92">1019 10186 0,'0'0'15,"13"14"-15,0-1 16,-13 0-16,13 0 0,-13 1 16,0-1-16,14-13 0,-14 13 15,0 0-15,0 1 0,0-1 16,0 0-16,0 0 16,13-39 15,-13 13-16,13-1-15,-13 1 0,0 0 0,13 0 16,-13-1-16,0 1 0,13 0 0,-13 0 16,14-1-16,-1 14 15</inkml:trace>
  <inkml:trace contextRef="#ctx0" brushRef="#br3" timeOffset="185151.92">556 11232 0,'53'-14'31,"-40"28"-31,0-1 0,-13 0 16,13 0-16,-26 0 15,13 1-15,0-1 0,0 0 16,-13 0-16,13 1 0,0-1 0,-13-13 16,13 13-16,0 0 15,-14 1-15,14-1 16,14-26 15,-1 13-31,0 0 16,0-14-16,14 14 0,-14-13 0,0 0 15,14 0-15,-14-1 0,0 14 16,14-13-16,-14 0 0,0 0 0,0-1 16,0 1-16</inkml:trace>
  <inkml:trace contextRef="#ctx0" brushRef="#br3" timeOffset="185505.23">966 10954 0,'0'-13'0,"0"39"31,0-13-31,0 0 16,0 1-16,0 12 0,13-13 0,-13 1 15,0 12-15,13-13 0,-13 0 0,0 1 16,13-1-16,-13 0 0,0 0 15,14 1-15,-14-1 0,0 0 16,-14-13 0,1 0-1,0 0-15,0 0 0,-1 0 16,1 0-16,0 0 16,13 13-16,-13-13 0,0 0 15,-1 14-15,1-1 0,13 0 16,-13-13-16,13 13 0,0 0 15,0 1 1,13-14-16,0 0 0,1 0 16,-1 0-16,0 0 0,13 0 15,-12-14-15,12 1 0,-13 13 16</inkml:trace>
  <inkml:trace contextRef="#ctx0" brushRef="#br3" timeOffset="186325.67">1217 11060 0,'-40'0'16,"27"0"-16,0 13 16,0-13-16,13 13 15,-14 0-15,14 0 16,0 1-1,0-1-15,0 0 16,14-13 0,-1-13-1,0 13-15,-13-13 0,13 13 16,-13-14-16,14 1 0,-14 0 16,13 13-1,-13-13-15,13 13 0,-13-13 16,13 26 31,-13 0-32,14-13 1,-1 0 0,0-13-1,0 0 1,0 13-16,1-14 15,-1 14 1,0 14-16,0-1 16,-13 0-16,14-13 15,-1 13-15,-13 0 0,13 1 0,-13 12 16,13-13-16,-13 1 0,14-1 0,-14 0 16,0 0-16,0 1 0,0-1 15,0 0-15,0 0 0,0 0 0,-14-13 16,14 14-16,-13-1 15,0-26 1,0-14 0,26 14-1,-13 0-15,0 0 0,0-1 16,13 14-16,-13-13 0,0 0 16,13 0-16,-13-1 0,0 1 0,14 0 15,-14 0-15,13-1 0,-13 1 0,13 0 16,-13 0-16,13 0 0,-13-1 15,13 1-15,1 0 16,-14 0-16,13 13 16,0 0-16,0 13 15,-13 0 1,14-13-16,-14 13 16,0 1-16,0-1 0,-14-13 15,14 13-15,0 0 16,-13-13-16,13 13 0,-13-13 15</inkml:trace>
  <inkml:trace contextRef="#ctx0" brushRef="#br3" timeOffset="186440.53">1746 10927 0</inkml:trace>
  <inkml:trace contextRef="#ctx0" brushRef="#br3" timeOffset="188495.74">4630 6972 0,'0'13'47,"0"0"-31,0 0-16,0 1 15,13-14-15,-13 13 16,0 0-1,14-13 1,12 0 0,-13-13-1,14 13-15,-14-13 0,0 13 0,0-14 0,14 14 16,-14-13-16,0 0 16,14 13-16,-14-13 0,0 13 0,1-13 15,-1 13-15,0-14 0,0 14 0,0 0 16,-13-13-16,14 13 0,-1 0 15,-13 13 32,0 14-47</inkml:trace>
  <inkml:trace contextRef="#ctx0" brushRef="#br3" timeOffset="189135.79">4670 7845 0,'0'0'0,"13"-13"32,0 26-17,-13 0 1,0 0-16,0 1 15,0-1-15,0 0 16,0 0-16,0 1 16,14-1-1,12-13 1,-13-13-16,0 13 16,1 0-16,-1-14 0,0 1 15,0 13-15,1-13 0,-1 0 0,0 13 16,0-14-16,1 14 0,-1-13 15,0 0-15,0 13 0,0-13 16,1 13-16,-1-14 16,0 28 15</inkml:trace>
  <inkml:trace contextRef="#ctx0" brushRef="#br3" timeOffset="189784.7">4710 8639 0,'0'13'31,"0"0"-16,0 0-15,0 1 16,0-1-16,13 0 16,0-13-1,0 0 1,0-13-16,1 13 16,-1-13-16,0 13 0,0-14 0,1 14 15,-1-13-15,0 0 0,0 13 16,1-13-16,-1 13 0,0-14 0,0 1 15,0 13-15,-13-13 0,14 13 16,-1 0-16,-13-13 0,13 13 16,0-14-1</inkml:trace>
  <inkml:trace contextRef="#ctx0" brushRef="#br3" timeOffset="190547.6">4604 9882 0,'0'0'0,"-27"13"31,27 1-15,-13-1-16,13 0 0,-13 0 15,13 1-15,-13-1 0,13 13 0,-14-13 0,1 14 16,13-14-16,-13 0 0,0 1 16,13-1-16,-14 0 0,14 0 0,-13 1 15,13-1-15,-13-13 0</inkml:trace>
  <inkml:trace contextRef="#ctx0" brushRef="#br3" timeOffset="190809.87">4419 9948 0,'13'27'31,"0"-27"-31,0 13 16,-13 0-16,13-13 0,-13 13 15,14 1-15,-1-1 0,0 0 16,0 0-16,1-13 0,-14 14 0,13-1 16,0-13-16,0 13 0,1-13 0,-1 13 15,0 1-15,0-1 16</inkml:trace>
  <inkml:trace contextRef="#ctx0" brushRef="#br3" timeOffset="191368.84">4829 10901 0,'0'-13'0,"-14"13"16,1 13-1,0 0 1,13 0-16,-13-13 15,-1 14-15,14-1 0,-13 0 0,0-13 16,13 13-16,-13 0 0,0 1 0,-1-1 16,1 0-16,0 0 15</inkml:trace>
  <inkml:trace contextRef="#ctx0" brushRef="#br3" timeOffset="191631.67">4657 10941 0,'13'0'0,"13"13"31,-12-13-31,-1 13 0,0-13 16,0 13-16,0-13 0,1 0 15,-1 13-15,0-13 16,0 0-16,-13 14 0,14-14 0,-1 13 16,0-13-16,0 13 0,1-13 15,-14 13 1,13-13-16</inkml:trace>
  <inkml:trace contextRef="#ctx0" brushRef="#br3" timeOffset="193417.02">9260 6747 0,'0'26'47,"0"-12"-32,0 12 1,0-13-16,0 0 16,0 1-16,0-1 15,14-13-15,-1 0 16,13 0 0,-12 0-16,-1-13 0,13 13 15,-13-14-15,14 1 0,-14 13 0,14-13 16,-14 0-16,13 0 0,1-1 15,-14 14-15,13-13 0,-12 0 0,12 13 16,-13-13-16,1-1 0,-1 14 0,-13-13 16,13 13-16,0 0 0,-13-13 15,14 13-15,-14 13 32,0 0-17</inkml:trace>
  <inkml:trace contextRef="#ctx0" brushRef="#br3" timeOffset="194052.37">9379 7805 0,'14'27'47,"-14"-14"-47,0 0 16,13-13-16,-13 13 15,13-13-15,0 0 16,1 0-1,-1 0-15,0-13 0,0 13 16,1-13-16,-1 0 0,0-1 0,13 14 16,-12-13-16,-1 0 0,0 0 0,14 0 15,-14 13-15,0-14 0,0 1 16,1 13-16,-1-13 16,-13 39-1</inkml:trace>
  <inkml:trace contextRef="#ctx0" brushRef="#br3" timeOffset="194696.69">9287 8890 0,'0'0'0,"0"26"47,0-12-47,13-14 0,-13 13 0,0 0 16,13 0-16,1 1 31,-1-14-31,0 0 15,0 0-15,0-14 16,1 14-16,-1-13 0,0 0 16,0 13-16,1-13 0,-1-1 0,0 14 15,0-13-15,1 13 0,-1-13 0,0 13 16,0-13-16,0 0 16,1 13-16,-1 0 0,-13-14 15,13 14-15,-13-13 16</inkml:trace>
  <inkml:trace contextRef="#ctx0" brushRef="#br3" timeOffset="195427.22">9604 10054 0,'0'-13'0,"-13"39"32,0-12-17,13-1-15,0 0 0,-13 0 0,-1 1 0,14-1 16,-13 0-16,13 0 0,-13 0 0,13 1 16,-13-1-16,13 0 0,-13-13 15,13 13-15,-14-13 0,14 14 16</inkml:trace>
  <inkml:trace contextRef="#ctx0" brushRef="#br3" timeOffset="195652.53">9459 10107 0,'26'27'31,"-12"-14"-31,-14 0 16,13-13-16,-13 13 0,13-13 0,-13 13 15,13 1-15,0-1 0,1 0 16,-1 0-16,-13 1 16,13-14-16</inkml:trace>
  <inkml:trace contextRef="#ctx0" brushRef="#br3" timeOffset="196156.83">9499 10941 0,'0'0'15,"-27"13"1,14 0-16,0 0 16,13 0-16,-14 1 15,1-1-15,13 0 0,-13 0 0,0 1 16,-1-1-16,1 0 0,13 0 16,-13 0-16</inkml:trace>
  <inkml:trace contextRef="#ctx0" brushRef="#br3" timeOffset="196444.46">9247 10980 0,'40'13'0,"-27"1"16,0-14-16,1 13 0,-1-13 0,0 13 16,0-13-16,0 13 0,14-13 0,-14 14 15,0-14-15,1 13 16,12 0-16,-13-13 0,1 13 0,-1-13 15,0 13-15</inkml:trace>
  <inkml:trace contextRef="#ctx0" brushRef="#br3" timeOffset="198100.81">9406 11099 0,'-27'13'15,"27"1"-15,-13-14 0,13 13 0,-13-13 16,13 13-16,-13-13 0,0 13 16,-1 1-16</inkml:trace>
  <inkml:trace contextRef="#ctx0" brushRef="#br3" timeOffset="-207474.81">3770 11919 0,'-13'14'31,"13"-1"-16,0 0-15,0 0 0,-13 1 0,13-1 16,0 13-16,-13-12 0,13-1 0,0 13 16,-14-13-16,14 14 0,0-14 0,0 0 15,0 1-15,0 12 0,0-13 16,14 14-16,-14-14 16,13 0-16,-13 0 15,13-13-15,0 0 0,1 14 0,-1-14 16,0 0-16,0 13 0,0-13 15,14 0-15,-14 0 0,14 0 0,12 0 16,-12 0-16,-1 13 0,14-26 16,13 26-16,-13-13 0,79-13 15,-67 13-15,68 0 0,-54 0 16,13-13-16,-13 13 0,0 0 16,14 0-16,-14-14 0,13 14 0,1 0 15,-1 0-15,0-13 0,1 13 0,-1 0 16,-13 0-16,14 0 0,-1 0 0,0 0 15,14-13-15,-14 13 0,1 0 16,12 0-16,1 0 0,-14 0 0,14 0 16,-14-13-16,1 13 0,-1 0 15,0 0-15,1 0 0,-1 0 16,1 0-16,-1 0 0,0 0 0,1 0 16,-1-13-16,-13 13 0,0 0 0,-13 0 15,13 0-15,-13 0 0,0 0 16,0 0-16,0 0 0,0 0 0,-13 0 15,13 0-15,-14 0 0,1 0 0,0 0 16,-14-14-16,1 14 0,-1 0 0,1 0 16,-14 0-16,13-13 0,-13 13 15,1 0-15,-1 0 0,0-13 16,0 13-16,1-13 0,-1-1 16,0 14-16,-13-13 0,13 13 15,-13-13-15,13 0 0,1-1 0,-14 1 16,13-13-16,-13 13 0,13-14 0,-13 1 15,13-1-15,1 1 0,-14-1 16,13 14-16,-13-13 0,13-14 16,-13 27-16,13-1 0,-13 1 0,0 0 15,0 0 1,-13 13-16</inkml:trace>
  <inkml:trace contextRef="#ctx0" brushRef="#br3" timeOffset="-206312.57">5146 12621 0,'13'-14'0,"1"14"16,-1 0-1,0 14-15,-13-1 16,0 0-16,-13 0 16,13 1-16,-13-1 0,-1 0 15,14 0-15,-13-13 0,13 13 16,-13 1-16,0-14 0,13 13 16,13 0-1,0-13-15,0 0 16,-13 13-16,14-13 0,-1 14 15,0-14-15,-13 13 0,13-13 0,-13 13 16,0 0-16,0 1 0,0-1 16,0 0-16,-13-13 0,0 13 15,0 0-15,-1 1 0,-12-1 16,13 0-16,-14-13 0,14 13 0,0-13 0,0 0 16,-14 14-16,14-14 0,0 0 15,-1 0-15,14-14 0,-13 14 16</inkml:trace>
  <inkml:trace contextRef="#ctx0" brushRef="#br3" timeOffset="-205659.15">5450 12687 0,'14'13'31,"-1"0"-15,0 0-16,0 1 16,1-14-16,-14 13 15,13-13-15,0 0 0,0 0 16,0 0-16,1 0 0,12-13 16,-13-1-16,1 14 15,-14-13-15,13 13 0,-13-13 16,13 0-16,-39 39 31,12-13-15,14 1-16,-13 12 0,0-13 15,0 14-15,-67 118 32,67-145-17,13 14-15,13-1 16</inkml:trace>
  <inkml:trace contextRef="#ctx0" brushRef="#br3" timeOffset="-205229.92">5728 12859 0,'13'-40'15,"-26"80"-15,26-93 0,1 40 0,-14-1 16,0 1 0,-14 0-16,1 26 31,0 0-31,13 1 16,0-1-16,-13-13 0,13 13 15,0 0-15,0 1 0,-13-14 0,13 13 16,0 0-16,13 0 0,0 0 15,0-13 1,14 0-16,-14 0 16,0-13-16,14 0 15,-14 0-15,13-14 16,-12 27-16,-14-13 16,13 13-16,-13-13 0,13 13 15,0 0-15,0 0 16,-13 13-16,14-13 0,-14 13 15,13 1-15,-13-1 16,0 0-16,0 0 0,0 0 16,-13 1-16,13-1 0,-14 0 15,1 0-15,0 1 16</inkml:trace>
  <inkml:trace contextRef="#ctx0" brushRef="#br3" timeOffset="-204891.88">5292 13189 0,'26'0'16,"-52"0"-16,65 0 0,14 0 0,-13 0 15,-14-13-15,14 13 0,13-13 0,0 13 16,40-13-16,-54 0 15,1 13-15,13-14 0,-27 14 16,-12 0-16,-1 0 0,0 0 16,0 0-16</inkml:trace>
  <inkml:trace contextRef="#ctx0" brushRef="#br3" timeOffset="-204665.94">5252 13295 0,'-13'0'0,"145"-13"47,-92 13-47,13-13 0,-14 13 16,14-13-16,40-1 0,-14 1 16,-26 0-1,0 0-15,0-14 47</inkml:trace>
  <inkml:trace contextRef="#ctx0" brushRef="#br3" timeOffset="-198522.6">7104 4987 0,'-13'0'31,"13"27"1,-13-14-17,13 0-15,0 14 16,0-14-16,0 13 0,0 1 0,0-1 16,0 14-16,0 0 0,-14-1 0,14 1 15,0 0-15,-13 0 0,13 12 16,-13-12-16,0 0 0,13-1 0,-14 1 15,14 0-15,-13-14 0,0 1 0,13-1 16,-13 1-16,13-14 0,0 13 16,-13-12-16,13-1 0,0 0 0,0 0 15,0 1-15,-14-14 0,14 13 0,0 0 16,0 0 0,0 0-16,-13-13 15,13 14-15,0-1 16</inkml:trace>
  <inkml:trace contextRef="#ctx0" brushRef="#br3" timeOffset="-197830.92">6906 5702 0,'0'39'63,"0"-25"-63,0-1 16,0 0-16,0 0 0,0 1 0,0 12 15,0-13-15,0 1 0,0-1 0,0 0 16,0 0-16,-14 0 0,14 1 15,0-1-15,0 0 0,0 0 0,0 1 16,0-1 0,14 0-16,-1-26 31,0 13-31,0 0 0,1-13 16,-1-1-16,13 14 0,-26-13 15,13 13-15,1-13 0,-1 13 16,0-13-16,0 13 0,1-14 15,-1 14-15,0-13 16,0 13 0,1-13-1,-1 13 32,-13-13 16,13 13-32</inkml:trace>
  <inkml:trace contextRef="#ctx0" brushRef="#br3" timeOffset="-195083.1">6244 4617 0,'-26'66'15,"26"-39"-15,0 12 0,-14 1 16,14 0-16,0-1 0,-13 1 0,13 13 16,0-13-16,0-1 0,0-12 15,0 12-15,0-25 0,0 12 0,0-13 16,0 14-16,0-14 0,13 0 0,-13 1 16,0-1-16</inkml:trace>
  <inkml:trace contextRef="#ctx0" brushRef="#br3" timeOffset="-194217.89">6112 4498 0,'40'-13'0,"-80"26"0,106-26 16,-40-1-16,14 14 0,0-13 15,13 0-15,0 0 0,26 13 0,-13-13 16,0-1-16,14 1 0,-1 0 0,0 0 16,14-1-16,-14 1 0,14 0 15,-14 0-15,1 13 0,-1-14 0,-13 1 16,-13 13-16,-13-13 0,13 13 0,-27 0 15,27-13-15,-40 13 0,14 0 16,-14 0-16,0 0 16,1 0-16,-1 13 0,0-13 15,-13 13-15,0 0 16,13-13-16,-13 14 16,0-1-16,0 13 0,0-12 0,0 12 15,0 1-15,0-1 0,0 14 0,0-14 0,0 1 16,0-1-16,0 14 0,0-14 15,0 1-15,0-1 0,0 1 0,14-14 16,-14 13-16,0-13 0,0 1 0,0 12 16,0-13-16,0 1 0,0-1 15,0 0-15,0 0 0,0 1 16,0-1-16,-14 0 0,1 0 16,13 0-16,-13-13 15,0 0-15,-1 14 0,1-14 16,-13 0-16,-1 13 0,14-13 0,-27 0 15,14 0-15,-27 0 0,0 13 0,0-13 16,0 0-16,0 13 0,-13-13 16,0 14-16,0-14 0,-14 13 0,14 0 15,0 0-15,-13 1 0,13-1 0,13 0 16,0-13-16,0 13 0,0 0 16,13-13-16,1 14 0,-1-14 15,13 0-15,1 13 0,0-13 0,12 0 0,1 0 16,0 13-16,0-13 15,-1 0-15,1 0 0,0 0 0,0 0 16,-1 13 0,1-13-1,13 14 1,-13-14 78,39-14-47</inkml:trace>
  <inkml:trace contextRef="#ctx0" brushRef="#br3" timeOffset="-193400.07">12025 4432 0,'14'92'31,"-14"-52"-31,0 13 0,0-13 16,0 13-16,0-14 0,0 14 0,0-13 0,0 0 15,0-1-15,0 1 0,0-14 16,0 1-16,0-1 0,0-12 15,0 12-15,0-13 0,0 0 0,0 1 16,13-14-16,-13 13 0</inkml:trace>
  <inkml:trace contextRef="#ctx0" brushRef="#br3" timeOffset="-192466.88">11959 4379 0,'0'0'15,"13"-13"-15,1 13 16,12 0-16,1-14 0,-1 14 0,14-13 15,13 13-15,13-13 0,0 0 0,13-1 16,1 1-16,-1 13 0,14-13 16,-1 0-16,1 0 0,26-1 0,-26 1 15,-1 0-15,1 13 0,-1-13 16,1-1-16,-14 1 0,14 13 0,-27-13 16,13 0-16,-12 0 0,-15 13 15,1-14-15,-13 14 0,0 0 0,-14-13 16,1 13-16,-14 0 0,0 0 15,14 0-15,-14-13 0,0 13 0,0 0 16,1 0-16,-1 0 16,0 0-16,0 0 15,-13 13 1,13-13-16,-13 13 0,0 1 16,0-1-16,0 0 0,0 0 15,0 14-15,0-1 0,0 1 16,0-1-16,0 0 0,0 1 0,-13 13 15,13-1-15,0 1 0,0 0 0,0-14 16,0 1-16,0-1 0,0 1 16,0-1-16,0 0 0,13 1 0,-13-14 15,0 14-15,0-14 0,0 0 0,0 0 16,0 0-16,0 1 0,0-1 16,0 0-16,-13-13 0,13 13 0,0 1 15,-13-1-15,0-13 0,13 13 0,-13-13 16,-14 13-16,14-13 0,-14 14 15,1-14-15,-1 0 0,1 13 0,-14-13 16,14 0-16,-27 0 0,13 13 0,-13-13 16,0 0-16,0 13 15,1-13-15,-15 0 0,-12 13 0,13-13 16,0 14-16,-14-14 0,14 13 0,-13-13 16,13 13-16,0-13 0,-1 13 0,15-13 15,-1 0-15,0 0 16,0 14-16,13-14 0,-13 0 0,27 0 15,-14 13-15,14-13 0,-14 0 0,-79 0 32,92 0-32,1 0 0,-1 13 0,1-13 15,13 0-15,-14 0 0,14 0 0,0 0 0,-14 0 16,14 0-16,0 0 16,0 0-16,-1 0 0,1 0 0,0 0 15,0 0-15,13 13 0,-13-13 0,-1 0 16,1 0-16,0 0 0,0 0 15,-1 14-15,1-14 16,0 0-16,0 0 31,-1 0-15,14 13-16,27-13 16</inkml:trace>
  <inkml:trace contextRef="#ctx0" brushRef="#br3" timeOffset="-191912.36">14261 4630 0,'40'0'32,"-27"0"-32,0 0 0,0 0 15,14 0-15,-14 0 0,14 0 0,-1 0 0,0 0 16,-12-13-16,12 13 15,1 0-15,-14 0 0,13 0 0,-12 0 16,-1-13-16</inkml:trace>
  <inkml:trace contextRef="#ctx0" brushRef="#br3" timeOffset="-191678.25">14565 4498 0,'14'-13'16,"25"26"-1,-26-13-15,1 13 16,-1 0-16,0 1 0,0-1 0,1 0 16,-14 0-16,13 14 0,-13-14 15,0 0-15,0 0 0,0 14 16,-13-14-16,-1 0 0,14 1 0,-13 12 16,0-13-16,0-13 0,-1 13 0,1 1 15,0-1-15,0-13 16</inkml:trace>
  <inkml:trace contextRef="#ctx0" brushRef="#br3" timeOffset="-189628.87">15280 4260 0,'0'26'31,"0"-13"-31,0 14 0,-14-1 0,14 1 16,0-1-16,0 1 0,0 12 15,-13-12-15,13-1 0,0 1 0,0-1 16,0-12-16,-13 12 0,13-13 0,0 0 16,0 14-16,0-14 0,0 0 0</inkml:trace>
  <inkml:trace contextRef="#ctx0" brushRef="#br3" timeOffset="-188841.1">15068 4617 0,'0'0'0,"-13"0"32,26-26-32,0 26 0,0-14 15,1 14-15,12 0 0,1-13 16,-1 13-16,1-13 0,-1 13 0,0-13 16,1 13-16,-1 0 0,1-14 0,-14 14 15,14 0-15,-14-13 0,0 13 16,0 0-16,0 0 0,1-13 15,-1 13-15,0 0 16,-53 0 15,27 0-15,0 13-16,0-13 0,0 13 16,-1-13-16,1 14 15,0-1-15,0 0 0,13 0 16,0 1-1,13-14-15,0 0 16,0 0-16,1 0 16,-1 0-16,-13-14 0,13 14 15,0 0-15,0-13 16,1 13-16,-1 13 16,-13 1-1,0-1 1,13-13-16,-13 13 0,13-13 15,1 0 1,-1 0-16,-13-13 16,13 13-16,-13-13 0,13 13 15,-13-14-15,0 1 0,14 0 0,-14 0 16,0-14-16,0 14 0,0-14 0,0 1 16,0 0-16,0 12 0,0-12 15,0 13-15,0-1 0,0 1 0,0 0 16,0 0-16,-14 39 31,1-13-31,13 1 0,-13-1 16,13 0-16,0 14 0,-13-14 0,13 0 15,0 0-15,0 0 16,13 1-16,-13-1 16,13-13-16,0 0 0,1 0 15,-1 0-15,0 0 0,0 13 16,0-13-1,1 13-15,-14 1 16,0-1-16,-14-13 0,14 13 16,-13 0-16,0 1 0,0-1 15,0 0-15,-1 0 16</inkml:trace>
  <inkml:trace contextRef="#ctx0" brushRef="#br3" timeOffset="-188138.82">15716 4617 0,'13'-13'0,"-26"26"0,26-39 0,1 26 15,-14-14-15,13 14 0,0-13 0,-13 0 16,13 13-16,-13-13 0,14 13 16,-14-14-16,0 1 15,0 0-15,-14 13 16,1 0-1,0 0 1,13 13-16,-13-13 0,-1 13 16,14 1-16,-13-14 0,13 13 0,0 0 15,0 0-15,0 1 16,0-1-16,13-13 16,1 13-16,-1-13 15,0-13-15,0 13 0,1 0 0,-1-13 16,0 13-16,0-14 0,1 1 15,-1 0-15,0 0 0,13-1 16,-12-25-16,-1 12 0,0 1 0,0-1 0,1 14 16,-1-13-16,-13 12 0,13 1 15,-13 0-15,0 0 0,0-1 16,13 14-16,-13-13 0,-13 40 16,0-14-1,0 0-15,13 0 0,-14 14 16,1-14-16,13 14 0,-13-14 0,13 13 15,-13-13-15,13 1 0,0-1 0,0 0 16,0 0-16,0 1 0,0-1 16</inkml:trace>
  <inkml:trace contextRef="#ctx0" brushRef="#br3" timeOffset="-187909.78">16166 4313 0,'-40'39'16,"40"-25"-16,0-1 15,-13 0-15,13 0 0,0 1 16,-13-1-16,13 0 0,0 0 0,-13 0 15,13 1-15,0-1 0,0 0 0</inkml:trace>
  <inkml:trace contextRef="#ctx0" brushRef="#br3" timeOffset="-187743.75">15981 4524 0,'-13'0'15,"39"-13"1,-13 0 0,1 13-16,-1-13 0,13 13 0,-13 0 15,1-14-15,12 14 0,-13-13 0,14 13 16</inkml:trace>
  <inkml:trace contextRef="#ctx0" brushRef="#br3" timeOffset="-187581.79">16391 4471 0,'-13'-26'63</inkml:trace>
  <inkml:trace contextRef="#ctx0" brushRef="#br3" timeOffset="-180708.53">4895 6496 0,'-13'-14'16,"-1"14"-1,1 0 1,0 0-16,0 0 15,-1 14-15,1-14 0,0 0 0,0 13 16,-1-13-16,1 13 0,0-13 16,13 13-16,-13-13 0,13 13 15,0 1-15,13-1 16,0 0-16,0-13 16,-13 13-16,14-13 0,-1 0 0,0 14 15,0-14-15,-13 13 0,14-13 16,-14 13-16,0 0 15,0 1 1,-14-14-16,14 13 0,-13-13 16,0 13-16,0-13 0,-1 13 0,1-13 15,0 0-15,0 13 16,0-13-16,-1 0 0</inkml:trace>
  <inkml:trace contextRef="#ctx0" brushRef="#br3" timeOffset="-180380.12">5040 6443 0,'0'0'0,"0"39"32,0-25-32,0-1 15,0 0-15,0 0 0,0 0 16,0 1-16,0-1 0,-13-13 0,13 13 16,0 0-16,0 1 15,0-1-15,0 0 16,0 0-1,-13-13-15,0 0 16</inkml:trace>
  <inkml:trace contextRef="#ctx0" brushRef="#br3" timeOffset="-179577.02">5940 6363 0,'-27'13'15,"14"-13"-15,0 0 16,0 14-16,0-14 0,-1 0 15,1 13-15,0-13 0,0 0 16,13 13-16,-14-13 0,1 13 0,0-13 16,13 14-16,-13-14 0,13 13 15,-14 0-15,28-13 16,-14 13-16,13-13 16,-13 14-16,13-14 0,0 0 15,-13 13-15,14-13 0,-1 0 0,0 0 16,-13 13-16,13-13 0,1 0 0,-14 13 15,13-13-15,0 13 16,-13 1 0,-13-1-16,13 0 0,-13-13 15,-1 13-15,1-13 0,13 14 16,-13-14-16,0 0 0,13 13 16,-14-13-16,1 0 15,0 0-15</inkml:trace>
  <inkml:trace contextRef="#ctx0" brushRef="#br3" timeOffset="-179116.96">6019 6403 0,'13'0'0,"-26"0"0,40 0 16,-1 0-16,-13 13 15,-13 0 1,14 1-16,-28-1 15,14 0-15,-13 0 0,0 1 16,13 12-16,-13-26 0,-1 13 0,1 0 16,13 1-16,-13-14 0,0 13 0,0 0 15,13 0 1,-14-13-16,41 14 31,-14-28-15,0 14-16,0 0 0,1 0 0,-1 0 15,13 0-15,-12-13 0,-1 13 0,0 0 16,0 0-16,1 0 16,-1-13-16,0 26 15</inkml:trace>
  <inkml:trace contextRef="#ctx0" brushRef="#br3" timeOffset="-177940">5847 7064 0,'14'14'15,"-1"-1"1,-13 0-16,0 0 16,13 1-16,-13-1 0,0 0 0,0 0 15,0 0-15,13-13 16,-13 14-16,13-1 15,14-13 1,-27-13-16,13 13 0,0-14 16,1 14-16,-1-13 0,13 13 15,-13-13-15,1 13 0,-1-13 0,0 0 16,0 13-16,1 0 0,-1-14 0,0 14 0,0 0 16,1 14-1,-14-1-15,13-13 0,-13 13 16,-13 0-16</inkml:trace>
  <inkml:trace contextRef="#ctx0" brushRef="#br3" timeOffset="-177532.86">5993 7620 0,'0'13'31,"0"0"-31,0 1 15,0-1-15,0 0 0,0 0 16,0 1-16,13-1 16,-13 0-1,13-13-15,0 0 16,1-13-16,-1 13 0,0 0 16,0-13-16,1-1 0,-1 14 15,0-13-15,0 13 0,1-13 0,12 0 16,-13 13-16,0-14 0,1 14 0,-1-13 15,0 13-15,0 13 16</inkml:trace>
  <inkml:trace contextRef="#ctx0" brushRef="#br3" timeOffset="-177043.65">5847 8480 0,'-13'66'15,"13"-53"1,0 0-16,0 1 0,0-1 0,13 0 16,-13 0-16,0 1 15,0-1-15,14-13 0,-1 13 16,0-13-16,13-13 16,-12 13-16,-1 0 15,0-13-15,14-1 0,-14 1 0,0 0 16,13 13-16,-12-13 0,-1-1 15,0 14-15,0-13 0</inkml:trace>
  <inkml:trace contextRef="#ctx0" brushRef="#br3" timeOffset="-176516.04">5781 9750 0,'0'26'15,"0"-12"-15,0-1 0,0 0 0,0 0 16,0 0-16,0 1 0,13-14 16,-13 13-16,14 0 15,-1-13-15,0 0 16,0 0-16,1 0 0,-1-13 16,0 13-16,0-13 0,0 13 0,1-14 15,-1 1-15,0 13 0,14-13 16,-14 0-16,0 0 0,0 13 15,0-14-15,1 14 0,-1 0 16,-13 14 0</inkml:trace>
  <inkml:trace contextRef="#ctx0" brushRef="#br3" timeOffset="-175867.05">5781 10702 0,'0'27'0,"0"-14"15,-13 0-15,13 1 16,0-1-16,0 0 0,0 0 15,0 0-15,13 1 0,-13-1 16,13 0 0,1-13-16,12 0 15,1 0 1,-14 0-16,0-13 16,0 13-16,0 0 0,1-13 15,-1 13-15,0-14 0,0 14 0,1-13 16,-1 13-16,0 0 0,0-13 0,0 13 15,1-13-15,-1 13 0,0 0 16,-13-13-16,13 13 0,1 0 0,-1-14 16,0 14-16,0 0 15,1 0 1,-1 0 0,0 0 15,0-13 0,-26 0 0</inkml:trace>
  <inkml:trace contextRef="#ctx0" brushRef="#br3" timeOffset="-173911.55">10504 6654 0,'-13'27'16,"26"-14"-16,-13 0 15,0 0-15,13 1 0,-13-1 16,13-13-16,1 0 16,-1 0-16,0 0 0,0 0 15,1 0-15,-1-13 0,0 13 16,13-14-16,-12 14 0,-1-13 16,0 13-16,-13-13 0,13 13 0,1-13 15,-1 13-15,0-13 16,0 13-16,1 13 15,-14 0 1</inkml:trace>
  <inkml:trace contextRef="#ctx0" brushRef="#br3" timeOffset="-173574.67">10636 7448 0,'-13'0'0,"-40"93"31,40-67-15,-14 1-16,14-14 0,0 13 0,0-13 15,0 1-15,-1-1 0</inkml:trace>
  <inkml:trace contextRef="#ctx0" brushRef="#br3" timeOffset="-173388.9">10411 7527 0,'27'14'15,"-27"-1"1,13-13-16,-13 13 0,13 0 15,1 1-15,-1-14 0,13 13 0,-13 0 16,1 0-16,12-13 0,-13 13 0,14-13 16,-14 14-16,0-1 0</inkml:trace>
  <inkml:trace contextRef="#ctx0" brushRef="#br3" timeOffset="-173027.8">10610 8559 0,'-27'27'0,"27"-14"16,-13-13-16,13 13 0,-13 0 0,0 14 15,-1-14-15,1 14 0,13-14 16,-26 13-16,13 1 0,-1-14 0</inkml:trace>
  <inkml:trace contextRef="#ctx0" brushRef="#br3" timeOffset="-172818.76">10411 8678 0,'27'14'15,"-27"-1"-15,13 0 0,0 0 0,1 0 16,-1-13-16,0 14 0,0-1 16,0 0-16,14 0 0,-14 14 0,0-14 15,1-13-15,-1 13 0,13 1 0,-13-1 16</inkml:trace>
  <inkml:trace contextRef="#ctx0" brushRef="#br3" timeOffset="-172449.05">10676 9723 0,'-40'40'0,"80"-80"0,-93 93 0,53-39 16,-13 12-16,0-13 0,-1 14 0,1-14 16,0 13-16,13-12 0,-13 12 15,-1-13-15,1 14 0,0-14 16</inkml:trace>
  <inkml:trace contextRef="#ctx0" brushRef="#br3" timeOffset="-172211.16">10411 9909 0,'27'39'31,"-14"-39"-31,0 14 0,1-1 16,-1 0-16,0 0 0,13 0 16,-12 1-16,12-1 0,-13 0 0,14 0 15,-14 1-15,13-14 0,-12 13 16,-1 0-16,0-13 0,0 13 0,1-13 16,-14 14-16,13-1 0</inkml:trace>
  <inkml:trace contextRef="#ctx0" brushRef="#br3" timeOffset="-171943.12">10676 10729 0,'-27'26'15,"-12"40"1,26-39-16,-1-1 0,1 1 16,0-1-16,0 1 0,-1-14 0,1 13 15,13-12-15,-13-1 0,0 0 16</inkml:trace>
  <inkml:trace contextRef="#ctx0" brushRef="#br3" timeOffset="-171743.72">10385 10888 0,'40'13'16,"-27"0"-16,13 0 15,-12 1-15,12-1 0,0 0 0,1 0 16,-1 0-16,1 1 0,-14-14 0,13 13 16,-12-13-16,12 13 0,-13-13 15,1 0-15,-1 0 0,0 0 16</inkml:trace>
  <inkml:trace contextRef="#ctx0" brushRef="#br3" timeOffset="-171198.76">10570 9948 0,'-26'14'16,"12"-1"-1,1 0-15,13 0 16,-13 14-16,0-14 0,0 0 16,-1 14-16,1-14 0,0 13 0,13-12 15,-13-1-15,-1 13 0,14-13 0</inkml:trace>
  <inkml:trace contextRef="#ctx0" brushRef="#br3" timeOffset="-166907.62">9353 6324 0,'0'-14'15,"-13"14"1,0 0-16,-1 14 0,1-14 16,0 13-16,0-13 0,-14 13 0,14-13 15,13 13-15,-13 0 0,0-13 0,-1 0 16,14 14-16,-13-1 15,26-13 1,1 0-16,-1 0 0,0 0 16,0 0-16,0 0 0,1 13 15,-1-13-15,0 0 0,0 0 16,1 0-16,-14 13 0,13-13 0,-13 14 16,0-1-1,-13 0-15,-1 0 0,1 1 16,0-1-16,0-13 15,-14 13-15,27 0 0,-13-13 16,0 0-16</inkml:trace>
  <inkml:trace contextRef="#ctx0" brushRef="#br3" timeOffset="-166723.12">9446 6310 0,'13'14'16,"0"-1"-16,-13 0 16,-13 0-16,13 0 0,0 1 0,0-1 15,-13 0-15,13 0 0,0 14 0,-14-14 16,1 0-16,13 1 0,0-1 16,0 0-16</inkml:trace>
  <inkml:trace contextRef="#ctx0" brushRef="#br3" timeOffset="-166090.72">10702 6244 0,'-26'0'0,"13"0"0,-1 0 16,1 0-16,13 13 16,-13-13-1,26 14 1,-13-1-16,13-13 0,1 13 16,-1 0-1,0-13-15,-13 14 0,13-14 16,1 13-16,-14 0 15,-14 0 1,14 0-16,-13-13 16,0 0-16,0 14 0,-1-14 15,1 13-15,0-13 0,0 0 0,0 13 16,-1-13-16,1 13 0,0-13 16,0 0-16</inkml:trace>
  <inkml:trace contextRef="#ctx0" brushRef="#br3" timeOffset="-165762.09">10835 6218 0,'13'0'0,"-26"0"0,39 0 0,-13 13 16,-13 0-16,0 14 15,-13-14 1,13 0-16,-13 0 0,0 1 0,13-1 16,-14 0-16,1 0 15,13 0-15,-13-13 0,13 14 0,0-1 16,0 0 0,13-13-16,0 0 15,1 0-15,-1 0 16,0 0-16,0 0 0,1 0 15,-1 0-15,0-13 0,0 13 16,1 0-16,12 0 16</inkml:trace>
  <inkml:trace contextRef="#ctx0" brushRef="#br3" timeOffset="-160872.72">9856 12528 0,'-27'0'32,"14"13"-32,0-13 15,0 13-15,-1-13 0,1 14 16,0-14-16,0 13 0,-1 0 15,14 0-15,0 1 16,0-1 0,14 0-1,-1-13-15,0 13 0,0 1 16,1-14-16,-14 13 16,13-13-16,-13 13 15,0 0-15,-13 0 0,-1 1 16,14-1-16,-13 0 15,0 0-15,0-13 0,-14 14 16,14-1-16,0 0 0,0-13 0,-1 13 16,1-13-16,0 14 0,0-14 15,-1 0-15</inkml:trace>
  <inkml:trace contextRef="#ctx0" brushRef="#br3" timeOffset="-160552.02">10001 12554 0,'13'0'0,"1"14"16,-14-1 0,0 0-16,-14 0 0,1 14 0,0-14 15,0 14-15,-14-1 0,14 0 0,0 1 16,0-14-16,-1 14 15,1-14-15,0 0 0,13 0 16,0 1-16,-13-14 0,13 13 0,0 0 16,13 0-1,0-13-15,0 0 0,1 0 16,-1 0-16,0 0 0,14 0 16,-14 0-16,0 0 0,0-13 15,0 13-15,1 0 0,-1 0 16,0-13-16,0 13 0,1 0 0,-1 0 15,-13-13-15</inkml:trace>
  <inkml:trace contextRef="#ctx0" brushRef="#br3" timeOffset="-160306.93">10319 12687 0,'26'0'15,"-13"-13"1,1 13-16,-1 0 0,0 13 16,0-13-16,14 0 0,-14 0 0,0 0 15,1 0-15,-1 0 0,0 0 0,0 0 16,0 0-16</inkml:trace>
  <inkml:trace contextRef="#ctx0" brushRef="#br3" timeOffset="-160063.95">10491 12541 0,'39'0'16,"-25"0"-1,-1 13-15,0 1 0,0-1 16,1-13-16,-14 13 0,13 0 0,0 14 16,-13-14-16,0 0 0,0 1 15,-13 12-15,13-13 0,-13 14 0,-14-1 16,14 1-16,-14-1 0,1-13 0,0 14 16,12-14-16,-12 0 0,-1 0 15,14 1-15,0-1 0,-14-13 16,14 13-16</inkml:trace>
  <inkml:trace contextRef="#ctx0" brushRef="#br3" timeOffset="-159124.36">11258 12488 0,'0'14'15,"-13"-1"-15,13 0 0,0 13 16,-13-12-16,13 12 0,-14 1 0,14 12 15,-13-12-15,13 12 0,-13-12 16,0-1-16,-1 1 0,14-14 0,0 0 16,-13 14-16,13-14 0,0 0 15,-13-13-15,39-13 32,-26 0-32,0-14 15,14 14-15,-14-27 0,13 1 16,-13-1-16,13 0 0,0 1 0,-13-1 15,14 0-15,-1 14 0,0-14 16,0 27-16,0-14 0,1 14 0,-14 0 16,13 0-16,0 13 0,0 0 15,1 0-15,-1 0 16,0 13-16,-13 0 0,13 0 16,-13 1-16,0-1 0,-13 0 15,13 0-15,0 1 0,-13-1 0,0 0 16,-1 13-16,1-12 0,0-1 15,0 0-15,-1 0 0,1 1 0,0-14 16,13 13-16,-13 0 0,0 0 0,-1-13 16,1 14-16,13-1 15</inkml:trace>
  <inkml:trace contextRef="#ctx0" brushRef="#br3" timeOffset="-158958.72">11443 12621 0,'13'0'0,"-13"13"16,0 0-16,0 0 15,0 1-15,0-1 0,0 0 16,0 0-16,-13 0 0,13 1 0,0-1 16,-13 0-16,13 0 0,0 1 15</inkml:trace>
  <inkml:trace contextRef="#ctx0" brushRef="#br3" timeOffset="-158803.72">11549 12528 0,'-13'-13'31,"0"26"-31,-1-13 15</inkml:trace>
  <inkml:trace contextRef="#ctx0" brushRef="#br3" timeOffset="-158581.52">11708 12382 0,'-13'14'16,"-1"-1"-16,14 0 0,-13 0 0,13 14 16,0-1-16,-13 1 0,0-1 15,13 14-15,-14-14 0,1 1 0,13-1 16,0 1-16,-13-14 0,13 13 16,-13-12-16,13-1 0,0 0 0,0 0 15</inkml:trace>
  <inkml:trace contextRef="#ctx0" brushRef="#br3" timeOffset="-158359.12">11893 12382 0,'-13'27'15,"13"-14"1,-13 0-16,13 14 0,-14-14 15,14 14-15,-13-1 0,13 0 0,-13 1 16,13-1-16,-13 1 0,-1-1 16,14-12-16,0-1 0,0 0 0,0 0 15,-13 0-15,13 1 0,0-1 0,0 0 16</inkml:trace>
  <inkml:trace contextRef="#ctx0" brushRef="#br3" timeOffset="-158159.91">12224 12621 0,'-13'13'0,"13"0"15,-14 53 16,14-53-31,-13 1 16</inkml:trace>
  <inkml:trace contextRef="#ctx0" brushRef="#br3" timeOffset="-157943.72">12171 12435 0,'-13'0'0,"13"-13"16,-14 40-1</inkml:trace>
  <inkml:trace contextRef="#ctx0" brushRef="#br3" timeOffset="-157665.39">12396 12594 0,'-14'0'31,"14"13"-31,0 1 0,14-1 16,-14 0-16,0 0 15,0 1-15,0 12 16,0-13-16,-14 0 0,1 1 16,0-1-1,0-13-15,0 13 0,-1-13 16,1 0-16,0 13 0,0-26 15</inkml:trace>
  <inkml:trace contextRef="#ctx0" brushRef="#br3" timeOffset="-157092.72">12951 12581 0,'-13'13'47,"13"0"-47,0 1 16,0-1-16,0 0 15,13 0 1,1-13-16,-1 0 16,0 0-16,0 0 15,1 0 1,-1 0-16,0 0 0,0 0 16,0 0-16,1 0 15,-1 0 1,-13-13-16,13 13 0,0 0 15,-13-13-15,14 13 16,-14-13-16,0-1 16,13 1-16,-13 0 15,13 13 1,0 0 0</inkml:trace>
  <inkml:trace contextRef="#ctx0" brushRef="#br3" timeOffset="-156622.9">13335 12581 0,'-13'40'32,"26"-27"-17,-13 0-15,13-13 16,0 0-16,-13 13 0,14-13 15,-1 0-15,0 0 16,0-13 0,-13 0-16,0 0 15,-13-1-15,13 1 16,-13 0-16,13 0 16,-13 13-16,13-14 15,13 14 1,0 0-16,0 0 15,1 14-15,-1-14 0,0 13 16,0 0-16,1 0 0,-1-13 0,0 14 16,-13-1-16,13 0 15,0 0-15,-13 1 0,14-1 16,-14 0 15,13-39-15,-13 12-16,13 14 15,-13-13-15,0 0 0,13 0 16,-13-1-16,14 1 0,-14 0 16,13 0-16,-13-1 0,13 1 0,-13 0 15,13 0-15</inkml:trace>
  <inkml:trace contextRef="#ctx0" brushRef="#br3" timeOffset="-156456.02">13772 12343 0,'-14'53'16,"14"-40"0,0 0-16,-13 14 0,13-14 0,-13 0 15,13 0-15,-13 14 0,13-14 0,0 0 16,-14 0-16,14 1 0,0-1 16,0 0-16</inkml:trace>
  <inkml:trace contextRef="#ctx0" brushRef="#br3" timeOffset="-156107.05">13930 12488 0,'-26'-13'16,"-1"26"-16,14-13 16,0 14-16,0-14 0,-1 13 15,1 0-15,0-13 0,0 13 0,0 0 16,13 1-16,-14-14 0,14 13 15,0 0-15,0 0 0,0 1 16,14-1-16,-1-13 16,0 0-16,0 0 15,0 0-15,1 0 0,-1-13 0,13 13 16,-12-14-16,12 14 16,-13-13-16,1 13 0,-1 0 0,-13-13 15,13 13-15,0 0 0,0 13 31,-26 0-15,13 1-16,0-1 0,0 0 16,-13-13-16,13 13 15,0 1-15,-13-1 16</inkml:trace>
  <inkml:trace contextRef="#ctx0" brushRef="#br3" timeOffset="-155648.28">14155 12554 0,'-13'14'0,"0"-1"31,13 0-31,0 0 16,13-26 31,0 13-47,0-13 16,1 13-1,-1 0 1,0 0-16,0 0 15,1 0 1</inkml:trace>
  <inkml:trace contextRef="#ctx0" brushRef="#br3" timeOffset="-155388.15">14327 12541 0,'13'0'0,"-26"27"31,0-14-15,13 0-16,-13 0 0,13 1 16,-13 12-16,-1-13 0,1 1 15,0-1-15,0 0 0,13 0 0,-14 0 16,1 1-16,0-14 16,13 13-16,-13-40 31,26 14-31,0 0 15,0 0-15,1 0 0,-1-1 0,0 14 16,0-13-16,1 0 0,-1 0 16,0-1-16,0 14 0,0-13 0</inkml:trace>
  <inkml:trace contextRef="#ctx0" brushRef="#br3" timeOffset="-155133.96">15161 12660 0,'-14'14'0,"28"-28"0,-41 41 15,27-14-15,-13-13 16,0 13-16,13 0 16,-14-13-16,14 14 0</inkml:trace>
  <inkml:trace contextRef="#ctx0" brushRef="#br3" timeOffset="-154576.91">15412 12422 0,'-13'53'0,"13"-40"16,0 1-16,-13-1 0,-1 13 0,14-13 0,-13 1 15,13-1-15,0 0 0,-13 0 0,13 1 16,0-1-16,0 0 0,0 0 15,0 1-15,13-14 0,-13 13 16,13-13-16,1 0 0,-14 13 16,13-13-16,0 0 0,0 0 15,0-13-15,1 13 16,-14-13-16,0-1 16,-14 1-1,1 13-15,0-13 16,0 13-16,0-13 0,-1 13 0,1 0 15,0 0-15,0-14 0,-1 14 16,1-13 0,40 13-1,-14 0-15,0-13 0,0 13 16,1 0-16,-1 0 0,13 0 16,-13-13-16,1 13 0,12 0 15,-13 0-15,1 0 0,-1 0 0</inkml:trace>
  <inkml:trace contextRef="#ctx0" brushRef="#br3" timeOffset="-154282.87">15081 12541 0,'0'-13'0</inkml:trace>
  <inkml:trace contextRef="#ctx0" brushRef="#br3" timeOffset="-154000.22">15875 12634 0,'13'13'0,"-13"0"15,13 1 1,-13-1-16,0 0 16,0 0-16,0 0 0,0 1 15</inkml:trace>
  <inkml:trace contextRef="#ctx0" brushRef="#br3" timeOffset="-153823.95">15901 12462 0,'0'0'0,"-13"0"0</inkml:trace>
  <inkml:trace contextRef="#ctx0" brushRef="#br3" timeOffset="-153591.99">16113 12607 0,'0'14'0,"0"-28"0,0 41 15,0-14-15,0 0 16,0 1-16,13-1 16,-26-13-16,13 13 0,0 0 0,-13-13 15,13 13-15,-13-13 16,-1 14-16,1-14 0,13 13 0,-13-13 16,0 0-16,0 0 0,-1 13 0</inkml:trace>
  <inkml:trace contextRef="#ctx0" brushRef="#br3" timeOffset="-152103.58">17013 12475 0,'0'-13'0,"-53"39"31,40-12-31,-1-14 0,14 13 16,-13 0-16,0 0 0,0 14 15,13-14-15,0 0 0,-14 0 0,14 1 16,0-1-16,14 0 0,-14 0 16,13 1-16,0-14 15,0 13-15,1-13 16,-1 0-16,0-13 0,0 13 15,-13-14-15,13 14 0,1-13 16,-1 0-16,0 13 0,-13-13 16,13 13-16,-13-14 15,14 1 1,-1 26 15,-13 1-31,13-1 16,-13 0-1,13-13-15,-13 13 16,14-13-16,-1 0 16,0 0-1,0 0-15,0-13 0,1 13 16,-1-13-16,-13 0 16,13 13-16,-13-14 0,13 14 15,-13-13-15,14 13 16,-14-13-16,13 13 15,0 13 1,0 0 0,-13 1-1,0-1-15,14 0 32,-14 0-17,13-39 16,0 26-31,0-13 16,0 13-16,-13-14 16,14 14-16,-1 0 15,0 0-15,0 0 16,1 14-16,-14-1 16,13-13-1,-13 13-15,0 0 16,26-26 31,-26 0-47,13 0 15,-13-1-15,14 14 0,-1-13 16,0 13-16,0-13 16,1 13-16,-1 0 15,0 0-15,0 0 16,1 0-16,-14 13 15,13-13-15,-13 13 16,13 1-16,-13-1 0,-13 0 16,13 0-16,0 1 15,-13-14 1,13 13-16</inkml:trace>
  <inkml:trace contextRef="#ctx0" brushRef="#br3" timeOffset="-151980.22">17595 12462 0</inkml:trace>
  <inkml:trace contextRef="#ctx0" brushRef="#br3" timeOffset="-151399.93">17793 12568 0,'-13'0'31,"13"13"-31,0 0 0,-13-13 16,13 13-1,0 1 1,13-14 31,13-14-32,-12 1-15,-1 13 16,0-13-16,0 13 0,1-13 16,-1 13-16,0 0 0,-13-14 15,13 14-15,1 0 16,-1 0 0,-13 14-1,0-1-15,0 0 16,0 0-16,0 1 0,-13-1 15,13 13-15,-14-12 0,14-1 0,-13 13 16,0-13-16,13 1 0,-13-1 0,-1 0 16,14 0-16,-13 1 0,13-1 15,-13-13-15,0 13 16,26-39 0,-13 12-16,13 1 15,0 0-15,1 0 16,-1-1-16,13 1 0,14-13 15,-27 13-15,14-14 0,26 14 16,-40 0-16,13-1 0,1 1 16</inkml:trace>
  <inkml:trace contextRef="#ctx0" brushRef="#br3" timeOffset="-150586.9">18640 12740 0,'26'-40'16,"-26"27"0,14 0-16,-1-1 0,0-12 15,0 13-15,0-14 0,14-39 16,-1 40-16,-12-14 0,-14 27 16,13-14-16,0 1 0,-13 12 15,13 1-15,-13 0 0,14 0 16,-14 0-16,-14 26 31,14 0-31,-13 0 16,13 14-16,0-14 0,-13 0 0,13 0 15,0 1-15,0-1 0,0 0 0,0 0 16,0 14-16,0-14 0,13 0 16,-13 0-16,0 1 15,13-14-15,1 13 0,-1-13 16,0 0-16,0-13 15,0 13-15,1-14 0,-1 1 16,0 0-16,0 0 0,1-14 16,-14 14-16,13 0 0,0 0 15,-13-1-15,13 1 0,-13 0 0,14 13 16,-14-13-16,0-1 16,-14 41 15,14-14-31,-13 0 0,0 1 15,13-1-15,-13 0 16,13 0-16,-14 1 16,14-1-16,0 0 15,14 0 1,-1 0 0,0-13-16,0 0 15,1 0-15,-1 0 0,-13-13 0,13 13 16,0 0-16,0 0 15,1 0-15,-1 0 0,0 0 16,-13 13-16,13-13 0,1 0 16,-1 0-1,0 0-15,-13 14 16,13-28-16</inkml:trace>
  <inkml:trace contextRef="#ctx0" brushRef="#br3" timeOffset="-150402.68">18706 12502 0,'40'-14'31,"-27"14"-31,13-13 0,1 13 0,-1 0 16,27-13-16,-26 13 0,12 0 15,-12 0-15,13 0 0,-1 0 0,-12-13 16,-1 13-16,1 0 0</inkml:trace>
  <inkml:trace contextRef="#ctx0" brushRef="#br3" timeOffset="-149266.89">20108 12435 0,'0'-13'0,"-13"-13"32,13 12-32,0 1 0,0 0 15,-13 0-15,13 0 0,-13 13 16,13-14-16,-14 28 31,1-1-31,13 0 0,0 13 0,0 1 16,-13-1-16,13 14 0,-13 0 15,-1-1-15,14 1 0,-13 0 0,0 0 16,0-14-16,-14 14 0,14-14 0,0 1 16,-14 12-16,27-25 15,-13-1-15,0-13 0,13 13 0,-13-13 16,0 0-16,-1 0 16,14-13-16,0 0 15,0-1 1,14 1-16,12-13 15,-13 12-15,0 1 0,14 0 0,-1-14 16,1 1-16,-1 13 0,1-14 0,-1 1 16,-13 13-16,14-1 0,-14 1 15,-13 0-15,13 0 0,1-1 0,-1 1 16,-13 0 0,-27 26 15,27 0-31,0 1 15,0-1 1,0 0-16,0 0 0,0 1 16,14-1-16,-1 0 15,0-13 1,0 0-16,0 0 0,1 0 16,-1 0-16,13-13 0,-12 13 15,-1-13-15,0-1 0,0 14 16,1-13-16,-14 0 0,13 13 0,0-13 15,0-1-15,0 1 16,1 13-16,-1-13 16,0 13-1,0 13 1,-13 0-16,14-13 0,-14 14 16,13-1-16,-13 0 15,13-13-15,-13 13 0,13 1 16,-13-1-1,14-13 1,-1-13 0,0-1-16,0 1 15,-13 0 1,13 13-16,-13-13 0,14 13 0,-1-14 16,0 14-16,-13-13 15,13 13-15,1 0 0,-1-13 0,0 0 16,0 13-16,-13-13 15,14 13-15,-28 13 63,1 0-63,13 0 16,0 0-1,0 1 1,13-14-16,1 0 15,-1 13-15,0-13 16,0 0-16,0 0 16</inkml:trace>
  <inkml:trace contextRef="#ctx0" brushRef="#br3" timeOffset="-148843.66">20849 12528 0,'-13'26'32,"13"-12"-17,-13-1-15,-1 0 31,14 0-31,14-39 47,-1 26-47,0-13 0,0 13 0,-13-14 16,14 1-16,-1 13 0,0-13 0,0 13 16,1 0-16</inkml:trace>
  <inkml:trace contextRef="#ctx0" brushRef="#br3" timeOffset="-148704.99">21153 12515 0,'14'-13'15,"-1"13"1,-13-14 0,13 1-1</inkml:trace>
  <inkml:trace contextRef="#ctx0" brushRef="#br3" timeOffset="-138740.04">18732 4405 0,'27'14'31,"-14"-14"-31,0 0 0,1-14 0,-1 14 16,0 0-16,0-13 0,1 13 15,-1-13-15,13 13 0,-13-13 0,1-1 16,12 1-16,-13 0 0,-13 0 0,14-1 15,-1 1-15,-13 0 0,13 0 16,-13 0-16,0-1 16,0 1-16,0 0 15,0 0-15,-13 13 16,0 13 0,-1-13-16,14 13 0,-13 0 0,0 1 15,13-1-15,0 0 0,-13 0 16,13 0-16,0 1 0,0-1 0,0 0 15,13 0-15,-13 1 16,13-1-16,0-13 0,1 13 16,-1-13-16,13 0 0,-12 0 15,-1 0-15,13 0 0,-13 0 16,14-13-16</inkml:trace>
  <inkml:trace contextRef="#ctx0" brushRef="#br3" timeOffset="-137826.9">19354 3956 0,'0'-14'0,"-26"41"32,13-1-32,13-13 0,0 14 15,-14 13-15,1-1 0,13 1 0,-13 0 16,0-1-16,-1 14 0,1 0 0,0-13 16,13 13-16,-13-14 0,0 1 15,13 0-15,-14 0 0,14-14 0,-13 0 16,13 1-16,0-14 0,-13 0 0,13 1 15,0-1-15,-13 0 0,13 0 16,-14-13-16,14 13 0,-13-13 16,-13 0-16,12 0 15,1-13-15,0 13 0,13-13 16,-13 0-16,0 0 16,13-1-16,0 1 15,13 0-15,-13 0 0,13 13 0,-13-14 16,13 1-16,0 0 0,1-13 15,12 12-15,-13 1 0,14 0 0,-1-14 16,-12 1-16,12-1 0,0 14 16,-12-13-16,-1-14 0,13 14 0,-12-1 15,-1-13-15,13 1 0,-12-1 16,-1 0-16,0 14 0,-13-14 0,13 14 16,0 13-16,-13-14 0,0 14 0,14 0 15,-14-1-15,0 1 16,0 40-1,0-14 1,0 0-16,-14 14 0,14-1 16,-13 1-16,13 12 0,-13-12 15,13 12-15,-13 1 0,13 0 0,-13-1 0,13-12 16,0-1-16,-14 1 0,14-1 16,0-13-16,0 14 0,0-14 15,0 0-15,0 1 0,0-1 0,0 0 0,0 0 16,0 1-16,0-1 15,14-13-15,-1 0 16,-13-13 0,13-1-16,-13 1 15,0 0-15,0 0 0,0-1 0,-13 1 16,13 0-16,-13 0 0,13-1 0,-14 1 16,1 0-16,0 0 0,0 0 0,-1-1 15,1 14-15,0-13 16,13 0-1,13 13 1,0 0-16,-13-13 0,14 13 16,-1 0-16,13 0 0,-12-14 15,-1 14-15,0 0 0,13-13 0,-12 13 16,-1 0-16,0-13 0,14 13 0,-14 0 16,0-13-16,0 13 15,0 0-15</inkml:trace>
  <inkml:trace contextRef="#ctx0" brushRef="#br3" timeOffset="-137471.08">19579 4326 0,'13'-13'16,"-13"-1"-16,0 1 16,14 0-16,-14 0 15,-14 13 1,1 0 0,0 13-1,0-13-15,13 13 16,-14 0-16,14 14 15,14-14 1,-14 0-16,26-13 16,-13 0-16,1 0 15,-1 0-15,0 0 0,0 0 0,1 0 16,-1 14-16,0-14 16</inkml:trace>
  <inkml:trace contextRef="#ctx0" brushRef="#br3" timeOffset="-136782.92">19870 4247 0,'0'0'0,"-13"-14"15,0 14-15,0 0 16,13 14-16,-14-14 0,1 13 15,0-13-15,13 13 0,-13 0 16,-1 0-16,14 1 0,0-1 16,0 0-1,14 0-15,-1-13 16,-13 14-16,13-14 0,0 0 0,1 0 16,-1 0-16,0 0 0,0 0 0,0-14 15,1 14-15,-1-13 0,0 13 0,0-13 16,1 0-16,-1-14 0,0 14 15,0-13-15,14-14 0,-14 13 0,0 1 16,-13 0-16,13-1 0,1 14 16,-14 0-16,0-1 0,13 1 0,-13 0 15,0 0-15,13-1 16,-26 54 0,13-27-1,0 1-15,-13-1 0,13 13 0,0 1 16,-14-1-16,14-13 0,0 14 0,0-14 15,0 14-15,0-14 0,0 13 0,0-13 16,14 1-16,-14 12 0,0-13 16,0 1-16,0-1 0,0 0 15,13 0-15,-13 1 16,-13-41 46,13 14-46,-14 13-16,14-13 16,14-1-1,-1 14 1,0-13 0,0 13-16,1 0 15,-1 0-15,0-13 16,0 13-16,0 0 0,1 0 15,-14-13 1,13 13-16,0 0 0</inkml:trace>
  <inkml:trace contextRef="#ctx0" brushRef="#br3" timeOffset="-136487.22">20055 4154 0,'-13'-13'16,"26"13"0,1 0-16,12 0 15,-13 0-15,1 0 16,-1 0-16</inkml:trace>
  <inkml:trace contextRef="#ctx0" brushRef="#br3" timeOffset="-136099.79">20280 4233 0,'14'27'31,"-14"-14"-31,0 0 16,0 0-1,0 1 1,0-1-16,0 0 0</inkml:trace>
  <inkml:trace contextRef="#ctx0" brushRef="#br3" timeOffset="-135920.18">20320 4075 0,'0'0'16,"-13"0"-1</inkml:trace>
  <inkml:trace contextRef="#ctx0" brushRef="#br3" timeOffset="-134832.08">20439 4233 0,'0'14'0,"13"-1"31,-13 0-31,0 0 16,0 0-16,0 1 15,0-1 1,0 0-1,27-26 32,-27 0-47,13-1 16,0 1 0,0 13-16,1-13 15,-1 13 1,0-13-16,0 13 0,1-13 15,-1 13 1,-26 13 47,26 0-48,-13 0-15,13 0 16,0 1-1,1-14 1,-1 0 0,0 0-16,0-14 15,0 14 1,1-13-16,-1 13 16,-13-13-16,13 13 15,0 13 1,-13 0-1,0 1 17,14-1-17,-1-26 17,0 13-17,0-14-15,0 14 16,1-13-1,-1 13 1,0 0 0,0 0-16,-13-13 15,14 13-15,-1 0 16,-13-13-16,13 13 16,-13 13 77,13-13-77,1 0 0,-1 13-16,0-13 31,-13 13-16,13-13-15,0 0 47,1 0-31,-1 0 0,-13-13-1</inkml:trace>
  <inkml:trace contextRef="#ctx0" brushRef="#br3" timeOffset="-134043.78">21431 4154 0,'-13'13'31,"13"0"-31,-13-13 16,13 14-16,-13-1 16,13 0-16,0 0 15,13-13-15,-13 14 0,13-14 16,0 13-16,0-13 15,14 0-15,-27-13 16,13 13-16,0 0 0,-13-14 0,14 1 16,-14 0-16,0 0 15,0-1-15,-14 14 16,14-13-16,-13 13 0,13-13 16,-13 13-16,0 0 15,39-13 32,-13 13-47,14 13 16,-14-13-16,0 0 15,1 13-15,-1-13 0,0 13 16,0 1-16,-13-1 16,0 0-16,13 0 0,-13 14 0,-13-14 15,13 13-15,-13-12 0,0 25 0,0-25 16,-1 12-16,1-13 0,0 1 15,0-1-15,13 0 0,-14 0 0,14 0 16,-13-13-16,13 14 0,-13-14 16,26-27-1,-13 14 1,13 0-16,1 0 0,-1-1 0,0 1 0,14 0 16,-14-14-16,0 27 0,0-13 15,27-13-15,-27 26 16,-13-14-16,13 14 0,1 0 0,-1-13 15,0 13-15,0 0 0,1-13 0</inkml:trace>
  <inkml:trace contextRef="#ctx0" brushRef="#br3" timeOffset="-133392.16">22212 3969 0,'-13'26'16,"13"-13"-16,0 1 0,0 12 0,-14 1 15,14-1-15,-13 1 0,0 12 16,13-12-16,0-1 0,-13 1 16,13-1-16,-14-13 0,14 14 0,0-14 15,-13 13-15,13-12 0,0-1 0,0 0 16,-13 0-16,13 1 15,0-1-15,0-53 47,0 27-47,13 0 0,-13-1 0,0 1 16,13-13-16,-13-1 0,14 1 0,-14-14 16,13 14-16,0-1 0,-13 1 15,13-1-15,1 1 0,-14-1 16,13 14-16,0 0 0,0 0 0,0-1 15,1 1-15,-1 13 0,13-13 0,-12 13 16,-1 0-16,0 13 0,14-13 16,-14 13-16,0 1 0,0-1 0,-13 0 15,13 0-15,-13 1 0,0-1 0,-13 0 16,13 0-16,-13 1 0,0 12 16,0-13-16,-1 0 0,1 1 15,0-14-15,-14 13 0,14 0 0,0-13 16,0 13-16,-1-13 0,1 14 0,0-14 15,0 0 1</inkml:trace>
  <inkml:trace contextRef="#ctx0" brushRef="#br3" timeOffset="-133228.47">22542 4154 0,'0'0'0,"14"0"0,-14 13 15,0 0-15,0 1 16,0-1-16,-14-13 16,14 13-16,0 0 0,-13 1 15,13-1-15,-13-13 0,13 13 0,-13 0 16,13 0-16</inkml:trace>
  <inkml:trace contextRef="#ctx0" brushRef="#br3" timeOffset="-133046.97">22675 4022 0,'0'-14'0,"-40"28"31,27-14-16</inkml:trace>
  <inkml:trace contextRef="#ctx0" brushRef="#br3" timeOffset="-132791.15">22834 3836 0,'0'53'32,"0"-39"-32,-14 12 15,14 1-15,-13 12 0,0-12 0,0-1 16,-1 14-16,14-14 0,-13-12 16,0 12-16,13-13 0,-13 14 0,13-14 15,-14 0-15,14 0 0,0 1 0,-13-1 16,13 0-16,0 0 15,13-13-15</inkml:trace>
  <inkml:trace contextRef="#ctx0" brushRef="#br3" timeOffset="-132553.12">23006 3876 0,'0'0'0,"13"-26"0,-13 12 0,-13 41 31,13-14-31,-14 14 16,1-1-16,0 1 0,0 12 0,13-12 16,-14-1-16,1 14 0,13-27 0,-13 14 15,13-1-15,0 0 0,-13-12 16,13-1-16,0 13 0,0-12 0,-14-1 16,14 0-16,0 0 0,0 0 31,14-13-31</inkml:trace>
  <inkml:trace contextRef="#ctx0" brushRef="#br3" timeOffset="-132330.92">23336 4154 0,'0'13'16,"0"0"-1,0 14-15,-13-14 16,13 0-16,0 1 0,-13-1 16,13 0-16,-13 0 0,13 0 15</inkml:trace>
  <inkml:trace contextRef="#ctx0" brushRef="#br3" timeOffset="-132159.22">23363 4048 0,'-14'-13'0</inkml:trace>
  <inkml:trace contextRef="#ctx0" brushRef="#br3" timeOffset="-131891.25">23455 4114 0,'0'27'31,"0"-14"-31,0 0 16,0 0-16,14 1 0,-14-1 16,0 0-16,-14 0 15,14 1-15,0-1 16,-13-13-16,13 13 0,-13 0 15,0-13-15,-1 13 16,-12-26 0</inkml:trace>
  <inkml:trace contextRef="#ctx0" brushRef="#br3" timeOffset="-130664.36">24156 3889 0,'0'27'0,"-13"-14"15,13 27-15,0-27 0,-26 119 32,13-92-32,-1-14 0,1 14 0,13-13 15,-13-14-15,0 13 0,13-13 0,0 1 16,-14-1-16,14 0 0,0 0 15,-13 1-15,13-1 16,0-40 0,13 14-1,-13-13-15,14 12 0,-1 1 16,13-13-16,-12-1 0,12 14 0,-13 0 16,0 13-16,1-13 0,12-1 0,-13 14 15,1 0-15,-1 0 16,-13 14-16,-13-1 15,-1 0 1,1 0-16,0 1 0,0-14 0,-1 13 16,1 0-16,0 0 0,-13 0 15,26 1-15,-14-14 16,14 13-16,14 0 16,-1 0-1,0-13-15,0 0 0,0 0 16,14 0-16,-1 0 0,1-13 0,-1 13 15,1 0-15,-1-13 0,1 13 16,-14-13-16,13-1 0,-12 14 0,12-13 16,-13 0-16,1 0 0,-1 0 15,-13-1-15,13 14 0,-13-13 16,13 0-16,-26 0 16,0 13-1,0 0 1,-1 13-16,1-13 15,13 13-15,-13-13 0,0 13 16,13 1-16,-14-14 0,14 13 16,-13-13-16,13 13 15,0 0-15,13 0 16,1-13 0,-1 14-16,0-14 15,0 0-15,1 0 16,-1 0-1,0 0-15,0 0 16,0-14-16,1 14 16,-1-13-16,0 13 15,-13-13-15,13 13 16,1 0-16,-14-13 0,13 13 16,-13-13-1,13 13-15,0 13 31,-13 0-15,0 0 0,0 0-1,13 1-15,-13-1 32,14-13-32,-1-13 15,0 13-15,0 0 16,1-14-1,-1 14-15,0 0 16,0 0 0,1 0-1,-1 0 1,0 0-16,0 14 16,14-14-1,-14 0 1</inkml:trace>
  <inkml:trace contextRef="#ctx0" brushRef="#br3" timeOffset="-129915.27">22159 4696 0,'-13'27'31,"13"-14"-31,-14 0 0,14 0 16,-13 1-16,13 12 0,-13-13 16,13 1-16,0-1 0,0 0 0,-13 0 15,13 1-15,0-1 0,13 0 16,-13 0-16,0 0 0,13 1 16,0-1-16,1-13 0,-1 0 15,0 0-15,0 0 0,1 0 16,-1 0-16,0 0 0,0 0 15,-13-13-15</inkml:trace>
  <inkml:trace contextRef="#ctx0" brushRef="#br3" timeOffset="-129736.89">21974 4842 0,'0'0'16,"26"-13"-16,-13 13 15,1 0-15,-1 0 16,13 0-16,-13-14 0,14 14 16,-14 0-16,14 0 0,-1 0 0,1 0 0,-14 14 15,13-14-15,1 0 0,-14 0 16,13 13-16</inkml:trace>
  <inkml:trace contextRef="#ctx0" brushRef="#br3" timeOffset="-129421.22">22397 4961 0,'13'-40'32,"-13"27"-32,13 13 15,-13-13-15,0 0 0,-13-1 16,0 14 15,0 0-31,0 14 16,-1-14-16,14 13 0,-13 0 15,26 0 1,-13 0-16,14-13 16,-14 14-16,13-14 0,0 0 15,0 13-15,14-13 16,-1 0-16,-13 0 0,1 0 15,-1 0-15,0-13 0</inkml:trace>
  <inkml:trace contextRef="#ctx0" brushRef="#br3" timeOffset="-129188.11">22609 4882 0,'0'-14'0,"13"41"46,-13-14-46,0 0 16,13-13-16,-13 13 0,0 1 16,0-1-16,0 0 15,-13 0-15,0 1 16,-1-14-16,14 13 0,-13-13 16,0 0-16,0 13 15,13-26 1</inkml:trace>
  <inkml:trace contextRef="#ctx0" brushRef="#br3" timeOffset="-128804.08">22847 4670 0,'13'-13'31,"-13"39"-15,0-13-16,0 1 0,0-1 0,-13 0 15,13 0-15,0 14 0,-13-14 0,13 0 16,0 14-16,0-14 0,0 0 16,0 0-16,0 1 0,13-1 0,-13 0 15,13-13-15,0 13 0,0 0 16,1-13-16,-1 0 0,0 0 16,0 0-16,1 0 0,-1 0 15,0-13-15,0 0 0,1 0 16,-1 0-16,-13-1 0,13 1 15,-39 26 17,26 1-17,0-1 1,0 0-16,0 0 0,13 0 16,0 1-16,0-14 15,0 0-15,14 0 16,-14 0-1</inkml:trace>
  <inkml:trace contextRef="#ctx0" brushRef="#br3" timeOffset="-128605.7">22754 4815 0,'53'-13'31,"-40"13"-31,14 0 0,-14-13 16,13 26-16,1-13 0,26 0 15,-13 0-15,-14 0 0,14 0 0,-14 0 16,14 0-16,0 0 0</inkml:trace>
  <inkml:trace contextRef="#ctx0" brushRef="#br3" timeOffset="-128236.36">23455 4789 0,'-39'13'0,"25"0"16,1-13-16,0 0 0,0 14 0,-1-1 15,1-13-15,0 13 0,0 0 16,13 1-16,-13-14 0,13 13 16,13 0-1,0-13-15,0 0 16,0 0-16,1-13 15,-1 13-15,13-27 16,-12 14-16,-1-13 0,0 12 16,0 1-16,1-13 0,-14 12 0,13 1 15,-13 0-15,13 0 0,-13 0 0,0-1 16,-13 41 15,0-14-31,13 0 16,0 0-16,0 1 0,-14 12 0,14-13 15,0 1-15,0-1 0,0 13 16,14-12-16,-14-1 0,0 0 16,0 0-16,13 0 0,-13 1 0,13-1 15,13-13 1</inkml:trace>
  <inkml:trace contextRef="#ctx0" brushRef="#br3" timeOffset="-128070.38">23879 4855 0,'0'-13'32,"-14"0"-32</inkml:trace>
  <inkml:trace contextRef="#ctx0" brushRef="#br3" timeOffset="-109155.24">6178 4061 0,'13'27'32,"-13"-14"-17,0 14-15,0-14 0,0 0 16,0 0-16,13 14 0,-13-14 0,0 13 16,0-12-16,0 12 0,0-13 15,0 0-15,14 1 0,-14-1 16,0 0-16,0 0 15</inkml:trace>
  <inkml:trace contextRef="#ctx0" brushRef="#br3" timeOffset="-108879.28">6165 4061 0,'13'-26'0,"-26"52"0,39-52 0,-13 13 15,1-1-15,-1 14 0,0 0 16,14 0 0,-14 14-16,0-14 0,-13 13 15,13 0-15,-13 0 0,0 1 16,0-1-16,0 0 15,-13 0-15,13 1 0,-13-1 0,13 0 16,-13 0-16,-1-13 0,14 13 0,-13 1 16,0-14-16,13 13 0,-13-13 15</inkml:trace>
  <inkml:trace contextRef="#ctx0" brushRef="#br3" timeOffset="-108503.97">6363 3995 0,'13'27'31,"-13"-14"-31,0 0 16,14 0-16,-14 1 0,0-1 0,0 13 16,0-12-16,0 12 0,0 0 0,0-12 15,0-1-15,0 0 0,0 14 16,0-14-16,0 0 0,0 0 15,0 0 1,13-39 0,-13 13-1,13 13-15,0-13 0,-13-1 0,14 14 0,-1-13 16,0 13-16,-13-13 0,13 13 16,14 0-1,-14 0-15,-13 13 0,0 0 16,13-13-16,-13 14 0,0-1 15,0 0-15,13 0 0,-13 0 0,0 1 16,0-1-16,14 0 16,-14 0-16,13-13 0,-13 14 15</inkml:trace>
  <inkml:trace contextRef="#ctx0" brushRef="#br3" timeOffset="-108004.91">6720 4154 0,'-13'-13'16,"0"13"-16,0 0 15,0 0 1,13 13-16,0 0 0,-14-13 15,14 13-15,0 1 16,0-1 0,14-13-1,-1 0 1,0 0 0,0 0-16,0 0 0,1 0 15,-1 0-15,0 0 16,0 13-16,-13 0 15,14 1 1,-14-1-16,0 0 31,0-39 1,13 12-17,-13 1-15,13 0 0,0 0 16,0-1-16,-13 1 0,14 13 15,-14-13-15,13 13 0,0 0 16,-13-13-16,13 13 0,1 0 16,-14 13-16</inkml:trace>
  <inkml:trace contextRef="#ctx0" brushRef="#br3" timeOffset="-107506.55">7025 4101 0,'0'-13'31,"-14"39"-15,14-12 0,0-1-16,0 0 0,0 0 15,0 0 1,0 1-16,14-28 47,-1 14-47,-13-13 0,13 13 0,0-13 15,1 13 1,-14-13-16,13 13 16,0 0-16,0 0 15,1 0 1,-1 13-1,0-13 1,0 0 31,0-13-31,1 13-1,-1 0-15,0-13 16,0 13-1,1 0-15,-1 0 16,0 0-16,0 0 16,0-14-16,1 14 15</inkml:trace>
  <inkml:trace contextRef="#ctx0" brushRef="#br3" timeOffset="-107232.9">7395 4061 0,'0'-13'16,"-26"13"-1,26 13 1,-14 1 0,14-1-1,0 0-15,14 0 32,-1-26-17,0 13-15,0 0 16,1 0-1,-1 0 1,0 0-16,0 0 16,0 0 15</inkml:trace>
  <inkml:trace contextRef="#ctx0" brushRef="#br3" timeOffset="-105227.98">12144 4128 0,'14'0'0,"-1"0"16,0 13-16,0-13 15,-13 13-15,14-13 0,-1 13 16,0-13-16,0 13 0</inkml:trace>
  <inkml:trace contextRef="#ctx0" brushRef="#br3" timeOffset="-104972.71">12330 4088 0,'13'13'15,"0"0"1,-13 1-16,13-14 16,-13 13-16,0 0 0,0 0 0,0 0 15,-13 1-15,13-1 0,-13 0 0,13 0 16,-13 1-16,-1-1 0,1 0 16,0 13-16</inkml:trace>
  <inkml:trace contextRef="#ctx0" brushRef="#br3" timeOffset="-86355.63">7157 13375 0,'0'-14'15,"13"14"-15,0 0 47,-39 0 0,13 14-47,0-14 0,-1 13 16,1-13-16,0 13 0,0 0 0,-1-13 15,1 14-15,0-1 0,0-13 16,-1 13-1,14 0 1,14-13-16,-1 14 16,0-14-16,-13 13 15,13-13-15,1 0 0,-14 13 0,13-13 16,-13 13-16,13-13 16,-26 13-16,13 1 15,-13-1-15,-1 0 0,1-13 16,0 13-16,0-13 0,-1 14 15,1-14-15,-13 0 0,13 0 0,-1 13 16,1-13-16,-13 0 16,52 0 15,-13 0-31</inkml:trace>
  <inkml:trace contextRef="#ctx0" brushRef="#br3" timeOffset="-86041.88">7329 13547 0,'0'0'16,"26"0"15,-12 0-31,-1 0 0,0 0 16,14 0-16,-14 0 15,0 0-15,0 0 0,0 0 0,1 0 16,-1 0-16,0 0 15,0 0-15,1 0 0</inkml:trace>
  <inkml:trace contextRef="#ctx0" brushRef="#br3" timeOffset="-85833.13">7580 13454 0,'0'-13'16,"0"26"-16,14-13 15,-14 13 1,0 1-16,13-14 0,-13 13 0,0 0 16,0 0-16,0 0 15,0 1-15,0-1 0,-13 0 0,13 0 16,-14 1-16,14-1 0,-13-13 16,13 13-16,-13 0 0,13 0 15</inkml:trace>
  <inkml:trace contextRef="#ctx0" brushRef="#br3" timeOffset="-84991.18">8202 13322 0,'-13'0'0,"0"0"16,13 13-16,-14 0 16,14 0-16,-13-13 0,13 27 0,-13-14 15,13 0-15,-13 14 0,13-14 16,-14 14-16,14-14 0,0 0 0,0 0 15,0 0-15,0 1 0,14-1 0,-14 0 16,13-13-16,-13 13 0,13-13 16,-13 14-16,13-14 0,1 0 0,-1 0 15,13 0 1,-12-14-16,-1 14 16,-13-13-16,13 13 15,0-13 1,0 26-1,1 0 1,-14 1-16,13-14 16,-13 13-16,13-13 15,0 13-15,1-13 16,-1 0 0,-13-13-16,13 13 15,-13-13-15,0-1 16,0 1-16,0 0 0,0 0 15,-13 13-15,13-14 16,-13 1-16,-1 13 16,1 13-1,0-13-15,0 14 16</inkml:trace>
  <inkml:trace contextRef="#ctx0" brushRef="#br3" timeOffset="-84631.59">8427 13494 0,'13'0'0,"-26"0"0,26 13 31,0-13-31,-13 13 16,0 0-16,14 1 15,-14-1-15,0 0 0,13 0 16,-13 1-16,13-14 0,-13 13 15,13-13-15,1 13 16,-1-13-16,0 0 16,0-13-16,0 13 0,-13-13 0,14 13 15,-1-14-15,0 1 16,0 13-16,-13-13 0,14 13 16,-14-13-16,13 13 0,0 13 31,-13 0-31,13 0 15,-13 1-15,0-1 0,-13 0 16,13 0-16,0 0 0,0 1 16,0-1-16,0 0 15</inkml:trace>
  <inkml:trace contextRef="#ctx0" brushRef="#br3" timeOffset="-84473.29">8797 13441 0,'-26'-13'0,"13"13"16</inkml:trace>
  <inkml:trace contextRef="#ctx0" brushRef="#br3" timeOffset="-84105.04">8956 13322 0,'0'26'31,"0"-13"-31,0 1 0,-13-1 0,13 0 16,0 0-16,0 14 0,0-14 15,-13 0-15,13 1 0,0-1 0,0 0 16,0 0-16,0 0 0,0 1 16,-14-1-1,1-13 1,0 0-16,0 0 16,0 0-16,-1 13 15,1-13-15,0 13 0,0-13 16,13 14-16,-14-14 0,14 13 0,-13-13 15,13 13-15,-13-13 16,13 13-16,0 0 0,13 1 16,0-14-16,1 0 15,-1 0-15,0 0 16,0 0-16,14 0 0,-14 0 16</inkml:trace>
  <inkml:trace contextRef="#ctx0" brushRef="#br3" timeOffset="-83701.13">9379 13375 0,'-52'13'31,"38"0"-31,14 0 16,0 1-1,0-1-15,0 0 0,14 0 0,-14 1 16,13-1-16,-13 0 15,0 0-15,13-13 0,-13 13 0,0 1 16,13-1-16,-13 0 16,-13-13-16,13 13 0,-13 1 15,13-1-15,-13-13 16,-1 13-16,1-13 0,0 13 0,0-13 16,-1 0-16,1 0 15</inkml:trace>
  <inkml:trace contextRef="#ctx0" brushRef="#br3" timeOffset="-82926.88">9551 13322 0,'14'-13'31,"-14"39"-15,0-13-16,0 0 0,-14 1 0,14-1 15,0 13-15,0-12 0,0-1 16,-13 0-16,13 0 0,0 1 0,0-1 16,0 0-16,0 0 0,0 0 0,0 1 15,0-1 1,13-13 15,1 0 0,-1 0-15,0 0 15,-13 13-31,13-13 16,1 0 0,-1 0-16,-13-13 15,13 13 1,0-13-16,1 13 15,-1 0 1,0 13 15,13-13 1,-26-13-32,14 13 0,-1-14 15,0 1 1,-13 0-1,0 0-15,-13 13 32,0 13-17,13 0 1,-14 0-16,28-13 16,-1 0-1,0 0 1,0-13-16,1 13 0,-1-13 0,0 13 15,0-13-15,0 0 0,1 13 16,-1-14-16,0 14 0,-13-13 0,13 13 16,1-13-16,-1 26 31,-13 0-31,0 1 16,0-1-16,0 0 15,0 0-15,0 0 16,0 1-1</inkml:trace>
  <inkml:trace contextRef="#ctx0" brushRef="#br3" timeOffset="-82736.09">9776 13454 0,'80'-26'31,"-67"12"-31,13 14 16,-12-13-16,12 13 0,1-13 16,-14 13-16,0-13 0,13 13 0,-12 0 15,-14-14-15,13 14 0,0 0 16</inkml:trace>
  <inkml:trace contextRef="#ctx0" brushRef="#br3" timeOffset="-81823.01">7038 13917 0,'13'0'16,"-39"13"15,12-13-31,1 14 16,0-1-16,0 0 0,0 0 15,13 0 1,0 1-16,0-1 16,13-13-16,0 13 15,0 0-15,0-13 16,-13 14-16,14-14 0,-1 13 15,0 0 1,-13 0-16,-13 1 16,0-1-1,-1 0-15,1-13 0,0 0 16,0 13-16,0-13 0,-1 0 16,1 13-1,0-13-15</inkml:trace>
  <inkml:trace contextRef="#ctx0" brushRef="#br3" timeOffset="-81628.06">7342 14023 0,'53'0'31,"-40"0"-31,1-13 16,-1 13-16,0 0 0,0 0 16,0 0-16,1 0 0,-1 0 15</inkml:trace>
  <inkml:trace contextRef="#ctx0" brushRef="#br3" timeOffset="-81385.08">7501 13864 0,'13'13'16,"0"-13"0,-13 14-16,14-14 0,-14 13 0,13-13 15,-13 13-15,13 0 0,-13 1 16,13-14-16,-13 13 0,0 0 0,0 0 15,0 0-15,0 1 0,0-1 16,-13 0-16,13 0 16,-13 1-16,13-1 0</inkml:trace>
  <inkml:trace contextRef="#ctx0" brushRef="#br3" timeOffset="-79156.06">8176 13970 0,'-14'26'31,"14"-12"-15,0-1-16,0 0 15,0 0-15,0 1 16,0-1-16,0 0 0,0 0 16,0 1-1,14-41 32,-14 14-47,13 13 16,-13-13-16,0-1 0,13 14 0,-13-13 15,13 13-15,-13-13 16,14 13-16,-1 0 16,-13 13-1,13 0-15,-13 1 16,13-14-16,-13 13 16,13-13-16,1 0 15,-1 0 1,0 0-16,-13-13 0,13 13 15,1-14-15,-1 1 0,0 0 16,-13 0 0,13 13-16,1 13 47,-14 0-47,13-13 15,-13 13-15,13-13 0,0 0 16,0 0-16,1 0 15,-1-13-15,0 0 16,-13 0 0,0-1 15,0 1-31,13 26 47,-13 1-47,14-14 0,-14 13 0,0 0 15,13 0-15,-13 1 16,0-1-16,0 0 0,13-13 0,-13 13 16,0 1-16,0-1 0,13-13 15,-13 13 1,13-26 0,1 0-1,-14-1-15,13 1 16,-13 0-16,13 13 15,-13-13-15,13 13 16,1 0-16</inkml:trace>
  <inkml:trace contextRef="#ctx0" brushRef="#br3" timeOffset="-78896.58">8718 14023 0,'0'0'16,"0"13"15,0 0-16,0 1 1,0-1-16,13-13 16,-13 13-16,0 0 15,13-13 1,1 0 0,-1-13-1,0 13 1,0-13-16,14 13 15,-14 0 1</inkml:trace>
  <inkml:trace contextRef="#ctx0" brushRef="#br3" timeOffset="-77715.33">9128 13957 0,'-13'26'32,"0"-13"-32,13 1 0,0-1 15,0 13-15,0-12 0,-14 12 0,14 1 16,0-1-16,0-13 0,0 14 16,0-1-16,0-13 0,-13 14 0</inkml:trace>
  <inkml:trace contextRef="#ctx0" brushRef="#br3" timeOffset="-77448.08">9075 13957 0,'0'0'0,"13"-27"15,-13 14-15,14 13 16,-1 0-16,0 13 15,0 1-15,1-1 16,-14 0-16,0 0 16,13-13-16,-26 13 0,-1 54 31,1-54-31,13 0 0,-13 0 0,0 1 16,13-1-1</inkml:trace>
  <inkml:trace contextRef="#ctx0" brushRef="#br3" timeOffset="-77264.02">9274 13851 0,'0'26'31,"0"-12"-31,-14 12 16,14-13-16,0 1 0,0 12 0,0 0 15,0 1-15,-13-14 0,13 14 16,0-14-16,0 0 0,0 14 16,13-14-16,-13 0 0</inkml:trace>
  <inkml:trace contextRef="#ctx0" brushRef="#br3" timeOffset="-76180.77">9499 13983 0,'-53'0'32,"39"13"-32,1 1 15,0-1-15,13 0 0,-13 0 16,13 1-16,0-1 0,0 0 15,-14 0-15,28 1 0,-14-1 16,13 0-16,0 0 16,0-13-16,1 0 15,-1-13 1,0 0-16,0 0 16,-13-1-16,0 1 0,14 0 15,-14 0-15,0-1 16,0 1-16,0 40 47,0-14-32,0 0-15,0 0 16,0 1-16,0-1 0,13-13 16,-13 13-1,13-13-15,0 0 16,0-13-16,1 13 15,-1 0-15,-13-13 0,13 13 16,0-14-16,1 1 16,-14 0-16,13 13 15,-13-13-15,13 13 0,-13-14 0,13 14 16,-13-13-16,14 0 16,-14 39 15,0-12-16,0-1 1,0 0-16,0 0 0,13-13 16,0 14-1,0-14-15,0 0 16,1 0-16,-1-14 0,0 14 0,0-13 16,1 0-16,-1 0 0,0 13 15,-13-14-15,13 1 0,-13 0 0,13 0 16,-13-1-1,-26 28 17,26-1-32,0 0 15,0 0 1,0 1-16,0-1 0,0 0 16,13-13-16,-13 13 0,13 1 0,1-14 15,-1 13-15,0-13 16,0 0-16,1 0 0,-1 0 0,0 0 15</inkml:trace>
  <inkml:trace contextRef="#ctx0" brushRef="#br3" timeOffset="-75707.08">10067 13864 0,'-26'13'0,"26"1"16,-13 25 0,13-25-16,-14-1 0,14 0 0,0 0 15,0 14-15,0-14 0,-13 0 0,13 0 16,0 1-16,0-1 0,0 0 15,0 0-15,0 1 16,27-28 15,-14 1-15,0 13 0,-13-13-16,13 13 15,1 0 1,-14 13-1,0 0-15,0 1 16,0-1 0,-14-13-1,14 13-15,-13-13 16</inkml:trace>
  <inkml:trace contextRef="#ctx0" brushRef="#br3" timeOffset="-75183.23">10173 13996 0,'-13'14'15,"26"-28"-15,-39 41 0,26-14 0,0 0 16,0 1-16,0-1 16,0 0-16,13 0 0,-13 1 15,13-14-15,0 13 16,1-13-16,-1 0 15,0-13-15,0-1 16,-13 1-16,0-13 16,-13 26-16,13-14 15,0 1-15,-13 0 16,13 0-16,0-1 16,-13 14-16</inkml:trace>
  <inkml:trace contextRef="#ctx0" brushRef="#br3" timeOffset="-74791.08">10544 13944 0,'0'0'0,"-27"13"0,14 0 16,13 0-16,0 0 15,13 1-15,-13-1 16,13 0-16,-13 0 0,14-13 15,-14 14-15,13-1 16,0 0-16,0 0 0,-13 1 16,14-1-1,-28-13 1,14 13-16,-13-13 0,13 13 16,-13-13-16,0 13 0,-1-13 15,1 0-15,0 14 16,0-14-1</inkml:trace>
  <inkml:trace contextRef="#ctx0" brushRef="#br3" timeOffset="-74127.21">10702 13930 0,'0'0'0,"-13"40"32,13-27-32,0 0 15,0 1-15,0-1 0,0 0 16,0 0-16,0 1 0,0-1 16,0 0-16,-13 0 0,13 1 15,0-1 1,0 0-16,26-26 47,-12 0-32,-1 26 1,0 0 0,0-13-1,-13 13-15,14 0 16,-1 1-1,13-14 1,-13-14-16,1 1 16,-1 13-16,-13-13 0,13 13 15,-13-13-15,13 13 0,-13-13 16,14 13-16,-14-14 0,13 1 16,0 26 15,-13 1-16,13-14 1,1 0-16,-1 0 16,0 0-16,0 0 15,-13-14-15,13 14 16,-13-13-16,0 0 16,0 0-1,-13 13 1,0 0-16,-13 0 15,12 13-15,1-13 0,0 0 16,0 13-16,-1-13 16,14 13-16,-13-13 0</inkml:trace>
  <inkml:trace contextRef="#ctx0" brushRef="#br3" timeOffset="-73848.22">11112 13891 0,'0'-14'0,"14"28"31,-14-1-15,0 0-16,0 0 0,0 1 15,0 12-15,0-13 0,0 14 0,0-14 16,0 0-16,0 14 0,0-14 0,0 13 15,0-12-15,13-1 0,-13 13 16,0-13-16,13 1 0,0-1 16,-13 0-16,14-13 0,-14 13 15,13-13-15,0 0 16,0 0-16,1-13 0,-1 0 16</inkml:trace>
  <inkml:trace contextRef="#ctx0" brushRef="#br3" timeOffset="-73643.63">11099 14023 0,'13'-13'31,"1"13"-31,-1 0 0,0 0 16,0-14-16,14 14 0,-14-13 15,0 13-15,1-13 0,-1 13 0,0-13 16,0 13-16,0-13 0,1-1 16</inkml:trace>
  <inkml:trace contextRef="#ctx0" brushRef="#br3" timeOffset="-73220.19">11192 13467 0,'-13'-13'0,"39"26"15,1-13 1,-14 0-16,0 0 0,13 14 0,-12-14 15,12 0-15,1 0 0,-14 13 0,13-13 16,-12 0-16,12 0 0,-13 0 16,0 0-16,1 13 0,-1-13 0,0 0 15,0 0-15,1 0 16,-1 0 0,0-13-16</inkml:trace>
  <inkml:trace contextRef="#ctx0" brushRef="#br3" timeOffset="-72956.92">11523 13375 0,'13'26'31,"-13"-13"-15,13-13-16,-13 14 0,0-1 0,13 0 15,-13 0-15,14 1 0,-14-1 0,0 0 16,13 0-16,-13 0 0,0 1 16,0-1-16,0 0 0,0 0 15,-13-13-15,13 14 0,0-1 0,-14-13 16,14 13-16,0 0 16,-13-13-16,13 13 0,0 1 15</inkml:trace>
  <inkml:trace contextRef="#ctx0" brushRef="#br3" timeOffset="-72584.27">11576 14010 0,'26'-14'32,"-13"28"-32,0-14 0,1 0 0,-1 0 15,0 0-15,14 0 0,-14 0 16,0 0-16,0 13 0,1-26 0,-1 26 16,0-13-16,0 0 0,0 0 15</inkml:trace>
  <inkml:trace contextRef="#ctx0" brushRef="#br3" timeOffset="-72316.06">11814 13944 0,'13'26'31,"0"-13"-31,0-13 0,-13 13 0,14 1 16,-1-1-16,-13 0 16,13 0-16,-13 1 0,0-1 15,0 0-15,0 0 16,0 1-16,-13-1 0,13 0 16,-13-13-16,13 13 0,-14-13 0,1 13 15,0-13-15,0 0 16,-1 0-16</inkml:trace>
  <inkml:trace contextRef="#ctx0" brushRef="#br3" timeOffset="-68738.94">12396 13269 0,'0'-13'0,"0"26"0,0-40 0,-27 54 47,14-27-47,13 13 0,-13 0 0,13 14 15,-13-14-15,-1 13 0,14-12 16,-13-1-16,13 13 0,0-12 0,-13-1 15,13 0-15,0 0 0,0 1 16,0-1 0,13-13-16,-13 13 0,27-26 15,-14 13 1,-13-13-16,13 13 0,0 0 16,-13-14-16,13 14 0,1 0 31,-1 14-16,-13-1-15,13 0 16,-13 0 0,0 0-16,13-13 0,1 14 15,-1-14 1</inkml:trace>
  <inkml:trace contextRef="#ctx0" brushRef="#br3" timeOffset="-68457.26">12621 13441 0,'0'-13'0,"0"26"0,0-40 15,-14 41 17,14-1-17,-13 0-15,26 0 16,-13 1-16,14-1 0,-1 0 16,0-13-16,0 0 15,1 0-15,12 0 16,-13-13-16,-13 0 15,0-14 1,-13 14-16,13 0 16,-13 13-16,0-14 0,-1 1 15,1 0-15,0 13 16</inkml:trace>
  <inkml:trace contextRef="#ctx0" brushRef="#br3" timeOffset="-68018.83">13004 13428 0,'-13'0'0,"13"26"31,0 1-31,0-14 15,13-13-15,-13 13 0,14-13 0,-1 0 16,0 0-16,13 0 16,-12 0-16,-14-13 15,13 13-15,-13-13 16,0-1-16,-13 1 16,13 0-16,-14 0 0,1-1 15,0 14 1,0-13-16,0 13 15,-1 13-15,14 1 32</inkml:trace>
  <inkml:trace contextRef="#ctx0" brushRef="#br3" timeOffset="-67515.91">13189 13414 0,'0'-13'32,"-13"40"-32,13-14 15,0 0-15,0 0 16,0 1 0,13-14-16,-13 13 0,14-13 15,-1 0-15,13-13 16,-12 13-1,-1 0 1,0 0 15,-13 13-31,13-13 0,1 13 16,-1-13-16,0 0 16,13 0-1,-12 0-15,-14-13 0,13 13 0,0-13 16,0-1-16,1 14 0,-1-13 0,-13 0 15,13 0-15,0-1 0,-13 1 16,0 0-16,14 0 0,-14-1 0,0 1 16,13 26 15,-13 1-15,0-1-16,0 0 0,0 0 0,0 1 15,0-1-15,13 0 16,-13 0-16,13 1 0,-13-1 15,0 0-15,13-13 0</inkml:trace>
  <inkml:trace contextRef="#ctx0" brushRef="#br3" timeOffset="-67352.13">13467 13428 0,'-26'0'31,"52"-14"-16,-12 1 1,-1 13-16,13-13 16,-13 13-16,1 0 0,-1-13 0,0 13 15,0-14-15,1 14 0,-1 0 0,0 0 16,0 0-16,0 0 16</inkml:trace>
  <inkml:trace contextRef="#ctx0" brushRef="#br3" timeOffset="-66363.16">12607 13917 0,'-26'0'15,"26"13"1,-13-13-16,13 14 0,-14-14 15,14 13-15,-13 0 0,13 0 0,0 0 16,0 1-16,-13-14 0,13 13 0,0 0 16,0 0-16,13 1 15,0-14 1,1 0-16,-1-14 16,0 14-1,0 0-15,1 0 31,-1 0-31,-13 14 16,0-1-16,13 0 16,0-13-1,1 0 1,-1 0-16,0 0 16,0-13-16,0 13 0,1 0 15,-14-13-15,13 13 0,-13-14 0,13 14 16,-13-13-16,13 0 15,1 13 17,-1 13-17,0-13-15,0 13 16,1-13-16,-1 0 16,0 0-16,0-13 15,-13 0 1,-13 0-16,13-1 15,-13 14-15,0-13 16,-1 0 0,54 26 15</inkml:trace>
  <inkml:trace contextRef="#ctx0" brushRef="#br3" timeOffset="-65231.96">13189 14076 0,'-13'13'0,"26"-26"0,-26 39 0,13-12 15,-13-14-15,13 13 0,0 0 16,0 0-16,13 0 16,-13 1-16,13-14 15,1 13-15,-1-13 0,13 0 16,-26-13-1,14 13-15,-1-14 0,-13 1 16,13 0-16,-13 0 0,-13 13 16,13-13-16,0-1 0,0 1 15,-13 13-15,13-13 0,-14 0 16,1 13 0,0 0-1,0 0-15,13 13 16,0 0 31,132-13 93,-119 0-140,53-13 0,-52 0 0,-1 13 16,0 0 15,0 13-15,-13 0-1,14-13 1,-14 13-16,13-13 16,0 14-16,0-14 15,0-14-15,1 14 16,-1 0 0,-13-13-16,13 13 0,-13-13 0,13 13 0,-13-13 15,14 13-15,-14-14 0,13 14 16,-13-13-1,13 13-15,-13-13 0,0 26 47,13 0-47,-13 1 0,0-1 16,0 0-16,13 0 0,-13 1 16,14-14-16,-14 13 0,13-13 15,0 0 1,0 0-16,1 0 0,-1-13 0,0-1 15,0 14-15,1-13 0,-1-13 0,0 12 16,0 1-16,0 0 16,1-14-16,-1 14 0,-13 0 0,13-13 15,0 12-15,-13 1 0,14 0 16,-14 0-16,0 26 47,0 0-47,0 0 0,-14 1 15,14-1-15,0 0 0,0 0 0,0 14 16,0-14-16,0 0 0,0 0 0,14 1 16,-14-1-16,0 0 15,13-13 1</inkml:trace>
  <inkml:trace contextRef="#ctx0" brushRef="#br3" timeOffset="-65055.64">13798 14010 0,'-13'-14'16,"39"14"0,-26-13-16,13 13 0,1 0 15,-1-13-15,0 13 0,0 0 16,1-13-16,-1 0 0,0 13 0,0-14 15</inkml:trace>
  <inkml:trace contextRef="#ctx0" brushRef="#br3" timeOffset="-64656.19">14698 13361 0,'39'0'16,"-25"0"0,12 0-16,-13 0 0,0 0 0,1 0 15,-1 0-15,0 0 0,14 0 16,-14 0-16,0 0 0,0 0 0,0 0 15,1 0-15,-1 0 0,0 0 0,0 0 16</inkml:trace>
  <inkml:trace contextRef="#ctx0" brushRef="#br3" timeOffset="-64376.05">14896 13256 0,'26'0'16,"-12"13"-16,-1-13 15,0 13-15,0 0 0,14-13 0,-14 14 16,0-1-16,14 0 0,-14 0 16,0 0-16,0 1 0,1-1 0,-1 0 15,-13 0-15,13 1 0,-13-1 16,0 0-16,0 0 0,0 1 15,-13-1-15,0 0 16,-1 0-16,14 0 0,-13 1 0,0-14 0,0 13 16,0 0-16,-1 0 15,-12 1-15,13-14 0</inkml:trace>
  <inkml:trace contextRef="#ctx0" brushRef="#br3" timeOffset="-63574.93">15901 13282 0,'0'0'0,"-26"27"16,26-14-16,0 0 0,0 13 16,0-12-16,0-1 0,13 0 15,0 0-15,1 1 16,-1-1-16,0 0 0,14 0 0,-14 1 16,13-14-16,1 13 0,-14-13 0,13 0 15,-12 0-15,-1 0 0,0-13 16,0 13-16,1-14 0,-14 1 0,13 13 15,-13-13-15,0 0 0,0-1 16,0 1-16,-13 0 0,-1 0 0,1-1 16,0 1-16,-14 0 0,14 13 0,-13-13 15,-1 0-15,14 13 16,-27 0-16,27 0 16,-13 0-16,26 13 15</inkml:trace>
  <inkml:trace contextRef="#ctx0" brushRef="#br3" timeOffset="-62653.95">16431 13282 0,'0'0'0,"-14"13"0,14 1 16,-13-14-16,13 13 0,0 0 0,-13 0 16,13 0-16,0 14 0,0-14 0,0 0 15,-13 14-15,13-14 0,0 0 16,0 1-16,0-1 0,0 0 0,0 0 15,0 0-15,0 1 0,0-1 16,0 0 0,13-39 15,-13 12-31,0-12 0,13 13 16,-13-14-16,13 1 0,1-1 0,-14 1 15,13-14-15,0 27 0,0-13 16,-13 12-16,14 1 0,-1 0 0,0 0 15,0 13-15,14 0 16,-27 13-16,13-13 16,-13 13-16,0 0 0,0 1 15,0-1-15,-13 0 0,13 0 16,-14 0-16,1 1 16,0-1-16,13 0 0,-13-13 0,0 13 15,-1-13-15,1 14 0,0-14 16,0 0-1,-1 13-15</inkml:trace>
  <inkml:trace contextRef="#ctx0" brushRef="#br3" timeOffset="-61748.39">16748 13361 0,'-13'0'16,"-14"14"0,14-14-16,13 13 0,-13-13 15,13 13-15,0 0 0,0 1 16,13-1 0,-13 0-16,13-13 15,1 0-15,12 0 16,-13-13-16,1 0 15,-1-1 1,-13 1 0,0 40 15,13-27-31,-13 13 16,13-13-16,-13 13 15,14-13-15,-1 0 16,13 0-16,14-26 15,-40 12 1,13 14-16,0-13 0,1 0 0,-14-14 16,13 14-16,-13 0 0,13 0 0,-13 0 15,0-1-15,0 1 0,13 0 16,-13 0-16,-13 26 31,0 0-31,13 0 16,0 1-16,0-1 0,0 0 0,0 0 15,0 0-15,0 1 0,0-1 16,0 0-16,13 0 0,-13 1 16,13-14-16,0 0 0,-13 13 15,14-13-15,-1 0 0,0-13 16,0 13-16,1 0 16,-1 0-1,-13 13 1,13 0-16,-13 0 15,-13 14 1,13-14-16,0 0 0,0 0 16,13 1-1</inkml:trace>
  <inkml:trace contextRef="#ctx0" brushRef="#br3" timeOffset="-61642.48">17277 13348 0,'0'-13'16</inkml:trace>
  <inkml:trace contextRef="#ctx0" brushRef="#br3" timeOffset="-61471.16">16973 13348 0,'79'-26'16</inkml:trace>
  <inkml:trace contextRef="#ctx0" brushRef="#br3" timeOffset="-61079.18">17291 13454 0,'0'-13'15,"-14"0"16,1 13-31,0 13 16,13 0-16,-13 0 16,13 1-1,13-14-15,-13 13 0,13-13 0,0 13 16,1-13-16,-1 0 16,0 0-16,13 0 0,-12 0 15,-1 0-15</inkml:trace>
  <inkml:trace contextRef="#ctx0" brushRef="#br3" timeOffset="-60832.04">17542 13348 0,'-13'0'0,"13"-13"31,-14 39-15,14-12-16,0-1 16,-13 0-16,13 0 15,0 1-15,0 12 16,0-13-16,0 1 16,0-1-1</inkml:trace>
  <inkml:trace contextRef="#ctx0" brushRef="#br3" timeOffset="-60620.04">17423 13481 0,'13'-27'32,"0"27"-32,0 0 0,1 0 15,-1-13-15,0 13 16</inkml:trace>
  <inkml:trace contextRef="#ctx0" brushRef="#br3" timeOffset="-59700.38">18164 13282 0,'0'0'0,"-14"13"16,14 1-1,0-1-15,-13 0 0,13 0 0,0 0 16,0 1-16,0-1 0,-13 0 16,13 14-16,0-14 0,0 0 0,0 14 15,0-14-15,0 0 0,0 0 0</inkml:trace>
  <inkml:trace contextRef="#ctx0" brushRef="#br3" timeOffset="-59504.09">18045 13441 0,'0'-13'0,"13"-1"15,0 14 1,0 0-1,1 0-15,-1 0 0,0 0 16,0 0-16,0 0 0,1 14 0,-1-28 16,13 14-16,-12 14 0,-1-14 15,0 0-15</inkml:trace>
  <inkml:trace contextRef="#ctx0" brushRef="#br3" timeOffset="-58989.33">18441 13361 0,'0'-13'16,"0"40"15,0-14-31,0 0 0,0 0 16,0 1-16,0-1 15,14-13-15,-14 13 0,0 0 16,0 1-16,13-14 16,0 0-1,0-14 1,1 1-16,-1 0 16,0 13-1,-13-13 1,13 13-1,1 0-15,12 0 16,-13-14 0,0 14-16,1 0 0,-1-13 15,0 13-15,0 0 0,-13-13 16,14 13-16,-14-13 0,-27 26 47,14-13-47,13 13 15,-13 0-15,26 1 16,-13-1 0,13-13-16,0 0 0,1 0 15,-14 13-15,13-13 16,0 0-16</inkml:trace>
  <inkml:trace contextRef="#ctx0" brushRef="#br3" timeOffset="-58643.9">19368 13295 0,'-27'27'31,"27"-14"-31,-13 0 0,13 0 0,0 1 16,-13-14-16,13 13 0,0 0 16</inkml:trace>
  <inkml:trace contextRef="#ctx0" brushRef="#br3" timeOffset="-58355.77">19460 13322 0,'-13'-13'0,"-14"39"16,27-13-1,14 0-15,-14 1 16,13-14-16,0 0 16,-13 13-16,13-13 0,1 0 0,12 0 15,-13-13 1,-13-1-1,-13 1 1,13 0-16,-13 13 16,0-13-16,-1 13 15,-12-13-15</inkml:trace>
  <inkml:trace contextRef="#ctx0" brushRef="#br3" timeOffset="-58119.83">19129 13137 0,'-39'39'15,"78"-78"-15,-92 91 0,40-38 0,0 12 0,-13 1 16,12-1-16,-12 1 0,13-1 15,13 14-15,-14-14 0,14 1 0,0-14 16,0 13-16,14 1 0,-1-1 0,0-13 16,14 14-16,-14-14 0,13 0 15,-13 1-15,14-1 0,-1-13 0</inkml:trace>
  <inkml:trace contextRef="#ctx0" brushRef="#br3" timeOffset="-57155.29">20055 13203 0,'-39'66'16,"25"-53"0,14 0-16,-13 1 0,13-1 15,0 0-15,0 0 0,0 0 0,0 1 16,0-1-16,-13 0 15,0-26 17,13 0-32,-13 13 0,13-14 0,-14 14 15,1 0-15,13-13 16,-13 13-16,0 0 0,-1 0 0,1-13 16,0 26-16,0-13 0,-14 0 0,14 0 15,0 0-15,13 13 0,-13-13 16,-1 14-16,1-1 0,13 0 15,13 0-15,1 1 16,12-14-16,-13 13 16,14-13-16,-14 0 0,13 0 0,1 0 15,-1 0-15,-12 0 0,12 0 16,-13 0-16,14-13 0,-14 13 0,0-14 16,0 14-16,1 0 0,-1-13 0,-13 0 15,13 13 1,-13-13-16,-13 13 31,-14 13-15,27 0-1,0 0 1,14-13 0,-1 14-16,0-14 15,0 0-15,1 0 16,-1 0-1,0 0-15,0 0 47,0 0-47,1-14 16,-1 14 0,0 0-16,0 0 0,1 0 15,-1 0-15,0 0 16,-13 14-16,13-14 15,-13 13-15,0 0 16,0 0-16,0 1 16,-13-1-16,13 0 15,-13 0-15,0-13 0,13 13 16,-14-13-16,14 14 0,-13-14 0,13 13 16,-13-13-1,39-13 16,-12-1-15,-1 14-16,-13-13 0</inkml:trace>
  <inkml:trace contextRef="#ctx0" brushRef="#br3" timeOffset="-56936.92">20492 13176 0,'13'13'16,"-13"1"-16,0-1 16,0 0-16,0 0 0,0 1 15,-13 12-15,13-13 0,0 14 0,-13-14 16,13 13-16,0 1 0,-13-14 0,-1 14 16,14-14-16,-13 13 0,0-12 15,0-1-15,-14 13 0,14-13 0,0 1 16,-14-14-16,14 13 0</inkml:trace>
  <inkml:trace contextRef="#ctx0" brushRef="#br3" timeOffset="-55843.97">14949 13930 0,'26'14'15,"-12"-14"1,-1 0-16,0 0 0,14 0 0,-14 0 16,13 13-16,-13-13 0,14 0 15,-14 0-15,14 0 0,-14 0 0,0 0 16,0 0-16,1 0 16,-1 0-16,-13-13 0</inkml:trace>
  <inkml:trace contextRef="#ctx0" brushRef="#br3" timeOffset="-55600.58">15200 13785 0,'27'13'32,"-14"-13"-32,0 13 0,0 0 15,1 1-15,-1-1 0,0 0 0,0 0 16,1 1-16,-14-1 0,13 0 15,-13 0-15,13 14 0,-13-14 0,0 0 16,0 0-16,-13 1 0,13-1 0,0 0 16,-13 0-16,-1 1 15,1-1-15</inkml:trace>
  <inkml:trace contextRef="#ctx0" brushRef="#br3" timeOffset="-54665.17">16285 13904 0,'13'-13'31,"1"13"-31,-1 0 31,-40 13 16,14-13-47,0 13 16,0-13-16,-1 0 15,14 13 1,0 14-1,14-14 1,-1 0-16,0 0 16,-13 1-16,13-14 0,-13 13 15,14 0-15,-14 0 0,0 1 16,0-1-16,0 0 16,-14-13-16,14 13 0,-13-13 15,13 14-15,-13-14 0,0 0 16,-14 0-1,27-14-15</inkml:trace>
  <inkml:trace contextRef="#ctx0" brushRef="#br3" timeOffset="-53952.89">16880 13930 0,'-26'14'0,"13"25"15,13-26-15,0 1 0,0-1 16,0 0-16,-13 0 0,13 1 16,0 12-16,0 14 0,0-27 15,0 0-15,0 0 0,-14 1 0,14-1 16,0 0-16,0 0 0,0-39 47,0 13-47,0-14 0,0 1 0,0-1 15,14 1-15,-14 13 0,13-14 16,-13 1-16,13 12 0,-13 1 16,13 0-16,0 0 0,1 0 15,-14-1-15,13 14 0,0 14 16,-13-1-1,0 13-15,-13-13 16,13 1-16,-13-1 16,13 0-16,-14-13 0,1 13 0,13 1 15,-13-14-15,13 13 0,-13-13 0,0 13 16,-1-13 0,14 13-16</inkml:trace>
  <inkml:trace contextRef="#ctx0" brushRef="#br3" timeOffset="-53506.96">16603 14023 0,'13'0'15,"13"0"-15,-12 0 16,12 0-16,-13 0 0,0 0 16,14 0-16,-14 0 0,14 0 0</inkml:trace>
  <inkml:trace contextRef="#ctx0" brushRef="#br3" timeOffset="-53114.79">17039 14076 0,'13'-13'31,"1"13"-16,-1 0-15,0 0 0,0 0 16,14 0 0,-14 0-16,0-14 15</inkml:trace>
  <inkml:trace contextRef="#ctx0" brushRef="#br3" timeOffset="-52914.93">17264 13996 0,'0'27'31,"0"-14"-31,-13 0 16,13 1-16,0-1 0,0 0 15</inkml:trace>
  <inkml:trace contextRef="#ctx0" brushRef="#br3" timeOffset="-51888.58">18203 13983 0,'-13'13'16,"13"1"-16,0-1 0,-13 0 15,13 0-15,0 1 16,0-1-16,0 0 0,0 0 15,0 1-15,0-1 0,0 13 16,0-13 0</inkml:trace>
  <inkml:trace contextRef="#ctx0" brushRef="#br3" timeOffset="-51482.83">18111 14089 0,'26'-13'15,"-13"13"-15,1 0 0,-1 0 16,0 0-16,0 0 0,1 0 16,-1 0-16,0 0 0,0 0 15,0 0-15,14 0 16</inkml:trace>
  <inkml:trace contextRef="#ctx0" brushRef="#br3" timeOffset="-50804.01">18481 14063 0,'0'-14'16,"0"41"15,0-14-15,0 0-16,0 1 15,0-1-15,13-13 0,-13 13 16,0 0-16,0 0 16,14-13-16,-1-13 31,0 0-31,0 0 31,-13 0-15,14 13-16,-14-14 15,13 14-15,0 0 16,0 0-16,0-13 16,1 13-16,-1 0 15,0 0-15,0-13 0,1 13 0,-1-13 16,0-1-16,0 14 0,-13-13 16,13 13-16,-13-13 15,-26 26 16,13 0-31,13 1 16,-13-14-16,13 13 0,0 0 16,0 0-16,0 1 15,0-1-15,13-13 16,0 0-16,-13 13 0,13-13 16,0 0-16,1 0 0,-1 0 15,0 0-15,0 0 0,1 0 16,-1 0-16,0 0 0,0 0 0,1 0 15</inkml:trace>
  <inkml:trace contextRef="#ctx0" brushRef="#br3" timeOffset="-49949.15">19315 13838 0,'-14'0'15,"1"0"-15,0 13 0,13 0 16,-13-13-16,13 13 0,0 1 0,-14 12 0,14-13 15,0 1-15,0 25 16,0-12-16,0-14 0,0 0 16,0 14-16,14-14 0,-14 0 0,0 0 15,13 1-15,-13-1 0,13 0 16,0 0-16,1-13 0,-1 13 16,0-13-16,0 0 0,1-13 15,-1 13-15</inkml:trace>
  <inkml:trace contextRef="#ctx0" brushRef="#br3" timeOffset="-49520.28">19500 13970 0,'0'-13'16,"-13"39"0,-1-26-1,14 13-15,0 1 16,0-1-16,-13 0 0,13 0 15,0 1-15,0-1 0,0 0 16,13-13-16,-13 13 16,14-13-16,12 0 15,-26-13-15,13 13 16,0-13-16,1 13 16,-14-13-16,13 13 15,-13 13 32,0 0-47,13-13 16,0 0-16,1 0 0,-1 13 15,0-26-15,0 13 0,1 0 16,-14-13-16,13 0 16,-13-1-1,-13 1-15,-1 0 16,14 0-1,-13 13-15,0-14 0</inkml:trace>
  <inkml:trace contextRef="#ctx0" brushRef="#br3" timeOffset="-49155.12">20055 13811 0,'0'13'31,"0"14"-31,0-14 16,0 0-16,0 1 16,0-1-16,0 0 0,0 0 15,0 1 1,-13-14-1,0 0-15,0 0 0,-1 13 16,-12-13-16,13 0 0,0 0 16,-1 13-16,-12-13 0,13 13 15,-1-13-15,1 0 0,0 13 0,0-13 16,0 14-16,-1-1 31,28 0-31,-1-13 16,0 13-16,0-13 0,0 0 15,1 14-15,-1-14 0,0 0 16,14 0-16,-14 0 0</inkml:trace>
  <inkml:trace contextRef="#ctx0" brushRef="#br3" timeOffset="-48283.94">20280 13944 0,'-26'13'16,"13"-13"-16,-1 13 16,14 0-1,-13 0-15,26 1 16,1-1-1,-1-13-15,0 0 16,0 0-16,1 0 0,-1 0 16,-13-13-16,13 13 0,0 0 15,-13-14-15,13 14 0,1-13 16,-1 0 0,0 26 30,0-13-46,1 0 16,-1 0-16,0-13 16,0 13-16,1 0 15,-14-13-15,13 13 16,0 0-16,-13-13 16,13 26-1,0-13-15,-13 13 16,14 0-16,-14 0 15,13 1-15,-13-1 0,0 0 16,0 0-16,0 1 0,0-1 0,0 0 16,0 0-16,0 1 0,0-1 15,-13 0-15,13 0 16,-14 0 0,28-39 15,-14 13-31,13 0 0,0-1 15,-13 1-15,13 13 0,1-13 16,-1 0-16,-13-1 0,13 14 16,-13-13-16,13 0 0,1 13 15,-14-13-15,13 26 32,0-13-32,-13 13 15,0 0-15,0 1 16,0-1-1</inkml:trace>
  <inkml:trace contextRef="#ctx0" brushRef="#br3" timeOffset="-48052.06">20796 13758 0,'13'14'16,"-13"-1"-16,0 0 0,0 0 16,0 0-16,0 14 0,14-14 0,-14 14 15,0-14-15,0 13 0,0 1 0,0-1 16,-14-13-16,14 14 0,0-14 16,0 14-16,-13-14 0,13 0 15,0 0-15,-13 1 0,13-1 0,-13 0 16,13 0-16,-13-13 15</inkml:trace>
  <inkml:trace contextRef="#ctx0" brushRef="#br3" timeOffset="-46556.26">21484 13137 0,'13'13'31,"-13"0"-31,0 0 16,0 0-16,0 1 0,0-1 15,0 0-15,0 0 0,0 1 16,0-1-16,0 0 15,0 0-15,14-13 0,-1 0 16,0 0-16,14 0 0,12-13 16,1 0-16,26-14 0,-13 1 0,13 13 15,0-14-15,0-12 0,14 12 16,12 1-16,14-14 0,-13 0 0,13 14 16,-1-1-16,-25 1 0,-1 13 15,1-1-15,-14 1 0,0 0 0,0 0 16,-26 13-16,-1-13 0,-12 13 0,-1 0 15,-12 0-15,-1 0 0,0 0 16,14-14-16,-14 14 0,0 0 16,0 0-16,0 0 15,1 0 1,-14-13 0</inkml:trace>
  <inkml:trace contextRef="#ctx0" brushRef="#br3" timeOffset="-43103.01">8242 13758 0,'26'0'16,"1"0"-16,-14 0 0,0 0 16,0-13-16,1 13 0,12 0 0,-13 0 15,14 0-15,-1 0 0,14 0 16,-14 0-16,14-13 0,-14 13 0,14 0 15,0 0-15,0-13 0,-14 13 16,14 0-16,-14 0 0,14 0 16,-14-14-16,1 14 0,-1 0 0,14 0 15,-14 0-15,14 0 0,-13 0 0,-1-13 16,14 13-16,-14 0 0,-13 0 16,14 0-16,-1 0 0,1 0 0,-14 0 15,13 0-15,1-13 0,-14 13 0,0 0 16,14 0-16,-14 0 0,0 0 15,0-13-15,14 26 0,-14-13 16,0 0-16,1 0 0,-1 0 0,0 0 16,0 0-16,-13 13 15,14-13-15,-1 0 0,0 0 16,0 0 0,0 0-16,1 0 15,-1 0-15,0 0 0,0 0 16,1-13-16,-1 13 0,0 0 15,0 0 1,1 0-16,-1-13 16,0 13-1,0 0-15,0 0 16,1 0-16,-1-14 16,0 14-16,0 0 15,1 0-15,-1 0 16,13 0-1,-13 0-15,1 0 16,-1 0-16,0 0 16,0 0-16,1 0 0,-1 0 15,0 0-15,0 0 0,1 0 0,-1 0 16,0 0-16,0 0 16,0 0-16,1 0 0,-1 0 15,0 0-15,0-13 0,1 13 0,-1 0 16,0 0-16,0 0 15,1 0-15,-1-13 0,0 13 16,0 0-16,0-13 16,1 13-16,-14-13 15,13 13-15,-13-14 0,13 14 16,-13-13-16,13 13 0,-13-13 0,14 0 16,-14-1-16,13 14 15,-13-13-15,0 0 0,13 13 0,-13-13 16,0 0-16,0-1 0,13 14 15,-13-13-15,0 0 16,0 0-16,0-1 0,0 1 16,0 0-16,-13 0 15,13-1-15,0 1 16,0 0-16,-13 0 16,13 0-16,0-1 0,-13 14 15,13-13-15,-14 13 0,14-13 16,-13 0-16,0-1 0,0 14 15,13-13-15,-14 13 0,1-13 16,0 13-16,0 0 0,0-13 16,-1 13-16,1 0 0,-13-14 0,12 14 15,1 0-15,-13 0 0,-1-13 0,14 13 16,-13 0-16,12 0 16,-12-13-16,13 13 0,-1 0 0,1 0 15,-13 0-15,12 0 0,1 0 0,-13 0 16,13 0-16,-1 0 0,1 0 15,0-13-15,0 13 0,-1 0 0,1 0 16,0 0-16,0 0 0,0 0 0,-1 0 16,1 0-16,0 0 0,0-13 15,-1 13-15,1 0 0,0 0 0,0 0 16,-1 0-16,1 0 0,0 0 0,0 0 16,-14 0-16,14-14 0,0 14 15,0 0-15,-14 0 0,14 0 0,-14 0 16,1 0-16,13-13 0,-14 13 0,1 0 15,13 0-15,-14 0 0,14 0 16,-13 0-16,-1-13 0,14 13 16,0 0-16,-14 0 0,14 0 0,0 0 15,-1 0-15,1 0 0,-13-13 16,13 13-16,-1 0 0,1 0 0,0 0 16,-14 0-16,14 0 0,0 0 0,0 0 15,-14 0-15,14 0 0,0 0 16,0 0-16,-14 0 0,14 0 0,0 0 15,-1 0-15,1 0 0,0 0 0,-14 0 16,14 0-16,0 0 0,0 0 16,0 0-16,-14 0 0,14 0 0,0 0 15,-14 0-15,14 0 0,-14 0 0,1 0 16,13 0-16,0 0 16,-14 13-16,14-13 0,0 0 0,-1 0 15,-12 0-15,13 0 0,0 0 0,-1 0 16,1 0-16,0 0 15,0 0-15,-1 0 0,1 13 16,0-13-16,0 0 0,-1 0 16,1 13-16,0-13 15,0 0-15,13 14 0,-13-14 16,-1 0-16,1 0 0,13 13 16,-13-13-16,0 13 15,-1-13-15,1 13 16,0-13-16,0 13 0,-1 1 15,1-14-15,13 13 16,-13-13-16,0 13 0,0 0 16,-1-13-16,14 14 0,-13-14 0,0 13 15,0 0-15,-1 0 16,1-13-16,0 14 0,0-1 16,0 0-16,-1 0 0,1 0 15,13 1-15,-13-14 16,13 13-16,-13 0 0,13 0 15,-14 1-15,14-1 0,-13 0 16,13 0-16,-13 1 16,13-1-16,0 0 0,0 0 15,0 0-15,0 1 16,0-1-16,13-13 0,-13 13 16,0 0-16,13 1 0,1-1 15,-14 0-15,13-13 0,-13 13 16,13-13-16,0 13 0,1 1 15,-1-1-15,0-13 0,0 13 16,0-13-16,1 13 0,-1-13 0,0 14 16,0-14-16,14 0 0,-14 13 0,0-13 15,0 0-15,14 13 0,-14-13 16,14 0-16,-14 0 0,13 0 16,-12 13-16,12-13 0,-13 0 0,0 0 15,14 0-15,-14 0 0,0 0 16,1 0-16,12 0 0,-13 0 0,1 0 15,-1 0-15,13 0 0,-13 0 0,1 0 16,-1 0-16,0 0 0,0 0 16,1 0-16,-1 0 0,0 0 15,0 0-15,0 0 0,1 0 16,-1 0-16</inkml:trace>
  <inkml:trace contextRef="#ctx0" brushRef="#br3" timeOffset="-9292.94">20690 595 0,'0'-13'16,"14"26"15,-14 1-31,0-1 0,13 0 16,-13 0-16,0 0 0,0 1 0,0-1 16,13 0-16,-13 0 0,0 1 0,0-1 15,0 0-15,0 0 0,13 1 16,-13-1-16,14-13 15</inkml:trace>
  <inkml:trace contextRef="#ctx0" brushRef="#br3" timeOffset="-8988.05">20862 675 0,'0'-14'31,"0"41"-16,0-14-15,0 0 16,14 1-16,-1-14 16,-13 13-16,13-13 15,0 0-15,1 0 0,-1 0 16,0-13-16,0 13 0,0 0 16,-13-14-16,14 1 0,-14 0 15,0 0 1,0-1-16,-14 14 0,14-13 15,-13 13-15,13-13 0,-13 13 0,0-13 16,0 13-16,-1 0 16,1 13-16,0-13 0,0 13 15,-1-13-15,14 13 0,-13-13 16</inkml:trace>
  <inkml:trace contextRef="#ctx0" brushRef="#br3" timeOffset="-8524.35">21180 489 0,'13'0'0,"-13"14"31,0-1-15,13 0-16,-13 0 0,0 1 0,0 12 0,14 1 15,-14-1-15,0-13 0,13 14 16,-13-1-16,13 1 0,-13-14 0,13 0 15,-13 14-15,0-14 0,13 0 0,-13 0 16,14 0-16,-14 1 0,0-1 16,13 0-16,-13 0 15,0-39 32,0 13-47,0-1 0,0-12 0,0 13 16,0-14-16,0 1 0,0 13 15,0-14-15,13 14 0,-13 0 16,0-1-16,13 1 0,-13 0 0,0 0 0,14 13 16,-1-13-16,0 26 15,-13 0 1,0 0-16,13-13 16,-26 27-16,13-14 15,0 0-15,-13 0 16,13 1-1,-13-14-15,13-14 32</inkml:trace>
  <inkml:trace contextRef="#ctx0" brushRef="#br3" timeOffset="-8322.05">21511 450 0,'0'13'31,"0"0"-31,0 0 16,13 1-16,-13-1 0,0 0 0,0 0 15,0 14-15,0-14 0,0 0 16,0 1-16,0 12 0,13-13 0,-13 0 16,0 1-16,13-1 0,-13 0 15,14-13-15</inkml:trace>
  <inkml:trace contextRef="#ctx0" brushRef="#br3" timeOffset="-7334.17">21815 516 0,'-13'13'16,"-1"-13"-16,1 0 0,13 13 16,-13-13-16,13 14 0,-13-14 15,0 13-15,13 0 0,-14-13 0,14 13 16,0 1-16,-13-1 0,13 0 16,0 0-1,13 0 16,1-26-31,-1 13 16,0-13-16,0 13 0,0-13 16,1 0-16,-1-1 15,0 14-15,-13-13 16,13 0 0,-13 0-1,14 13 1,-1 13 15,-13 0 0,13 0-15,0-13 15,1 0 0,-1-13-15,0 13 0,0 0-1,-13-13-15,13 26 16,1-13 0,-1 0-16,0 13 15,0-13 1,1 0-1,-1-13-15,0 13 16,-13-13-16,13 0 16,0 13-16,-13-14 0,0 1 0,14 0 15,-1 0-15,-13-1 16,0 1-16,13 0 0,-13 0 16,0 0-16,13 13 0,-13-14 15,0 41 16,0-14-15,0 0 0,0 0-16,14 1 15,-1-1-15,0-13 16,0 0 0,1 0-16,-1 0 15,0-13-15,0 13 16,0 0-16,1 0 15,-1 13 1,0 0 0,-13 0-1,0 1 1,0-1-16,-13-13 16</inkml:trace>
  <inkml:trace contextRef="#ctx0" brushRef="#br3" timeOffset="-7167.27">22106 503 0,'26'-27'16,"-12"27"-16,-1-13 15,0 13-15,0 0 0,1-13 16,-1 13-16,13 0 0,-13-13 0,1 13 15,-1 0-15,0-14 0,0 14 0</inkml:trace>
  <inkml:trace contextRef="#ctx0" brushRef="#br3" timeOffset="-7023.61">22503 410 0,'13'0'0</inkml:trace>
  <inkml:trace contextRef="#ctx0" brushRef="#br3" timeOffset="-6194.18">20055 1019 0,'27'-27'31,"-14"27"-31,-13-13 0,13 13 16,1-13-16,-1 13 0,0-14 0,0 14 15,27 0-15,-27-13 16</inkml:trace>
  <inkml:trace contextRef="#ctx0" brushRef="#br3" timeOffset="-5956.65">20307 820 0,'26'13'15,"-13"-13"-15,1 0 0,-14 14 0,13-14 16,-13 13-16,13-13 0,-13 13 16,13 0-16,-13 1 15,-13-1-15,13 0 0,0 0 16,0 0-16,-13-13 16,13 14-16,0-1 0</inkml:trace>
  <inkml:trace contextRef="#ctx0" brushRef="#br3" timeOffset="-2556.36">20571 1508 0,'40'-26'16,"-27"12"-16,1 14 0,12-13 15,-13 13-15,0-13 0,14 0 0,-14 13 16,0-13-16,1 13 0,-1-14 15</inkml:trace>
  <inkml:trace contextRef="#ctx0" brushRef="#br3" timeOffset="-2307.14">20796 1283 0,'13'0'15,"1"0"-15,-1 13 0,0-13 16,14 0-16,-14 14 0,0-1 16,0 0-16,14 0 0,-27 1 15,13-1-15,-13 0 0,0 0 16,13 1-16,-26-1 0,13 0 16,0 0-16,-13 0 0,13 1 15,-13-1-15,13 0 0,-14 0 0,1 1 16</inkml:trace>
  <inkml:trace contextRef="#ctx0" brushRef="#br3" timeOffset="-488.38">21590 1574 0,'0'0'0,"0"27"15,0-14 1,0 0-16,0 0 0,0 1 0,0 12 16,0-13-16,0 40 15,-13-40-15,13 14 0,0-14 0,0 0 16,0 14-16,0-14 0,0 0 15,0 1-15,0-1 0,0 0 0,13 0 16,-13 0-16,0 1 16,13-14-1</inkml:trace>
  <inkml:trace contextRef="#ctx0" brushRef="#br3" timeOffset="-228.34">21444 1826 0,'27'-14'31,"-14"1"-31,14 13 16,-1-13-16,-13 13 15,1-13-15,-1 13 0,0-14 0,13 14 16,-12 0-16,-1-13 0,0 13 0,0 0 16</inkml:trace>
  <inkml:trace contextRef="#ctx0" brushRef="#br3" timeOffset="145.62">21736 1799 0,'26'-26'31,"-26"12"-31,13 1 16,-13 0-16,13 13 0,-13-13 15,0 0-15,-13-1 32,0 41-17,13-14 1,-13 0-16,13 0 15,0 1-15,0-1 16,0 0-16,0 0 16,13-13-16,-13 14 0,13-14 15,0 0-15,1 0 16,-1 0-16</inkml:trace>
  <inkml:trace contextRef="#ctx0" brushRef="#br3" timeOffset="1676.66">21603 1667 0,'0'-13'0,"-13"-1"31,13 41 1,0-14-32,0 0 0,0 1 0,0-1 15,0 0-15,0 0 0,0 0 16,0 1-16,0 12 0,0-13 0,0 1 15,13-14-15,-13 13 0,0 0 0,0 0 16,13-13-16,-13 14 0,14-1 16,-1-13-1,0-13-15,0-1 16,-13 1-16,14 13 16,-14-13-16,13 0 0,-13-1 15,0 1-15,13 0 0,-13 0 16,13-1-16,1 14 47,-14 14-47,13-1 15,-13 0-15,13-13 0,-13 13 16,13-13-16,0 0 0,1 0 16,-1 0-16,0 0 0,0 0 15,1-13-15,-1 13 0,0-13 16,-13 0-16,13-1 0,-13 1 0,0 0 15,14 0-15,-14 0 0,0-14 16,0 14-16,0-14 0,0 14 16,0 0-16,0 0 0,-14 0 0,14-1 15,0 1-15,0 0 16,0 0-16,-13 39 16,0-26-16,13 13 15,0 1-15,0-1 0</inkml:trace>
  <inkml:trace contextRef="#ctx0" brushRef="#br3" timeOffset="2421.92">22093 1614 0,'-14'-13'16,"1"26"-1,0-13-15,13 13 0,-13 0 16,0 1-16,13-1 16,-14 0-16,14 0 0,0 1 15,-13-14-15,13 13 0,0 0 0,0 0 16,13-13 0,1 0-1,-1-13-15,0 0 16,-13 0-16,13 13 15,-13-14-15,13 14 16,1 0 15,-14 14-15,13-14 0,0 0-1,0 0-15,1-14 16,-14 1-16,13 13 15,-13-13-15,13 0 0,-13-1 16,0 1-16,13 0 16,-13 0-16,0-14 0,0 14 0,0 0 15,0 0-15,0-1 0,0 1 0,0 0 16,0 0-16,0-1 0,-13-12 16,13 52 15,0-12-16,0-1-15,0 0 0,0 0 16,0 1-16,0 12 0,13-13 16,-13 1-16,0 12 0,14-13 0,-14 0 15,13 1-15,-13-1 0,13-13 16,0 0-16,-13 13 0,13-13 16,14-13-16,-27 0 15,13 13-15,0 0 0,-13-14 0,14 14 16,-14-13-16,13 13 0,0 0 15,0-13 1,1 13-16,-1 13 16,0-13-1,0 0-15,0 0 16,1 0-16,-1-13 16,0 13-16,-13-13 15</inkml:trace>
  <inkml:trace contextRef="#ctx0" brushRef="#br3" timeOffset="2607.73">22119 1561 0,'13'0'31,"1"-13"-31,-1 13 15,0 0-15,0 0 0,14-13 0,-14 13 16,13 0-16,-12-14 0,12 14 16,-13 0-16,1 0 0</inkml:trace>
  <inkml:trace contextRef="#ctx0" brushRef="#br3" timeOffset="2904.65">22595 1468 0,'0'14'0,"14"-14"16,-14 13-16,13 0 16,-13 0-16,13 1 15,-13-1 1,13-26 15,1-1-31,-14 1 16,0 0-16,13 13 15,-13-13-15,13-1 16,-13 1 0</inkml:trace>
  <inkml:trace contextRef="#ctx0" brushRef="#br3" timeOffset="4289.06">22781 1865 0,'-14'0'0,"28"0"0,-41 0 0,14 0 16,13 14-1,0 12 1,0-13-16,13 0 16,0 1-16,1-1 0,-14 0 15,13-13-15,0 13 0,-13 1 16,13-1-16,-13 0 15,0 0-15,0 1 16,-13-1 0,0 0-16,0-13 15,13 13-15,-14-13 16,1 0-16,0 0 16</inkml:trace>
  <inkml:trace contextRef="#ctx0" brushRef="#br3" timeOffset="4860.09">22939 1852 0,'-13'27'46,"13"-14"-30,13 0-16,-13 0 16,0 0-16,14-13 15,-14 14-15,13-14 16,0 0-16,0 0 31,1 0-31,-1-14 16,-13 1-16,13 13 15,-13-13-15,13 0 16,-13 0-16,13 13 16,-13-14-16,0 1 15,14 13 1,-1 13 15,-13 1-15,13-14-16,-13 13 0,0 0 15,13-13 1,-13 13 0,27-26-1,-27 0 1,13 13-16,-13-13 16,13 13-16,1-14 15,-1 14-15,0 0 16,0 0-1,0 14 1,1-14 0</inkml:trace>
  <inkml:trace contextRef="#ctx0" brushRef="#br3" timeOffset="5250.96">23363 1640 0,'-14'27'31,"14"-14"-16,0 0-15,0 1 0,0-1 16,0 0-16,0 0 16,14-13-16,-14 13 0,13 1 15,0-14-15,0 0 16,1 0-16,-1-14 16,0 14-16,0 0 15,1 0 1,-1 14-1,0-1-15,-13 0 16,13-13-16,-13 13 0,0 1 16,13-14-16</inkml:trace>
  <inkml:trace contextRef="#ctx0" brushRef="#br3" timeOffset="5383.9">23588 1640 0,'0'-13'0</inkml:trace>
  <inkml:trace contextRef="#ctx0" brushRef="#br3" timeOffset="6305.87">23707 1654 0,'-14'13'15,"14"0"1,0 0-16,0 1 15,-13-1-15,13 0 0,0 0 16,0 0-16,0 1 16,-13 12-16,0-13 15,13 1-15,0-1 16,-13 0 0,39-26 15,-13 0-31,0 13 15,-13-14-15,14 1 0,-1 0 0,0 0 16,0-1-16,-13 1 16,14 0-16,-1-13 0,0-14 15,0 27-15,-13-14 0,13 14 0,-13 0 16,0-14-16,14 27 0,-14-13 16,0 0-16,0 0 0,13 13 0,-13-14 15,0 1-15,-13 40 31,-1-27-31,14 13 0,0 0 16,0 0-16,0 1 0,0-1 16,0 0-16,0 0 0,14-13 15,-14 13-15,13-13 16,-13 14-16,13-14 0,0 0 16,1 0-16,-1-14 15,0 1-15,0 0 16,-13 0-16,14 13 0,-14-13 15,13-1-15,-13 1 16,13 13-16,-13 27 47,-13-27-47,13 13 0,0 0 16,0 0-1,0 0-15,0 1 16,0-1-1,0 0 1,13-26 78,0 13-63,0 0-15,1 0-1,-1 0 17,0 0-32,0 0 15,1 0-15</inkml:trace>
  <inkml:trace contextRef="#ctx0" brushRef="#br3" timeOffset="6675.67">24037 1468 0,'-13'14'16,"13"-1"-1,0 0-15,0 0 0,0 14 16,0-14-16,0 0 0,13 14 15,-13-14-15,0 0 0,14 0 16,-14 1-16,13-1 0,0 0 16,0-13-16,1 13 0,-1-13 15,0 0-15,0 0 0,0 0 16,1 0-16,-1 0 0,0-13 16,0 13-16,1-13 0,-1 13 15,-13-13-15,13-1 0</inkml:trace>
  <inkml:trace contextRef="#ctx0" brushRef="#br3" timeOffset="6856.86">24037 1574 0,'-13'0'0,"40"-13"31,-14 13-31,0-13 0,0 13 16,1 0-16,12-13 0,-13 13 0,14-14 15,-14 14-15,13-13 0,1 0 16,-1 13-16,-12-13 0,-1 13 16,0 0-16</inkml:trace>
  <inkml:trace contextRef="#ctx0" brushRef="#br3" timeOffset="7288.7">24051 952 0,'26'0'0,"14"0"15,-106 0-15,145 0 0,-66-13 0,14 13 16,-14 0-16,0 0 0,0 0 0,14 0 15,-14 0-15,0 13 0,1-13 16,-1 0-16,0 0 0,0 14 0,0-1 16,1 13-16,-14-12 0,13 12 0,0-13 15,0 14-15,1 12 0,-1-12 16,27 26-16,-27-13 0,0-14 16,13 0-16,-12 1 0,-1-1 0,0 1 15,14 13-15,-14-14 16,0-13-16,-13 14 0,13-14 0,-13 0 15,13 14-15,-13-14 0,0 0 0,0 0 16,0 14-16,0-14 0,0 0 16,0 0-16,-13 14 0,0-14 15,0 14-15,-14-14 0,1 13 0,-1-13 0,-12 1 16,12 12-16,-65 1 16,39-27-16,-13 13 0,-1 0 15</inkml:trace>
  <inkml:trace contextRef="#ctx0" brushRef="#br3" timeOffset="8291.83">21590 1402 0,'-53'0'16,"40"0"-1,0 14-15,-1-14 0,1 13 16,-13 0-16,12 0 0,-12 14 16,13-1-16,-14 1 0,14-1 0,0-13 15,13 14-15,-13-14 0,13 13 16,-14 1-16,14-1 0,0-12 0,0 12 15,0-13-15,0 14 0,0-14 0,0 13 16,14-12-16,-14 12 0,13-13 16,-13 1-16,13-1 0,-13 0 0,13 0 15,1 14-15,-1-14 0,0-13 0,0 13 16,0 0-16,1 1 0,-1-14 16,0 13-16,14 0 0,-14-13 15,0 0-15,0 13 0,1-13 0,-1 0 16,13 0-16,-13 0 0,1 0 15,12 0-15,-13 0 0,14 0 0,-1 0 16,-12 0-16,12 0 0,0 0 0,-12 0 16,12 0-16,-13 0 0,14 0 15,-14-13-15,14 13 0,-14 0 0,0 0 16,13 0-16,-12 0 0,12 0 16,-13 0-16,14 0 0,-14 0 15,13 0-15,1 0 0,-14 0 0,14 0 16,-1 0-16,1 0 0,-14 0 0,40 0 15,-27 0-15,1 0 16,-1 0-16,-13 0 0,14 0 0,12 13 16,-25-13-16,12 0 0,-13 14 15,1-14-15,12 0 0,-13 13 16,0-13-16,1 0 0,-1 13 0,0-13 16,14 13-16,-14 0 15,13 1-15,-12-14 0,-1 0 16,-13 13-16,13-13 0,0 13 15,0-13-15,1 0 0,-1 13 0,0-13 16,0 0-16,1 0 0,-1 0 0,0 0 16,14 0-16,-14 0 15,13 0-15,-13 0 0,1-13 0,12 13 16,-13 0-16,1 0 0,-1 0 0,0 0 16,0-13-16,1 13 15,-1 0-15</inkml:trace>
</inkml:ink>
</file>

<file path=ppt/ink/ink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3.605"/>
    </inkml:context>
    <inkml:brush xml:id="br0">
      <inkml:brushProperty name="width" value="0.025" units="cm"/>
      <inkml:brushProperty name="height" value="0.025" units="cm"/>
      <inkml:brushProperty name="ignorePressure" value="1"/>
    </inkml:brush>
  </inkml:definitions>
  <inkml:trace contextRef="#ctx0" brushRef="#br0">28 1,'0'6,"-3"6,-5 4,-1 3,2-2</inkml:trace>
</inkml:ink>
</file>

<file path=ppt/ink/ink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5.186"/>
    </inkml:context>
    <inkml:brush xml:id="br0">
      <inkml:brushProperty name="width" value="0.025" units="cm"/>
      <inkml:brushProperty name="height" value="0.025" units="cm"/>
      <inkml:brushProperty name="ignorePressure" value="1"/>
    </inkml:brush>
  </inkml:definitions>
  <inkml:trace contextRef="#ctx0" brushRef="#br0">78 1,'-3'0,"-5"0,-1 3,-2 1,1 4,-1-1,-3 3,2 0</inkml:trace>
</inkml:ink>
</file>

<file path=ppt/ink/ink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55.383"/>
    </inkml:context>
    <inkml:brush xml:id="br0">
      <inkml:brushProperty name="width" value="0.05" units="cm"/>
      <inkml:brushProperty name="height" value="0.05" units="cm"/>
      <inkml:brushProperty name="color" value="#E71224"/>
      <inkml:brushProperty name="ignorePressure" value="1"/>
    </inkml:brush>
  </inkml:definitions>
  <inkml:trace contextRef="#ctx0" brushRef="#br0">245 0,'-7'10,"0"0,0 0,0 1,1-1,1 1,0 1,1-1,-6 20,-10 25,-123 259,126-286,11-17</inkml:trace>
</inkml:ink>
</file>

<file path=ppt/ink/ink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56.452"/>
    </inkml:context>
    <inkml:brush xml:id="br0">
      <inkml:brushProperty name="width" value="0.05" units="cm"/>
      <inkml:brushProperty name="height" value="0.05" units="cm"/>
      <inkml:brushProperty name="color" value="#E71224"/>
      <inkml:brushProperty name="ignorePressure" value="1"/>
    </inkml:brush>
  </inkml:definitions>
  <inkml:trace contextRef="#ctx0" brushRef="#br0">123 24,'-7'7,"1"-2,0 0,0 0,1 0,0 1,0 0,0 0,1 0,0 0,0 1,1 0,-1 0,1 0,1 0,-1 0,0 9,2-12,0 0,0 0,1 0,0 0,-1 0,2 0,-1 0,0 0,1 0,0-1,0 1,0 0,0 0,0 0,1-1,0 1,0-1,0 0,0 1,0-1,4 4,-3-5,0 0,1 0,-1 0,1 0,-1-1,1 1,0-1,0 0,0 0,0 0,-1-1,1 1,0-1,0 0,0 0,0 0,0-1,0 1,0-1,0 0,5-2,-3 1,0-1,0 0,0 0,0 0,0-1,-1 1,1-2,-1 1,0 0,-1-1,1 0,-1 0,0 0,0-1,0 1,-1-1,0 0,0 0,-1 0,1 0,2-13,-4 15,0 0,-1 0,1 0,-1 0,0 0,0 0,0 0,0 0,-1 0,1 0,-1 0,0 0,-1 1,1-1,-1 0,1 1,-1-1,0 1,0-1,-1 1,1 0,-1 0,1 0,-1 0,0 0,0 1,0-1,-1 1,1 0,-1 0,1 0,-1 1,0-1,1 1,-1 0,-7-2,0 1,0 0,0 1,0 0,0 1,0 0,0 0,0 1,0 1,0 0,1 1,-1 0,0 0,-17 9,14-5</inkml:trace>
</inkml:ink>
</file>

<file path=ppt/ink/ink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01.698"/>
    </inkml:context>
    <inkml:brush xml:id="br0">
      <inkml:brushProperty name="width" value="0.025" units="cm"/>
      <inkml:brushProperty name="height" value="0.025" units="cm"/>
      <inkml:brushProperty name="ignorePressure" value="1"/>
    </inkml:brush>
  </inkml:definitions>
  <inkml:trace contextRef="#ctx0" brushRef="#br0">237 1,'-23'14,"1"2,0 1,2 0,0 2,1 0,-23 30,-5 4,45-52,0 1,0 0,1 0,-1 0,0 0,1 0,0 0,-1 0,1 1,0-1,0 0,0 1,1-1,-1 1,1-1,-1 1,1 2,0-3,1-1,0 1,-1-1,1 1,0-1,0 0,0 1,0-1,0 0,0 0,1 0,-1 0,0 0,1 0,-1 0,0 0,1 0,-1-1,1 1,-1-1,1 1,0-1,-1 1,1-1,-1 0,1 0,0 0,1 0,30 3,0-3,0 0,0-2,-1-2,35-7,-60 10,10-2</inkml:trace>
</inkml:ink>
</file>

<file path=ppt/ink/ink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02.353"/>
    </inkml:context>
    <inkml:brush xml:id="br0">
      <inkml:brushProperty name="width" value="0.025" units="cm"/>
      <inkml:brushProperty name="height" value="0.025" units="cm"/>
      <inkml:brushProperty name="ignorePressure" value="1"/>
    </inkml:brush>
  </inkml:definitions>
  <inkml:trace contextRef="#ctx0" brushRef="#br0">134 1,'-3'18,"0"0,-1 0,-1 0,0-1,-1 1,-16 28,4-4,8-18,-9 23,-15 56,30-86</inkml:trace>
</inkml:ink>
</file>

<file path=ppt/ink/ink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03.151"/>
    </inkml:context>
    <inkml:brush xml:id="br0">
      <inkml:brushProperty name="width" value="0.025" units="cm"/>
      <inkml:brushProperty name="height" value="0.025" units="cm"/>
      <inkml:brushProperty name="ignorePressure" value="1"/>
    </inkml:brush>
  </inkml:definitions>
  <inkml:trace contextRef="#ctx0" brushRef="#br0">40 2,'-2'1,"0"0,0-1,0 1,1 0,-1 0,0 0,0 0,1 0,-1 0,0 0,1 1,-1-1,1 1,0-1,-1 1,1-1,0 1,0 0,0 0,0-1,0 1,1 0,-1 0,0 0,1 0,-1 0,1 0,0 0,0 2,-2 4,1 0,1 0,-1 0,1-1,0 1,3 11,-3-17,0 0,1 0,0 1,-1-1,1 0,0 0,0 0,0 0,0 0,1 0,-1 0,0 0,1 0,-1-1,1 1,0-1,0 1,0-1,-1 0,1 1,0-1,0 0,1 0,-1 0,0-1,0 1,0 0,5 0,-2-1,-1 0,1-1,-1 1,1-1,-1 0,0 0,1-1,-1 1,0-1,0 0,0 0,0 0,0 0,4-4,-5 3,1 1,-1-1,0 0,0 0,0 0,-1 0,1 0,-1-1,0 1,0-1,0 0,0 0,-1 0,1 1,1-8,-3 9,0-1,0 0,0 0,-1 1,1-1,-1 0,1 1,-1-1,0 0,0 1,0-1,0 1,0-1,-1 1,1 0,-1-1,0 1,0 0,1 0,-1 0,0 0,-1 1,1-1,0 1,0-1,-5-1,-10-5,0 3</inkml:trace>
</inkml:ink>
</file>

<file path=ppt/ink/ink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03.548"/>
    </inkml:context>
    <inkml:brush xml:id="br0">
      <inkml:brushProperty name="width" value="0.025" units="cm"/>
      <inkml:brushProperty name="height" value="0.025" units="cm"/>
      <inkml:brushProperty name="ignorePressure" value="1"/>
    </inkml:brush>
  </inkml:definitions>
  <inkml:trace contextRef="#ctx0" brushRef="#br0">73 1,'-4'3,"0"0,0 0,0 0,0 1,1 0,-1 0,1 0,0 0,0 0,0 1,1-1,0 1,0 0,0-1,0 1,1 0,-1 0,0 8,2-11,-1 1,1 0,-1-1,1 1,0-1,0 1,1 0,-1-1,0 1,1-1,-1 1,1-1,0 1,0-1,0 1,0-1,0 0,1 1,-1-1,1 0,-1 0,1 0,0 0,0 0,0-1,0 1,0-1,0 1,0-1,1 0,-1 1,0-1,1 0,-1-1,1 1,-1 0,4 0,-5-1,1 1,0-1,-1 0,1 1,0-1,-1 0,1 0,0 0,0 0,-1 0,1-1,0 1,-1-1,1 1,-1-1,1 1,0-1,-1 0,1 0,-1 1,0-1,1 0,-1 0,0-1,1 1,-1 0,0 0,0-1,0 1,0-1,0 1,0 0,-1-1,1 0,0 1,-1-1,1 1,-1-3,1 0,-1 1,0 0,-1 0,1 0,0-1,-1 1,0 0,0 0,0 0,0 0,0 0,0 0,-1 1,0-1,1 0,-1 1,0-1,0 1,-5-4,2 2,0 0,0 1,-1 0,1 0,-1 0,0 1,0 0,1 0,-2 0,1 1,-10-1,-2 0</inkml:trace>
</inkml:ink>
</file>

<file path=ppt/ink/ink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23.880"/>
    </inkml:context>
    <inkml:brush xml:id="br0">
      <inkml:brushProperty name="width" value="0.05" units="cm"/>
      <inkml:brushProperty name="height" value="0.05" units="cm"/>
      <inkml:brushProperty name="color" value="#E71224"/>
      <inkml:brushProperty name="ignorePressure" value="1"/>
    </inkml:brush>
  </inkml:definitions>
  <inkml:trace contextRef="#ctx0" brushRef="#br0">328 0,'0'4,"0"3,0 5,-3 4,-5 5,-4 2,-3 5,-3 6,-4 5,-6 5,-1 2,-2 0,-2 2,0-1,0-2,-1-1,5-9</inkml:trace>
</inkml:ink>
</file>

<file path=ppt/ink/ink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25.099"/>
    </inkml:context>
    <inkml:brush xml:id="br0">
      <inkml:brushProperty name="width" value="0.05" units="cm"/>
      <inkml:brushProperty name="height" value="0.05" units="cm"/>
      <inkml:brushProperty name="color" value="#E71224"/>
      <inkml:brushProperty name="ignorePressure" value="1"/>
    </inkml:brush>
  </inkml:definitions>
  <inkml:trace contextRef="#ctx0" brushRef="#br0">266 0,'-22'13,"1"1,0 1,1 1,0 1,1 0,1 2,1 0,1 1,0 0,2 1,0 1,2 0,-15 36,25-54,1 0,0 0,-1 0,2 0,-1 0,0 0,1 0,0 0,0 0,0 1,1-1,-1 0,1 0,0 0,0 0,0 0,1 0,-1 0,1 0,4 6,-5-8,1 0,0 0,0 0,0 0,0 0,1 0,-1 0,0-1,1 1,-1-1,1 0,0 0,-1 0,1 0,0 0,-1 0,1-1,0 1,0-1,0 0,0 0,0 0,-1 0,1 0,0-1,0 1,0-1,-1 0,1 0,0 0,2-1,-3 1,-1 1,0-1,1 1,-1-1,0 1,0-1,1 0,-1 0,0 0,0 0,0 1,0-1,0-1,0 1,0 0,-1 0,1 0,0 0,-1-1,1 1,0 0,-1 0,0-1,1 1,-1-1,0 1,1 0,-1-1,0 1,0-1,0 1,0 0,-1-1,1 1,0-1,-1 1,1 0,-1-1,1 1,-1 0,-1-3,0 0,-1-1,-1 1,1-1,-1 1,1 0,-1 0,0 0,0 1,-7-5,-6-2</inkml:trace>
</inkml:ink>
</file>

<file path=ppt/ink/ink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1:58:37.577"/>
    </inkml:context>
    <inkml:brush xml:id="br0">
      <inkml:brushProperty name="width" value="0.05292" units="cm"/>
      <inkml:brushProperty name="height" value="0.05292" units="cm"/>
      <inkml:brushProperty name="color" value="#C00000"/>
    </inkml:brush>
    <inkml:brush xml:id="br1">
      <inkml:brushProperty name="width" value="0.05292" units="cm"/>
      <inkml:brushProperty name="height" value="0.05292" units="cm"/>
      <inkml:brushProperty name="color" value="#0070C0"/>
    </inkml:brush>
  </inkml:definitions>
  <inkml:trace contextRef="#ctx0" brushRef="#br0">23416 1971 0,'0'0'0,"53"13"15,66 27-15,-66-27 16,66 1-16,13 12 16,-40-13-16,28 0 15,-81-13-15,-12 0 16,-1 14-16,-13 12 31,1-13-15,-1 27-16,27 79 15,-1 0-15,1 27 16,26 39-16,13 40 16,1-27-16,26 93 15,-27 40-15,27-13 16,0 118-1,13 93-15,39 40 0,-25 40 16,-133-160-16,0 1 16,0-146-1,0 54-15,0-28 16,0-12-16,0-14 16,0-39-16,0-54 15,0-52-15,0 13 16,0 13-16,0-39 15,0 13-15,0-14 16,0-39-16,0-27 16,0 54-16,0-28 15,0 1-15,0 13 16,0 0-16,0 27 16,0-27-16,0-26 15,0 52-15,0-26 16,0 27-16,0-67 15,0 27-15,0-27 16,0-26-16,0-40 16,0 14-16,-27-1 78,1-12-63,-14-1 1,27 0-16,-14 14 16,1-1-16,-14-13 15,-13 14-15,14-14 16,-41 27-16,14-27 16,-13 0-16,-14-13 15,1 0-15,-27 0 16,13 0-16,13 0 15,-39 0-15,-27 0 16,-53 0-16,-52 0 16,12 0-16,-105 0 15,172 0-15,-13 0 16,52 0-16,27 40 16,40-40-16,13 0 15,13 13-15,13-13 16,13 0-16,14 0 15</inkml:trace>
  <inkml:trace contextRef="#ctx0" brushRef="#br0" timeOffset="4416.92">12330 2963 0,'0'14'94,"52"-14"-79,41 13-15,39-13 16,27 0-16,26 0 16,27 0-16,79 0 15,40 0-15,-40 0 16,-13 0-16,52 0 16,-144 0-16,-28 0 15,-52 0-15,-13 0 16,-67 0-16,1 0 15</inkml:trace>
  <inkml:trace contextRef="#ctx0" brushRef="#br0" timeOffset="5527.96">18706 3096 0,'26'0'78,"1"0"-78,26 0 15,26 0-15,54 0 16,25 0 0,28 0-16,52 0 15,26 0-15,-12 0 16,-1 0-16,0 0 16,-52 0-16,12 0 15,-25 0-15,-28 0 16,-12 0-16,-40 0 15,-40 0-15,-13 0 16,-14 0-16,-25 0 16</inkml:trace>
  <inkml:trace contextRef="#ctx0" brushRef="#br0" timeOffset="6895.12">807 3836 0,'26'-13'62,"1"13"-46,65 0-16,1 0 16,66 0-16,13 0 15,13 0-15,40 0 16,26 0-16,106 0 16,-65 0-16,-1 0 15,0 0-15,-80 0 16,14 0-16,-40 0 15,-26 0-15,-13 0 16,-14 0-16,-53 0 16,-26 0-16,-13 0 15,-27 0 1</inkml:trace>
  <inkml:trace contextRef="#ctx0" brushRef="#br0" timeOffset="8832.99">6906 3704 0,'26'0'16,"1"0"-16,-1 0 15,27 0 1,0 0-16,39 0 16,14 0-16,0 0 15,0 0-15,26 0 16,-26 0-16,26 0 15,-13 0-15,40 0 16,-13 0-16,52 0 16,-26 0-16,40 0 15,-1 0-15,14 0 16,-39 0-16,12 0 16,40 0-1,-13 0-15,-53 0 16,40 0-16,-40 0 15,-14 0-15,-52 0 16,-13 0-16,-54 0 16,-12 0-16,-14 0 15</inkml:trace>
  <inkml:trace contextRef="#ctx0" brushRef="#br0" timeOffset="11080.94">12502 3201 0,'0'27'94,"0"-14"-94,0 14 16,26 26-16,-13 13 15,0-13-15,14 26 16,-14-26-16,-13 0 16,0-14-16,0 1 15,0-13-15,0 12 16,0-25-16,0-1 15,0 0 110,40-13-125,13 0 16,13 0-16,79-13 16,1 0-16,13-40 15,66 26-15,-1 27 16,-12 0-16,92-40 16,80 1-16,-14-27 15,1 52-15,-27-39 16,-13 53-16,-27-26 15,-13 0-15,13-14 16,-66 13-16,40-12 16,-93 26-16,1-14 15,-54 27-15,27-13 16,-1 13-16,-25 0 16,-14 0-16,-27 0 15,-12 0-15,-14 0 16,-13 0-16,0 0 15,0 0-15,-40 0 16,13 0-16,1 0 16</inkml:trace>
  <inkml:trace contextRef="#ctx0" brushRef="#br0" timeOffset="18807.2">8705 4749 0,'13'13'47,"27"-13"-32,-1 14-15,54-1 16,0-13-16,12 0 16,41 0-16,39 0 15,0 0-15,53 0 16,54 0-16,-1 0 15,-40 0-15,14 0 16,-14 0-16,-66 0 16,27 0-16,52 0 15,-78 0-15,-14 0 16,13 0-16,-40 0 16,1 0-16,13 0 15,13 0-15,-1 0 16,-12 0-16,0 0 15,-14 0-15,-25 0 16,12 0-16,-53 0 16,27 0-16,-13 0 15,-40 0-15,26 0 16,-13 0-16,0 0 16,0 0-1,1 0-15,-1 0 16,26 0-16,-12 0 15,-1 0-15,27 0 16,-27 0-16,-13 0 16,27 0-16,-27 0 15,14 0-15,-28 0 16,1 0-16,0 0 16,0 0-16,-13 0 15,13 0-15,0 0 16,13 0-16,0 0 15,-13 0-15,0 0 16,0 0-16,-14 0 16,-12 0-16,-14 0 15,14-13 126,-27-1-125,0-25-16,0 26 15,0-27-15,0-13 16,0 13-16,26-13 15,-13 27-15,-13-14 16,13-13-16,-13 14 16,0-1-16,0 13 15,0-12-15,0-1 16,0 27-16,0-14 16,0 14-16,0 0 15,-52 13 235,-15 0-250,1-26 16,-66 12-16,53 14 15,-67 0-15,-13 0 16,1 0-16,-14 0 16,26 0-16,-13 0 15,27 0-15,-13 0 16,25 0-16,-25 0 16,26 0-16,-13 0 15,52 0-15,-26 0 16,27 0-16,13 0 15,13 0-15,-26 0 16,26 0-16,0 0 16,0 0-16,13 0 15,-13 0-15,0 0 16,14 0-16,-1 0 16,-13 0-1,27 0-15,-27 0 16,13 0-16,-13 0 15,0 0-15,0 0 16,-13 0-16,0 0 16,13 0-16,13 0 15,-13 0-15,14 0 16,-1 0-16,14 0 16,-1 0-16,-26 0 15,27 0-15,-27 0 16,26 0-16,-26 0 15,14 0-15,-27 0 16,26 0-16,-26 0 16,13 0-16,-13 0 15,-14 0-15,14 0 16,-26 0-16,25 0 16,-38 0-16,25 0 15,14 0-15,13 0 16,-26 0-16,26 0 15,13 0-15,0 0 16,-12 0-16,12 0 16,-13 0-16,27 0 15,-41-13-15,28 13 16,-14 0 0,-27 0-16,41 0 15,-27 0-15,26 0 16,-13 0-16,13 0 15,-13 0-15,14 0 16,-1 0-16,27 0 16,-27 0-16,27 0 15,-14 0-15,1 0 16,-1 0-16,1 0 16,13 0-1,-27 0-15,27 0 16,-27-13-16,27 13 15,-14 0-15,1 0 16,0 0-16,12 0 16,-25 0-16,-1 0 15,27 0-15,-14 0 16,-12 0-16,12 0 16,1 0-16,-27 0 15,40 0-15,-1 0 16,-25 0-16,25 0 31,-12 0-31,13 0 16,-1 0-1,1 0 1,0 0 15,0 0-31,-14 0 16,14 0-1,0 0-15,-14 0 16,-12 0-16,12 0 16,-12 0-16,12 0 15,-13 0-15,1 0 16,-14 0-16,13 0 16,-13 0-16,14 0 15,12 0-15,1 0 16,12 0-16,-12 0 15,-1 0-15,1 0 16,13 0-16,-14 0 16,-12 0-16,25 0 15,-25 0-15,12 0 32,14 0-32,-13 0 15,12 0-15,1 0 16,-13 0-16,12 0 15,-12 0 1,13 0-16,-1 0 16,1 0-16,-13 0 15,-1 0-15,14 0 16,0 0-16,0 0 16,-1 0-16,-12 0 15,0 0-15,-14 0 16,13 0-1,14 0 251,13 26-250,-13-12-16,13-1 15,-13 13-15,13-13 16,-14 1 0,14-1-1,0 0 1,0 0-1,-13 1-15,13-1 16,0 0 0,0 0-16,0 0 15,0 14 1,0-14 0,0 0-16,0 1 15,0 12-15,0-13 16,0 14-1,0-14-15,0 27 16,0-1-16,0-25 16,0 25-16,0-25 15,0 12-15,0-13 16,0 14 0,0-14-1,0 0 16,13-13-31,-13 13 141,14 1-141,-1-14 16,0 0-16,27 0 15,13 13-15,26 13 16,14-13-16,13-13 16,26 14-16,-13 25 15,-26-39 1,-14 14-16,0-1 15,-13-13-15,-52 0 16,-1 13 0</inkml:trace>
  <inkml:trace contextRef="#ctx0" brushRef="#br0" timeOffset="21433.34">16629 4802 0,'13'-26'0,"-13"12"0,0 1 15,0 0-15,-13 0 0,13-14 16,-13 14-16,0-27 0,-1 14 15,14-14-15,-13 1 0,0 12 0,-14-52 16,14 52-16,13 14 16,-13-13-16,13 12 0,-13-12 0,13 13 15,0-1-15,-13 1 0,13 0 16,0 0-16,-14 0 16,28 13-1,12 13 1,-13-13-16,0 13 0,1 0 0,-1 0 15,13 1-15,-12-1 0,-1 0 16,0 0-16,14 1 0,-14-1 16,0-13-16,0 13 0,0 0 0,1-13 15,-1 14-15,0-1 0,0-13 16,-13 13-16,14-13 0,-1 13 16,-40 0 15,14-13-16,-13 14-15,12-14 0,-12 0 16,0 13-16,-1-13 0,-13 13 0,14-13 16,-1 13-16,1 1 0,0-14 15,12 13-15,-12-13 0,-1 13 0,14-13 16,-13 13-16,12-13 0,1 0 16,0 14-16,0-14 0,0 0 15,-1 13-15,28-40 31,-14 14-31,13 13 0,0-26 16,13-1-16,-12 14 0,12-14 0,1 1 16,-1 0-16,-13-14 0,27 13 0,-27 1 15,14-1-15,-1 14 0,1-13 0,-14 13 16,0-1-16,0 1 0,1 13 16,-14-13-16,13 0 0,0 13 0,-13-14 15,13 14-15,0 14 31,-13-1-31,0 0 0,0 0 16,-13 14-16,13-1 0,-13 14 0,13 0 16,-13-1-16,0 1 0,-1-14 0,14 14 15,-13-13-15,0-1 0,13 1 16,-13-1-16,13-13 0,-14 0 0,14 1 16,0-1-16,-13 0 0,13 0 0,0 1 15,0-1-15,13-13 16</inkml:trace>
  <inkml:trace contextRef="#ctx0" brushRef="#br0" timeOffset="22268.71">17224 4696 0,'-13'-26'31,"13"13"-31,0-1 16,-13 1-16,13 0 0,-13-13 15,-1-14-15,1 13 0,0-12 0,0-1 16,0 0-16,-1 1 0,14-1 0,-13 0 16,0 14-16,0-1 0,13 1 15,0 13-15,-14-14 0,14 14 0,0 0 16,0 0-16,-13 13 0,13-14 0,27 41 31,-14-14-15,-13 0-16,13 14 0,14-1 15,-14 1-15,0-1 0,13 0 0,-12 1 16,-1-14-16,13 14 0,-12-14 16,-1 0-16,-13 0 0,13 1 0,0-1 15,1 0-15,-1 0 0,-13 0 16,13-13-16,0 14 16,-13-1-16,-13-13 15,0 0-15,13 13 0,-13-13 16,-1 0-16,-12 0 0,13 13 15,-14-13-15,14 0 0,-14 14 16,1-14-16,13 13 0,-14-13 0,1 13 0,13-13 16,-14 0-16,14 13 0,0-13 15,-1 0-15,1 0 0,0 0 16,0 14-16,0-28 0,13 1 31,0 0-31,13 13 16,0-13-16,-13-1 0,13-12 0,14 13 15,-14-14-15,13 1 0,1-1 0,-14 1 16,14-1-16,-1 1 0,-13-1 0,0 14 16,14 0-16,-27 0 0,13 0 15,0-14-15,1 27 0,-14-13 16,13 26 15,-13 0-31,-13 1 0,13-1 16,-14 13-16,14-13 0,-13 14 0,13-1 15,-13 1-15,0-14 0,13 14 0,-14-1 16,1 0-16,13-12 16,-13-1-16,13 13 0,-13-12 0,13-1 0,0 0 15,0 0-15,-13-13 0,13 14 0,0-1 16,13-13-16</inkml:trace>
  <inkml:trace contextRef="#ctx0" brushRef="#br0" timeOffset="23066.64">17701 4710 0,'0'-14'16,"-14"-12"0,14 13-16,0-1 0,0-12 15,0 0-15,0-1 0,0 1 0,-13-14 16,13 0-16,0 1 0,-13-1 16,13 0-16,0 14 0,0-1 0,-13 1 15,13-1-15,0 14 0,0-13 0,0 12 16,0 1-16,-14 0 0,14 0 15,0 0-15,14 39 32,-14-13-32,0 0 0,13 14 15,0-14-15,-13 14 0,13-14 0,1 13 16,-1 1-16,0-1 0,0-13 16,1 14-16,-1-14 0,0 0 0,0 14 15,-13-14-15,13 0 0,1-13 0,-14 13 16,13 1-16,0-1 15,-13 0-15,13-13 0,-13 13 16,-13 1 0,0-14-1,0 0-15,-1 0 0,1 13 16,-13-13-16,13 0 0,-14 13 0,1-13 16,12 0-16,-12 13 0,-1-13 15,1 0-15,0 14 0,12-14 0,-12 0 16,13 0-16,-1 0 0,1 13 15,0-13-15,0-13 16,-1 13-16,14-14 16,14 1-16,-1-13 15,0 12-15,14-12 0,-14 13 0,27-14 16,12-26-16,-25 27 16,-1-1-16,1 14 0,-1-13 15,1-1-15,-1 14 0,-13 0 0,1 13 16,-1-13-16,0-1 0,0 14 0,-13-13 15,14 13-15,-14 13 16,0 1 0,-14 12-16,14-13 0,-13 14 15,0 12-15,0-12 0,-14-1 16,14 1-16,0-14 0,0 13 0,13-12 16,-14 12-16,1-13 0,0 1 0,0-1 15,13 0-15,-14 0 0,14 1 0,-13-1 16,13 0-16</inkml:trace>
  <inkml:trace contextRef="#ctx0" brushRef="#br0" timeOffset="23937.98">18389 4683 0,'-14'-40'31,"14"27"-31,0-13 15,0 13-15,0-14 0,0 1 16,0-1-16,0-13 0,-13 1 0,13-1 16,0 0-16,-13 1 0,13 12 0,0 1 15,-13-1-15,13 14 0,0-13 16,0 12-16,0 1 0,0 0 0,-14 13 16,14-13-16,0 0 0,14 39 31,-14-13-31,13 0 15,0 1-15,0-1 0,-13 0 0,14 14 16,-1-14-16,0 13 0,0-13 0,0 1 16,1 12-16,-1-13 0,0 1 15,0-1-15,1 0 0,-14 0 16,13 1-16,-13-1 0,13-13 16,-13 13-1,-13 0-15,0 0 16,-1-13-16,1 0 0,0 14 15,0-14-15,-1 13 0,1-13 16,0 0-16,0 0 0,-14 13 0,14-13 16,0 0-16,0 0 0,-1 13 0,-12-13 15,13 0-15,-1 0 16,1 0-16,0 0 16,13-13-16,0 0 15,13 0-15,-13-1 0,13 1 0,14-13 16,-1-1-16,-12 1 15,12-1-15,1 1 0,-1-1 0,0 1 16,-12 0-16,12-1 0,-13 14 0,1 0 16,-1-1-16,0 1 0,0 13 0,-13-13 15,14 26 1,-14 0-16,-14 1 16,1 12-16,0 1 0,0 12 15,-14 1-15,1 0 0,-1-1 16,1 14-16,-14 13 0,14-26 15,12-13-15,-12 12 0</inkml:trace>
  <inkml:trace contextRef="#ctx0" brushRef="#br0" timeOffset="34353.25">8096 5861 0,'199'-27'0,"26"1"16,-146 26-16,-13 0 0,13-14 15,14 14-15,-14 0 0,14 0 0,-14-13 16,1 13-16,-14 0 0,-13 0 0,13 0 16,-13 0-16,-13 0 0,13 0 15,-14 0-15,-12 0 0,12-13 0,-25 13 16,12 0-16,1 0 0,-14 0 15,0 0-15,0 0 0,0 0 16,1 0-16,-1 0 0</inkml:trace>
  <inkml:trace contextRef="#ctx0" brushRef="#br0" timeOffset="34764.74">8506 6046 0,'53'0'0,"-26"-14"0,12 14 16,1-13-16,13 0 0,13 0 0,14 0 15,-1-1-15,0 1 0,1 0 0,-1 0 16,0-1-16,1 1 0,-1 13 16,-13-13-16,0 0 0,1 0 0,-14 13 15,-1-14-15,-12 14 0,13-13 16,-27 13-16,14-13 0,-27 13 0,14 0 16,-14 0-16,14 0 0,-14-13 15,0 13-15,0 0 0,0 0 16,1 0-16,-1 0 15,-40 13 64</inkml:trace>
  <inkml:trace contextRef="#ctx0" brushRef="#br0" timeOffset="36479.91">14883 6787 0,'0'-14'0,"-13"1"16,13 53 15,0-27-31,13 0 0,-13 14 15,0-14-15,0 27 0,13-1 16,-13 1-16,0-14 0,0 1 0,0 13 16,0-14-16,0 1 0,0-1 0,0 0 15,0 1-15,0-1 0,0 1 0,0-14 16,0 0-16,0 14 0,0-14 16,0 0-16,0 0 0,0 1 15,0-1-15,0 0 16,0 0-1,13-39 17,-13 13-32</inkml:trace>
  <inkml:trace contextRef="#ctx0" brushRef="#br0" timeOffset="37118.06">14896 6800 0,'-13'13'0,"-14"13"31,14-12-31,13-1 0,-13-13 16,0 13-16,13 0 0,-14-13 0,14 14 15,-13-1-15,0-13 0,13 13 16,-13 0-16,0 1 0,-1-1 15,1 0-15,13 0 16,-13-13-16,13 13 16,-13-13-16</inkml:trace>
  <inkml:trace contextRef="#ctx0" brushRef="#br0" timeOffset="37635.94">14949 6773 0,'26'14'0,"-52"-28"0,66 41 0,-27-27 16,0 13-16,0-13 0,1 13 0,-1-13 15,0 13-15,0 1 0,0-1 16,1-13-16,-1 13 0,0 0 15,0-13-15,1 0 16,-1 14-16,-13-1 16,13-13-1,0 0-15,1 0 16</inkml:trace>
  <inkml:trace contextRef="#ctx0" brushRef="#br0" timeOffset="38176.71">15994 6813 0,'0'-13'16,"13"39"-1,-13 1-15,14-14 16,-14 13-16,13 14 0,-13 0 0,13-1 15,-13-12-15,13 13 0,-13-1 16,0 1-16,13-14 0,-13 1 0,0-1 16,0 1-16,14-1 0,-14-13 0,0 1 15,0 12-15,0-13 0,0 1 16,0-1-16,0 0 16</inkml:trace>
  <inkml:trace contextRef="#ctx0" brushRef="#br0" timeOffset="38628.89">16021 6800 0,'-40'0'16,"27"13"-1,13 0-15,-14 0 16,1 1-16,13-1 0,-13 0 0,0 0 15,13 14-15,-14-14 0,1 0 0,13 14 16,-13-14-16,13 0 0,-13 0 16,13 1-16,-13-1 0,-1 0 15,14 0-15,-13 1 0</inkml:trace>
  <inkml:trace contextRef="#ctx0" brushRef="#br0" timeOffset="39191.97">15968 6747 0,'26'13'15,"1"14"1,-14-14-16,0-13 15,0 13-15,0-13 0,-13 13 0,14 0 0,-1-13 16,0 14-16,0-14 0,1 13 16,-1-13-16,-13 13 15,13-13-15,0 13 0,0-13 16,1 14 0,-1-14 15,-13 13-16,13-13 1,-26 13 93</inkml:trace>
  <inkml:trace contextRef="#ctx0" brushRef="#br0" timeOffset="43217.17">13507 8215 0,'13'27'31,"-13"-14"-31,0 0 0,0 14 0,0-14 16,0 13-16,0 1 0,0-14 15,0 14-15,0-14 0,0 13 16,13-13-16,-13 14 0,0-14 0,0 0 15,0 1-15,0-1 0,0 0 0,14-13 16,-14 13-16</inkml:trace>
  <inkml:trace contextRef="#ctx0" brushRef="#br0" timeOffset="43438.34">13652 8242 0,'0'-66'15,"0"52"1,0 1-16,-13 0 15,26 53 17,-13-27-32,0 13 0,14 1 15,-14-1-15,0 1 0,13-1 16,-13 1-16,0-1 0,0 1 0,13-14 16,-13 13-16,0-13 0,13 14 0,-13-14 15,0 0-15,0 1 0,14-1 16,-14 0-16,13 0 15</inkml:trace>
  <inkml:trace contextRef="#ctx0" brushRef="#br0" timeOffset="43671.07">13282 8440 0,'40'-26'16,"-27"13"-16,13-1 15,14 1-15,-13 0 0,12 0 0,-12-1 16,12 1-16,1 0 0,-13 0 0,12 13 16,-12-14-16,-14 1 0,13 13 15,-12 0-15,-1-13 0,0 13 16,0 0-16</inkml:trace>
  <inkml:trace contextRef="#ctx0" brushRef="#br0" timeOffset="43865.8">13335 8506 0,'0'0'0,"26"0"15,1 0 1,-14-13-16,14 13 0,-1 0 0,1-13 15,-1 0-15,14 13 0,-14-14 16,14 14-16,-14-13 0,1 0 0,12 13 16,-12-13-16,-14 13 0,14-13 15,-1 13-15,0-14 0,-12 14 0</inkml:trace>
  <inkml:trace contextRef="#ctx0" brushRef="#br0" timeOffset="44195.6">13970 8162 0,'-26'-13'16,"39"40"15,-13-14-31,0 0 0,13 14 16,0-14-16,-13 0 0,13 13 0,-13 1 15,14-14-15,-1 14 0,-13-14 0,13 13 16,-13-12-16,13 12 0,-13-13 16,0 0-16,0 1 0,0-1 0,0 0 15,0 0-15,0 1 0,0-1 0,0 0 16,0 0-16,-13-13 0,13 13 16,-13 1-16,0-14 15,-1 0 1,14-14-1</inkml:trace>
  <inkml:trace contextRef="#ctx0" brushRef="#br0" timeOffset="44815.83">13851 8242 0,'0'0'0,"0"26"46,0-13-46,13 1 0,-13-1 16,0 0-16,13-13 0,-13 13 16,14 1-16,-1-14 15,-13 13-15,13-13 16,0 0-16,1 0 0,-1 0 16,0-13-16,0 13 15,-13-14-15,13 14 16,-13-13-16,14 13 0,-14-13 15,13 13-15</inkml:trace>
  <inkml:trace contextRef="#ctx0" brushRef="#br0" timeOffset="45136.63">14129 8162 0,'13'53'31,"-13"-39"-31,0-1 16,0 0-16,0 0 0,0 0 15,0 1-15,0-1 0,0 0 16,0 0-16,0 1 16,0-1-16,0-40 31,13 14-16,-13 0-15,0 0 0,13-1 16,-13 1-16,0 0 0,14 0 16,-1 0-16,-13-1 0,13 14 15,-13-13-15,13 13 0,1-13 0,-1 13 16</inkml:trace>
  <inkml:trace contextRef="#ctx0" brushRef="#br0" timeOffset="45589.62">14288 8321 0,'13'-26'16,"0"12"-16,-13 1 15,13 13-15,-13-13 0,0 0 16,0 0-16,13 13 0,-13-14 16,0 1-1,-26 40 17,13-14-32,13 0 15,0 0-15,0 0 0,0 1 0,0-1 16,0 0-16,0 0 15,13 1-15,0-14 16,0 0-16,1 0 0,-1 0 0,0 0 16</inkml:trace>
  <inkml:trace contextRef="#ctx0" brushRef="#br0" timeOffset="46018.99">14711 8176 0,'-13'-14'16,"26"1"-16,-13 0 16,0 0-16,13-1 15,-13 1-15,0 0 16,-13 0 0,0 26-1,-1 0-15,1 0 16,13 1-16,-13-1 0,13 0 15,0 0-15,-13 1 0,13-1 16,0 0-16,13-13 0,-13 13 16,13 1-16,0-14 15,1 0-15,-1 0 16,0 0-16,0 0 0,1 0 16,-1 0-16,0-14 0</inkml:trace>
  <inkml:trace contextRef="#ctx0" brushRef="#br0" timeOffset="46268.74">14883 8057 0,'13'0'31,"-13"13"-16,0 0-15,0 0 0,0 0 16,0 1-16,-13-1 0,13 0 16,-13 0-16,13 1 0,0-1 15,26-13 17</inkml:trace>
  <inkml:trace contextRef="#ctx0" brushRef="#br0" timeOffset="46459.81">15028 7951 0,'0'0'15,"-13"0"-15,0 13 0,0 0 16,-1 0-16,14 1 16,-13-14-16,13 13 0,0 0 0,0 0 15,-13-13-15,13 14 0,0-1 0,0 0 16,0 0-16,13 0 15,-13 1-15,13-1 0,1-13 16</inkml:trace>
  <inkml:trace contextRef="#ctx0" brushRef="#br0" timeOffset="47003.75">15161 7924 0,'-27'53'16,"27"-40"-1,0 14-15,0-14 0,0 14 16,0-14-16,0 13 0,0 1 0,0-14 15,0 13-15,0 1 0,0-14 0,0 27 16,0-14-16,0-13 16,13 1-16,-13-1 0,0 0 0,0 0 15,0 1-15,0-1 0,0 0 16,-13 0-16,13-52 47,0 25-47,0-12 0,0 13 15,0-14-15,0-12 0,0 12 16,13-13-16,-13 14 0,0-14 0,0 27 16,14-13-16,-14 12 0,0 1 0,0 0 15,13 0-15,-13-1 0,0 1 16,13 13-16,0 0 16,1 13-1,-14 1-15,0-1 16,0 13-1,0-12-15,-14-14 0,14 13 16,0 0-16,-13-13 0,0 13 16,0-13-16,13 13 15,-14-13-15,1 0 16</inkml:trace>
  <inkml:trace contextRef="#ctx0" brushRef="#br0" timeOffset="47772.28">16722 7805 0,'-14'0'15,"1"0"1,-13 0-16,13 13 16,-1-13-16,1 0 0,0 14 15,0-14-15,-1 13 0,1 0 16,0-13-16,13 13 0,13 1 15,-13-1 1,13-13-16,1 0 0,-1 13 16,0-13-16,0 13 0,14-13 0,-14 0 15,0 14-15,0-14 0,1 0 0,-1 13 16,0-13-16,0 0 0,-13 13 16,14-13-16,-14 13 15,0 0-15,0 1 16,-14-14-16,14 13 0,-13-13 15,0 13-15,0-13 0,-1 13 0,1-13 16,0 14-16,0-14 0,0 0 16,-1 0-16,1 0 0,0 0 0,0 0 15,-1 0-15,14-14 16,14 1 0</inkml:trace>
  <inkml:trace contextRef="#ctx0" brushRef="#br0" timeOffset="48779.9">16973 7858 0,'-13'0'0,"26"0"0,-39 0 0,12 13 15,1-13-15,0 0 16,0 14-16,-1-1 16,14 0-16,-13-13 0,13 13 15,-13 1-15,13-1 16,0 0-16,13 0 16,0-13-1,1-13-15,-1 13 16,-13-13-16,13 13 0,0 0 0,1-13 15,-1-1-15,0 1 16,0 13 0,0 0 15,1 13-31,-1-13 31,0 0-15,0-13-16,1 0 0,-1 13 15,-13-13-15,13-1 0,-13 1 0,0 0 16,13-14-16,-13 14 0,0-13 0,0 13 16,0-14-16,0 14 0,0 0 15,0-14-15,0 14 0,0 0 0,0-1 16,0 1-16,0 0 0,-13 0 16,13 39 15,0-13-31,0 1 0,0 12 0,0-13 15,0 14-15,13-14 0,-13 14 0,0-14 16,14 13-16,-1-13 0,0 1 16,0-1-16,0 0 0,1 0 0,-1-13 15,0 14-15,0-14 0,14 0 0,-14 0 16,0 0-16,1 0 16,-1-14-16,0 14 0,0 0 0,-13-13 15,13 13-15,1-13 0,-14 0 16,0-1-16,0 1 31,-14 13-31,14-13 16,-26 26-1,13-13 1,39 13 15,-13-26-15,1 13-16,-1 0 15,0 0-15,0 0 16,1 0-16,-1 0 16,0 13-16,0 1 15,-13-1 1,13-13-16,-13 13 31,14-26 0,-14 0-15,13-1-16,0 1 16,-13 0-1,13 0-15,1 13 16,-14-13-16,13 13 16,-13-14-16</inkml:trace>
  <inkml:trace contextRef="#ctx0" brushRef="#br0" timeOffset="49316.21">17634 7660 0,'0'26'47,"0"-13"-31,0 1-16,0-1 15,0 0 1,14-13-16,-14 13 0,26-26 31,-13 13-31,1-13 16,-1 0-16,0 13 0,0-14 15,1 14-15,-1 0 16,-13 14 0,0-1-1,0 0-15,0 0 0,0 1 0,0-1 16,-13 13-16,13 1 0,-14-14 0,1 13 15,0-12-15,13-1 0,-13 0 16,13 0-16,-14 1 0,28-54 31,-1 27-31,13-14 16,-12-13-16,12 14 0,14-14 16,-14 14-16,-13-1 0,14-12 0,-1 12 15,1 1-15,-1-1 0,-13 14 0,1 0 16,-1 0-16,0-1 15,0 1-15</inkml:trace>
  <inkml:trace contextRef="#ctx0" brushRef="#br0" timeOffset="50565.52">15134 8731 0,'40'-26'16,"-27"26"-1,0 13 1,-13 0-16,0 0 15,-13 1-15,13-1 0,-13 0 0,13 0 16,-13 1-16,13-1 0,-14-13 16,14 13-16,-13 0 0,13 1 15,-13-1 1,26-13 0,14 0-1,-14 0-15,0-13 16,0 13-16,1 0 15,12-14 1,-13 14-16,0 0 16,1 0-1,-14-13 1,0 0 140,13 13-140,0 0-1</inkml:trace>
  <inkml:trace contextRef="#ctx0" brushRef="#br0" timeOffset="52385.05">16920 8414 0,'-13'0'0,"39"-13"63,-12 13-63,-1 0 15,0-14-15,0 14 16,0-13-16,1 13 16,-41 13 31,14-13-47,0 14 15,0-14-15,-1 0 0,14 13 16,-13-13-16,-13 13 0,12-13 15,14 13-15,-13-13 0,13 13 0,-13-13 16,13 14-16,13-1 16,0-13-1,1 13 1,-1-13-16,0 0 0,-13 13 16,13-13-16,1 0 15,-1 14-15,-26-1 31,13 0-31,-14-13 16,14 13-16,-13-13 0,0 0 16,13 13-16,-13-13 0,-1 0 15,1 14-15,0-14 16</inkml:trace>
  <inkml:trace contextRef="#ctx0" brushRef="#br0" timeOffset="53212.75">17198 8321 0,'-13'27'31,"13"-14"-31,-14 0 0,14 0 16,0 1-16,-13-1 15,13 0-15,0 0 0,0 0 16,0 1-16,13-1 0,1-13 16,-1 0-1,13 0-15,-12-13 0,-1 13 16,13-14-16,-12 14 0,12-13 0,0 0 15,1 0-15,-1 0 0,-12 13 16,12-14-16,-13 14 0,0 0 0</inkml:trace>
  <inkml:trace contextRef="#ctx0" brushRef="#br0" timeOffset="54012.64">15333 9234 0,'26'13'63,"-26"0"-63,0 1 16,13-1-1,-13 0-15,14-13 16,-14 13-16,13-13 0,-13 14 15,0-1-15,0 0 16,-13-13-16,13 13 0,-14 0 16,1 1-1</inkml:trace>
  <inkml:trace contextRef="#ctx0" brushRef="#br0" timeOffset="54680.95">16986 8877 0,'-13'0'16,"26"-13"0,0 13-16,1 0 0,-1-14 15,0 14-15,0 0 0,1 0 16,-1 0-16,0 0 15,-13 14-15,13-14 0,1 0 16,-14 13-16,13-13 0,-13 13 0,0 0 16,13-13-16,-13 13 0,0 1 0,0-1 15,13 0-15,-13 0 16,0 1-16,0-1 0,0 0 16,0 0-16,13 1 0,-13-1 15,0 0-15,0 0 16,14 0-1</inkml:trace>
  <inkml:trace contextRef="#ctx0" brushRef="#br0" timeOffset="54861.89">16999 9062 0,'14'-13'16,"-14"0"-16,13 13 15,0 0-15,0-14 0,1 14 16,-1-13-16,0 13 0,14-13 0,-14 13 16,13-13-16,1 13 0,-1-14 15,-13 1-15,14 0 0</inkml:trace>
  <inkml:trace contextRef="#ctx0" brushRef="#br0" timeOffset="55104.51">17449 8731 0,'0'0'0,"-13"13"47,0 1-47,13-1 0,0 0 0,0 0 15,0 1-15,0-1 16,0 0-16,0 14 0,0-14 0,0 0 16,0 0-16,0 0 0,0 1 0,13-1 15,-13 0-15,13 0 16,0-13-16,1 0 15,-1 0-15,0 0 0,14-13 0,-14 13 16,13 0-16,-12-13 0,-1 13 0,0-13 16,0 13-16,0 0 0</inkml:trace>
  <inkml:trace contextRef="#ctx0" brushRef="#br0" timeOffset="55573.53">15399 10054 0,'13'27'47,"-13"-14"-47,0 0 0,0 0 16,13 1-16,-13-1 0,0 0 15,0 0-15,13-13 0</inkml:trace>
  <inkml:trace contextRef="#ctx0" brushRef="#br0" timeOffset="55848.75">15571 10014 0,'-13'40'16,"13"-27"-1,0 1-15,0-1 16,13 0-16,0 0 0,0-13 16,0 0-16,1 0 15,-1 0-15,0-13 0,-13 0 16,13 13-16,-13-13 0,0-1 16,-13 1-16,13 0 15,-13 13-15,0 0 16,13-13-16,-14 13 0,1 0 15,0 0-15,0 0 16,13 13-16,-13-13 0,13 13 16</inkml:trace>
  <inkml:trace contextRef="#ctx0" brushRef="#br0" timeOffset="56552.84">17343 9446 0,'0'0'16,"-13"26"-1,13-13 1,0 1-16,0-1 0,0 0 0,0 0 16,0 0-16,0 1 0,0-1 15,0 0-15,0 0 0,0 1 0,0-1 16,0 0-16,0 0 0,0 1 16,0-1-16,0 0 15,0 0-15,13-13 16,-13 13-16</inkml:trace>
  <inkml:trace contextRef="#ctx0" brushRef="#br0" timeOffset="56848.9">17449 9525 0,'0'-13'16,"-13"13"15,13 13-15,-13 0-1,13 0 1,0 1 0,0-1-1</inkml:trace>
  <inkml:trace contextRef="#ctx0" brushRef="#br0" timeOffset="57877.73">15452 10054 0,'26'-26'16,"-13"26"-16,1-14 0,-1 1 0,13 13 15,-12-13-15,-1 0 0,13 13 16,-13-13-16,1-1 0,-1 14 0,0 0 16,0 0-16,-39 27 31,13-27-31,-1 13 16,-12 0-16,13 0 0,-14 14 0,1-14 15,13 0-15,-14 1 0,14-1 16,0 0-16,-1-13 0,1 13 0,13 1 15,-13-14-15,26 13 16,-13 0-16,13-13 16,1 13-16,12-13 0,-13 0 0,1 13 15,12-13-15,-13 0 0,14 14 0,-1-14 16,-13 0-16,1 13 0,-1-13 0,0 0 16,0 13-16,1-13 0,-14 13 15,13 1-15,-26-1 0,13 0 16,-14 0-16,-12 14 0,13-1 0,-14 1 15,1-14-15,-1 13 16,-12-12-16,12-1 0,1 0 0,12 0 16,-12-13-16,13 14 0,0-14 0,-1 0 15,1 0-15,0-14 0</inkml:trace>
  <inkml:trace contextRef="#ctx0" brushRef="#br0" timeOffset="58644.08">17396 9512 0,'0'13'15,"0"0"1,0 0-16,0 1 0,0-1 15,0 0-15,14 0 16,-14 1-16,0-1 0,13-13 0,-13 13 16,13-13-16,0 13 15,0-13-15,1 0 16,-1-13-16,0 13 0,0 0 0,-13-13 16,14 13-16,-1 0 0,-13-13 0,0-1 15,13 1-15,-26-13 16,13 12-1,-13 1-15,-1 0 0,1 0 16,0 13-16,0 0 16,-1 0-16,-12 0 15,13 13-15,0-13 16,13 13-16,-14 0 16</inkml:trace>
  <inkml:trace contextRef="#ctx0" brushRef="#br0" timeOffset="59017.18">17740 9327 0,'0'26'47,"0"-13"-47,0 0 0,0 1 0,0-1 15,0 0-15,0 0 0,0 1 0,0-1 16,0 0-16,0 0 0,0 1 0,0-1 16,0 0-16,14 0 15,-1 0-15,0-13 16,0 0-16,14 0 0,-14 0 15,0 0-15,14 0 0,-14-13 0,13 13 16,-12 0-16,12-13 0,-13 13 0,14-13 16,-14 0-16,0 13 0,0-14 15,1 14-15,-1 0 0,0-13 16,0 13-16</inkml:trace>
  <inkml:trace contextRef="#ctx0" brushRef="#br0" timeOffset="59883.91">15571 10980 0,'39'-13'16,"-25"13"0,12 0-16,-13 0 15,1 13-15,-1 0 0,0-13 16,-13 14-16,13-1 0,-13 0 15,13 0-15,-13 1 0,14-1 0,-14 0 16,13 0-16,-13 0 0,0 1 16,0-1-16,0 0 0,13 0 0,-13 1 15,0-1-15,0 0 0,0 0 0,0 1 16,13-1-16,-13 0 0</inkml:trace>
  <inkml:trace contextRef="#ctx0" brushRef="#br0" timeOffset="60093.8">15558 11271 0,'13'-13'16,"0"13"-16,-13-13 15,13 0-15,14 13 0,-14-14 0,13 1 16,1 0-16,12 0 0,-12-1 0,13 1 15,-14 0-15,14-14 0,-14 14 16,14 0-16,-14 0 0,14 0 0,0-1 16,-14 1-16</inkml:trace>
  <inkml:trace contextRef="#ctx0" brushRef="#br0" timeOffset="60516.78">17661 10398 0,'0'13'16,"13"1"-1,-13-1-15,13 0 0,-13 0 16,0 14-16,14-14 0,-14 0 0,13 14 16,-13-14-16,0 0 0,13 14 0,-13-14 0,0 0 15,13 0-15,-13 0 16,0 1-16,0-1 0,14 0 0,-14 0 16</inkml:trace>
  <inkml:trace contextRef="#ctx0" brushRef="#br0" timeOffset="60979.64">17926 10425 0,'26'0'32,"-13"13"-32,-13 0 15,0 0-15,0 1 16,0-1 0,0 0-16,13-13 0,-13 13 15,0 0-15,0 1 16,0-1-1,0 0-15,0 0 0,-13-13 16,13 14-16,-13-1 16</inkml:trace>
  <inkml:trace contextRef="#ctx0" brushRef="#br0" timeOffset="61200.66">18071 10411 0,'0'27'0,"0"-14"16,0 0-16,0 1 15,0-1-15,0 0 16,0 0-16,13-13 0,-13 13 16,14-13-16,-1 0 15,0 0-15,0 0 0,0 0 0,14-13 16,-14 0-16,14 13 0,-14-13 15,0 13-15,13-13 0,-12-1 0,-1 14 16</inkml:trace>
  <inkml:trace contextRef="#ctx0" brushRef="#br0" timeOffset="61957.67">15915 11853 0,'26'27'15,"-52"-54"-15,52 67 0,-13-27 0,1 0 0,-14 1 16,13-1-16,-13 0 0,13 0 0,-13 1 16,13-1-16,-13 13 0,0-12 15,0-1-15,0 0 0,0 0 0,0 0 16,0 1-16,-13-1 0,13 0 0,-13 0 16,13 1-16,-13-14 15,-1 0-15,14-14 31,0 1-31,0 0 16,14 0-16,-14-1 0,13 1 0,-13-13 16,0 13-16,13-14 0,-13 14 0,0-14 15,0 14-15,0-13 0,0 12 16,0 1-16,0 0 0,-13 0 16,0-14-16,13 14 0,-14 13 0,1 0 15,0-13-15,0 13 16,-14 0-16,27 13 0,-13-13 15,0 0-15,0 13 0</inkml:trace>
  <inkml:trace contextRef="#ctx0" brushRef="#br0" timeOffset="62178.91">15968 11681 0,'0'0'0,"26"14"16,-13-1-1,1 0-15,-1 0 0,0 14 0,0-1 0,0 1 16,1-1-16,-1 1 0,0-1 0,0 0 16,-13 1-16,0-1 15,14-12-15,-14 25 0,13 1 16,-13-14-16</inkml:trace>
  <inkml:trace contextRef="#ctx0" brushRef="#br0" timeOffset="63208.13">18018 11589 0,'0'53'32,"0"-40"-32,0 0 0,0 0 15,0 1-15,0-1 16,13-13-16,-13 13 0,0 0 0,0 1 15,0-1 1,14-13-16</inkml:trace>
  <inkml:trace contextRef="#ctx0" brushRef="#br0" timeOffset="63959.68">18269 11483 0,'0'-13'0,"14"-1"235,-1 14-220,0 0 1,0 0-16,1 0 16,-14-13-16,13 13 0,13 0 15,-26 13-15,14-13 0,-14 14 16,13-1-16,-13 0 16,0 0-16,13 1 0,-13-1 0,0 13 15,0-12-15,0 12 0,0 0 0,0-12 16,0 12-16,0 1 0,0-1 15,0-13-15,0 1 0,0 12 0,0-13 16,-13 0-16,13 1 0</inkml:trace>
  <inkml:trace contextRef="#ctx0" brushRef="#br0" timeOffset="64411.9">18349 11761 0,'0'-13'31,"13"-1"-31,0 1 16,1 0-16,-1 0 0,0-1 15,13 1-15,-12-13 0,-1 12 16,0 1-16,0 0 0,1-13 0,-1 12 16,0-12-16,0 13 0,1-14 15,-1 14-15,-13 0 0,13-1 0,-13 1 16,13 0-16,-13 0 15,13 0-15,1 26 32,-14 0-17,0 0-15,0 0 16,13 1-16,-13-1 0,0 0 0,13 0 16,-13 1-16,0-1 0,0 0 15,13 0-15,-13 1 0,0-1 16,14-13-16,-14 13 15,13-13-15,-13 13 16,13-13-16,0 0 16,0 0-16,1-13 15,-1 13-15,0 0 0,0-13 16,1 13-16,-1-13 0,-13-1 0,13 14 16,0-13-16,1 0 0,-14 0 15,13-1-15,-13 1 0,13 0 0</inkml:trace>
  <inkml:trace contextRef="#ctx0" brushRef="#br0" timeOffset="68718.23">14922 7435 0,'0'-13'31,"0"-1"0,0 1-15,0 0-16,0 0 16,0-1-16,0 1 0,0 0 15,0 0-15,0-1 0,0 1 0,0 0 16,-13-13-16,13-1 0,0 14 16,0-14-16,-13 1 0,13 0 0,-13-14 15,13 13-15,0 1 0,-13-1 0,13 1 16,0 13-16,0-14 0,0 14 15,0-13-15,-14 12 0,14 1 0,0 0 16,0 0-16,0-1 0,0 1 0,0 0 16,0 0-16,0 0 0,0-1 15,0 1-15,0 0 16,0 0 0,14-1-16,-14 1 31,0 0 0,0 39 141,-14-12-172,14-1 16,-13 0-16,13 0 0,-13 1 15,0-1-15,13 0 16,-27 40-1,14-40-15,13 0 0,-13 14 16,0-14-16,13 0 0,-14 1 0,14-1 16,-13 0-16,0 0 0,13 0 0,-13 1 15,-1-1-15,14 0 0,-13 0 16,13 1-16,-13-1 0,13 0 0,-13 0 16,-1 1-16,1-1 15,13 0-15,-13 0 16,0 0-1,13 1 17,13-41 46,0 27-63,0-13 1,-13 0-16,14 13 0,-14-13 16,13 13-16,-13-14 0,13 14 0,0-13 15,-13 0-15,14 13 0,-14-13 0,13-1 16,-13 1-16,13 13 0,-13-13 16,13 0-16,-13-1 0,14 1 15,-1 0-15,-13 0 0,13 0 0,-13-1 16,13-12-16,-13 13 0,13-1 15,-13 1-15,0 0 0,14 0 0,-14-1 16,13 1-16,-13 0 0,0 0 16,13 13-16,-13-13 0,0-1 15,13 1 1,-13 0 0,0 0-1,14 13-15,-14-14 16,13 1 15,0 13-15,-13-13-1,13 13 1,0-13 31,1 26-16,-14 0-31,13-13 16,-13 13-16,13-13 0,-13 14 15,13-14-15,-13 13 0,14 0 0,-1 0 16,0 1-16,0-14 16,-13 13-16,14-13 0,-1 13 0,0-13 15,0 13-15,0 0 0,1-13 0,-1 14 16,0-14-16,0 13 15,1-13-15,-1 0 0,0 13 0,0-13 16,1 13-16,-1-13 16,0 0-16,0 14 15,0-14 1,1 13 15</inkml:trace>
  <inkml:trace contextRef="#ctx0" brushRef="#br0" timeOffset="71075.77">16100 7408 0,'0'-13'63,"13"0"-48,-13 0 1,0-1 0,0 1-16,0 0 0,-13 0 15,13-1-15,0 1 16,0 0-16,-13-13 0,13 12 0,0 1 15,-14 0-15,14-14 0,0 14 0,0 0 16,-13-13-16,13 12 0,0 1 16,0 0-16,0-14 0,0 14 0,0 0 15,-13 0-15,13-1 0,0 1 0,0 0 16,0 0-16,0 0 0,0-1 16,0 1-16,0 0 0,0 0 15,0-1-15,0 1 0,0 0 0,0 0 16,0-1-16,0 1 15,0 0-15,0 0 16,0 0-16,0-1 16,0 1-16,0 0 15,0 0 1,0-1 0,0 1-16,-13 0 31,13 0 0,-13 26 78,13 0-109,-14 0 16,14 1 0,-13-14-16,13 13 0,0 0 15,-13-13-15,13 13 0,-13 1 16,13-1-16,-14-13 16,14 13-16,0 0 0,-13-13 15,13 13-15,0 1 0,-13-1 16,0 0-16,13 0 0,-14 1 15,14-1-15,-13-13 0,13 13 0,-13 0 16,13 1-16,-13-14 0,13 13 16,-13 0-16,13 0 0,-14-13 15,14 13-15,-13 1 0,13-1 16,-13 0-16,13 0 16,-13-13-16,13 14 0,-14-1 15,14 0-15,-13-13 16,13 13-16,-13-13 15,13 14 1,-13-1 0,26-26 77,0-1-77,-13 1-16,13 13 0,1-13 16,-14 0-16,13-1 0,0 1 0,0 0 15,1 0-15,-14-14 0,13 14 16,0 0-16,0-14 0,0 14 0,-13-13 16,14 12-16,-1-12 0,-13 13 15,13-1-15,-13 1 0,0 0 0,13 0 16,-13 0-16,0-1 0,14 1 0,-14 0 15,0 0 1,0-1-16,0 1 16,13 13-16,-13-13 15,0 0 17,13 26 30,0 0-62,1-13 16,-14 13-16,13 1 15,0-14-15,-13 13 16,13-13-16,0 13 0,-13 0 0,14-13 0,-1 14 16,0-1-16,0-13 0,1 13 0,-1 0 15,0-13-15,0 13 16,0-13-16,1 14 0,-1-1 0,0-13 15,0 13-15,1-13 16,-1 13-16,0-13 16,-13 14-1,13-14-15,1 13 16,-1-13 15,-13 13 0,0 0 16,-13-13-15,13 14-17,-14-14 1,1-14 15</inkml:trace>
  <inkml:trace contextRef="#ctx0" brushRef="#br0" timeOffset="73114.69">16206 12554 0,'0'0'0,"0"27"47,0-1-47,0-12 0,13 12 15,-13 1-15,13 12 0,-13 1 16,13-14-16,1 14 0,-1 0 0,13-14 16,-12 1-16,12 12 0,-13-12 0,14-14 15,12 14-15,-12-1 0,13-13 16,-1 14-16,1-14 0,0 0 0,-1 0 15,1-13-15,13 14 0,-13-1 16,13-13-16,-14 0 0,14 0 0,0 13 16,-13-13-16,13-13 0,-14 13 15,14 0-15,-13-13 0,0-1 0,13 1 16,-14 0-16,1 0 0,13-1 0,0-12 16,0 13-16,0-14 0,-1 1 15,-12-1-15,0 14 0,0-13 0,-14 12 16,14-12-16,-14 13 0,1-14 0,26-12 15,-40 12-15,40-26 16,-40 27-16,13-1 16,1-39-16,-1 40 0,-12-1 15,-1-12-15,0 12 0,0 1 0,0-1 16,1 1-16,-14 12 0,13 1 16,-13 0-16,0 0 0,13 0 0,-13-1 15,0 1-15,13 0 16,-13 0-16,0-1 15,-13 41 32,13-14-47</inkml:trace>
  <inkml:trace contextRef="#ctx0" brushRef="#br0" timeOffset="73608.03">17489 13163 0,'13'53'31,"-13"-40"-31,13 0 0,-13 14 15,14-14-15,-14 0 0,0 14 0,13-14 16,-13 0-16,0 14 0,13-14 0,-13 0 16,0 0-16,0 14 0,13-14 15,-13 0-15</inkml:trace>
  <inkml:trace contextRef="#ctx0" brushRef="#br0" timeOffset="73923.82">17489 13533 0,'0'40'31,"0"-27"-31,13-13 0,-13 14 16,13-1-16,1 0 0,-1-13 15,0 13-15,0-13 16,1 0-16,-1 0 16,0 0-16,0 0 0,0 0 15,1-13-15,-1 13 0,-13-13 0,13 13 16,0-13-16,-13-1 0,14 1 0,-14 0 16,13 13-16,-13-13 0,13-14 15,-13 14-15,13 0 0,1 0 16,-14-1-16,13 14 0</inkml:trace>
  <inkml:trace contextRef="#ctx0" brushRef="#br0" timeOffset="75245.7">18217 13414 0,'-40'53'16,"80"-106"-16,-80 120 0,27-41 0,-1 0 0,14-12 16,0 12-16,-13-13 0,13 14 0,0-14 15,0 0-15,0 14 0,0-14 16,0 0-16,13-13 0,-13 13 0,0 1 15,14-14-15,-1 0 0,13 0 16,-12-14-16,12 1 16,-13 0-16,0 13 0,-13-13 15,14-1-15,-1 14 0,-13-13 0,13 13 16,-13-13-16,13 13 16,1 0-1,-1 13-15,-13 0 16,13-13-16,-13 14 0,13-14 15,-13 13-15,14-13 0,-1 13 16,0-13-16,0 0 16,0 0-16,1 0 0,-14-13 15,13 13-15,0-13 0,-13-1 16,13 1-16,-13 0 16,0 0-16,0 0 0,0-1 0,-13 1 15,13 0-15,-13 0 16,0-1-16,-1 1 0,1 13 15,0 0-15,13-13 0,-13 13 16,0 0 0,39 13 15,-13-13-15,0 13-16,1-13 0,-1 14 0,0-14 15,0 13-15,14 0 16,-27 0-16,13 1 0,0-14 0,1 13 15,-14 0-15,13-13 0,-13 13 0,0 0 16,13-13-16,-13 14 0,0-1 0,0 0 16,0 0-1,-13-13 1,13-26 0,-13 26-16,13-13 15,0-1-15,0 1 0,13-13 16,-13 13-16,0-1 0,0 1 0,13 0 15,-13 0-15,0-1 0,13 1 16,0 0 0,1 0-1</inkml:trace>
  <inkml:trace contextRef="#ctx0" brushRef="#br0" timeOffset="75552.25">18680 13414 0,'13'14'15,"0"-1"1,-13 0-16,0 0 0,13 1 0,-13-1 16,13 0-16,-13 13 0,0-12 15,14-1-15,-14 13 0,0-12 0,13-14 16,-13 13-16,0 0 0,0 0 15,13 0 1,-13-39 0,0 13-1,13 0-15,-13-1 0,0 1 0,14-13 16,-14 12-16,0 1 0,13-13 16,-13 13-16,13-1 0,0 1 0,-13 0 15,14 13-15,-1-13 0,0-1 16,0 14-16</inkml:trace>
  <inkml:trace contextRef="#ctx0" brushRef="#br0" timeOffset="77112.89">18957 13626 0,'-13'26'31,"13"-12"-15,27-14-1,-27-14 1,13 14-16,-13-13 16,13 0-16,-13 0 0,13 13 15,-13-13-15,0-1 16,14 1-16,-14 0 15,0 0-15,0 39 79,0-13-79,0 1 15,0-1-15,13 0 16,0 0-1,0-13-15,0 0 0,1 0 16,-1 0-16,0-13 0,-13 0 16,13 13-16,1-13 0,-1-1 15,0 1-15,0-13 0,-13 12 0,14-12 16,-14 13-16,13-53 16,-13 26-16,0 13 0,0-12 15,0-1-15,0 0 0,0 14 0,0-1 16,-13 1-16,13 0 0,0 12 0,0 1 15,0 0-15,0 0 0,-14-1 16,14 41 0,0-1-1,0 1-15,0-1 0,0 14 0,0 0 16,14-1-16,-14 1 0,0 0 16,13-1-16,-13 1 0,13-13 0,-13-14 15,13 13-15,0 1 0,-13-14 0,14 0 16,-1 0-16,-13 1 0,13-1 15,0-13-15,-13 13 0,14-13 16,-1 0-16,13 0 16,-12-13-16,-1 0 0,0-1 15,0 1-15,0 0 0,1 0 0,-1-14 16,-13 14-16,13 0 0,0 13 0,-13-13 16,0-1-16,0 1 0,14 13 15,-14-13-15,-14 13 16,-12 13-1,26 0 1,-13-13-16,13 14 0,-14-1 16,14 0-1,0 0 1,14 0 0,-1-13-1,13 0 1,-26-13-16,14 13 15,-1 0-15,0-13 0,0 13 16,-13-13-16,13 0 0,1-1 16,-14 1-16,13 0 0,-13 0 0,13-14 15,-13 1-15,13-1 0,-13 1 16,14-14-16,-14 0 0,13 1 0,-13 12 16,0-12-16,0-1 0,0 13 15,13 14-15,-13-13 0,0 13 16,0-1-16,0 1 0,0 0 0,0 0 15,13 39 1,-13-13-16,0 14 16,14-1-16,-14 14 0,13-14 15,-13 14-15,13 0 0,-13-1 0,13 1 16,-13-13-16,0-1 0,13 0 0,-13-12 16,14 12-16,-14-13 0,0 1 15,13-1-15,-13 0 0,0 0 0,13 1 16,-13-1-16,-26-26 47,-1-1-47,14 1 0,0 13 0,0-13 15,-14 13-15,14 0 0,0-13 0,-14 13 16,14-14-16,0 14 0,-1 0 16,1-13-16,0 13 0,0 0 15,13-13-15,0 0 16,0-1-1,13 14-15,0-13 0,0 0 0,1 0 16,-1 0-16,13-1 0,-12 1 0,12 0 16,1 13-16,-14-13 0,13-1 15,-13 1-15,1 13 0,-1 0 16,0 0-16,0-13 0,1 26 0,-1-13 16,0 0-16,0 0 0,1 13 0,-1-13 15,-13 14-15,13-1 0,0-13 16,-13 13-16,0 0 0,13 1 0,-13-1 15,0 0-15,0 0 0,0 0 16,0 1 0</inkml:trace>
  <inkml:trace contextRef="#ctx0" brushRef="#br0" timeOffset="77232.55">19923 13004 0,'-13'-13'31</inkml:trace>
  <inkml:trace contextRef="#ctx0" brushRef="#br0" timeOffset="77884">20201 13110 0,'-13'13'31,"-1"-13"-31,14 14 16,-13-1-16,13 0 0,0 0 0,-13 0 16,13 1-16,0-1 0,-13 0 15,13 0-15,0 1 0,0-1 16,0 0-16,0 0 0,13-13 15,-13 14 1,13-14-16,0-14 16,1 14-16,-14-13 0,13 0 0,0 0 15,-13-1 1,13 1-16,-13 0 0,0 0 16,0-1-1,-13 1-15,13 0 31,13 13 16,1 13-47,-1-13 0,0 13 16,0-13-16,-13 14 0,14-14 16,-1 0-16,-13 13 0,13-13 15,0 13-15,0-13 0,-13 13 16,14-13-16,-1 0 0,0 0 15,0 0 1,1 0-16,-1-13 16,0 26 15,-39 1-31,12-1 0,1 0 16</inkml:trace>
  <inkml:trace contextRef="#ctx0" brushRef="#br0" timeOffset="78168.59">19010 13983 0,'66'-26'0,"146"-54"16,-146 54-16,0-1 15,1 1-15,12 13 0,-13-14 0,0 14 16,0 0-16,1-14 0,-1 14 16,-13 0-16,-1 0 0,-12-1 0,0 1 15,0 0-15,-27 13 0,13 0 0,-13-13 16,1 13-16,-1 0 0,-26 13 31,-1 0-31,-12 0 16,13 1-16</inkml:trace>
  <inkml:trace contextRef="#ctx0" brushRef="#br0" timeOffset="78437.64">18971 14142 0,'0'0'0,"26"-13"15,14-14-15,-1 14 0,14-13 16,14 12-16,-15-12 0,15-1 0,12 1 15,0 0-15,-13-1 0,14 14 16,-1-14-16,-13 1 0,1 13 16,-1-14-16,-13 14 0,-14 0 0,1 0 15,0-1-15,-14 1 0,1 13 0,-14-13 16,0 13-16,13 0 0,-26-13 0,14 13 16,-1 0-16,0-14 15</inkml:trace>
  <inkml:trace contextRef="#ctx0" brushRef="#br0" timeOffset="87069.5">14208 6416 0,'0'53'16,"0"-26"-16,0-1 15,0 27-15,0-13 0,13 13 16,-13-1-16,0 15 0,0-1 0,14-13 15,-14 0-15,0-1 0,0 15 0,0-28 16,0 14-16,0 0 0,0-13 0,13 13 16,-13-14-16,0 1 0,0-13 15,0-1-15,0 0 0,13 1 0,-13-14 16,0 0-16,0 1 0,0 12 16,13-13-16,-13 1 15,14-1-15,-1-13 0,0 13 16,0-13-16,14 0 0,-14 0 0,13 0 15,1 0-15,-1 0 0,27-13 16,-13 13-16,13 0 0,-14-13 16,14-1-16,14 14 0,-1-13 0,0 0 15,0 0-15,0-14 0,0 14 0,-13 0 16,13-14-16,-13 14 0,13-13 16,1 12-16,-1-12 0,-13 13 0,13-1 15,0-12-15,-13 13 0,0-1 0,13 1 16,-26 0-16,-1 0 0,14 0 15,-13-1-15,0 1 0,-1 0 0,1 0 16,-14-1-16,14 14 0,-14-13 0,1 13 16,-14-13-16,14 13 0,-14-13 0,0 13 15,14 0-15,-14 0 16,0-13-16,0 13 0,0 0 0,14 0 16,-27-14-16,26 14 15,-12-13-15,-1 13 0,0-13 16,0 13-16,-13-13 15,14 13-15,-1-14 0,0 14 16,0-13-16,0 0 16,1 13-1,-14-13 1,13 13-16,-13-14 16,0 1-1,13 0 1,-13 0-16,0 0 0,-13-1 15,13 1-15,0 0 0,0-14 0,-13 1 16,13-1-16,-14-12 0,1-1 16,13 0-16,-13-12 0,0-1 0,0 0 15,-1 13-15,14 0 0,-13-13 0,13 14 16,-13 12-16,13 1 0,0 13 0,0-14 16,-13 14-16,13 0 15,0-1-15,0 1 0,0 0 0,-14 0 16,14-1-16,0 1 0,-13 0 15,0 13 1,13-13-16,-13 13 16,-1 0-16,1 0 15,0 0-15,0 0 0,0 0 0,-14 0 16,14 0-16,-27 13 0,14-13 16,-14 13-16,0-13 0,-13 13 0,1 1 15,-1-14-15,-14 13 0,1 0 0,0-13 16,0 13-16,0-13 0,-13 14 15,-1-1-15,14 0 0,-13 0 0,-1 1 16,1-1-16,13 0 0,-14 13 16,1 1-16,0-14 0,12 14 0,1-1 0,0-13 15,0 14-15,13-1 16,-13-13-16,26 14 0,1-14 0,-1 0 16,0 1-16,14-1 0,-54 0 15,67 0-15,-13-13 16,12 14-16,-12-14 0,13 0 0,-14 13 15,14-13-15,-13 0 0,-1 0 0</inkml:trace>
  <inkml:trace contextRef="#ctx0" brushRef="#br1" timeOffset="98209.79">833 9948 0,'14'0'31,"-1"14"-31,0-14 16,0 0-16,1 0 0,-1 0 16,13 0-16,14 0 0,0 0 15,26 0-15,-13 0 0,26 0 0,0 0 16,1 0-16,12 0 0,-12 0 0,12 0 15,-12 0-15,26 0 0,-27 0 16,14 0-16,-14 0 0,14 0 0,-14 13 16,0-26-16,1 13 0,-27 0 0,26 0 15,-26 0-15,0 0 0,0 0 16,0 0-16,0 0 0,-14-14 0,1 14 16,-14 0-16,1 0 0,-1 0 15,-12 0-15,12 0 0,-13-13 16,0 13-16,1 0 0,-1 0 0,0 0 15,0 0 1,1 0-16</inkml:trace>
  <inkml:trace contextRef="#ctx0" brushRef="#br1" timeOffset="99080.56">5239 9909 0,'119'0'16,"-66"13"0,-14-13-16,14 0 0,13 13 0,1-13 15,-1 13-15,13-13 0,1 14 16,-14-1-16,26-13 0,-12 13 0,-1-13 16,0 13-16,1 0 0,12-13 0,-12 14 15,-1-1-15,14-13 0,-1 13 16,14-13-16,-13 0 0,13 13 0,-14-13 15,1 0-15,13 0 0,-14 0 0,1 0 16,-1 0-16,1 0 0,0 0 16,-27 0-16,13 0 0,-26 0 0,0 0 15,0 0-15,-13 0 0,-1 0 16,-12 0-16,-1 0 0,-13 0 0,1 0 16,-1 0-16,0 0 0,0 0 15,1 0-15,-1 0 16,-40 0 15</inkml:trace>
  <inkml:trace contextRef="#ctx0" brushRef="#br1" timeOffset="103056.78">6469 10927 0,'0'-13'0,"0"40"31,0-14-31,-13 0 0,13 0 0,0 14 16,0-14-16,0 13 0,-13 1 16,13-1-16,0 1 0,0-1 0,0-13 15,0 14-15,-14-1 0,14-12 16,0-1-16,0 0 0,-13 0 16,13 0-16,13-39 31,1 13-16,-14 0-15,13 13 0,0-14 0,0 1 16,1 13-16,-1-13 0,0 13 16,13 13-1,-12-13-15,-1 13 16,0 1-16,0-1 0,-13 0 16,14-13-16,-1 13 0,0 0 15,-13 1-15,13-14 0,1 13 16,-1-13-16,0 0 0</inkml:trace>
  <inkml:trace contextRef="#ctx0" brushRef="#br1" timeOffset="103520.81">6813 11311 0,'0'-40'16,"0"27"-16,0 0 15,0 0-15,0-1 16,-13 1-16,0 13 16,-1 13-1,1 1-15,0-1 16,13 0-1,0 0-15,-13 0 0,13 1 16,0-1-16,0 0 0,13 0 16,0 1-16,0-14 15,1 0-15,12 0 16,-13-14-16,0 1 0,1 13 0,-1-13 16,0 0-16,0-1 0,1 1 15,-14 0-15,13 0 0,0 0 0,0-1 16,-13 1-16,14 13 15,-1 13 1,-13 1 0,0-1-16,0 0 0,0 0 15,13 0-15,-13 1 16,0-1-16,0 0 0,13-13 0,-13 13 16,13 1-16</inkml:trace>
  <inkml:trace contextRef="#ctx0" brushRef="#br1" timeOffset="104372.6">7210 11192 0,'0'0'0,"0"-13"0,-13 13 0,-1 0 16,1 0 15,13 13-15,0 0-16,0 0 15,13 1-15,-13-1 16,0 0-16,14 0 0,-14 0 16,0 1-16,0-1 0,0 0 15,0 0-15,-14-13 16,14 14-16,0-1 0,-13-13 0,13 13 16,0 0-16,-13-13 0,13 14 15,26-28 32,-26 1-47,14 13 16,-14-13-16,13 0 0,0-14 0,-13 14 15,13 0-15,-13-14 0,14 14 16,-14-13-16,13-1 0,-13 1 0,13 12 16,-13 1-16,13 0 0,-13 0 15,0-1-15,0 1 0,0 0 16,0 0-16,-13 26 47,13 0-47,0 0 0,-13 1 15,13-1 1,0 0 0,13-13-16,-13 13 15,13-13-15,0 0 16,-13 14-16,14-14 0,-14 13 0,13-13 15,0 13-15,0 0 16,1 1-16,-1-14 16,-13 13-16,13-13 0,0 0 15,1 13 1</inkml:trace>
  <inkml:trace contextRef="#ctx0" brushRef="#br1" timeOffset="104528.8">7342 11139 0,'13'-13'31,"1"-1"-31,-1 14 16,0-13-16,0 13 0,1 0 0,12 0 15,-13-13-15</inkml:trace>
  <inkml:trace contextRef="#ctx0" brushRef="#br1" timeOffset="105557.95">8718 11073 0,'0'-13'0,"0"26"0,0 0 47,-13 0-47,13 0 16,13-13-16,-13 14 0,0-1 0,0 0 15,0 0 1,13-13 0,0 0-16,1-13 15,-1 13-15,0-13 0,0 13 16,-13-13-16,14 13 0,-1 0 16,0-14-16,0 14 15,1 0 1,-1 0-16,0 0 0,0-13 15,0 13 1,-13-13-16,14 13 16,-14-13-16,0 0 15,0-1-15,13 1 16,-13 0-16,0 0 0,0-1 16,0 1-16,13 13 15,-13 13 1,13-13-1</inkml:trace>
  <inkml:trace contextRef="#ctx0" brushRef="#br1" timeOffset="105991.86">9168 11020 0,'0'0'0,"0"-13"0,0-1 0,-13 14 0,13-13 15,-14 0-15,1 13 16,0 0-16,13 13 16,-13-13-16,13 13 15,-14-13-15,14 14 0,-13-1 16,13 0-16,0 0 16,13-13-16,-13 14 0,14-1 15,-1-13-15,0 0 16,14 0-16,-14 0 15,0-13-15,0 13 0,1 0 16,-1-14-16,0 1 0,0 13 0,14-13 16,-27 0-16,13 13 0,0-14 0,0 1 15,1 13-15,-14-13 0,13 13 16,0 0 15,-13 13-31,13-13 0,-13 13 16,0 1-16,13-1 15,-13 0-15,14 0 16,-1 1-16,0-1 31</inkml:trace>
  <inkml:trace contextRef="#ctx0" brushRef="#br1" timeOffset="106644.04">9551 10941 0,'-26'0'15,"26"13"1,13 0-1,0 0 17,-13 0-17,0 1 1,0-1-16,-13-13 0,13 13 16,0 0-16,-13-13 0,13 14 15,0-1 1,26-26 31,-12-1-47,-1 1 0,-13 0 15,13 0-15,0-1 16,1 1-16,-14 0 0,13 13 0,0-13 16,-13 0-16,13-1 0,-13 1 15,14 13 1,-14 13-1,0 1-15,0-1 16,0 0-16,0 0 0,0 0 16,0 1-16,0-1 0,0 0 0,0 0 15,13-13-15,-13 14 0,0-1 0,0 0 16,0 0 0,0 0-16</inkml:trace>
  <inkml:trace contextRef="#ctx0" brushRef="#br1" timeOffset="107220.16">7157 11867 0,'-13'13'0,"26"-26"0,-26 39 0,13-13 15,0 0-15,13 1 0,-13-1 16,13 0-16,14 14 0,-14-1 16,27 1-16,-1-14 0,-12 13 0,26-13 15,0 1-15,-14-1 0,27 0 0,-13-13 16,27 0-16,-14 0 0,13 0 15,-13 0-15,14-13 0,-14 0 0,0-1 16,13 1-16,-12-13 0,-1 13 0,0-14 16,0 1-16,-13-1 0,0-13 15,0 14-15,0 0 0,-14-14 0,-12 0 16,12 14-16,-25-1 0,12 1 0,-13-14 16,14 14-16,-14-14 15,0 27-15,-13-14 0,14 14 0,-14-13 16,13 12-16,-13 1 0,0 0 15,0 0-15,-27 13 32,14 13-32,0 0 0</inkml:trace>
  <inkml:trace contextRef="#ctx0" brushRef="#br1" timeOffset="108351.01">7766 12515 0,'-14'13'0,"28"-26"0,-41 39 0,14-13 0,13 1 16,-13-1-16,13 0 0,-14 0 0,14 1 16,0-1-16,-13 0 0,13 0 15,0 1-15,13-1 0,-13 0 16,14-13-16,-14 13 0,13-13 0,0 0 16,0 0-16,1 0 15,-1-13-15,13 13 0,-13-13 0,1 13 16,-1-13-16,0-1 0,0 14 0,1-13 15,-1 13-15,0-13 16,0 13-16,1 0 16,-1 13-16,0-13 15,-13 13-15,13-13 0,0 0 16,1 14-16,-1-28 16,0 14-16,0 0 0,1-13 15,-1 0-15,-13 0 16,0-1-1,0 1-15,-13 13 16,13-13-16,-14 13 0,14-13 0,-13 13 16,0 0-16,0 0 0,-1 0 15,-12-14-15,52 28 63,-12-14-63,-1 0 15,0 0-15,0 0 0,1 0 16,-1 0-16,0 13 0,0-13 16,0 0-16,1 0 0,-1 13 0,0-13 15,0 13 1,-13 1-16,14-14 0,-14 13 16,13 0-16,-13 0 31,0-39 0,13 26-31,-13-13 0,0-1 0,0 1 16,13 13-16,-13-13 0,14 0 15,-14-1-15,13 14 0,-13-13 0,13 0 16,0 0-16,0 13 16,1 0-1,12 0-15,-13 0 16,-13 13-16,14-13 0,-14 13 15,13-13-15,-13 13 16,13 1-16,-13-1 16,13 0-1,-13-39 17,14 26-17,-14-14-15,0 1 0,13 0 16,-13 0-16,13 0 0,-13-1 15,13 1-15,-13 0 0,13 0 0,1-1 16,-1 1-16,0 0 0,0 13 16</inkml:trace>
  <inkml:trace contextRef="#ctx0" brushRef="#br1" timeOffset="108947.63">8520 12541 0,'0'-13'0,"13"-27"32,-13 27-32,0 0 15,13 13-15,-26 26 63,13-12-48,0-1-15,0 0 16,13 0-16,0-13 16,0-13-1,1 13-15,-1-13 0,0 0 16,0-1-16,1 1 0,-1 0 0,-13 0 16,13-14-16,0 1 0,-13-14 15,14 14-15,-1-14 0,-13 13 0,0 1 16,13 0-16,-13-1 0,0 14 15,0 0-15,0-14 0,0 14 16,0 0-16,-26 26 31,26 0-31,0 14 0,-14-14 0,14 13 16,0 1-16,0-1 0,0 1 16,0-14-16,0 13 0,14 1 0,-14-14 15,13 0-15,0 14 0,0-14 0,-13 0 16,13-13-16,1 13 0,-1-13 15,0 14-15,0-14 0,1 0 0,-1 0 16</inkml:trace>
  <inkml:trace contextRef="#ctx0" brushRef="#br1" timeOffset="109708.64">8983 12396 0,'0'-14'15,"0"1"1,-27 40 15,27-14-15,-13-13-16,13 13 0,0 0 16,-13 1-16,13-1 15,0 0 1,0 0-16,13-13 0,0-13 15,0 13 1,1 0-16,-14-13 16,13 13-16,0 0 0,0-13 15,1 13-15,-14-14 16,13 14-16,0 0 16,-13-13-16,13 13 0,0-13 0,1 0 15,-1-1-15,-13 1 0,13 0 16,-13 0-16,13 0 0,1-27 15,-1-13 1,0 27-16,-13-14 0,0 0 0,13 14 0,-13-14 16,0 14-16,0-1 0,14 14 15,-14-14-15,0 14 0,0 0 16,0 0-16,0 39 16,-14-13-1,14 14-15,0-14 0,0 14 16,0-1-16,0 0 0,0 1 0,0-1 15,14-12-15,-14 12 0,13 1 0,-13-14 16,13 0-16,-13 0 0,13 0 16,0 1-16,1-14 0,-1 0 15,0-14-15,0 14 0,1 0 16,-1-13-16,0 13 0,0-13 0,0 13 16,1-13-16,-1 13 15,0 0 1,0 0-1</inkml:trace>
  <inkml:trace contextRef="#ctx0" brushRef="#br1" timeOffset="110261.6">8969 12184 0,'-13'-13'16,"53"13"-1,-27-13-15,14 13 0,-1 0 16,0-14-16,14 1 0,0 13 16,0-13-16,-1 0 0,-12-1 0,12 14 15,-12-13-15,-1 0 0,1 13 0,-1-13 16,-13 0-16,14 13 0,-14-14 15,0 14-15,1 0 0,-1-13 0,0 13 16,-13-13-16,0 39 47,-13-12-47,13-1 0,0 0 16,-13-13-16,13 13 0,0 0 15,0 1-15,-14-1 0,14 0 0,0 0 16,0 1-16,0-1 0,14 0 0,-1 0 31,0-26-31,0 13 0,-13-13 16,13 0-16,1-1 0,-1-12 0,0-1 15,0-12-15,1 12 0,-1-12 16,0-14-16,0 13 0,-13 14 0,14-14 16,-14 13-16,13 14 0,-13 0 0,0 0 15,0 0-15,0 39 31,0 0-31,0-12 0,0 12 16,0 1-16,0-1 0,0 0 0,0 1 16,0 13-16,0-14 0,-13 1 15,13-1-15,0 0 0,0 1 0,0-1 16,0-12-16,0-1 0</inkml:trace>
  <inkml:trace contextRef="#ctx0" brushRef="#br1" timeOffset="110399.68">9948 12039 0,'-39'13'32</inkml:trace>
  <inkml:trace contextRef="#ctx0" brushRef="#br1" timeOffset="125283.76">16999 807 0,'-13'26'0,"26"67"31,1-67-31,-14-12 16,0 12-16,13 1 0,-13-1 0,13-13 16,-13 14-16,0-14 0,13 13 15,-13-12-15,0-1 0,0 0 0,0 0 16,14 1-16,-14-1 0,0 0 31</inkml:trace>
  <inkml:trace contextRef="#ctx0" brushRef="#br1" timeOffset="125544.54">16920 913 0,'0'-27'0,"0"54"0,0-67 0,0 27 0,0 0 15,13 13 1,1 0-16,-1 0 0,0 0 0,0 0 15,0 0-15,1 13 0,12-13 0,-13 13 0,1 0 16,-1 1-16,0 12 16,-13-13-16,0 0 0,13-13 0,-13 14 15,0-1-15,0 0 0,-13 0 16,13 1-16,-13-1 16,13 0-16,-13-13 0,13 13 0,-14 1 15</inkml:trace>
  <inkml:trace contextRef="#ctx0" brushRef="#br1" timeOffset="126021.51">17264 1151 0,'13'-27'0,"1"-25"31,-14 38-31,-14 1 16,14 0 0,-13 39-1,13-12 1,0-1-16,0 0 16,0 0-16,0 0 0,0 1 0,0-1 15,13-13-15,1 13 16,-1 0-16,0-13 15,0-13-15,0 13 0,1-13 16,-1 0-16,0-1 0,14 1 0,-14 0 16,-13-13-16,13 12 0,0-12 15,-13-1-15,13 1 0,-13-1 0,0 14 16,0-26-16,-13-1 0,13 13 0,0 14 16,0-13-16,-13 13 0,13-1 15,0 1-15,0 0 0,-13 39 31,13-12-31,0-1 0,0 13 16,13-13-16,-13 14 16,0-1-16,13-12 0,-13 12 0,0-13 0,13 0 15,-13 1-15,14-1 0,-14 0 16,13 0-16,-13 1 0,13-1 16,-13 0-16,13 0 0</inkml:trace>
  <inkml:trace contextRef="#ctx0" brushRef="#br1" timeOffset="126529.9">17423 1045 0,'-13'-13'0,"26"26"0,-13-39 0,0 12 16,0 1-16,13 13 15,0-13-15,0 0 0,1 13 16,-1-14-16,0 14 0,0 0 15,1 0-15,-1 0 16,0 14-16,0-14 0,1 13 16,-14 0-16,13-13 0,-13 13 15,13-13-15,-13 14 0,13-1 16,-13 0 0,13-13-16,1-13 15,-1 13 1,-13-13-16,13-1 15,0 1-15,1 0 16,-1 0 0,0 26-1,0 0 1,1 0-16,-1-13 16,0 14-16,0-14 15,0-14-15,1 14 16,-1 0-16,-13-13 0,13 0 15,-13 0-15,0-1 16,-13 1 0,0 0-1,-1 13 1,1 13 0,0-13-16,0 13 15</inkml:trace>
  <inkml:trace contextRef="#ctx0" brushRef="#br1" timeOffset="126789.07">17952 688 0,'0'0'0,"0"40"31,0-27-31,0 0 16,13 14-16,-13-14 0,0 0 0,13 13 15,-13-12-15,14-1 0,-1 0 0,-13 0 16,13 1-16,0-1 0,1 0 16,-14 0-16,13-13 0,0 13 0,0-13 15,1 0-15,-1 0 16,0 0 0,0 0-16,0 0 15,-13-13-15,14 13 0,-1-13 0,0 13 0</inkml:trace>
  <inkml:trace contextRef="#ctx0" brushRef="#br1" timeOffset="128312.43">18521 542 0,'-13'-13'0,"39"40"47,-26-14-47,13 0 0,1 14 0,-14-14 15,13 13-15,-13 1 0,13-1 16,0-13-16,-13 14 0,0-1 0,13-12 16,-13-1-16,14 13 0,-14-13 0,0 1 15,13-1-15,-13 0 0,0 0 16,0 1-1</inkml:trace>
  <inkml:trace contextRef="#ctx0" brushRef="#br1" timeOffset="128701.68">18547 529 0,'0'0'16,"-26"13"-1,26 1-15,0-1 16,-13-13-16,13 13 0,-14 14 16,14-14-16,-13 0 0,13 0 15,-13 0-15,13 1 0,-13-1 0,13 13 16,-14-12-16,14-1 15,0 0-15,0 0 0,-13-13 0,13 14 16</inkml:trace>
  <inkml:trace contextRef="#ctx0" brushRef="#br1" timeOffset="128977.69">18508 542 0,'0'0'0,"13"-13"15,0 13-15,0 0 0,1 0 16,78 13 15,-79-13-31,1 14 0,-1-14 0,0 0 16,0 13-16,0-13 0,1 0 15,-1 13-15,0-13 0,0 0 16,-13 13-16,14-13 16,-1 14-16,0-14 0</inkml:trace>
  <inkml:trace contextRef="#ctx0" brushRef="#br1" timeOffset="131249.57">19963 450 0,'0'0'0,"0"-13"0,-13 13 15,-1 13 1,1-13-16,0 13 0,0 0 16,13 14-16,-14-14 0,1 13 0,0-12 15,0 12-15,13 1 0,-13-14 0,13 13 16,0-13-16,0 1 0,0-1 15,0 0-15,0 0 0,0 1 0,13-14 16,-13 13-16,13-13 0,0 0 0,14 0 31,-14 0-31,0-13 0,0-1 0,1 14 16,-1-13-16,0 0 0,-13 0 0,13-1 16,0 1-16,1 0 15,-1 13 1,-13 13-1,13-13-15,-13 13 0,13-13 16,1 14-16,-1-14 16,-13 13-16,13-13 0,0 0 0,14 0 15,-27-13-15,13 13 16,0 0-16,0-14 0,1 1 16,-14 0-1,0 0-15,-14 0 16,1 13-16,13-14 15,-13 14-15,0 0 0,-14 14 16,14-14-16,0 13 16,0 0-1</inkml:trace>
  <inkml:trace contextRef="#ctx0" brushRef="#br1" timeOffset="131458.76">20241 529 0,'13'27'31,"-13"-14"-31,13-13 0,-13 13 16,0 0-16,0 1 0,0-1 15,0 0-15,0 0 0,0 0 16,0 1-16,-13-1 0,13 0 15,-13 0-15,13 1 0,-14-14 16</inkml:trace>
  <inkml:trace contextRef="#ctx0" brushRef="#br1" timeOffset="131654.24">20333 410 0,'13'13'31,"-13"1"-15,0-1-16,0 0 0,0 13 15,0-12-15,0-1 0,0 0 0,0 14 16,0-14-16,0 0 0,0 14 0,0-14 16,14 0-1</inkml:trace>
  <inkml:trace contextRef="#ctx0" brushRef="#br1" timeOffset="132304.81">20320 595 0,'0'0'0,"13"-13"0,0 0 0,1 13 15,-1-13-15,0-1 16,14 14-16,-14-13 0,13 13 0,-12-13 15,12 13-15,-13-13 0,14 13 16,-14-14-16,0 14 0,0 0 16,1 0-16,-1 0 15,0 0-15,-13 14 16,0-1 0,13 0-16,-13 0 15,0 1-15,14-1 16,-1-13-1,0 0-15,0-13 16,0 13 0,-13-14-16,14 14 0,-14-13 0,0 0 15,0 0-15,-14-1 16,14 1-16,-13 13 16,0 0-16,0 0 15,0 0-15,-1 0 16,1 0-16,53 0 47,-27 0-47,0 13 0,0-13 15,14 0-15,-14 14 0,0-14 0,1 13 16,-1 0-16,0 0 0,0 14 16,-13-14-16,13 14 0,-13-1 15,0-13-15,0 14 0,0-14 0,0 13 16,0-12-16,0-1 0,-13 0 15,13 0-15,0 1 0,0-1 16,-13-13-16,0-13 31,13-1-31,13 1 0,-13 0 16,0 0-16,0-14 0,13 14 0,0-14 16,-13 14-16,14-13 0,-1 13 0,0-14 15,14 14-15,-14 0 16,0-1-16,14 14 0,-14-13 0,0 13 0</inkml:trace>
  <inkml:trace contextRef="#ctx0" brushRef="#br1" timeOffset="133365.6">21246 516 0,'-13'-40'15,"13"27"1,-13 0 0,13 0-16,-14 13 15,1 13 1,13 0-16,-13 0 0,0 0 15,13 1-15,0-1 16,0 0-16,13-13 16,-13 13-16,13-13 0,0 0 15,1 0-15,-1 0 16,0-13-16,0 13 0,0-13 0,1 13 16,-14-13-16,13-1 0,0 14 15,-13-13-15,13 13 0,1-13 16,-14 0-16,13 13 0,-13-13 15,13 13-15,0 0 16,1 13-16,-1-13 16,0 13-16,0 0 15,0 0 1,1-13-16,-14 14 16,13-14-16,0-14 15,0 1 1,-13 0-16,14 0 15,-14 0 1,13-1-16,0 1 16,0 13 15,1 13-15,-1-13 15,0 0 0,0 0-31,0 0 31,1 0-15,-1 14 15,0-1 0,0-26 1,1 13-17,-14-14-15,13 14 16,0 0-16,0 0 31,1 0-15,-1 0-16,0 0 15,0 0-15,14-13 16,-14 13 0,0 0-16,0-13 0,1 13 15,-1-13-15,0 13 16,0-14 0,1 14-16,-1 0 15,0 14-15,0-1 16,0 0-1,1 0 1,-1-13 0,0 14-1</inkml:trace>
  <inkml:trace contextRef="#ctx0" brushRef="#br1" timeOffset="136258.76">21167 886 0,'-14'27'0,"28"-54"0,-28 67 0,14-27 16,-13 0-16,26-13 15,-13 14-15,14-14 16,-1 0-16,0 0 16,0 0-1,1 0-15,-14-14 0,13 14 0,0 0 0,0 0 16,0 0-16,1 0 15,-1 0 1,0 0 0,0 14 15,1-14-31,-1 0 16,13 0-16,-26-14 15,14 14-15,-1 0 16,0-13-1,-13 0-15,0 0 0,-13 13 16,13-13-16,-13-1 16,-1 14-16,14-13 15,-13 13-15,0 0 0,0 0 16,-1 0 0,28 13 15,-1 1-16,0-14 1,0 0-16,1 13 0,-1-13 16,0 0-1,0 0 1,0 0 31,1 0-47,-14-13 15,13 13 1,0-14 0,0 14-16,1 0 15,-1 0 1,0 0 15,0 0-15,1 0 15,-1 0-15,0 14 15,0-14-31,0-14 47,1 14-32,-14-13-15,13 0 16,0 0 15,0-1 16,1 28-31,-1-14 15,0 13-15,0-26 15,1 13-15,-1-14-1,0 28 16,0-14-15,0 0 0,1 0-1,-1 0 1,0 0-16,0-14 16,1 14-1,-1-13 1,0 13 15,-13-13 0,13 26 47,1 0-62,-1-13 0,0 0-1,0 0 1,0 0 0,-13-13-16,14 13 0,-14-13 15,0 0 1,-14 0-16,14-1 15,-13 14-15,0-13 16,0 13 0,13-13-1,13 13 1,-13-13 0,13 13-16,0-14 15,1 14-15,-1 0 16,0 0-1,0 0 1,1 14 0,-14-1-1,0 0-15,0 0 16,13 1 0,-13-1-1,13-13 1,0-13-1,-13-1 1,13 1 0,-13 0-16,0 0 0,0-1 15,14 1-15,-14 0 0,0 0 16,0-1-16,0 1 16,0 0-16,0 39 46,0-12-30,0-1-16,0 0 0,0 0 16,0 1-16,0-1 0,0 0 15,13 0 1,0-13-16,0 0 16,1 0-1,-1-13-15,0 13 16,0 0-1,1 13 1,-14 1 0,13-14-1,-13 13-15</inkml:trace>
  <inkml:trace contextRef="#ctx0" brushRef="#br1" timeOffset="136536.9">22291 635 0,'0'0'0</inkml:trace>
  <inkml:trace contextRef="#ctx0" brushRef="#br1" timeOffset="136744.54">22463 516 0,'-13'26'31,"13"-12"-31,0-1 0,0 0 0,13 0 16,-13 1-16,0-1 0,0 0 0,0 13 16,13-12-16,-13-1 0,14 0 15,-14 0-15,13 1 0,-13-1 0,13 0 16</inkml:trace>
  <inkml:trace contextRef="#ctx0" brushRef="#br1" timeOffset="137316.04">22437 741 0,'0'0'0,"-14"0"31,41-13-15,-14 13 0,0-14-16,1 1 15,-1 13-15,0-13 16,0 13-16,0 0 16,-13-13-16,14 13 15,-1 0 1,0 13-1,0-13 1,1 0 0,-1 0-16,0 0 15,0 0-15,1 0 16,-1 13-16,0 0 16,-13 1-1,0-1-15,0 0 0,0 14 16,0-14-16,-13 0 0,0 13 15,-1-12-15,14-1 0,-13 13 0,0-12 16,0-1-16,-1 0 0,14 0 0,-13-13 16,13 13-16,-13-13 0,26-39 31,0 26-31,1-14 16,-1 1-16,13-14 0,1 0 0,-1 14 15,1-14-15,-1 14 0,-13-1 16,14 1-16,-1-1 0,-12 14 0,-1 0 15,-13 0-15,13-1 0</inkml:trace>
  <inkml:trace contextRef="#ctx0" brushRef="#br1" timeOffset="139420.76">18283 1323 0,'39'26'0,"-25"-12"0,-1-1 15,0 0-15,0 14 0,14-1 16,-1 0-16,-13 1 0,14-1 0,-14 1 15,14-1-15,-1 1 0,1-1 0,-1-13 16,0 14-16,1-1 0,-1-12 16,1 12-16,12-13 0,-12 0 0,13 1 15,-14-1-15,27 0 0,-13-13 16,-1 0-16,14 0 0,0 0 0,0 0 16,0 0-16,0 0 0,13-13 15,-13 13-15,13-13 0,-13 13 0,0-14 16,0 1-16,0 13 0,-13-13 0,12 0 15,-12 0-15,0 13 0,0-14 16,-14 1-16,14 0 0,-14 0 0,1-1 16,-1 1-16,-13 0 0,0-13 0,14 12 15,-14-12-15,0 13 0,1-14 16,12 1-16,-13-1 0,-13 1 0,14-1 16,-1 14-16,0-27 0,-13 14 0,13 13 15,-13-14-15,0 14 0,13 0 0,-13 0 16,0-1-16,0 1 0,14 0 15,-14 0-15,0-1 0,0 1 16,0 0-16,13 13 16,-13-13-16,0-1 31</inkml:trace>
  <inkml:trace contextRef="#ctx0" brushRef="#br1" timeOffset="139841.76">20002 1111 0,'14'-13'0,"25"-13"16,-25 26-16,-1 0 16,0 0-16,0 0 15,1 0-15,-1 0 0,0 13 0,0-13 16,-13 13-16,13-13 0,1 13 0,-14 0 16,13-13-16,0 14 0,-13-1 15,13 0-15,-13 0 0,14 1 16,-14-1-16,13 0 0,-13 0 15,0 1-15,0-1 16</inkml:trace>
  <inkml:trace contextRef="#ctx0" brushRef="#br1" timeOffset="140447.94">18217 1349 0,'0'40'16,"0"-27"-16,0 1 16,0-1-16,0 0 0,0 0 0,0 0 15,0 14-15,-14-14 0,14 0 16,0 1-16,0-1 0,0 0 15,0 0 1</inkml:trace>
  <inkml:trace contextRef="#ctx0" brushRef="#br1" timeOffset="140657.81">18217 1270 0,'0'-13'0,"13"13"15,0 0-15,0 13 16,0-13-16,1 0 0,-1 13 0,0-13 16,14 13-16,-14-13 0,0 14 0,0-14 15,1 13-15,-1-13 0,13 13 16,-13-13-16,1 0 0,-1 13 0,0-13 16,0 0-16,-13 14 0,14-14 15,-1 0-15</inkml:trace>
  <inkml:trace contextRef="#ctx0" brushRef="#br1" timeOffset="190502.75">16695 1217 0,'-53'0'16,"106"0"-16,-119 0 0,40 0 0,12 0 0,-12 0 16,13 0-16,-14 13 0,1-13 15,-1 0-15,1 0 0,-14 14 16,14-14-16,-1 0 0,1 13 0,-1-13 0,-12 0 16,25 13-16,-12-13 0,-1 0 15,-12 0-15,26 13 0,-14-13 16,1 0-16,12 0 15,1 13-15,0-13 0,-13 0 0,12 0 16,1 0-16,0 0 16,0 0-16,-1 0 0,1 14 15</inkml:trace>
  <inkml:trace contextRef="#ctx0" brushRef="#br1" timeOffset="190893.65">16021 1138 0,'-27'0'0,"54"0"0,-67 0 0,27 13 0,-1-13 16,1 13-16,-13 0 15,12 1-15,1-1 0,0 0 16,0 0-16,0 1 0,-1 25 16,1-26-16,13 1 0,0-1 15,-13 0-15,13 0 0,0 14 16,13-14-16,-13 0 0,13 1 15,-13-1-15,14 0 0,-1-13 0,0 13 16,0-13-16,0 13 0,1-13 16,-1 14-16,0-14 0,0 0 0,14 0 15,-14 0-15,0 0 16,1 0-16,-1 0 0,0 0 16</inkml:trace>
  <inkml:trace contextRef="#ctx0" brushRef="#br1" timeOffset="192812.89">13600 1072 0,'-14'-14'15,"1"41"1,13-1 0,0 1-16,13-1 0,-13 14 15,14 0-15,-14-14 0,13 14 0,0-1 16,-13-12-16,13-1 0,-13-12 15,13 12-15,-13 0 0,14-12 0,-14 12 16,13-13-16,-13 1 0,0-1 0,13 0 16,-13 0-16,0 1 15,-13-14-15,13 13 0,-13 0 16,-1-13-16,1 0 0,0 0 16,0 0-16,0 0 0,-14 0 15,14-13-15,0 13 0,-1 0 0,1-13 16,0-1-16,0 14 15,13-13-15,-13 13 0,26-26 16,-13 12 0,13 1-16,0 0 0,14 0 0,-14-1 15,0-12-15,14 13 0,-1-14 0,0 14 16,-12 0-16,-1 0 0,0-14 0,14 1 16,-14 12-16,-13 1 15,13 0-15,-13 0 16,-13 26 15,0 0-31,13 0 16,-14-13-16,14 14 0,0-1 15,0 0-15,0 0 16,0 1-16,0-1 0,14-13 16,-1 0-16,0 0 15,0-13-15,1 13 16,-1-14-16,-13 1 0,13 0 15,0 0-15,-13-1 0,13 14 16,-13-13-16,14 13 16,-14 13-1,13 1 1,-13-1-16,0 0 0,13-13 16,-13 13-16,13 1 0,1-14 15,-1 13-15,0-13 16,0 0-16,1 0 0,-1-13 15,0 13-15,0 0 0,0-14 16,1 1-16,-14 0 0,13 13 16,-13-13-16,13-1 0,-13 1 15,0 40 17,0-14-17,0 0-15,0 0 16,0 1-16,0-1 15</inkml:trace>
  <inkml:trace contextRef="#ctx0" brushRef="#br1" timeOffset="192943.79">13983 1138 0</inkml:trace>
  <inkml:trace contextRef="#ctx0" brushRef="#br1" timeOffset="193216.6">14168 1191 0,'0'13'0,"0"0"0,0 0 16,-13 40 0,13-40-1,0 1 1,13-28 15,1 1-15,-1 0-16,-13 0 0,13 0 15,0 13-15,-13-14 0,14 14 16,-1-13-16,0 13 16,-13-13-16</inkml:trace>
  <inkml:trace contextRef="#ctx0" brushRef="#br1" timeOffset="193992.59">14684 966 0,'-39'26'15,"39"-13"-15,-14 1 16,14-1-16,0 0 15,0 0-15,0 1 0,14-14 16,-14 13-16,13-13 16,0 0-16,14 0 0,-14 0 15,-13-13-15,13 13 16,0-14-16,1 1 0,-14 0 16,13 0-1,-26-1-15,-1 14 31,1 0-15,13 14-16,13-14 31,14 0-15,-14 0-16,0-14 16,0 14-16,1 0 0,-14-13 0,13 13 15,0-13-15,0 13 0,1-13 16,-14-1-16,13 14 0,-13-13 0,13 0 15,-13 0-15,13 0 0,-13-14 0,0 14 16,0-14-16,0 14 0,0-13 16,13 13-16,-13-14 0,0 14 0,0 0 15,0-1-15,0 1 0,-13 0 16,13 0-16,13 39 31,-13-13-31,0 14 0,14-1 16,-14 1-16,13-1 0,-13 14 15,13 0-15,-13-1 0,0 27 16,0-26-16,0 53 16,0-54-16,-13 1 0,0-13 0,13 12 15,-14-26-15,14 14 0,0-14 0,-13 0 16,13 1-16,0-1 0,-13-13 0,13 13 16,0-39-1,0-1-15,13-13 16,0 14-16,14-14 0,-14 1 0,27-28 15,-27 41-15,0 13 16,1-14-16,-1 27 0,0-13 16,0 0-16,-26 39 31</inkml:trace>
  <inkml:trace contextRef="#ctx0" brushRef="#br1" timeOffset="194352.59">13930 1733 0,'0'0'0,"0"13"16,0 0 0,0 1-16,0-1 0,0 0 0,0 0 15,14 1-15,-14-1 0,0 13 16,0-12-16,0-1 0,13 0 15,-13 0-15,0 0 0,0 1 16,13-1-16,-13 0 0,13-13 31</inkml:trace>
  <inkml:trace contextRef="#ctx0" brushRef="#br1" timeOffset="194776.37">13957 1746 0,'0'-13'16,"13"-13"-1,13 12 1,-12 14-16,-1 14 16,0-14-16,-13 13 15,0 0-15,13-13 0,-13 13 16,0 0-16,0 1 0,0-1 16,0 0-16,0 0 15,0 1-15,14-14 16,-14 13-16,13 0 0,0 0 15,-13 1-15,13-14 16,-13 13-16,0 0 16,0 13-16,0-12 15,-13-1-15,0-13 16,0 13 0</inkml:trace>
  <inkml:trace contextRef="#ctx0" brushRef="#br1" timeOffset="195040.66">14168 1746 0,'14'-13'16,"-14"39"0,0-12-1,13-1-15,0-13 31,0 0-15,1-13-16,-14-1 16,0 1-16,13 0 0,-13 0 15,0 0 1,0-1 0,13 1-16,0 13 15,-13-13 1</inkml:trace>
  <inkml:trace contextRef="#ctx0" brushRef="#br1" timeOffset="195250.68">14340 1654 0,'14'0'16,"-14"13"-16,13-13 15,-13 13-15,13-13 0,-13 13 16,0 1-16,13-1 15,-13 0 1,0 0-16,-13-13 0,13 13 16,-13 1-16,0-1 15</inkml:trace>
  <inkml:trace contextRef="#ctx0" brushRef="#br1" timeOffset="195676.84">14658 1389 0,'13'27'15,"0"-1"1,-13-13-16,0 14 0,0-14 16,14 13-16,-14-12 0,0 12 15,13-13-15,-13 14 0,0-1 0,13-13 16,-13 1-16,0-1 0,13 13 0</inkml:trace>
  <inkml:trace contextRef="#ctx0" brushRef="#br1" timeOffset="195964.43">14605 1654 0,'26'-27'0,"41"-26"32,-54 40-32,0 0 15,0 13-15,1 0 0,-1-13 16,0 13-16,0 0 16,0 0-16,-13 13 0,14-13 15,-14 13-15,13-13 0,-13 13 0,13 1 16,-13-1-16,13-13 0,-13 13 15,0 0-15,0 0 0,14 1 0,-14-1 16,0 0-16</inkml:trace>
  <inkml:trace contextRef="#ctx0" brushRef="#br1" timeOffset="196108.84">14843 1468 0,'0'0'0,"0"14"16,0-1-1</inkml:trace>
  <inkml:trace contextRef="#ctx0" brushRef="#br1" timeOffset="196992.47">14949 1508 0,'0'27'0,"-13"-27"0,13 13 15,0 27 1,0-27 0,0 0-16,0 0 0,13-13 0,-13 13 15,13-13-15,0 14 0,1-14 16,-1 0-16,0 0 0,0 0 15,1 0-15,-1 0 16,0-14-16,0 1 16,0 13-16,-13-13 0,0 0 0,14 13 15,-14-13-15,0-1 0,0-12 16,0 13-16,0-1 0,0-12 0,0 13 16,0-14-16,0 1 0,0 13 0,-14-1 15,14-12-15,0 13 0,0-1 16,0 1-16,-13 13 15,13-13-15,-13 13 0,0 13 32,26 0-17,0-13 1,0 14-16,1-14 16,-1 13-16,0-13 0,-13 13 15,13-13-15,1 13 16,-14 1-16,0-1 15,0 0-15,-14 0 0,14 0 16,-13 1-16,13-1 16,-13-13-16,13 13 0,0 0 15,0 1-15,0-1 16,13-13 0,14 0-16,-14 0 15,0 0-15,0-13 16,1 13-16,-1-14 0,0 14 0,0-13 15,0 0-15,1 13 16,-14-13-16,13-1 0,0 1 16,0 13-16,-13-13 15,0 39 32,0-12-31,14-14-1,-1 0 1,0-14-16,0 1 16,1 0-16,-14 0 0,13 0 15,-13-1-15,13-12 0,-13 13 0,13-14 16,-13 14-16,0-14 0,0 14 16,0 0-16,0 0 0,13 0 0,-13-1 0,0 1 15,-13 40 16,13-14-31,0 0 0,0 0 16,0 0-16,0 1 0,0-1 0,0 0 16,0 14-16,0-14 15,0 0-15,0 0 0,0 1 0</inkml:trace>
  <inkml:trace contextRef="#ctx0" brushRef="#br1" timeOffset="197114.39">15333 1376 0,'53'-53'0</inkml:trace>
  <inkml:trace contextRef="#ctx0" brushRef="#br1" timeOffset="197992.52">15015 1839 0,'0'13'0,"0"0"16,13 14-16,93 105 31,-79-119-31,-1 14 0,14-1 16,-1-13-16,14 14 0,-13-14 0,13 0 15,13-13-15,0 14 0,0-1 0,14-13 16,-14 0-16,13 0 0,1 0 16,-1-13-16,-13 13 0,14-14 0,12 1 15,-26 0-15,14 13 0,-1-13 0,-13-1 16,0-12-16,1 13 0,-1-14 15,-13 14-15,0-13 0,-1-1 0,1 1 16,-13-1-16,0-12 0,-1 12 16,-12 1-16,-1-14 0,1 13 15,-1 1-15,-13 0 0,27-41 16,-13 28-16,-14 12 0,13-12 16,-26 25-16,14-12 0,-14 13 0,13-1 15,-13 1-15,0 0 0,13 0 16,-13 0-16,0-1 0,0 1 15,0 0-15,13 13 0,-13-13 16,-13 13 0,-13 0-1</inkml:trace>
  <inkml:trace contextRef="#ctx0" brushRef="#br1" timeOffset="198288.55">17132 1323 0,'13'-13'0,"27"-1"31,-27 14-31,0 0 0,0 14 15,1-14-15,-1 0 0,0 13 0,0 0 16,1-13-16,-14 13 0,13 1 0,0-1 16,0 0-16,-13 0 0,13 1 15,-13-1-15,14 0 0,-14 0 0,0 0 16,0 1-16,0-1 0,0 0 16,0 0-1,-14 1-15,1-1 0</inkml:trace>
  <inkml:trace contextRef="#ctx0" brushRef="#br1" timeOffset="199088.56">14936 1799 0,'-27'27'0,"54"-54"0,-67 54 0,27-14 16,13 0-16,-13 0 0,13 1 0,-14-1 16,1 13-16,0-13 0,13 1 0,-13-1 15,13 0-15,-14 0 0,14 1 16,0-1-16,0 0 0,0 0 15,14 1-15,-1-14 0,-13 13 0,26-13 16,-12 13-16,12-13 0,0 0 16</inkml:trace>
  <inkml:trace contextRef="#ctx0" brushRef="#br1" timeOffset="200613.67">16298 2249 0,'-26'0'0,"13"0"16,13 13-16,-14-13 0,14 13 0,-13 1 15,0-1-15,13 0 0,0 0 16,-13-13-16,13 14 0,0-1 16,13 0-16,-13 0 15,13-13-15,0 0 0,1 0 16,-1 0-16,0-13 15,0 13-15,1 0 0,-1-13 16,0 13-16,0 0 16,0-13-16,1 26 31,-1 0-31,0 0 16,0 0-1,1 1-15,-1-14 16,0 0-16,0 0 15,1 0-15,-1 0 0,0 0 16,0 0-16,-13-14 0,13 14 16,-13-13-16,0 0 15,0 0-15,0 0 0,-13 13 16,13-14-16,-13 14 0,13-13 16,-13 13-16,0-13 15,-1 0 1,28 13-1,-1 0 1,0 0-16,0 0 0,0 0 16,1 0-16,-1 0 0,0 13 0,0-13 15,1 0-15,-14 13 0,13-13 16,0 13-16,0 1 0,1-1 16,-1 0-1,-13 0 1,0 0-1,0-39 17,0 13-17,0 0-15,13 13 0,-13-14 0,0 1 16,13 0-16,-13 0 16,13 13-16,1-14 15,-1 14-15,0 14 16,0-1-1,-13 0 1,14 0-16,-14 1 16,0-1-16,13 0 31,-13-39 0,0 12-31,0 1 16,13 0-16,-13 0 15,0-1-15,13 14 0,-13-13 0,14 0 16,-1 13 0,0 0-1</inkml:trace>
  <inkml:trace contextRef="#ctx0" brushRef="#br1" timeOffset="201904.44">16947 2289 0,'0'0'0,"-14"-14"16,1 41 30,13-14-30,0 0-16,13 1 16,1-14-1,12-14 1,-13 1-16,0 13 16,1-13-16,-1 0 0,0-1 15,-13 1-15,0 0 0,13-14 16,-13 14-16,0 0 0,0-13 0,0 12 15,0-12-15,0 13 0,0-1 0,0 1 16,0 0-16,-13 0 0,13 0 16,0-1-16,-26 28 31,26-1-31,0 0 0,-14 0 16,14 0-16,0 1 0,0-1 15,0 0-15,0 0 0,0 1 0,14-1 16,-14 0-16,13 0 0,0-13 15,-13 13-15,13-13 0,1 0 16,-1 0-16,0 0 16,0 0-16,1 0 0,-14-13 15,13 13-15,0 0 16,0-13-16,-26 39 78,26-26-62,0 0-1,1 0 1,-1-13-16,0 13 0,0-13 16,-13 0-16,14 13 0,-1-13 15,-13-1-15,0 1 0,13 0 0,-13 0 16,13-1-16,-13-12 0,0 13 15,14 0-15,-14-1 0,0 1 16,0 0-16,0 0 0,0 39 47,0-13-47,0 1 0,13-1 16,-13 0-16,0 13 0,0-12 0,13-1 15,-13 0-15,13 0 0,-13 1 16,13-1-1,1 0-15,-14 0 0,13-13 16,-26-13 31,-1 0-47,1 0 47,26 13-47,1-14 15,-1 1-15,0 13 16,0-13-16,1 0 16,-1 13-16,0-14 15,0 14-15,-13-13 0,13 13 16,1 13 0,-14 1-1,-14-1 1,14 0-16,0 0 15,14 1 1,-1-28 0,0 1-1,0 0-15,1 0 16,-14-1-16,13-12 16,0 0-16,-13-1 0,13 14 0,-13 0 15,0-1-15,0 1 0,14 0 16,-28 39 15,14-12-15,0-1-16,0 0 0,0 0 15,-13 14-15,13-14 16,0 13-16,0-12 0,0-1 16,0 0-16,0 0 0</inkml:trace>
  <inkml:trace contextRef="#ctx0" brushRef="#br1" timeOffset="202064.3">17793 2090 0,'0'-13'0,"0"0"31</inkml:trace>
  <inkml:trace contextRef="#ctx0" brushRef="#br1" timeOffset="203916.9">16801 2461 0,'13'-14'0,"146"-25"15,-119 25-15,13 1 16,-14 0-16,14 13 0,0-13 15,-13 0-15,13 13 0,-14-14 16,-12 14-16,-1-13 0,1 13 0,-1 0 16,-13-13-16,14 13 0,-14 0 15,0 0-15,1-13 0,-1 13 16,-13-14 0,-13 14-1,-1 0 1</inkml:trace>
  <inkml:trace contextRef="#ctx0" brushRef="#br1" timeOffset="204459.62">16444 2103 0,'-13'-26'15,"-1"13"-15,14 0 16,-13-1 0,13 1-16,-13 0 0,13 0 15,-13-1-15,13 1 0,0 0 16,-14 13-1,14-13-15,0-1 16,-13 1 0</inkml:trace>
  <inkml:trace contextRef="#ctx0" brushRef="#br1" timeOffset="204621.6">16351 1905 0,'0'40'16,"-13"-40"-16,13 13 15,0 0-15,-13-13 0,13 13 16,-13 1-16,-1-1 0,14 0 16,-13 0-16,13 1 15,-13-14-15</inkml:trace>
  <inkml:trace contextRef="#ctx0" brushRef="#br1" timeOffset="204776.39">16351 1931 0,'13'0'0,"1"0"15,-1 14-15,0-14 16,0 0-16,1 13 0,-1-13 16,0 0-16,14 0 0,-14 0 0,0 0 15</inkml:trace>
  <inkml:trace contextRef="#ctx0" brushRef="#br1" timeOffset="206303.41">19632 1733 0,'0'13'32,"0"0"30,0-39 32,0 13-94,-13 0 0,13-1 15,0 1-15,0 0 0,-13 0 16,13-1-16,0 1 0,0 0 16,-14 13-16,14-13 0,0 0 0,0-1 15,-13 1 1,13 0 0</inkml:trace>
  <inkml:trace contextRef="#ctx0" brushRef="#br1" timeOffset="206479.79">19645 1548 0,'-39'13'15,"25"0"-15,1 1 0,0-14 16,0 13-16,-1 0 0,14 0 0,-13 0 16,0 1-16,0-14 0,0 13 0,-1 0 15</inkml:trace>
  <inkml:trace contextRef="#ctx0" brushRef="#br1" timeOffset="206656.47">19473 1588 0,'14'0'0,"25"0"31,-26 0-31,1 0 0,-1 0 16,0 0-16,0 0 0,1 0 15,-1 0-15,0 0 0</inkml:trace>
  <inkml:trace contextRef="#ctx0" brushRef="#br1" timeOffset="212112.37">17396 1257 0,'0'0'15,"14"-13"1,-1 13-16,0-14 0,13 1 15,-12 13-15,12-13 0,1 13 0,-1-13 16,1-1-16,-1 14 0,0-13 16,-12 13-16,12 0 0,-13 0 0,1 0 15,-1 0-15</inkml:trace>
  <inkml:trace contextRef="#ctx0" brushRef="#br1" timeOffset="212260.48">17555 1310 0,'-13'0'0,"13"13"16,26-26 0,-12-1-1,12 1-15,-13 13 0,14-13 0,-14 0 16,27-14-16,-27 14 0,13 0 16</inkml:trace>
  <inkml:trace contextRef="#ctx0" brushRef="#br1" timeOffset="213664.42">17026 529 0,'13'0'31,"0"-13"-15,1 0-16,-14-1 0,13 1 15,-13 0-15,0 0 0,0 0 0,13-1 16,-13-12-16,0-1 15,-13 1-15,13 13 0,0-14 0,-13 1 16,13 13-16,-14-14 0,14 14 0,-13 0 16,13-1-16,-13 1 0,13 0 15,-13 13-15,-1 13 16,14 0-16,0 1 0,-13-1 16,13 13-16,0-12 0,0 12 15,0 14-15,13-14 0,-13 1 0,0 12 16,14 1-16,-14-14 0,0 1 0,13-1 15,-13 1-15,13-1 0,-13-12 16,0 12-16,13-13 0,-13 0 16,0 1-16,0-1 0,0 0 15,0 0-15,-13 1 16,0-14 0,0 0-16,-1 0 15,1-14-15,0 14 16,0-13-1,13 0 1,13 0-16,-13-1 16,13 14-16,0-13 0,-13 0 15,14 0-15,-1 0 0,0-1 16,0 14-16,1-13 0,-1 0 0,0 0 16,0-1-16,1 1 0,-14 0 0,13 13 15,-13-13-15,13 13 0,-13-14 16,13 1-16,-13 26 47,13 1-32,-13-1 1,14 0 0,-1-13-16,0 0 0,0-13 15,1 13-15,-1 0 16,0-13-16,-13-1 15,13 14-15,-13-13 16,14 13-16,-14-13 0,0 0 16,13 0-1,0 26 17,0 0-32,0-13 15,1 0 1,-1 0-16,0 0 15,-13-13-15,13 13 0,1-13 16,-1-1 0,-13 1-16,13 0 15,-13 0-15,-13-1 16,13 41 31,0-14-32,0 0-15,13-13 16,-13 14-16,13-14 0,0 0 0,1 0 16,-1 0-16,-13-14 0,13 14 15,0 0-15,1-13 0,-1 0 16,0 13-16,-13-13 0,13-14 16,1 14-16,-14 0 0,0-14 0,0 1 15,0 13-15,0-14 0,0 14 16,0 0-16,0-1 0,0 1 0,-14 0 15,14 0-15,-13 26 32,13 0-32,0 0 0,0 1 15,13-1-15,-13 0 0,0 0 0,14 1 16,-1-1-16,0 0 0,0 0 16,0 1-16,1-1 0,-1-13 15,0 13-15,0 0 0</inkml:trace>
  <inkml:trace contextRef="#ctx0" brushRef="#br1" timeOffset="213948.52">17277 714 0,'53'-39'31,"-40"25"-31,14 1 0,-1 0 16,1-13-16,-1 12 0,1 1 15,-14 0-15,27 0 0,-14-1 0,-13 14 16</inkml:trace>
  <inkml:trace contextRef="#ctx0" brushRef="#br1" timeOffset="214144.36">17357 701 0,'26'-13'32,"-13"13"-32,1-13 0,-1 13 15,13-14-15,1 1 0,-14 0 0,13 13 16,1-13-16,-1 0 0,-12 13 16,12-14-16,0 14 0</inkml:trace>
  <inkml:trace contextRef="#ctx0" brushRef="#br0" timeOffset="-137377.55">476 11404 0,'-13'13'0,"13"0"16,0 0-16,0 0 0,0 14 0,-13-1 16,13 1-16,0-1 0,0 27 15,0-26-15,0-1 16,0-13-16,0 14 0,0-14 0,0 14 16,-13-14-16,13 0 0,0 0 0,0 0 15,0 1-15,0-1 16,0-40 15,0 14-31,0 0 16,0 0-16,13 0 0,-13-1 0,0 1 15,13 0-15,-13 0 0,13 13 0,0-14 16,1 14-16,-1-13 16,0 26-16,0-13 15,1 0-15,-14 14 0,13-1 0,0 0 16,-13 0-16,13 1 15,-13-1-15,0 0 16,14 0-16,-14 0 0,13 1 16</inkml:trace>
  <inkml:trace contextRef="#ctx0" brushRef="#br0" timeOffset="-136762.56">767 11734 0,'0'-39'0,"0"25"15,0 1-15,0 0 16,0 0-16,0-1 15,-13 14-15,0 14 32,13-1-32,0 0 15,0 0 1,0 1-16,0-1 0,0 0 16,0 0-16,13 1 0,-13-1 15,13-13-15,-13 13 16,14-13-16,-1 0 15,0 13-15,0-13 0,14-13 16,-14 13 0,0 0-16,-13-13 0,13 13 15,1-13-15,-1-1 0,0 14 16,-13-13-16,13 13 0,-13-13 16,13 13-16,-13-13 0,14-1 15,-14 1 1,0 0-16,13 0 15,-13-1 1,0 1 0,0 40 31,0-14-47,0 0 0,0 0 15,0 1-15,13-1 0,-13 0 16,0 0-16,0 1 0,0 12 15,13-26-15,-13 13 0,0 0 0,0 1 16</inkml:trace>
  <inkml:trace contextRef="#ctx0" brushRef="#br0" timeOffset="-136613.95">1019 11496 0,'-14'0'0,"1"13"16,13 1-16</inkml:trace>
  <inkml:trace contextRef="#ctx0" brushRef="#br0" timeOffset="-135925.6">1138 11642 0,'13'-14'0,"-40"28"46,14-1-46,13 0 16,-13 0 0,13 1-1,13-14 17,0 0-32,-13 13 0,27-13 15,-27 13-15,13-13 16,-13 13-16,13-13 0,-13 14 15,14-14-15,-14 13 0,0 0 0,0 0 16,0 0-16,0 1 0,0-1 0,-14 0 16,14 0-16,0 1 0,-13-14 15,13 13-15,-13 0 16,39-26 31,-26 0-47,14 13 0,-14-14 0,13 1 15,0 0-15,-13 0 0,13-1 0,1 1 16,-14-13-16,13 13 0,0-14 16,-13 1-16,0 12 0,13-12 0,-13 13 15,0-1-15,0-12 0,0 13 16,0 0-16,0-1 0,0 1 16,0 0-1,0 39 16,0-12-31,0-1 16,0 13 0,0-13-16,0 1 15,13-1-15,-13 0 16,14 0 0,-14 1-16,13-1 15,0-13 1,-13 13-16,13-13 15</inkml:trace>
  <inkml:trace contextRef="#ctx0" brushRef="#br0" timeOffset="-135442.51">1601 11404 0,'0'-14'16,"13"41"-1,-13-14-15,0 0 16,0 0-16,13 1 0,-13-1 0,0 0 16,0 0-16,0 1 0,0-1 0,0 0 15,0 0-15,0 1 0,13-1 16,-13 0-16,0 0 0,0 0 16</inkml:trace>
  <inkml:trace contextRef="#ctx0" brushRef="#br0" timeOffset="-135165.78">1614 11417 0,'0'0'0,"-13"-13"16,0 26-1,-1 0 1,1 0 0,13 0-16,-13 1 0,0-1 15,13 0-15,0 0 0,-14 1 0,14-1 16,-13 0-16,0 0 15,13 1-15,0-1 0,-13-13 16</inkml:trace>
  <inkml:trace contextRef="#ctx0" brushRef="#br0" timeOffset="-134932.62">1561 11377 0,'13'0'16,"1"13"-1,-1-13-15,40 40 32,-40-27-32,0-13 15,-13 13-15,13-13 0,-13 14 16,14-14-16,-14 13 0</inkml:trace>
  <inkml:trace contextRef="#ctx0" brushRef="#br0" timeOffset="-134118.12">2712 11404 0,'-13'26'31,"13"-13"-15,13 0-16,-13 1 15,0-1-15,13-13 16,-13 13-16,13-13 16,1 0-16,-1 0 15,0-13-15,0 0 16,1 13 0,-14-14-16,0 1 0,13 13 15,0 0 16,0 13-31,-13 1 16,14-14-16,-1 13 0,0 0 31,0-13-31,0-13 16,-13 0 0,14-1-16,-14 1 15,0 0-15,-14 0 16,14 0-16,0-1 0,0 1 0,0 0 15,0 0-15,-13-1 16,26 28 31,1-14-47</inkml:trace>
  <inkml:trace contextRef="#ctx0" brushRef="#br0" timeOffset="-133681.49">3082 11430 0,'0'0'0,"0"-13"15,14-14 1,-14 14 0,0 0-16,-14 26 46,1-13-46,13 13 16,0 1-16,0-1 16,0 0-16,13-13 0,-13 13 15,14-13-15,-1 13 16,0-13-16,0-13 16,1 13-16,-1 0 0,0-13 15,0 0-15,0 0 16,1-1-16,-1 1 0,-13 0 15,13 13-15,-13-13 0,13 13 0,-13-14 16,14 28 15,-1-14-31,-13 13 0,0 0 16,0 0 0,0 1-16,0-1 15,13-13-15,-13 13 16</inkml:trace>
  <inkml:trace contextRef="#ctx0" brushRef="#br0" timeOffset="-132632.15">3492 11271 0,'-52'13'32,"52"1"-32,-14-14 0,1 13 15,0 0 1,26 0-1,0-13-15,1 14 16,-1-14 0,0 13-16,0 0 0,0-13 15,-13 13-15,14-13 0,-14 14 16,13-1-16,-13 0 16,-13 0-16,13 0 15,-14 1-15,1-1 0,0-13 16,13 13-1,-13-13-15,13-13 32,13-14-17,0 14-15,0 0 16,-13 0-16,14 0 0,-1 13 0,-13-14 16,13 1-16,-13 0 0,13 0 0,-13-1 15,14 1-15,-14 0 0,0 0 16,13-1-16,-13 1 0,0 0 15,13 0-15,-13 0 16,0-1 0,0 41 15,0-14-31,0 0 16,0 0-16,0 1 0,0-1 15,0 0 1,13 0-1,1-13 1,-1 0 15,0 14-31,0-14 16,0 0 15,1-14-15,-1 1-1,0 0 1,-13 0-16,0-1 0,0 1 16,13 13-16,-13-13 0,0 0 15,0 0 1,0-1 0,14 41 15,-14-14-31,0 0 0,0 0 15,0 1-15,0-1 16,13 0-16,-13 0 16</inkml:trace>
  <inkml:trace contextRef="#ctx0" brushRef="#br0" timeOffset="-132496.46">3731 11271 0,'26'-13'15,"27"-13"1</inkml:trace>
  <inkml:trace contextRef="#ctx0" brushRef="#br0" timeOffset="-132194.28">4088 11086 0,'0'13'16,"0"14"-1,0-14-15,0 0 16,0 0-16,0 1 0,0-1 16,0 0-16,0 0 15,0 1-15,0-1 16</inkml:trace>
  <inkml:trace contextRef="#ctx0" brushRef="#br0" timeOffset="-131926.5">4128 11099 0,'-40'13'15,"27"1"-15,-1-1 16,1 0-16,0 0 16,13 1-16,-13-14 0,-1 13 0,14 0 15,-13-13-15,13 13 0,-13-13 16</inkml:trace>
  <inkml:trace contextRef="#ctx0" brushRef="#br0" timeOffset="-131784.55">4128 11046 0,'0'0'0,"13"14"16,0-1-1,-13 0 1,13-13-16,-13 13 0,13 0 15,1-13 1,-14 14-16</inkml:trace>
  <inkml:trace contextRef="#ctx0" brushRef="#br0" timeOffset="-129217.68">1839 12078 0,'-27'0'16,"14"13"-16,13 1 15,-13-1-15,13 0 16,-13 14-16,13-14 0,-14 0 0,14 0 16,0 1-16,0-1 0,0 0 15,0 0-15,0 0 0,0 1 0,0-1 16,14-13-16,-1 0 15,0 0-15,0 0 16,-13-13-16,14 13 0,-1-14 0,0 14 16,0-13-16,-13 0 0,14 0 0,-1 0 15,0-1-15,-13 1 16,13 13-16,-13-13 0,13 13 16,1 13 15,-14 0-31,13-13 15,-13 14-15,13-1 0,0 0 16,1-13 0,-1 13-16,13-26 15,-12 13 1,-1-13-16,0 13 16,-13-13-16,13 13 0,-13-14 15,0 1-15,0 0 16,0 0-16,-13-1 0,0 1 15,0 0 1,13 0-16,-14 13 0,14-14 0,-13 14 16,0 0-16,13-13 0,-13 13 15,-1 0 1,1 13 0,13 1 30,13-1-14,1-13-1,-14 13-15,26-26-1,-13 13 1,1-13-1,-1 13 1,0 0-16,0 0 0,0 0 16,1 0-16,-1 0 15,0 0-15,0 0 0,-13 13 16,14-13-16,-1 13 0,0-13 0,-13 13 16,13-13-16,-13 14 0,13-1 15,-13 0 1,14-13-16,-14 13 15,0-26 32,0 0-47,0 0 16,0-1-16,0 1 0,13 13 16,-13-13-16,0 0 0,0-1 0,13 14 15,-13-13-15,13 0 16,1 13-16,-1 0 15,0 0-15,0 13 16,1-13-16,-1 0 16,-13 13-16,13-13 0,0 14 0,0-14 15,-13 13-15,14-13 0,-14 13 0,13-13 16,-13 13-16,13 1 16,0-14-1,-13-14 16,0 1-31,0 0 16,0 0-16,0-1 0,0 1 16,0 0-16,14 0 0,-14 0 15,0-1-15,13 14 0,-13-13 16,13 0-16,0 0 0,1 13 16,-1 0-16,0 0 0</inkml:trace>
  <inkml:trace contextRef="#ctx0" brushRef="#br0" timeOffset="-127638.71">2659 12158 0,'0'13'0,"13"-40"32,-13 14-17,0 0-15,0 0 16,0-1-16,14 1 16,-28-13-16,14 13 15,0-1 1,-13 28 15,13-1-31,-13 0 16,13 0-16,13 0 15,-13 1-15,13-1 16,1-13 0,-14 13-16,13-13 0,0 0 15,0 0-15,-13-13 0,13 13 16,1-13-16,-1 13 0,-13-14 0,13 14 15,0-13-15,-13 0 0,14 0 16,-1-14-16,-13 14 0,0-13 16,0 12-16,0-12 0,13 13 0,-13-14 15,0 14-15,0 0 0,0 0 16,0-1-16,0 1 0,0 0 16,0 39 15,-13-12-16,13-1-15,0 0 0,0 0 0,13 14 16,-13-14-16,0 0 0,0 0 0,0 1 16,13-1-16,-13 0 0,0 0 15,14-13-15,-14 14 0,13-14 0,-13 13 16,13-13-16,0 0 0,0 0 16,1 0-16,-1 0 15,0 0-15,-13-13 0,27 13 16,-27-14-16,13 14 0,0-13 15,-13 0 1,13 13-16,-13-13 16,0-1-1,-13 28 32,13-1-47,0 0 16,-13-13-16,13 13 15,13 1-15,0-14 32,0 0-17,1-14 1,-1 1 0,0 0-1,-13 0 1,13 26 15,-13 0-15,0 0-1,14-13-15,-14 14 16,13-14-16,0 0 16,0-14-16,1 14 15,-1-13-15,-13 0 16,13 13-16,-13-13 0,0-1 15,13 1-15,-13 0 0,0 0 16,13-1-16,-13 1 0,0-13 0,0 13 16,0-1-16,0 1 0,14 13 0,-14-13 15,0 0-15,0-1 16,13 41 15,-13-14-15,13 0-16,-13 1 0,0-1 0,13-13 15,-13 13-15,0 0 0,14 0 0,-14 1 16,0-1-16,13-13 0,-13 13 16,13 0-16,-13 1 15,0-1 1,0 0-16,-26-39 47,39 12-16,-13 1-31,13 0 16,0 0-1,1 13 1,-1-14-16,0 14 16,0 0-1,0 14 1,1-1-16,-1 0 15,-13 0 1,0 1-16</inkml:trace>
  <inkml:trace contextRef="#ctx0" brushRef="#br0" timeOffset="-127520.61">3373 11800 0</inkml:trace>
  <inkml:trace contextRef="#ctx0" brushRef="#br0" timeOffset="-127152.71">3440 11853 0,'0'27'32,"0"-14"-17,0 0-15,13-13 16,-13 13-16,13-26 16,0 13-1,-13-13-15,13 0 16,-13 0-16,0-1 15,0 1 1,0 0-16,0 53 78,14-27-62,-1-13-1,0 0-15,0 0 16,-13-13-16,14 13 0,-1-14 0,0 14 16</inkml:trace>
  <inkml:trace contextRef="#ctx0" brushRef="#br0" timeOffset="-126540.33">4114 11827 0,'-13'0'32,"0"-13"-17,0 13-15,13-14 16,-14 1-16,14 0 0,-13 0 16,13 0-16,0-1 0,0 1 0,0 0 15,0 0-15,0-1 0,0-12 16,13 13-16,-13-1 0,14 1 0,-14 0 15,13 13-15,-13-13 0,13 13 0,0-13 16,1 13-16,-1 0 16,-13 13-1,-13 13 1,13-13-16,-14 1 0,1-1 0,-13 13 16,-1 1-16,1-14 0,12 0 0,1 14 15,0-14-15,0-13 0,0 13 16,-1 0-16,1 1 0,0-1 15,39-13 17,-12 0-32,-1 0 0,0-13 15,13 13-15,-12-14 0,-1 14 0,13-13 16,-12 13-16,-1-13 0,13 13 16,-12-13-16,-1 0 0,0 13 0,0 0 15,0-14-15,1 14 16,-14-13-16,13 13 0</inkml:trace>
  <inkml:trace contextRef="#ctx0" brushRef="#br0" timeOffset="-125540.94">3069 12502 0,'0'0'0,"-26"39"32,26-26-32,0 1 0,-14-14 0,14 13 15,0 0-15,0 0 0,0 1 16,0-1-16,14 0 16,-1-13-1,0 0-15,0 0 0,1-13 16,12 13-1,-13-13-15,1-1 0,12 14 0,-13-13 16,0 0-16</inkml:trace>
  <inkml:trace contextRef="#ctx0" brushRef="#br0" timeOffset="-125138.69">3453 12502 0,'-13'13'16,"-1"-13"-16,1 0 31,-13-13-31,12-1 16,1 14-16,13-13 0,-13 0 0,0 0 16,13-1-16,-13 1 0,13 0 15,0 0-15,-14-1 0,14 1 16,0 0-16,14 0 0,-1 26 47,-13 0-47,0 0 0,0 1 0,0-1 15,-13 0-15,13 0 0,-14 1 16,14-1-16,-13 0 16,13 0-16,-13 1 0,13-1 15,0 0 1,26-13-1,-12-13 1,-1 13-16,0-13 0,0 13 16,0-14-16,1 1 0,-1 13 0,0-13 15</inkml:trace>
  <inkml:trace contextRef="#ctx0" brushRef="#br0" timeOffset="-124796.19">3545 12303 0,'14'27'47,"-14"-14"-47,0 0 0,0 0 16,0 14-16,0-14 0,0 0 15,0 0-15,0 1 0,0-1 0,0 0 16,0 0-16,0 1 16,0-41 30,0 14-46,-14-14 0,14 14 0,0-13 16,0 12-16,0 1 0,0 0 16,0 0-16,0 0 0,0-1 0,0 1 15,14 13-15,12 0 16,-26 13 0,13-13-16,-13 14 0,14-14 15,-1 13-15,-13 0 0,13 0 0,0 0 16,-13 1-1,13-1-15,-13 0 0</inkml:trace>
  <inkml:trace contextRef="#ctx0" brushRef="#br0" timeOffset="-124609.73">3559 12449 0,'13'-14'31,"0"1"-15,0 13-16,-13-13 0,14 13 15,-1 0-15,0-13 16,0 13-16</inkml:trace>
  <inkml:trace contextRef="#ctx0" brushRef="#br0" timeOffset="-124291.66">3149 12859 0,'13'-13'0,"0"-1"15,0 14-15,0-13 0,14 0 0,-14 13 16,14-13-16,-1-1 0,14 1 16,-14 0-16,1 0 0,-1-1 0,1 1 15,-1 0-15,-13 13 0,0-13 0,14 0 16,-14 13-16,0-14 0,1 14 15,-14-13-15,13 13 16</inkml:trace>
  <inkml:trace contextRef="#ctx0" brushRef="#br0" timeOffset="-124097.56">3201 12846 0,'0'0'0,"-13"0"0,40-14 47,12 1-47,-25 0 0,39 0 16,-27-1-16,93-52 15,-106 53-15,0 13 16,1-13-16,-1 0 0,0 13 0,-13-14 16,13 1-16</inkml:trace>
  <inkml:trace contextRef="#ctx0" brushRef="#br0" timeOffset="-122873.97">1085 11483 0,'0'-13'31,"0"-1"-31,0 1 15,0 0-15,0 0 16,13 13-16,-13-13 0,0-1 0,13 1 16,-13-13-16,0 12 0,13 1 15,1 0-15,-14-14 0,13 14 16,0-13-16,14 13 0,-1-14 0,1 1 16,-1-1-16,0 14 0,14-14 0,0 1 15,0 0-15,-1-1 0,1 14 16,13-14-16,-13 14 0,12-13 0,-12 13 15,13-1-15,-13-12 0,13 13 0,0-1 16,-14 1-16,14 0 0,-13 0 16,13 13-16,-14-14 0,1 1 0,13 13 15,-13 0-15,-1-13 0,-12 13 16,13 0-16,-14 0 0,0 0 0,14 0 16,-13 13-16,12-13 0,-12 0 0,12 0 15,1 13-15,-13-13 0,12 14 16,-12-1-16,-1 0 0,-13 0 15,14-13-15,-1 14 0,-12-1 0,-1 0 16,0 0-16,0-13 0,1 14 0,-1-1 16,0 0-16,0 0 15,0-13-15,1 13 16,-1 1 0,0-1 15,0-26 31</inkml:trace>
  <inkml:trace contextRef="#ctx0" brushRef="#br0" timeOffset="-122256.68">2884 10848 0,'13'13'31,"0"0"-15,1 1-16,-1-1 16,-13 0-16,13-13 0,-13 13 15,13 1-15,-13-1 0,14-13 0,-14 13 16,13 0-16,0 0 16,0 1-16,-13-1 0,13-13 15,-13 13-15,14 0 16,-14 1-1,0-1 1,-14 0-16,1 0 16,0 0-1,0-13-15,0 14 16,-1-1-16,1-13 16,13 13-16,-13-13 0,0 13 15,-1 1 1,1-14-16,0 13 15,13 0 17</inkml:trace>
  <inkml:trace contextRef="#ctx0" brushRef="#br0" timeOffset="-119711.7">4948 13269 0,'0'26'31,"0"-12"-15,0-1-16,0 0 16,0 0-16,0 0 0,13 1 15,-13-1-15,0 0 0,13-13 0,-13 13 16,13 1-16,1-14 15,-1 0 1,0-14 0,-13 1-16,13-13 15,-13 12 1,14 1-16,-14 0 16,0 0-16,13 26 31,-13 0-16,13 0-15,-13 1 16,13-14-16,-13 13 0,13 0 16,1-13-1,-1 0 1,0 0-16,0-13 16,-13 0-1,0-1-15,0 1 0,14 0 16,-14 0-16,0 0 0,0-1 15,0 1-15,0 0 16,-14 0-16,14-1 0,14 41 47,-14-14-47,0 0 16,0 1-16,0-1 0,13-13 0,-13 13 15,0 0-15,13 0 16,0 1-16,-13-1 0,14-13 0,-1 13 15,0-13-15,0 0 0,0 0 16,1 0-16,-1 0 0,0 0 16,0-13-16,1 13 0,-1-13 0,0 13 15,0-14-15,-13 1 0,14 0 0,-14 0 16,13 0-16,-13-1 16,0 1-16,-13 0 31,-1 39-16,14-12 1,0-1-16,0 0 16,0 0-16,14-13 0,-14 13 15,13-13-15,0 14 16,0-14-16,0 0 0,14 0 16,-27-14-16,13 14 15,0 0-15,1-13 0,-1 0 16,0 0-16,0 13 15,-13-13 1,13 26 0,1-13-16,-14 13 0,0 0 15,13 0 1,-13 1-16,13-14 16</inkml:trace>
  <inkml:trace contextRef="#ctx0" brushRef="#br0" timeOffset="-119593.45">5622 13203 0,'-13'0'31</inkml:trace>
  <inkml:trace contextRef="#ctx0" brushRef="#br0" timeOffset="-118813.48">5715 13242 0,'0'0'16,"-13"14"-1,0-14-15,13 13 16,-14-13-16,14 13 16,14 0-1,-14 1 1,13-14 0,-13 13-16,13-13 15,-13 13-15,0 13 16,0-12-16,0-1 0,0 0 15,-13 0-15,13 1 16,-13-1-16,13 0 31,13-26 1,0 13-17,-13-13-15,13 13 0,0-27 16,1 14-1,-1 0-15,0-1 0,-13 1 0,13 0 0,-13 0 16,14 0-16,-14-14 0,0 14 16,0 0-16,13-14 0,-13 14 0,0 0 15,0-1-15,0 1 0,0 0 0,0 0 16,0 0 0,0-1-16,-13 41 31,13-14-16,0 0-15,0 0 0,0 1 0,0-1 16,0 0-16,0 0 0,13 1 0,-13-1 16,0 0-16,0 0 0,13-13 15,-13 14-15,13-14 0,1 13 16,-1-13-16,0 0 16,0-13-16,0 13 15,1-14-15,-1 1 16,0 0-16,0 0 15,-13-1-15,14 14 16,-1 14 0,-13-1-1,0 0-15,13-13 0,-13 13 16,0 1-16,13-14 16,-13 13-16,0 0 15,13-13-15</inkml:trace>
  <inkml:trace contextRef="#ctx0" brushRef="#br0" timeOffset="-118658.83">5980 13216 0,'0'-13'16,"13"13"-1,0 0-15,0-14 0,0 14 16,1-13-16,-1 13 0</inkml:trace>
  <inkml:trace contextRef="#ctx0" brushRef="#br0" timeOffset="-118008.26">6363 13388 0,'13'-27'31,"-13"14"-31,0 0 16,0 0-16,0 0 0,0-1 0,0 1 15,0 0-15,0 0 0,0-14 16,0 14-16,-13-14 0,13 14 0,0 0 16,0-13-16,0 12 0,0 1 15,0 0-15,0 0 16,0-1-16,-13 28 47,13-1-32</inkml:trace>
  <inkml:trace contextRef="#ctx0" brushRef="#br0" timeOffset="-117814.65">6390 13097 0,'0'0'0,"-27"13"47,27 0-47,-13 1 0,0-1 15,13 0-15,-13 0 0,13 0 16,-14 1-16,1-1 0,13 0 0,-13 14 16,0-14-16,13 0 15,-14-13-15</inkml:trace>
  <inkml:trace contextRef="#ctx0" brushRef="#br0" timeOffset="-117638.61">6297 13123 0,'0'0'0,"0"-13"16,13 0 0,1 26-1,-1 0-15,0 1 16,0-14-16,0 13 0,-13 0 15,14-13-15,12 13 0,-13 0 0,1-13 16,-1 14-16,0-14 0,0 0 16,14 13-16,-14-13 0,0 0 0,0 0 15</inkml:trace>
  <inkml:trace contextRef="#ctx0" brushRef="#br0" timeOffset="-116247.83">7885 13137 0,'0'0'0,"0"-14"0,-14 28 31,14-1-31,0 0 0,-13-13 0,13 13 15,0 0-15,0 1 0,0-1 16,0 27-16,0-27 16,-13 0-16,13 0 0,0 1 15,0-1 1,13-13 0,0-13-1,1-1 1,-1 14-16,-13-13 15,13 13-15,0 0 16,1 0-16,-1 0 0,0 13 16,0-13-16,0 14 15,1-14-15,-14 13 0,13-13 0,0 0 16,0 13-16,1-13 16,-1 0-16,0 0 15,0 0-15,0-13 0,1 13 0,-1-13 16,0-1-16,0 14 0,1-13 15,-14 0-15,0 0 0,13 13 16,-13-14-16,0 1 0,0 0 16,0 0-1,-13 13 1,-1 13-16,14 0 16,-13 14-1,13-14 1,13-13-16,-13 13 15,14-13-15,-1 13 0,0-13 16,0 0-16,-13-13 0,14 13 16,-1 0-16,0 0 0,0-13 0,0 13 15,1-13-15,-1 13 0,-13-14 0,13 14 16,-13-13-16,13 13 0,1-13 16,-1 26-1,0-13 1,-13 13-1,0 1-15,0-1 0,0 0 16,13 0 0,1-13-1</inkml:trace>
  <inkml:trace contextRef="#ctx0" brushRef="#br0" timeOffset="-116124.68">8401 13123 0,'0'0'0,"-14"0"15,14 14-15,-13-14 16</inkml:trace>
  <inkml:trace contextRef="#ctx0" brushRef="#br0" timeOffset="-115294.09">8559 13123 0,'-13'0'16,"-27"14"0,27-1-16,0 0 15,13 0 1,0 0-1,13 1-15,0-1 16,-13 0-16,14-13 16,-14 13-16,13 14 15,-13-14-15,-13 0 0,13 1 16,-14-1-16,1 0 0,13 0 16,-13-13-16,13 13 0,-13-13 15,13 14-15,-14-14 0,1 0 16,26-14 15,1 14-31,-1-13 16,0 0-16,0 0 0,1 13 15,-1-13-15,0-1 16,0 1-16,0 0 0,-13 0 0,14-1 16,-1 1-16,-13 0 0,13-14 0,-13 14 15,13 0-15,-13 0 0,0 0 16,0-1-16,14 1 0,-14 0 0,0 0 15,0-1-15,0 1 16,-14 40 31,14-14-47,0 0 16,0 0-1,0 1-15,0-1 16,14 0-1,-1 0-15,0-13 16,-13 13-16,13-13 16,1 14-16,-1-14 15,0 0 1,0 0-16,0 0 0,-13-14 0,14 14 16,-1-13-16,0 13 0,0-13 15,1 0-15,-1 0 0,-13-1 16,13 14-16,-13-13 0,13 0 0,-13 0 15,0-1-15,14 1 16,-14 0 0,0 0-16,0 52 31,0-25-15,0-1-16,0 0 15,0 0 1,0 1-16</inkml:trace>
  <inkml:trace contextRef="#ctx0" brushRef="#br0" timeOffset="-115129.38">8797 13110 0,'14'-13'31,"-1"13"-31,0-13 16,0 13-16,1 0 0,12-14 15,-13 14-15,0 0 0</inkml:trace>
  <inkml:trace contextRef="#ctx0" brushRef="#br0" timeOffset="-114838.23">9088 13018 0,'14'39'15,"-14"-26"1,0 1-16,0-1 16,0 0-16,0 0 0,0 1 0,0-1 15,0 0-15,0 0 0,-14 0 16,14 1-16,0-1 16</inkml:trace>
  <inkml:trace contextRef="#ctx0" brushRef="#br0" timeOffset="-114581.72">9115 13057 0,'0'0'0,"-13"0"15,-1 13 1,1 1-16,0-1 16,0 0-16,0 0 15,13 1-15,-14-1 16,1 0-16,0 0 16,13 0-16</inkml:trace>
  <inkml:trace contextRef="#ctx0" brushRef="#br0" timeOffset="-114365.69">9102 13044 0,'0'0'0,"13"0"0,0 0 0,0 0 15,1 0-15,-1 0 16,0 13-16,0-13 0,1 0 15,-1 0-15,0 13 0,0-13 0,0 0 16,1 0 0,-1 0-16,0 0 15,0 14-15,1-14 16</inkml:trace>
  <inkml:trace contextRef="#ctx0" brushRef="#br0" timeOffset="-100324.15">6006 13520 0,'0'13'0,"0"1"16,0-1-16,0 0 0,13 0 16,-13 14-16,13-14 0,-13 0 0,14 0 15,-1 1-15,0-1 0,14 13 16,-1 1-16,1-14 0,-1 14 0,0-14 16,1 13-16,13-13 0,-14 14 0,1-14 15,12 0-15,1 1 16,0-1-16,-1 0 0,1 0 0,0 1 15,13-14-15,-14 13 0,1 0 0,13-13 16,0 0-16,-14 0 0,14 0 16,0 0-16,-13 0 0,13 0 0,0 0 15,0-13-15,0 13 0,-14-13 0,14-1 16,-13 1-16,0 0 0,-14 0 16,14 13-16,-27-14 0,13 1 0,1 0 15,-14 13-15,0-13 0,1 13 0,-1-14 16,0 14-16,0-13 0,1 0 15,-1 0-15,-13 0 16,13 13-16,0-14 16,-13 1-1,13 0 1,1 13 0</inkml:trace>
  <inkml:trace contextRef="#ctx0" brushRef="#br0" timeOffset="-100008.61">7554 13626 0,'-13'0'31,"39"-13"-15,-13 13-16,1 0 0,-1 0 15,0 0-15,0 0 0,0 13 0,1-13 16,-1 0-16,0 0 0,0 13 0,1-13 16,-1 0-16,-13 13 15,13-13-15,-13 14 0,13-1 0,-13 0 16,0 0-16,0 1 0,0-1 15,0 0-15,-13 0 0,13 1 16,-13-1-16,13 0 0,0 0 0,-13-13 16,13 13-16,0 1 15</inkml:trace>
  <inkml:trace contextRef="#ctx0" brushRef="#br0" timeOffset="-93665.57">8969 13639 0,'0'-13'0,"27"53"15,-14-27 1,0 13-16,-13-12 0,14 12 0,-1 1 16,0-1-16,0 0 0,-13 1 15,13-1-15,-13-12 0,0 12 16,14-13-16,-14 1 0,0-1 0,0 0 0,0 0 15,-14 0-15,1-39 32,13 13-32,-13 0 15,13-1-15,0-12 0,13 13 0,-13-14 0,0 1 16,13-1-16,1 14 0,-1-13 16,-13 12-16,26 1 0,-26 0 15,14 0-15,12-1 0,-13 14 0,1-13 16,-1 13-16,0 0 0,0 13 15,0-13-15,1 0 0,-1 14 16,0-1-16</inkml:trace>
  <inkml:trace contextRef="#ctx0" brushRef="#br0" timeOffset="-92825.5">9379 13930 0,'14'-66'15,"-14"53"1,0 0-16,0-1 0,0 1 0,0 0 16,0 0-16,0 0 0,0-1 15,-14 1 1,14 40 0,0-14-16,0 0 0,0 0 15,14 0-15,-14 1 0,0-1 16,13 0-16,-13 0 0,13-13 0,0 14 15,-13-1-15,14-13 0,-1 13 16,0-13-16,0 0 0,1 0 16,-1 0-16,0-13 15,0 0-15,-13-1 16,13 1-16,-13 0 16,14 0-16,-14-1 15,13 1 1,0 26-1,-13 1-15,13-14 0,-13 13 16,14 0-16,-1 0 0,-13 1 16,13-14-16,0 13 0,-13 0 0,14-13 15,-1 0-15,-13 13 0,13-13 16,0 0 0,0 0-16,-13-13 0,14 13 15,-14-13-15,0 0 16,13-1-16,-13 1 0,0 0 0,0 0 15,0-1-15,0 1 0,0 0 0,0 0 16,0 0-16,0-1 0,0 1 16,0 0-16,0 0 15,-13 39 17,13-13-17,0 1-15,0-1 16,0 0-16,13 0 15,0 0 1,0-13 0,1 0-16,-1 0 0,0 0 15,0 0 1,0 0-16,1 14 16,-1-14-16,-13 13 0,0 0 15,13 0 1,-13 1-1,13-41 17,-13 14-32,14 0 15,-1-14-15,-13 14 0,13 0 16,0 0-16,1-1 0,-1 1 16,0 0-16,0 0 0,0 13 0,1-14 15,-1 14-15,0 0 0,-13-13 0,13 13 16</inkml:trace>
  <inkml:trace contextRef="#ctx0" brushRef="#br0" timeOffset="-92340.66">10266 13639 0,'0'27'31,"0"-14"-15,0 0-16,0 0 0,0 1 0,0-1 15,0 0-15,0 0 16,0 1-16,0-1 0,0 0 16,0 0-16,0 0 15,13-39 17,-13 13-32,13 0 0,1-1 15,-14 1-15,13 0 0,-13 0 16,13-1-1,-26 54 17,26-27-17,0 1 1,0-14 0,1 0-16,-1 0 0,0 0 0</inkml:trace>
  <inkml:trace contextRef="#ctx0" brushRef="#br0" timeOffset="-92092.35">11033 13613 0,'0'0'0,"0"13"0,0 13 16,0-12-1,0-1-15,0 0 0,0 0 16,0 1-16,0 12 16</inkml:trace>
  <inkml:trace contextRef="#ctx0" brushRef="#br0" timeOffset="-91954.29">10967 13533 0,'0'0'0,"-13"0"16,0 14-1,13-1-15</inkml:trace>
  <inkml:trace contextRef="#ctx0" brushRef="#br0" timeOffset="-91733.59">11179 13586 0,'0'0'0,"0"14"0,0-1 16,13-13-16,-13 13 0,0 0 15,0 0 1,13 1-16,-13-1 0,0 0 15,0 0-15,0 1 0,13-1 16,-26 0 0,13 0-16</inkml:trace>
  <inkml:trace contextRef="#ctx0" brushRef="#br0" timeOffset="-90801.24">11814 13481 0,'0'0'16,"-14"26"-16,14-13 0,14-13 15,-14 13-15,0 1 0,0-1 16,0 0-16,0 0 0,0 1 0,0-1 15,13 0-15,-13 0 0,0 0 16,0 1 0,0-1-1,13-13-15,0-13 32,-13-1-32,14 14 0,-14-13 15,13 0-15,0 13 16,0 0-1,-13 13 1,13-13-16,-13 13 16,14-13-16,-14 14 0,13-14 15,0 13 1,0-13-16,1-13 16,-1 13-16,0-14 15,0 14 1,1-13-16,-1 13 15,0 0 1,-13 13-16,13-13 16,0 0-16,1 0 15,-1 0-15,0 0 16,0-13-16,1 0 16,-1 0-16,-13 0 0,0-1 15,0 1-15,13 13 0,-26-13 16,13 0-16,0-1 0,0 1 15,-13 0-15,-1 13 16,-12 13 0,13 0-16,13 1 15,-14-1-15,14 0 16,14-13-16,12 0 16,-13-13-1,1 13-15,-1-13 0,0-1 0,0 1 16,14-13-16,-14 13 0,0-1 0,0-12 15,1 13-15,-14-1 0,13-12 16,0 13-16,0-1 16,-13 1-16,14 13 15,-14 13-15,0 1 16,0-1-16,0 0 0,0 14 16,0-14-16,0 13 0,0-12 15,0 12-15,0-13 0,0 14 0,13-14 0,-13 13 16,0-12-16,0-1 0,13 0 15,-13 0-15</inkml:trace>
  <inkml:trace contextRef="#ctx0" brushRef="#br0" timeOffset="-90626.57">12250 13481 0,'-13'0'16,"26"-14"-16,0 1 15,1 13-15,-1 0 0,13-13 16,-12 13-16,12-13 0,-13 13 0,14 0 16,-1-14-16,1 14 0,-14 0 0,13 0 15,1 0-15,-1 0 0</inkml:trace>
  <inkml:trace contextRef="#ctx0" brushRef="#br0" timeOffset="-89757.06">13018 13388 0,'0'40'31,"0"-27"-31,0 13 0,0 1 0,0-1 16,0 1-16,0-1 0,0 1 15,0-1-15,13 0 0,-13 1 16,0-1-16,0 1 0,0-14 0,0 0 16,0 1-16,0-1 0,13 0 15,-26-39 17,13 12-32,0-12 0,0 13 15,0-14-15,0 1 0,13-1 0,-13 1 16,13-1-16,-13 1 0,13 13 0,1-1 15,-14 1-15,13 13 0,0 0 0,14 0 32,-27 13-32,0 1 0,0-1 15,0 0-15,-14 0 0,14 14 0,-13-14 16,13 0-16,-13 0 0,0 1 16,13-1-16,-14-13 15,28-13 16,-1-1-31,0 14 0,0-13 16,1-13-16,-1 13 0,13-1 0,-13 1 0,1 0 16,-1 0-16,0-1 15,0 14-15,-13-13 0,14 0 16,-28 39 15,14-12-31,0-1 0,-13 0 16,13 0-16,0 1 0,0-1 0,0 0 15,0 0-15,13-13 16,1 13-16,-1-13 16,0 0-16,0 0 0,1-13 0,-1 13 15,0-13-15,13 13 0,-26-13 0,14 0 16,-1-1-16,-13 1 0,0 0 16,13 13-16,-26-13 0,13-1 0,0 1 15,0 0-15,-13 13 0,13-13 0,-14 13 16,1-13-16,-13 13 15,-1 13 1,14-13-16,0 13 16,13 0-1</inkml:trace>
  <inkml:trace contextRef="#ctx0" brushRef="#br0" timeOffset="-89277.78">13520 13467 0,'13'14'16,"1"-1"-1,-14 0-15,0 0 16,13 0-16,-13 1 0,0-1 0,13 0 16,-13 0-16,0 1 0,13-14 15,-13 13-15,0 0 0,0 0 16,0 0-16,0 1 0,0-1 15,-13 0-15,0-13 16,13 13-16,-13-13 16,-1 0-1,14-13-15,0-13 16,0 12-16,14-12 16,-1 13-16,-13 0 0,13-1 0,0 1 15,-13 0-15,14 0 0,-1-1 0,0 1 16,-13 0-16,13 13 0,0-13 15,1 0-15,-1 13 16,0 0-16,0 13 16,-13 0-1,14 0-15,-14 0 0,0 1 16,0-1-16,0 0 0,0 0 0,0 1 16,0-1-16,0 0 0,-14 0 15,14 0-15,0 1 0,0-1 16,0 0-1,0 0-15</inkml:trace>
  <inkml:trace contextRef="#ctx0" brushRef="#br0" timeOffset="-89004.23">13772 13348 0,'-14'0'32,"1"13"-32</inkml:trace>
  <inkml:trace contextRef="#ctx0" brushRef="#br0" timeOffset="-88590.6">13838 13348 0,'13'27'31,"-13"-14"-31,0 0 0,0 14 0,0-14 16,0 13-16,0-12 0,0 12 0,0 0 15,0 1-15,0-14 0,0 14 16,0-14-16,0 13 0,0-13 0,0 1 15,0-1-15,13-13 0,-13 13 0,0 0 16,0-52 15,27-1-15,-27 27 0,13 0-16,-13-1 0,13 14 15,0-13-15,1 0 0,-1 13 16,0 13-16,0-13 15,-13 13-15,0 1 0,0-1 16,0 0-16,0 0 0,-13 0 16,13 1-16,0-1 0,-13 13 0,0-12 15,13-1-15,-14 0 0,28-26 47</inkml:trace>
  <inkml:trace contextRef="#ctx0" brushRef="#br0" timeOffset="-88268.69">14116 13361 0,'0'27'31,"-14"-14"-31,14 0 16,0 1-16,-13-1 0,13 13 0,0-12 15,0-1-15,0 13 0,0-13 0,0 1 16,13-1-16,-13 0 15,14 0-15,-1-13 0,0 0 16,0 0-16,-13-13 16,13 13-16,1-13 0,-14 0 15,13 13-15,-13-14 0,13 1 16,0 13-16,-13 13 31,0 1-31,14-14 16,-14 13-16,0 0 0,13 0 15,0 1-15,14-1 16,-14-13 0</inkml:trace>
  <inkml:trace contextRef="#ctx0" brushRef="#br0" timeOffset="-87961.69">12475 13930 0,'185'-39'15,"-370"78"-15,529-92 0,-251 40 0,-1 0 0,27 13 16,-26-13-16,13-1 0,-14 14 15,14-13-15,-13 13 0,-14-13 16,14 13-16,-27 0 0,-13 0 0,0 0 16,0 0-16,-27 0 0,1 0 0,-14 0 15,0 0-15,14 0 16,-54 26-16,1-26 16,-14 14-16,-13-1 0,-13 0 0,0 0 15</inkml:trace>
  <inkml:trace contextRef="#ctx0" brushRef="#br0" timeOffset="-87623.72">11417 14221 0,'211'-26'31,"-118"13"-31,26-1 16,13 1-16,14 0 0,13 0 0,-1 0 15,1-14-15,0 14 0,13 0 0,-13-1 16,-14 1-16,1 0 0,-14 0 0,0-1 16,-39 1-16,-1 13 0,1-13 15,-14 13-15,1 0 0,-27-13 0,0 13 16,-14 0-16,-12 0 0,-1 0 16,-12 0-16,12 0 0,-13 0 15,-13-13-15,13 13 0,-39 0 31,13 0-15,0 0-16,-1-14 0</inkml:trace>
  <inkml:trace contextRef="#ctx0" brushRef="#br0" timeOffset="-80084.58">2606 12396 0,'27'13'16,"12"53"-1,27 53-15,14 0 16,-27 0-16,-14-13 16,-12-13-16,-1-1 15,-12-65-15,-1 26 16,-13-27-16,0-13 15,0 1-15,-13-14 125,-1-14-109,1 14 0,13-39-16,0 12 15,0 1-15,-13-27 16,0 13-16,-14-39 16,1 13-16,-14-27 15,14 14-15,12 26 16,-12 13-16,26 0 15,-27-13-15,27 27 16,-26-14 0,13 27-16,13 0 15,-13-14-15,13 1 16,-27 13 0,27-1 15,40 14 156,13 0-171,0 0-16,26 0 16,-26 0-1,0 0-15,13 0 16,0-13-16,-13-13 15,-13 26-15,13-13 16,-14 13-16,1-14 16,0 14-16,-14 0 15,1 0-15,12-26 16,-26 26-16,14-13 16,-14 13-1,14 0-15,-14 0 16,0 0-16,14 0 15,-1 0-15,-13-14 16,0 14-16,14-13 16,-14 13-1,0-13-15,1 13 16,-1 0 125,13 0-126,1 40 1,-27-27-16,26 27 15,-13-1-15,-13-12 16,14 26-16,12-14 16,-26 1-16,13 13 15,-13-13-15,27-14 16,-14 1-16,-13-14 16,0 0-1,-26 13 110,12-26-125,-25 0 16,12 0-16,-12 0 15,-1 14-15,0-14 16,-26 13 0,13-13-16,27 0 15,-27 0-15,13 0 16,-13 0-16,13 0 16,-12 0-16,12 0 15,27 0-15,-14 0 16,14 0-16,0 0 15,-1 0-15,-12 13 16,13-13 0,0 0-16,-1 0 15,-12 13-15,-1-13 16,14 0-16,0 14 16,0-14-1,-1 0-15,1 0 31</inkml:trace>
  <inkml:trace contextRef="#ctx0" brushRef="#br0" timeOffset="-74029.63">4710 13137 0,'26'39'0,"0"1"16,1 66-16,13-27 16,-14 53-16,1-65 15,-14 12-15,13-26 16,1 26-16,-27-52 15,0 26-15,13-14 16,-13-25 0,0-1 31,-13-13-16,-1 0-16,1 0-15,-13-27 16,26 1-16,-27-27 16,1-26-16,13 26 15,-14-27-15,1-12 16,12 12-16,-25 1 16,26 26-16,13 0 15,-27 0-15,14 27 16,0-14-16,13 14 15,-27-1-15,14-13 16,13 27 0,0 0 140,53 13-156,0 0 16,26 0-1,-13 0-15,27 0 0,0 0 16,-27 0-1,40 0-15,-54 0 16,28 0-16,-27 0 16,-14 0-16,1 0 15,-13 0-15,12 0 16,1 0-16,-27 0 16,27 0-16,0 0 15,-1 0-15,1 0 16,-14 0-16,14 0 15,-27 0-15,27 0 16,-27 0 0,14 0-16,-14 0 15,0 0 1,0 0-16,1 0 16,12 0-16,14 0 15,26 0-15,0 0 16,0 0-16,0 0 15,27-26-15,-14 12 16,-13 14-16,1 0 16,-1 0-1,-13 0-15,-14 0 16,1 0-16,0 0 16,-14 0-16,1 0 15,-14 0-15,13 0 16,-12 0-16,-1 0 15,13 0-15,14 0 16,-27 0-16,27 0 16,0 0-16,-14 0 15,14 0-15,-14 0 16,1 0-16,-1 0 16,0 0-16,14 0 15,-13 0-15,-14 0 16,13 0-16,-12 0 15,25 0-15,-26 0 16,14 0-16,-14 0 16,14 0-16,-14 0 15,0 0-15,14 0 16,-1 0-16,0 0 16,14 0-16,-13 0 15,12 0 1,14 0-16,13 0 15,-13 0-15,0 0 16,40 0-16,-14 0 16,-26 0-16,26 0 15,-12-13-15,-1 13 16,26 0-16,-12-13 16,-27 0-16,39-1 15,1 14-15,-27-13 16,13 13-16,-12 0 15,-1 0-15,0 0 16,-13 0-16,0 0 16,-27 0-16,1 0 15,-14 0-15,0 0 32,0 0 30,0 0-46,1 0 77,-1 0-77,0 0 0,0 40-16,-13-14 15,14 14-15,-1 0 16,0-14-16,0 1 16,-13 12-16,14-12 15,-1-14 1,-13 13-16,0 1 172,-13-14-157,-14-13 1,1 0-16,-1 13 16,-39-13-16,26 14 15,-52-1-15,39-13 16,-27 13-16,14-13 15,-26 13-15,26 0 16,-1-13-16,-25 0 16,39 0-16,0 0 15,26 0-15,-25 0 16,25 0-16,-13 27 16,14-27-16,-14 13 15,27-13-15,-40 0 16,0 0-16,-13 13 15,26-13-15,-13 27 16,-13-14-16,27-13 16,-41 13-16,14-13 15,-26 0-15,25 0 16,-12 0-16,0 0 16,-1 14-16,27-14 15,14 13-15,12-13 16,1 13-1,12-13-15,1 0 0,-13 0 16,-14 13 0,27-13-16,-27 13 15,27-13-15,-27 0 16,1 14-16,-28-1 16,28-13-16,12 0 15,-52 13-15,26-13 16,0 0-16,0 0 15,-26 0-15,13 0 16,13 0-16,-27 0 16,27 0-16,-39 0 15,26 0-15,-14 13 16,14 14-16,0-14 16,0-13-16,0 0 15,0 0-15,-14 13 16,27-13-16,0 27 15,0-27-15,-26 0 16,39 0-16,-12 0 16,12 0-16,27 0 15,-27 13-15,27-13 16,-14 0-16,14 0 16,-13 0-1,12 0 1,-12 0-16,13 0 15,-27 0-15,27 0 16,-1 0 0,1 0-1,0 0-15,0 13 16,0-13 0,-1 0-1,1 0-15,-13 0 16,-1 0-1,14 0 173,-14 0 31</inkml:trace>
</inkml:ink>
</file>

<file path=ppt/ink/ink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26.012"/>
    </inkml:context>
    <inkml:brush xml:id="br0">
      <inkml:brushProperty name="width" value="0.05" units="cm"/>
      <inkml:brushProperty name="height" value="0.05" units="cm"/>
      <inkml:brushProperty name="color" value="#E71224"/>
      <inkml:brushProperty name="ignorePressure" value="1"/>
    </inkml:brush>
  </inkml:definitions>
  <inkml:trace contextRef="#ctx0" brushRef="#br0">116 14,'-5'1,"0"0,0 1,0-1,1 1,-1 0,1 0,-1 0,1 1,0-1,-1 1,1 0,1 1,-1-1,0 1,1-1,0 1,0 0,0 0,0 1,-2 4,1-2,0-1,1 1,-1-1,1 1,1 0,0 0,0 1,0-1,1 0,0 1,0-1,0 1,2 7,-1-12,1 0,0-1,-1 1,1 0,1-1,-1 1,0-1,0 0,1 1,-1-1,1 0,0 0,0 0,0 0,0 0,0 0,0-1,0 1,5 2,-2-2,0 0,0-1,0 1,0-1,0 0,0 0,1-1,-1 1,0-1,7-1,-6 1,0-1,0 1,0-1,0-1,-1 1,1-1,-1 0,1 0,-1-1,1 1,-1-1,0 0,-1-1,1 1,0-1,-1 0,0 0,0-1,6-8,-8 9,0 0,0 0,-1-1,1 1,-1 0,0-1,-1 0,1 1,-1-1,0 1,0-1,0 1,-1-1,1 0,-1 1,0-1,0 1,-1 0,0-1,1 1,-1 0,-4-5,1 2,0 0,0 1,-1 0,0 0,0 1,-1-1,1 1,-1 0,0 1,-1 0,-8-4,-1 1</inkml:trace>
</inkml:ink>
</file>

<file path=ppt/ink/ink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26.445"/>
    </inkml:context>
    <inkml:brush xml:id="br0">
      <inkml:brushProperty name="width" value="0.05" units="cm"/>
      <inkml:brushProperty name="height" value="0.05" units="cm"/>
      <inkml:brushProperty name="color" value="#E71224"/>
      <inkml:brushProperty name="ignorePressure" value="1"/>
    </inkml:brush>
  </inkml:definitions>
  <inkml:trace contextRef="#ctx0" brushRef="#br0">36 34,'-9'40,"8"-36,-1 0,1 0,0 0,0 0,0 0,1 0,-1 0,1 0,0 0,0 0,1 7,1-7,-1-1,0 1,1-1,0 1,0-1,0 0,0 0,0 0,1 0,0 0,-1 0,1-1,0 1,0-1,0 0,1 0,-1 0,5 2,-6-3,-1-1,1 1,-1-1,1 1,0-1,-1 1,1-1,0 0,-1 0,1 0,0 0,0 0,-1 0,1-1,0 1,-1-1,1 1,-1-1,1 1,0-1,-1 0,1 0,-1 0,0 0,1 0,-1 0,0 0,1 0,-1 0,0-1,0 1,0 0,0-1,0 1,-1-1,1 1,0-1,-1 1,1-1,-1 0,1 1,-1-3,1 0,0 0,0-1,-1 1,1 0,-1 0,0 0,0-1,-1 1,1 0,-1 0,0 0,0-1,0 1,-1 0,1 1,-1-1,0 0,0 0,0 1,-1-1,1 1,-5-5,0 2,1 0,-1 0,-1 1,1 0,-1 0,0 1,0 0,0 0,-12-3,4 2</inkml:trace>
</inkml:ink>
</file>

<file path=ppt/ink/ink6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57:29.351"/>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3241 4432 0,'80'0'15,"-54"0"-15,-13 0 0,14 0 0,-14 0 16,13-13-16,-12 13 0,12 0 0,-13 0 16,14 0-16,-14 0 0,0-14 0,0 14 15,1 0-15,-1 0 0,13 0 16,-12 0-16,-1-13 0,0 13 0,13 0 16,-12 0-16</inkml:trace>
  <inkml:trace contextRef="#ctx0" brushRef="#br0" timeOffset="265.02">4392 4379 0,'27'0'31,"-1"0"-31,-13 0 0,0 0 16,1 0-16,-1-13 0,0 13 16,0 0-16,1 0 0,-1 0 15,0 0-15</inkml:trace>
  <inkml:trace contextRef="#ctx0" brushRef="#br0" timeOffset="662.2">5398 4379 0,'26'0'0,"27"0"32,-40 0-32,14 0 0,-14 0 0,0 0 15,0 0-15,14 0 0,-14 0 16,13 0-16,-12 0 0,12 0 0</inkml:trace>
  <inkml:trace contextRef="#ctx0" brushRef="#br0" timeOffset="1029.83">6284 4326 0,'26'13'15,"-12"-26"1,-1 13-16,0 0 0,0 0 0,0 0 16,1 0-16,-1 0 0,0 0 0,14 0 15,-14 0-15,0 0 0,0 0 16</inkml:trace>
  <inkml:trace contextRef="#ctx0" brushRef="#br0" timeOffset="1546.02">7250 4260 0,'39'0'32,"-26"0"-32,14 0 0,-14 0 15,14 0-15,-1 0 0,1 0 16,-1 0-16,14 0 0,-14 0 0,1 0 15</inkml:trace>
  <inkml:trace contextRef="#ctx0" brushRef="#br0" timeOffset="2077.13">8096 4247 0,'0'13'0,"53"0"31,-40-13-31,14 0 15,-1 0-15,-12 0 0,12 0 16,0 0-16,1 0 0,13 0 0,-14 0 16,14 0-16</inkml:trace>
  <inkml:trace contextRef="#ctx0" brushRef="#br0" timeOffset="2609.86">9049 4299 0,'39'0'46,"-25"0"-46,12 0 16,-13 0-16,14 0 0,-1 0 0,1 0 16,12 0-16,-12 0 0,-1 0 0,1 0 15,-1 0-15,1 0 0,-1-13 0,1 13 16</inkml:trace>
  <inkml:trace contextRef="#ctx0" brushRef="#br0" timeOffset="3059.68">9988 4286 0,'40'-13'31,"-14"13"-31,-13 0 15,27 0-15,-27 0 0,14 0 16,-14 0-16</inkml:trace>
  <inkml:trace contextRef="#ctx0" brushRef="#br0" timeOffset="3747.81">10769 4247 0,'-14'13'31,"41"-13"-31,-14 0 15,0 0-15,-13 13 0,27-13 16,-14 0-16,0 0 0,14 0 16,-14 0-16,13 0 0,-12 0 0,12 0 15,0 0-15,1 0 0,-1 13 0,1-13 16,-1 0-16,1 0 0,-1 0 16,-13 0-16</inkml:trace>
  <inkml:trace contextRef="#ctx0" brushRef="#br0" timeOffset="4108.42">11774 4299 0,'40'0'15,"-27"0"1,13 0-16,-12 0 0,-1 0 16,13 0-16,-13 0 0,14 0 0,-14 0 15,14-13-15,-14 13 0,0 0 0,0 0 16</inkml:trace>
  <inkml:trace contextRef="#ctx0" brushRef="#br0" timeOffset="6723.26">12846 4273 0,'26'0'0,"-13"0"16,14 0-16,-1 0 0,1 0 15,12 0-15,14 0 0,-13 0 0,13 0 16,0 0-16,-14-13 0,14 13 0,-13 0 16,-14 0-16,1 0 0,-1 0 15,1 0-15,-14-13 0</inkml:trace>
  <inkml:trace contextRef="#ctx0" brushRef="#br0" timeOffset="6959.12">13031 4366 0,'79'13'31,"-52"-13"-31,12 0 16,-12 0-16,12 0 0,-12-13 0,13 13 15,-1 0-15,1 0 0,-14 0 16,1-14-16,-1 14 0,1 0 15,-1 0-15,-13 0 0,1 0 0,-1 0 16,0 0-16,0 0 0,1 0 16</inkml:trace>
  <inkml:trace contextRef="#ctx0" brushRef="#br0" timeOffset="8838.11">2924 5980 0,'26'0'47,"-13"0"-47,14 0 0,-1 0 16,14 0-16,0 13 0,13-13 0,-1 0 15,1 0-15,-13 0 0,13 0 16,0 0-16,13 13 0,-13-13 16,0 0-16,0-13 0,-14 13 0,14 0 15,-13 0-15,13 0 0,-13-13 16,-14 13-16,14 0 0,0-14 0,-14 14 15,0-13-15,1 13 0,-1-13 0,-12 13 16,12 0-16,-13-13 0,14 13 16,-14-14-16,0 14 0,0 0 0,1-13 15,-1 13-15,0-13 0,0 13 16,1-13-16,-1 0 0,0-1 16,-13 1-16,13 0 0,0 0 0,-13-1 15,14 1-15,-14 0 0,13 0 0,-13-14 16,0 1-16,13-1 0,-13 1 0,0-1 15,0-12-15,0-1 16,13 0-16,-13 1 0,0 12 0,0-12 16,0-1-16,0 13 0,0 1 0,0-1 15,0 1-15,0 0 0,0-1 16,0 14-16,0 0 0,-13-1 0,13 1 16,0 0-16,0 0 0,0-1 0,0 1 15,-13 13-15,13-13 0,0 0 0,0 0 16,-13-1-1,-1 1-15,1 13 16,0-13-16,0 13 16,0 0-16,-1-13 0,1 13 0,0 0 15,-14 0-15,14-14 0,-13 14 16,-1 0-16,1 0 0,-1 0 0,-12-13 16,12 13-16,-26 0 0,14-13 15,-1 13-15,0 0 0,-13 0 0,14 0 16,-14 0-16,13-13 0,0 13 0,1 0 15,12 0-15,-13 0 0,1 13 16,-1-13-16,0 0 0,14 0 0,-14 0 16,1 0-16,12 0 0,1 0 0,-1 0 15,1 0-15,13 13 0,-14-13 0,14 0 16,0 0-16,-14 0 0,14 0 16,0 0-16,-1 0 0,1 0 15,13 13-15,-13-13 0,0 0 0,0 0 16,-1 0-16,1 0 15,0 0 1,0 0-16,-1 14 0,1-14 16,0 0-16,13 13 15,-13-13-15,0 0 0,13 13 16,-14-13-16,1 13 16,0-13-1,0 0 1,13 14-16,0-1 15,-14 0-15,14 0 0,0 0 16,0 1-16,0-1 16,0 13-16,0-12 0,-13 12 0,13-13 15,0 14-15,0 12 0,0-12 0,0 13 16,0-14-16,0 14 0,0-1 16,0 1-16,0-13 0,0-1 0,0 0 15,-13 14-15,13-13 0,0-1 0,0 1 16,0-14-16,0 13 0,0-13 15,0 14-15,0-14 0,0 0 16,-13 1-16,13-1 0,0 0 0,0 0 16,0 1-16,0-1 15,0 0 1,0 0-16,0 0 16,0 1 15,13-14 0,0-14-15,0 14-16,14-13 0,-1 13 0</inkml:trace>
  <inkml:trace contextRef="#ctx0" brushRef="#br0" timeOffset="9336.49">5027 5569 0,'66'0'0,"-132"0"0,159 0 0,-67 0 16,-13 0-16,14-13 0,-1 13 16,1 0-16,-1 0 0,14 0 0,-14 0 15,-12 0-15,12-13 0,1 13 0,-14 0 16,13 0-16,-13 0 0,1 0 15,-1-13-15,0 13 0,0 0 0,1 0 16,-14-13-16,13 13 0,0 0 16,-13-14-16</inkml:trace>
  <inkml:trace contextRef="#ctx0" brushRef="#br0" timeOffset="9589.84">5292 5331 0,'26'0'0,"-52"0"0,79 0 0,-40 0 15,0 0-15,14 14 16,-14-14-16,13 13 0,1 0 0,-14 0 16,27 1-16,-14-1 0,0 0 0,1 0 15,-14 0-15,14 1 0,-1 12 16,-13-13-16,1 1 0,-14 25 15,0-26-15,-14 14 0,1 13 16,0-14-16,0 1 0,-14 12 0,1-12 16,-1-1-16,1 1 0,-1-1 15</inkml:trace>
  <inkml:trace contextRef="#ctx0" brushRef="#br0" timeOffset="15515.19">3321 3440 0,'-14'-14'15,"28"28"-15,-28-1 16,1-13 0,13 13-16,0 0 0,0 14 0,0-14 15,-13 0-15,13 0 0,0 1 0,0 12 16,0-13-16,0 1 0,0-1 16,13 0-16,-13 0 0,13-13 0,1 13 15</inkml:trace>
  <inkml:trace contextRef="#ctx0" brushRef="#br0" timeOffset="15867.39">4379 3373 0,'0'0'0,"26"-13"0,-12 13 0,-1 0 16,0 0-16,-13 13 0,0 1 15,0-1-15,0 0 16,0 0-16,-13 1 0,13-1 0,0 0 15,-13-13-15,13 13 0,0 0 16,13-13-16,0 14 16,0-14-16,0-14 15,1 14-15,12-13 0,1 13 0,12-13 16,-12 0-16</inkml:trace>
  <inkml:trace contextRef="#ctx0" brushRef="#br0" timeOffset="16256.12">5398 3321 0,'13'-14'15,"13"28"1,-13-14-16,1 13 16,-14 0-16,13-13 0,-13 13 15,0 0-15,0 1 16,13-1-16,-13 0 0,0 0 15,0 1 1,0-1-16,0 0 16,-13-13-16,13 13 0,-13-13 15,13 13-15,-14-13 16,1 0-16,0 14 0,0-1 16,0-13-16</inkml:trace>
  <inkml:trace contextRef="#ctx0" brushRef="#br0" timeOffset="16708.22">6191 3334 0,'13'-13'15,"-39"39"1,13-26-16,0 13 0,-1 0 0,14 1 16,-13-14-16,0 13 0,0 0 0,13 0 15,-14 1-15,14-1 16,-13 0-16,26 0 16,1 0-16,-1-13 15,0 0 1,0 0-16,1 0 0,-1-13 0,0 13 15,0-13-15,0 13 0,1-13 16,-1 0-16,0-1 0,0 1 16,1 0-16,-1 13 0,-13-13 15,13-1-15,-13 1 16,-13 40 15,13-14-31,0 0 0,-13 0 16,13 1-16,0-1 0,0 0 15,0 13-15,0-12 0,0-1 0,0 0 16,0 0-16,0 1 0,13-1 0,0 0 16</inkml:trace>
  <inkml:trace contextRef="#ctx0" brushRef="#br0" timeOffset="17090.86">7051 3321 0,'-13'0'0,"26"0"0,-39 0 0,12 0 16,1 13-1,13 0-15,-13-13 0,26 26 16,-13-12-16,13-1 16,-13 0-16,14-13 0,-14 13 15,13 1-15,0-1 0,-13 0 16,0 0-1,0 0-15,-13 1 0,0-14 16,-1 13-16,1-13 0,0 13 16,0-13-16,0 13 0,-1-13 15,1 14-15</inkml:trace>
  <inkml:trace contextRef="#ctx0" brushRef="#br0" timeOffset="17548.86">8229 3281 0,'-14'13'16,"1"14"-1,0-14-15,13 13 0,0-13 16,-13 14-16,13-14 0,0 0 15,0 14-15,13-14 0,-13 0 0,13 0 16,-13 1-16,13-1 0,-13 0 0,14-13 16,-1 13-16,0-13 15,0 0-15,0 0 16,-13-13-16,-13 0 31,0 13-31,0 0 16,0 13-16</inkml:trace>
  <inkml:trace contextRef="#ctx0" brushRef="#br0" timeOffset="17968.8">9102 3321 0,'0'-14'0,"13"14"0,-13-13 31,13 13-31,0 0 0,1 0 16,-1 13-16,0-13 0,-13 14 0,13-14 15,1 13-15,-14 0 0,13 13 16,-13-12-16,0-1 0,13 0 0,-13 0 15,0 14-15,0-14 0,0 0 0,0 0 16,-13 1-16,13-1 0,0 0 16,0 0-16,-13 1 0</inkml:trace>
  <inkml:trace contextRef="#ctx0" brushRef="#br0" timeOffset="18087.87">9155 3545 0,'0'0'0,"0"-13"0,13 0 15,0 13-15,-13-13 0,27 13 16,-14-14-16,13 1 0,1 13 16,-1-13-16,14 0 0,-14 13 0,1-13 15</inkml:trace>
  <inkml:trace contextRef="#ctx0" brushRef="#br0" timeOffset="18551.62">10041 3268 0,'13'26'31,"-13"-13"-15,0 1-16,0-1 0,0 13 15,0-13-15,0 1 16,-13-1-16,13 13 0,-13-12 0,-1-1 16,1-13-16,13 13 0,-13 0 0,0-13 15,13 13-15,13-39 31,-13 13-31,13 0 16,0-1-16,1 1 0,-1 0 16,0-14-16,0 14 0,1 0 0,-14 0 15,13 0-15,-13-1 0,0 1 0,0 0 16,0 0-16,-13 13 0,13-14 16,-27 1-16,14 13 15,0 0-15,-1 0 0,1 0 16,0 13-16,0-13 0,13 14 15,0-1-15</inkml:trace>
  <inkml:trace contextRef="#ctx0" brushRef="#br0" timeOffset="18929.97">10861 3294 0,'0'-13'0,"-26"26"31,12-13-31,1 13 16,13 1-16,-13-1 15,13 0-15,13-13 0,-13 13 16,13 0-16,1-13 16,-1 14-16,0-14 15,0 13-15,1 0 16,-1 0-16,-13 1 16,0-1-16,13 0 0,-13 0 0,0 0 15,0 1-15,0-1 0,0 0 16,0 0-16,0 1 0,0-1 0,0 13 15,13-12-15</inkml:trace>
  <inkml:trace contextRef="#ctx0" brushRef="#br0" timeOffset="19197.16">11642 3360 0,'0'27'31,"0"-14"-31,0 0 0,0 0 0,0 1 16,-14-1-16,14 26 15,0-25-15,0-1 0,0 0 16,0 0-16</inkml:trace>
  <inkml:trace contextRef="#ctx0" brushRef="#br0" timeOffset="19435.91">11814 3466 0,'26'26'31,"-26"-12"-31,13-14 0,1 0 0,-1 0 16,0 0-16,0 0 15,0-14-15,14 14 16,-27-13-16,13 13 0,-13-13 0,13 13 16,-13-13-16,0 0 15,14 13-15,-28-14 47</inkml:trace>
  <inkml:trace contextRef="#ctx0" brushRef="#br0" timeOffset="19700.84">12991 3321 0,'27'13'15,"-27"0"1,0 0-16,13 14 15,-13-14-15,0 0 0,13 0 16,-13 1-16,0-1 16</inkml:trace>
  <inkml:trace contextRef="#ctx0" brushRef="#br0" timeOffset="19819.97">13216 3413 0,'0'13'15,"0"1"-15,0-1 0,-13 0 16,13 0-16,0 0 0</inkml:trace>
  <inkml:trace contextRef="#ctx0" brushRef="#br0" timeOffset="20735.93">7183 5847 0,'0'0'0,"0"-13"15,27 13 1,-14 0-16,53 0 0,-26-13 16,26 13-16,0 0 0,14 0 15,-1-13-15,14 13 0,-14 0 0,0-14 16,1 14-16,12 0 0,-12 0 16,-1-13-16,0 13 0,1 0 0,-14-13 15,0 13-15,-13 0 0,40 0 16,-67 0-16,1 0 0,12 0 15,-26 0-15,1 0 16,-1 0-16,-13 13 0,-13-13 16,-1 13-16,1-13 15,-13 14-15,-1-1 0,-12-13 16,-1 13-16,0 0 0</inkml:trace>
  <inkml:trace contextRef="#ctx0" brushRef="#br0" timeOffset="20978.04">7686 6072 0,'0'27'31,"0"-14"-16,0 0-15,0 0 0,0 14 16,0-14-16,0 0 16,0 0-16,0 1 0,0-1 15,13-13-15,-13 13 16</inkml:trace>
  <inkml:trace contextRef="#ctx0" brushRef="#br0" timeOffset="21136.45">8030 6072 0,'13'0'0,"-13"27"31,-13-14-31,13 0 16,0 0-16,0 1 0,-13-1 16,13 0-16,0 0 0,0 0 0</inkml:trace>
  <inkml:trace contextRef="#ctx0" brushRef="#br0" timeOffset="42876.97">7422 5292 0,'39'-14'31,"-26"14"-31,14-13 0,-14 13 16,0 0-16,1-13 0,-1 13 15,0 0-15,0 0 0,1 0 16,-1-13-16,0 26 16,0-13-16,0 13 0,1 0 15,-14 1-15,0-1 16,0 13-16,0-12 0,0-1 0,0 13 15,0-12-15,0 12 0,0-13 0,-14 14 16,14-14-16,0 13 0,0-12 16,-13-1-16,13 0 0,0 0 0,0 0 15,0 1-15,-13-1 0,13 0 16</inkml:trace>
  <inkml:trace contextRef="#ctx0" brushRef="#br0" timeOffset="43067.8">7435 5530 0,'0'-13'16,"0"26"-16,13-26 16,0-1-16,0 14 0,1 0 0,-1 0 15,0-13-15,0 13 0,14 0 16,-14 0-16,14-13 0,-1 13 0,-13 0 15,14-13-15,-1 13 0,1 0 0,-1-14 16,-13 14-16</inkml:trace>
  <inkml:trace contextRef="#ctx0" brushRef="#br0" timeOffset="43426.17">8136 5239 0,'-79'13'15,"158"-26"-15,-172 26 0,80 0 0,-13-13 16,12 13-16,1-13 0,0 14 0,0-1 16,0 0-16,-1 0 0,1 1 15,13-1-15,0 0 0,0 0 16,13-13-16,1 0 15,-1 0-15,0 0 0,0 0 0,0 0 16,1 0-16,-1-13 0,0 13 16,0 0-16,14 0 15,-14 13-15,0 1 16,-13-1 0,13 0-16,-13 0 0,0 0 0,0 1 15,0-1-15,0 0 0,0 0 0,0 1 16,0-1-16,0 0 15,0 0-15</inkml:trace>
  <inkml:trace contextRef="#ctx0" brushRef="#br0" timeOffset="44165">8467 5212 0,'-14'-13'0,"1"0"16,0 13-1,0 13 1,13 0-16,0 1 16,0-1-16,0 0 15,0 0-15,0 14 0,0-14 0,0 13 16,0-12-16,0 12 0,0-13 0,0 1 15,-13 12-15,13-13 0,0 0 16,-14 1-16,14-1 0,-13 0 0,13 0 16,-13-13-16,13 14 0,-13-14 0,13 13 15,-14-13-15,1 0 16,13-13 0,13-14-1,1 27-15,-1-13 0,0-14 0,0 14 16,14-13-16,-14 13 0,0-1 15,0-12-15,1 13 0,-1-14 16,0 14-16,-13-14 0,13 14 0,-13 0 16,0 0-16,0 0 0,-13-1 0,13 1 15,-13 0-15,13 0 16,-13 13-16,-1 0 0,1 0 16,0 0-16,0 13 15,13 0-15,0 14 16,13-27-16,-13 13 15</inkml:trace>
  <inkml:trace contextRef="#ctx0" brushRef="#br0" timeOffset="44423.78">9234 5556 0,'13'-13'16,"-26"26"-16,53-26 0,-27 13 16,0 0-16,14-13 0,-14 13 0,13 0 15,-13 0-15,14 0 0,-1 0 0,-12 0 16,-1 0-16,0 0 0,0 0 0</inkml:trace>
  <inkml:trace contextRef="#ctx0" brushRef="#br0" timeOffset="44600.88">9141 5728 0,'27'0'16,"-1"-13"-16,-12 13 15,12 0-15,0 0 0,1 0 16,-1-13-16,27 13 16,-26 0-16,-1 0 0,27 0 15,-40-13-15,1 13 0</inkml:trace>
  <inkml:trace contextRef="#ctx0" brushRef="#br0" timeOffset="46596.86">10028 5239 0,'26'0'16,"-13"0"-16,1 0 15,-1 0-15,0 0 0,0 0 0,1 0 16,-1 0-16,0 0 0,0 0 0,0 13 16,1-13-16,-14 13 0,13 0 15,0 1-15,-13-1 0,0 0 0,13 0 16,-13 1-16,0 12 0,0-13 0,-13 14 16,13-14-16,0 13 0,0-12 15,0 12-15,-13-13 0,13 1 0,0 12 16,-13-13-16,13 0 0,0 1 15,0-1-15,0 0 0,0 0 0,0 1 16,0-1 0,0 0-16</inkml:trace>
  <inkml:trace contextRef="#ctx0" brushRef="#br0" timeOffset="46787.34">10054 5569 0,'27'0'31,"-14"0"-31,13 0 16,-12 0-16,-1 0 0,0 0 0,0 0 16,14 0-16,-14-13 0,27 13 15,-14 0-15,-13 0 0,14-13 16,-14 13-16,13 0 0,-12 0 0</inkml:trace>
  <inkml:trace contextRef="#ctx0" brushRef="#br0" timeOffset="47124.03">10570 5252 0,'0'0'0,"27"0"0,-14 0 0,0 0 16,-13 13-16,13-13 0,-13 13 0,13-13 16,-13 14-16,0-1 0,0 0 15,-13 0-15,13 1 0,-13-1 0,-13 13 16,12 1-16,-12-14 0,-1 13 0,14-12 16,0 12-16,0-26 0,0 13 15,13 1-15,-14-1 0,1 0 16,13 0-16,0 0 15,13-13 1,1 0-16,-1 14 0,13-14 16,-13 0-16,1 0 0,12 0 15,-13-14-15,106-12 32,-105 26-32</inkml:trace>
  <inkml:trace contextRef="#ctx0" brushRef="#br0" timeOffset="47271.91">10861 5450 0,'0'-13'47</inkml:trace>
  <inkml:trace contextRef="#ctx0" brushRef="#br0" timeOffset="47700.97">11430 5239 0,'0'0'0,"-26"-13"0,12 13 16,-12 13-16,13-13 0,-1 0 16,-12 13-16,13-13 0,-1 13 0,-12-13 15,13 13-15,0-13 0,13 14 16,-14-14-16,14 13 0,0 13 15,0-12 1,14-14-16,-14 13 0,0 0 16,13 0-16,-13 1 15,13-1-15,-13 0 16,-13 0-16,0 0 16,-1 1-16,1-14 0,0 13 0,0 0 15,-1-13-15,1 13 0,-13 1 0,12-14 16,1 13-16,-13-13 15,13 13-15,-1-13 0,1 0 0,13 13 0,-13-13 16,0 0 0</inkml:trace>
  <inkml:trace contextRef="#ctx0" brushRef="#br0" timeOffset="48144.78">11774 5384 0,'0'0'16,"-26"14"-1,12-1-15,-12 0 0,-1 0 16,-12 14-16,12-14 0,-12 13 16,-1 1-16,0 12 0,-13-12 0,14-1 15,-28 14-15,41-13 16,-1-14-16,1 0 0,0 0 0,12 0 16,1 1-16,0-14 0,13 13 15</inkml:trace>
  <inkml:trace contextRef="#ctx0" brushRef="#br0" timeOffset="48364.78">11933 5437 0,'-14'13'0,"1"1"0,0-1 0,-13 0 15,-1 0-15,1 14 0,-14-14 16,0 13-16,1 1 0,-1 13 0,0-14 16,1 1-16,-1-1 0,0 0 15,-26 14-15,40-13 16,-41-1-16,41-13 0</inkml:trace>
  <inkml:trace contextRef="#ctx0" brushRef="#br0" timeOffset="49564.94">9194 5556 0,'40'-13'47,"-27"13"-47,0 0 15,14 0-15,-14-13 0,0 13 0,1 0 16,-1 0-16,0 0 0,0 0 15,0 0-15,1 0 0,-1 13 16</inkml:trace>
  <inkml:trace contextRef="#ctx0" brushRef="#br0" timeOffset="49803.14">9221 5768 0,'26'0'0,"1"0"15</inkml:trace>
  <inkml:trace contextRef="#ctx0" brushRef="#br0" timeOffset="65780.25">12726 5371 0</inkml:trace>
  <inkml:trace contextRef="#ctx0" brushRef="#br0" timeOffset="68657.25">12316 4855 0,'-39'0'15,"65"0"17,-13 0-17,1 13-15,-1-13 0,13 0 0,-13 0 16,14 0-16,-14 0 0,14 0 0,-14 0 15,13 0-15,-12 0 0,-1 0 16,0 0-16,0 0 0,0 0 16,1 0-16,-1 0 15,0 0-15,0 14 16,1-1 0,-14 0-16,0 0 15,0 0-15,0 1 0,0-1 16,0 13-16,0 1 0,0-1 15,0 1-15,13 12 0,-13 1 0,0-13 0,13 12 16,-13 1-16,0 0 0,0-1 16,13 1-16,-13-13 0,0-1 15,0 0-15,0 1 0,0-1 0,0 1 16,0-1-16,0 1 0,14-1 0,-14-13 16,0 14-16,0-1 0,0-12 15,13-1-15,-13 13 0,0-13 0,0 1 16,0-1-16,13 0 0,-13 0 0,0 1 15,0-1 1,13-13-16,-13 13 0,0 0 16,0 1-16,13-1 31,-13 0 0,-26-26 16,13 13-47,0 0 16,-1 0-16,-12 0 0,13 0 0,-1 0 15,-12 0-15,-1 0 0,1 0 0,0 0 16,-1 13-16,-13-13 0,14 0 0,-1 0 16,1 13-16,-14-13 0,14 0 15,-1 13-15,-12-13 0,12 0 0,14 0 16,-13 14-16,12-14 0,-12 0 0,13 0 15,-1 0-15,1 0 0,0 0 16,0 13-16,0-13 0,-1 0 16,1 0-16,0 0 0,0 0 15,-1 0 1,1 0 0,0 0-1,0 0 16,-1 0 16,41 0 172,-14 0-203,0-13-1,1 13 48,-1-14 109,-26 1 265,13 0-421</inkml:trace>
  <inkml:trace contextRef="#ctx0" brushRef="#br0" timeOffset="70740.89">13666 3532 0,'13'0'32,"-13"-13"-32,0 0 15,0-1-15,13 14 16,-13-13-16,0 0 15,0 0-15,0 0 0,0-1 16,0 1-16,0 0 16,0-14-16,0 14 0,0 0 15,-13-13-15,13-1 0,0 1 0,-13-1 16,13 1-16,-14-1 0,14-12 0,-13 12 16,0 1-16,-13-14 0,12 13 15,1 1-15,-13 13 0,-1-14 0,-12 14 16,12-13-16,-13 12 0,14 1 0,-14 0 15,1 0-15,-1 0 0,0-1 16,0 14-16,14 0 0,0 0 0,-1 0 16,1 0-16,-14 0 0,0 14 15,1-14-15,-1 13 0,0 0 0,1 0 16,-1 14-16,13-14 0,-12 13 16,-1-12-16,14 12 0,-14 0 0,13 1 15,1-1-15,-14 14 0,14-13 0,13 12 16,-14 1-16,1 0 0,-1 13 15,1-14-15,12 14 0,1 0 0,-13 0 16,13 0-16,-1 0 0,1 0 0,0 0 16,0 0-16,13-1 0,-14 1 0,14-13 15,0 13-15,0-13 0,0 13 16,14-14-16,-14 1 0,13 13 0,0 0 16,14-14-16,-1 1 0,0 0 15,14 0-15,0-1 0,0-12 0,12 12 16,-12-12-16,13-14 0,0 14 15,-13-14-15,-1 0 0,1 0 0,13 0 16,-13 1-16,-14-14 0,14 0 16,-14 0-16,1 0 0,12 0 0,-12-14 15,13 14-15,-1-13 0,1 0 0,0 0 16,-1 0-16,-12-1 0,12 1 0,-12-13 16,13 12-16,-14 1 0,1-13 15,-1-1-15,0 14 0,1-13 16,-1-1-16,1 1 0,-1-1 0,1 1 15,-1-1-15,-13 1 0,14-1 0,-14 1 16,0-14-16,14 14 0,-27-14 16,13 14-16,-13-14 0,13 0 0,-13 1 15,0-1-15,0 0 0,-13 0 0,13 1 16,-13-1-16,0 0 0,-1 1 16,14-1-16,-13 0 0,0 1 0,0-1 15,-1 0-15,1 14 0,-13-1 16,12 1-16,14-1 0,-13 14 0,0-13 15,0 13-15,0-1 0,-1 1 0,1 0 16,0 0-16,0 13 0,13-14 0,-14 14 16,1 0-16,0 0 15,0 14-15,13-1 16</inkml:trace>
  <inkml:trace contextRef="#ctx0" brushRef="#br0" timeOffset="71053.23">14473 3228 0,'13'-13'16,"-26"52"15,-1-25-31,-25 52 0,-1 13 16,14-39-16,-1-1 0,1 1 15,-1 0-15,14-14 0,-13 14 16,12-14-16,-12 1 0,13-1 16,-1 1-16,1-1 0,0-12 0,0-1 0,13 0 15,-13 0-15,-1 0 0,14 1 16</inkml:trace>
  <inkml:trace contextRef="#ctx0" brushRef="#br0" timeOffset="71956.42">13944 3268 0,'52'13'0,"-38"-13"0,52 26 16,-40-12-16,27 12 0,-13 14 15,13-14-15,0 14 0,0-14 0,-14 14 16,14 0-16,-13-14 0,0 14 16,-1-14-16,1 1 0,-14-1 15,1 1-15,-1-14 0,1 13 0,13 1 16,-27-14-16,0 0 15,0 0-15,-13 1 0,13-14 0,-13 13 0,14-13 16,-1 13-16,0-13 16,-13 13-1,13-13-15,-13 14 16,14-14 15,-28 13 125,1-13-140,0 13 0,0-13-1,-1 0 1,1 0 0,0 0-1,0 0-15,0 0 31,-1 0-15,14-13 15,14 0 188</inkml:trace>
  <inkml:trace contextRef="#ctx0" brushRef="#br0" timeOffset="79535.19">14407 5173 0,'-14'0'32,"54"0"-17,-27 13 1,0 0-16,1 0 16,-14 1-16,0-1 15,0 0-15,-14 0 0,14 0 16,-13 1-16,0-1 0,0 0 0,0 0 15,-1 1-15,1-1 16,0 0 0,26-13-1,0 13-15,1-13 16,-1 0-16,0 14 0,0-14 0,0 13 16,1-13-16,-1 0 0,-13 13 15,13-13-15,-13 13 0,13-13 0,-13 13 16,-13 1-1,0-14-15,0 13 0,-1-13 16,1 0-16,-13 13 0,13-13 0,-1 0 16,-12 0-16,13 0 0,-1 0 15,-12 13-15,13-13 0,0 0 0,-1 0 16,-12 0-16,13 0 16</inkml:trace>
  <inkml:trace contextRef="#ctx0" brushRef="#br0" timeOffset="79963">14777 5199 0,'-40'-13'0,"80"26"0,-93-26 0,40 13 15,0 0-15,-1 0 0,1 0 16,0 13-16,0-13 0,-1 13 0,1-13 16,0 0-16,0 14 0,13-1 15,-13-13-15,13 13 0,13 0 16,0-13-1,0 13-15,0-13 0,1 0 0,-1 0 16,0 0-16,0 0 0,1 0 16,-1 0-16,0 0 0,0 0 15,1 0-15,-1 0 0,0 14 0,0-14 16,-13 13 0,13 0-16,1 0 0,-14 1 15,0-1-15,0 0 0,0 0 16,0 1-16,0-1 15,0 0-15,13 0 0,-13 0 16,0 1-16,0-1 16</inkml:trace>
  <inkml:trace contextRef="#ctx0" brushRef="#br0" timeOffset="80781.02">15240 5226 0,'0'-14'31,"0"1"-15,-13 13-16,0-13 16,-1 13-16,1 0 15,0 0-15,13-13 16,-13 13-16,-1 0 0,1 0 15,0 0-15,0 0 16,-1 13 0,14 13-1,14-26-15,-14 14 0,0-1 16,0 0-16,0 0 0,0 0 0,0 1 16,0-1-16,0 0 0,0 0 0,-14 1 15,14-1-15,-13 0 0,13 0 16,-13 1-16,0-14 0,13 13 15,-13-13-15,13 13 0,-14-13 16,1 0-16,26-13 47,1 0-47,-1-1 0,0 14 0,0-13 16,0 0-16,1 0 0,-1-1 0,0 1 15,0 0-15,1 0 0,-1-1 16,-13 1-16,13 0 0,-13 0 0,0 0 15,0-1-15,-13 14 0,13-13 0,0 0 16,-13 0-16,-1-1 0,1 1 16,0 13-16,0-13 0,-1 13 15,1-13-15,0 13 16,0 0-16,0 13 16,-1-13-16,14 13 0,-13 0 15,0 1-15,13-1 0,-13 0 16,13 0-16</inkml:trace>
  <inkml:trace contextRef="#ctx0" brushRef="#br0" timeOffset="81177.89">13970 5834 0,'0'0'16,"40"-13"-16,-27 13 15,13-13-15,1 13 0,13-14 16,12 14-16,-12 0 0,13-13 0,0 13 15,0-13-15,0 13 0,0-13 16,0 13-16,0 0 0,13-14 16,-27 14-16,14 0 0,-13-13 0,0 13 15,-14 0-15,14 0 0,-27 0 0,13-13 16,-12 13-16,12 0 0,-13 0 0,1 0 16,-1 0-16,0 0 15,-26 13 1,13 0-16,-27-13 15,14 14-15</inkml:trace>
  <inkml:trace contextRef="#ctx0" brushRef="#br0" timeOffset="81416.78">14605 5874 0,'-13'0'15,"0"13"1,13 0-16,0 0 16,0 14-16,-14-14 0,14 0 0,0 14 15,-13-1-15,13-13 0,-13 14 0,13-1 16,-13-12-16,13 12 0,0-13 16,0 1-16,-14-1 0,14 0 0,0 0 15,14 0-15,-1 1 16</inkml:trace>
  <inkml:trace contextRef="#ctx0" brushRef="#br0" timeOffset="81713.19">14764 6059 0,'-13'0'16,"-14"26"15,27-12-31,0-1 0,0 0 15,13-13-15,1 13 0,-1 1 16,0-14-16,0 0 16,0 0-16,1 0 0,-1 0 0,0-14 15,0 14-15,1 0 0,-1-13 0,0 0 16,0 0-16,-13-1 16,0 1-16,0 0 0,0 0 15,-13-1-15,13 1 0,-13 0 16,0 13-16,13-13 0,-14 13 0,1-13 15,0 13-15,13-14 0,-13 14 16,-1 0-16,1-13 16,0 13-16</inkml:trace>
  <inkml:trace contextRef="#ctx0" brushRef="#br0" timeOffset="82008.78">15571 5609 0,'0'0'0,"39"-13"32,-25 0-32,12 13 0,-13 0 0,14 0 15,-14 0-15,13 0 0,1-14 0,-14 14 16,0 0-16,1 0 0,-1 0 16,13 14-16</inkml:trace>
  <inkml:trace contextRef="#ctx0" brushRef="#br0" timeOffset="82181.75">15571 5741 0,'0'0'15,"0"14"-15,13-1 16,0-13 0,0 0-16,1 0 0,-1 0 15,0 0-15,0 0 0,1 0 0,12-13 16,-13 13-16,14 0 0,-14 0 15,13 0-15,-12-14 0,-1 14 0</inkml:trace>
  <inkml:trace contextRef="#ctx0" brushRef="#br0" timeOffset="82671.89">16603 5345 0,'26'-14'0,"-13"14"16,1 0-16,-1 14 0,0-14 0,0 0 15,-13 13-15,13-13 0,-13 13 16,0 0-16,0 1 16,-13-14-16,13 13 0,-13 0 15,13 0-15,-13 0 16,26 1-1,-13-1-15,13 0 16,-13 0 0,13 1-16,-13-1 15,0 0-15,-13-13 0,13 13 16,-13-13-16,0 13 0,-14 1 16,14-14-16,0 0 0,0 13 15,-1-13-15,1 0 0,13 13 0,-13-13 16,0 0-16</inkml:trace>
  <inkml:trace contextRef="#ctx0" brushRef="#br0" timeOffset="83027.16">16999 5331 0,'-26'0'15,"52"0"-15,-65 0 0,26 0 0,-1 0 16,1 0-16,0 14 0,0-14 16,-1 13-16,1-13 0,0 13 0,0-13 15,13 13-15,-13-13 0,13 14 16,0-1 0,13-13-16,0 0 15,13 0 1,-26-13-16,27 13 15,-14 0 1,0 13-16,-13 0 16,14 0-16,-14 0 0,0 1 15,0-1-15,-14 0 0,14 0 16,0 1-16,0-1 0,0 0 0,0 0 16,-13 0-16,13 1 0,0-1 15,0 0-15</inkml:trace>
  <inkml:trace contextRef="#ctx0" brushRef="#br0" timeOffset="83163.86">17145 5543 0,'0'-13'0</inkml:trace>
  <inkml:trace contextRef="#ctx0" brushRef="#br0" timeOffset="83952.9">17621 5345 0,'-13'-14'16,"0"14"0,0-13-16,-1 13 15,1 0 1,0 0-16,13-13 16,-13 13-1,-1 13 1,14 0-1,0 1-15,0-1 16,0 0-16,0 0 0,-13-13 0,13 14 16,0-1-16,0 0 0,0 0 15,-13 0-15,0 1 0,13-1 16,-14 0-16,1 0 16,0-13-16,13 14 0,-13-14 0,0 13 15,39-40 32,-13 27-47,0-13 0,1 13 16,-1-13-16,0 0 0,0-1 0,1 14 15,-1-13-15,0 0 0,-13 0 0,13 0 16,1-1-16,-14 1 16,0 0-16,0 0 15,-14-1-15,1 14 16,0 0-1,0 0 1,-1 0-16,14 14 0,-13-14 0,0 13 16</inkml:trace>
  <inkml:trace contextRef="#ctx0" brushRef="#br0" timeOffset="86779.13">13110 5834 0,'40'-13'16,"-27"13"-16,0 0 0,0 0 16,1-13-16,12 13 0,-13 0 0,1 0 15,-1-14-15,0 14 0</inkml:trace>
  <inkml:trace contextRef="#ctx0" brushRef="#br0" timeOffset="86951.99">13150 5940 0,'13'13'15,"0"-13"-15,0 0 0,1 0 16,-1 0-16,0 0 0,0 0 0,1 0 15,-1 0-15,0-13 0,0 13 16,1 0-16,-1 0 16</inkml:trace>
  <inkml:trace contextRef="#ctx0" brushRef="#br0" timeOffset="88128.05">13705 4286 0,'14'-13'31</inkml:trace>
  <inkml:trace contextRef="#ctx0" brushRef="#br0" timeOffset="88277.68">13719 4273 0,'0'-13'16</inkml:trace>
  <inkml:trace contextRef="#ctx0" brushRef="#br0" timeOffset="89361.86">16867 5808 0,'-13'0'16,"53"13"15,-27-13-31,13 0 0,1 0 0,12 0 16,14 0-16,-13 0 0,0 0 15,13-13-15,-14 13 0,-12 0 0,-1 0 16,14 0-16,-14 0 0,1 0 0,-1 0 16,1-14-16,-14 14 0,13 0 15,-12 0-15,-1 0 0,0 0 16,-39 14 0,12-14-1,-12 0-15,0 13 0,-14-13 0,-13 13 16,13-13-16,-13 13 0,14 1 0,-14-14 15,13 13-15,0-13 0,1 13 16,12-13-16,1 0 0,13 0 16,-1 0-16,1 13 0,0-13 0,0 0 15,39 13 17,1-13-32,-14 0 0,26 0 0,-12-13 15,13 13-15,13 0 0,-14 0 0,1-13 16,0 13-16,-1 0 0,14 0 15,-13-13-15,0 13 0,-14 0 16,14 0-16,-14-13 0,1 13 0,-14 0 16,13 0-16,-12 0 0,-1 0 0,0 0 15,0 0-15,0 0 0,-52 0 47,26 0-31,-1 0-16,1 0 0,0 13 15,0-13-15,-1 0 16,1 0-16,0 0 31</inkml:trace>
  <inkml:trace contextRef="#ctx0" brushRef="#br0" timeOffset="90192.9">17158 4352 0,'0'27'32,"0"-1"-32,0-12 15,0-1-15,-13 0 16,13 13-16,-13-12 0,13 12 0,-13-13 0,13 14 15,0-14-15,-14 0 0,14 1 0,0-1 16,0 0-16,-13-13 16,13 13-16,0 0 0,0 1 15,13-14-15,-13 13 0,14-13 16,-1 0-16,0 0 16,0 0-16,0 0 0,14 0 0,-14 0 15,0 0-15,14 0 0,-14-13 0,14 13 16,12-14-16,-26 14 15,1 0-15,-1-13 0,0 13 0,0 0 16,-13-13-16,14 13 0</inkml:trace>
  <inkml:trace contextRef="#ctx0" brushRef="#br0" timeOffset="90364.99">17224 4551 0,'53'-27'31,"-26"27"-31,-14 0 0,13-13 16,-12 13-16,12 0 0,1-13 0,-14 13 15,13 0-15,-13-13 0,1 13 16,12-14-16</inkml:trace>
  <inkml:trace contextRef="#ctx0" brushRef="#br0" timeOffset="90504.01">17198 4299 0,'40'0'16,"-14"0"-16,-13 0 16,14 0-16,-1 0 0</inkml:trace>
  <inkml:trace contextRef="#ctx0" brushRef="#br0" timeOffset="90672.25">17793 4286 0,'-13'40'15,"0"-40"-15,0 13 16,13 0-16,-14 14 0,-12-14 0,13 14 16,-14-1-16,14 0 0,-14 1 15,14-1-15,0 1 0,-13-14 0,12 14 16,14-14-16,-13 0 0,0 0 0,0 0 15</inkml:trace>
  <inkml:trace contextRef="#ctx0" brushRef="#br0" timeOffset="90871">17489 4458 0,'13'-13'15,"0"13"1,1 13-1,-1-13-15,0 13 0,0-13 0,1 14 16,12-1-16,-13 0 0,0 0 16,1-13-16,-1 14 15,0-14-15,0 13 0,1-13 0,12 13 16,-13-13-16,1 0 0</inkml:trace>
  <inkml:trace contextRef="#ctx0" brushRef="#br0" timeOffset="91705.09">18098 4299 0,'-14'-13'16,"1"26"-16,0 1 0,0-1 16,13 0-16,-14 0 0,1 1 0,13 12 15,-13-13-15,0 14 0,13-14 16,0 0-16,0 0 0,0 14 0,0-14 15,0 0-15,13 1 0,-13-1 0,13-13 16,0 13-16,1 0 0,-1-13 16,0 14-16,0-14 0,1 0 15,12 0-15,-13-14 0,0 14 0,1 0 0,12-13 16,-13 0-16,1 0 0,-1-14 16,0 14-16,13-14 0,-12 1 15,-1-14-15,0 14 0,0-14 0,-13 14 16,14 12-16,-14-12 0,13 0 0,-13 12 15,13 1-15,-13 0 0,0 0 16,0-1-16,0 1 16,-13 40-1,13-14-15,-13 0 16,13 0-16,-14 14 0,14-14 0,-13 13 16,13-12-16,0 12 0,0-13 15,0 1-15,0-1 0,0 13 0,0-12 16,13-1-16,-13 0 0,14 0 15,-1-13-15,0 13 0,0 1 16,1-14-16,-1 0 0,0 0 0,0 0 16,0 0-16,1 0 0,-1-14 15,0 14-15,-13-13 0,13 13 0,1-13 16,-14 0-16,13 13 16,-13-13-16,0-1 15,-13 28 16,13-1-31,0 0 0,0 0 16,0 0 0,13-13-16,-13 14 15,13-14-15,0 0 16,1 0 0,-1 0-16,0 0 15,0 0-15,0 13 16,1-13-1,-1 0-15,0 0 16,0-13 0</inkml:trace>
  <inkml:trace contextRef="#ctx0" brushRef="#br0" timeOffset="92203.84">19076 4167 0,'-26'27'16,"52"-54"-16,-52 67 0,13-27 0,0 0 0,13 1 15,-14-1-15,14 13 0,0-13 0,-13 1 16,26-1-16,-13 0 0,0 0 0,0 1 16,14-1-16,-14 0 15,13-13-15,-40-13 32,14 13-17,0 0-15,0 0 0,-1 0 0,1 0 16,0 0-16,0 13 0,-14-13 15,14 0-15,0 13 0,0-13 0,-1 14 16,28-1 15,12-26-31,-13 13 0,14 0 0,-1 0 16,1 0-16,-1 0 0,1 0 0,-1 0 16,-13 0-16,14 0 0,-1 0 15,-13 0-15,1 0 0,-1 0 0,0 0 16,0 0-16,1 0 0,-1 0 0,0 0 15,-13 13-15,13-13 0,0 0 16</inkml:trace>
  <inkml:trace contextRef="#ctx0" brushRef="#br0" timeOffset="92308.06">19341 4299 0</inkml:trace>
  <inkml:trace contextRef="#ctx0" brushRef="#br0" timeOffset="92868.12">19434 4299 0,'0'27'16,"0"-14"-1,0 0-15,0 1 16,-14-14 0,14 13-16,0 0 15,14-26 32,-1 0-47,0 13 16,0 0-1,1 0-15,-1 0 16,0 0-16,0-14 16,0 14-16,1 0 15,-1-13 1,0 0-1,-13 0 1,13 13-16,-13-14 16,14 14-16,-1 14 31,-13-1-15,13 0-1,-13 0-15,0 1 0,0-1 0,0 0 16,0 0-16,0 1 0,0-1 15,-13 0-15,13 0 0,-13 0 16,-1-13-16,1 14 0,0-1 0,0 0 16,-1-13-16,1 13 0,0-13 15,0 0-15,0 14 0,-1-14 16</inkml:trace>
  <inkml:trace contextRef="#ctx0" brushRef="#br0" timeOffset="94240">20505 4207 0,'-13'-13'0,"-27"13"16,27 13-16,0 0 16,-14 0-16,14 1 0,0-1 15,0 0-15,-1 13 0,1-12 16,13-1-16,0 0 0,-13 0 0,13 1 16,13-1-16,0 0 0,-13 0 15,27-13-15,-14 14 16,0-14-16,14 0 0,-1 0 0,1 0 15,-1 0-15,1 0 0,-14-14 0,13 1 0,1 0 16,-14 0-16,0-1 0,1 1 16,-1-13-16,-13 12 0,13 1 15,-13-13-15,0 13 0,0-1 0,0 1 0,-13 0 16,13 0-16,-13-1 0,-1 1 16,1 13-16,0 0 0,-14 0 0,14-13 15,0 26-15,0-13 0,-14 0 16,14 13-16,0-13 0,0 0 0,-1 14 15,1-1-15,13 0 16,-13-13-16,26 27 0,0-27 16,-13 13-16,14-13 0,-1 0 0,13 13 15,-13-13-15,14 0 0,-14 13 16,14-13-16,-14 0 0,0 0 16,14-13-16,-14 13 0,0 0 0,0 0 0,0-13 15,1 13-15,-1 0 0,0-13 16,0 13-16,1 0 15,-14-14-15,13 14 0,0 0 32,-26 14-17,13-1 1,0 0-16,0 0 16,0 0-1,13-13 1,0 0-1,0 0-15,1-13 0,-1 13 16,0 0 0,0 0-16,-13-13 0,14 13 15,-1 13 1,-13 0 0,13-13-16,-13 14 15,13-14-15,-13 13 16,14-13-16,-1 0 15,0-13-15,0 13 0,0 0 16,-13-14-16,14 1 0,-1 0 0,0 0 16,0 0-16,1-1 0,-1-25 0,0 12 15,0-12-15,1 12 16,12-39-16,-13 26 0,0 1 16,1-1-16,-14 27 0,13-14 0,-13 14 15,13-14-15,-13 14 16,-26 40-1,12-1-15,1 1 16,0-1-16,0 14 0,-14-1 0,14-12 16,0 13-16,13-14 0,-13-13 15,13 14-15,0-14 0,0 0 0,0 0 16,0 1-16,0-1 0,0 0 16,13 0-16,0 1 0,0-14 15,1 0-15,-1 13 0,0-26 16,0 13-16,0 0 0,1 0 15,-1-14-15,0 14 0,0-13 0,1 0 16,-14 0-16,13 13 0,0-27 16,0 14-16,0 0 0,1 0 0,12-14 15,-26 14-15,13 0 0,1 26 32,-28 0-17,14 0-15,0 1 0,0-1 0,-13 0 16,13 0-16,-13 0 0,13 1 15,0-1-15,-13-13 0,13 13 16,0 0-16,0 1 0,0-1 16,0 0-16,13-13 31</inkml:trace>
  <inkml:trace contextRef="#ctx0" brushRef="#br0" timeOffset="94615.97">20955 4048 0,'159'-13'16</inkml:trace>
  <inkml:trace contextRef="#ctx0" brushRef="#br0" timeOffset="94740.35">21405 3863 0,'0'0'16,"0"-13"-16,-13 39 15,13-13 1</inkml:trace>
  <inkml:trace contextRef="#ctx0" brushRef="#br0" timeOffset="95236.72">21484 4167 0,'13'-13'0,"-26"26"0,26-39 16,1 26-16,-14-13 0,-14-1 31,1 28-15,0-14-16,13 13 15,-13 0-15,13 0 16,13-13 0,0 13-1,14-26-15,-14 13 16,0 0-1,0 0-15,1 0 0,-1 0 16,0 0-16,0 0 0,-13 13 16,0 1-1,0-1 1,0 0-16,27-13 31,-14 0-15,0-13-16,0 0 0,1-1 0,12 1 15,14-13-15,-14 13 0,-13-14 16,14 14-16,-14 0 0,0-1 16,-13 1-16,-13 0 15,0 13-15,0 0 0,-27 0 0,0 13 16,-39-13-16</inkml:trace>
  <inkml:trace contextRef="#ctx0" brushRef="#br0" timeOffset="96133.12">10292 5953 0,'40'-13'0,"-14"13"16,14 0-16,0-13 0,158-14 16,-158 27-1,0-13-15,13 13 0,-27 0 0,0-13 16,1 13-16,-14 0 0,14 0 0,-14 0 15,-13-13-15,-27 26 32,1-13-32,-14 13 0,1-13 0,-14 13 15,13-13-15,-13 13 0,0-13 16,0 14-16,0-14 0,14 13 0,12-13 16,1 13-16,-1-13 0,14 0 0,13 13 15,26-13 1,1 0-1,-1 0-15,27-13 0,-13 13 0,13-13 16,0 13-16,0-13 0,0 13 0,0-14 16,-1 1-16,-12 13 0,-13-13 15,-1 13-15,1 0 0,-1-13 0,-13 13 16,0 0-16,1 0 0,-1 0 16</inkml:trace>
  <inkml:trace contextRef="#ctx0" brushRef="#br0" timeOffset="96549.58">10755 6257 0,'14'27'16,"-14"-1"-16,0-12 16,0 12-16,13 0 0,-13 1 0,13 13 15,0-1-15,-13-12 0,13 12 16,1-12-16,-14-1 0,13-12 0,-13 12 16,13-13-16,-13 1 0,13 12 0,-13-13 15,14 0-15,-14 1 16,0-1-16,0 0 15</inkml:trace>
  <inkml:trace contextRef="#ctx0" brushRef="#br0" timeOffset="96856.32">10702 6681 0,'-13'39'16,"26"-39"-16,-13 14 15,0-1-15,14 0 0,-14 0 16,13 1-16,0-1 0,-13 0 0,13-13 16,1 13-16,-1 0 0,0-13 15,0 0-15,0 0 0,1 0 16,-1-13-16,0 13 0,0 0 0,1-13 15,-1 0-15,0 13 0,0-13 0,-13-1 16,14 1-16,-1 0 0,0 0 16,0-1-16,-13 1 0,0 0 0,13 0 15,1 0-15,-14-1 0</inkml:trace>
  <inkml:trace contextRef="#ctx0" brushRef="#br0" timeOffset="97364.9">11112 7183 0,'0'0'0,"0"27"31,0-14-31,0 14 0,0-14 15,0 13-15,0-13 0,0 14 16,0-14-16,0 14 0,0-14 16,0 0-16,0 0 0,0 1 0,0-1 15,-13 0-15,13 0 0,13 0 16,-13 1-16</inkml:trace>
  <inkml:trace contextRef="#ctx0" brushRef="#br0" timeOffset="97516.55">11033 7104 0</inkml:trace>
  <inkml:trace contextRef="#ctx0" brushRef="#br0" timeOffset="97875.06">11258 7197 0,'0'0'0,"0"26"0,0-13 0,0 1 0,0-1 15,0 0-15,0 0 0,0 0 0,0 1 16,0-1-16,0 0 0,0 0 16,0 1-16,0-1 0,0 0 15,26-26 17,-12 0-17,-1-1-15,0 14 16,0-13-16,1 13 15,-1 0-15,0 0 16,0 0-16,1 13 16,-1 1-1,0-1 1,0 0 0</inkml:trace>
  <inkml:trace contextRef="#ctx0" brushRef="#br0" timeOffset="98759.13">11734 7117 0,'0'0'16,"-13"14"-16,0-14 15,13 13-15,-13 0 16,13 0-16,0 0 0,-14 1 0,14 12 15,0-13-15,0 1 0,0-1 0,0 0 16,0 0-16,14 0 0,-14 1 16,13-1-16,0 0 0,0 0 0,1-13 15,-1 14-15,0-14 0,0 0 0,0 0 16,1-14-16,-1 14 0,0-13 16,14 13-16,-14-13 0,-13 0 15,13-1-15,0-12 0,0 13 0,1-14 16,-14 1-16,0-1 0,13-12 0,-13 12 15,13 1-15,-13-1 0,0 1 16,0-1-16,0 14 0,0 0 0,13 0 16,-13 0-16,0-1 0,0 1 0,-13 40 31,0-14-15,13 0-16,0 0 0,-13 14 0,13-1 15,0-13-15,0 14 0,0-14 0,0 14 16,0-14-16,13 0 15,-13 13-15,13-12 0,0-1 0,1-13 16,-14 13-16,13-13 0,0 13 0,0-13 16,1 0-16,-1 0 0,0-13 15,0 13-15,0-13 0,1 13 16,-14-13-16,13 13 0,-13-14 0,13 1 16,-13 40 46,0-14-46,13-13-1,1 0-15,-1-13 16,0 13-16,0-14 16,1 14-1,-1-13 1,0 26-1,0 1 1,0-1 0,1-13 15,-1 0-31,0 0 0,0 0 16,-13-13-16,14 13 0</inkml:trace>
  <inkml:trace contextRef="#ctx0" brushRef="#br0" timeOffset="99408.74">12502 7025 0,'-14'13'16,"28"-26"-16,-41 26 0,14-13 0,13 13 0,-13-13 16,-1 13-16,1 1 15,0-1-15,13 0 0,-13 0 0,13 1 16,-14-1-16,14 0 0,0 0 15,0 0-15,0 1 0,14-14 16,-1 0-16,-13 13 16,13-13-16,0 0 0,1 0 0,-1 0 15,0-13-15,14 13 0,-1-14 16,0 1-16,-12 0 0,-1 0 16,0 0-16,14-14 0,-14 1 0,0-1 15,0 1-15,1-14 0,-1 14 0,-13-14 16,13 13-16,-13 1 0,13 13 15,-13-14-15,0 14 0,0 0 0,0 0 16,0-1-16,13 14 0,-26-13 16,0 26-1,0 1-15,13-1 16,-13 0-16,13 0 0,-14 0 16,14 1-16,0-1 0,-13 13 0,13-12 15,0-1-15,0 13 0,0-12 16,13-1-16,1 0 0,-1 0 15,0 0-15,0-13 0,0 0 16,1 0-16,-1 0 0,0 14 0,0-14 16,1 0-16,-14 13 15,13-13-15,-13 13 0,13-13 16,0 13-16,-13 1 0,14-1 16,-14 0-16,13 0 15</inkml:trace>
  <inkml:trace contextRef="#ctx0" brushRef="#br0" timeOffset="99515.43">12951 6906 0,'-13'-14'31</inkml:trace>
  <inkml:trace contextRef="#ctx0" brushRef="#br0" timeOffset="99979.75">13031 6919 0,'13'13'31,"-13"0"-31,0 1 15,13-14-15,-13 13 0,0 0 16,0 0-16,0 0 0,0 1 16,0-1-1,0 0 1,27-26 31,-14 0-32,0 13-15,0 0 0,1 0 16,-1-14-16,0 14 0,0-13 0,0 13 16,1-13-16,-1 13 0,13 0 15,-12-13-15,-1 13 0,-13-13 0</inkml:trace>
  <inkml:trace contextRef="#ctx0" brushRef="#br0" timeOffset="100212.87">13322 6919 0,'0'0'0,"-13"13"31,13 0-15,0 1-16,0-1 0,-14-13 16,14 26-16,-13-13 0,13 1 0,-13-1 15,13 13-15,-13-12 0,13-1 16,-14 0-16,1 0 0,0 1 16,13-1-16,0 0 0,-13-13 15,39-26 16,-13 12-31,1 1 0,12 0 16,-13 0-16,1-1 16,-1 14-16,-13-13 0,13 13 15</inkml:trace>
  <inkml:trace contextRef="#ctx0" brushRef="#br0" timeOffset="101444.85">13877 6892 0,'-26'14'16,"13"12"0,-1-13-16,14 1 0,-13-1 15,13 26-15,0-25 16,27 12-1,-1-26-15,1 0 16,12 0-16,-25-13 16,12 13-16,-13-13 0,0-1 15,1 1-15,-14 0 0,13 0 16,0 0-16,-13-14 0,0 14 0,0 0 0,0-1 16,0 1-16,0 0 0,-13-14 15,0 27-15,13-13 0,-14 13 16,1 0-16,0 0 0,0 0 15,0 13-15,-1-13 0,1 14 0,0-1 16,-14 0-16,27 0 16,-13-13-16,13 14 0,-13-1 15,13 0-15,0 0 16,13-13-16,-13 14 0,13-14 0,1 0 16,-14 13-16,13-13 0,0 0 15,0 0-15,14 0 0,-14 0 0,0 0 16,14-13-16,-14 13 0,0-14 15,0 14-15,1 0 0,-1-13 16,0 13-16,0 0 0,-13-13 0,14 13 16,-1 0-16,-13-13 0,13 13 15,0-14 1,-13 28 0,13-1-1,-13 0 1,0 0-1,0 1-15,0-1 16,14-13 0,-1 0-16,0 0 15,0 0-15,1 0 16,-1 0 0,0 0-1,0 0-15,1 0 16,-14 13-16,13-13 0,0-13 15,0 13 1,0 0-16,1-13 0,-1 13 16,0-14-16,-13 1 0,13 0 0,1 0 15,-1-1-15,-13-12 0,13 13 16,0-14-16,-13-12 0,13 12 16,1 1-16,-14-1 0,13 1 0,-13-1 15,0 14-15,13 0 0,-13 0 0,0-1 16,0 1-16,-13 40 15,13-14 1,-13 13-16,13-12 0,-14 12 16,14 0-16,-13 1 0,13-1 15,0-12-15,0 12 0,0-13 0,0 0 16,0 1-16,13-1 0,-13 0 0,0 0 16,14-13-16,-1 14 15,0-14-15,0-14 0,1 14 16,-1-13-16,0 13 0,0-13 0,-13 0 15,14-1-15,-1 1 0,0 0 16,-13 0-16,13 13 0,-13-13 16,13 13-16,-13-14 0,14 28 15,-28 12 1,14-13-16,0 0 16,0 1-16,0-1 0,0 0 15,0 0-15,0 1 16,-13-1-1</inkml:trace>
  <inkml:trace contextRef="#ctx0" brushRef="#br0" timeOffset="101635.04">14314 6747 0,'26'0'31,"-12"0"-15,-1 0-16,0 0 0,0 0 15</inkml:trace>
  <inkml:trace contextRef="#ctx0" brushRef="#br0" timeOffset="102078.45">14698 6615 0,'0'0'16,"-27"13"-16,27 0 0,-13 0 16,0 1-16,13-1 0,-14 13 0,1-13 15,13 14-15,-13-1 0,0-12 0,13 12 16,-13 0-16,13-12 0,-14-1 15,14 13-15,0-12 0,0-1 16,0 0-16,0 0 0</inkml:trace>
  <inkml:trace contextRef="#ctx0" brushRef="#br0" timeOffset="102236.74">14830 6853 0,'-27'13'16,"27"0"-16,-13 0 16,0 1-1,13-1-15,-13 0 16</inkml:trace>
  <inkml:trace contextRef="#ctx0" brushRef="#br0" timeOffset="102396.96">14790 6800 0,'0'-13'0,"0"26"0,-13-26 16</inkml:trace>
  <inkml:trace contextRef="#ctx0" brushRef="#br0" timeOffset="102837">14870 6866 0,'-14'-13'31,"1"26"-15,0-13-1,39 0 32,-12 0-47,-1 13 16,0-13-1,0 13 1,-13 1 0,0-1-1,-13-13-15,13 13 16,26-39 15,-12 26-31,-1-14 16,0 1-16,-13 0 0,27 0 0,-14-1 15,0 1-15,0 0 0,1 0 0,-14 0 16,13 13-16,-13-14 0</inkml:trace>
  <inkml:trace contextRef="#ctx0" brushRef="#br0" timeOffset="103411.08">11840 7554 0,'119'-40'31,"-53"14"-31,0 12 0,1-12 15,12 0-15,27-1 0,0 1 0,-1-1 16,-12 14-16,13-14 0,-27 1 16,14 13-16,-14 0 0,14-14 0,-14 14 15,1 0-15,-14-1 0,0 1 0,-13 0 16,-13 13-16,-1-13 0,-12 13 16,-14 0-16,13 0 0,-12 0 15,-54 13 1</inkml:trace>
  <inkml:trace contextRef="#ctx0" brushRef="#br0" timeOffset="103675.89">11906 7488 0,'13'0'31,"27"-14"-31,0 14 0,26-13 0,13 0 15,-12 0-15,25 0 0,1 13 16,-14-14-16,14 1 0,-14 0 0,0 0 16,1 13-16,-1-14 0,-13 14 15,-13-13-15,0 13 0,-13 0 16,0-13-16,-14 13 0,0 0 0,-12 0 16,-1 0-16,0-13 0,0 13 0,1 0 15</inkml:trace>
  <inkml:trace contextRef="#ctx0" brushRef="#br0" timeOffset="107734.74">18481 4723 0,'66'0'0,"-26"0"0,13 0 0,13-13 15,13 13-15,1 0 0,12 0 16,14 0-16,0-14 0,13 14 0,27 0 15,-27-13-15,-13 13 0,-1 0 0,1 0 16,26-13-16,-26 13 0,-13 0 16,0 0-16,-14 0 0,-26 0 15,13 0-15,-40 0 0,14 0 0,-27 13 16,1-13-16</inkml:trace>
  <inkml:trace contextRef="#ctx0" brushRef="#br0" timeOffset="108024.89">18865 4802 0,'251'-13'31,"-171"13"-31,12 0 0,14-13 0,-13 13 16,12 0-16,-12 13 0,0-13 0,-1 0 15,14 0-15,-13 0 0,-14 0 16,14 0-16,-14 0 0,-26 0 0,0 0 16,0 0-16,-14 0 0,-12 0 0,-1 0 15,1 0-15,-14 0 0,0 0 16,1 0-16,-1 0 0,0-13 0,0 13 16</inkml:trace>
  <inkml:trace contextRef="#ctx0" brushRef="#br0" timeOffset="109280.8">16113 5358 0,'13'0'16,"27"66"-1,-40-40-15,13 14 16,-13 0-16,0-1 0,0 1 0,-13 13 16,13-13-16,0 13 0,-13-14 15,13 1-15,0 0 0,-13-14 16,13 1-16,0-1 0,0-13 0,0 14 16,-14-14-16,14 0 0,0 0 0,0 1 15,0-1 1</inkml:trace>
  <inkml:trace contextRef="#ctx0" brushRef="#br0" timeOffset="109816.9">15954 5226 0,'0'0'0,"172"-27"16,-119 27-16,27 0 0,-1 0 16,14 0-16,-1 0 0,14-13 0,-13 13 15,26 0-15,-13 0 0,-1 0 16,41 0-16,-14 0 0,-26 0 16,0-13-16,-14 13 0,1 0 0,0 0 0,-14-14 15,0 14-15,-26 0 0,-13 0 16,0-13-16,-14 13 0,1 0 0,-14 0 15,0 0-15,0 0 0,1 0 0,-1 13 16,0-13-16,0 14 16,-13-1-16,0 13 15,0-12-15,0-1 0,0 13 16,0 1-16,0 12 0,0 1 0,0 0 16,13-1-16,-13 14 0,0-13 15,14 13-15,-14-13 0,0 13 0,13-14 16,-13 1-16,13 0 0,-13-1 0,0 1 15,13 0-15,-13-14 0,0 1 16,0-1-16,0-13 0,0 14 0,0-14 16,0 0-16,-13 14 0,0-14 0,0 0 15,-1 0-15,-25 1 0,12-1 16,-12 0-16,-14-13 0,13 13 16,-26-13-16,13 0 0,0 0 0,-26 0 15,-1 13-15,1-13 0,0 0 0,-14 0 16,0 0-16,14 0 0,0 0 15,-1-13-15,27 26 0,0-13 0,0 0 16,27 0-16,0 0 0</inkml:trace>
  <inkml:trace contextRef="#ctx0" brushRef="#br0" timeOffset="111143.67">17251 6019 0,'0'-13'0,"0"39"15,0-12 1,0 12-16,0-13 0,-13 14 0,13 13 16,-14-1-16,14 14 0,-13-13 0,13 0 15,-13 26-15,0-13 0,-14 0 16,14-1-16,0 1 0,-14 0 16,1 0-16,-1 0 0,1 0 0,-1 0 15,-12-13-15,12 13 0,-12-1 0,-1 1 16,-13-13-16,0 13 0,0 0 15,0-13-15,0-1 0,-13 14 0,0-13 16,-13 0-16,13-1 0,-1-12 0,-25 12 16,12 14-16,-12-26 0,12-1 15,1 1-15,-14 12 0,-12-12 0,12-1 16,14 1-16,-27-1 0,13 1 0,-13-1 16,1-13-16,-1 14 0,13-14 15,-26 14-15,40-14 0,-14 0 0,-26 13 16,0-12-16,0 12 0,26-13 15,-26 1-15,0-1 0,0 0 0,0 13 16,0-12-16,26-1 0,-26 0 0,-13 0 16,13 1-16,26-14 0,-39 13 15,39-13-15,-12 13 0,-14 0 0,-14-13 16,41 14-16,-41-14 0,41 13 16,-14-13-16,0 13 0,-26-13 0,26 0 15,13 13-15,-12-13 0,-1 0 0,13 0 16,-13 0-16,0 0 0,1 0 0,12 0 15,-13-13-15,14 13 0,-14 0 0,13 0 16,1-13-16,-1 13 16,0 0-16,1-13 0,-1 13 0,0 0 15,14-14-15,-13 14 0,12-13 0,-12 13 16,12-13-16,1 13 0,-1-13 16,1 13-16,0-14 0,13 1 0,-14 13 15,1-13-15,13 0 0,-14 13 0,14-14 16,0 1-16,13 0 0,0 0 0,0 13 15,0-13-15,0-1 0,0 1 16,1 0-16,-1 0 0,0-1 0,0-12 16,0 13-16,13 0 0,1-1 0,-1 1 15,0 0-15,0-14 0,1 14 16,-1 0-16,0-14 0,1 14 16,12 0-16,-12-13 0,-1 12 0,0 1 15,-13-13-15,14 12 0,-41-25 16,27 25-16,14 1 15,-14 0-15,13 0 0,-13 0 0,13-1 0,1 14 16,-14-13-16,13 0 0,-13 13 0,13 0 16,-12-13-16,12 13 0,0-14 15,1 14-15,12 0 0,-13 0 0,1-13 16,-1 13-16,0 0 0,14 0 0,-1 0 16,-12-13-16,12 13 0,1 0 0,-1 0 15,-12 0-15,12 0 0,1 0 16,-14-13-16,14 13 0,-1 0 15,-13 0-15,14 0 0,-14 0 0,14 0 16,-14 0-16,14 13 0,-1-13 16,-12 0-16,12 0 0,-13 0 0,14 0 15,-14 0-15,14 0 0,-14 0 0,14 0 16,-27 0-16,13 0 0,0 0 16,1 0-16,-14 13 0,13-13 15,14 0-15,-14 0 0,0 0 0,14 0 16,-14 0-16,14 0 0,-14 0 0,13 0 15,1 13-15,0-13 0,-1 0 0,1 0 16,-1 0-16,14 0 0,-14 0 0,14 14 16,0-14-16,0 0 0,-14 0 15,14 0-15,0 13 0,0-13 16,-1 0-16,1 0 16</inkml:trace>
  <inkml:trace contextRef="#ctx0" brushRef="#br0" timeOffset="111548.32">4987 7210 0,'-13'13'0,"-40"27"16,40-27-1,-13 13-15,-1 1 0,1-1 0,-1 1 16,14-14-16,-14 14 0,1-1 0,13-13 16,0 0-16,-1 1 0,1-1 0,0 0 15,0 0 1,13 1-16,0-1 0,0 0 15,0 0-15,13 1 0,0-1 16,0 0-16,1 0 16,-1-13-16,0 13 0,13 1 0,-12-1 15,-1-13-15,0 13 0,0-13 0,14 13 16,-14-13-16,0 0 0,1 0 16,-1 14-16,0-14 0,0 0 15,0-14-15,-13 1 31</inkml:trace>
  <inkml:trace contextRef="#ctx0" brushRef="#br0" timeOffset="113557.07">3876 6826 0,'-13'-13'63,"13"0"-32,0 0-31,0-14 16,13 14-1,-13 0-15,0-1 0,13 1 16,1 13-16,-1-13 0,0 0 0,0 0 15,1 13-15,12-14 0,-13 14 16,14-13-16,-14 13 0,13 0 0,-12 0 16,12 0-16,1 13 15,-14-13-15,0 14 0,0-1 16,-13 0-16,13 0 0,-13 0 0,0 14 16,0-14-16,0 0 0,0 14 0,0-14 15,-13 13-15,13 1 0,-13-1 16,13-12-16,-13 12 0,13 1 0,-13-1 15,13 0-15,-14-12 0,14 12 0,0 1 16,-13-1-16,13 1 0,-13-1 16,13 0-16,0 1 0,-13-1 0,13 1 15,0-14-15,0 13 0,0 1 0,0-14 16,0 0-16,0 1 0,0 12 0,0-13 16,13 1-16,-13-1 15,13 0-15,0 0 0,1-13 16,-1 0-16,0 0 0,0 0 15,0 0-15,1 0 0,-1-13 16,13 0-16,-12 13 0,12-13 0,-13-1 16,0 1-16,14 0 0,-14 0 0,0 13 15,-13-14-15,14 1 0,-1 0 16,0 0-16,-13-1 0,0 1 16,-13 0-1,0 13 1,-1 13-16,1-13 15,13 13-15,-13 1 0,0-14 0,-1 26 16,1-13-16,0 1 0,0 12 0,13 1 16,-13-14-16,13 13 0,-14 1 15,14 12-15,0-12 0,0 13 0,0-14 16,0 14-16,0-1 0,0 1 0,14 0 16,-14-1-16,13-12 0,-13 13 15,13-1-15,0 1 0,0-14 0,-13 14 16,14 0-16,-1-1 0,0-12 0,0 13 15,1-1-15,-14-12 0,13 12 16,13 14-16,-26-26 0,14-1 16,-14 1-16,13-14 0,-13 13 0,0-12 15,13 12-15,-13-13 0,0 1 16,0-1-16,0 0 0,0 0 16,0 0-16,0 1 0,0-1 15,0 0-15,-13 0 0,13 1 0,-13-1 16,-1 0-16,14 0 15,-13-13-15,0 14 0,0-1 16,-1-13-16,1 0 0,0 13 0,0-13 16,-1 0-16,1 13 0,0-13 15,0 0-15,0 0 0,-1 0 0,1 13 16,0-13-16,0 0 0,-1 14 16,1-14-16,0 0 0,0 13 0,0-13 15,-1 0-15,1 13 0,0-13 16,0 0-16,-1 13 15,1-13-15,0 0 32,13 14-32,-13-14 15,-1 0 17,14-14 499,0 1-531,0 0 15,14 0-15,-14-1 0,0 1 16</inkml:trace>
  <inkml:trace contextRef="#ctx0" brushRef="#br0" timeOffset="120199.86">10557 5966 0,'0'14'15,"-13"-14"79,-1 0-63,14 13-31,-13-13 32,0 13-1,0-13 0,0 0 32,39 0-17,-13 0-46,0 0 16,1 0-16,12 0 16,-13 0-16,14 0 0,12 0 0,-12 0 15,26 0-15,-13 0 0,12-13 0,-12 13 16,13 0-16,0-13 0,-13 13 16,-1-14-16,14 14 0,-13 0 0,0-13 15,-14 13-15,14 0 0,-14-13 0,1 13 16,-1 0-16,1-13 0,-1 13 0,1-14 15,-1 14-15,0-13 0,1 0 16,-1 13-16,1-13 0,13 0 0,-14 13 16,0-14-16,1 1 0,-1 13 0,-12-13 15,12 13-15,1-13 0,-14 13 16,13-14-16,-13 14 0,1-13 16,12 13-16,-13-13 0,1 13 0,-1-13 15,13 13-15,-13-14 0,1 1 16,-1 13-16,0-13 0,0 0 0,1 0 15,-1-1-15,0 1 0,0 0 0,14-14 16,-1 1-16,-13 13 0,1-14 16,-1 14-16,0 0 0,0-14 0,1 1 15,-14 13-15,13-14 0,-13 14 0,13-13 16,-13 12-16,0-12 0,0 13 16,0-14-16,0 14 0,-13-14 15,13 14-15,-13-13 0,13-1 0,-14 14 16,1-13-16,0 12 0,0-12 0,-1-1 15,-12 14-15,0-13 0,-1-1 16,14 14-16,-14 0 0,1-14 0,-27 1 16,27 13-16,-14-1 0,0 1 15,1 0-15,-1 0 0,0 0 16,0-1-16,-12 1 0,12 0 0,-13 13 16,13-13-16,-13-1 0,0 14 0,0-13 15,1 0-15,-1 13 0,0-13 16,0 13-16,-27-14 0,14 14 0,0-13 15,13 13-15,-13 0 0,13 0 0,-13 0 16,13 0-16,-26 13 16,13-13-16,-1 14 0,1-1 0,0 0 15,13 0-15,-13 1 0,13 12 0,-13 1 16,13-1-16,13 0 0,-13 1 16,14-1-16,-1 14 0,0 0 0,14-1 15,-14 1-15,14-13 0,-1 12 0,14-12 16,0-1-16,0 1 0,13-1 15,0 1-15,0-14 0,0 13 0,0 1 16,0-14-16,0 13 0,0-12 0,0-1 16</inkml:trace>
  <inkml:trace contextRef="#ctx0" brushRef="#br0" timeOffset="121687.82">10054 5966 0,'-53'27'31,"27"-27"-31,-1 13 0,1-13 0,-14 13 15,0 0-15,-12 1 0,12-14 0,-26 13 16,-14 13-16,1-12 0,0-1 0,-1 0 16,1 0-16,0 1 0,-14 12 15,-13-13-15,0 14 0,27-1 0,-14-13 16,14 1-16,-14 12 0,1-13 0,-14 14 16,26-1-16,-25-13 0,12 14 15,14-14-15,-1 14 0,1-14 0,0 13 16,-1 1-16,-12-14 0,12 13 0,1-12 15,-1 12-15,1-13 0,0 14 16,13-14-16,-1 0 0,1 14 16,0-14-16,13 0 0,13 0 0,-12 1 15,12-1-15,13-13 0,1 13 0,0 0 16,-1-13-16,14 0 0,-14 14 16,14-14-16,-13 0 0,12 13 0,1-13 15,0 0-15,0 0 0,0 13 16,-1-26-1,1 13 1</inkml:trace>
  <inkml:trace contextRef="#ctx0" brushRef="#br0" timeOffset="122028.12">6403 6601 0,'0'0'0,"-40"14"0,27-1 0,-40 27 15,27-27-15,-1 13 16,1 1-16,-1-1 0,1 1 16,13-1-16,-14 0 0,14 1 0,0-14 15,13 14-15,-14-14 0,14 0 16,-13 0-16,13 1 0,0-1 15,13 0-15,-13 0 0,0 0 0,14 1 16,-1-14-16,13 13 0,-12-13 0,12 13 16,0-13-16,1 0 0,-1 0 15,14 0-15,-13 0 0,12-13 0,-12 13 16,-1 0-16,14-13 0,0 13 0,-14 0 16,0-14-16,1 14 0,13-13 15,-14 13-15,1 0 0,-1-13 0</inkml:trace>
  <inkml:trace contextRef="#ctx0" brushRef="#br0" timeOffset="123531.68">8215 6720 0,'0'0'0,"-13"0"0,13-13 15,0 0 1,-13 0 0,13 0 15,-13 13 0,13-14 47,-14 28-62,1-14-1,0 13-15,0 0 16,-1 0 0,14 0-16,0 1 0,-13-1 0,13 0 15,0 0-15,0 14 0,0-1 16,0-13-16,0 14 0,0-1 0,0 1 16,0 13-16,0-27 0,13 13 0,-13 1 15,0-14-15,14 13 0,-14-12 0,0-1 16,0 0-16,13 0 15,-13 1-15,0-1 0,0 0 16,-13 0-16,-1-13 16,1 0-16,0 0 15,0 0-15,0 0 0,-1 0 16,1 0-16,0-13 0,0 13 16,13-13-16,-14 13 15,14-13-15,0-1 16,80-65 15,-54 52-31,-13 14 0,14-13 16,-1-1-16,-12 14 0,-1 0 0,0-14 15,0 14-15,-13 0 0,14 0 0,-1-1 16,-13 1-16,0 0 0,0 0 16,13 13-16,-13-13 0,0-1 15,0 1-15,-13 13 16,0 0-1,13 13 1,-14-13-16,14 14 0,0-1 16,-13 0-16,13 0 15,0 0 1,0 1-16,0-1 31,13-13 0,1 0-31,-1 0 16,0 0-16,0 0 16,0 0-16,1 0 0,-14 13 15,13-13-15,0 0 0,0 13 16,1-13-16,-1 0 16,-13 14-1,13-28 16,-13 1-15,0 0-16,0 0 16,0-1-16,0 1 15,13 13-15,-13-13 0,14 13 0,-14-13 16,13 0-16,0 13 0,0-14 0,0 14 16,1-13-16,-1 13 0,0 0 0,14-13 15,-14 13-15,13 0 0,-13-13 16,1 13-16</inkml:trace>
  <inkml:trace contextRef="#ctx0" brushRef="#br0" timeOffset="124434.12">8890 6615 0,'-13'0'0,"26"0"0,-39 0 0,-1 13 16,14 0-16,0 0 16,13 1-16,0-1 15,-14 0-15,14 0 0,14 0 16,-14 1-16,0-1 0,13-13 0,0 13 15,0-13-15,1 0 16,-1 0-16,0 0 0,0 0 0,0 0 16,1-13-16,-1 13 0,-13-13 0,13-1 15,-13 1 1,13 0-16,-26 0 0,13 0 0,0-1 16,0 1-16,-13 13 0,0-13 0,-1 13 15,1 0-15,0-13 0,0 13 16,0 0-16,-1 13 0,1-13 15,0 0-15,0 0 0,-1 13 0,14 0 32,14-13-32,-1 0 0,0 0 15,0-13-15,14 13 0,-14-13 0,13 13 16,1-13-16,-1-1 0,-12-12 0,12 13 16,-13-1-16,1-12 0,-1 13 15,0-14-15,-13 14 0,13-13 0,-13-1 16,13 14-16,-13 0 0,0-1 15,14 1-15,-14 0 0,13 26 32,-13 0-32,0 14 0,13-1 15,-13 1-15,0 13 0,0 12 16,0-12-16,0 13 0,0-13 0,0-1 16,-13 14-16,13-13 0,0 0 0,-13-1 15,13 1-15,-14 0 0,1-1 16,0-12-16,13-14 0,-13 0 0,13 14 15,-13-14-15,-1 0 0,1 1 16,13-41 0,0 14-1,0-14-15,13 1 0,1-14 0,-1 1 16,0-14-16,13 13 0,-12-13 16,12 13-16,-13 1 0,14-14 15,-14 13-15,0 0 0,1 14 0,12-40 16,-13 39-16,-13 14 0,13 0 15,-13 0-15,0-1 0,14 1 16,-28 40 0,14-14-1,-13 13-15,13-12 0,-13 25 16,13-12-16,-13 12 0,13-12 16,-13-1-16,13 27 0,0-40 15,0 14-15,0-14 0,0 0 0,0 1 16,0-1-16,0 13 15,13-13-15</inkml:trace>
  <inkml:trace contextRef="#ctx0" brushRef="#br0" timeOffset="131908.06">4405 8295 0</inkml:trace>
  <inkml:trace contextRef="#ctx0" brushRef="#br1" timeOffset="136492.37">10411 8652 0,'0'-13'0,"-13"39"31,13-13-31,-13 1 16,13-1-16,0 0 0,-13 0 15,13 0-15,0 1 0,0-1 16,0 0-16,-14-13 0,14 13 0,0 1 15,0-1 1,0 0-16,-13-26 47,13 0-47,0-1 16,0 1-16,0 0 0,0 0 0,0-14 15,13 14-15,-13 0 0,0 0 16,0-14-16,0 14 0,14 13 0,-14-13 15,0-1-15,0 1 0,0 0 16,13 13-16,-13-13 0,13 26 31,0 0-31,1-13 16,-14 13-16,13 14 0,0-14 16,-13 0-16,13 1 15,-13-1-15,14-13 0,-14 13 16,13-13-16,-13 13 15,13-13-15,0-13 16,0 0 0,-13 0-16,14 13 0,-1-14 0,-13 1 15,13 0-15,-13 0 0,13-1 0,-13 1 16,14 13-16,-14-13 0,13 0 16,0 26-1,-13 0 1,13 0-16,-13 1 15,0-1-15,0 0 0,13 0 16,-13 1-16,0-1 0,0 0 0,0 0 16,14 0-16,-14 1 0,13-1 15,0 0-15,0-13 16,1 0-16</inkml:trace>
  <inkml:trace contextRef="#ctx0" brushRef="#br1" timeOffset="136827.12">10901 8731 0,'0'0'0,"-13"-13"0,13 0 15,0 0-15,-14 13 16,14-14 0,-26 28-1,13-14 1,13 13-16,0 0 0,-14 0 16,14 0-16,14 14 15,-14-14 1,13-13-16,0 13 0,0-13 15,1 0-15,-1 0 16,0 0-16,0 0 0,1 0 0,-1-13 16,13 13-16</inkml:trace>
  <inkml:trace contextRef="#ctx0" brushRef="#br1" timeOffset="137405.26">11165 8652 0,'-13'-27'0,"26"54"0,-39-67 16,13 40 0,-1 0-1,1 13-15,0-13 0,0 14 16,0-1-16,-1 0 16,1 0-16,13 1 15,0-1-15,0 0 16,13 0-16,1-13 15,-1 13-15,0-26 16,0 13-16,0-13 16,1 13-16,-14-13 0,13 0 15,0-1-15,0 1 0,-13 0 16,14-14-16,-1 1 0,0 13 0,-13-14 16,13 1-16,-13-1 0,14 14 0,-14 0 15,0-14-15,13 14 0,-13 0 16,0 0-16,-13 39 47,13-13-47,-14 14 0,14-14 0,-13 0 15,13 14-15,-13-14 0,13 13 0,0-12 16,-13 12-16,13-13 0,0 1 16,0-1-16,0 0 0,13-13 15,-13 13-15,0 1 0,13-1 16,0-13-16,-13 13 15,14-13-15,-1 13 16,0-13-16,-13 13 16,13-13-16,-13 14 0,0-1 0,13-13 15,-13 13-15,14-13 16,-14 13-16,0 1 0,13-14 16</inkml:trace>
  <inkml:trace contextRef="#ctx0" brushRef="#br1" timeOffset="137564.62">11456 8572 0,'-39'0'31,"39"14"-31</inkml:trace>
  <inkml:trace contextRef="#ctx0" brushRef="#br1" timeOffset="137907.04">11523 8612 0,'-27'0'0,"-13"27"16,40-14-1,-13-13-15,13 13 0,0 0 32,13-13-32,1 0 15,-1 0 1,0 0-16,0 0 0,1 0 15,-1 0-15,0 0 16,0 0-16,1 14 16,-1-14-1,-13 13-15,13-13 16,-13 13 0,13-13-1,-13 13 1</inkml:trace>
  <inkml:trace contextRef="#ctx0" brushRef="#br1" timeOffset="138123.34">11721 8692 0,'13'-14'31,"1"14"-15,-1 0-1,-13-13-15,13 13 16</inkml:trace>
  <inkml:trace contextRef="#ctx0" brushRef="#br1" timeOffset="138572.37">12951 8692 0,'0'0'0,"-13"-27"16,26-39-1,-13 39-15,14 1 0,-1-14 16,0 14-16,0-1 0,1 1 0,-1 0 16,0 12-16,0 1 0,0 0 0,1 0 15,-14 26 1,0 13-1,-14-12-15,-12 12 0,0 0 16,-1 1-16,-13 13 0,14-14 0,-14 0 16,14 1-16,-1-1 0,1 1 0,-1-14 15,14 0-15,0 1 0,0-14 16,13 13-16,-14 0 0,14 0 16,27-13-16,-14 0 15,0 0-15,14-13 0,13 0 16,-1 0-16,1-1 0,13 1 0,-13 0 15,-1 0-15,1-1 0,13 1 0,-14 0 16,14 0-16,-13-1 16</inkml:trace>
  <inkml:trace contextRef="#ctx0" brushRef="#br1" timeOffset="139938.07">14089 8387 0,'-13'40'31,"13"-27"-15,0 14-16,0-14 0,0 0 15,-13 0-15,13 1 0,0-1 0,0 0 16,0 0-16,0 0 15,0 1-15,0-1 0,13-40 47,-13 14-31,0-13-16,0 13 0,13-14 0,-13 14 16,0-14-16,13 1 0,-13 13 0,0-14 15,14 14-15,-14 0 0,0 0 0,0-1 16,13 14-1,-13 27 1,0-1 0,0-12-1,0-1-15,0 0 0,0 0 0,0 0 16,13-13-16,-13 14 0,13-14 16,0 0-16,1 0 15,-1 0-15,0 0 16,0 0-1,1 0 1,-14 13-16,13-13 16,-13 13-16,13-13 0,0 0 15,1 0-15,12 0 0,-13-13 16,0 13-16,14-13 16,-1 13-16,-12-14 0,12 1 0,-13 0 15,14 0-15,-14 0 0,0-1 0,0 1 16,1 13-16,-14-13 0,13 0 15,-13-1-15,-27 28 32,14-1-17,0 0-15,13 0 16,-13 1-16,-1-14 0,14 13 0,0 0 16,0 0-16,0 0 15,0 1 1,14-14-16,-1 0 15,0 0-15,-13-14 16,13 14-16,1 0 0,-1-13 16,0 13-16,0-13 0,1 13 15,-1-13-15,0 13 0,0-13 0,0 13 16,1-14-16,-1 14 0,-13-13 16,13 13-16,0 0 0,-13-13 0,14 13 15,-41 13 16,27 0-31,-13-13 16,13 14-16,-13-1 0,-1 0 16,1 0-1,13 0-15,-13 1 0,13-1 16,0 0-16,0 0 16,13-13-16,0 0 15,1 0 1,-1-13-16,0 13 0,-13-13 15,13 0-15,1-1 0,-1 1 0,0 0 16,0-13-16,1-1 0,-1 1 16,0-14-16,0 13 0,0 1 0,-13 0 15,14-1-15,-14 14 0,13-14 0,-13 14 16,0 0-16,0 0 16,0-1-16,0 1 0,-13 26 31,-1 1-31,14-1 0,-13 13 15,0 1-15,13-14 0,-13 14 16,13-1-16,0-13 0,-13 14 0,13-14 16,0 0-16,13 14 0,-13-14 0,13 0 15,-13 0 1,13-13-16,0 0 0,1 0 0,-1 0 16,0 0-16,0 0 15,1 0 1,-1 0-1</inkml:trace>
  <inkml:trace contextRef="#ctx0" brushRef="#br1" timeOffset="140063.81">15240 8401 0,'-13'-14'46,"0"14"-30</inkml:trace>
  <inkml:trace contextRef="#ctx0" brushRef="#br0" timeOffset="146220.18">19989 6641 0,'0'40'31,"-13"-40"-31,13 39 0,-13-25 16,13-1-16,0 0 0,-13 14 0,-1-1 15,14-13-15,0 0 16,0 1-16,0-1 0,-13-13 0,13 13 15,0 0-15,0 1 16,0-41 15,0 14-31,0 0 16,13-1-16,-13 1 0,0-13 16,14 13-16,-14-14 0,0 14 0,13 0 15,-13-1-15,0 1 0,13 0 16,-13 0-16,0 0 0,13 13 15,0 13 1,-13 0 0,14-13-16,-14 13 0,0 0 0,13 1 15,-13-1-15,13 0 16,-13 0-16,13 1 0,-13-1 16,14-13-16,-14 13 15,13-26-15,0 13 16,0-13-16,-13-1 15,14 14-15,-14-13 0,13 0 0,-13 0 16,13 13-16,-13-14 0,13 1 0,-13 0 16,13 13-1,1 13 1,-14 0-16,0 1 16,13-14-16,-13 13 0,0 0 0,0 0 15,0 14-15,0-14 0,0 0 16,0 0-16,0 1 0,0-1 0,13 0 15,-13 0-15,0 1 16,0-1-16,13-13 16,1 0-1</inkml:trace>
  <inkml:trace contextRef="#ctx0" brushRef="#br0" timeOffset="146473.81">20452 6681 0,'0'0'0,"0"-13"16,-13 39 15,0-13-31,13 0 0,0 1 16,-13-1-16,13 0 0,0 0 16,0 1-16,0-1 0,13-13 0,-13 13 15,0 0-15,13 0 0,0 1 16,1-14-1,-14 13-15,13-13 0,0 0 0,0 0 16,0 0-16,1 0 16,12 0-16,-13-13 0,1 13 0,-1 0 15,0 0-15,0 0 0</inkml:trace>
  <inkml:trace contextRef="#ctx0" brushRef="#br0" timeOffset="148364.79">21140 6734 0,'0'-14'31,"0"54"-15,0-27-16,0 1 16,0-1-16,0 0 15,0 0-15,-13 0 16,13 1 15,13-28-15,0 1-16,-13 0 15,14 13-15,-14-13 0,13 0 16,-13-1-16,13 1 16,0 0-16,1 0 0,-1 13 15,0-14-15,0 14 16,0 0-1,1 14-15,-1-14 0,-13 13 16,13-13-16,-13 13 0,13 0 16,-13 1-1,0-1-15,14 0 16,-14 0 0,26-26 62,-13 13-63,-13-13-15,14 13 0,-1-13 16,0 13 0,13 0 15,-12 13-16,-1 0 1,0-13-16,0 0 16,1 0-1,-1 0-15,0 0 16,0 0-16,1 0 16,-14-13-16,13 13 0,0-13 15,0 13-15,-13-14 16,13 14-1,-13 14 1,0-1 0,14-13-16,-28 13 15,28 0-15,-14 0 16,13 1 0,0-14-1,0 0-15,1 0 16,-1-14-16,0 14 15,-13-13-15,0 0 16,0 0-16,0 0 16,-13-1-16,13 1 15,-13 13-15,-1-13 16,1 0 0,40 13 30,-14 0-46,0 0 0,0 0 0,1 0 16,-1 0-16,0 0 16,0 0-16,0 0 15,1 0-15,-14 13 16,0 0 0,0 0-16,-14 1 15,14-1 1,0 0-16,-13 0 15,13 0-15,0 1 16,13-14 0,14 0-1,-27-14 1,13 14-16,-13-13 0,13 0 0,1 0 16,-1 0-16,-13-1 0,13 1 0,0-13 15,1 12-15,-14-12 0,13 13 16,0 0-16,-13-14 0,13 14 0,-13 0 15,13-1-15,-13 1 0,14 0 16,-14 0-16,-14 39 31,1-26-15,13 13-16,-13 1 0,13-1 0,-13 0 16,13 0-16,0 1 0,-13-1 15,13 0-15,0 0 0,0 0 0,-14 1 16,14-1-16,0 0 15,14-13-15,-14 13 16,13 1 0,0-14-16,0 0 15,0 0 1,1 0-16,-14 13 16,13-13-16,-13 13 15,13-13-15,0 0 16,14-13-1,-14 0 1,0 13-16,0-14 0,-13 1 0,14 0 16,-1 0-16,0-1 0,0-12 15,1 0-15,12-1 0,-13 1 16,1-1-16,-1 1 0,-13-1 0,13 14 16,0 0-16,-13 0 0,13-1 15,-39 28 16,13-1-31,13 0 0,-13 0 0,13 0 16,-14 1-16,14 12 0,0-13 0,0 1 16,0-1-16,0 0 15,14-13-15,-14 13 16,13-13-16,0 0 0,0 14 16,0-14-16,1 0 0,-1 13 15,0-13-15,-13 13 0,13-13 16,-13 13-16,14-13 0,-14 13 0,13 1 15,-13-1 1,-13 0-16,13 0 0,0 1 16,-14-14-16,1 13 0,13 0 15,-13-13-15,-14 13 0,14 0 0,0 1 16,-13-14-16,-1 13 0</inkml:trace>
  <inkml:trace contextRef="#ctx0" brushRef="#br0" timeOffset="148615.94">20809 7131 0,'67'-27'16,"-41"14"-16,1 13 0,12 0 0,14-13 15,0 13-15,0-14 16,132 1-16,-132 0 15,0 13-15,13 0 0,-13-13 0,-13 13 0,13-14 16,-14 14-16,-12 0 0,-1 0 16,-12 0-16,-1 0 0,0 0 15,0 0-15,-26 0 16,0 14-16</inkml:trace>
  <inkml:trace contextRef="#ctx0" brushRef="#br0" timeOffset="148878.99">20862 7223 0,'-39'13'16,"25"-13"-16,41 0 31,-1 0-31,1 0 0,13 0 16,12-13-16,1 13 0,0 0 0,0-13 15,0 13-15,0-13 0,0 13 16,0 0-16,-13-14 0,12 14 0,-25 0 15,-1 0-15,1-13 0,-1 13 0,-12 0 16,-1 0-16,0 0 0,0-13 16,0 13-16,1 0 0,-1 0 0,0-13 15</inkml:trace>
  <inkml:trace contextRef="#ctx0" brushRef="#br0" timeOffset="153256.09">9049 11218 0,'0'0'0,"39"0"15,-12 14 1,13-28-16,13 14 0,13 0 0,0 0 16,13-13-16,1 13 0,12-13 0,1 13 15,-14-13-15,0 13 0,1-14 16,-14 1-16,0 13 0,0-13 0,-13 13 15,-13-13-15,13 13 0,-27 0 0,1 0 16,-1-14-16,-13 14 0,1 0 16,-1 0-16,0 0 0,-66 14 31,40-1-15,-27-13-16,-13 13 0,0 0 0</inkml:trace>
  <inkml:trace contextRef="#ctx0" brushRef="#br0" timeOffset="153518.43">9036 11430 0,'-67'13'16,"134"-26"-16,-160 39 0,80-26 0,-1 0 15,1 0-15,66 0 32,0-13-32,0 13 0,13-13 0,0 0 15,14 0-15,-14 13 0,13-14 0,1 14 16,-14-13-16,13 13 0,-13-13 15,0 13-15,-13-13 0,0 13 16,-13 0-16,0 0 0,-1 0 0,-12 0 16,-1 0-16,-13 0 0,14-14 0,-14 14 15,0 0-15,1 0 0,-1 0 16,-26-13 15</inkml:trace>
  <inkml:trace contextRef="#ctx0" brushRef="#br0" timeOffset="154052.74">8943 10186 0,'212'14'31,"-40"-28"-31,-120 14 16,1 0-16,14-13 0,-1 13 0,0 0 16,0-13-16,-13 13 0,-13-13 0,12 13 15,-12-13-15,26 13 0,-39-14 16,-14 14-16,0 0 15</inkml:trace>
  <inkml:trace contextRef="#ctx0" brushRef="#br0" timeOffset="154395.09">8890 10332 0,'40'0'0,"185"-26"16,-172 26 0,-1 0-16,1-14 0,0 14 0,0 0 15,0-13-15,0 13 0,0-13 16,-13 13-16,13 0 0,-27 0 16,0-13-16,1 13 0,-1 0 0,-12 0 15,-1 0-15,0 0 0,0 0 16,0 0-16,1 0 0,-1-14 15,0 14-15,0 0 16,-13-13 15,14 13-15</inkml:trace>
  <inkml:trace contextRef="#ctx0" brushRef="#br0" timeOffset="157967.91">9723 10067 0,'14'-26'32,"-1"26"-32,13-13 0,14-1 15,0 1-15,13 0 0,13-13 0,-13 12 16,26-12-16,-13 13 0,14-14 0,-1 14 15,14 0-15,-14-1 0,14-12 16,-1 13-16,14 0 0,-13 13 0,-1-14 16,1 14-16,-1-13 0,1 13 0,-14 0 15,14 0-15,-14 13 0,1-13 16,-1 0-16,-13 0 0,0 14 0,1-14 16,-15 0-16,1 0 0,-13 13 0,0-13 15,-1 0-15,-12 0 0,-14 0 16,14 0-16,-14 0 0,0 0 15,0 0-15,1 0 0,-1 0 0,0 0 16,-13-13 15</inkml:trace>
  <inkml:trace contextRef="#ctx0" brushRef="#br0" timeOffset="158271.7">12012 9618 0,'53'0'15,"-40"0"-15,0 0 0,1 13 16,12-13-16,1 13 0,-14 0 0,13 1 15,1-1-15,-1 13 0,1-13 0,-1 14 16,-13-14-16,1 0 0,-1 14 16,0-14-16,-13 13 0,13-12 0,-13 12 15,0-13-15,0 14 0,-13-14 0,13 14 16,-13-14-16,0 13 16,-1-13-16,1 1 0,0-1 0,0 0 15,13 0-15,-14 1 0</inkml:trace>
  <inkml:trace contextRef="#ctx0" brushRef="#br0" timeOffset="159180.68">13560 9684 0,'-13'-13'0,"26"26"0,-26-40 0,-1 27 31,-12 0-31,13 14 0,13-1 16,-13 0-16,-1 0 0,1 0 15,0 14-15,0-1 0,13 1 16,-14-14-16,14 13 0,0 1 0,-13-14 15,13 14-15,13-14 0,-13 0 0,14 14 16,-14-14-16,13 0 0,0-13 16,0 13-16,1-13 0,-1 13 0,0-13 15,13 0-15,-12-13 0,12 13 16,-13-13-16,14 0 0,-14 0 0,13-1 16,1-12-16,-14-1 0,14 1 15,-14-1-15,0 1 0,0-14 0,1 14 0,-1-14 16,0 1-16,-13-1 0,13 13 15,0 1-15,-13 13 0,0-14 16,0 14-16,14 0 0,-14 0 0,0-1 16,-14 54 15,14-27-31,-13 0 0,13 1 16,0 12-16,-13-13 0,13 14 0,0-14 15,0 14-15,0-14 0,0 13 16,0-13-16,13 1 0,-13 12 0,13-13 15,-13 1-15,14-14 0,-1 13 0,0-13 16,0 0-16,1 0 0,-1 13 0,0-13 16,0 0-16,1 0 15,-1 0-15,0 0 0,0 0 16,0 13-16,1-13 0,-1 13 16,0 1-16,-13-1 15,13-13-15,-13 13 16</inkml:trace>
  <inkml:trace contextRef="#ctx0" brushRef="#br0" timeOffset="159305.9">14155 9591 0,'-13'-13'16,"13"26"-1</inkml:trace>
  <inkml:trace contextRef="#ctx0" brushRef="#br0" timeOffset="160344.34">14274 9803 0,'0'-27'47,"0"14"-32,0 0-15,-26 39 47,26-12-47,0-1 16,0 0-16,-13-13 0,13 13 16,0 0-16,13 1 15,0-1 1,0-13-16,1 0 15,-1-13-15,0 13 16,0-14-16,0 14 0,-13-13 16,14 13-16,-1-13 0,0 13 31,0 0-31,1 0 16,-1 0-1,0 0 1,0 0-16,0 0 15,1-13-15,-1 13 0,0-13 0,0-1 16,1 1-16,25-40 16,-25 40-16,-1-27 15,0 14-15,0-1 0,-13-12 0,13 12 16,1-12-16,-1 12 0,-13 14 0,0-14 16,13 14-16,-13 0 0,0 0 0,13 13 0,-13-14 15,0 41 16,-13-14-31,13 14 0,-13-1 0,13 14 16,-13-14-16,-1 1 0,14-1 16,-13 1-16,13-1 0,0-13 0,-13 14 15,13-14-15,0 0 0,0 0 0,0 1 16,0-1-16,-13 0 16,13-39 30,0 12-30,-13 1-16,13 0 16,-14 13-1,14-13-15,14 0 16,-14-1 0,13 14-16,0-13 0,0 0 15,0 13-15,1-13 0,-1 13 16,-13-14-16,13 14 0,0 0 15,-13-13-15,14 13 0,-1-13 16,0 13 0,0 0-1,-13 13-15,14-13 0,-14 13 16,0 1-16,0-1 0,13-13 16,-13 13-16,0 0 0,0 1 0,0-1 15,0 0 1,-13-13-16,13 13 0,0 0 0,-14-13 15,14 14-15,-13-1 0</inkml:trace>
  <inkml:trace contextRef="#ctx0" brushRef="#br0" timeOffset="160678.91">14155 10041 0,'119'-40'31,"-79"27"-31,0 13 0,13-13 0,-1 0 16,15-1-16,-1 1 0,-13 0 16,-14 13-16,14-13 0,0-1 0,0 14 15,-13-13-15,-1 13 0,-12 0 0,-1-13 16,-12 13-16,-1 0 0,0 0 0</inkml:trace>
  <inkml:trace contextRef="#ctx0" brushRef="#br0" timeOffset="160935.1">14102 10094 0,'14'13'16,"12"-13"-1,-13 0-15,14 0 0,-1 0 0,14-13 16,13 13-16,0 0 0,0 0 16,-1-13-16,1 13 0,0-14 0,13 14 15,-13-13-15,0 13 0,-13 0 0,13-13 16,-27 13-16,1-13 0,-1 13 16,-13 0-16,1-14 0,-1 14 0,0 0 15,-13-13-15,-13 0 31,0 0-31,-1 13 0,1-13 0,-13 13 16,-1-14-16</inkml:trace>
  <inkml:trace contextRef="#ctx0" brushRef="#br0" timeOffset="161403.79">13758 9300 0,'66'0'16,"-26"0"-1,79 0-15,-53 0 0,1-13 16,12 13-16,0 0 0,1 0 15,-1-13-15,0 13 0,1-14 0,-1 14 16,1 0-16,-14-13 0,0 13 0,-13-13 16,0 13-16,-14 0 0,1-13 0,-14 13 15,-12 0-15,-1 0 0,0-13 16,-39 13 0,-1 0-1,14 0-15,-27 0 0,14 13 16</inkml:trace>
  <inkml:trace contextRef="#ctx0" brushRef="#br0" timeOffset="161599.97">14221 9353 0,'14'13'16,"-1"-13"-16,79 0 15,-65 0-15,13 13 0,-1-13 16,14 0-16,0 0 0,0 0 15,-13-13-15,13 13 0,-14 0 0,1 0 16,-14 0-16,1 0 0,-1 0 0,1 0 16,-1 0-16,1 0 15,-1 0-15,1 0 0,-14 0 0</inkml:trace>
  <inkml:trace contextRef="#ctx0" brushRef="#br0" timeOffset="161851.74">15214 9287 0,'0'-13'31,"0"39"-31,0-13 0,-14 14 16,14-1-16,0 1 0,0 12 15,-13 1-15,13-13 0,-13 12 0,13 1 16,-13 0-16,13-1 0,0-12 15,-14-1-15,14 1 0,0-1 0,0-13 16,0 14-16,0-14 0,0 0 0,0 0 16,0 1-16,-13-1 15,0 0-15</inkml:trace>
  <inkml:trace contextRef="#ctx0" brushRef="#br0" timeOffset="162298.06">12991 9512 0,'13'92'31,"-13"-65"-31,14 13 0,-14-1 16,0 14-16,0-13 0,13-1 0,-13 1 16,0 13-16,0-13 0,13-14 15,-13 1-15,0-1 0,0 1 0,13-14 16,-13 13-16,0-12 0,13-14 15,-13 13-15</inkml:trace>
  <inkml:trace contextRef="#ctx0" brushRef="#br0" timeOffset="162500.34">13242 9406 0,'0'53'0,"-39"119"32,39-132-32,-14-1 0,14 14 0,0-13 15,-13-1-15,13 1 0,0-13 16,0-1-16,0 1 0,13-1 0,-13 0 16,0 1-16</inkml:trace>
  <inkml:trace contextRef="#ctx0" brushRef="#br0" timeOffset="168139.87">10120 11377 0,'53'13'32,"-40"-13"-32,1 0 15,-1 0-15,0-13 0,14 13 0,-14 0 16,0 0-16,0 0 0,1 0 0,-1 0 16,0 0-1</inkml:trace>
  <inkml:trace contextRef="#ctx0" brushRef="#br0" timeOffset="168312.94">10173 11483 0,'13'-27'31,"1"27"-31,-1-13 15,0 13-15,0 0 16</inkml:trace>
  <inkml:trace contextRef="#ctx0" brushRef="#br0" timeOffset="169500.05">13824 11165 0,'186'-39'15,"-133"39"-15,0 0 16,-1-14-16,1 14 0,14 0 15,-1 0-15,13-13 0,-26 13 0,13 0 16,-13 0-16,13 0 0,-13 0 16,0 0-16,0 0 0,-13 0 0,-1 0 15,-12 0-15,-1 0 0,1 0 0,-14 0 16,0 0-16,0 13 16</inkml:trace>
  <inkml:trace contextRef="#ctx0" brushRef="#br0" timeOffset="170052.99">13692 11390 0,'0'0'0,"80"0"0,-28-13 0,15 13 15,-14 0-15,26 0 0,80 0 16,-1 0-16,-91 0 0,-1 0 15,-13 0-15,13 0 0,-13 0 16,0 0-16,-14 0 0,-12 0 0,-1 0 16,1 0-16,-1 0 0,-13 0 0,1 0 15,-1 0-15,0 0 0,0 0 16,0 0-16,1 0 0,-1 0 16,0 0-16,0 0 15,-13-13 220,14 13-235,-14-13 15,13 13-15,0-14 16,-13 1-1,13 13-15,-13-13 0</inkml:trace>
  <inkml:trace contextRef="#ctx0" brushRef="#br0" timeOffset="170715.87">14076 10358 0,'79'0'0,"-158"0"0,198-13 16,-66 13-16,0 0 0,26-13 0,-13 13 15,14 0-15,-14-13 0,13 13 16,-13 0-16,0 0 0,1 0 0,-15 0 15,15-13-15,-14 13 0,-1 0 0,-12 0 16,-13 0-16,12 0 0,-12 0 16,-1 0-16,-13 0 0,1 0 0,-1 0 15</inkml:trace>
  <inkml:trace contextRef="#ctx0" brushRef="#br0" timeOffset="170947.68">14367 10438 0,'40'0'0,"-27"0"15,26 0-15,1 0 0,13 0 0,0 0 16,0 0-16,0 0 0,13-13 0,-13 13 16,13 0-16,0 0 0,-13 0 15,0 0-15,0 0 0,0 0 0,-13 0 16,-14 0-16,0 0 0,1 0 0,-14 0 15,14 0-15,-14 0 16,0 0-16,0 0 0</inkml:trace>
  <inkml:trace contextRef="#ctx0" brushRef="#br0" timeOffset="172327.07">1085 2024 0,'53'-13'15,"-14"0"-15,14-1 0,0 1 0,13 0 16,14 0-16,-14-1 0,13 1 0,1-13 16,-1 13-16,14-1 0,-14 1 15,0 0-15,1 0 0,-14-1 0,13 14 16,-13-13-16,-26 0 0,13 13 15,-13 0-15,-14 0 0,1-13 0,-14 13 16,13 0-16,-12 0 0</inkml:trace>
  <inkml:trace contextRef="#ctx0" brushRef="#br0" timeOffset="172881.24">1164 2117 0,'-13'0'16,"26"0"-16,27-14 15,0 14-15,12-13 0,15 0 0,12 0 16,-13 13-16,14-13 0,12-1 0,-13 1 16,1 0-16,12 0 0,-25-1 15,12 1-15,-13 0 0,0 0 16,0 13-16,27-27 0,-27 27 15,-39-13-15,-14 13 16,13 0-16,-12 0 0,-1 0 0,-13-13 0,13 13 16,0 0-16,0 0 15,14 0 1,-14 0 15,0 0 0,-13-13 32,0-14 78,-13 27-141,13-13 0</inkml:trace>
  <inkml:trace contextRef="#ctx0" brushRef="#br0" timeOffset="173569.83">1283 595 0,'0'0'0,"119"-13"0,-53 0 0,14 13 0,-14-13 15,27 13-15,-1-14 0,1 1 0,-1 13 16,1-13-16,0 13 0,-1-13 16,1 13-16,-14-14 0,14 14 0,-14-13 15,1 13-15,-14-13 0,0 13 16,-26-13-16,12 13 0,-25 0 15,13 0-15,-27-13 0,13 13 0,-13 0 16,1 0-16</inkml:trace>
  <inkml:trace contextRef="#ctx0" brushRef="#br0" timeOffset="173899.01">1865 714 0,'80'-13'0,"118"-13"15,-119 12 1,-12 14-16,12-13 0,14 13 0,-14 0 0,14-13 16,-14 13-16,0 0 0,1-13 15,-14 13-15,0 0 0,-13 0 16,13 0-16,-13 0 0,-13 0 0,-1 0 15,-12 0-15,-1 0 0,-12 0 16,12 0-16,-13 0 0,0-13 0,1 13 16,-41 0 31,14 13-47,0-13 15,0 0-15,-1 0 0</inkml:trace>
  <inkml:trace contextRef="#ctx0" brushRef="#br0" timeOffset="174651.07">648 1058 0,'0'0'0,"-13"66"0,-13 159 31,26-145-31,-14 12 0,1 14 0,13-26 16,0-1-16,-13 0 0,13-13 15,0 1-15,-13-14 0,13-1 0,0-12 16,0 0-16,0-14 0,0 1 0,0-1 16,13-13-16,-13 1 0,-13-1 15,26 0-15</inkml:trace>
  <inkml:trace contextRef="#ctx0" brushRef="#br0" timeOffset="175634.07">569 926 0,'185'-79'31,"-132"65"-31,13-12 0,0 13 0,0 0 16,27-14-16,13 1 0,0-1 16,0 1-16,-1-1 0,1 14 0,13-13 15,-13-1-15,13 14 0,-39-14 16,39 14-16,-14-13 0,1-1 0,-26 14 16,12 0-16,-12-14 0,12 14 15,-12 0-15,-14 0 0,13-1 0,-13 1 16,-13 0-16,0 13 0,-13-13 0,13 13 15,-27 0-15,1-13 0,-1 13 16,1 0-16,-1 0 0,0 0 16,-12 0-16,12 0 0,-13 0 0,1 0 15,-1 0-15,0 0 0,0 0 0,0 0 16,14 0 0,-14 0-16,0 0 0,-13 13 15,14-13-15,-1 0 16,-13 13-16,13-13 0,-13 13 0,13 0 15,1 1-15,-1-1 0,-13 0 16,13 14-16,0-14 0,0 26 16,1 1-16,-14 0 0,13 0 0,0 12 15,0 15-15,-13-14 0,14 13 0,-14-13 16,13-1-16,0 15 0,0-14 16,-13 13-16,14-13 0,-1 0 15,0-14-15,-13 14 0,13-26 0,-13 12 16,13 1-16,1 0 0,-14-14 15,13 1-15,-13-14 0,0 13 16,0-12-16,13 12 0,-13-13 0,0 0 0,0 1 16,0-1-16,13 0 0,-13 0 15,0 1-15,0-1 0,0 0 0,14-13 16,-14 13-16,0 0 0,0 1 16,0-1-1,0 0-15,0 0 47,-27-13-47,14 0 16,-14 0-16,14 14 0,-13-14 0,-27 0 15,13 13-15,-26-13 0,-13 13 16,-14 0-16,-13 14 0,-13-1 0,0 1 16,0-1-16,-13 1 0,13-1 0,-14 14 15,1-1-15,13-12 0,0-1 16,0 14-16,13-14 0,13 1 15,1-1-15,26 1 0,-80 13 0,80-14 16,13-13-16,0 0 0,14 1 0,-1-1 16,13 0-16,1 0 15,-1-13-15,1 14 0,13-14 0,0 13 16,-1-13-16,-12 0 0,13 0 0,-1 13 16,1-13-16</inkml:trace>
  <inkml:trace contextRef="#ctx0" brushRef="#br0" timeOffset="177283.89">8652 10517 0,'0'0'16,"0"80"-16,13-41 0,-13 1 0,0 13 16,0 13-16,0-13 0,0 13 0,0 0 15,0-13-15,0-13 0,0 13 16,0-14-16,0 1 0</inkml:trace>
  <inkml:trace contextRef="#ctx0" brushRef="#br0" timeOffset="178276.65">8625 10213 0,'67'0'16,"-134"0"-16,160 0 0,-67 0 0,14 0 0,0-13 16,13 13-16,13 0 0,13 0 15,1 0-15,-1 0 0,0-14 0,14 14 16,0 0-16,-1-13 0,1 13 0,13 0 15,-14-13-15,14 13 0,0 0 16,0 0-16,0-13 0,-1 26 0,-12-13 16,0 0-16,-1 0 0,1 0 0,-14 13 15,-13-13-15,1 0 0,-15 0 16,1 13-16,0-13 0,-13 0 16,0 0-16,-14 0 0,1 0 0,12 0 15,-26 0-15,14 0 0,-1 0 16,1 0-16,-14 0 0,14 0 0,-1 0 15,0 0-15,-12 0 0,12 0 0,1 0 16,-14 0-16,13-13 0,-12 13 16,12 0-16,-13 0 0,0 0 0,1 0 15,-1 0-15,0 0 0,0 0 0,1 0 16,-1 0 0,0 0-16,0 0 15,1 0-15,-1 0 16,0 0 15,0 0-31,-13 13 16,0 1-16,13-1 15,-13 0-15,0 0 0,0 1 16,0-1-16,14 13 0,-14-12 0,13 12 16,-13 0-16,0 1 0,13-1 0,-13 1 15,0-1-15,13 1 0,-13-1 16,14 1-16,-14-14 0,13 13 0,-13 1 15,13-1-15,0-13 0,-13 14 16,13-1-16,1-12 0,-14 12 0,13-13 16,0 1-16,-13-1 0,13 13 15,-13-13-15,0 1 0,14-1 0,-14 0 16,0 0-16,0 1 0,13-1 0,-13 0 16,0 0-16,0 1 15,13-14-15,-13 13 0,0 0 0,0 0 16,0 0-1,0 1 1,-13-1-16,0-13 16,-14 13-16,-13 0 0,-26 14 0,0-1 15,-40 1-15,1-1 0,-15 14 16,-12 0-16,-13-1 0,-14 1 16,-13 13-16,-40 0 0,1 13 0,39-26 15,-40 13-15,40-1 0,13-12 16</inkml:trace>
  <inkml:trace contextRef="#ctx0" brushRef="#br0" timeOffset="179700.09">3082 2103 0,'27'14'31,"-14"-1"-31,-13 0 0,13 0 16,1 14-16,-1-14 0,0 13 0,-13 1 15,13-14-15,-13 27 0,13-14 16,-13 1-16,0-1 0,0 1 0,0-1 15,0-13-15,0 14 0,0-14 0,0 14 16,0-14-16,0 0 16</inkml:trace>
  <inkml:trace contextRef="#ctx0" brushRef="#br0" timeOffset="179923.97">3149 2117 0,'-93'53'31,"66"-40"-31,1 13 0,0 1 0,-14-1 0,13 14 16,1-14-16,0 1 0,-1-1 15,14-13-15,-14 14 0,27-14 0,-13 0 16,0-13-16,13 14 0</inkml:trace>
  <inkml:trace contextRef="#ctx0" brushRef="#br0" timeOffset="180098.83">2990 2077 0,'26'0'16,"1"0"-16,-14 0 0,0 13 0,14-13 15,-1 0-15,1 13 0,12-13 16,1 0-16,0 14 0,-1-14 0,1 13 16,0 0-16,-1-13 0,-12 0 15,-1 13-15,1-13 0</inkml:trace>
</inkml:ink>
</file>

<file path=ppt/ink/ink6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00:59.906"/>
    </inkml:context>
    <inkml:brush xml:id="br0">
      <inkml:brushProperty name="width" value="0.05292" units="cm"/>
      <inkml:brushProperty name="height" value="0.05292" units="cm"/>
      <inkml:brushProperty name="color" value="#0070C0"/>
    </inkml:brush>
  </inkml:definitions>
  <inkml:trace contextRef="#ctx0" brushRef="#br0">7342 3135 0,'66'0'16,"-39"-13"0,-1 13-16,14 0 0,13 0 0,0 0 15,0 0-15,0 0 0,0-13 16,-14 13-16,14 0 0,-13 0 0,-14 0 16,1 0-16,-1 0 0,-13 0 0,14 0 15,-14 0-15,0 0 0,1-13 0,-1 13 16,0 0-16,0 0 15</inkml:trace>
  <inkml:trace contextRef="#ctx0" brushRef="#br0" timeOffset="283">7871 2884 0,'40'-26'32,"-27"39"-32,14 0 15,-1 0-15,1 14 0,-1-14 0,1 13 16,-1 1-16,-13-1 0,14 1 16,-14 12-16,13-12 0,-12-1 0,-14 1 15,13-14-15,-13 13 0,0 1 16,-13-14-16,-1 27 0,1-14 0,-13 1 15,-1 12-15,-12-12 0,-1-1 0,-13 14 16,13-14-16,1-12 0,-1 12 0,0-13 16,1 1-16,-1-1 0</inkml:trace>
  <inkml:trace contextRef="#ctx0" brushRef="#br0" timeOffset="1853.66">9366 2871 0,'0'0'0,"-13"-13"16,0 39 15,13-13-15,-13 14-16,-1-14 0,1 27 15,13-14-15,-13 14 0,0-14 0,13 1 16,-14-1-16,14-13 0,-13 14 0,13-1 15,0-13-15,-13 1 0,13 12 16,0-13-16,0 1 0,0-1 16,-13 0-16,13 0 0,0-52 31,13 12-31,-13-13 16,0 1-16,13-14 0,0 0 15,-13-13-15,14 13 0,-1 0 16,0 0-16,0 13 0,14 1 0,-27-1 15,13 14-15,0 12 0,0 1 0,-13 0 16,14 13-16,-1 0 0,0 13 16,0 0-16,1 14 0,-1 12 15,0 1-15,0 0 0,-13 0 0,14-1 16,-14 1-16,13 0 0,-13-1 0,0-12 16,13-1-16,-13 1 0,0-1 15,0-13-15,0 14 0,0-14 16,0 0-16,-13 0 0</inkml:trace>
  <inkml:trace contextRef="#ctx0" brushRef="#br0" timeOffset="2302.64">9221 3135 0,'0'0'0,"-13"0"15,13-13 1,13 13-16,0 0 15,0 0-15,0-13 0,1 13 16,12 0-16,-13-13 0,14 13 16,-1-14-16,1 14 0,-1-13 0,-13 0 0,14 13 15,-1-13-15,-12-1 0,12-12 16,0 13-16,-12 0 0,-1-1 16,0 1-16,0 13 0,1-13 0,-1 0 15,0 13-15,-13-14 0,13 14 16,14 0-1,-27 14-15,13-1 16,0 0-16,0 0 16,-13 1-1,14-14-15,-14 13 0,13-13 0,-13 13 0,13-13 16,-13 13-16,13-13 31,1-13-31,-14 0 16,13 13-16,-13-13 0,0-1 0,13 14 15,-13-13-15,13 13 0,-13-13 16,13 13-16,-13-13 0,14 13 0,-14-14 16,13 14-16,0 0 15,0 0-15</inkml:trace>
  <inkml:trace contextRef="#ctx0" brushRef="#br0" timeOffset="2647.8">10067 2910 0,'-26'-13'16,"26"0"15,0 0-15,13 13-1,-39 0 32,26 13-47,-14-13 16,14 13-16,0 0 16,14 1-16,-14-1 0,13-13 15,-13 13-15,13-13 0,0 13 16,1-13-16,-1 14 0,0-14 15,0 0-15,1 0 0,-1 0 16,0 0-16,0 0 16</inkml:trace>
  <inkml:trace contextRef="#ctx0" brushRef="#br0" timeOffset="3469.6">10253 2910 0,'0'0'0,"26"14"16,-26-1 0,13 0-16,-13 0 15,0 1-15,-13-1 16,13 0-16,0 0 0,-13 0 31,26-39 0,0 13-15,1 0-16,-1-1 0,0 14 16,0-13-16,0 0 0,1 13 0,12-13 15,-13 13-15,1-14 0,-1 1 16,0 13-16,0 0 16,-13-13-16,-26 26 46,39 0-14,-13 1-17,13-14-15,-13 13 0,14-13 16,-14 13-16,0 0 0,13-13 0,-13 14 16,0-1-16,0 0 0,0 0 15,-13 0-15,13 14 0,-14-14 0,1 0 16,0 1-16,0-1 0,13 0 0,-14 0 15,1 1-15,0-14 0,13 13 16,-13-13-16,13 13 0,-14-13 0,28-13 31,-1 0-15,13-1-16,-12-12 0,12 13 16,1-14-16,12 14 0,-12-14 0,-1 14 15,1 0-15,-14 0 0,13 0 0,-13-1 16,1 14-16,-1-13 0,0 13 15,-13-13-15,13 13 0,1 0 16,-1-13-16,-13 26 78,0 0-78,0 0 16,0 1 15,0-1-15,13-13-16,-13 13 15,13-13-15,1 0 0,-1 0 16,0 0 0,-13 13-16,13-13 15,0 0-15</inkml:trace>
</inkml:ink>
</file>

<file path=ppt/ink/ink6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01:06.876"/>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brush xml:id="br2">
      <inkml:brushProperty name="width" value="0.05292" units="cm"/>
      <inkml:brushProperty name="height" value="0.05292" units="cm"/>
      <inkml:brushProperty name="color" value="#00B050"/>
    </inkml:brush>
  </inkml:definitions>
  <inkml:trace contextRef="#ctx0" brushRef="#br0">6390 3334 0,'26'-13'16,"173"-14"-1,-120 27-15,14-13 0,-1 13 16,1-13-16,-1 13 0,1-14 16,0 14-16,-1 0 0,-12-13 0,-1 13 15,0 0-15,-13 0 0,-13 0 0,0 0 16,0 0-16,-13 0 0,-14 0 16,1 0-16,-1 0 0,-12 0 0,-1 13 15</inkml:trace>
  <inkml:trace contextRef="#ctx0" brushRef="#br0" timeOffset="267.18">6615 3492 0,'66'0'0,"-27"0"0,14-13 0,13 13 16,14-13-16,-1 13 0,1 0 0,78-13 15,-78 0-15,-14 13 16,13-14-16,-26 14 0,0 0 0,0 0 16,0 0-16,-13-13 0,-14 13 0,14 0 15,-27 0-15,13 0 0,-12 0 16,-1 0-16,0-13 0,0 13 16,1 0-16,-54 13 31,27-13-16</inkml:trace>
  <inkml:trace contextRef="#ctx0" brushRef="#br0" timeOffset="2839.12">4419 4326 0,'105'-13'31,"-52"13"-31,13 0 16,1-14-16,25 14 0,-12-13 0,12 13 15,1 0-15,13-13 0,-14 13 16,1-13-16,13 13 0,-14 0 0,14 0 15,-13-13-15,-1 13 0,1 0 0,-14 0 16,1 0-16,-27 0 0,13 0 16,-27 0-16,14 0 0,-26 0 0,-1 0 15,1 0-15,-14 13 0,13-13 0</inkml:trace>
  <inkml:trace contextRef="#ctx0" brushRef="#br0" timeOffset="3114.48">5120 4419 0,'53'0'0,"211"-27"16,-198 27-1,14 0-15,12-13 0,-12 13 0,-1 0 16,0 0-16,1 0 0,-1 0 0,-26-13 16,13 13-16,-13 0 0,-13 0 15,0 0-15,-1 0 0,-12 13 0,-1-13 16,1 0-16,-14 0 0,13 0 16,-12 0-16,12 0 0,-13 13 0,14-13 15,-14 0-15</inkml:trace>
  <inkml:trace contextRef="#ctx0" brushRef="#br0" timeOffset="4064.39">9128 3691 0,'-40'26'32,"40"1"-32,-26-1 0,13 1 15,0 12-15,-14 1 0,14 0 0,0-14 16,-1 14-16,14 0 0,-13-1 0,13-12 16,0-1-16,0-12 0,0 12 15,0 0-15,13 1 0,1-1 0,12 1 16,1-14-16,-1 13 0,0-12 0,14-1 15,0 0-15,0-13 0,-1 0 16,14 13-16,-26-13 0,12 0 16,1-13-16,13 13 0,-13-13 0,-1 13 15</inkml:trace>
  <inkml:trace contextRef="#ctx0" brushRef="#br0" timeOffset="4579.46">10411 3638 0,'53'26'15,"-106"-52"-15,120 66 0,-41-14 0,0 1 0,-12-1 16,12 1-16,-13 12 0,1-12 0,-1 12 15,-13 1-15,13 0 0,-13-14 16,-13 14-16,13 0 0,-13-1 0,-14 1 16,14 0-16,-27-1 0,14 1 15,-14 0-15,0-1 0,1 1 0,-1-13 16</inkml:trace>
  <inkml:trace contextRef="#ctx0" brushRef="#br0" timeOffset="8595.7">10266 3294 0,'-13'0'15,"-1"0"1,41 13 15,-14-13-31,0 0 16,14 0-16,-14 0 0,0 0 0,0 0 15,14 0-15,-1 0 16,-12 0-16,12 0 0,1 0 0,-1 0 16</inkml:trace>
  <inkml:trace contextRef="#ctx0" brushRef="#br0" timeOffset="9814.66">11073 3294 0,'26'13'15,"-13"-13"1,14 0-16,-14 0 0,0 0 15,1 0-15,-1 0 0,13 0 0,-12 0 16,-1 0-16,0 0 0,0 0 16,0 0-16,1 0 0,-1 0 0,0 0 15</inkml:trace>
  <inkml:trace contextRef="#ctx0" brushRef="#br0" timeOffset="10630.82">13626 4511 0,'-13'13'62,"13"1"-62,-13-1 0,-1-13 16,1 13-16,0 0 0,0 1 0,-1-1 15,1 0-15,0 0 0,0-13 16,0 13-16,-1 1 0,14-1 0,-13-13 16,13 13-16,-13-13 0,13 13 0,-13 1 15,26-1 1,0-13-16,-13 13 15,13-13-15,1 0 0,-1 0 0,13 0 16,-13 0-16,1 0 0,12 0 16,1 0-16,-14 0 0,13 0 15,1 0-15,-14-13 0,0 13 0,0 0 16,14 0-16,-14 0 0,0 0 0,-13-13 16,14 13-16,-1 0 0,0 0 15,-13-14-15,13 1 16</inkml:trace>
  <inkml:trace contextRef="#ctx0" brushRef="#br0" timeOffset="10866.11">13772 4524 0,'-14'14'31,"1"-14"-31,13 13 16,0 0-16,-13 0 0,13 1 0,-13 12 15,13-13-15,-14 14 0,14-14 0,-13 13 16,13 1-16,-13-14 0,13 13 16,-13-12-16,13 12 0,0-13 0,-14 1 15,14-1-15,0 0 0,0 0 16,0 1-16,14-1 16</inkml:trace>
  <inkml:trace contextRef="#ctx0" brushRef="#br0" timeOffset="11099.07">14168 4604 0,'-13'13'31,"0"0"-31,0-13 15,13 13-15,-13 1 0,-1-1 0,1 13 16,0-12-16,0-1 0,-1 0 16,1 0-16,0 0 0,0-13 0,-1 14 15,14-1-15,-13-13 0,13 13 16,-13 0-16</inkml:trace>
  <inkml:trace contextRef="#ctx0" brushRef="#br0" timeOffset="11303.06">13957 4670 0,'0'-13'16,"26"13"0,-13 13-1,1-13-15,-1 13 0,0 0 16,0-13-16,1 14 0,-1-14 0,0 13 15,0-13-15,1 0 0,-1 13 16,0-13-16,0 0 0,14 0 0,-14 0 16,0 0-16</inkml:trace>
  <inkml:trace contextRef="#ctx0" brushRef="#br0" timeOffset="12859.45">14459 4524 0,'40'0'46,"-27"14"-30,1-1-16,-14 0 31,0 0-31,0 1 16,13-1 0,0 0-1,0-13-15,1 26 16,-1-26-16,-13 14 0,13-14 15,-13 13-15,13-13 16,-13 13-16,-13 0 16,0 1-16,0-14 0,-1 0 0,1 13 15,0-13-15,0 13 0,-14-13 16,1 0-16,12 13 0,1-13 0,0 0 16,-13 0-16,12 0 0,1 0 0</inkml:trace>
  <inkml:trace contextRef="#ctx0" brushRef="#br0" timeOffset="14235.25">12885 4789 0,'13'26'16,"-13"-12"-1,0-1 1,14-13-16,-14 13 0,0 0 0,13-13 16,-13 14-16,13-1 0,-13 0 15,13-13 1,-13 13-16,14-13 0,-1-13 16,0 13-1,-13-13-15,13 0 16,-13-1-16,0 1 0,14 0 0,-14-14 15,13 1-15,-13-1 0,0 1 0,0 0 16,0-1-16,0 1 0,0-14 16,0 14-16,-13-14 0,13 13 15,0 1-15,-14-1 0,14 1 0,0 13 16,-13 0-16,13-14 0,0 14 0,0 0 16,-13-1-16,13 1 0,0 0 15,0 0-15,13 13 0,-13-14 16,13 14-16,1-13 0,-1 13 15,0 0-15,13-13 0,-12 13 16,25 0-16,1 0 0,0-13 0,13 13 16,0 0-16,-1 0 0,1-13 0,0 13 15,0 0-15,0 0 0,26-14 16,-12 14-16,12-13 0,-13 13 16,14-13-16,-1 13 0,0-13 0,1 13 15,-1-14-15,0 14 0,1 0 0,-14-13 16,13 13-16,-13 0 0,1 0 15,-14-13-15,-1 13 0,1 0 0,-13 0 16,0 0-16,-1 0 0,-12 0 0,-1 0 16,1 0-16,-14 0 0,0 0 15,0 0-15,1 0 0,-1 0 0,0 0 16,0 0-16,1 0 0,-1 0 16,0 0-1,0 0 1,1 0-1,-1 0 17,0 0 30,-53 0 188</inkml:trace>
  <inkml:trace contextRef="#ctx0" brushRef="#br0" timeOffset="17227.18">9671 2686 0,'-14'0'31,"1"0"-15,0 0-16,13 13 0,-13-13 15,13 13-15,0 0 0,-14 0 0,1 1 16,13-1-16,-13 0 16,13 0-16,0 1 0,0-1 0,0 0 15,0 0-15,0 1 0,0-1 0,13 0 16,0 0-16</inkml:trace>
  <inkml:trace contextRef="#ctx0" brushRef="#br0" timeOffset="17551.05">9869 2699 0,'26'13'15,"-12"0"-15,-1 0 0,0 1 0,0-14 0,-13 13 16,14 0-16,-14 0 0,13 1 0,-13-1 15,0 13-15,0-12 16,-13 12-16,-1-13 0,14 14 0,-13-1 16,0-13-16</inkml:trace>
  <inkml:trace contextRef="#ctx0" brushRef="#br0" timeOffset="20915.14">11232 3969 0,'0'-13'0,"-14"-1"31,14 41 16,0-14-31,0 0-16,0 0 0,-13-13 15,13 14-15,0-1 0,0 0 16,0 0-16,0 1 16,-13-1-16,13 0 15,0 0 1,0 1 0,-13-14-1,13 13 1,0 0 15,13-39 328,-13 12-359,0 1 16,13 0-16,-13 0 0,13-1 16,-13 1-16,14 0 0,-1 0 0,0-1 15,-13 1-15,13 0 0,14 0 0,-27 0 16,13-1-16,0 1 0,0 13 16,1 0-16,-1-13 0,0 13 15,0 13-15,1-13 16,-14 13-16,13-13 0,-13 14 0,0-1 15,0 0-15,13 0 16,-13 0-16,0 1 0,0-1 0,0 0 0,0 0 16,0 1-16,0-1 0,0 0 0,0 0 15,-13 1-15,13-1 16,0 0-16,0 0 0,0 0 16,0 1-1,13-14 16,0-14-15</inkml:trace>
  <inkml:trace contextRef="#ctx0" brushRef="#br0" timeOffset="21174.35">11642 4035 0,'26'-13'31,"-13"13"-31,1 0 0,-1 0 16,0-14-16,0 14 0,1 0 15,-1 0-15,0 0 16,0 0-16</inkml:trace>
  <inkml:trace contextRef="#ctx0" brushRef="#br0" timeOffset="21366.93">11642 4141 0,'13'13'47,"0"-13"-47,0 0 15,1 0-15,-1 0 16,0-13-16,0 13 16,1 0-16,-1 0 0,-13-13 0,13 13 15</inkml:trace>
  <inkml:trace contextRef="#ctx0" brushRef="#br0" timeOffset="22148.51">11946 3969 0,'-13'0'16,"26"0"-16,-26-13 0,-1 13 15,28-14 1,-1 14-1,13 0 1,-12 0-16,-1 0 16,-13 14-16,13-14 0,0 13 0,1 0 15,-14 0-15,0 0 16,0 1-16,-14-1 0,14 0 16,-13-13-16,13 13 0,-13 1 15,13-1-15,-13-13 0,13 13 0,-14 0 16,1-13-16,13 14 0,-13-14 15,13 13-15,-13-13 0,13 13 16,-14 0 0,28-13 15,-1 0-31,0 0 16,0 0-16,14 0 15,-14 0-15,0-13 0,1 13 16,-1 0-16,0 0 0,0 0 15,0 0-15</inkml:trace>
  <inkml:trace contextRef="#ctx0" brushRef="#br0" timeOffset="23073.02">12793 4498 0,'26'-13'31,"-13"13"-16,1 13 1,-1-13 0,-13 13-16,0 0 15,0 1-15,0-1 16,-13-13-16,13 13 16,-14-13-16,14 13 0,-13-13 15,13 14-15,-13-14 0,13 13 16,-13-13-1,13 13 17,13-13-17,0 13-15,0-13 16,1 0 0,-1 0-1,0 0-15,0 0 16,0 0-1,1 0 1,-1 0 0</inkml:trace>
  <inkml:trace contextRef="#ctx0" brushRef="#br0" timeOffset="24067.5">16391 4551 0,'66'-13'15,"-53"-1"1,1 14-16,-1 0 0,0 0 16,0 0-16,0 0 0,1 14 15</inkml:trace>
  <inkml:trace contextRef="#ctx0" brushRef="#br0" timeOffset="24231.72">16391 4670 0,'-13'0'16,"39"13"15,-13-13-31,14 0 0,-14 0 0,14-13 16,-1 13-16,0 0 16,1 0-16,13 0 0,-14-13 0</inkml:trace>
  <inkml:trace contextRef="#ctx0" brushRef="#br0" timeOffset="25340.3">17238 4392 0,'13'-13'15,"13"13"1,-12 0 0,-1 13-16,0-13 0,0 0 15,-13 13-15,13-13 0,1 14 16,-14-1-1,-14 0-15,14 0 0,-13-13 16,0 13-16,0 1 0,0-14 0,13 13 16,-14-13-16,14 13 0,-13 0 15,13 1-15,0-1 16,13-13-16,-13 13 0,14-13 16,-14 13-16,13 1 15,-13-1-15,0 0 16,13-13-16,-13 13 0,-13 0 15,13 1-15,-13-14 16,13 13-16,-14-13 0,1 0 0,0 13 16,0-13-16,-1 0 0,1 0 15</inkml:trace>
  <inkml:trace contextRef="#ctx0" brushRef="#br0" timeOffset="25472.33">17489 4564 0,'13'0'0,"-13"-13"15</inkml:trace>
  <inkml:trace contextRef="#ctx0" brushRef="#br0" timeOffset="25790.93">17846 4405 0,'-26'14'16,"12"-14"-16,1 13 15,0-13-15,0 13 0,0 0 16,-1-13-16,14 13 0,-13-13 0,0 14 15,0-1-15,13 0 0,-14-13 16,14 13-16,14 1 16,-1-1-1,0-13-15,0 0 16,1 0-16,12 0 16,0 0-16,1 0 0,-14 0 15,0-13-15,1 13 0,-1 0 0,13 0 16,-12-14-16,-1 14 15,0 0-15,-13-13 0,13 13 0,-13-13 16,13 13-16</inkml:trace>
  <inkml:trace contextRef="#ctx0" brushRef="#br0" timeOffset="25999.18">17965 4326 0,'0'13'31,"0"0"-31,0 1 16,0-1-16,-13 13 0,13-12 0,0 12 16,-13 0-16,13-12 0,-13 12 0,-1 1 15,1-14-15,13 13 0,-13 1 16,0-14-16,13 0 0,-14 0 0,14 1 16,0-1-16,0 0 0,0 0 15</inkml:trace>
  <inkml:trace contextRef="#ctx0" brushRef="#br0" timeOffset="26304.1">18283 4313 0,'-53'66'31,"53"-53"-31,-13 0 0,13 1 0,-14-1 16,14 0-16,0 0 0,0 0 0,0 1 16,0-1-16,14 0 0,-1 0 15,0 1-15,0-14 16,0 0 0,1-14-16,-14 1 15,13 0-15,-13 0 16,0-1-1,-13 14-15,-1 0 16,1 0-16,-13 14 0,-1-14 16,1 13-16</inkml:trace>
  <inkml:trace contextRef="#ctx0" brushRef="#br0" timeOffset="26543.55">17304 4842 0,'0'0'0,"53"-13"0,-27-1 0,1 14 0,25-13 15,-12 13-15,13-13 0,0 13 0,0-13 16,0 13-16,0-14 0,0 14 16,0 0-16,0-13 0,-14 13 0,1 0 15,-14 0-15,1 0 0,-14-13 0,14 13 16,-14 0-16,0 0 0,0 0 15,0 0-15</inkml:trace>
  <inkml:trace contextRef="#ctx0" brushRef="#br0" timeOffset="26786.1">17330 4868 0,'225'0'31,"-185"14"-31,-1-14 0,1 0 0,-13 0 0,12 0 16,-12 0-16,-1 0 0,1 0 16,-14 0-16,0 0 0,0 0 15,1 0-15,-1 0 0,0 0 0,0 0 16,1 0-1</inkml:trace>
  <inkml:trace contextRef="#ctx0" brushRef="#br0" timeOffset="29420.45">11748 6509 0,'13'-13'0,"0"13"16,13 0-16,-12 0 15,-1 0-15,0 0 0,0 0 0,14 0 16,-14 0-16,13 0 0,1 0 0,-1 0 16,-12 0-16,12 0 0,1 0 0,-14-14 15,13 14-15,-13 0 0,1 0 16,-1 0-16,0 0 0,0-13 15,1 13-15,-1-13 16</inkml:trace>
  <inkml:trace contextRef="#ctx0" brushRef="#br0" timeOffset="29675.08">12012 6337 0,'0'0'0,"27"-13"31,-1 13-31,-13 13 0,0-13 16,1 0-16,-1 0 15,0 13-15,0-13 0,1 13 0,12-13 16,-13 13-16,1 1 0,-1-14 0,0 13 16,-13 0-16,13 0 0,0 1 15,-13-1-15,0 0 0,0 0 0,0 1 16,0-1-16,-13 0 0,13 0 0,-13 14 15,0-14-15,-14 0 0,14 14 0,0-14 16,-14 0-16,1 0 16,13 1-16</inkml:trace>
  <inkml:trace contextRef="#ctx0" brushRef="#br0" timeOffset="31059.1">13679 6760 0,'0'0'0,"13"13"16,0 1-16,1-1 0,-1 0 15,0 0-15,0 0 0,1 1 16,-1-1-16,-13 0 0,13 0 15,0-13-15,0 14 0,1-14 0,-1 0 16,0 0-16,0 0 16,-13-14-16,14 1 0,-14 0 15,0 0-15,0-1 0,0-12 0,0 13 16,0-27-16,-14 14 0,14-14 0,-13 0 16,0 1-16,13-1 0,-13 0 0,13 14 15,0-1-15,0 1 0,13 13 16,0-14-16,0 1 0,14-1 15,13 14-15,-14-13 0,27 12 0,0 1 16,26 0-16,1 0 0,-1 13 0,14-14 16,12 14-16,28-13 0,-1 13 15,13-13-15,1 13 0,0 0 0,12-13 16,-12 13-16,-1 0 0,1-14 0,-1 14 16,1-13-16,-14 13 0,-26-13 0,-13 13 15,-1 0-15,-26-13 0,1 13 16,-15 0-16,-12 0 0,-13 0 0,-14 0 15,0 0-15,-39 0 16,-14 13 0,0-13-16,-13 13 0</inkml:trace>
  <inkml:trace contextRef="#ctx0" brushRef="#br0" timeOffset="31568.2">14168 6681 0,'0'-13'0,"0"26"0,14-13 31,-14 26-31,0-13 16,0 1-16,-14-1 0,14 0 15,0 14-15,-13-14 0,13 0 0,0 0 16,-13 0-16,13 1 0,0-1 0,0 0 16,0 0-1</inkml:trace>
  <inkml:trace contextRef="#ctx0" brushRef="#br0" timeOffset="31767.36">14565 6628 0,'-13'13'15,"0"0"-15,0 1 16,13-1-16,-14 0 0,1 0 16,0 0-16,0 1 0,-1-1 0,1 0 15,13 0-15,-13 1 0,0-1 0,0 0 16,13 0-16,-14 0 0</inkml:trace>
  <inkml:trace contextRef="#ctx0" brushRef="#br0" timeOffset="31956.12">14327 6773 0,'13'0'0,"1"0"16,-1 14-1,0-14-15,0 0 0,-13 13 16,14-13-16,-1 13 0,0-13 0,0 0 16,0 13-16,14-13 0,-14 0 0,0 0 15,1 0-15,12 0 0,-13 0 16</inkml:trace>
  <inkml:trace contextRef="#ctx0" brushRef="#br0" timeOffset="32837.21">14790 6601 0,'0'-13'31,"13"13"-15,1 0-1,-1 0-15,-13 13 16,0 14-1,-13-27 1,13 13-16,-14-13 0,14 13 0,-13-13 16,13 14-16,-13-14 15,13 13-15,0 0 0,0 0 16,0 0-16,0 1 16,13-14-1,-13 13-15,0 0 0,0 0 16,0 1-16,-13-1 15,0 0-15,0-13 16,13 13-16,-14-13 0,1 0 16,0 13-16</inkml:trace>
  <inkml:trace contextRef="#ctx0" brushRef="#br0" timeOffset="33017.31">15108 6615 0,'0'0'0,"13"0"0,0 0 16,0 0-1,-13 13 1,-13 0-16,13 0 0,0 1 16,-13-1-16,13 0 0,-13 0 15,13 14-15,-14-14 0,1 0 0,0 0 16,13 1-16,-13-1 0</inkml:trace>
  <inkml:trace contextRef="#ctx0" brushRef="#br0" timeOffset="33238.75">15002 6747 0,'0'-13'16,"26"26"-1,-12-13 1,-1 0-16,0 13 16,0-13-16,0 13 15,1-13-15,-1 0 16,0 0-16,0 0 0,1 0 16,-1 0-16,0 14 0,0-14 15</inkml:trace>
  <inkml:trace contextRef="#ctx0" brushRef="#br0" timeOffset="33638.35">15624 6681 0,'0'-13'0,"0"26"0,-14-40 0,14 14 16,-13 13-16,0 0 16,0 0-16,-14 0 15,14 0-15,0 13 0,0-13 0,-1 0 16,1 14-16,0-14 16,13 13-16,-13-13 0,13 13 15,26-13 1,-13 0-16,1 0 15,-1 0-15,0 0 0,14 0 16,-14 0 0,0 0-1,-13 13-15,13-13 0,-13 13 16,0 1-16,0-1 16,0 0-16,0 0 0,0 1 15,0-1 1,0 0-16,0 0 0</inkml:trace>
  <inkml:trace contextRef="#ctx0" brushRef="#br0" timeOffset="33842.3">15954 6628 0,'-13'40'31,"13"-27"-31,-13 0 0,13 0 0,-13 0 16,13 1-16,-14-1 0,1 0 0,13 14 16,-13-14-16,0 0 0,13 0 0,-13-13 15,13 13-15,-14-13 0,14 14 16,-13-1-16</inkml:trace>
  <inkml:trace contextRef="#ctx0" brushRef="#br0" timeOffset="34004.1">15782 6760 0,'27'13'47,"-14"-13"-47,0 14 15,1-14-15</inkml:trace>
  <inkml:trace contextRef="#ctx0" brushRef="#br0" timeOffset="34554.17">16391 6562 0,'66'13'16,"-53"0"-1,-13 0-15,0 1 16,0-1-16,0 0 15,-13 14-15,0-14 0,0 0 0,-1 13 16,1-12-16,0-14 0,13 13 0,-13 0 16,13 0-16,-14-13 0,14 14 0,-13-14 15,13 13-15,0 0 32,13-13-32,1 0 0,-1 0 15,0 0-15,0 0 0,14 0 16,-14-13-16,14 13 0,-14 0 0,0 0 15,13-13-15,-12 13 0,-1 0 0,0-14 16,0 14-16,1 0 0,-1 0 16,-13-13-16</inkml:trace>
  <inkml:trace contextRef="#ctx0" brushRef="#br0" timeOffset="34831.1">16722 6588 0,'13'0'15,"0"-13"-15,0 13 16,27 26 0,-40-12-1,0-1-15,0 0 0,13-13 16,-13 13-16,0 1 0,0-1 0,0 0 15,0 0-15,0 0 0,0 1 16,0-1-16,0 0 0,0 0 16,0 1-16,0-1 15</inkml:trace>
  <inkml:trace contextRef="#ctx0" brushRef="#br0" timeOffset="34980.43">16722 6720 0,'0'-13'16,"0"26"-16,13-39 15,0 26-15,0 0 16,14 0-16,-14 0 16,0 0-16,1 0 0</inkml:trace>
  <inkml:trace contextRef="#ctx0" brushRef="#br0" timeOffset="35155.32">17145 6628 0,'0'26'47,"-13"-26"-47,13 14 15,0-1-15,-13 0 0,13 0 0,-14 0 16,1-13-16,13 14 0,-13-1 15,13 0-15,-13 0 0,13 1 0</inkml:trace>
  <inkml:trace contextRef="#ctx0" brushRef="#br0" timeOffset="35363.4">17013 6720 0,'0'-13'16,"26"26"0,-26 1-16,13-14 0,1 0 15,-1 13-15,0-13 0,0 0 16,14 13-16,-14-13 0,0 0 0,14 0 16,-14 0-16,13 0 0,-12 13 0,12-13 15</inkml:trace>
  <inkml:trace contextRef="#ctx0" brushRef="#br0" timeOffset="36104.17">17661 6615 0,'13'-27'31,"-26"27"-15,0 0-16,13-13 0,-14 13 15,1 0-15,0-13 16,0 13 0,0 13-16,13 0 15,0 0 1,0 1-16,0-1 0,0 0 16,0 0-16,-14 1 15,14-1-15,-13 0 0,13 0 16,-13 0-16,0 1 15,-1-14-15,14 13 16,-13-13-16,0 0 0,39 0 47,-26-13-47,14 13 16,-1 0-16,0-14 0,0 14 15,1-13-15,-1 13 0,-13-13 0,13 13 16,-13-13-16,13 13 0,-13-13 15,13-1-15,-13 1 16,-13 13-16,13-13 0,-13 0 16,0-1 15,26 1-15,0 13-16</inkml:trace>
  <inkml:trace contextRef="#ctx0" brushRef="#br0" timeOffset="36278.08">17806 6535 0,'14'0'0,"-1"13"32,-13 1-32,0-1 0,0 0 15,0 0-15,-13 1 0,13-1 16,0 13-16,-14-12 0,14-1 16,0 0-16,-13 0 0,13 0 0,0 1 15,-13-1-15,13 0 0,0 0 0,-13 1 16,13-1-16,0 0 15,-13 0-15</inkml:trace>
  <inkml:trace contextRef="#ctx0" brushRef="#br0" timeOffset="37779.18">8824 6443 0</inkml:trace>
  <inkml:trace contextRef="#ctx0" brushRef="#br0" timeOffset="38031.18">9208 6456 0</inkml:trace>
  <inkml:trace contextRef="#ctx0" brushRef="#br0" timeOffset="38344.48">9591 6482 0,'0'-13'16</inkml:trace>
  <inkml:trace contextRef="#ctx0" brushRef="#br0" timeOffset="38694.98">9962 6469 0</inkml:trace>
  <inkml:trace contextRef="#ctx0" brushRef="#br0" timeOffset="39983.33">13547 6429 0,'13'14'0,"0"-28"0,0 14 16,1 0 0,-41 0 30,14 0-46,0 0 16,-1 14-16,1-14 0,0 0 16,0 0-16,0 13 0,-1-13 15,14 13 1,14 0 0,-1-13-16,-13 14 15,13-14-15,0 13 16,0-13-16,-13 13 15,0 0 1,-13 0 0,0-13-16,0 0 15,0 0-15,-1 14 0,1-14 16,0 0-16,0 0 0,-1 0 0,1 13 16,0-13-16,0 0 0,-1 0 0</inkml:trace>
  <inkml:trace contextRef="#ctx0" brushRef="#br0" timeOffset="41740.24">14592 7038 0,'53'0'0,"-106"0"0,145-13 0,-65 13 16,13 0-16,12-14 0,1 14 16,13-13-16,-13 13 0,27 0 0,-27-13 15,13 13-15,0 0 0,-13 0 16,0 0-16,13 0 0,-13 0 0,0 0 0,-13 0 16,26 0-1</inkml:trace>
  <inkml:trace contextRef="#ctx0" brushRef="#br0" timeOffset="42008.24">15055 7078 0,'92'-14'15,"-184"28"-15,211-28 0,-79 14 0,-1 0 16,-12 0-16,12 0 0,-12-13 0,13 13 16,-14 0-16,14 0 0,-14 0 0,1 0 15,-14 0-15,13-13 0,-12 13 0,12 0 16</inkml:trace>
  <inkml:trace contextRef="#ctx0" brushRef="#br0" timeOffset="42743.7">18547 6681 0,'40'-13'16,"-27"13"-16,27 0 15,-27-14-15,0 14 16,14 0-16,-14 0 0,13 0 0,-12 0 16,-1 0-16,0 0 0,0 0 15</inkml:trace>
  <inkml:trace contextRef="#ctx0" brushRef="#br0" timeOffset="42902.98">18587 6773 0,'26'0'31,"-12"0"-31,12 0 0,1 0 16,-14 0-16,0-13 15,0 13-15,14 0 0,-14 0 0</inkml:trace>
  <inkml:trace contextRef="#ctx0" brushRef="#br0" timeOffset="43499.32">19672 6337 0,'-13'-13'0,"26"26"0,-40-26 0,14 26 16,-13-13-16,12 13 15,-91 80 1,78-67-16,14 1 0,0-14 16,-1 0-16,1 0 0,13 0 15,-13 1-15,13-1 0,0 0 0,0 0 16,13-13-16,0 14 0,1-14 16,-1 0-16,0 0 0,14 0 0,-14 0 15,13 0-15,1 0 0,-14 0 0,13-14 16,-12 14-16,12 0 0,-13 0 0,1 0 15,-1 0-15,-13 14 0,39 12 32,-39-13-32,14 1 15,-14-1-15,0 0 16,13 0 0,0 0-16,0-13 15,1 14-15</inkml:trace>
  <inkml:trace contextRef="#ctx0" brushRef="#br0" timeOffset="44299.1">19963 6641 0,'0'-13'110,"13"0"-110,-13-1 15,0 1 1,13 0-16,-13 0 0,0-1 0,13 1 15,-13 0-15,0-13 0,14 12 16,-14 1-16,0 0 0,13 0 16,-13-1-16,0 1 0,13 0 15,-13 0-15,0-1 0,13 14 16,-26 27 15,13-14-31,0 0 16,0 1-16,0-1 15,13 0 1,1-13-16,-1 0 16,0-13-16,0 13 15,1 0-15,-1 0 16,0 0 0,-13 13-16,13-13 0,-13 13 15,13-13-15,-13 14 0,14-14 16,-14 13-1,0 0-15,13-13 0,-13 13 16,13-13-16,-13 13 16</inkml:trace>
  <inkml:trace contextRef="#ctx0" brushRef="#br0" timeOffset="44479.43">20479 6443 0,'13'-14'0,"27"14"15,-27 0 17</inkml:trace>
  <inkml:trace contextRef="#ctx0" brushRef="#br0" timeOffset="44640.21">20386 6562 0,'40'0'16,"-27"0"0,0-14-1,1 14 1</inkml:trace>
  <inkml:trace contextRef="#ctx0" brushRef="#br0" timeOffset="57832.11">3903 8824 0,'-14'26'0,"14"-12"0,-13-1 15,13 13-15,0-13 16,-13 14-16,13-14 0,-13 27 15,13-14-15,-14-12 0,14 12 0,-13-13 16,13 0-16,0 1 0,-13-1 0,13 0 16,0 0-16,-13-13 0,13 14 15,0-1-15</inkml:trace>
  <inkml:trace contextRef="#ctx0" brushRef="#br0" timeOffset="58218.18">3757 8850 0,'0'-13'15,"13"0"-15,1 13 0,-1-13 16,0 13-16,13 0 0,-12 0 0,-1 0 16,0 0-16,14 0 0,-14 0 15,0 13-15,0-13 0,-13 13 16,14-13-16,-14 13 0,0 1 0,-14-1 15,14 0-15,-13 0 16,0-13-16,0 13 0,-1 1 0,1-1 16,0-13-16,0 13 0,-1 0 0,1-13 15,0 14-15,0-1 16,0-13-16</inkml:trace>
  <inkml:trace contextRef="#ctx0" brushRef="#br0" timeOffset="58534.98">4022 8996 0,'13'0'16,"-26"0"-16,26 13 0,-13 0 16,13-13-16,-13 14 0,-13-1 15,13 0-15,0 0 0,0 0 16,0 1-16,-13-14 0,13 13 15,0 0-15,-14 0 16,1-26 15,13 0-15,0 0-16,13-1 0,-13 1 0,14 0 16,-1 0-16,-13 0 0,13-1 15,0 14-15,1-13 16,-1 13-16,0-13 0,0 13 0,14-13 0,-14 13 15,0 0-15,0-14 0,1 14 0,-1 0 16</inkml:trace>
  <inkml:trace contextRef="#ctx0" brushRef="#br0" timeOffset="58796.57">4260 8983 0,'13'0'0,"0"13"32,-13 0-32,0 0 15,0 1-15,13-14 0,-13 13 16,14-13-16,-1 0 15,0 13-15,14-26 16,-14 13 0,0-13-16,-13-1 15,13 1-15,-26-13 16,13 12-16,0 1 16,-13 13-1,0-13-15,-1 13 16,1 0-16,13 13 15,-13-13-15,13 13 0</inkml:trace>
  <inkml:trace contextRef="#ctx0" brushRef="#br0" timeOffset="59043.96">4657 8916 0,'-27'0'16,"14"14"-16,0-14 0,0 13 16,-1 0-16,1 0 0,0 1 15,0-14-15,-1 13 0,14 0 0,-13 0 16,13 1-16,0-1 16,13-13-16,-13 13 15,14-13-15,-1 13 0,0-13 16,0 0-16,1 0 0,-1 0 15,0 0-15,0 0 16,0-13-16,1 13 0</inkml:trace>
  <inkml:trace contextRef="#ctx0" brushRef="#br0" timeOffset="66191.28">3519 10888 0,'0'13'32,"0"0"-32,-13 0 0,13 1 15,0-1-15,0 13 0,-14-13 16,14 1-16,-13 12 0,13-13 0,-13 14 15,13-14-15,-13 13 0,0-12 0,13-1 16,-14 0-16,14 0 0,-13 1 16,13-1-16</inkml:trace>
  <inkml:trace contextRef="#ctx0" brushRef="#br0" timeOffset="66522.66">3691 10901 0,'0'13'47,"0"0"-47,0 1 15,0-1-15,0 0 0,0 0 16,0 0-16,0 1 0,0-1 16,0 0-16,0 0 15,0 1-15,0-1 16,-13-13-16,13 13 0,0 0 15</inkml:trace>
  <inkml:trace contextRef="#ctx0" brushRef="#br0" timeOffset="67179.38">3479 11086 0,'13'-13'0,"1"0"16,-1 13-16,0 0 15,0 0-15,1 0 0,-1 0 16,0-14-16,0 14 16,1 0-16</inkml:trace>
  <inkml:trace contextRef="#ctx0" brushRef="#br0" timeOffset="67466.2">3903 10941 0,'0'26'31,"-14"-13"-31,14 0 15,-13 1-15,13-1 16,0 0-16,-13 0 0,13 1 16,0-1-16,-13 0 0,13 0 15,0 0-15,-14 1 16,14-1-16</inkml:trace>
  <inkml:trace contextRef="#ctx0" brushRef="#br0" timeOffset="67808.22">3836 10980 0,'0'-13'0,"0"26"0,14-39 16,-1 26-16,0 13 16,0-13-16,1 0 0,-14 13 15,13 0-15,0 1 0,-13-1 16,0 0-16,13-13 0,-26 13 16,13 1-16,0-1 0,0 0 0,-13 0 15,13 0-15,-13 1 16,-1-1-16,1-13 15,13 13-15,-13-13 0,0 13 0,-1-13 16,1 0 0</inkml:trace>
  <inkml:trace contextRef="#ctx0" brushRef="#br0" timeOffset="68036.14">4075 10993 0,'13'14'16,"-26"-1"0,13 0-16,0 0 15,0 1-15,-14-1 0,14 0 0,0 0 16,-13 0-16,13 1 0,0-1 15,-13 0-15,13 0 0</inkml:trace>
  <inkml:trace contextRef="#ctx0" brushRef="#br0" timeOffset="68336">4154 10967 0,'26'0'16,"-52"0"-16,66 0 0,-27 13 15,0 0-15,0 1 16,-13-1-16,0 0 0,0 0 15,0 1-15,0-1 0,-13 0 16,13 13-16,-13-12 0,-14 12 0,1-13 16,0 14-16,-1-14 0,1 14 15,-1-14-15,1 0 0,-1 0 16,1 0-16</inkml:trace>
  <inkml:trace contextRef="#ctx0" brushRef="#br0" timeOffset="70307.87">2209 8943 0,'-39'53'16,"25"-40"-1,1 0-15,0 1 0,0-1 16,-1 0-16,1 13 0,13-12 0,-13-14 16,0 13-16,13 0 0,-13 0 15,-1 1-15,14-1 0,-13-13 16,13 13-16,13 0 16,1-13-1,-1 0 1,0 0-16,0 0 0,0 0 0,1 0 15,-1 0-15,0 0 0,0 0 16,14 0-16,-14 0 0,0 0 0,0-13 16,1 13-16,-1 0 0</inkml:trace>
  <inkml:trace contextRef="#ctx0" brushRef="#br0" timeOffset="71051.03">2434 9049 0,'-13'-13'0,"0"13"15,-1 0 1,1 0 0,13 13-16,0 0 15,0 0 16,13-13-15,1 0 0,-1 0-1,0-13-15,0 26 47,1-13-16,-1 0-15,0 0-16,0 0 16,1-13-16,-1 0 0,0 0 15,-13-1 1,13 14-16,-13-13 0,13 0 16,-13 0-16,0-1 15,0 41 16,0-14-31,0 0 0,-13 14 16,13-14-16,0 13 0,-13-12 16,13 12-16,0-13 0,-13 14 0,13-14 15,0 0-15,-13 14 0,13-14 0,0 0 16,-14 0-16,14 1 16,0-1-16,-13-13 15,13-13 16,0-14-31,13 14 16,1 0-16,-1-14 16,0 14-16,0 0 0,0 13 15,-13-13-15,14 13 0,-1 0 16,0 0 0,-13 13-16,0 0 15,-13 0 1,0-13-1,13 14-15,-14-14 16</inkml:trace>
  <inkml:trace contextRef="#ctx0" brushRef="#br0" timeOffset="71454.35">2871 8996 0,'26'-27'0,"-52"54"0,52-67 16,-13 40-16,1-13 15,-14 26 32,0 0-47,0 1 0,0-1 16,-14 0-16,14 0 0,0 1 15,0-1-15,0 0 0,-13 0 0,13 0 16,0 1-16,0-1 16,-13 0-16,13 0 0,0 1 15,0-1-15</inkml:trace>
  <inkml:trace contextRef="#ctx0" brushRef="#br0" timeOffset="71619.5">2791 9181 0,'0'0'0,"27"0"31,-14-13-31,0 13 16,1 0-16,-1 0 16,0 0-16,0 0 0,0-13 0,1 13 15</inkml:trace>
  <inkml:trace contextRef="#ctx0" brushRef="#br0" timeOffset="72334.25">1892 9737 0,'0'0'0,"-13"13"31,13 0-15,-14-13-16,14 13 0,-13 1 0,13-1 16,-13 0-16,13 0 0,-13 0 15,13 1-15,-14-14 0,14 13 0,-13 0 16,13 0-16,0 1 0,-13-14 16,13 13-16,0 0 15,13 0-15,0 1 31,1-14-31,-1 0 0,0 0 16,0 0-16,1 0 0,-1 0 16,0 0-16,13-14 0,-12 14 15,-1 0-15,0 0 0,0 0 0,14 0 16,-14-13-16</inkml:trace>
  <inkml:trace contextRef="#ctx0" brushRef="#br0" timeOffset="72736.34">2222 9816 0,'-13'-13'0,"-26"26"31,25-13-31,1 13 0,0-13 16,13 13-16,-13-13 0,13 14 15,13-1 1,-13 0-16,13-13 16,14 0-16,-14-13 15,0 13-15,0 0 16,0-13-16,1 13 16,-14-14-16,13 1 15,0 0 1,0 26 15,-26 0-15,13 1-16,0-1 0,0 0 15,0 0-15,0 1 16,0-1-16,13 0 16</inkml:trace>
  <inkml:trace contextRef="#ctx0" brushRef="#br0" timeOffset="73172.31">2474 9737 0,'0'-14'32,"-13"41"-17,13-14-15,0 0 0,-14 14 16,14-14-16,0 0 0,0 14 0,0-14 15,0 13-15,0 1 0,-13-14 0,13 14 16,0-14-16,0 0 16,0 13-16,0-12 0,0-1 0,0 0 15,-13 0-15,13 1 0,0-1 0,0 0 16,0-39 31,0 12-47,0 1 0,13-13 0,-13 12 15,0-12-15,13 13 0,1 0 16,-14-14-16,13 14 0,0 0 16,-13-1-16,13 14 0,-13-13 0,14 13 15,-1 0 1,0 0-16,-13 13 16,0 1-16,0-1 15,0 0-15,-13 0 0,13 1 16,0-1-16,-13-13 0,13 13 15,-14 0-15,1 0 0,13 1 16</inkml:trace>
  <inkml:trace contextRef="#ctx0" brushRef="#br0" timeOffset="73499.58">2712 9723 0,'0'14'16,"13"-14"-16,-13 26 15,-13-26-15,13 13 0,0 1 16,-13-1-16,0 0 0,-1 0 0,14 0 16,-13 1-16,0-14 0,0 13 0,13 0 15,-14 0-15,1 1 16,0-1-1,26 0 17,0-13-32,-13 13 0,14-13 15,-1 0-15,0 0 16,0 0-16,1 0 0,-1 0 16,0-13-16,0 13 0,0 0 15,1 0-15,-1 0 0</inkml:trace>
  <inkml:trace contextRef="#ctx0" brushRef="#br0" timeOffset="74096.97">4128 9737 0,'0'-14'15,"-14"41"1,1-14-16,13 0 15,0 1-15,-13-1 0,13 0 16,0 13-16,0-12 0,-13-1 16,13 0-16,0 0 0,0 1 0,0-1 0,0 0 15,0 0-15,0 1 16,13-1 0</inkml:trace>
  <inkml:trace contextRef="#ctx0" brushRef="#br0" timeOffset="74374.2">4114 9723 0,'0'-13'16,"0"26"-16,14-39 0,-1 26 15,13 0 1,1 0-1,-27 13-15,13 0 0,-13 1 16,0-1-16,0 0 16,0 0-16,-13 1 0,13-1 15,-14 0-15,1-13 0,13 13 16,-13-13-16,13 13 0,-13-13 0,0 0 16,13 14-16</inkml:trace>
  <inkml:trace contextRef="#ctx0" brushRef="#br0" timeOffset="74646.89">4299 9776 0,'14'14'0,"-28"-28"0,28 41 16,-1-27-16,-13 13 0,0 13 15,0-12 1,0-1-1,0 0-15,-13-13 16,13-26 15,13 26-15,-13-14-16,13 1 16,-13 0-16,13 13 0,-13-13 15,14 13-15,-1-13 0,0 13 0,0-14 16,1 14-16,-1 0 0,0-13 15</inkml:trace>
  <inkml:trace contextRef="#ctx0" brushRef="#br0" timeOffset="74927.73">4551 9750 0,'-13'26'16,"26"-52"-16,-40 66 0,27-27 16,0 0-1,0 0-15,14-13 16,-14 13-16,13-13 0,0 14 15,0-14-15,1 0 16,12 0-16,-13-14 16,0 14-16,-13-13 0,14 0 15,-14 0 1,-14 0-16,14-1 16,-13 1-16,13 0 31,-13 13-31,39 0 31,-12 0-15</inkml:trace>
  <inkml:trace contextRef="#ctx0" brushRef="#br0" timeOffset="75099.2">4802 9723 0,'-13'0'0,"26"0"0,-13 14 0,0-1 15,-13 0-15,0 0 16,13 1-16,0-1 15,-14 0-15,14 0 16,0 0-16,14 1 0,-1-1 31,0-13-31,0 0 16,1 0-16,-1-13 16,0 13-16</inkml:trace>
  <inkml:trace contextRef="#ctx0" brushRef="#br0" timeOffset="76464.2">1812 11152 0,'0'-13'31,"-13"39"1,13-12-32,0-1 0,-13 13 15,13-12-15,0-1 16,-13-13-16,13 13 0,0 0 16,0 0-1,0 1-15,13-1 0,-13 0 16,13-13-16,0 13 15,1-13 1,12 0 0,-13 0-16,1 0 0,-1 0 15,0 0-15,0-13 0,0 13 16,1 0-16</inkml:trace>
  <inkml:trace contextRef="#ctx0" brushRef="#br0" timeOffset="76812.13">2143 11192 0,'0'0'0,"-13"-13"0,0 13 16,-1 0 0,1 0-16,0 13 0,0-13 15,0 13-15,-1 0 16,1-13-16,13 14 15,0-1 1,13-13 0,1-13-1,-1 13-15,-13-14 0,13 14 16,0-13-16,0 13 31,-13 13 0,0 1-15,0-1-16,14-13 16,-14 13-16</inkml:trace>
  <inkml:trace contextRef="#ctx0" brushRef="#br0" timeOffset="77234.89">2289 11086 0,'0'0'0,"-14"13"16,1 0-1,13 1-15,0-1 0,-13 0 16,13 14-16,-13-1 0,-1 1 0,1-1 16,13 0-16,0 1 0,-13-1 0,13 1 15,-13-14-15,13 14 16,0-14-16,0 0 0,0 0 0,0 0 0,-13 1 15,13-1-15,0 0 16,0-53 15,0 27-31,13 0 0,-13-13 16,0 12-16,13-12 0,0-1 16,-13 14-16,13 0 0,1 0 0,-14-14 15,13 27-15,0-13 0,-13 0 0,13 13 16,1-13-16,-1 26 15,-13 0 1,0 0 0,-13 0-16,13 1 0,0-1 15,-14-13-15,14 26 16,-13-26-16,13 14 0,0-1 16</inkml:trace>
  <inkml:trace contextRef="#ctx0" brushRef="#br0" timeOffset="77580.2">2474 11139 0,'13'-13'15,"0"-1"1,1 14-16,-1-13 16,0 13-16,-13-13 15,13 13-15,0-13 16,1 26 15,-14 0-15,0 0-16,0 1 15,-14-1-15,14 0 0,0 0 16,0 1-16,-13-1 0,13 0 0,0 0 0,-13 1 16,13-1-16,-13 0 0,13 0 15,0 0 1</inkml:trace>
  <inkml:trace contextRef="#ctx0" brushRef="#br0" timeOffset="77738.22">2500 11351 0,'14'-27'16,"-14"14"0,13 13-16,0-13 15,0 13-15,0 0 0,1 0 16,-1-14-16,0 14 0,0 0 0,1 0 16,-1-13-16,0 13 0,0 0 0</inkml:trace>
  <inkml:trace contextRef="#ctx0" brushRef="#br0" timeOffset="78518.1">1693 11946 0,'-26'13'0,"26"0"0,-13-13 0,13 14 0,-14-14 16,14 13-16,-13-13 0,13 13 0,-13 0 15,13 1-15,-13-14 16,13 13-16,0 0 0,-13-13 0,13 13 15,0 0 1,0 1 0,13-14-16,0 13 15,0-13-15,0 0 16,1 0-16,-1 0 0,0 0 16,0 0-16,1 0 0,-1 0 0,0 0 15,0-13-15,0 13 0,1 0 0,-1 0 16,0 0-16,-13-14 0,13 14 15</inkml:trace>
  <inkml:trace contextRef="#ctx0" brushRef="#br0" timeOffset="79288.14">1931 11999 0,'-39'0'31,"26"0"-15,-1 13-1,14 0 1,14 1 0,-1-14 15,0 0-16,0-14-15,0 14 32,1 0-1,-1 0-15,0 0-1,0 0-15,1 0 0,-1-13 16,0 13-1,-13-13-15,13 13 0,-13-13 0,14 13 16,-14-14-16,0 1 0,13 0 16,-13 0-1,0-1-15,0 41 47,0-14-47,-13 14 0,13-14 16,0 0-16,-14 14 0,14-1 15,0 0-15,-13 1 0,13-1 0,0 1 16,-13-1-16,13 1 0,0-14 16,0 13-16,0-12 0,-13-1 0,13 0 15,0 0-15,0 1 16,0-54 15,13 27-31,-13-14 16,13 14-16,-13-13 0,13 12 0,1 1 15,-14-13-15,13 12 0,0 1 0,0 0 16,-13 0-16,13 13 16,1-14-16,-1 28 31,-26-1-31,13 0 16,-14 0-16,14 1 0,-13-1 15,0 0-15,0 0 16,13 1-16,-13-14 15</inkml:trace>
  <inkml:trace contextRef="#ctx0" brushRef="#br0" timeOffset="79643.3">2527 11853 0,'13'0'0,"13"27"31,-26-14-31,0 0 16,-13-13-16,13 13 0,0 1 0,-13-1 15,0 0-15,13 0 0,-13 1 0,-1-1 16,1 0-16,13 0 15,-13-13-15,13 14 16,-13-14 0,13 13-16,13 0 31,13-13-15,-12-13-16,-1 13 15,0 0-15,0 0 16,0 0-16,1-13 0,-1 13 0,0 0 15</inkml:trace>
  <inkml:trace contextRef="#ctx0" brushRef="#br0" timeOffset="80207.07">3625 11734 0,'0'27'31,"-13"-14"-31,13 0 0,0 0 0,0 1 16,-14 12-16,14-13 0,0 1 0,0 12 16,-13-13-16,13 0 0,0 1 15,0-1-15,0 0 0,0 0 0</inkml:trace>
  <inkml:trace contextRef="#ctx0" brushRef="#br0" timeOffset="80410.63">3784 11721 0,'13'-26'31,"-13"65"-15,0-12-16,0-14 0,0 0 15,0 0-15,0 1 0,0 12 16,0-13-16,0 1 0,0-1 0,0 26 15,0-25-15,0-1 16,-13-13-16</inkml:trace>
  <inkml:trace contextRef="#ctx0" brushRef="#br0" timeOffset="80609.06">3678 11906 0,'-14'0'32,"41"0"-32,-14 0 15,0 0-15,1-13 0,-1 13 16,13 0-16,-12 0 0,12-13 0,-13 13 16,14 0-16,-1-13 0</inkml:trace>
  <inkml:trace contextRef="#ctx0" brushRef="#br0" timeOffset="80784.08">4035 11800 0,'26'-26'0,"-12"26"15,-54 26-15,80-65 0,-27 39 16,-40 13 15,27 0-31,0 0 16,-13-13-16,13 14 0,0-1 0,-13 0 16,13 0-16,-13 14 0,13-14 15,0 0-15,0 0 0,-14 1 16,14-1-16,0 0 0,0 0 15,0 1-15</inkml:trace>
  <inkml:trace contextRef="#ctx0" brushRef="#br0" timeOffset="81067.53">4075 11774 0,'13'0'0,"13"0"31,-12 13-31,-1 0 0,-13 1 16,0-1-16,0 0 0,0 0 15,0 1-15,-13-1 16,13 0-16,-14 0 0,1 0 0,0 1 15,13-1-15,-13-13 16,-1 13-16,1 0 0,0-13 16,13 14-1</inkml:trace>
  <inkml:trace contextRef="#ctx0" brushRef="#br0" timeOffset="81522.42">4247 11774 0,'0'26'31,"0"-12"-31,0-1 16,-14 0-16,14 0 0,0 1 16,0-1-16,0 0 15,0 0-15,-13 0 0,13 1 16,0-1-16,13-40 47,-13 14-32,14 0-15,-14 0 0,0 0 0,0-1 16,13 1-16,-13 0 0,0 0 0,13 13 16,-13-14-16,13 14 0,-13-13 0,13 13 15,1 0 1,-1 0-16,0 13 15,0 1-15,-13-1 16,0 0 0,0 0-16,0 14 15,0-14-15,-13 0 16,13 0-16,-13-13 0,0 27 16,-1-14-16,1-13 15,0 13-15,0-13 16,0 0-1</inkml:trace>
  <inkml:trace contextRef="#ctx0" brushRef="#br0" timeOffset="81667.7">4379 11919 0</inkml:trace>
  <inkml:trace contextRef="#ctx0" brushRef="#br0" timeOffset="82867.85">5305 8956 0,'53'-26'15,"-40"26"1,0 0-16,1 0 0,-1 0 0,0 0 16,0 0-16,0 0 15</inkml:trace>
  <inkml:trace contextRef="#ctx0" brushRef="#br0" timeOffset="83040.97">5305 9062 0,'26'-13'31,"-12"13"-15,-1 0-16,0 0 0,14-13 15,-14 13-15,0 0 0,0 0 16,0-14-16</inkml:trace>
  <inkml:trace contextRef="#ctx0" brushRef="#br0" timeOffset="83827.23">5900 8771 0,'13'0'0,"-26"0"0,40-13 15,-14 13-15,0 13 0,0-13 16,1 0-16,-1 13 0,0 0 15,-13 1 1,-13-1-16,13 0 0,-13 0 16,13 1-16,-14-1 0,1 0 0,0-13 15,13 13-15,-13 0 0,-1-13 16,14 14-16,-13-14 0,0 13 16,0 0-1,39-13 16,-13 0-31,1 0 0,-1 0 16,0 0-16,0 0 0,1 0 16,12 0-16,-13 0 0,0 0 0,14-13 15,-14 13-15,0 0 0,14-13 0</inkml:trace>
  <inkml:trace contextRef="#ctx0" brushRef="#br0" timeOffset="84168.14">6310 8758 0,'-13'0'0,"26"0"0,-39 0 15,13 13-15,-1 0 16,1 0-16,13 1 0,-13-1 16,13 0-16,13 0 15,-13 1-15,13-1 16,1-13-16,-1 13 0,0-13 15,0 0-15,1 0 0,-1 0 0,0 0 16,0-13-16,0 13 16,1 0-16,-14-13 0,13 13 0,-13-14 0,13 1 15,-13 0-15,0-14 16,-13 27-16,13-13 16,-13 0-16,-1 0 15,1 13-15,0 0 0,0-14 16,0 14-16,-1 14 15</inkml:trace>
  <inkml:trace contextRef="#ctx0" brushRef="#br0" timeOffset="84458.97">6522 8771 0,'-13'13'0,"13"0"15,0 1 1,0-1-16,13 0 16,0-13-16,-13 13 0,13-13 15,1 0-15,-1 0 16,0-13-16,0 13 16,-13-13-16,14 13 0,-14-13 15,0-1-15,0 1 0,0 0 0,0 0 16,0-1-16,-14 1 15,14 0-15,-13 13 0,0 0 0,0-13 16,-1 13-16,-12 0 0,13 13 16,-27-13-16,14 13 0,-14 0 0,0 1 15,1-1-15,12 13 0,-13-12 16,14 12-16</inkml:trace>
  <inkml:trace contextRef="#ctx0" brushRef="#br0" timeOffset="84928.08">5252 9710 0,'13'0'31,"0"-13"-31,1 13 16,-1 0-16,0 0 15,14 0-15,-27 13 0,13-13 0,0 0 16,0 0-16,-13 13 16</inkml:trace>
  <inkml:trace contextRef="#ctx0" brushRef="#br0" timeOffset="85080.05">5239 9842 0,'-13'0'16,"26"0"-16,-13 14 31,13-14-31,0 0 16,0 0-16,1-14 15,-1 14-15,13 0 0,-12 0 0</inkml:trace>
  <inkml:trace contextRef="#ctx0" brushRef="#br0" timeOffset="86748.14">5953 9618 0,'40'-14'31,"-27"14"-15,0 14-16,0-1 0,1 0 16,-14 0-16,0 1 15,-14-1-15,1 0 16,13 0-16,-13 0 0,0 1 0,0-14 16,-1 13-16,1 0 0,0 0 0,0-13 15,13 14-15,-14-14 16,1 13-16,0-13 0,13 13 15,-13-13-15,39 0 32,-13 0-32,1 0 15,-1 0-15,0 0 0,0 0 0,1 0 16,-1 0-16,0 0 0,0 0 16,0-13-16,1 13 0,-1 0 0,0 0 15,0-13-15</inkml:trace>
  <inkml:trace contextRef="#ctx0" brushRef="#br0" timeOffset="87842.36">6284 9631 0,'13'0'0,"0"0"16,1 0 0,-1 0-16,-26 13 47,-1 0-47,1-13 15,0 14-15,0-14 0,-1 13 16,1-13-16,0 0 0,0 13 15,-1-13 1,14 13-16,14-13 31,-14 13-31,13-13 0,0 14 16,0-14-16,-13 13 0,14-13 16,-14 13-16,13 0 15,-26 1 1,13-1-16,-14 0 0,1 0 15,0 0-15,0-13 0,13 14 16,-14-14-16,1 0 0,0 13 16,0-13-16,0 0 0,13 13 15</inkml:trace>
  <inkml:trace contextRef="#ctx0" brushRef="#br0" timeOffset="88188.04">6522 9684 0,'-13'26'31,"13"-13"-31,0 1 16,0-1-16,0 0 0,0 0 15,13-13-15,-13 14 16,26-14-16,-12 0 16,-1 0-16,0 0 15,0-14-15,1 14 16,-1-13-16,0 0 16,-13 0-16,0-1 0,0 1 15,-13 13-15,13-13 16,-13 0-16,-1 13 0,1 0 15,0-13-15,0 13 0,-1 0 16,1 0-16,0 13 0,0-13 16,-14 13-16,14-13 0,-13 13 0</inkml:trace>
  <inkml:trace contextRef="#ctx0" brushRef="#br0" timeOffset="95079.32">5292 11020 0,'26'-13'16,"-13"13"0,1 0-16,-1 0 0,0 0 0,0 0 15,1 0-15,-1 0 0</inkml:trace>
  <inkml:trace contextRef="#ctx0" brushRef="#br0" timeOffset="95287.18">5226 11139 0,'26'13'31,"-13"-13"-31,0 0 0,1-13 16,12 13-16,-13 0 0,1 0 0,-1 0 15,0-13-15,0 13 0,14 0 16,-14 0-16</inkml:trace>
  <inkml:trace contextRef="#ctx0" brushRef="#br0" timeOffset="97438.07">6376 10874 0,'0'-13'47,"14"13"-47,-14-13 15,-14 13 17,-12 0-17,13 13-15,0-13 16,13 13-16,-14 1 16,28-1-1,-14 0-15,13-13 16,-13 13-16,13 1 0,0-14 15,-13 13-15,13 0 0,1-13 0,-14 13 16,13 0-16,0 1 0,-13-1 16,0 0-16,0 0 15,-13 1-15,0-1 16,-1-13-16,14 13 0,-13-13 16,0 0-16,0 0 15,-14 0 1,27-13-16,0 0 15,0-1-15,0 1 16,14 13-16,-14-13 0,13 0 16,0 13-16,-13-14 0,13 1 0,0 0 15,1 0-15,-14 0 16,13-1-16,-13 1 16,0 0-16,-13 0 15,-1 13-15,14-14 16,-13 14-16,0 0 15,-13 0-15,12 0 16,1 0 0,0 14-16,0-1 15</inkml:trace>
  <inkml:trace contextRef="#ctx0" brushRef="#br0" timeOffset="98118.24">5080 11893 0,'26'-13'31,"-12"13"-31,-1 0 16,0 0-16,0 0 0,1 0 16,12 0-16,1 0 15</inkml:trace>
  <inkml:trace contextRef="#ctx0" brushRef="#br0" timeOffset="98316.35">5106 12012 0,'0'13'0,"0"-26"0,27 26 0,-14-13 16,0 0-16,1 0 16,-1 0-16,0 0 0,0 0 0</inkml:trace>
  <inkml:trace contextRef="#ctx0" brushRef="#br0" timeOffset="100820.24">6310 11761 0,'0'0'0,"-26"13"15,26 0-15,-13-13 0,13 13 0,0 1 16,-14-1-16,14 0 0,-13 14 15,13-14-15,0 0 0,0 0 0,-13 0 16,13 1-16,0-1 0,0 0 0,0 0 16,13 1-16,-13-1 0,0 0 15,13-13-15,1 13 0,-1-13 16,0 14-16,0-14 16,1 0-16,-1-14 15,-26 1 16,-1 0-31,1 13 16,-13 0-16,12 0 16,1 13-16,0-13 0,0 0 15</inkml:trace>
  <inkml:trace contextRef="#ctx0" brushRef="#br0" timeOffset="106027.42">9247 8652 0,'0'0'15,"-13"26"-15,13-12 0,-13-1 0,13 13 16,-13-13-16,13 1 0,0-1 0,-14 0 16,14 0-16,0 1 0,-13-1 0,13 0 15,0 0-15,0 1 0,-13-14 16,13 13-16,0 0 31,13-39-15,-13 12-1,0 1-15,13 0 0,-13-14 0,14 1 16,-1 13-16,0-27 0,0 14 0,0-14 16,1 13-16,-1 1 0,0-1 0,0 1 15,1 13-15,-1 0 16,0-1-16,0 1 0,0 13 0,-13-13 15,14 13-15,-1 0 0,0 13 0,0-13 16,1 13-16,-14 1 16,13-1-16,-13 0 0,13 0 0,-13 14 15,0-14-15,0 13 0,0-12 0,0-1 16,0 13-16,0-12 0,0-1 0,0 13 16,0-13-16,0 1 0,0-1 15,-13 0-15,13 0 0,0 1 0,0-1 16,0 0-16,-13-13 0,13 13 0,0 1 15</inkml:trace>
  <inkml:trace contextRef="#ctx0" brushRef="#br0" timeOffset="106237.18">9168 8797 0,'13'-13'16,"0"13"-16,1 0 16,12 0-16,-13-13 0,0 13 15,14 0-15,-14 0 0,14 0 0,-14 0 16,0-13-16,13 13 0,1 0 16,-14 0-16,14 0 0,-14-14 0</inkml:trace>
  <inkml:trace contextRef="#ctx0" brushRef="#br0" timeOffset="106863.3">9776 8784 0,'-13'0'31,"26"-13"-15,-13 0-1,0-1 1,14 1-16,-14 0 16,0 0-16,13 13 15,-13-13-15,0-1 0,13 14 16,-13-13-16,0 0 0,13 0 16,-13-1-1,13 14-15,-13-13 16,14 40 15,-14-14-15,13-13-16,-13 13 15,13-13-15,14 0 16,-14 0-16,-13-13 16,13 13-16,0 0 0,1 0 15,-1-13-15,0 13 0,0 0 16,0 0-16,1 0 15,-1 0-15,-13 13 0,13-13 16,-13 13-16,0 0 0,13-13 16,-13 14-16,0-1 0,0 0 15,0 0-15,0 0 16,0 1-16,0-1 16</inkml:trace>
  <inkml:trace contextRef="#ctx0" brushRef="#br0" timeOffset="108594.34">2474 9313 0,'40'0'15,"-27"0"-15,0 0 0,0 0 16,14-13-16,-14 13 0,13 0 0,1 0 16,-14 0-16,14 0 0,-1 0 15,-13 0-15,0 0 0,1 0 16,-1 0-16,0 0 0,0 0 0</inkml:trace>
  <inkml:trace contextRef="#ctx0" brushRef="#br0" timeOffset="108779.16">2474 9406 0,'-13'0'15,"-1"0"17,41 0-32,-14 0 0,0-13 15,1 13-15,12 0 0,-13 0 0,0 0 16,14 0-16,-14-14 0,14 14 0,-1 0 15,-13 0-15,14 0 0</inkml:trace>
  <inkml:trace contextRef="#ctx0" brushRef="#br1" timeOffset="118055.18">6800 8824 0,'26'-13'31,"-13"-1"-31,14 1 16,-14 0-16,0 0 0,1 13 16,-1-14-16,0 1 0,14 13 15,-14-13-15,0 0 0,0 13 0,0-13 16,1 13-16,-14-14 0,13 14 0,0 0 16,-13-13-16,13 13 0,1-13 15,-1 13 1,-26 26 31</inkml:trace>
  <inkml:trace contextRef="#ctx0" brushRef="#br1" timeOffset="118828.43">6601 10927 0,'14'-13'16,"-1"13"-16,-13-13 0,13 13 15,-13-13-15,13 13 0,1-14 0,-1 14 16,0-13-16,0 0 0,0 0 16,1 13-16,-1-14 0,0 1 15,0 0 1,1 13-1,-1-13 1,-13 0 15</inkml:trace>
  <inkml:trace contextRef="#ctx0" brushRef="#br1" timeOffset="119615.19">9075 9247 0,'27'0'15,"-14"13"1,0-13-16,-13 14 16,0-1-16,0 13 15,-13-26-15,13 27 0,-13-27 0,13 26 16,-14-26-16,1 27 0,-13-14 16,26 0-16,-13 0 15,-1 1-15,1-1 0,0 0 16,13 0-1,-13-13-15,26 14 16,0-14 0,0-14-16,1 14 15,-1 0-15,0 0 0,0 0 16,0-13-16,1 13 0,-1 0 0,13-13 16,-12 0-16,-1 13 0,0-14 15</inkml:trace>
  <inkml:trace contextRef="#ctx0" brushRef="#br1" timeOffset="120230.48">9353 9247 0,'-13'0'15,"0"0"1,-1 13 0,1-13-16,13 14 0,-13-1 15,13 0-15,0 0 0,0 1 16,0-1-1,0 0-15,13-13 0,-13 13 16,13-13-16,1 13 0,-1-13 16,0-13-16,0 13 15,0 0-15,1-13 16,-1 0-16,-13 0 16,0-1-16,0 1 15,0 0-15,-13 0 16,13-1-16,-14 1 15,41 26 79,-14-13-78,-13 14-1,13-1 1,-13 0-16,14-13 0,-14 13 16,13-13-16,-13 14 15,13-14-15,-13 13 0,13-13 0,1 0 16,-1 0 0,0 0-16,0 0 15,0-13-15,1 13 16,-14-14-16,13 1 0,-13 0 15,0 0 1,0-1-16,-13 14 16,-1-13-16,1 13 15,0 0-15,0 0 16,0 13-16,-1-13 16</inkml:trace>
  <inkml:trace contextRef="#ctx0" brushRef="#br1" timeOffset="120467.13">9750 9194 0,'13'-13'31,"0"26"-31,1 1 16,-14-1-16,13-13 0,-13 13 0,0 0 15,13 0-15,-13 1 0,0-1 16,0 0-16,13 0 0,-13 1 16,0-1-16,0 0 0,0 0 0,0 0 15,13 1-15,-13-1 16</inkml:trace>
  <inkml:trace contextRef="#ctx0" brushRef="#br1" timeOffset="120662.13">9710 9327 0,'0'-14'0,"0"1"16,13 13 0,1 0-16,-1-13 0,0 13 15,0 0-15,1 0 16,-1 0-16,0 0 0,0-13 15,0 13-15,1 0 0</inkml:trace>
  <inkml:trace contextRef="#ctx0" brushRef="#br1" timeOffset="121275.07">10107 9168 0,'-40'0'16,"27"0"-16,0-13 0,0 13 15,-1 13 1,1-13 0,13 13-16,0 0 15,13 1 1,-13-1-16,0 0 15,0 0-15,0 0 0,-13 1 16,0-1 0,13 0-16,-13-13 0,0 13 15,-1-13-15,14 14 0,-13-14 16,26-14 15,1 1-15,-1 13-16,0-13 0,0 13 0,0-13 15,1-1-15,-1 14 0,0-13 16,0 0-16,-13 0 0,14 13 0,-14-13 16,13-1-16,-13 1 0,0 0 15,0 0 1,-13 13-16,13-14 0,-14 14 16,1 0-16,0 0 0,0 0 15,-1 14 1,1-14-16,0 13 0,0 0 15,0-13-15</inkml:trace>
  <inkml:trace contextRef="#ctx0" brushRef="#br1" timeOffset="121667.39">9022 9697 0,'106'-26'31,"-79"26"-31,12-14 0,1 14 0,0 0 0,-1-13 16,-12 13-16,12 0 0,1-13 0,-13 13 15,-1 0-15,14-13 0,-14 13 16,1-14-16,-1 14 0,1 0 16,-14 0-16,13-13 0,-12 13 0,-1 0 15,0 0-15,0-13 0,0 13 0,1 0 16,-1 0-16,-13 13 31</inkml:trace>
  <inkml:trace contextRef="#ctx0" brushRef="#br1" timeOffset="122075.19">9432 9803 0,'40'-13'31,"-27"13"-31,1 13 0,-1-13 16,0 0-16,-13 13 0,13 0 15,-13 0-15,0 1 16,-13-1-16,13 0 15,-13 0-15,0 1 16,13-1-16,-14-13 0,14 13 0,-13-13 16,13 13-16,-13 1 15,26-1 17,0-13-32,1 0 15,12 0 1,-13 0-16,14-13 15,-14 13-15,0 0 16,0 0 0</inkml:trace>
  <inkml:trace contextRef="#ctx0" brushRef="#br1" timeOffset="123550.74">9194 11112 0,'0'-13'0,"14"13"16,-1 0-16,0 0 15,0 0-15,0 13 0,1-13 16,-1 14-16,-13-1 0,13-13 0,-13 13 16,0 0-16,0 1 0,0-1 15,-13 0-15,0 0 0,13 1 0,-14-1 16,1 0-16,0 0 0,0 0 0,0 1 15,-1-14-15,1 13 16,13 0-16,-13-13 0,0 13 16,-1-13-16,14 14 15,-13-14-15,40 0 32,-1 0-32,-13 0 15,1 0-15,-1-14 16,0 14-16,0 0 0,0 0 0,1-13 15,-1 13-15,0-13 0,0 13 16,1-13-16</inkml:trace>
  <inkml:trace contextRef="#ctx0" brushRef="#br1" timeOffset="123927.8">9538 11126 0,'0'-14'0,"-13"28"47,-13-14-47,26 13 0,-14-13 0,1 13 16,0-13-1,13 13-15,-13-13 16,13 14 0,13-1-16,-13 0 31,13-13-31,-13 13 16,0 1-16,-13-1 15,0 0-15,-1 0 16,1-13-16,13 13 0,-13-13 15,13 14-15,-13-14 0,-1 13 16</inkml:trace>
  <inkml:trace contextRef="#ctx0" brushRef="#br1" timeOffset="124229.33">9578 11165 0,'13'27'32,"-13"-14"-17,13-13 1,-13 13-16,14-13 16,-1 0-16,0 0 15,0-13-15,1 13 16,-1-13-16,-13 0 15,0-14 1,-13 27-16,-1-13 16,1 13-16,13-13 15,-26 13-15,26 13 16,-14-13-16,1 0 16</inkml:trace>
  <inkml:trace contextRef="#ctx0" brushRef="#br1" timeOffset="124442.69">9882 11033 0,'13'13'15,"-13"14"1,-13-14-1,13 0-15,0 0 0,0 1 16,0-1-16,0 0 0,-13 0 0,13 1 16,0-1-16,0 0 0,0 0 15,0 1-15</inkml:trace>
  <inkml:trace contextRef="#ctx0" brushRef="#br1" timeOffset="124631.29">9776 11165 0,'14'-13'31,"-1"13"-31,-13-13 0,13 13 16,0 0-16,0 0 0,1 0 0,-1 0 15,0 0-15,0-13 16,1 13-16</inkml:trace>
  <inkml:trace contextRef="#ctx0" brushRef="#br1" timeOffset="125431.35">10173 11020 0,'-13'0'32,"0"0"-17,0 0 1,-1 0 0,1 0-1,26 13 16,-13 0-31,0 1 0,0-1 16,14-13-16,-14 13 0,0 0 0,0 0 16,0 1-16,0-1 15,-14 0-15,14 0 0,0 1 0,-13-1 16,0 0-16,13 0 0,-13-13 16,13 14-16,-14-14 0,14-27 46,14 27-30,-1-13-16,0 0 0,0-1 16,1 1-16,-1 0 0,0 0 15,0-1-15,-13 1 0,13 0 16,-13 0-16,0 0 0,14 13 0,-14-14 16,0 1-16,0 0 0,0 0 15,0-1-15,-14 14 16,14-13-16,-13 13 0,0 0 15,0 13-15,0-13 16,-1 14-16,1-1 16,0-13-16,0 13 0</inkml:trace>
  <inkml:trace contextRef="#ctx0" brushRef="#br1" timeOffset="125927.77">8996 11708 0,'0'0'0,"40"0"16,-27 0-1,26-13-15,1 13 0,0-14 16,13 14-16,0-13 0,0 13 0,-1-13 16,1 13-16,0-13 0,0-1 0,13 14 15,-13-13-15,0 0 0,0 0 16,-13 0-16,13 13 0,-14-14 0,-12 1 16,-1 13-16,-12 0 0,12-13 0,-13 13 15,0 0-15,1-13 16,-1 13-16,-40 26 31,14-26-15,0 13-16</inkml:trace>
  <inkml:trace contextRef="#ctx0" brushRef="#br1" timeOffset="126574.29">9419 11999 0,'0'0'15,"13"-13"-15,1 13 0,-1-14 16,0 14-16,0 0 16,1 0-16,-1 0 15,0 14 1,-13-1-16,0 0 15,-13 0 1,13 1-16,-40 25 16,27-39-16,13 13 15,-27 1-15,14-1 16,0 0 0,26 0 15,0-13-31,1 0 0,-1-13 15,0 13-15,0 0 0,1 0 16,-1-13-16,0 13 0,0-13 16,14-1-16,-14 14 0,0-13 0,0 0 15,14 0-15,-14-14 0</inkml:trace>
  <inkml:trace contextRef="#ctx0" brushRef="#br1" timeOffset="127294.11">10398 9472 0,'27'0'0,"-14"0"0,27-13 15,-27 13-15,0 0 16,0 0-16</inkml:trace>
  <inkml:trace contextRef="#ctx0" brushRef="#br1" timeOffset="127454.54">10372 9657 0,'79'-26'16,"-39"13"-1,-27 13-15,13 0 16</inkml:trace>
  <inkml:trace contextRef="#ctx0" brushRef="#br1" timeOffset="128114.23">10464 11351 0,'0'0'0,"14"0"15,-1 0-15,0-14 0,0 14 16,0 0 0,1 0-16,-1 0 15</inkml:trace>
  <inkml:trace contextRef="#ctx0" brushRef="#br1" timeOffset="128322.29">10451 11470 0,'27'0'46,"-14"-14"-30,0 14-16,0-13 16,0 13-16,-13-13 15,14 0-15</inkml:trace>
  <inkml:trace contextRef="#ctx0" brushRef="#br1" timeOffset="129838.13">10993 9313 0,'-13'66'16,"13"-52"-1,0 12-15,0-13 0,0 1 16,-13-1-16,13 0 0,0 0 0,0 1 16,0-1-16,0 0 0,-13 0 15,13 0-15</inkml:trace>
  <inkml:trace contextRef="#ctx0" brushRef="#br1" timeOffset="130158.4">11099 9366 0,'-13'40'16,"13"-14"0,13-12-16,-13-1 0,13 0 15,-13 0-15,14-13 16,-14 14-16,13-14 0,0 0 0,0 13 15,1-13-15,-1 0 0,0 0 0,0-13 16,1 13-16,-1-14 16,0 14-16,-13-13 15,0 0-15,0 0 0,0-1 0,0 1 16,0 0 0,-13 13-16,0-13 0,-1 13 15,1-14-15,-13 14 16,12 14-16,1-14 15,13 13 1</inkml:trace>
  <inkml:trace contextRef="#ctx0" brushRef="#br1" timeOffset="130491.11">11602 9313 0,'0'0'0,"-13"27"32,0-14-32,-1 0 0,1 0 15,0 1-15,0-1 0,-1 0 0,1 0 16,0 1-16,0-1 16,13 0-16,-14-13 0,1 13 0,0 1 15,26-1 16,0-13-15,14 0-16,-14 0 16,0 0-16,1 0 15,-1 0-15,0 0 0,0 0 16,14 0-16,-14-13 16,0 13-1</inkml:trace>
  <inkml:trace contextRef="#ctx0" brushRef="#br1" timeOffset="130687.02">11589 9313 0,'-27'14'16,"27"-1"-16,-13 0 15,13 0-15,-13 0 0,13 14 16,-13-1-16,13 1 0,-14-14 0,1 27 15,0-14-15,13 1 0,-13-14 0,13 13 16,-14 1-16,14-14 0,-13 14 16,13-14-16,-13 0 0,13 0 0</inkml:trace>
  <inkml:trace contextRef="#ctx0" brushRef="#br1" timeOffset="131952.22">11020 11086 0,'0'-13'0,"-13"26"94,13 0-94,0 0 0,-14 1 16,14-1-16,0 0 0,-13 14 15,13-14-15,-13 0 0,13 0 16,-13 14-16,13-14 0,0 0 0,-13 0 15,13 1-15,0-1 0,-14 0 0,14 0 16,0 1-16,0-1 16,-13-13-16,13 13 15</inkml:trace>
  <inkml:trace contextRef="#ctx0" brushRef="#br1" timeOffset="133148.65">11218 11205 0,'40'-13'15,"-40"0"-15,13 13 16,0 0-16,1 13 16,-1-13-1,-13 13-15,-13 0 16,13 1-16,-14-1 0,14 0 16,-13-13-16,0 13 0,13 0 0,-13-13 15,0 14-15,-1-1 16,1 0-16,0 0 15,13 1 1,13-1 15,0-13-15,1 0-16,-1-13 16,0 13-16,0 0 0,0 0 0,1 0 15,-1 0-15,0 0 0,0-14 16,1 14-16,-1 0 15,0-13-15</inkml:trace>
  <inkml:trace contextRef="#ctx0" brushRef="#br1" timeOffset="133875.9">11681 11152 0,'-13'0'31,"0"-13"-31,0 26 31,-1-13-15,14 13-1,0 1 1,0-1 0,0 0-1,14 0-15,-14 1 16,0-1-16,-14-13 0,14 13 0,0 0 15,-13 0-15,13 1 16,-13-14-16,0 13 16,0 0-1,39-39 17,-13 26-32,-13-14 15,13 14-15,1-13 16,-1 13-16,-13-13 0,13 0 0,0 0 15,1-1-15,-14 1 0,0 0 16,13 13-16,-13-13 0,0-1 16,-13 1-16,13 0 15,-14 13-15,1-13 0,0 13 16,-14 0 0,14 0-1,0 13-15,0-13 0</inkml:trace>
  <inkml:trace contextRef="#ctx0" brushRef="#br1" timeOffset="138735.31">10993 11615 0,'27'-13'31,"-14"13"-31,0 0 16,1 0-16,12 0 0,-13 0 15,14 0-15,-1 0 0,1 0 0,-1 0 16,1 0-16,-1-13 0,0 13 0,1 0 15,-1 0-15,-12 0 0,12 0 16,-13 0-16,1 0 0,-1 0 0,0 0 16,0 0-16,0 13 0,1-13 31,-28 13-31,1-13 16,0 0-16,0 13 0,-14-13 0</inkml:trace>
  <inkml:trace contextRef="#ctx0" brushRef="#br1" timeOffset="138957.31">10967 11734 0,'-26'0'16,"52"14"-1,-13-14-15,0 0 16,1 0-16,-1 0 0,13 0 16,1 0-16,-1-14 0,-13 14 0,14 0 15,-1 0-15,1 0 0,-1 0 0,1 0 16,-1 0-16,-13 0 0,14 0 15,-14 0-15,0-13 0,1 13 16,-1 0-16,13 0 16</inkml:trace>
  <inkml:trace contextRef="#ctx0" brushRef="#br1" timeOffset="140695.23">11734 10861 0,'53'0'31,"-40"0"-31,1 0 16,-1 0-16,0 0 0,0 13 15,1-13-15,-1 0 16,-13 14-16,13-14 0,-13 13 15,13 0-15,-13 0 0,13 1 16,-13-1-16,0 13 0,0-13 0,14 14 16,-14-1-16,0 1 0,0-1 15,0 14-15,0-14 0,0 1 0,0-1 16,0 1-16,0-1 0,0 1 0,0-1 16,0 1-16,-14-1 0,14 1 15,0-14-15,-13 0 0,13 13 0,-13-12 16,13-1-16,-13 0 0,0 0 15,13 1-15,-14-1 0,1 0 0,0-13 16,0 13-16,-1-13 0,1 0 0,0 0 16,0 0-16,0-13 15,-1 13-15</inkml:trace>
  <inkml:trace contextRef="#ctx0" brushRef="#br1" timeOffset="141442.37">11615 9009 0,'13'-13'31,"1"13"-15,-1 0-16,0 0 0,0-13 16,1 13-16,-1 0 0,0 0 0,0 0 15,1 0-15,-1 13 0,0-13 16,0 0-16,0 0 0,1 13 15,-1 0-15,0 1 0,-13-1 16,0 0-16,13 0 0,-13 0 0,0 1 16,0-1-16,0 0 0,0 14 15,14-14-15,-14 13 0,0 1 0,0-1 16,0-13-16,0 27 0,0-13 0,0-1 16,13-13-16,-13 14 0,0-1 15,0 1-15,0-1 0,0-13 0,0 14 16,0-14-16,0 0 0,0 14 0,0-14 15,-13 0-15,13 0 0,-14 1 16,1-1-16,0 0 0,0-13 16,-1 13-16,1-13 0,0 14 0,0-14 0,0 0 15</inkml:trace>
  <inkml:trace contextRef="#ctx0" brushRef="#br1" timeOffset="142098.24">9618 8903 0,'-14'0'16,"41"13"15,-14-13-31,0 0 15,1 0-15,-1-13 16,0 13-16,0 0 0,0 0 0,14 0 16,-14-13-16,14 13 0,-14 0 0,13 0 15,-13-13-15,1 13 16,-1 0-16,0 0 16</inkml:trace>
  <inkml:trace contextRef="#ctx0" brushRef="#br1" timeOffset="142299.19">9551 8969 0,'67'-13'15,"-54"13"-15,0-13 16,14 13-16,-1 0 0,0 0 15,-12-13-15,12 13 0,1 0 0,-14-14 16,13 14-16,1 0 0,-14 0 0</inkml:trace>
  <inkml:trace contextRef="#ctx0" brushRef="#br2" timeOffset="147288.57">15055 8109 0,'-40'0'0,"-26"67"31,53-41-31,-14 1 0,14-1 0,0 0 0,0-12 16,-1 12-16,1 1 16,13-14-16,0 0 0,0 0 0,0 1 15,13-14-15,1 0 0,-1 13 16,0-26-16,0 13 0,14 0 0,-1-14 15,14 1-15,-14 0 0,1 0 0,-1-1 16,-13 1-16,14 13 0,-14-13 16,0 13-16,1 0 0,-1 0 0,0 0 15,0 0-15,1 13 16,-14 0-16,0 1 0,0-1 16,0 0-16,0 0 0,0 1 15,0-1-15,0 0 0,0 0 16,0 0-16,13 1 15,0-14 1</inkml:trace>
  <inkml:trace contextRef="#ctx0" brushRef="#br2" timeOffset="147802.93">15452 8348 0,'-14'-14'31,"28"1"-31,-14 0 0,0 0 16,13-1-16,-13 1 0,0 0 15,13 0-15,-13 0 0,0-1 16,13 1-16,1 0 16,-14 0-16,13 26 31,-13 0-16,0 0-15,0 1 16,13-14-16,0 0 16,14 0-16,-14 0 15,0-14-15,0 14 0,1-13 0,-1 13 16,0 0-16,0 0 0,1 0 0,-1 0 16,-13 13-16,13-13 15,-13 14-15,0-1 0,13 0 16,-13 0-16,0 0 15,0 1-15,0-1 0,0 0 0,0 0 16,0 1-16,0-1 0,0 0 16,-13-13-16</inkml:trace>
  <inkml:trace contextRef="#ctx0" brushRef="#br2" timeOffset="149506.67">14856 9287 0,'27'-13'0,"26"13"15,-40 0 1,0 0-16,0 0 0,-13 13 0,14-13 16,-14 13-16,13-13 0,-13 13 0,-13 1 15,13-1-15,-14 0 0,1 0 16,13 0-16,-13 1 16,-14-1-16,14 0 0,0-13 0,0 13 15,0 1-15,-1-14 0,14 13 0,-13-13 16,0 13-16,0-13 15,52 0 17,-25 0-32,-14-13 0,26 13 15,-13 0-15,0 0 0,1 0 16,-1-13-16,13 13 0,-12 0 0,12-14 16,-13 14-16,14 0 0,-1-13 0,-13 0 15,14 13-15,-1-13 0,-12-1 16,12 14-16</inkml:trace>
  <inkml:trace contextRef="#ctx0" brushRef="#br2" timeOffset="149818.51">15319 9260 0,'-26'-13'31,"13"13"-31,-1 0 16,14 13-16,-13-13 0,0 14 15,13-1-15,0 0 16,0 0-16,0 1 0,13-14 15,-13 13-15,13 0 0,-13 0 0,14-13 16,-1 13-16,0-13 0,0 0 0,1 0 16,-14 14-16,13-28 0,13 14 15,-12 0-15,-14-13 16,0 0-16,13 13 16,-26-26-16,13 12 0,-14 14 15,14-13-15,-13 13 16,13-13-16,-13 13 0,13-13 0,-13 13 15,-1 0-15,1 0 16</inkml:trace>
  <inkml:trace contextRef="#ctx0" brushRef="#br2" timeOffset="150252.65">15558 9208 0,'0'26'32,"0"-13"-32,-14-13 15,14 13-15,0 1 0,-13-1 16,13 0-16,0 0 0,-13 1 16,13-1-16,0 0 0,0 0 15,0 0 1,0 1-16,13-1 15,0-13 17,1 0-32,-1 0 15,0 0-15,0-13 16,0 13-16,1 0 0,-1-14 16,0 1-1,0 0 1,-13 0-16,0 0 15,0-1-15,-13 1 16,0 0-16,13 0 16,-13 13-16,13-14 0,-14 14 0,1-13 15,0 13-15,0 0 16,0 0-16,-1 0 16,14 13-1</inkml:trace>
  <inkml:trace contextRef="#ctx0" brushRef="#br2" timeOffset="150475.28">15928 9221 0,'0'0'15,"13"0"-15,-26 26 31,0-13-31,13 1 16,-14-14-16,1 26 0,0-13 16,0 1-16,0 12 0,-1-13 0,14 0 15,-13 1-15,0-1 0,13 13 16,-13-12-16,-1-1 0,14 0 16</inkml:trace>
  <inkml:trace contextRef="#ctx0" brushRef="#br2" timeOffset="150691.37">15796 9313 0,'26'14'31,"-26"-1"-15,13 0-16,-13 0 0,14-13 15,-14 13-15,13-13 16,-13 14-16,13-14 0,0 0 0,0 0 16,1 13-16,-1-13 0</inkml:trace>
  <inkml:trace contextRef="#ctx0" brushRef="#br2" timeOffset="151432.46">16391 9234 0,'-13'-13'32,"-1"13"-32,1-13 15,0 13 1,0 0-16,0 0 16,-1 0-16,1 0 15,0 0 1,13 13-1,13 0 1,-13 0-16,0 0 16,0 1-16,13-1 0,-13 0 15,-13 0-15,13 1 16,-13-1-16,13 0 0,-13-13 16,-1 13-16,14 0 0,-13-13 0,0 0 15,13 14-15,-13-14 0,-1 13 31,41-40-15,-14 27-16,-13-13 16,13 13-16,1-13 0,-1 13 15,0-13-15,0 0 0,-13-1 0,14 1 16,-1 0-16,0 0 0,-13-1 16,13 1-16,-13 0 0,0 0 15,0 0-15,0-1 0,-13 1 16,13 0-16,-13 13 0,13-13 15,-13 13-15,-1 0 0,1 0 0,-13 0 0,12 0 16,-12 0-16,13 0 0,-27 13 16,14-13-16</inkml:trace>
  <inkml:trace contextRef="#ctx0" brushRef="#br2" timeOffset="152226.24">14393 9485 0,'14'27'0,"12"12"31,-26-25-31,13-1 0,-13 0 0,13 0 16,1 1-16,-1-1 15,0-13-15,0 13 16,1-13 0,-1-13-16,0 0 0,-13-1 15,13-12-15,-13 13 0,0-14 16,0 14-16,0-13 0,-13-14 0,13 13 16,-13-12-16,13-1 0,-13 0 0,13 1 15,-14-1-15,14 14 0,0-1 16,0 1-16,0 12 0,14-12 0,-14-1 15,13 14-15,13-13 0,1-1 0,12 14 16,1 0-16,0 0 0,26-1 0,0 1 16,0 0-16,14 13 0,-1-13 15,0 13-15,14 0 0,0-14 0,12 14 16,1 0-16,13-13 0,-13 13 16,0 0-16,-13-13 0,12 13 15,-12 0-15,0-13 0,-1 13 0,-26 0 16,1 0-16,-15-13 0,1 13 0,-26 0 15,-1 0-15,1 0 0,-14 0 16,0-14-16,0 14 0,-39 0 31,0 0-31,-14 0 16,0 0-16,-13 14 0,0-14 0,0 13 16,-13-13-16</inkml:trace>
  <inkml:trace contextRef="#ctx0" brushRef="#br2" timeOffset="153019.21">14221 9168 0,'40'13'32,"-40"0"-17,0 1 1,0-1-16,0 0 15,-13-13-15,13 13 0,-13 0 16,13 1-16,-14-1 16,14 0-1,14-13 1,12-13-16,-13 13 16,1 0-16,-1-13 0,0 13 0,13 0 15,1-14-15,-1 14 0,1 0 16,-1-13-16,1 13 0,-1 0 0,1 0 15</inkml:trace>
  <inkml:trace contextRef="#ctx0" brushRef="#br2" timeOffset="154675.07">14393 11523 0,'0'0'15,"14"13"17,-14 0-32,13 0 0,-13 1 0,13-1 15,-13 0-15,13 13 0,0-12 0,1-1 16,-14 13-16,13-12 0,0-1 16,0 0-16,1 0 0,-1-13 0,0 14 15,0-1-15,1-13 0,12-13 16,-26-1-1,13 1-15,0 0 0,1 0 0,-14-14 16,13-13-16,-13 1 0,0-1 16,13 0-16,-13-13 0,-13 14 0,13-14 15,0 0-15,-13 13 0,13-13 16,0 14-16,0-1 0,0 13 0,0 1 16,0 0-16,13-1 0,-13 14 15,13 0-15,14-14 0,-14 14 0,27 0 16,-14 13-16,27-13 0,-13-1 0,26 14 15,0-13-15,13 13 0,1-13 0,-1 13 16,0-13-16,14-1 0,0 14 16,-14-13-16,14 0 0,-1 0 0,-12-1 15,12 1-15,-12 0 0,12 0 0,-13 0 16,1 13-16,-1-14 16,1 1-16,-27 0 0,-1 0 0,-12-1 15,-13 14-15,-1-13 0,1 13 0,-14 0 16,0-13-16,-66 26 31,13 0-31,1 1 0,-14-14 16</inkml:trace>
  <inkml:trace contextRef="#ctx0" brushRef="#br2" timeOffset="155519.34">14975 11404 0,'27'-14'15,"26"28"17,-40-1-32,-13 0 0,0 0 15,-13 0-15,0 1 16,-1 12-16,1-13 0,0 1 0,0-1 16,-1 0-16,1 0 0,0 1 0,0-1 15,-1-13-15,1 13 0,0 0 16,0 0-1,39-13 17,-13 0-32,1 0 15,-1 0-15,0-13 0,0 13 0,1 0 16,-1 0-16,0-13 0,0 13 16,1 0-16,-1 0 15,0-13-15,0 13 16,0 0-16</inkml:trace>
  <inkml:trace contextRef="#ctx0" brushRef="#br2" timeOffset="155971.56">15505 11417 0,'0'-13'0,"-14"13"47,-12 0-32,13 13 1,-1-13-16,1 0 0,0 13 15,0-13-15,0 0 16,13 13 0,0 0-1,13-13-15,-13 14 0,13-14 16,-13 13-16,13-13 0,-13 13 16,13-13-16,-13 13 15,14 1-15,-14-1 16,-14 0-16,1 0 15,0 1-15,0-1 0,-14-13 16,14 13-16,0-13 16,0 0-16,-14 13 0,14-13 0,0 13 15,-1-13-15</inkml:trace>
  <inkml:trace contextRef="#ctx0" brushRef="#br2" timeOffset="156262.91">15571 11430 0,'0'0'0,"0"26"16,-13-12 0,13-1-16,0 0 0,0 0 15,0 1-15,0-1 0,0 0 16,13 0-16,-13 1 0,13-14 15,0 13-15,0-13 16,1 0-16,12 0 0,-13-13 16,1 13-16,-1-14 0,-13 1 15,13 0-15,-13 0 16,-13-1-16,13 1 0,-13-13 0,-14 12 16,1-12-16,-14 0 0,0-1 0,-26 14 15,13 0-15,-13-14 0,0 14 16,-13 0-16</inkml:trace>
  <inkml:trace contextRef="#ctx0" brushRef="#br2" timeOffset="157840.19">10147 11073 0,'-13'-13'0,"13"-1"15,0 1 1,13 13-16,-13-13 16,13 0-16,-13-1 0,13 14 15,-13-13-15,13 0 0,1 0 16,-1 0-16,-13-1 0,13 1 16,0 0-16,-13 0 0,14 13 0,-14-14 15,13 1-15,0 0 16,-39 26 15,12 0-15,14 1-16,-13-14 0,0 13 15,0 13-15,13-12 0,-14-1 0,-12 13 16,13 1-16,13-1 0,-13-13 16,-1 14-16,1-1 0,0 1 0,13-1 15,-13 1-15,13-14 0,0 0 16,0 0-16,0 1 0,0-1 0,0 0 15,13 0-15,-13 0 0,13 1 0,0-14 16,1 13-16,-1-13 0,0 0 16,0 0-16,0-13 0,1 13 15,-1-14-15,0 1 0,14 13 0,-14-13 16,0 0-16,-13 0 0,13-1 0,1 14 16,-14-13-16,0 0 0,0 0 15,0-1-15,-14 1 16,14 0-16,-13 13 0,0-13 0,0 13 15,-1-14-15,1 14 0,0 0 16,0 0-16,-1 0 0,1 0 16,0 0-16,0 0 0,13 14 0,-13-14 15,13 13-15,-14-13 0,14 13 16,-13-13-16</inkml:trace>
  <inkml:trace contextRef="#ctx0" brushRef="#br2" timeOffset="158371.19">10186 11139 0,'14'-13'16,"-1"26"0,0-13-1,-13 13-15,13-13 16,-13 13-16,14 1 0,-14-1 15,0 0-15,13 0 0,-13 1 16,0-1-16,-13 0 0,13 0 16,0 0-16,-14 1 0,14-1 0,-13 0 15,13 0-15,-13 1 0,0-14 0,-1 13 16,1-13-16,0 13 16,0-13-16,0-13 15,-1 0-15,14-1 16,-13 1-16,13 0 0,0 0 15,-13-14-15,13 14 0,0-13 0,13 12 16,-13-12-16,0-1 0,13 1 0,-13 13 16,14-14-16,-1 1 0,0 13 15,-13-14-15,13 14 0,0-14 0,1 14 16,-1 0-16,0-13 0,0 12 0,1 1 16,-1 0-16,0 0 0,0 13 15,1-14-15,-14 1 0</inkml:trace>
  <inkml:trace contextRef="#ctx0" brushRef="#br2" timeOffset="163402.43">16219 11258 0,'0'-13'0,"0"52"15,-13-25 1,13-1-16,-14 0 0,1 14 0,13-14 16,-13 13-16,13-12 0,-13 12 0,0-13 15,13 14-15,-14-14 0,1 13 16,13-12-16,-13-1 0,0 0 0,13 0 15,-14-13-15,14 14 0</inkml:trace>
  <inkml:trace contextRef="#ctx0" brushRef="#br2" timeOffset="163638.87">16021 11417 0,'0'0'0,"0"-13"0,13 13 15,0 0 1,0 0-16,0 0 16,1 13-16,-1-13 0,0 13 15,0-13-15,1 0 0,-1 13 16,0-13-16,0 13 0,0-13 16,1 14-16,-1-1 15,0-13-15,0 13 16,1-13-16</inkml:trace>
  <inkml:trace contextRef="#ctx0" brushRef="#br2" timeOffset="164052">16603 11218 0,'-27'14'0,"1"12"31,26-13-31,-14 0 0,1 14 0,13-14 15,-13 14-15,13-14 0,0 0 0,0 14 16,-13-14-16,26 0 0,-13 0 16,0 0-16,13 1 15,0-14-15,1 0 0,-14 13 16,26-26-16,-13 13 16,1-14-16,-14 1 15,0 0 1,-14 0-16,1 0 0,0 13 15,-14 0-15,14-14 0,-13 14 16,-1 0-16,14 0 0,-27 0 0,1 14 16</inkml:trace>
  <inkml:trace contextRef="#ctx0" brushRef="#br2" timeOffset="164785.17">14288 11139 0,'13'0'16,"-26"0"-16,39 13 15,-13 0 1,-26 1-16,0-1 0,13 0 15,-13 0-15,13 1 0,-14-1 0,1 0 16,0 0-16,13 0 0,-13-13 16,-1 14-16,14-1 0,-13-13 15,13 13-15,13-13 32,1 0-17,-1 0-15,0 0 0,-13-13 0,27 13 16,-14 0-16,0-13 15,0 13-15,14-14 0,-14 14 16</inkml:trace>
  <inkml:trace contextRef="#ctx0" brushRef="#br2" timeOffset="165371.13">17171 9260 0,'40'-13'16,"-27"13"-16,54 0 31,-54 0-31</inkml:trace>
  <inkml:trace contextRef="#ctx0" brushRef="#br2" timeOffset="165511.14">17224 9340 0,'14'0'32,"12"0"-32,-13 0 0,1 0 0,-1 0 15,0 0-15,0 0 0,0 0 0,14 0 16,-14 13-16</inkml:trace>
  <inkml:trace contextRef="#ctx0" brushRef="#br2" timeOffset="166008.29">17145 11284 0,'79'0'16,"-65"0"-1,-1 0-15</inkml:trace>
  <inkml:trace contextRef="#ctx0" brushRef="#br2" timeOffset="166152.79">17224 11404 0,'53'-14'15</inkml:trace>
  <inkml:trace contextRef="#ctx0" brushRef="#br2" timeOffset="188464.3">18455 9049 0,'-27'0'15,"14"13"1,0-13-16,0 13 0,-1-13 0,1 13 15,0 1-15,-14-1 0,14-13 16,0 13-16,0 0 0,-1-13 0,1 14 16,0-14-16,0 13 0,0 0 0,-1 0 15,14 1 1,0-1 0,14 0-16,-1 0 15,0-13-15,13 0 0,-12 0 0,12 13 16,-13-13-16,14 0 0,-1 0 15,1 0-15,-14 0 0,13 0 16,1 0-16,-14 0 0,14 0 0,-14 0 16,0 0-16,0-13 0,1 13 0,-1 0 15,0-13-15</inkml:trace>
  <inkml:trace contextRef="#ctx0" brushRef="#br2" timeOffset="188703.13">18534 9075 0,'0'0'0,"-13"13"32,0 1-32,13-1 15,-14 0-15,14 0 0,-13 1 16,13-1-16,-13 13 0,0-12 15,13-1-15,-14 0 0,1 13 0,13-12 16,-13-1-16,0 0 0,13 0 0,-13 1 16,13-1-16,-14 0 0</inkml:trace>
  <inkml:trace contextRef="#ctx0" brushRef="#br2" timeOffset="189067.19">18719 9102 0,'-13'0'16,"-13"26"15,12-13-31,14 1 0,-13 12 0,13-13 16,0 1-16,0-1 0,0 0 15,0 0-15,13 0 0,-13 1 16,14-14-16,-1 13 0,0-13 16,0 0-16,0 0 0,1 0 0,-1 0 15,0-13-15,14 13 0,-14 0 16,0-14-16,0 1 0,1 0 0,-14 0 16,13 0-16,-13-1 0,13 1 0,-13 0 15,0 0-15,0-1 0,-13 1 16,13 0-16,-13 0 0,-1 13 15,1-14-15,0 14 0,0-13 0,-14 13 16,14 0-16,-14 0 0,14 0 0,-13 0 16,-1 13-16,1-13 15,13 0-15</inkml:trace>
  <inkml:trace contextRef="#ctx0" brushRef="#br2" timeOffset="208195.99">17859 11827 0,'14'-13'0,"-1"-1"16,13 14 0,-12 0-16,-1 0 15,-13 14-15,13-14 0,0 13 16,-13 0-16,0 0 16,0 1-16,-13-1 15,13 0-15,0 0 16,-13-13-16,13 13 15,13 1 1,0-14-16,-13 13 16,13-13-16,1 0 0,-1 13 0,0 0 15,0-13-15,-13 14 0,14-1 16,-14 0 0,0 0-16,-14-13 15,14 14-15,-13-14 0,13 13 0,-13 0 16,0-13-16,-1 0 0,1 13 0,0-13 15,0 13-15,0-13 0,-1 0 16,1 0-16,0 0 0</inkml:trace>
  <inkml:trace contextRef="#ctx0" brushRef="#br2" timeOffset="209081.2">18362 11800 0,'0'-13'31,"-26"13"-15,12 0-1,1 0 1,0 0-16,0 13 16,-1-13-16,1 0 15,13 14-15,-13-14 16,13 13-16,13 0 15,-13 0-15,0 1 16,13-1-16,-13 0 0,0 0 16,14 0-16,-14 1 0,0-1 15,0 0-15,0 0 0,0 1 0,-14 12 16,14-13-16,-13-13 0,13 14 16,-13-1-16,0 0 0,0-13 15,13 13-15,-14-13 0,1 0 16,13 13-16,-13-13 0,0 0 15,39-26 17,-13 13-32,1 0 0,12-1 15,-13 1-15,0 0 0,1 0 0,-1-1 16,0 1-16,-13 0 0,13-14 16,1 14-16,-14 0 0,0 0 0,0 0 15,0-1-15,0 1 0,0 0 16,0 0-16,-14-1 0,1 1 15,13 0-15,-13 13 16,0-13-16,-1 13 16,1 13-1</inkml:trace>
  <inkml:trace contextRef="#ctx0" brushRef="#br2" timeOffset="209238.27">18521 11867 0,'0'13'0,"13"-13"31</inkml:trace>
  <inkml:trace contextRef="#ctx0" brushRef="#br2" timeOffset="209590.34">18627 11748 0,'13'-14'31,"13"14"-31,-12 14 16,-1-14-16,0 0 16,0 13-16,0 0 0,1-13 15,-14 13-15,0 0 0,13 1 16,-13-1-16,0 0 0,0 0 0,13 1 15,-13-1-15,0 0 0,0 0 0,0 0 16,0 1-16,0-1 0,0 0 16,-13 0-16,13 1 0,0-1 15,0 0-15,-13-13 0,13 13 16</inkml:trace>
  <inkml:trace contextRef="#ctx0" brushRef="#br2" timeOffset="209796.11">18521 12012 0,'26'-13'31,"-12"13"-31,-1 0 16,0-13-16,13 13 0,-12 0 0,12 0 0,1-14 15,-14 14-15,13 0 16,1 0-16,-14 0 0,13 0 0,-12 0 15,-1 0-15,0 0 0,0 0 0,1 14 16</inkml:trace>
  <inkml:trace contextRef="#ctx0" brushRef="#br2" timeOffset="210064.1">17754 12290 0,'0'0'0,"39"0"15,-12 0 1,-1-13-16,27 13 0,-13 0 0,13-14 16,13 14-16,-13 0 0,13-13 0,0 13 15,-13-13-15,13 13 0,-13 0 16,-13-13-16,13 13 0,-14 0 0,-12 0 15,-1-13-15,1 13 0,-14 0 0,13 0 16,-12 0-16,-1 0 16,0 0-16</inkml:trace>
  <inkml:trace contextRef="#ctx0" brushRef="#br2" timeOffset="210321.37">17965 12356 0,'106'0'31,"-79"-13"-31,25 13 0,-12-13 16,13 13-16,0 0 0,0-14 0,0 14 16,0-13-16,-14 0 0,1 13 15,0 0-15,-14-13 0,1 13 0,12 0 16,-25-14-16,12 14 0,-13 0 15,0-13-15,1 13 0,-1 0 0,0 0 16,0-13-16,1 13 16,-1 0-16,-13-13 0,13 0 15</inkml:trace>
  <inkml:trace contextRef="#ctx0" brushRef="#br2" timeOffset="-209596.75">4035 9221 0,'40'0'31,"-27"0"-15,0 0-16,0 0 0,14 0 0,-1 13 16,1-26-16,12 13 0,-12 0 15,12 0-15,-12 0 0,-1 0 0,1 0 16,-1-13-16,-12 13 0,-1 0 0,0 0 16,0 0-16,0 0 0,1 0 15,-54 13 1,27-13-1,0 13-15</inkml:trace>
  <inkml:trace contextRef="#ctx0" brushRef="#br2" timeOffset="-209364.79">4154 9300 0,'-93'27'15,"54"-27"1,171-27-16,-278 54 0,133-27 0,53 0 31,-14 0-31,1 0 0,-1-14 16,1 14-16,26 0 15,-14 0-15,1-13 0,13 13 0,-13 0 16,-1-13-16,-12 13 0,12 0 0,-12 0 16,-1 0-16,-12 0 0,12 0 0,-13 0 15,1-13-15,12 13 0,-13 0 16,0 0-16,1 0 0,-14 13 31</inkml:trace>
  <inkml:trace contextRef="#ctx0" brushRef="#br2" timeOffset="-208861.65">4313 10107 0,'26'0'16,"-13"0"0,14 0-16,-14 0 15,14 0-15,12-13 0,-12 13 0,-1 0 16,1 0-16,12-13 0,-12 13 0,-14 0 16,13-14-16,-12 14 0,-1 0 15,0 0-15,0 0 0,1 0 0,-1 0 16</inkml:trace>
  <inkml:trace contextRef="#ctx0" brushRef="#br2" timeOffset="-208629.56">4313 10200 0,'0'13'16,"0"-26"-16,13 26 15,0-13 1,0 0-16,14 0 0,-14 0 0,14-13 15,-1 13-15,14 0 0,-14 0 0,1 0 16,12-14-16,-12 14 0,-1 0 16,1 0-16,-1 0 0,1 0 0,-14 0 15,0 0-15,0 0 0,0-13 0,1 13 16,-14 13-16,13-13 16</inkml:trace>
  <inkml:trace contextRef="#ctx0" brushRef="#br2" timeOffset="-207857.67">3678 11337 0,'13'0'0,"0"0"16,0 0-16,1-13 0,12 13 15,146-13 1,-132 13-16,-14 0 16,1 0-16,-1-13 0,1 13 0,-14 0 15,13 0-15,-12 0 0,-1 0 16,0 0-16,0 0 0</inkml:trace>
  <inkml:trace contextRef="#ctx0" brushRef="#br2" timeOffset="-207623.73">3744 11443 0,'40'-13'31,"-27"13"-31,13 0 0,1-13 0,-1 13 16,1-13-16,-1 13 0,1 0 16,-1-14-16,0 14 0,14 0 0,-27-13 15,14 13-15,-14 0 0,14-13 16,-14 13-16,0 0 0,0 0 0,0 0 16,1 0-1,-14 13-15</inkml:trace>
  <inkml:trace contextRef="#ctx0" brushRef="#br2" timeOffset="-207180.47">3810 12330 0,'40'-14'32,"-27"14"-32,0 0 0,14 0 15,-14-13-15,13 13 0,1 0 0,-1-13 16,1 13-16,-1-13 0,1 13 15,-1 0-15,-13-14 0,14 14 0,-14 0 16,0-13-16,0 13 0,1 0 16,-1 0-16</inkml:trace>
  <inkml:trace contextRef="#ctx0" brushRef="#br2" timeOffset="-206571.57">3717 12528 0,'0'0'0,"14"13"16,-1-13-16,13 0 15,-12-13-15,12 13 0,0 0 16,-12-13-16,12 13 0,1 0 0,-1-13 16,1-1-16,-1 14 0,0-13 15,1 13-15,-1-13 0,1 13 0,-14-13 16,14 13-16,-14-14 0,0 14 0,0 0 15,0-13-15,1 13 16,-1 0-16,0 0 0,-13-13 16,13 13-16,1 0 15,-1 0 17,-13-13-17,13 13 1,0 13 46,-39-26 157</inkml:trace>
  <inkml:trace contextRef="#ctx0" brushRef="#br2" timeOffset="-205002.42">6284 9102 0,'26'0'31,"-12"0"-31,-1 0 15,0 0-15,13 0 0,-12 0 16,12 0-16,-13 0 0,14 0 0,-1 0 16,-12 0-16,12-14 0,-13 14 0,0 0 15,1 0-15,-1 0 0,0-13 16,-39 26 0,12 1-1,1-14-15,-13 13 0,-1-13 16,1 13-16,13-13 0,-14 13 15,1-13-15,12 14 0,1-14 0,0 0 0,0 0 16,0 0-16,13 13 16,-14-13-16,54 0 15,-27 0 1,0 0-16,1 0 0,12 0 16,1 0-16,-14 0 0,13 0 0,1 0 15,-14 13-15,0-13 0</inkml:trace>
  <inkml:trace contextRef="#ctx0" brushRef="#br2" timeOffset="-204639.33">6099 10253 0,'26'0'16,"-13"0"-1,1-14-15,12 14 0,-13 0 0,0 0 16,14-13-16,-14 13 0,0-13 16,1 13-16,-1 0 0</inkml:trace>
  <inkml:trace contextRef="#ctx0" brushRef="#br2" timeOffset="-204506.62">6112 10319 0,'-13'0'0,"26"0"0,0 0 16,0 0 0,1 0-16,12-13 0,-13 13 15</inkml:trace>
  <inkml:trace contextRef="#ctx0" brushRef="#br2" timeOffset="-204113.15">6337 11456 0,'13'-13'0,"0"13"16,0 0-16,1-13 0,39 0 15,-40 13-15,0 0 16,0-13-16</inkml:trace>
  <inkml:trace contextRef="#ctx0" brushRef="#br2" timeOffset="-203938.58">6350 11536 0,'26'0'15,"-12"0"-15,-1 0 16,-13-13-16,13 13 0,0 13 16,1-13-16</inkml:trace>
  <inkml:trace contextRef="#ctx0" brushRef="#br2" timeOffset="-203678.53">6165 12330 0,'-13'0'0,"52"-14"46,-26 14-46,1 0 16,-14-13-16,13 13 0,0 0 16,0 0-16,-13-13 0,14 13 15</inkml:trace>
  <inkml:trace contextRef="#ctx0" brushRef="#br2" timeOffset="-203507.37">6138 12502 0,'0'0'0,"27"-14"47,-14 14-47,0-13 16,0 13-16,1 0 15</inkml:trace>
  <inkml:trace contextRef="#ctx0" brushRef="#br2" timeOffset="-201758.18">6191 8586 0,'-13'13'15,"39"-40"32,1 14-47,-1 0 16,14-13-16,0-1 0,-1 1 0,14-14 16,14 14-16,-15-1 0,15-13 15,-1 14-15,26-14 0,14 1 16,0-1-16,0 13 0,0 1 0,13-14 0,0 14 15,13-14-15,-13 14 0,13-1 16,1 1-16,12-1 0,1 1 16,-1-1-16,1 1 0,13 13 0,-1-14 0,1 14 15,0 0-15,0 0 16,-1 13-16,1-14 0,0 14 0,0-13 16,-1 13-16,1 13 0,0-13 0,0 0 15,-1 14-15,-12-14 0,13 13 16,-14 0-16,14 0 0,-14 0 0,1 14 15,-1-14-15,-12 0 0,-1 14 0,14-14 16,-14 14-16,0-14 0,-13 13 16,0-13-16,14 14 0,-28-14 15,-12 0-15,0 1 0,-14 12 0,0-13 16,1 0-16,-1 1 0,-13-1 0,0 0 16,-13 0-16,0 1 0,-13-1 15,0-13-15,-14 13 0,0-13 0,1 13 16,-14-13-16,0 0 0,1 14 0,-1-14 15,0 0 1</inkml:trace>
  <inkml:trace contextRef="#ctx0" brushRef="#br2" timeOffset="-201317.68">13838 8057 0,'0'13'0,"0"13"16,13-26-1,-13 13-15,13-13 0,0 14 16,1-1-16,-1 0 0,0-13 0,14 13 15,-14 1-15,0-1 0,0-13 0,0 13 16,1 0-16,-1 1 0,0-14 16,0 13-16,1 0 0,-1-13 0,-13 13 15,13-13-15,-13 13 0,13-13 16,-13 14-16,0-1 16,-13 0-16,13 0 15,-26 1-15,-1-1 0,1 0 0,-14 14 16,0-14-16,1 0 0,-14 13 0,13 1 15,-13-1-15,0 1 0,0-1 16,-13 1-16,13-1 0,0 1 0,0-1 16,0 14-16</inkml:trace>
  <inkml:trace contextRef="#ctx0" brushRef="#br2" timeOffset="-198578.54">8890 9247 0,'-13'66'0,"26"-132"0,-26 146 0,13-67 15,0 13-15,13-13 0,0 14 16,0-14-16,1 0 0,-1 14 0,13-1 15,14-12-15,-13 12 0,-1-13 16,14-13-16</inkml:trace>
  <inkml:trace contextRef="#ctx0" brushRef="#br2" timeOffset="-198292.02">9710 9155 0,'66'39'0,"-52"-25"16,-14-1-16,13 0 0,-13 13 0,0-12 16,13 12-16,-13-13 0,0 14 0,0-14 15,0 13-15,0-12 0</inkml:trace>
  <inkml:trace contextRef="#ctx0" brushRef="#br2" timeOffset="-198009.53">10028 9287 0,'0'40'16,"0"52"0,0-79-1</inkml:trace>
  <inkml:trace contextRef="#ctx0" brushRef="#br2" timeOffset="-197753.63">10319 9168 0,'0'132'32,"0"-105"-32,0-1 15,-13 0-15,-1 1 0</inkml:trace>
  <inkml:trace contextRef="#ctx0" brushRef="#br2" timeOffset="-197068.2">8983 11245 0,'-27'26'0,"27"-13"0,0 1 0,-13-1 15,13 13-15,-13-12 0,13-1 0,0 13 16,0-12-16,0 12 0,0-13 15,0 0-15,13 14 0,0-14 16,-13 0-16,13 1 0,14-1 0,-14 0 16</inkml:trace>
  <inkml:trace contextRef="#ctx0" brushRef="#br2" timeOffset="-196713.27">9644 11099 0,'27'40'0,"-14"-27"16,-13 0-16,0 1 0,13 25 15,-13-12-15,0-14 0,-13 13 16,13 1-16,-13 13 0,-40 105 31</inkml:trace>
  <inkml:trace contextRef="#ctx0" brushRef="#br2" timeOffset="-196256.85">10120 11086 0,'-39'198'31,"39"-171"-31,13-1 0,-13 1 0,0-14 16,13 14-16,0-14 0,1 0 15</inkml:trace>
  <inkml:trace contextRef="#ctx0" brushRef="#br2" timeOffset="-195877.37">10398 10861 0,'27'27'0,"-14"-14"0,-13 13 15,26 1-15,-26-1 0,27 133 32,-27-119-32,-13-1 0,-1 14 0,-12 0 15,-1 0-15,1 0 0</inkml:trace>
  <inkml:trace contextRef="#ctx0" brushRef="#br2" timeOffset="-172516.46">20876 873 0,'0'27'31,"0"-14"-31,0 13 0,0-13 16,13 14-16,-13-14 15,0 14-15,0-1 0,0-13 0,0 14 16,13-14-16,-13 13 0,0-12 0,0-1 16,0 0-16,0 0 0,0 1 15,0-1-15,0 0 16,0-39-1,0-1-15,0 1 16,0-1-16,0-12 0,0-1 16,0-13-16,13 26 0,-13-25 0,0 12 15,14 0-15,-14 1 0,13 12 0,-13 14 16,13-14-16,-13 14 0,13 0 0,0 0 16,1 13-16,-1 13 15,0 0-15,0 0 0,1 1 16,-1 12-16,0 1 0,0-1 0,1 14 15,-14-14-15,13-13 0,-13 14 16,13-1-16,-13-13 0,13 1 0,-13-1 16,0 13-16,13-12 0,-13-1 15,0 0-15,0 0 0,14 1 0,-14-1 16,0 0-16,0 0 16</inkml:trace>
  <inkml:trace contextRef="#ctx0" brushRef="#br2" timeOffset="-172326.57">20889 1151 0,'0'0'0,"-13"0"0,13-13 15,13-1 1,0 1-16,0 0 16,1 0-16,12 0 0,0-1 15,1 1-15,13 0 0,-14 0 0,1-1 16,-1 1-16,0 13 0,1-13 0,-14 13 15,14-13-15,-14 13 0,0 0 16,0 0-16,0 0 0,1 0 0</inkml:trace>
  <inkml:trace contextRef="#ctx0" brushRef="#br2" timeOffset="-171876.67">21444 1019 0,'-26'-14'31,"26"1"-15,0 0-16,-13 0 0,13-1 15,0 1-15,0 0 0,0 0 16,0 0-16,0-1 15,0 1-15,0 0 16,13 26 15,0-13-31,-13 13 16,13-13-16,1 14 16,12-14-16,-13-14 15,1 14-15,-1-13 16,0 13-16,0-13 0,1 0 15,-1 13-15,-13-14 16,13 14-16,0 0 16,0 14-16,1-1 15,-14 0 1,13-13-16,-13 13 0,13 1 16,0-1-16,1-13 15,-1 13-15</inkml:trace>
  <inkml:trace contextRef="#ctx0" brushRef="#br2" timeOffset="-171672.67">22013 833 0,'0'0'0,"0"-13"0,14 0 15,-1 13-15,0-13 16,0 13-16,0 0 16</inkml:trace>
  <inkml:trace contextRef="#ctx0" brushRef="#br2" timeOffset="-171537.36">21987 926 0,'-13'0'0,"39"0"47,-13-13-47,1 13 0,-1 0 15,0-13-15,0 13 0,0-14 0,1 14 16,-1 0-16</inkml:trace>
  <inkml:trace contextRef="#ctx0" brushRef="#br2" timeOffset="-171280.46">22635 489 0,'0'-13'0,"13"26"32,-13 1-17,14-1-15,-14 0 0,13 14 16,-13-14-16,0 0 0,13 14 0,-13-14 15,0 0-15,13 13 0,-13-12 0,0-1 16,13 0-16,-13 0 0,0 1 16,0-1-16,14 0 0,-14 0 0,0 1 15,13-1-15,-13 0 16</inkml:trace>
  <inkml:trace contextRef="#ctx0" brushRef="#br2" timeOffset="-171027.44">22490 741 0,'0'0'0,"39"-27"16,-26 27-16,14-13 0,-14 13 16,14-13-16,-1 13 0,14-13 15,-14-1-15,14 1 0,-14 13 0,1-13 16,-1 13-16,1-13 0,-14 13 0,13 0 15,-12-13-15,-1 13 0,0 0 16,0-14-16,1 14 0,-1 0 16,-26 14 15,13-1-31,-14-13 0</inkml:trace>
  <inkml:trace contextRef="#ctx0" brushRef="#br2" timeOffset="-170000.38">21140 2064 0,'0'-13'16,"0"26"-16,-13-26 0,0 13 15,0 13-15,-1 0 16,14 0-16,-26 0 0,13 1 16,-1 12-16,1-13 0,0 14 0,13-14 15,-13 13-15,-1-12 0,14-1 0,0 0 16,-13 0-16,13 1 0,13-14 16,14 0-1,-14-14-15,14 14 0,-14-13 0,0 13 16,14-13-16,-14 13 0,0-13 15,0 13-15,14-14 0,-14 14 0,0 0 16,0 0-16,1 0 0,-1 14 16,0-14-16,0 13 15,0-13-15,1 13 0,-14 0 0,13-13 16,-13 14-16,13-14 0,0 13 0,-13 0 16,14-13-16,-1 13 0,0 1 15,0-14-15</inkml:trace>
  <inkml:trace contextRef="#ctx0" brushRef="#br2" timeOffset="-169368.6">21497 2222 0,'0'-13'31,"0"0"-31,0 0 16,0 0-16,0-1 0,-13 1 15,26 0-15,-13 0 0,0-1 16,0 1-16,0 0 0,0 0 15,0 0 1,14 13 0,-1 13-1,0 0-15,0 0 16,1-13-16,-1 0 16,0 0-1,0 0-15,0 0 0,-13-13 16,14 13-16,-1 0 0,-13-13 0,13 13 15,0 0 1,1 0-16,-1 0 16,0 0-16,-13 13 0,13-13 0,1 13 15,-1 0 1,0-13-16,-13 14 16,13-14-16,-13 13 0,13-13 0,1 0 15,-1 0-15</inkml:trace>
  <inkml:trace contextRef="#ctx0" brushRef="#br2" timeOffset="-169163.43">22146 1984 0,'-14'-13'0,"41"0"16,-14 0 0,0 13-16,1 0 0,-1-14 0,0 14 15,0 0-15</inkml:trace>
  <inkml:trace contextRef="#ctx0" brushRef="#br2" timeOffset="-168973.37">22132 2103 0,'-13'0'0,"40"-13"31,12 0-15,-25 13-16,-1-13 15,26 0-15,1-1 16,-27 1-16,1 13 15,-1-13-15</inkml:trace>
  <inkml:trace contextRef="#ctx0" brushRef="#br2" timeOffset="-168637.38">23164 1640 0,'-13'14'31,"13"-1"-31,-13 0 0,13 0 16,-13 14-16,-1 12 15,1-25-15,0 12 0,0 14 16,-14 0-16,27-27 16,-13 13-16,13-13 15</inkml:trace>
  <inkml:trace contextRef="#ctx0" brushRef="#br2" timeOffset="-168400.57">22953 1773 0,'0'0'0,"13"0"15,0 0-15,0 13 0,1-13 16,12 0-16,-13 0 0,14 13 16,-14-13-16,13 13 0,1 1 0,-1-14 15,1 13-15,-14 0 0,13-13 16,-12 13-16,-1-13 0,0 14 0,0-14 16</inkml:trace>
  <inkml:trace contextRef="#ctx0" brushRef="#br2" timeOffset="-167320.52">22662 1998 0,'13'13'62,"0"0"-62,0-26 31,-13 0-31,13 13 16,-13-14-16,0 1 0,0-13 16,0 12-16,0-12 0,0 13 15,-13-14-15,13-12 0,-13-1 0,0 13 16,13 1-16,-13 0 0,13-1 0,-14 14 16,14-14-16,-13 14 0,13-13 15,0 13-15,-13-1 0,13 1 16,13 0-16,-13 0 0,0-1 0,13 1 15,1 0-15,-1 0 0,53-40 16,-26 26-16,13 1 0,-14 13 16,14-14-16,0 14 0,0-14 0,-13 14 15,-1 0-15,1 13 0,-13-13 0,12 0 16,-26-1-16,14 14 0,-14 0 16,0-13-16,1 13 0,-1 0 0,0-13 15,0 13-15,0 0 16,1-13-1,-1 13 1,0 0 203,-13 13-204,-13 0 17</inkml:trace>
  <inkml:trace contextRef="#ctx0" brushRef="#br2" timeOffset="-165636.49">21153 3479 0,'14'-26'0,"-28"52"0,41-52 0,-14 13 16,0 26-1,1 0-15,-14 0 16,13 0-16,-13 14 0,13-1 16,0 1-16,-13 13 0,0-1 0,13-12 0,-13-1 15,0 1-15,0 12 0,0-12 16,0-1-16,0 1 0,0-14 16,0 13-16,0-12 0,0-1 0,0 13 15,0-12-15,0-1 0,14-13 16,-1-13-1,0 13-15,0-14 0,1-12 16,-1-1-16,0 1 0,0-1 0,14-12 16,-14 12-16,0-12 0,0-14 0,1 13 15,-1 0-15,0 14 0,-13-14 16,13 14-16,-13-1 0,14 14 0,-14 0 16,0 0-16,0-1 0,13 14 15,0 27 1,-13-14-16,0 0 0,0 14 15,13-14-15,-13 13 0,0 1 16,14-14-16,-14 14 0,13-1 16,-13-13-16,13 14 0,-13-14 0,0 0 15,13 14-15,-13-14 0,13 0 16,-13 0-16,0 1 0</inkml:trace>
  <inkml:trace contextRef="#ctx0" brushRef="#br2" timeOffset="-165458.25">21180 3757 0,'-13'-13'16,"52"0"0,-25-1-16,12 14 0,0-13 15,14 0-15,-13 0 0,12 13 16,1-14-16,-14 1 0,1 13 15,-1-13-15,1 13 0,-1-13 0,1 13 0,-1 0 16</inkml:trace>
  <inkml:trace contextRef="#ctx0" brushRef="#br2" timeOffset="-165001.78">21868 3678 0,'-13'-14'15,"-1"-12"1,14 13-16,0 0 0,0-1 16,-13-12-16,13 13 0,0-1 15,0-12-15,0 13 0,0-1 16,0 1-16,0 0 0,0 0 0,0 0 15,0-1-15,13 28 32,-13-1-17,14 0-15,12 27 16,-13-40-16,1 13 16,-1-13-16,0 0 0,0 0 0,0-13 0,14 13 15,-14 0-15,0-14 0,1 14 16,-14-13-16,13 13 0,0 0 0,-13-13 15,13 13-15,0 0 0,1 0 16,-1 0 0,-13 13-16,13-13 0,0 13 15,1 1-15,-1-1 16,0-13-16,-13 13 0,13-13 16,1 13-16,-1-13 15</inkml:trace>
  <inkml:trace contextRef="#ctx0" brushRef="#br2" timeOffset="-164828.33">22397 3387 0,'13'-14'0,"-13"1"16,13 13-16,1-13 0,65-13 31,-66 26-16,0 0-15,-13 13 16</inkml:trace>
  <inkml:trace contextRef="#ctx0" brushRef="#br2" timeOffset="-164704.47">22423 3532 0,'53'-13'31,"-26"0"-31,-14-1 16</inkml:trace>
  <inkml:trace contextRef="#ctx0" brushRef="#br2" timeOffset="-164390.45">23072 3149 0,'0'0'0,"13"-14"0,0 14 0,0-13 16,1 13-16,-1 0 0,0 0 0,0 0 15,1 13-15,-1-13 0,-13 14 16,13-1-16,0 0 0,0 0 16,-13 0-16,14 1 0,-14 12 15,0-13-15,0 1 0,0-1 0,0 13 16,0-12-16,0 12 16,0-13-16,-14 14 0,14-14 0</inkml:trace>
  <inkml:trace contextRef="#ctx0" brushRef="#br2" timeOffset="-164221.75">23217 3784 0,'0'0'0,"-13"-14"47,0 1-47,13 0 15,0 0-15</inkml:trace>
</inkml:ink>
</file>

<file path=ppt/ink/ink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1:49.622"/>
    </inkml:context>
    <inkml:brush xml:id="br0">
      <inkml:brushProperty name="width" value="0.025" units="cm"/>
      <inkml:brushProperty name="height" value="0.025" units="cm"/>
      <inkml:brushProperty name="ignorePressure" value="1"/>
    </inkml:brush>
  </inkml:definitions>
  <inkml:trace contextRef="#ctx0" brushRef="#br0">1 1,'0'0</inkml:trace>
</inkml:ink>
</file>

<file path=ppt/ink/ink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29.804"/>
    </inkml:context>
    <inkml:brush xml:id="br0">
      <inkml:brushProperty name="width" value="0.025" units="cm"/>
      <inkml:brushProperty name="height" value="0.025" units="cm"/>
      <inkml:brushProperty name="ignorePressure" value="1"/>
    </inkml:brush>
  </inkml:definitions>
  <inkml:trace contextRef="#ctx0" brushRef="#br0">1 261,'289'-13,"-255"10,496-39,346-18,-462 32,103-2,-262 19,-92 2,91-9,105-2,-320 18,43-6,36-2,-16 11,-95-2,-11-2,-5-1</inkml:trace>
</inkml:ink>
</file>

<file path=ppt/ink/ink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2.088"/>
    </inkml:context>
    <inkml:brush xml:id="br0">
      <inkml:brushProperty name="width" value="0.025" units="cm"/>
      <inkml:brushProperty name="height" value="0.025" units="cm"/>
      <inkml:brushProperty name="ignorePressure" value="1"/>
    </inkml:brush>
  </inkml:definitions>
  <inkml:trace contextRef="#ctx0" brushRef="#br0">52 0,'0'3,"0"5,-4 0,0 3,-1 2,2 3,1 2,-3-3,0 0,0 1,2 0,-2 2,-1 0,1-2</inkml:trace>
</inkml:ink>
</file>

<file path=ppt/ink/ink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2.652"/>
    </inkml:context>
    <inkml:brush xml:id="br0">
      <inkml:brushProperty name="width" value="0.025" units="cm"/>
      <inkml:brushProperty name="height" value="0.025" units="cm"/>
      <inkml:brushProperty name="ignorePressure" value="1"/>
    </inkml:brush>
  </inkml:definitions>
  <inkml:trace contextRef="#ctx0" brushRef="#br0">1 1,'11'4,"0"1,0-2,1 1,-1-1,1-1,0 0,0-1,21-1,11-2,46-8,-7 0,101 7,-168 4</inkml:trace>
</inkml:ink>
</file>

<file path=ppt/ink/ink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3.536"/>
    </inkml:context>
    <inkml:brush xml:id="br0">
      <inkml:brushProperty name="width" value="0.025" units="cm"/>
      <inkml:brushProperty name="height" value="0.025" units="cm"/>
      <inkml:brushProperty name="ignorePressure" value="1"/>
    </inkml:brush>
  </inkml:definitions>
  <inkml:trace contextRef="#ctx0" brushRef="#br0">87 1,'15'0,"-5"-1,1 1,0 0,-1 1,1 0,17 5,-27-5,1-1,-1 1,1-1,-1 1,0 0,1 0,-1 0,0 0,1 0,-1 0,0 0,0 0,0 0,0 1,0-1,0 0,1 3,-1-1,-1-1,0 0,1 1,-1-1,0 0,0 1,0-1,-1 0,1 1,0-1,-1 0,0 0,1 0,-1 1,0-1,-1 2,-5 8,-1-1,1-1,-2 0,1 0,-1 0,-1-1,0 0,0-1,-1 0,-12 7,7-5,1 1,0 1,-22 24,36-36,1 1,-1-1,1 0,0 1,-1-1,1 0,0 1,0-1,-1 0,1 1,0-1,0 1,-1-1,1 1,0-1,0 1,0-1,0 1,0-1,0 0,0 1,0-1,0 1,0-1,0 1,0-1,0 1,0-1,0 1,0-1,1 1,-1-1,0 1,1 0,17 5,23-7,167-29,-187 27</inkml:trace>
</inkml:ink>
</file>

<file path=ppt/ink/ink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02:28.020"/>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brush xml:id="br2">
      <inkml:brushProperty name="width" value="0.05292" units="cm"/>
      <inkml:brushProperty name="height" value="0.05292" units="cm"/>
      <inkml:brushProperty name="color" value="#C00000"/>
    </inkml:brush>
  </inkml:definitions>
  <inkml:trace contextRef="#ctx0" brushRef="#br0">17833 516 0,'0'-13'0,"0"-1"0,-13 14 47,13 14-16,0-1-15,0 0-16,0 0 0,0 1 0,0-1 15,0 13-15,13 1 0,-13-1 0,0 1 16,0-1-16,0 1 15,0-14-15,0 13 0,0 1 0,0-14 0,0 13 16,0-12-16,-13 12 0,26-13 16,-26 1-16,13-1 0,0 0 15,0 0-15,0 0 0,13 1 32,0-28-1,-13 1-16</inkml:trace>
  <inkml:trace contextRef="#ctx0" brushRef="#br0" timeOffset="545.97">17780 503 0,'-13'0'16,"13"13"-1,-13 0-15,13 0 16,-14-13-16,14 14 0,-13-1 16,13 0-16,-13-13 0,13 13 0,-13 1 15,-1-14-15,14 13 0,-13 0 0,0 0 16,13 0-1,-13-13-15,13 14 0,-14-14 0,14 13 16,-13 0 0</inkml:trace>
  <inkml:trace contextRef="#ctx0" brushRef="#br0" timeOffset="1050.31">17820 503 0,'13'0'0,"0"0"15,0 0-15,1 13 16,-1-13-16,0 0 0,0 0 15,1 0-15,-1 13 0,0-13 16,0 0-16,0 0 16,-13 13-16,14-13 15,-1 0-15,-13 14 0</inkml:trace>
  <inkml:trace contextRef="#ctx0" brushRef="#br0" timeOffset="1592.02">18309 503 0,'-13'26'31,"13"-13"-31,0 1 0,0 12 16,0-13-16,0 14 0,0-1 15,0-13-15,0 14 0,0-1 0,0 1 16,0-14-16,0 14 0,0-14 0,0 0 16,0 0-16,0 0 0,0 1 15,0-1-15,0 0 0,13 0 16,-13 1-16</inkml:trace>
  <inkml:trace contextRef="#ctx0" brushRef="#br0" timeOffset="2461.84">18309 476 0,'0'-13'16,"-26"26"-1,12 0 1,14 1 0,-13-14-16,13 13 0,-13 0 0,0-13 15,13 13-15,-13 1 0,13-1 16,-14 0-16,1-13 0,13 13 0,-13-13 16,13 14-16,-13-1 0</inkml:trace>
  <inkml:trace contextRef="#ctx0" brushRef="#br0" timeOffset="2720.95">18283 437 0,'13'-14'0,"0"14"16,0 0-16,1 0 16,-1 0-16,-13 14 0,13-14 0,0 13 15,1-13-15,-1 13 0,0-13 0,0 13 16,0-13-16,1 13 0,-1-13 0,0 14 16,0-1-16,1-13 15,-1 0-15</inkml:trace>
  <inkml:trace contextRef="#ctx0" brushRef="#br0" timeOffset="3371.16">17489 331 0,'0'0'0,"-13"0"16,13 13-16,-14 0 15,1 0 1,13 1-16,0-1 0,0 0 16,0 0-16,-13-13 0,26 14 15,-13-1-15,0 0 16,13-13-16,1 0 16,-1 0-16,0-13 0,-13 0 15,13 13-15,-13-14 16,0 1-16,0 0 15,0 0-15,14-1 0,-14 1 16,0 0-16,-14 0 16,28 13-16,-14 26 47,13-13-47,-13 1 15,13-14-15,-13 13 0,13-13 0,1 13 16,-1 0-16,0-13 0,0 14 15,0-14-15</inkml:trace>
  <inkml:trace contextRef="#ctx0" brushRef="#br0" timeOffset="3804.08">18058 93 0,'0'26'32,"0"-13"-32,0 1 15,0 12-15,0-13 0,0 0 0,0 1 16,13-1-16,-13 0 0,0 0 15,0 1-15,0-1 0,0 0 16,0 0-16,0 1 16,13-28 15,1 1-31,-1 13 0,0 0 16,0-13-16,0 13 15,-13 13-15,14-13 16,-14 13-1,0 1-15,-14-14 16,14 13-16,-13 0 0,0 0 16,0 0-16,0-13 0,-1 14 0,14-1 15,-13-13-15,0 13 0,13 0 16</inkml:trace>
  <inkml:trace contextRef="#ctx0" brushRef="#br0" timeOffset="4261.96">17740 1151 0,'27'-13'15,"39"-27"1,-40 40-16,1-13 0,-1-14 16,14 14-16,-14 0 0,14 0 0,-13-1 15,-1 14-15,1-13 0,-14 13 0,13-13 16,-13 13-16,1 0 0,-1-13 15,0 13-15,0 0 0</inkml:trace>
  <inkml:trace contextRef="#ctx0" brushRef="#br0" timeOffset="4693.95">17727 1244 0,'66'-27'31,"-39"14"-31,-1 13 0,-13-13 0,14-1 16,13 1-16,-14 13 0,0-13 0,-12 0 15,12 13-15,1-14 0,-14 14 16,13-13-16,-12 13 0,-1 0 0,0-13 15,0 13-15,0 0 0,1-13 0,-1 13 16,0-13 0,0 13-16,1 0 15,-1 0 1,-13-14 0,13 14 15,0 0-16,0-13 17,-13 0-1,0 0-15</inkml:trace>
  <inkml:trace contextRef="#ctx0" brushRef="#br0" timeOffset="12105.71">19434 529 0,'0'-13'0,"0"53"31,0-27-16,0 0-15,0 0 0,13 14 16,-13-14-16,0 13 0,0-12 0,0 12 16,0 1-16,0-14 0,0 0 0,0 14 15,0-14-15,0 0 0,0 0 16,0 0-16,0 1 0,0-1 0,0 0 16,0 0-16,-13 1 15,13-1 1</inkml:trace>
  <inkml:trace contextRef="#ctx0" brushRef="#br0" timeOffset="12501.64">19460 556 0,'0'0'0,"0"-14"16,-13 41-1,13-14 1,-13 0-16,-1 1 0,14 12 16,-13-13-16,13 0 0,-13 1 0,13-1 15,0 0-15,-13 0 0,13 1 16,-13-1-16,13 0 15</inkml:trace>
  <inkml:trace contextRef="#ctx0" brushRef="#br0" timeOffset="12739.89">19407 595 0,'40'0'31,"-27"0"-15,0 14-16,1-14 0,-1 13 15,0-13-15,0 13 0,0-13 16,1 13-16,-1-13 15,0 0-15</inkml:trace>
  <inkml:trace contextRef="#ctx0" brushRef="#br0" timeOffset="13185.54">19831 542 0,'0'-13'0,"0"53"31,0-27-31,0 0 0,0 14 0,0-14 16,0 13-16,-14 1 0,14-14 16,0 14-16,0-1 0,0-13 0,0 14 15,0-14-15,0 0 0,0 0 0,0 1 16,0-1-16</inkml:trace>
  <inkml:trace contextRef="#ctx0" brushRef="#br0" timeOffset="13601.09">19738 820 0,'13'13'32,"0"1"-32,-13-1 15,0 0-15,14-13 0,-14 13 0,13 1 16,0-1-1,0 0 1,1-13 0,-1 0-16,0 0 0,0-13 15,0 13-15,1-13 16,-1-1-16,0 14 0,0-13 16,-13 0-16,14 0 0,-1-1 0,0 1 15,-13 0-15,13 0 0,-13 0 16,0-1-16</inkml:trace>
  <inkml:trace contextRef="#ctx0" brushRef="#br0" timeOffset="14172.09">19288 251 0,'-40'27'16,"27"-27"0,0 13-16,13 0 0,-13 1 0,13-1 15,-13 0-15,13 0 0,0 0 16,0 1-16,0-1 0,13 0 15,0 0-15,0-13 16,0 0-16,1 0 0,-1-13 16,0 13-16,0-13 0,1 0 15,-1-1-15,0 14 0,-13-26 0,13 13 0,-13 0 16,14 13-16,-14-14 0,0 1 16,0 0-16,13 0 15,-13 39 1,0-13-1,0 1-15,0-1 16,0 0-16,0 0 0,13 0 0,0 1 16,-13-1-16,13-13 0,1 13 15,-1-13-15,0 0 0</inkml:trace>
  <inkml:trace contextRef="#ctx0" brushRef="#br0" timeOffset="14584.95">19764 53 0,'-13'26'15,"13"-12"-15,0 12 16,0-13-16,0 1 0,-13-1 0,13 13 15,0-13-15,0 1 0,0-1 16,0 13-16,0-12 0,0-1 16,0 0-16,13-13 0,-13 13 15,27-13 17,-27-13-32,13 13 0,0 0 15,0-13-15,1 13 0,-1 0 16,0 0-16,0 0 15,0 0-15,1 0 0,-14 13 16,0 0 0,-14-13-16,1 14 15,13-1-15,-26-13 0,13 13 0,-1-13 16,-12 13-16,13 0 0,-1-13 16,1 14-16,-13-14 0,12 13 0,1-13 15,13 13-15</inkml:trace>
  <inkml:trace contextRef="#ctx0" brushRef="#br0" timeOffset="16868.48">21299 529 0,'0'40'32,"0"-27"-32,13 0 0,-13 1 0,0 12 15,0-13-15,0 14 0,0-14 0,0 13 16,0-12-16,0 12 0,0-13 16,13 14-16,-13-14 0,0 0 0,0 0 15,0 1-15,0-1 0,0 0 16,0 0-16</inkml:trace>
  <inkml:trace contextRef="#ctx0" brushRef="#br0" timeOffset="17270.93">21206 794 0,'-13'0'16,"26"26"-1,1-26 1,-14 13-16,0 1 0,13-1 0,0 0 15,-13 0-15,0 1 16,13-14-16,-13 13 0,13-13 0,-13 13 16,14 0-16,-1-13 15,0-13 1,0 0 0,1 0-16,-14-1 15,13 1-15,0 0 16,-13 0-16,13-1 15,-13 1-15,14 13 0,-1-13 16,0 0-16,0 13 16</inkml:trace>
  <inkml:trace contextRef="#ctx0" brushRef="#br0" timeOffset="17720.96">21802 503 0,'0'0'0,"0"26"47,0-13-47,0 1 16,0-1-16,0 13 0,0-12 0,0 12 15,0-13-15,0 14 0,0-14 16,0 13-16,0-12 0,0-1 0,0 0 16,0 0-16,0 1 0,0-1 0,0 0 15,0 0-15,0 0 0</inkml:trace>
  <inkml:trace contextRef="#ctx0" brushRef="#br0" timeOffset="18112.91">21696 781 0,'13'13'32,"0"0"-17,1 0-15,-14 0 0,13 1 16,0-1-1,0 0-15,0-13 16,-13 13-16,14-13 0,-1 0 0,13 0 16,-12-13-1,-1 13-15,0 0 0,-13-13 0,13 13 16,1-13-16,-1-1 0,0 14 16,0-13-16,-13 0 0,13 0 15,1 13-15,-14-13 0,13-1 0,-13 1 16,13 0-16,-13 0 0</inkml:trace>
  <inkml:trace contextRef="#ctx0" brushRef="#br0" timeOffset="18974.93">21008 265 0,'0'0'0,"-27"13"0,27 0 0,-13-13 0,13 13 0,0 1 31,-13-14-31,13 13 0,0 0 16,13 0-16,0-13 31,1 0-31,-1-13 16,0 0-16,-13 0 15,13 13-15,-13-14 16,0 1-16,0 0 15,14 0-15,-1 26 47,-13 0-47,0 0 16,0 1-16,13-14 16,-13 13-16,13 0 0,1 0 15,-1-13-15,0 13 0</inkml:trace>
  <inkml:trace contextRef="#ctx0" brushRef="#br0" timeOffset="19401.3">21590 53 0,'-13'40'31,"13"-27"-31,0 0 0,0 14 0,0-14 0,0 13 16,-13-13-16,13 14 0,0-14 0,0 0 15,0 1-15,0-1 0,-14-13 16,14 13-16,0 0 0,0 1 15,27-14 32,-14 0-47,0-14 16,-13 28-16,13-14 16,1 0-16,-14 13 15,-14 0 1,1 0-16,13 0 15,-13-13-15,0 0 16,13 14-16,-13-1 0,-1 0 16,14 0-16</inkml:trace>
  <inkml:trace contextRef="#ctx0" brushRef="#br0" timeOffset="19813.05">21339 1151 0,'119'-40'16,"-80"27"-1,1 0-15,13 0 0,-13-1 16,13 1-16,0 13 0,-14-13 0,14 0 16,-13-1-16,0 1 0,-14 13 0,0-13 15,-12 13-15,-1 0 0,0-13 16,0 13-16</inkml:trace>
  <inkml:trace contextRef="#ctx0" brushRef="#br0" timeOffset="20020.38">21259 1204 0,'0'0'0,"40"-13"32,-27 13-32,14-14 0,12 14 0,-12-13 15,12 0-15,1 0 0,0 13 0,0-14 16,-14 1-16,0 13 0,1-13 15,-1 13-15,1-13 0,-1 13 0,-12-13 16,-1 13-16,0 0 0</inkml:trace>
  <inkml:trace contextRef="#ctx0" brushRef="#br0" timeOffset="20539.66">19487 1177 0,'238'-79'31,"-199"66"-31,1 13 16,0-13-16,-14-1 0,1 14 16,-14-13-16,13 13 0,-12 0 0</inkml:trace>
  <inkml:trace contextRef="#ctx0" brushRef="#br0" timeOffset="20781.71">19460 1349 0,'40'-26'16,"-27"26"-16,0-13 16,14-1-16,-1 14 0,1-13 0,-14 0 15,27 0-15,-14 0 0,0 13 0,1-14 16,-1 14-16,-12-13 15,12 13-15,-13-13 0,14 13 0,-14-13 16,0 13-16,0 0 0,1-14 16,-1 14-16,0 0 0</inkml:trace>
  <inkml:trace contextRef="#ctx0" brushRef="#br0" timeOffset="26692.62">13189 2924 0,'27'0'0,"-1"0"0,-12 0 15,12 0-15,14-14 0,-1 14 0,14 0 16,0-13-16,0 13 0,27-13 16,-14 13-16,13-13 0,14 13 0,-1-13 15,1-1-15,0 14 0,12-13 0,14 13 16,-13-13-16,-13 13 0,13-13 16,13 13-16,-27-14 0,1 14 15,13-13-15,-27 13 0,14-13 0,-14 13 16,1 0-16,-1-13 0,-26 13 0,0 0 15,0 0-15,-14 0 0,1 0 16,-14 0-16,1 0 0,-14 0 0,14 0 16,-14 0-16,0 0 0,-39 0 31,-1 0-15</inkml:trace>
  <inkml:trace contextRef="#ctx0" brushRef="#br0" timeOffset="28063.15">14063 3043 0,'26'-14'0,"1"14"0,237-52 31,-171 38-31,-1 1 0,27-13 0,0 12 0,0 1 16,-13 0-16,-13 13 0,13-13 16,-14 0-16,1 13 0,0-14 15,-14 14-15,0 0 0,1-13 0,-14 13 16,0 0-16,-13 0 0,-13 0 0,-1-13 16,-12 13-16,-1 0 0,1 0 0,-14 0 15,0 0-15,0 0 0,1 0 16,-1 0-16,0 0 0,0 0 15,0 0-15,1 0 16,-1 0 15,0 0 1,0 0-17,1 0 110,-1 0 172</inkml:trace>
  <inkml:trace contextRef="#ctx0" brushRef="#br0" timeOffset="37601.07">9591 6906 0,'0'39'16,"0"-12"-16,0 12 15,0 14-15,0-13 0,0 13 16,0 0-16,0 0 0,0 0 0,0-14 16,0 14-16,0-13 0,0 13 0,0-13 15,0-14-15,0 1 0,0-1 16,0-13-16,0 0 0,0 1 16,0-1-16,0 0 0,0 0 0</inkml:trace>
  <inkml:trace contextRef="#ctx0" brushRef="#br0" timeOffset="38853.68">9631 6866 0,'172'-13'32,"-133"-1"-32,14 14 0,27-13 0,-14 0 15,13 13-15,1-13 0,-1 13 16,14-13-16,-14-1 0,14 14 0,-1-13 15,-12 0-15,12 13 0,1-13 0,-14 13 16,1-14-16,-1 14 0,0-13 16,1 13-16,-14 0 0,-13 0 15,0-13-15,0 13 0,-14 0 0,1 0 16,-14 0-16,1 0 0,-1 0 0,-12 0 16,-1 0-16,13 0 0,-12 0 15,-1 0-15,0 0 0,0 0 16,0 0-16,1 13 15,-1 0-15,-13 1 16,0-1-16,13 0 0,-13 0 0,0 14 16,13-1-16,-13 1 0,0 12 0,14 1 15,-14 0-15,0-14 0,13 14 0,-13 0 16,0-1-16,13 1 16,-13 0-16,0-14 0,13 14 0,-13-1 15,0-12-15,13-1 0,-13-12 0,0 12 16,14 1-16,-14-1 0,0-13 15,0 0-15,0 1 0,13-1 0,-13 0 16,0 0-16,-13 1 0,13-1 0,0 0 16,-14 0-16,14 1 0,-13-14 15,0 13-15,0-13 0,0 13 16,-1-13-16,-12 0 0,13 13 0,-14-13 16,1 0-16,-1 13 0,1-13 0,-14 0 15,14 0-15,-14 0 0,0 14 16,1-14-16,-14 0 0,13 0 15,-13 0-15,13 0 0,1 0 0,-14 0 16,13 13-16,-13-13 0,13 0 0,-12 0 16,12 13-16,-13-13 0,0 0 15,0 0-15,0 13 0,14-13 0,-14 0 16,13 0-16,-13 0 0,27 0 0,-14 0 16,13 0-16,-12 0 0,12 0 15,1 0-15,-1 0 0,1 0 0,-1 0 16,1 0-16,0 0 0,12 0 0,-12 0 15,-1 0-15,1 0 0,-1 0 0,14 0 16,-13 0-16,-1 0 16,14 0-16,-13 0 0,-1 0 0,14 0 15,0 0-15,-14 0 0,14 0 0,0 0 16,0 0-16,-1 0 0,-12 0 16,13 0-1,-1 0-15,1 14 0,0-14 16,0 0-1,-1 0-15,1 0 16,0 13 0,0-13 15,0 0-15,-1 0 30,1 13-14,0-13-17,0 0 1,-1-13 62,1 13-15,0 0-48,0-13 1</inkml:trace>
  <inkml:trace contextRef="#ctx0" brushRef="#br0" timeOffset="39584.04">10160 7025 0,'0'26'31,"0"-13"-31,0 14 0,-13-14 16,13 14-16,0-1 0,-13 14 0,13-1 16,0-12-16,0-1 0,-14 1 0,14-1 15,0-13-15,0 14 0,0-14 16,0 0-16,0 1 0,0-1 0,14 0 15,-14 0-15,0 0 0,13-13 16,-13 14-16,13-14 0,0 0 16,14 0-16,-14 0 15,0-14-15,0 14 0,-13-13 16,14 13-16,-1-13 0,-13 0 16,13 13-16,-13-13 0,0-1 15</inkml:trace>
  <inkml:trace contextRef="#ctx0" brushRef="#br0" timeOffset="39768.78">9975 7316 0,'0'-14'16,"13"1"0,0 13-16,0 0 0,1-13 15,-1 13-15,13-13 0,-12 13 0,12-13 16,1 13-16,-14-14 0,13 14 15,-13 0-15,14-13 0,-1 13 0,-12 0 16,12 0-16,-13 0 0,1 0 16</inkml:trace>
  <inkml:trace contextRef="#ctx0" brushRef="#br0" timeOffset="40115.71">10491 7329 0,'0'0'0,"13"-13"0,-13-1 16,0 1-16,-13-13 16,13 13-1,-13 13-15,-14 0 31,27 13-31,-13 0 0,0 0 16,13 0-16,0 1 0,0-1 16,-14-13-16,14 13 0,14 0 15,-14 1-15,13-1 0,0 0 16,0-13-16,1 0 0,-1 13 16,0-13-16,0-13 0,14 13 15,-14 0-15,13 0 0,-12-13 16,-1 13-16,0-13 0,13 13 0,-12-14 15,-1 14-15</inkml:trace>
  <inkml:trace contextRef="#ctx0" brushRef="#br0" timeOffset="40632.14">10755 7236 0,'0'-26'16,"-13"39"30,13 0-46,0 1 16,-13-1-16,13 0 0,0 0 16,-13 0-16,13 1 15,0-1-15,0 0 16,13-26 31,-13 0-47,13-1 15,-13 1-15,13 0 0,1 13 16,-14-13-16,13 13 0,-13-13 16,13 13-16,0 0 15,0 13 1,-13 0 0,14 0-16,-14 0 0,0 1 15,13-28 32,0 14-47,-13-13 0,13 13 16,-13-13-16,14 13 15,-14-13-15,13 13 0,0 0 16,0 0 0,1 0-1,-1 13-15,0-13 16,-13 13-16,13-13 0,0 0 0,1 0 15,-1 0-15,0 0 0,0 0 16</inkml:trace>
  <inkml:trace contextRef="#ctx0" brushRef="#br0" timeOffset="41078.15">11245 7038 0,'-27'40'31,"27"-27"-31,0 13 0,14-12 16,-14 12-16,0 0 0,0 1 15,0-1-15,0 1 0,0-14 0,0 13 16,0 1-16,0-14 0,0 0 0,0 1 16,13 12-1,-13-13-15,0 1 0,0-1 16,-13-40 15,13 14-31,0-13 0,0 12 0,0-12 16,0-14-16,13 1 0,-13-1 15,0 0-15,13 1 0,0-1 16,-13 13-16,13 1 0,1-1 0,-1 14 16,-13 0-16,26 0 15,-12 0-15,-1 13 0,0 13 0,0-13 16,1 13-16,-14 0 15,0 0-15,0 1 0,0 12 16,0-13-16,-14 1 0,1-1 0,0 0 16,0 14-16,-14-14 0,14 0 15,-14 0-15,14-13 0,-13 13 16,13-13-16,-1 14 0,1-14 16,0 0-16</inkml:trace>
  <inkml:trace contextRef="#ctx0" brushRef="#br0" timeOffset="44351.93">9988 7779 0,'0'-13'31,"-13"13"-31,0 0 0,-1 13 16,1 0-16,-13 0 0,-14 0 0,13 14 15,-12 13-15,-1-1 0,-13-12 0,14 26 16,-14-14-16,-27 27 0,14-13 16,-13 14-16,13-1 0,-14-13 0,14 13 15,-13 0-15,-1-13 0,1 13 0,0-13 16,-14 13-16,14-13 0,-1 0 15,14-13-15,13-1 0,0 1 16,0 0-16,-185 92 31,225-119-31,0 0 16,-1-13-16,1 0 0,0 14 16,0-14-1,13-14 1</inkml:trace>
  <inkml:trace contextRef="#ctx0" brushRef="#br0" timeOffset="45028.96">8109 8916 0,'-39'40'31,"26"-27"-31,-1 1 0,1-1 0,0 0 16,-14 14-16,1-14 0,0 13 0,-1 1 15,1-1-15,12-13 16,-12 1-16,13-1 0,13 0 0,-14 0 16,1 1-16,0-1 0,13 0 0,-13 0 15,13 0-15,-13-13 0,13 14 16,-14-1-16,14 0 0,-13-13 15,13 13-15,-13 1 16,13-1 0,13 0-1,0-26 1,1 13-16,-1 0 0,0 0 16,0 0-16,14 0 0,-14 0 0,0-13 15,14 13-15,-14 0 0,13 0 0,-12 0 16,12-14-16,-13 14 0,14 0 15,-14 0-15,0 0 0,14 0 0,-14 0 16,0 0-16,0 0 0,14 0 0,-14-13 16,13 13-16,1 0 0</inkml:trace>
  <inkml:trace contextRef="#ctx0" brushRef="#br0" timeOffset="46952.21">9062 7686 0,'13'-26'32,"-13"12"-32,13 1 15,-13 0-15,0-13 0,0 12 16,14-12-16,-14-1 0,0 1 0,0-1 16,0 1-16,0 0 0,0-1 0,13 1 15,-13 12-15,0-12 0,0 13 16,0-1-16,0 1 0,0 0 0,0 0 15,0 0-15,0-1 0,0 1 16,0 0 0,-13 26 31</inkml:trace>
  <inkml:trace contextRef="#ctx0" brushRef="#br0" timeOffset="47164.18">9102 7210 0,'-40'26'0,"27"-12"0,13-1 16,-13-13-16,-1 13 0,1 0 15,13 0-15,-13 1 0,0 12 0,13-13 0,-14 1 16,1-1-16,13 0 0,-13-13 16,13 13-16,-13 1 0,-1-1 15</inkml:trace>
  <inkml:trace contextRef="#ctx0" brushRef="#br0" timeOffset="47408.78">9022 7236 0,'14'-13'0,"-1"26"16,0-13-16,0 14 16,0-14-16,1 0 15,-1 13-15,0-13 0,0 0 0,1 13 16,-1-13-16,0 0 0,0 0 0,1 13 15,-1-13-15,0 0 0,0 13 16,0-13-16,1 14 16,-1-14-16</inkml:trace>
  <inkml:trace contextRef="#ctx0" brushRef="#br0" timeOffset="48327.87">6019 9763 0,'0'106'31,"0"-66"-31,0 13 0,0 13 15,0 0-15,0 0 0,13 0 0,-13 0 16,0 0-16,0-13 0,0-13 0,0 13 16,14-13-16,-14-1 0,0 1 15,13 0-15,-13-27 0,0 13 0,0-12 16,0-1-16,13 0 0</inkml:trace>
  <inkml:trace contextRef="#ctx0" brushRef="#br0" timeOffset="50568.63">5940 9869 0,'13'0'0,"0"0"0,1 0 16,25-13 0,-26 13-16,14-14 0,-1 14 0,1-13 15,13 13-15,-1-13 0,1 0 16,0 13-16,13-13 0,-14-1 0,14 14 15,-13-13-15,13 0 0,0 0 0,0-1 16,13 1-16,-13 0 0,13 0 16,0 0-16,0-1 0,0 1 0,0 0 15,1 0-15,12-1 0,-26 14 0,0-13 16,13 0-16,-13 0 0,-14 13 16,14-14-16,0 1 0,-13 13 0,13-13 15,-13 0-15,13 13 0,-14-13 0,14 13 16,-13-14-16,0 14 0,-1 0 15,-12-13-15,-1 13 0,1-13 0,-1 13 16,0-13-16,1 13 0,-1 0 0,1-14 16,-14 14-16,14-13 15,-14 13-15,13 0 0,-13 0 0,14-13 16,-14 13-16,14 0 0,-14-13 0,0 13 16,14-14-16,-14 14 0,13 0 15,-13 0-15,1-13 0,12 13 0,-13 0 16,1-13-16,12 13 0,-13 0 0,0 0 15,1-13-15,-1 13 0,0 0 0,0 0 16,1-13-16,-1 13 0,0 0 16,0 0-16,1 0 0,-1 0 15,-13-14-15,13 14 16,0 0 0,0 14 30,-13-1-46,0 0 16,0 13 0,0-12-16,0 12 0,0-13 0,0 14 15,0-14-15,0 14 0,0-14 0,0 13 16,0 1-16,0-1 0,0-13 0,0 14 16,0-1-16,0 1 0,0-1 15,0-13-15,14 14 0,-14-1 16,0 1-16,13-14 0,-13 13 0,0-12 15,13 12-15,-13 1 0,0-14 0,13 13 16,-13-12-16,0 12 0,14-13 16,-14 14-16,13-14 0,-13 0 0,0 14 15,0-14-15,13 0 0,-13 14 0,0-14 16,13 0-16,-13 0 0,0 0 16,0 1-16,14-1 0,-14 0 0,0 0 15,0 1-15,13-1 0,-13 0 0,0 0 16,0 1-16,13-14 15,-13 13-15,0 0 0,0 0 16,0 0-16,0 1 16,13-14-1,-13 13-15,0 0 16,0 0 0,-13-13-1,13 14 1,-13-14 15,0 13-31,-1-13 16,1 0-1,0 0-15,13 13 0,-13-13 16,-1 0-16,1 0 0,0 0 16,0 13-16,-1-13 0,1 0 15,0 0-15,0 0 0,-14 14 0,14-14 16,0 0-16,0 0 0,-1 0 0,-12 13 15,13-13-15,-1 0 0,1 0 16,-13 0-16,13 13 0,-1-13 0,1 0 16,-13 0-16,12 13 0,1-13 0,-13 0 15,13 0-15,-14 13 0,14-13 0,-14 0 16,14 14-16,-13-14 16,12 0-16,-12 13 0,13-13 0,-14 0 15,14 13-15,-13-13 0,12 0 0,-12 13 16,-14-13-16,14 0 15,-1 14-15,14-14 0,-13 0 0,-1 0 16,1 13-16,13-13 0,-14 0 0,1 0 16,-1 13-16,1-13 0,-1 0 0,1 13 15,-1-13-15,1 13 0,-1-13 16,14 0-16,-13 14 0,-1-14 0,1 13 16,-1-13-16,1 0 0,-1 13 0,14-13 15,-13 0-15,-1 0 0,1 13 16,-1-13-16,14 0 0,-13 0 15,-1 0-15,1 14 0,12-14 0,-12 0 16,0 0-16,-14 13 0,13-13 16,14 0-16,-13 0 0,13 0 15,-14 13-15,14-13 0,0 0 0,-1 0 16,-12 0-16,13 0 0,-1 0 0,1 0 16,0 0-16,0 0 15,-14 13-15,14-13 0,0 0 0,0 0 16,-1 0-16,1 0 0,0 0 0,0 0 15,-1 0-15,1 0 0,0 0 16,0 0-16,0 0 0,-1 14 0,1-14 16,0 0-16,0 0 15,-1 0-15,1 0 0,0 0 0,0 0 16,0 0 0,-1 0-16,1 0 0,0 0 15,0 0-15,-1 0 0,1 0 16,0 0-16,0 13 15,-1-13-15,1 0 0,0 0 16,0 13-16,0-13 0,-1 0 16,1 0-16,0 13 0,0-13 15,-1 0 1,-12 0-16,26 13 0,-13-13 16,-1 0-16,1 0 15,0 14 1,0-14-16,0 0 15,-1 0-15,1 0 16,0 13 0,0-13-16,-1 0 15,1 0 1,0 0-16,0 0 16,-1 0-1,-12 0 1,13 0-1,0 0 1,-1 13 0,1-13-1,0 0-15,0 0 16,13-13 0,-14 0-1,28 13 1,-28-14-16,14 1 15,0 0-15,0 0 0,0 0 16,0-1-16,0 1 16,0 0-16,0 0 0,-13 13 15,13-14-15,0 1 0,0 0 16,-13 0-16,13-1 16</inkml:trace>
  <inkml:trace contextRef="#ctx0" brushRef="#br0" timeOffset="50879.18">6284 10226 0,'-13'27'16,"13"-14"0,0 0-16,0 0 15,0 1-15,0-1 0,0 0 16,13 0-16,-13 0 15</inkml:trace>
  <inkml:trace contextRef="#ctx0" brushRef="#br0" timeOffset="51068.63">6218 10067 0,'-14'-13'15,"28"26"-15</inkml:trace>
  <inkml:trace contextRef="#ctx0" brushRef="#br0" timeOffset="51551.74">6482 10107 0,'-13'0'16,"-13"13"-16,26 1 15,-14-14-15,14 13 16,0 0-16,-13 0 0,13 0 0,0 1 16,-13-1-16,13 0 0,0 14 0,0-14 15,0 0 1,13 0-16,-13 1 0,13-14 0,-13 13 16,14 0-16,-1-13 0,0 0 0,0 0 15,1 0-15,-1-13 0,0 13 16,0 0-16,0-13 0,1 13 0,-1-14 15,0 1-15,0 0 0,-13 0 16,14 13-16,-14-14 0,0 1 16,0 0-16,0 0 15,0-1-15,-14 14 32,1 14-17,0-1-15,13 0 16,0 0-1,0 1-15,13-14 0,-13 13 16,13-13-16,1 13 16,12-26-16,-13 13 15,1 0-15,-1 0 16</inkml:trace>
  <inkml:trace contextRef="#ctx0" brushRef="#br0" timeOffset="52186.9">7117 9856 0,'-39'26'16,"25"-13"-1,1 1-15,13-1 0,-13 13 16,13 14-16,-13-27 0,13 14 0,0-1 16,0-13-16,0 1 0,0-1 15,0 0-15,13 0 0,-13 1 0,0-1 16,13-13-16,-13 13 0,13-13 15,-13 13-15,14-13 0,-1-13 16,0 13 0,-13-13-16,13 13 0,-13-13 0,14-1 15,-14 1-15,13 0 0,-13 0 16,13-1-16,0 1 16,-13 0-16,13 13 0,-13-13 0,14 13 15,-14-14-15,13 14 0,0 0 16,0 14-16,1-1 15,-14 0-15,13 0 16,-13 1-16,0-1 0,13 13 16,-13-12-16,0-1 0,0 0 15,13-13-15,-13 13 16,13-26 15,-13 0-15,14 0-16,-14-1 0,0-12 0,13 13 15,0-14-15,-13 1 0,13 12 16,1 1-16,-14 0 0,13 13 16,0-13-16,0 0 0,1 13 15,-1 0 1</inkml:trace>
  <inkml:trace contextRef="#ctx0" brushRef="#br0" timeOffset="52941.18">7567 10014 0,'0'-13'15,"0"0"-15,-13 13 16,0 0-1,13 13 1,-14 0-16,14 1 16,0-1-16,0 0 15,0 0-15,0 1 16,14-14-16,-14 13 0,13-13 16,0 0-16,0 0 0,1 0 15,-1 0-15,0-13 16,0 13-16,0-14 0,1 1 15,-1 13-15,-13-13 0,13 13 16,-13-13-16,13 13 0,-13-14 0,14 14 16,-14-13-16,0 0 15,0 0 1,-14 26 15,1 0-15,13 0-16,0 1 15,0-1 1,13-13 15,1 0-15,-1-13 0,0 13-1,0-14 1,1 28-1,-1-14 1,-13 13-16,13-13 16,0 13-1,0-13 17,1-13-32,-1 13 15,0-13 1,0 13-16,1-14 15,-1 1-15,0 13 16,0 0-16,-13-13 16,14 13-16,-14-13 15,13 13-15</inkml:trace>
  <inkml:trace contextRef="#ctx0" brushRef="#br0" timeOffset="53556.39">6681 10557 0,'-27'13'15,"14"-13"-15,0 13 0,13 1 32,0-1-32,13-13 15,0 0-15,1 13 0,-1-13 0,0 0 16,0 13-16,0-13 16,1 0-16,-1 0 0,-13 13 0,13-13 15,-13 14-15,13-14 0,-13 13 16,-13 13-1,0-12-15,0-1 16,-1-13-16,14 13 0,-13-13 16,0 0-16,0 13 0,0-13 15,-1 0 1</inkml:trace>
  <inkml:trace contextRef="#ctx0" brushRef="#br0" timeOffset="54301.03">6919 10570 0,'-27'0'32,"27"13"-17,-13 1 1,0-14-16,13 13 16,0 0-16,0 0 31,13-13-16,0-13 1,1 13 0,-1-13 15,0 13-15,0 0-16,-13-13 15,14 13-15,-14-14 0,13 14 16,-13-13-16,0 0 0,13 13 0,-13-13 15,13-1-15,-13 1 0,0 0 16,0 0-16,0-14 0,0 14 16,0 0-16,0 0 0,0-1 0,0 1 15,0 0-15,0 0 16,0-1-16,0 41 31,0-14-15,0 0-16,13 1 0,-13-1 15,0 0-15,14-13 0,-14 13 0,13 1 16,0-14-16,-13 13 0,13 0 0,1-13 16,-1 13-16,0-13 15,0 0 1,1-13 0,-1 26 15,0 0 0,0-13-15,0 0-16,14 0 15,-14 0 1</inkml:trace>
  <inkml:trace contextRef="#ctx0" brushRef="#br0" timeOffset="54845.21">7302 10425 0,'-13'0'0,"0"0"0,13 13 15,0 0-15,0 0 16,13-13-16,-13 14 15,13-1-15,-13 0 16,14-13-16,-14 13 0,0 0 16,0 1-16,0-1 15,-14 0-15,1 0 16,0-13 0</inkml:trace>
  <inkml:trace contextRef="#ctx0" brushRef="#br0" timeOffset="55484.93">7607 10319 0,'-13'0'15,"-1"13"-15,1-13 16,13 13-16,-13-13 16,13 13-16,-13-13 0,13 14 15,0-1-15,13-13 16,-13 13 0,13-13-16,-13 13 0,13-13 0,1 14 15,-14-1-15,13-13 0,-13 13 0,13-13 16,-13 13-16,0 1 0,0-1 15,0 0-15,0 0 0,0 0 16,0 1-16,-13-1 0,13 0 16,-13 0-16,-1 1 15,28-54 17,-1 27-17,-13-1-15,13 1 16,0 0-16,-13 0 0,13 0 0,-13-1 15,14 14-15,-14-13 0,13 0 16,0 13 0,0 0 15,-13 13-31,14-13 16,-14 13-16,13-13 15,0-13-15,0 13 16,1-13-16,-1 13 15,-13-13-15,0-1 0,0 1 16,0 0-16,0 0 16,-13 13-1,13-14-15,-14 14 16,1 0 0,13 14-1,27-14 1</inkml:trace>
  <inkml:trace contextRef="#ctx0" brushRef="#br0" timeOffset="56285.04">8043 10239 0,'-13'0'15,"26"0"-15,-26 14 0,0-14 0,13 13 16,-13 0-1,13 0-15,13 1 16,0-14 0,0 13-16,1-26 15,-1 13-15,0 0 16,0 0-16,-13-14 0,13 14 0,1 0 16,-1-13-16,0 13 15,0 0 1,1 0-16,-1 0 15,0 0-15,0 0 16,1 0-16,-1-13 16,0 0-16,0-1 15,0 1-15,-13 0 0,14 0 16,-14-1-16,13-12 0,-13 13 16,0 0-16,13-1 0,-13 1 15,0 0-15,0 0 0,13 13 16,-13 13-1,0 0-15,0 0 16,0 1-16,14 12 0,-14 0 16,0 1-16,0-1 0,0 14 0,0 0 15,0-14-15,0 1 0,13-1 16,-13 1-16,0-14 0,0 13 0,0-12 16,0-1-16,0 0 0,-13-39 31,13 12-16,0-12-15,0 13 0,13-14 0,-13-13 16,0 14-16,13-14 0,0 14 0,-13 13 16,14-14-16,-1 14 0,-13 0 15,13 13-15,-13-14 0,13 14 0,0 0 32,-13 14-32,0-1 15,-13 0-15,13 0 0,-13 1 16,0-1-16,13 0 15,-13 0-15,-1-13 0,14 14 0,-13-14 16,0 13-16,-14-26 31</inkml:trace>
  <inkml:trace contextRef="#ctx0" brushRef="#br0" timeOffset="73384.75">10702 9260 0,'14'14'16,"-14"-1"-16,0 0 0,13 14 0,-13 12 15,13 14-15,0 53 0,-13-40 16,0 0-16,0 0 0,0 1 16,0-15-16,0 15 0,0-1 0,0-13 15,-13-14-15,13 14 0,0-13 0,0-14 16,0 1-16,0-1 0,0 14 16,0-27-16,0 1 0,0-1 15,0 0-15,0-39 47,0 12-47</inkml:trace>
  <inkml:trace contextRef="#ctx0" brushRef="#br0" timeOffset="75320.67">10755 9247 0,'-13'0'0,"40"13"31,-14-13-31,0 0 0,0 0 16,0 0-16,14 0 0,-1-13 15,1 13-15,13 0 0,-1-13 0,1 13 16,13-13-16,-14 13 0,14 0 16,0-13-16,0 13 0,0-14 0,13 14 15,0-13-15,1 13 0,12-13 0,-13 13 16,14-13-16,-14-1 0,13 14 16,0-13-16,-12 13 0,78-13 15,-66 0-15,67-1 16,-80 1-16,0 13 0,14-13 15,-14 13-15,0-13 0,-13 13 0,13-13 16,-13 13-16,0-14 0,0 14 0,0-13 16,0 13-16,-1-13 0,1 13 0,-13-13 15,13 13-15,-13-14 0,-1 14 16,28-13-16,-41 13 0,0-13 16,1 13-16,-1-13 0,-12 13 0,12-14 15,-13 14-15,14 0 0,-14-13 16,13 13-16,-12-13 0,-1 13 15,13-13-15,-12 13 0,-1 0 16,-13-13-16,13 13 16,0 0-16,0-14 0,1 14 15,-1 0 1,0-13 0,0 26 15,1 1-16,-14-1-15,0 0 16,0 0-16,13 0 0,-13 14 16,0-1-16,0-12 0,0 12 15,0-13-15,0 14 0,0-14 0,0 40 16,13-27-16,-13 14 16,0 13-16,13-27 15,-13 1-15,0-1 0,14 14 16,-14 13-16,0-27 0,13 14 15,-13-27-15,0 14 0,0-1 0,13 1 16,-13-1-16,0 1 0,13-1 16,-13 1-16,0-1 0,13-13 0,-13 14 15,0-14-15,14 27 0,-14-27 16,0 0-16,13 13 16,-13 1-16,0-14 0,13 0 15,-13 1 1,0-1-16,-13 0 15,13 0 1,-13-13-16,-1 14 0,1-14 16,0 0-16,0 13 0,0-13 0,-40 13 15,26 0 1,-13 0-16,27-13 0,-53 14 16,40-1-16,-67 0 31,-211 14 0,211-27-15,-92 13-1,145 0-15,-79-13 16,13 13 0,53-13-16,-13 0 0,-13 14 15,-14-14-15,1 13 16,12 0-16,27-13 15,-39 13-15,-1-13 16,54 0-16,-1 0 16,-53 13-16,14-13 0,13 0 15,0 0-15,-1 14 16,41-14 0,-14 0-16,14 0 0,-14 0 0,-26 13 15,13-13-15,0 13 16,13-13-16,1 13 15,12-13-15,1 0 16,-1 14-16,14-14 16,0 0-16,-14 0 15,14 13-15,-13-13 16,13 0-16,-14 0 16,14 13-1,-14-13-15,14 0 16,0 13-1,0-13-15,0 0 16,-1 0-16,1 0 16,0 14-1,0-14 1,-1 0-16,1 13 16,0-13-1,0 0 1,-1 0-1,1 0 17,0 0-32,0 0 31,0 0-15,-1 0 15,1 0-16,0 0 17,13-13-1,13-1-15</inkml:trace>
  <inkml:trace contextRef="#ctx0" brushRef="#br0" timeOffset="76093.89">11245 9723 0,'-40'0'0,"27"0"15,0 0-15,-14 0 0,14 14 0,-14-1 16,-12 0-16,12 0 0,1 1 15,-27 12-15,40-13 16,0 0-16,-1-13 0,14 14 16,-13-14-16,13 13 0,13 0 15,14 0-15,-14 1 16,27-14-16,-27 13 0,0-13 16,80 26 15,-80-26-31,0 27 0,0-14 15,-26 13 1,-13 1 0,12-1-16,-12-12 15,13-1-15,-14-13 16,14 13-16,0-13 16,0-40-1</inkml:trace>
  <inkml:trace contextRef="#ctx0" brushRef="#br0" timeOffset="76786.77">11271 9671 0,'13'-14'16,"-13"41"15,0-1-31,0-13 0,0 1 16,14 12-16,-28-13 0,14 14 15,0-1-15,14 14 0,-14-27 16,0 0-16,0 1 0,0-1 16,0 0-16,0 0 0,0 1 15,26-28 1,-26 1 0,13 13-16,-13-13 0,14 0 15,-1-1-15,0 14 16,0-13-16,1 13 0,-1 0 15,0 0-15,0 0 0,0 13 16,1-13-16,-1 14 16,0-1-16,0-13 0,1 13 15,-1-13-15,13 0 16,-12-13-16,-1 13 0,0-13 16,0-1-16,0 14 15,-13-13-15,14 13 0,-14-13 16,0 0-16,0-1 15,-14 1 1,1 13-16,13-13 0,-13 13 16,0 0-16,0 0 31,39 13-15,-26 0-1,13-13-15,0 0 0,-13 14 0,14-14 16,-1 13-16,0-13 15,-13 13-15,13-13 0,-13 13 16,0 1 0,0-1-1,0-40 17,0 14-32,0 0 0,14 0 15,-1-1 1,-13 1-16,13 0 0,0 13 15,-13-13-15,14 13 0,-14-13 0,13 13 16,-13-14-16,13 14 16,0-13-16,0 0 15,-13 0-15</inkml:trace>
  <inkml:trace contextRef="#ctx0" brushRef="#br0" timeOffset="76982.08">11946 9551 0,'13'27'47,"-13"-14"-47,0 0 15,0 14-15,0-14 0,0 14 0,-13-1 16,0 80 0,-1-80-16,14-13 15,0 1-15,14-1 16,-1 0-16</inkml:trace>
  <inkml:trace contextRef="#ctx0" brushRef="#br0" timeOffset="77224.88">12158 9631 0,'0'-13'0,"-14"13"16,-78 53-1,79-40 1,-14 13-16,14-13 0,0 27 15,-1-27-15,14 27 16,0-27 0,14-13-16,-14 13 0,13-13 15,0 0-15,0 0 0,1 0 16,12 0-16,0 0 16,-12 0-16,-1-13 0,0 13 15,14-13-15,-14 13 0,13-13 16</inkml:trace>
  <inkml:trace contextRef="#ctx0" brushRef="#br0" timeOffset="78226.5">12713 9551 0,'-13'-13'0,"26"26"16,-52-13-16,25 0 0,1 14 15,0-1-15,0-13 0,13 13 0,-14 0 16,1 1-16,13 12 16,0-13-16,-13 14 0,13-14 15,0 0-15,13-13 0,-13 13 16,13-13-16,1 0 16,-1 0-16,13 0 0,-12-13 15,-1 0-15,0 13 0,0-13 0,0 0 16,1 13-16,-14-14 0,13 14 15,0 0-15,-13 14 32,13-1-32,-13 0 15,14-13-15,-14 13 0,13 0 16,0-13-16,0 0 0,1 0 16,-1-13-16,0 13 0,0-13 15,0 0-15,1 0 0,-1-1 0,-13 1 16,13-13-16,0-1 0,-13 1 15,14-1-15,-14-12 0,0-14 16,0 26-16,0 14 0,13-14 16,-13 14-16,0 0 0,0 0 15,-27 52 1,27-12 0,-13-1-16,0 41 0,13-41 15,0 27-15,0-40 0,0 0 16,13 14-16,-13-14 0,13 0 15,1 1-15,-1-14 0,0 13 16,0-13-16,14-13 16,-14 13-16,0-14 0,14-12 15,-1-1-15,-13-12 0,1 12 0,-1-39 16,-13 40-16,13-1 16,-13 1-16,0-27 0,0 13 15,0 27 1,-40 185 31,40-119-47,0-27 15,27 27 1,-14-26-16,13-14 16,1 0-16,-14-13 15,0 0 1</inkml:trace>
  <inkml:trace contextRef="#ctx0" brushRef="#br0" timeOffset="78432.23">12753 9538 0,'0'0'15,"40"-13"1,-27 0-1,13 13-15,-12-13 0,25 13 0,-12 0 16,26-14-16,-27 1 0,14 13 16,-14 0-16,1 0 0,-1 0 15,27 0-15,-40 0 0,14 0 16,-14 0-16</inkml:trace>
  <inkml:trace contextRef="#ctx0" brushRef="#br0" timeOffset="79194.57">13401 9459 0,'-13'-13'16,"0"13"-16,-1 0 16,1 13-16,0-13 0,0 13 15,0 0-15,-1 1 16,14-1-16,-13 0 15,13 0-15,0 0 0,13-13 16,1 14 0,-1-14-16,13 0 15,-13-14-15,1 14 16,-1-13-16,0 0 0,0 13 16,-13-13-16,14 13 15,-14 13 16,0 0-31,0 0 16,13 1 0,0-14-16,14 0 15,-27-14-15,13 14 16,0-13-16,0 0 0,0 0 16,1 0-16,-14-14 0,13 14 15,-13 0-15,0-1 0,13 1 16,-13-13-16,0 12 0,0 1 0,0 0 15,0 0-15,0 0 0,-13-1 0,13 1 16,0 0-16,-27 26 31,14 0-15,13 1 15,27-28-15,-14 14-1,-13-13-15,13 13 0,0 0 16,1 0-16,-1 0 16,-13 13-1,0 1 1,-13-1-16,-1 0 16,14 0-16,-13 0 0,0 1 15,13-1-15,-13 0 0,13 0 16,0 1-16,0-1 15,0 0-15,13-13 16,-13 13-16,13-13 0,0 0 16,1 0-16,-1 0 15,0 0-15,-13 14 16,13-14-16,0 0 16</inkml:trace>
  <inkml:trace contextRef="#ctx0" brushRef="#br0" timeOffset="82492.73">12277 9975 0,'-27'0'31,"27"13"-31,-13-13 0,0 13 16,0 0-16,-1 1 15,14-1-15,-13-13 16,13 13-16,0 0 0,27-13 31,-14-13-15,0 13-16,0 0 15,0 0-15,1 0 16,-1 0-16,0 13 0,0 1 16,-13-1-16,14-13 0,-14 13 15,0 0-15,0 1 0,0-1 16,-14-13-16,14 26 0,-13-13 0,13 1 15,-13-1-15,0-13 0,-1 13 0,14 0 16,-13-13-16,0 0 0,13 14 0,-13-14 16,0 0-16,-1-14 15,14 1 1,14 0-16,-14 0 16,13 13-16,-13-14 0,13 1 15,0 0-15,0 0 0,1 13 16,-1-13-16,0-1 0,0 1 0,1 13 15,-14-13-15,13 13 0,0-13 16,0 13-16,-13-14 16,13 14-16,-13 14 31,14-1-31,-1 0 16,0-13-1,14 0 1,-14 0-16,0 0 0,0-13 15,1 13-15,-14-13 0,13 13 16,-13-14-16,0 1 0,0-13 16,-13 26-1,13-14-15,-14 14 0,14-13 0,-13 13 16,0-13-16,0 26 16,-1-13-1,14 13-15,0 1 16,14-14-16,-1 0 15</inkml:trace>
  <inkml:trace contextRef="#ctx0" brushRef="#br0" timeOffset="83936.79">12753 9975 0,'-13'26'47,"26"-13"-31,-13 1-16,13-14 15,0 13 1,1-13-16,12 0 16,-26-13-16,13 13 15,1-14-15,-1 14 0,-13-13 16,13 13-16,-13-13 15,13 13-15,0 0 32,-13 13-17,14 0 1,-14 1-16,13-14 16,0 0-1,0 0-15,1-14 0,-14 1 16,13 13-16,-13-13 0,13 13 15,-13-13-15,0 0 0,13-1 16,-13 1-16,14 0 16,-14 0-16,13 26 47,-13 0-47,0 0 0,0 1 15,0-1-15,0 0 0,0 0 0,0 0 16,0 1-16,0-1 0,-13 13 15,13-12-15,0-1 0,0 13 16,0-12-16,0-1 0,0 0 0,-14 27 16,14-27-16,0 0 15,0 0-15,0 1 0,0-1 16,0 0-16,0-39 47,0 12-32,0-12-15,14 13 0,-14-1 0,0-12 16,0 0-16,13-1 0,-13 14 16,13-14-16,-13 14 0,13 0 0,-13 0 15,13-1-15,-13 1 0,14 13 0,-1-13 16,0 0-16,0 13 16,1 13-1,-1-13-15,-13 13 16,-13 0-1,-1 1 1,1-14-16,13 13 0,-13-13 16,0 0-16,13 13 0,-14-13 15,1 0-15,0 0 16</inkml:trace>
  <inkml:trace contextRef="#ctx0" brushRef="#br0" timeOffset="84973.74">14089 9327 0,'0'0'0,"13"0"0,1 13 31,-14 0-15,0 0-16,0 0 0,13 1 15,-13 12-15,0-13 0,0 1 16,13 12-16,-13-13 0,0 14 0,0-14 16,0 0-16,0 0 0,0 14 15,0-14-15,0 0 0,0 1 16,0-1-16,0 0 0,0 0 16,0 1-16,0-1 31</inkml:trace>
  <inkml:trace contextRef="#ctx0" brushRef="#br0" timeOffset="85211.76">14155 9327 0,'0'0'16,"-13"0"-16,0 13 16,0 0-1,13 0-15,-14 0 0,1 1 16,13-1-16,-13 0 0,0 14 16,13-14-16,-14 0 0,1 0 0,13 1 15,-13-1-15</inkml:trace>
  <inkml:trace contextRef="#ctx0" brushRef="#br0" timeOffset="85428.83">14129 9313 0,'26'53'31,"-13"-53"-31,1 13 0,-14 1 0,13-1 16,0 0-16,0 0 0,1 1 0,-1-1 15,0-13-15,-13 13 16,13 0-16</inkml:trace>
  <inkml:trace contextRef="#ctx0" brushRef="#br0" timeOffset="88468.92">7633 10941 0,'53'39'31,"-26"-12"-31,-1-1 0,1 14 0,12-1 0,-12 14 15,12-13-15,1 13 0,-13 0 16,12 0-16,-12 0 0,12 0 0,-12 13 16,-1-26-16,14 12 0,-14 1 15,1-13-15,13 0 0,-14 13 16,14-27-16,-1 14 0,41 26 16,-41-40-16,1-12 0,0 12 0,13-13 15,-14 14-15,1-14 0,0 0 16,-1-13-16,14 13 0,-13 1 0,0-14 15,13 0-15,-14 0 0,1 0 0,13 0 16,0 0-16,0-14 0,0 1 16,0 13-16,-14-13 0,14 0 0,-13 0 15,13-1-15,0-12 0,-14 13 0,14-1 16,0 1-16,-13-13 0,0 12 16,13 1-16,-14-13 0,1 13 15,0-1-15,-1-12 0,1 13 0,0-14 16,-1 14-16,1 0 0,-13-14 0,12 14 15,1-13-15,-14 12 0,14-12 16,0 13-16,-14-1 0,14-12 0,0 13 16,-14-14-16,14 14 0,-14 0 0,14-14 15,-14 14-15,14-13 0,-14 12 16,14-12-16,-13 0 0,-1 12 16,1-12-16,-1-1 0,0 14 0,1-13 15,-1-1-15,1 14 0,-1-13 0,1 12 16,-1-12-16,1-1 0,-1 14 0,1-13 15,-1-1-15,0 1 0,1 13 16,-1-14-16,1 1 0,-1 12 0,1-12 16,-1 0-16,1-1 0,-1 14 15,1-14-15,-14 1 0,13 13 0,-12-14 16,-1 14-16,0 0 0,0 0 0,0-1 16,14-12-16,-27 13 0,13 13 15,-13-14-15,13 1 0,1 0 16,-14 0-16,13-1 15,-13 1-15,13 13 0,-13-13 16,13 0 0,-13 0-1,14 13 17</inkml:trace>
  <inkml:trace contextRef="#ctx0" brushRef="#br0" timeOffset="88908.19">11404 10570 0,'26'13'31,"0"-26"-31,-12 13 16,-1 0-16,0 0 15,0 0-15,1-13 0,-1 13 16,0 0-16,0 0 16,1 0-16,-1 0 0,0 0 15,0 0-15,-13 13 0,13-13 16,-13 13-16,0 1 0,14-14 0,-14 13 16,0 0-16,0 13 0,0-12 15,0-1-15,0 0 0,0 14 0,0-14 16,0 13-16,0-12 0,0-1 0,0 0 15,0 0-15,0 0 16,0 1-16,0-1 16,13 0-16</inkml:trace>
  <inkml:trace contextRef="#ctx0" brushRef="#br0" timeOffset="89656.78">7594 10941 0,'-14'66'31,"14"-53"-31,0 0 0,0 0 16,0 27-16,-13-14 0,13-12 15,0-1-15,0 13 0,0-12 0,-13-1 16,13 0-16,0 0 0,0 1 15,0-1-15,-13 0 0,13 0 16</inkml:trace>
  <inkml:trace contextRef="#ctx0" brushRef="#br0" timeOffset="90038.87">7567 11020 0,'0'-13'0,"0"26"0,13-40 0,-13 14 16,14 13-1,-1-13 1,0 13-16,0 0 0,0 0 16,1 13-16,-1-13 0,0 0 0,0 13 15,14-13-15,-14 0 0,0 0 16,1 14-16,-1-14 0,0 0 15,0 13-15,14-13 0,-14 0 0,0 0 16,0 13-16,1-13 0,-1 0 16,0 0-16,0 0 15,1 0-15,-1 13 16,0-13 0,0 0-1,-13-13 16,0 0-15,0 0 0</inkml:trace>
  <inkml:trace contextRef="#ctx0" brushRef="#br0" timeOffset="93930.02">10530 9763 0,'-13'27'15,"0"-14"-15,0 93 31,0-80-31,13 1 0,0-14 16,0 13-16,0-13 0,0 14 0,-14-14 16,14 0-16,0 1 0,0-1 15,0 0-15,0 0 0</inkml:trace>
  <inkml:trace contextRef="#ctx0" brushRef="#br0" timeOffset="94136.67">10530 9829 0,'-13'0'0,"26"0"0,-39 0 0,26 13 15,-13 1-15,0-1 0,-1 0 16,1 0-16,0 1 0,0 12 0,13-13 15,-14 1-15,1-1 0,0 0 16,13 0-16,-13-13 0</inkml:trace>
  <inkml:trace contextRef="#ctx0" brushRef="#br0" timeOffset="94349.93">10438 9829 0,'0'0'0,"13"13"0,0-13 0,1 0 15,-1 14-15,0-14 0,0 13 16,0-13-16,1 0 0,-1 13 16,0-13-16,0 0 0,1 13 0,-1-13 15,0 0-15,0 0 0</inkml:trace>
  <inkml:trace contextRef="#ctx0" brushRef="#br0" timeOffset="96360.79">15703 8983 0,'0'119'15,"0"-80"-15,0 14 16,13 0-16,-13 13 0,13-13 16,-13 53-16,0-53 15,0-13-15,14 13 0,-14-14 0,0 1 0,13 0 16,-13-14-16,0 1 0,0-14 0,0 13 16,0-13-16,0 1 0,0-1 15,0 0-15</inkml:trace>
  <inkml:trace contextRef="#ctx0" brushRef="#br0" timeOffset="98488.9">15650 9075 0,'66'0'31,"-53"-13"-31,1 13 0,12 0 15,-13 0-15,14 0 0,-14 0 0,14 0 16,-1 0-16,0 0 0,14-13 0,-13 13 16,12 0-16,14-13 0,-13 13 15,13-14-15,-14 1 0,14 13 16,0-13-16,13 0 0,-13 13 0,0-14 16,0 14-16,13-13 0,1 0 15,-1 13-15,0-13 0,0 13 0,13-14 16,-13 14-16,1-13 0,-1 13 0,-13-13 15,13 13-15,0-13 0,0 13 16,0-13-16,-13 13 0,27 0 0,-28-14 16,1 14-16,14-13 0,-15 13 15,15 0-15,-14-13 0,-1 13 0,1-13 16,0 13-16,0-14 0,0 14 16,-13 0-16,13-13 0,0 13 0,-14 0 15,1-13-15,-14 13 0,1 0 0,-1 0 16,1 0-16,-1 0 0,-12-13 15,-1 13-15,13 0 0,-13 0 0,1 0 16,-1 0-16,0 0 0,0 0 16,1 0-1,-1 0-15,0 0 16,0 0 0,-13 13-1,13-13-15,-13 13 0,0 0 16,14 1-16,-14-1 0,0 0 15,13 14-15,-13-1 0,13-13 0,-13 27 16,13 0-16,-13-14 0,14 14 16,-1-1-16,-13-12 0,13 13 0,-13-1 15,0-12-15,13 12 0,-13 1 0,14-13 16,-14-1-16,0 0 0,13 1 16,-13-1-16,13-12 0,0 12 0,-13-13 15,13 14-15,1-14 0,-14 0 0,13 14 16,0-14-16,-13 0 0,13 14 15,1-27-15,-14 13 0,0 0 16,13 0-16,-13 1 16,13-14-16,-13 13 15,13 0-15,-26 0 32,0-13-32,13 13 0,-13-13 15,-1 0-15,14 14 0,-13-14 16,0 0-16,-14 13 0,14-13 0,-13 0 15,13 13-15,-14-13 0,1 0 0,-1 13 16,1-13-16,-14 14 0,0-1 0,1-13 16,-1 13-16,-13-13 0,13 13 15,1 0-15,-14-13 0,13 14 16,-13-1-16,0 0 0,14-13 0,-14 13 16,0 1-16,0-1 0,0-13 15,13 13-15,-13 0 0,0-13 0,14 14 16,-14-1-16,13-13 0,-13 13 0,13-13 15,1 13-15,12-13 0,-12 13 0,-1-13 16,13 14-16,1-14 0,0 13 16,-14-13-16,13 0 0,1 13 0,0-13 15,-1 0-15,1 13 0,-1-13 0,1 0 16,12 14-16,-12-14 0,0 0 16,-1 0-16,14 13 0,-14-13 0,14 0 15,-13 0-15,-1 13 0,14-13 16,-13 0-16,12 0 0,-12 13 0,13-13 15,-14 0-15,14 0 0,0 0 16,-14 0-16,14 0 0,-13 14 0,-1-14 16,14 0-16,-14 0 0,1 0 0,13 13 15,-14-13-15,1 0 0,-1 0 0,1 0 16,13 13-16,-14-13 0,1 0 16,13 0-16,-14 0 0,14 13 0,0-13 15,-14 0-15,14 0 0,0 0 0,-1 0 16,-12 0-16,13 0 0,0 0 15,-1 0-15,1 0 0,0 0 0,0 0 16,-1 0-16,1 0 16,0 0-16,0 0 15,-1 0-15,1 0 16,0-13-16,0 13 0,0 0 16,-1 0-16,1 0 15,0 0-15,0 0 16,-1 0-1,1 0-15,0-13 16,-13 13-16,12 0 16,1 0-16,0 0 15,0 0-15,-1 0 16,1 0 0,0 0-1,0 0 1,-1 0-16,1 0 47,0 0 15,0 0-31,13-13-15,-13-1 15,-1 14 47,14-13-31,14 0-31,-14 0-16,0-1 0,0-12 16,13 13-16,-13-14 0,0 1 0,13-1 15,-13-12-15,13 12 0,-13 1 16,13-1-16,1 14 0,-14-13 15,13-1-15</inkml:trace>
  <inkml:trace contextRef="#ctx0" brushRef="#br0" timeOffset="99041.87">16298 9313 0,'-39'14'16,"78"-28"-16,-92 28 0,40-1 0,-13-13 0,12 13 15,1 0-15,0-13 16,13 13-16,0 1 15,13-14-15,0 13 0,1-13 16,-1 0-16,0 13 16,14-13-16,-14 0 0,0 13 0,0-13 15,27 14-15,-27-14 0,0 13 16,1 0 0,-14 0-16,0 1 15,-14-14-15,14 13 0,-13 0 0,0-13 16,0 13-16,0 0 0,-14-13 15,14 14-15,0-14 0,-1 13 0,1-13 16,0 13-16,0-13 0,-1 0 0,1 0 16,0 13-1</inkml:trace>
  <inkml:trace contextRef="#ctx0" brushRef="#br0" timeOffset="99700.64">16470 9353 0,'0'-13'0,"0"0"16,-13 39 15,13-13-15,0 0-16,0 1 15,0-1-15,13 0 16,-13 0-16,0 1 16,14-14-1,-14 13-15,26-26 16,-26-1 0,13 14-1,-13-13-15,13 0 16,1 0-1,-1 13 17,0 0-17,0 0-15,-13 13 16,14 0 0,-14 0-16,13-13 15,-13 14-15,13-1 31,0-26-15,-13-1 0,14 1-1,-14 0 1,13 13 0,0 0-1,0 0 1,0 13-16,-13 0 15,14-13-15,-14 14 32</inkml:trace>
  <inkml:trace contextRef="#ctx0" brushRef="#br0" timeOffset="100162.02">16986 9128 0,'-26'27'16,"26"-14"-1,0 0-15,0 0 0,0 14 0,0-14 16,0 0-16,0 14 0,0-14 16,0 0-16,0 0 0,-13 1 0,13-1 15,0 0-15,13 0 16,0-26 15,0 13-31,-13-13 0,13 13 0,-13-13 16,14 13-16,-1 0 0,0-14 15,0 14-15,1 0 16,-14 14 0,0-1-1,0 0-15,-14 0 0,1-13 16,13 13-16,-13 1 0,0-1 15,-1-13-15,1 13 0,0-13 0,0 13 0,0-13 16,-1 0 0</inkml:trace>
  <inkml:trace contextRef="#ctx0" brushRef="#br0" timeOffset="100742.77">17185 9247 0,'-14'13'47,"1"1"-47,13-1 0,0 0 16,13 0-16,1 1 15,-1-14 1,13 13-1,-12-26-15,-1 13 16,0 0-16,-13-14 0,13 14 16,-13-13-16,14 13 0,-14-13 15,13 13-15,-13-13 0,13-1 16,-13 1-16,13 13 16,-13-13-1,13 26 1,-13 0-1,0 1-15,0-1 16,14 0 0,-14 0-1,13-26 17,0 0-17,-13 0-15,13 13 0,-13-14 16,14 14-16,-1 0 15,0-13 1,0 13 0,-13 13-1,13-13 1,-13 14 15</inkml:trace>
  <inkml:trace contextRef="#ctx0" brushRef="#br0" timeOffset="101069.87">17621 9168 0,'-13'13'16,"13"0"-1,-13-13-15,13 14 16,0-1-16,0 0 31,13-13-15,0-13-1,0 13 1,1-13 0,-1 13-1,0-14-15,0 14 16,-13-13-16,14 13 16</inkml:trace>
  <inkml:trace contextRef="#ctx0" brushRef="#br0" timeOffset="101242.72">17793 9115 0,'13'13'16,"-13"0"-1,14 1 1,-14-1-16,0 0 0,0 0 16,-14 1-1,1-1-15,0-13 16,0 13-16</inkml:trace>
  <inkml:trace contextRef="#ctx0" brushRef="#br0" timeOffset="102369.75">18150 9062 0,'-13'0'0,"26"0"0,-39-13 0,13 13 16,0 0-16,13 13 15,-14-13-15,1 13 16,0 0-1,26 1 1,-13-1-16,0 0 0,0 0 16,13-13-16,-13 14 0,0-1 15,0 0-15,0 0 16,-13 1-16,13-1 16,-13 0-16,0-13 15,-1 13-15,1-13 0,0 0 16,13-26 15,13 26-31,-13-13 0,13-1 16,1 1-16,-1 0 0,0 13 15,0-13-15,1-1 0,-1 14 0,13-13 16,-13 0-16,1 13 0,-1 0 16,13-13-1,-12 13 1,-1 0-16,0 0 0,0 0 15,0 0-15,1-14 0,-1 14 16,0 0-16,0-13 0,1 13 16,-1-13-16,-13 0 15,13 0-15,-13-1 0,-13 1 16,13 0-16,-13 13 16,-1 0-16,1 0 15,0 0-15,0 13 0,-1-13 16,14 13-16,-13 1 0,13-1 15</inkml:trace>
  <inkml:trace contextRef="#ctx0" brushRef="#br0" timeOffset="103490.78">16351 9803 0,'-13'0'0,"0"26"31,13-13-31,0 1 16,0-1-1,13 0-15,0-13 16,0 0-16,1 0 16,-1 0-1,-13-13-15,13 13 0,0-13 16,-13-1-16,14 14 0,-14-13 15,13 0 1,-13 26 31,26 27-16,-26-27-15,93-39 46,-80-1-46,0-79 15,-13 225-15,-13-52-16,13-41 15,-13 67-15,13-80 16,-13 13-16,13-12 0,0-1 16,0 0-16,0 0 0,0 1 0,-14-1 15,14 0-15,0-39 32,0 12-32,0 1 0,0-13 15,14-14-15,-14 0 0,13 14 16,0-14-16,0 14 0,-13 12 15,14-12-15,-1 13 0,0-14 16,0 27-16,-13-13 0,14 26 16,-14 14-1,-14-27-15,1 13 16,13 0-16,-13 0 0,0 1 0,-1-1 16,1 0-16,0-13 0,13 13 0,-13-13 15,13 14-15,-14-14 16</inkml:trace>
  <inkml:trace contextRef="#ctx0" brushRef="#br0" timeOffset="103782.78">17079 9776 0,'-13'27'16,"13"-14"-16,0 0 15,-14 0-15,14 1 16,0-1-16,0 0 16</inkml:trace>
  <inkml:trace contextRef="#ctx0" brushRef="#br0" timeOffset="103927.27">17013 9631 0,'-14'13'0,"14"0"16</inkml:trace>
  <inkml:trace contextRef="#ctx0" brushRef="#br0" timeOffset="104345.43">17185 9697 0,'-14'26'16,"1"-26"-16,13 14 15,0-1-15,-13-13 0,13 13 0,0 0 16,0 1-16,0-1 0,0 0 15,0 0-15,13 0 16,0-13-16,1 0 0,-1 0 16,13 0-16,-12-13 0,-1 13 15,0-13-15,0 13 0,1-13 16,-1 0-16,0-1 0,0 1 16,-13 0-16,13 0 0,-13-1 15,0 1 1,-13 13-16,0 13 15,0 1 1,0-1-16,13 0 16,0 0-1,13-13-15,-13 14 0,13-1 16,0-13-16,0 0 16,1 0-1,-1 0-15,0 0 16</inkml:trace>
  <inkml:trace contextRef="#ctx0" brushRef="#br0" timeOffset="105238.64">17701 9591 0,'0'-13'0,"0"26"0,-14-26 0,1 26 15,13 0-15,-13-13 16,13 14-16,-13-1 0,13 0 16,-14 0-16,14 1 0,-13-1 15,13 0-15,0 0 0,0 0 16,0 14-16,0-14 16,13-13-1,1 0-15,-14-13 16,13 13-16,0-13 15,0 13-15,-13-14 0,14 14 16,-1-13-16,0 13 0,-13-13 16,13 13-16,1 0 0,-1 0 31,0 13-31,-13 0 16,0 1-1,13-14-15,-13 13 16,13-13-1,-13-13 1,14 13 0,-14-14-16,13 1 15,0 0-15,0 0 0,-13 0 16,14 13-16,-14-14 0,13 14 0,0-13 16,0 0-1,1 26 1</inkml:trace>
  <inkml:trace contextRef="#ctx0" brushRef="#br0" timeOffset="105472.85">17992 9684 0,'0'-13'15,"0"-1"1,-14 28 31,1-14-47,13 13 15,0 0-15,13-13 32,1 0-32,12 0 15,-13 0-15,1 0 0,-1-13 16</inkml:trace>
  <inkml:trace contextRef="#ctx0" brushRef="#br0" timeOffset="105884.72">18389 9538 0,'0'0'0,"-14"-13"0,1 13 15,0 13-15,0 0 31,13 1-31,0-1 16,0 0-16,0 0 16,13-13-16,-13 14 0,0-1 15,0 0-15,13 0 16,-26 1-16,13-1 16,-13-13-16,-1 13 15,1-13-15,0 0 16,0 0-16</inkml:trace>
  <inkml:trace contextRef="#ctx0" brushRef="#br0" timeOffset="106642.04">18534 9578 0,'0'-13'31,"-26"26"-15,12 0 0,14 0-1,-13 1 1,13-1-16,13-13 31,1 0-15,-1 0-1,0-13 1,0 13-16,1-14 16,-1 14-16,-13-13 15,13 13-15,-13-13 0,13 0 16,0-1-16,-13 1 15,0 0-15,14 0 0,-14 0 0,0-1 16,13 1-16,-13 0 16,0 0-16,0-1 0,-27 28 47,27-1-47,0 0 15,-13 0-15,13 1 0,0-1 16,0 0-16,-13-13 0,13 13 0,0 0 15,0 1-15,13-14 16,-13 13-16,13-13 16,1 0-1,-1 0-15,0 0 16,0 0 0,1 13 30,-14 0-30,13-13 0,13-13-1,-13 13 1,1 0-16,-1 13 31,-26 1-15,-1-1-1,1 0-15,0-13 16,0 13-16,0 1 0,-14-14 0</inkml:trace>
  <inkml:trace contextRef="#ctx0" brushRef="#br0" timeOffset="107501.9">17079 10306 0,'-13'0'0,"26"0"16,-26-14-16,-14 28 0,14-14 15,0 13-15,-1-13 0,1 13 16,0-13-16,13 13 0,-13-13 16,13 13-16,-13-13 0,-1 14 15,41-14 1,-1 0-1,-13 13-15,1-13 16,-1 0-16,0 0 0,0 0 0,1 13 16,-1 0-16,-13 1 15,0-1-15,0 0 16,-13 0-16,13 1 16,0-1-16,-14-13 0,1 13 0,0 0 15,0-13 1,26-26-1,0 13 1,0-1-16,1 1 0,-1 0 16,0 0-16,0-1 0,1 1 0,-1 0 15,13 0-15,-26-1 0,13 14 16,1-13-16,-1 13 31,0 13-15,0-13-1,1 0-15,-1 0 16,0 0-16,0 0 16,1 0-16,-14-13 0,13 13 15,-13-13-15,0 0 16,0 0 0,-13 13-16,13-14 0,-14 14 15,1 14 1,13-1-1</inkml:trace>
  <inkml:trace contextRef="#ctx0" brushRef="#br0" timeOffset="108235.52">17820 10147 0,'-27'26'32,"14"-26"-32,13 13 15,0 1-15,13-1 31,0-13-31,1 0 16,-1-13-16,0-1 16,0 14-16,1-13 15,-1 13-15,-13-13 16,13 13-16,0 0 16,1 0-1,-1 0 1,0-13-16,0 13 15,-13-13 1,13-1-16,-13 1 16,14 13-16,-14-13 0,0 0 31,13 13-31,-13 26 31,0-13-31,0 1 16,0-1-16,0 13 0,0 1 0,0-1 15,0 1-15,0-1 0,0 1 0,0-1 16,0 0-16,0 1 0,0-14 0,0 14 16,0-14-16,0 0 0,0 14 15,0-14-15,0 0 16,-13-39 15,13 12-31,0-12 0,13 13 16,-13-14-16,13-52 0,0 52 15,-13 14-15,14-13 0,-1 12 0,-13 1 16,13 0-16,-13 0 0,13-1 16,-26 41 31,0-14-47,13 0 15,-13-13-15,13 14 0,-14-1 0,1-13 16</inkml:trace>
  <inkml:trace contextRef="#ctx0" brushRef="#br0" timeOffset="108364.87">18243 10147 0,'-13'-13'15,"0"13"-15,-1-14 31</inkml:trace>
  <inkml:trace contextRef="#ctx0" brushRef="#br0" timeOffset="111393.81">6985 10967 0,'13'40'0,"-26"-80"0,26 93 0,0-27 16,-13-12-16,14 12 0,-1 0 0,0 14 16,14-13-16,-14 12 0,0 1 15,14 13-15,-1-13 0,0-1 0,-12 14 16,12 0-16,1-13 0,-14 13 0,13 0 16,1-14-16,-14 14 0,13 0 15,-12-13-15,-1-14 0,13 14 16,-12 0-16,12 13 0,-13-27 0,0 14 15,14-1-15,-14 1 0,0-13 0,14 12 16,-14 1-16,14-14 0,-14 1 16,13 13-16,-13-14 0,1 0 0,12 1 15,1-1-15,-14 1 0,13-14 0,1 14 16,-14-1-16,13 0 0,-12-12 16,12 12-16,1-13 0,-14 1 0,13-1 15,-12 13-15,-1-12 0,13-1 16,-13 0-16,14 0 0,-14 0 15,14-13-15,-14 14 0,13-1 0,1 0 16,-14 0-16,13 1 0,1-14 0,-14 13 16,14-13-16,-1 13 0,14 0 15,-1-13-15,-12 0 0,13 14 0,-1-14 16,1 13-16,0-13 0,-1 0 0,1 0 16,0 0-16,-1 0 0,1 13 0,0-13 15,-1 0-15,-12-13 0,26 13 16,0 0-16,-14 0 0,14 0 15,0 0-15,0 0 0,-13 0 0,13 0 16,0 0-16,-14 0 0,1-13 16,13 13-16,-13 0 0,-1 0 0,1 0 15,0 0-15,13 0 0,-14 0 0,14 0 16,0 0-16,0 0 0,0 0 0,-13 0 16,13 0-16,-1 0 0,1-14 15,-13 14-15,13 0 0,0 0 0,13 0 16,-13 0-16,0-13 0,0 13 0,0 0 15,13-13-15,-13 13 0,0 0 16,13 0-16,-13 0 0,0-13 0,0 13 16,13 0-16,-13 0 0,13-14 0,0 14 15,-13 0-15,0-13 0,26 13 16,-13-13-16,0 13 0,1-13 0,12 13 16,-13-14-16,0 1 0,0 0 15,14 0-15,-14 0 0,0-1 0,13 1 16,-12 0-16,-1 0 0,13-1 15,-13 1-15,0-13 0,14 12 0,-14 1 16,0 0-16,0 0 0,14 0 0,-14-14 16,-13 14-16,13 0 0,0-1 15,0 1-15,0-13 0,-13 12 0,13 1 16,0 0-16,-13-13 0,14 12 0,-15 1 16,1-13-16,13 12 0,1-12 15,-14 13-15,-1 0 0,1-14 16,0 14-16,0 0 0,0-14 0,0 14 15,0 0-15,0-14 0,0 14 0,0-13 16,-14 12-16,14-12 0,0 13 16,-13-1-16,13-12 0,-13 13 0,12-14 15,-12 14-15,13-13 0,0 12 0,-13-12 16,-1 13-16,14-14 0,-13 14 16,0-13-16,-1 12 0,1 1 0,-14-13 15,14 12-15,0-12 0,0-1 0,-14 14 16,14-13-16,-14-1 0,1 14 15,12-13-15,-12 12 0,-1-12 0,1 13 16,-1-1-16,-13-12 0,1 13 0,-1 0 16,13-1-16,-12 1 0,-1 0 15,0 0-15,13-1 0,-12-12 16,-1 13-16,0-1 0,0 1 0,14 0 16,-14 0-16,0 0 0,14-14 0,-14 14 15,0 0-15,27-14 16,-27 14-16,0-14 0,1 14 15,-1 0-15,13 0 0,-13 0 0,1-14 16,-1 14-16,0 0 0,14-1 0,-14 1 16,0 0-16,0 0 0,1 0 0,-1-1 15,0 1-15,0 0 0,-13 0 16,13-1-16,1 1 0,-1 0 0,0 0 16,0-1-16,-13 1 0,14 0 15,12 0-15,-13 0 0,0-1 0,1 1 16,-1 0-16,-13 0 0,13-1 0,0 1 15,14-13-15,-14 26 16,0-27-16,1 14 0,-1 0 16,0 13-16,-13-13 0,13 13 15,0-27-15,1 27 0,-14-13 16,13 13-16,0-13 0,-13-1 16,13 14-16,1-13 15,-14 0-15,13 13 16,0-13-16,-13 0 15,13 13-15,1-14 16,-14 1 15,13 13 1,-13-13-1</inkml:trace>
  <inkml:trace contextRef="#ctx0" brushRef="#br0" timeOffset="111800.31">16298 10438 0,'27'0'46,"-14"0"-46,0 0 0,0 0 16,1 0-16,-1-13 0,0 13 16,0 0-16,1 0 0,-1-14 0,0 14 15,0 0-15,1-13 0,-1 13 0,0 0 16,0 0-16,0 0 0,1 0 16,-1 0-16,0 0 15,-13 13-15,13-13 0,-13 14 0,14-14 16,-14 13-16,0 0 0,0 0 0,0 1 15,13-1-15,-26 0 0,13 13 16,0-12-16,0 12 0,-14 1 0,14-14 16,-13 13-16,13 1 0,-13-1 0,0 14 15,-1-27-15,1 14 16</inkml:trace>
  <inkml:trace contextRef="#ctx0" brushRef="#br0" timeOffset="118948.34">5093 10213 0,'13'40'15,"-13"-27"1,0 13-16,0 1 0,0-1 0,14 1 16,-14 12-16,0 1 0,0 0 15,0-1-15,0-12 0,0 13 0,0-14 16,0 0-16,0 1 0,0-14 0,0 14 15,-14-14-15,14 0 0,0 0 16,0 1-16,0-1 0,0 0 0,0 0 16,0 0-16,0-39 47,0 13-47</inkml:trace>
  <inkml:trace contextRef="#ctx0" brushRef="#br0" timeOffset="119353.34">5093 10213 0,'0'-13'16,"-13"13"-16,0 13 16,13 0-1,-13-13-15,13 13 0,-14 1 16,1-1-16,13 0 0,-13 0 0,0 1 15,-1-1-15,14 13 0,-13-13 0,0 1 16,13-1-16,-13 0 0,-1 0 16,14 1-16,-13-1 0,13 0 0,-13 0 15,0 1-15,13-1 0,-13 0 16,13 0 0,-14-13-16,14 13 15</inkml:trace>
  <inkml:trace contextRef="#ctx0" brushRef="#br0" timeOffset="119817.87">4948 10213 0,'13'13'16,"0"-13"0,0 13-16,1-13 0,12 14 0,-13-1 15,1-13-15,12 13 0,0 0 16,1 1-16,-1-14 0,-12 13 0,12-13 16,1 13-16,-1-13 0,0 13 0,1-13 15,-14 0-15,0 13 0,1-13 16,-1 0-16,0 0 0,0 0 0,1 14 15,-1-14-15,0 0 16,0 0-16,0 0 16,1 0-1,-1 13 1,0-13 0</inkml:trace>
  <inkml:trace contextRef="#ctx0" brushRef="#br0" timeOffset="121152.84">10120 10253 0,'0'-27'47,"0"14"-31,14 0-16,-14-1 0,0 1 0,0-13 16,0-1-16,0 1 0,0-1 0,0-12 15,0-1-15,0-13 0,0 13 16,-14 1-16,14-14 0,-13 0 0,13 0 15,-13-13-15,0 26 0,-1 0 0,14 1 16,-13-1-16,0 0 0,13 1 16,-13 12-16,13 1 0,0-1 15,0 1-15,-14 13 0,14-1 0,0 1 16,0 0-16,0 0 0,0 0 0,0-1 16,0 1-1,14 0-15,-1 13 31,-13 26 94,-13-26-109</inkml:trace>
  <inkml:trace contextRef="#ctx0" brushRef="#br0" timeOffset="121927.72">10094 9141 0,'-13'-13'0,"-1"13"0,1 13 16,0-13-1,0 0-15,13 14 0,-14-1 0,1-13 16,0 13-16,13 0 0,-13 14 0,0-1 16,-1 1-16,1-1 0,0 1 15,-14 12-15,14-12 0,0-1 0,0 14 16,-1-14-16,1 1 0,0-1 15,0-13-15,0 14 0,-1-14 0,1 14 16,13-14-16,-13 13 0,-14 14 16,27-27-16,-13 0 0,13 1 15,-13-1-15,0 0 0,13 0 0,-13-13 16,13 14-16,0-1 0,-14-13 16,14 13-16,-13-13 0,13 13 15,0-39 16,0 13-15,13-1-16,-13 1 0,14 0 16,-14-14-16,13 1 0,0 0 15,0-1-15,0-13 0,14 14 16,-14-14-16,0 1 0,14 12 0,-14-13 0,0 1 16,0 12-16,14-12 0,-14 12 15,0-13-15,14 14 0,-14 0 16,0-1-16,1 14 0,-1-27 15,0 27-15,0 0 0,-13-1 16,0 1-16,13 13 0,-13-13 16,14 0-16,12 13 31,-26 13-15,13-13-16,1 13 0,-14 0 15,13 1-15,0-1 0,0 0 0,1 14 16,-1-14-16,13 0 0,-13 14 0,14-14 15,13 13-15,-14-13 0,1 14 16,12-14-16,-12 0 0,12 1 0,-12-1 16,-1 0-16,1-13 0,-1 13 15,-13-13-15,1 13 0,-1-13 0,0 0 16,0 14-16,14-14 0,-14 13 16,0-13-16,0 0 15,1 13 1,-1-13 15</inkml:trace>
  <inkml:trace contextRef="#ctx0" brushRef="#br0" timeOffset="123539.72">5543 10081 0,'0'0'15,"13"26"16,-13-13-31,0 14 16,0 12-16,13 1 0,-13 0 0,0 0 16,14 12-16,-14-12 0,0 13 0,0-13 15,0 13-15,0-14 0,0 1 16,0 13-16,13-27 0,-13 1 0,0-1 16,0 1-16,0-1 0,0-13 0,0 1 15,0 12-15,0-13 16,0 1-16,0-1 0,0-40 47,0 14-47,0 0 0,0 0 15,0-1-15</inkml:trace>
  <inkml:trace contextRef="#ctx0" brushRef="#br0" timeOffset="124452.58">5530 10067 0,'-13'14'31,"13"-1"-31,-14-13 0,14 13 16,-13 0-16,0 1 0,0 12 0,13-13 15,-14 0-15,1 14 0,0-14 0,0 0 16,0 14-16,13-14 0,-14 0 16,1 1-16,0 25 0,0-26 15,-1 1-15,14-1 0,0 0 16,-13-13-16,13 13 0,0 1 15,-13-14-15,13 13 16,-13 0-16,13 0 31,13-52 1,0 25-17,-13 1-15,13 0 0,-13 0 16,14-14-16,-1 14 0,0-13 0,0 12 15,-13-12-15,14-1 0,-1 14 16,-13-13-16,13 12 0,0-12 0,0 13 16,-13-27-16,14 27 15,-14 0-15,13 13 0,-13-14 0,0 1 16,13 0-16,-13 0 16,0-1-16,13 14 15,-13-13-15,14 13 31,-1 0-15,0 13 0,0-13-1,-13 14-15,13-14 16,-13 13-16,14-13 0,-14 13 16,13-13-16,-13 13 0,13 1 15,0-1-15,-13 0 0,14 0 0,12 1 16,-13-1-16,1 0 15,-14 0-15,13 0 0,0 1 0,0-14 16,0 13-16,1 0 0,-1 0 16,0-13-16,-13 14 0,13-14 0,1 13 15,-1-13-15,-13 13 0,13-13 16,0 13 0,1-13-1,-14 14-15,13-14 16,0-14 78,-13 1-94</inkml:trace>
  <inkml:trace contextRef="#ctx0" brushRef="#br0" timeOffset="125588.93">15478 10028 0,'-13'-14'0,"13"1"15,0 0-15,0 0 0,0 0 16,0-1-16,0 1 0,0 0 0,0-14 16,0 1-16,-13-1 15,13 1-15,-14-14 0,1 1 0,13-1 16,-13 0-16,0 1 0,0-1 0,-1 13 16,14-12-16,-13-1 0,13 14 0,-13 12 15,13-12-15,0 13 0,-13-1 16,13 1-16,0 0 0,0 0 0,0 0 15,-14-1-15,14 1 16,0 0 0,0 39 46</inkml:trace>
  <inkml:trace contextRef="#ctx0" brushRef="#br0" timeOffset="126256.63">15359 9287 0,'-13'-13'16,"0"26"-1,-1-13-15,1 13 0,0 0 16,0 1-16,-1-1 0,1 0 15,13 0-15,-13 0 0,0 14 16,0-14-16,-1 14 0,1-1 0,0 1 16,0-14-16,-1 13 0,1-13 0,13 14 15,-13-14-15,0 0 0,13 1 16,-14-1-16,14 0 0,-13 0 16,13 1-16,0-1 0,-13-13 15,13 13-15,13-53 47,-13 27-47,13 0 16,-13 0-16,14-14 0,-1 1 15,0-1-15,14 1 0,-14-1 0,0 1 16,0 13-16,1-14 0,-1 14 0,0-14 16,-13 14-16,13 0 0,0 0 15,1 0-15,-14-1 0,13 14 16,-13-13-16,13 13 0,-13-13 15,13 13-15,1-13 16,-1 13-16,0 0 16,0 13-16,1-13 0,-1 0 15,-13 13-15,13-13 0,0 13 16,0-13-16,1 14 0,-1-1 0,0-13 16,-13 13-16,13 0 0,1-13 15,-1 13-15,0-13 0,0 14 0,1-14 16,-14 13-16,13-13 0,0 13 15,0-13-15,-13 13 0,13-13 16,-13 14 0,14-14-16,-1 13 31,-26-26 47</inkml:trace>
  <inkml:trace contextRef="#ctx0" brushRef="#br0" timeOffset="131532.71">5503 10345 0,'-13'-13'0,"26"0"31,-13 0-31,0-1 32,0 1-32,0 0 15,0 0 1,0-1-16,0 1 16,0 0-16,14 0 15,-14-1-15,0 1 16,0 0-16,13 0 15,-13 0-15,13 39 32,0-13-32,-13 14 15,0-1-15,13 14 0,-13 0 16,0 12-16,0-12 0,14 13 0,-14 0 16,0 0-16,0-13 0,0-1 15,0 1-15,0 0 0,0-14 0,0 1 16,0-1-16,0-13 0,0 14 0,0-14 15,0 0-15,0 0 0,0 1 16</inkml:trace>
  <inkml:trace contextRef="#ctx0" brushRef="#br0" timeOffset="131856.01">5464 10213 0,'-27'40'0,"54"-80"0,-67 106 0,27-39 0,0-1 16,-1 0-16,-12 14 0,13-13 0,-1 12 16,-12-12-16,13-1 0,-1 1 15,1-14-15,0 0 0,13 0 0,-13 1 16,13-1-16</inkml:trace>
  <inkml:trace contextRef="#ctx0" brushRef="#br0" timeOffset="132084.64">5411 10213 0,'13'0'0,"0"0"16,-13 13-16,13-13 0,27 40 15,-27-14-15,14-12 16,-1 12-16,-13 0 0,14-12 0,-1 12 16,-12-13-16,-1 1 0,13-1 0,-12 13 15,-1-26-15,13 14 0,-13-1 16,1 0-16,-1 0 0,0-13 0,0 13 16,14-13-16,-14 0 0,0 14 15,1-14-15</inkml:trace>
  <inkml:trace contextRef="#ctx0" brushRef="#br0" timeOffset="133365.68">10054 9379 0,'13'-13'15,"-26"26"-15,26-39 16,1 39-1,-1 14 1,-13-14-16,13 27 0,-13-1 16,13 14-16,1-13 0,-14 13 0,13 13 15,-13-13-15,13-13 0,-13 12 0,13 28 16,0-40-16,-13-1 16,0-12-16,0-1 0,14 1 0,-14-14 15,0 0-15,0 14 0,0-14 16,0 0-16</inkml:trace>
  <inkml:trace contextRef="#ctx0" brushRef="#br0" timeOffset="133674.81">10081 9274 0,'-40'39'16,"13"14"-16,1-13 0,13 0 15,-14-1-15,-26 41 0,40-41 16,-13 1-16,12 0 0,1-14 0,-13 14 16,13-14-16,-1 1 0,1-1 0,0-13 15,0 14-15</inkml:trace>
  <inkml:trace contextRef="#ctx0" brushRef="#br0" timeOffset="133917.21">10054 9247 0,'53'0'0,"-26"13"0,-14-13 0,13 14 16,1-14-16,-1 13 0,1 0 15,12-13-15,-12 13 0,-1 1 0,-13-14 16,14 13-16,-14 0 0,0-13 16,14 13-16,-14-13 0,-13 13 15,13-13-15,1 14 0</inkml:trace>
  <inkml:trace contextRef="#ctx0" brushRef="#br0" timeOffset="136068.56">609 9790 0,'0'0'0,"13"26"31,-13-13-16,13 0-15,0 14 16,-13-14-16,13 0 0,-13 1 0,0-1 16,14 13-16,-14-12 0,13-1 15,-13 0-15,13 0 0,-13 0 16,0 1-16</inkml:trace>
  <inkml:trace contextRef="#ctx0" brushRef="#br0" timeOffset="136368.96">516 9644 0,'-13'0'0,"13"-13"15</inkml:trace>
  <inkml:trace contextRef="#ctx0" brushRef="#br0" timeOffset="136784.66">847 9618 0,'-27'13'15,"14"0"-15,-13 14 31,26-14-31,0 0 0,13 0 16,-13 0 0,13 1-16,0-14 0,0 13 15,1-13-15,-14 13 0,13-13 16,0 0-16,0 13 0,1-13 16,-14 14-16,13-14 0,-13 13 15,13-13-15,-13 13 0,0 13 16,-13-26-16,13 14 15,-13-14-15,-1 13 0,14 0 16,-13-13-16,0 13 0,0-13 16,13 14-16,-14-14 0,1 13 15</inkml:trace>
  <inkml:trace contextRef="#ctx0" brushRef="#br0" timeOffset="138263.87">1283 9313 0,'13'40'16,"1"-27"0,-14 0-16,13 1 0,-13-1 0,13 13 15,0-12-15,1-1 0,-14 0 0,13 0 16,-13 1-16,13-1 15,-13 0-15,0 0 0,13-13 0,-13 13 16,0 1-16</inkml:trace>
  <inkml:trace contextRef="#ctx0" brushRef="#br0" timeOffset="138426.15">1270 9260 0,'-13'0'31</inkml:trace>
  <inkml:trace contextRef="#ctx0" brushRef="#br0" timeOffset="138720.74">1402 9208 0,'-13'39'31,"13"-26"-31,13 1 0,-13-1 0,0 0 16,14 14-16,-14-14 0,13 0 15,0 0-15,0 0 0,0 1 16,1-14-16,-1 13 0,0-13 0,0 0 16,1 0-16,-1 0 15,0 0-15,0 0 0,1 0 0,-14-13 16,13 13-16,0-14 0,0 14 0,-13-13 16,13 13-16,1-13 0,-1 0 15,0 0 1</inkml:trace>
  <inkml:trace contextRef="#ctx0" brushRef="#br0" timeOffset="139282.24">1561 9168 0,'13'13'63,"1"-13"-16,-14-13 0,-14 0-32,14-1 1,0 1-16,-13 13 15,13 13 17,-13 1-32,13 12 15,13-13-15,-13 1 16,0-1-16,13-13 0,-13 13 16,14-13-16,-1 13 0,0-13 15,0 0-15,0 0 16,1 0-16,-1 0 15,0 0-15,-13-13 0,13 13 0,1 0 16,-1 0-16,0 0 0,0-13 16</inkml:trace>
  <inkml:trace contextRef="#ctx0" brushRef="#br0" timeOffset="139988.4">1892 8850 0,'-13'14'15,"-1"-1"1,14 0-16,0 0 16,0 0-16,14 1 0,-14-1 0,0 0 15,0 0-15,13 1 0,-13-1 16,13 0-16,-13 0 0,13-13 16,0 14-16,1-14 15,-1 0 1,0-14-16,-13 1 15,13 13-15,-13-13 16,0 0-16,14 13 0,-14-14 0,13 1 16,0 0-16,0 0 15,1 13-15,-1 0 16,13 0-16,-26 13 16,13-13-16,1 13 15,-1-13-15,0 13 16,0 1-1,-26-54 32,0 27-47,13-1 16,0 1-16,0 0 0,0 0 16,0 0-16,13-1 15,0 14-15,1 0 16,-1 0-1</inkml:trace>
  <inkml:trace contextRef="#ctx0" brushRef="#br0" timeOffset="140242.65">2275 8811 0,'0'-27'0,"0"54"0,-13-67 15,13 27-15,-13-1 16,13 28 15,-13-1-31,13 0 16,13 0-16,-13 1 0,0-1 15,0 0 1,13-13-16,0 13 0,1-13 16,-1 0-16,-13-13 15,13 13-15,0-13 16,1 13-16,-1-13 0,0-1 0,0 14 15</inkml:trace>
  <inkml:trace contextRef="#ctx0" brushRef="#br0" timeOffset="140966.97">2474 8625 0,'0'0'0,"-13"0"15,-1 0-15,1 0 16,0 14-1,0-1-15,-1 0 16,14 0-16,0 1 0,-13-1 16,13 0-16,0 0 0,0 0 15,0 1-15,13-14 16,-13 13-16,14-13 16,-14 13-16,13-13 15,0-13 1,0 0-1,-13-1-15,0-12 16,0 13 0,0 0-16,0-1 15,0 1 17,27 26-1,-14 1-16,0-14 1,1 0 15,-1-14 1,-13 1-17,13 13-15,-13-13 16,13 13-1,0 0 1,1 0 0,-1 0 31,0 0-32,-13-13 1,13-1 15,1 14 0,-14-13-31,13 13 16,-13-13-16,13 13 16,0-13-1,1 13-15</inkml:trace>
  <inkml:trace contextRef="#ctx0" brushRef="#br0" timeOffset="141406.44">3321 8057 0,'-14'0'0,"28"0"0,-41 13 0,14-13 16,0 0-16,-1 13 0,1 0 15,0-13-15,0 13 16,13 1-16,0-1 15,0 0-15,13 0 16,0 1-16,0-14 16,1 13-16,-1-13 0,-13 13 0,13-13 15,0 0-15,14 13 16,-27 1-16,13-14 0,-13 13 16,0 0-16,0 0 15,-13-13-15,13 13 0,-13 1 0,-14 12 16,14-26-16,0 13 0,-1 1 15,1-14-15,0 0 0,-14 13 16,14-26 0</inkml:trace>
  <inkml:trace contextRef="#ctx0" brushRef="#br0" timeOffset="142253.68">3519 8043 0,'-66'40'78,"53"13"-62,92-146-16,-145 199 16,79-106 15,0 0-31,0-13 16,1 0-16,-1-1 15,-13 1 1,13 13-1,0 13 17,1-13-32,-1 0 15,-13-13 1,13 13-16,0-13 0,-13 0 16,0 0-16,14 13 15,-14-14-15,0 1 0,0 0 16,0-14-16,-14 14 0,14 0 0,-13-27 15,13 14-15,-13-1 16,13 14-16,0 0 0,-13 0 16,13-1-16,-14 14 15,14 27 1,0-14 0,0 0-16,0 14 0,14-14 15,-14 0-15,0 1 0,13-14 0,0 26 16,0-13-16,1-13 15,-14 13-15,26-13 16,0 0-16,-12-13 16,-1 13-16,0 0 15,-13-13 1,13 26 15,-13 0-15,14-26 15,-1 13-15,-13-13-16,13 13 15,0 0-15,1 0 16,-1 0 0,-13 13-1,0 0 1,0 1-1,0-1-15</inkml:trace>
  <inkml:trace contextRef="#ctx0" brushRef="#br0" timeOffset="143296.37">4392 7316 0,'0'0'15,"-13"13"-15,13 0 0,-13-13 16,13 13-16,0 1 0,-14 25 16,14-25-16,0-1 0,0 26 15,0-12-15,14-14 16,-14 0-16,13 14 0,0-14 15,0-13-15,14 0 0,-14 0 16,13-13-16,27 0 16,-39-1-16,12 1 0,14-27 15,-27 14-15,13-14 16,-12 27 0,-14 0-16,13-14 15,-13 14-15,-13 0 16,-1 26-1,1 0-15,0-13 16,13 14-16,-13-1 0,0 0 16,13 0-16,-14-13 0,14 14 15,0-1-15,0 0 16,14-13 0,-1-13-16,0 13 15,0-13-15,0-1 16,-13 1-16,14 0 0,-14 0 15,13-1-15,-13 1 16,0 0-16,13 0 16,0 13 31,-13 13-32,14-13-15,12 0 31,-13-13-15,-13-1-16,13 14 0,-13-13 16,14 0-1,-14 0-15,0 0 16,13 13 0,0 13-1,-13 0 1,13-13-16,-13 13 15,14-13-15,-1 0 16,0 0 0,0-13-1,-13 0-15,14 13 16,-14-13-16,13 13 0,-13-14 16,13 1-16,0 13 15,0-13 1,1 26 15,-14 0-31,0 1 16,0-1-1</inkml:trace>
  <inkml:trace contextRef="#ctx0" brushRef="#br0" timeOffset="143629.93">5040 7091 0,'0'-13'16,"0"39"15,0 67 0</inkml:trace>
  <inkml:trace contextRef="#ctx0" brushRef="#br0" timeOffset="143661.47">5014 7025 0,'-27'0'16</inkml:trace>
  <inkml:trace contextRef="#ctx0" brushRef="#br0" timeOffset="144156.6">5093 7011 0,'27'14'0,"-14"25"31,-13-25-15,0-1-16,0 0 0,0 0 15,0 1-15,0-1 16,26-26 46,-26-1-46,14 1-16,-1 0 16,-13 0-16,13-1 15,0 1-15,-13 0 16,14 13-16,-14-13 16,0-1-16,13 14 0,-13-13 15,13 26 16,-13 1-31,0-1 16,0 0-16,0 0 0,0 1 16,0-1-16,0 0 15,0 0-15,0 1 16,0-1 0,13-40-1,-13 14-15,13 0 16,-13 0-16,14-14 0,-1 14 0,-13-14 15,13 14-15,0 0 0,1 0 0,-14 0 16,13 13-16,-13-14 0,13 14 16</inkml:trace>
  <inkml:trace contextRef="#ctx0" brushRef="#br0" timeOffset="144900.76">2580 9062 0,'-14'0'16,"-12"26"-1,26-12-15,-13-14 0,13 13 16,0 0-16,0 0 15,13 1-15,0-14 16,0 13-16,1-13 16,-14 13-16,13-13 0,0 0 0,0 13 15,1-13-15,-1 0 16,-13 14-16,13-14 0,-13 13 16,0 0-16,-13 0 15,0 0 1,-1 1-16,-12-1 15,13 0-15,-14-13 16,14 0 0</inkml:trace>
  <inkml:trace contextRef="#ctx0" brushRef="#br0" timeOffset="145787.7">2540 8996 0,'0'0'0,"0"-13"0,13-1 15,0 14 1,1 14 0,-14-1-16,13 0 0,0 0 15,0 1-15,1-1 0,-1 13 16,0-13-16,-13 1 0,27 25 16,-14-25-16,0-1 0,-13 0 0,13 0 15,-13 1-15,13-1 16,1 0-16,-14 0 15,13-39 17,-13 13-17,0-1-15,13 14 0,-13-13 16,13 13-16,1-13 16,-1 13-16,0 0 15,0-13-15,1 13 0,-1-14 16,0 14-16,0 0 15,0-13-15,1 0 0,-1 13 16,-13-13-16,13-1 0,-13 1 16,-13 0-1,0 13 1,-1 0 0,1 0-16,0 0 0,0 13 15,13 0 1,-13-13-16,13 14 15,13-14 17,0 0-17,-13-14-15,13 14 16,0 0-16,-13-13 0,14 13 16,-1 0-16,0 0 15,0 0-15,1 0 16,-14 13-1,13-13 1,-26-26 31,13 13-31,0 0-16,0-1 15,0 1-15,13 0 0,-13 0 0,0-1 16,0 1-16,0 0 0,0 0 15,13 13-15,-13-14 0,0-12 16,0 13-16,0 0 16,0-1-16,0 1 15,-13 0-15,26 39 47,-13-12-47,0-1 0,13 0 16,-13 13-16,13-12 0,-13-1 15,0 0-15,0 0 0,14 1 0,-14-1 16,0 0-16,13 0 0,-13 1 16,13-1-16</inkml:trace>
  <inkml:trace contextRef="#ctx0" brushRef="#br0" timeOffset="146297.69">3241 8718 0,'-13'-13'32,"0"26"14,13 0-30,-14-13-16,14 13 0,0 1 16,-13-1-16,0-13 0,13 26 0,-13-12 15,0-1-15,13 13 0,-14-12 0,1-1 16,13 0-16,-13 13 16,0-26-16,13 14 0,0-1 15,-14 0-15,14 0 16,14-13-1,12-13 1,-13 13 0,1-13-16,-1 13 0,-13-13 15,13-1-15,0 14 0</inkml:trace>
  <inkml:trace contextRef="#ctx0" brushRef="#br0" timeOffset="146993.22">3678 8480 0,'-14'13'0,"28"-26"0,-41 39 15,14-12-15,13-1 0,-13-13 16,13 13-16,0 0 0,-13 0 15,13 1-15,0-1 0,0 0 16,0 0-16,13 1 16,0-1-1,0-26-15,0 13 16,-13-14-16,14 14 0,-1-13 16,0 13-16,-13-13 15,13 13-15,1-13 16,-1 13-16,0 0 15,0-14 1,1 14-16,-1-13 0,0 0 16,0 0-16,0 0 15,-13-1-15,14 1 0,-14 0 0,13-14 16,-13 14-16,0-13 0,0-14 16,0 27-16,0-14 0,-13 14 0,13-13 15,0 12-15,-14 1 0,14 0 16,0 0-16,0 0 0,-13 39 31,13-13-31,13 0 16,-13 1-16,0 12 0,14-13 15,-14 14-15,13-14 0,-13 0 0,13 1 16,0-14-16,1 13 0,-1-13 16,0 0-16,14 0 15,-14-13-15,-13-1 0,13 1 0,0 0 16,-13 0-16,13-1 0,-13-12 0,14 13 15,-14-14-15,0 14 0,0-13 16,0 12-16,0 1 0,0 0 16,0 0-16,0-1 15,0 41 1,0-14-16,0 0 0,13 1 16,-13 12-16,0-13 0,13 0 15,-13 1-15,13-1 0,-13 0 0,14 0 16,-14 1-16,13-14 0,-13 13 0,13-13 15</inkml:trace>
  <inkml:trace contextRef="#ctx0" brushRef="#br0" timeOffset="147489.78">3903 8348 0,'-14'0'15,"14"-14"-15,0 1 16,14 0-1,-1 0-15,0-1 16,0 1-16,27 0 16,-27 0-16,14 0 0,-14-1 15,13 14-15,-12-13 0,-1 0 0,13 0 16,-12 13-16,-14-14 0,13 14 0,0-13 16,0 0-16,0 13 15,-13-13 1,-13 39 15,13-13-31,0 1 16,0-1-1,0 0-15,0 0 16,13-13 0,1 0-1,-1 0 1,-13-13-1,13 13-15,-13-13 16,13 13 31,1 0-31,-1 13-1,-13-26-15,13 13 16</inkml:trace>
  <inkml:trace contextRef="#ctx0" brushRef="#br0" timeOffset="148065.03">4419 8004 0,'0'0'0,"-14"0"16,1 0-16,13 13 0,-13 0 15,13 0-15,0 1 16,0-1-16,0 0 16,0 0-16,0 0 0,13-13 15,-13 14-15,13-14 16,1 0-1,12 0-15,-13-14 16,0 14-16,-13-13 0,14 13 0,-14-13 16,13 13-16,-13-13 0,0 0 15,13 13-15,-13-14 0,0 1 0,0 0 16,0 0-16,-13-1 0,13 1 0,0 0 16,0 0-16,-13 0 0,13-1 15,0 1-15,0 0 16,-14 0-16,28-1 15,12 28 17,-26-1-32,0 0 15,0 0-15,0 1 16,0-1-16,0 0 16,0 0-16,0 0 15,-13-13-15,13 14 16,0-1-16,13 0 31,0-26-31,1 13 16,-1 0-16,-13-13 15,13 13-15,0-14 0,1 14 16,-1-13-16,0 13 0</inkml:trace>
  <inkml:trace contextRef="#ctx0" brushRef="#br0" timeOffset="148303.84">4829 7646 0,'0'-13'0,"0"26"0,13-26 16,0 13-16,0 13 15,1 1-15,-14-1 16,13 0-16,-13 0 0,0 1 16,13-1-16,-13 0 0,0 0 0,0 14 15,0-14-15,0 13 0,0-12 0,0-1 16</inkml:trace>
  <inkml:trace contextRef="#ctx0" brushRef="#br0" timeOffset="148440.9">5001 7938 0</inkml:trace>
  <inkml:trace contextRef="#ctx0" brushRef="#br0" timeOffset="149213.26">926 11073 0,'0'26'16,"13"-26"-1,-13 13-15,0 1 0,13-1 16,-13 0-16,14 0 0,-14 1 16,13-1-16,-13 0 0,0 0 15,13-13-15,-13 14 0</inkml:trace>
  <inkml:trace contextRef="#ctx0" brushRef="#br0" timeOffset="149372.13">820 10941 0</inkml:trace>
  <inkml:trace contextRef="#ctx0" brushRef="#br0" timeOffset="149712.5">1098 10941 0,'-13'0'0,"26"0"0,-26 13 16,13 0-1,0 0 1,13 0-16,0 1 0,0-1 15,1 0-15,-1-13 16,-13 13-16,26 1 0,-26-1 16,14-13-16,-14 26 0,0-13 15,0 1 1,0-1-16,-14 0 0,14 0 16,-13-13-1</inkml:trace>
  <inkml:trace contextRef="#ctx0" brushRef="#br0" timeOffset="151288.54">1707 10914 0,'13'-40'16,"0"27"-16,-13 0 15,0 0-15,0-1 0,0 1 16,0 0-16,0 0 0,-13 0 0,13-1 15,0 1-15,-13 0 0,13 0 0,-14-1 16,1 1 0,0 26-1,13 1-15,0-1 16,0 0-16,0 0 16,13 1-16,-13-1 0,13 0 15,1-13-15,-14 13 0,13-13 16,0 0-16,0-13 15,0 13-15,1 0 0,12-13 0,-13 0 16,1-1-16,12 1 0,-13 0 0,1 0 16,-1-1-16,-13 1 0,13 13 15,-13-13-15,13 0 0,-13-1 16,13 1-16,-26 13 16,13-13-1,-26 26 1,26 0-16,-13 1 15,13-1 1,0 0-16,0 0 16,26-26 15,-13 13-15,-13-13-16,13 13 15,1-13 1,-1 26-1,0-13 1,0 0-16,1-13 16,-1-1-1,0 1-15,0 0 16,-13 0-16,0 0 16,14-1-16,-14 1 0,0 0 15,0 0-15,-14-1 0,14 1 16,0 0-16,0 0 0,-13 13 15,13-13-15,0-1 16,-13 1-16,0 0 31,13 39 16,0-12-31,13-14-16,-13 13 0,13 0 15,-13 0-15,13-13 16,-13 13-16,14 1 16,-14-1-16,13-13 15,0 13 1,0-13 0,-13 13-16,13-13 15,1 0 1,-1 0-1,0 0 1,0 0 0,1 0-1,-14-13-15,13 0 32,-13 0-17,0-1 16,0 1-15,0 0-16,0 0 16,0 0 93</inkml:trace>
  <inkml:trace contextRef="#ctx0" brushRef="#br0" timeOffset="151468.71">1931 10570 0,'14'-13'16,"-1"13"-16,-13-13 0,13 13 16,0-14-16,-13 1 0,14 0 0,-1 13 15,0-13-15,0 0 0</inkml:trace>
  <inkml:trace contextRef="#ctx0" brushRef="#br0" timeOffset="151628.43">2170 10358 0,'0'-13'32,"13"40"-32,0-27 15,-13 13-15,0 0 0,13-13 16,-13 13-16,0 1 15,13-1-15,-13 0 0,0 0 16</inkml:trace>
  <inkml:trace contextRef="#ctx0" brushRef="#br0" timeOffset="151777.54">2064 10306 0</inkml:trace>
  <inkml:trace contextRef="#ctx0" brushRef="#br0" timeOffset="152285.93">2222 10345 0,'0'13'0,"0"-26"0,14 26 0,-14 1 16,13-14-16,0 13 16,0-13-1,-13 13 1,14-13 15,-14-13-15,13 0-16,-13-1 15,13 14-15,-13-13 0,0 0 16,13 13-16,-13-13 0,14 0 16,-14-1-1,13 14 1,0 14-1,0-1 1,0 0-16,-13 0 0,14 0 16,-1 1-16,-13-1 0,13 0 0,-13 14 15,13-14-15,-13 0 0,14-13 16,-14 13-16,0 1 0,13-14 0,-13 13 16,13-26 15,-13-1-31,0 1 0,0 0 15,0-14-15,0 14 0,13-13 0,-13-1 16,14 14-16,-1-27 0,-13 14 0,13 13 16,0-14-16,0 14 0,1 0 15</inkml:trace>
  <inkml:trace contextRef="#ctx0" brushRef="#br0" timeOffset="152612.84">2910 9842 0,'27'14'16,"-27"-1"-16,0 0 0,26 53 31,-12-52-31,-14-1 0</inkml:trace>
  <inkml:trace contextRef="#ctx0" brushRef="#br0" timeOffset="152768.81">2791 9776 0,'-13'14'0</inkml:trace>
  <inkml:trace contextRef="#ctx0" brushRef="#br0" timeOffset="153136.69">3056 9776 0,'-13'27'0,"13"-14"0,0 0 15,0 0-15,0 1 0,0-1 16,0 0-16,13 0 0,0-13 16,-13 14-16,13-14 15,1 0-15,-1 0 0,0-14 16,0 14-16,1-13 0,-1 13 15,-13-13-15,13 0 0,0-1 16,-13 1-16,0 0 0,0 0 16,0 0-16,0-1 15,-13 28 17,26-1-17,0 0 1,1-13-16,-14 13 15,13-13-15,0 0 0,0 0 0,1 0 16,-1-13-16,13 13 0</inkml:trace>
  <inkml:trace contextRef="#ctx0" brushRef="#br0" timeOffset="154312.2">3651 9313 0,'-13'14'0,"13"25"16,0-26 0,0 1-16,0-1 0,0 13 0,13-12 15,-13 12-15,0-13 0,13 1 16,1-1-16,-1 13 0,0-13 16,0 1-16,1-14 0,-1 0 15,0 0-15,14 0 16,-27-14-16,13 14 0,-13-13 15,13 13-15,-13-13 0,0 0 16,13 0-16,-13-1 0,0 1 0,0 0 16,-13 0-16,13-1 0,0 1 0,-13 0 15,13 0-15,0-1 16,-13 1 0,26 40 30,0-14-30,0 0-16,0-13 0,1 13 16,-1-13-16,0 0 0,0 0 15,1 0-15,-1 0 0,0 0 16,0-13-16,1 13 0,-1-13 0,0 13 16,0-13-16,0-1 0,1 14 15,-14-13-15,13 0 0,0 13 0,-13-13 16,0 0-16,13 13 0,-13-14 15,0 1-15,0 0 16,0 0-16,-13 13 16,-13 0 15,26 13-31,0 0 16,0 0-16,0 1 15,0-1 1,13 0-16,0 0 15,0-13-15,1 0 0,-1-13 16,0 13-16,0-13 16,1 13-16,-1-13 0,0-1 15,0 14-15,-13-13 0,13 0 16,1 13-16,-14-13 0,0-1 16,13 14-16,-13-13 15,-13 0 1,-1 13-1,1 13 1,13 0-16,0 1 16,-13-14-1,26 13 1,0-26 15,1 13-15,-1-14-1,0 1-15,0 13 16,1-13 0,-1 13-1,0 0 1,0-13 15,0 13-15,1-13-1,-1-1 1,-13 1-16,13 0 16,0 0-1,-13-1-15,14 1 16</inkml:trace>
  <inkml:trace contextRef="#ctx0" brushRef="#br0" timeOffset="155438.72">4657 8678 0,'-14'-13'16,"1"40"-1,13-14 1,-13 0-16,13 0 0,13 0 15,-13 1-15,0-1 0,0 0 0,0 0 16,0 1-16,13-1 0,-13 0 16,14 0-16,-14 1 0,13-1 0,0-13 15,-13 13-15,13-13 0,1 0 0,-1 13 16,-13-26-16,13 13 0,13 0 16,1-13-16,-14 0 15,0 13-15,1-14 0,12 1 0,-13 0 16,1 13-16,-1-13 0,0-1 0,-13 1 15,13 13-15,0-13 0,1 0 16,-14-1-16,13 1 16,-13 0-16,0 0 15,-13 0 1,-1 26 31,14 0-47,0 0 15,0 0 1,14-13-16,-14 14 0,13-14 16,0 13-16,0-13 15,1-13 1,-1 13-16,0 0 16,-13-14-16,0 1 15,0 0-15,-13 0 16,0 0-1,-1 13 1,1 0 0,0 0-16,0 0 15,13 13 1</inkml:trace>
  <inkml:trace contextRef="#ctx0" brushRef="#br0" timeOffset="156568.41">5027 8718 0,'-26'13'47,"39"-13"-47,0 0 16,0 0-1,1-13-15,-1 13 16,0-13-16,0 0 0,0-1 16,-13 1-16,0 0 15,0 0-15,14-1 16,-14 1-1,-14 0-15,41 26 63,-27 0-63,13-13 16,0 0-1,1 0-15,-1 0 16,0 0-16,-13-13 15,13 13-15,-13-13 16,14 0 0,-14-1-16,0 1 0,0 0 15,0 0 17,13 26-1,-13 0-16,13 0-15,0-13 16,-13 14 0,13-14-16,1 0 15,-1-14 1,0 1 0,0 0-1,-13 0-15,0 0 16,0-1-16,0 1 15,0 0-15,0 0 16,14-1 0,-1 28 15,0-14-15,-13 13-16,0 0 15,0 0 1,0 1-16,0-1 15,-13 0-15,13 0 16,0 0 0,13-39 15,0 26-15,-13-13-16,14 0 0,-14-1 15,13 1-15,-13 0 0,0 0 16,13 13-16,-13-14 0,0 1 0,13 0 15,-13 0-15,0 39 63,13-13-32,1-26-15,-1 13-1,0 0 1,-13 13-16,0 1 16,0-1-1,0 0-15,-13 0 16,13 1-16,0-1 0,-13-13 0,-1 13 16</inkml:trace>
  <inkml:trace contextRef="#ctx0" brushRef="#br0" timeOffset="157177.81">3069 10517 0,'-26'13'0,"12"-13"15,1 14 1,0-1-16,0 0 15,13 0-15,13 1 16,-13-1-16,13-13 16,-13 13-16,13 0 0,1-13 0,-1 13 15,0-13-15,-13 14 0,13-14 16,1 13-16,-1 0 16,0 14-1,-13-14-15,0 0 16,-13-13-16,13 13 0,-13 1 15,-1-14-15,14 13 0,-13-13 0,0 0 16,13 13-16,-13-13 0,-1 0 16,1 0-1,13-13 1</inkml:trace>
  <inkml:trace contextRef="#ctx0" brushRef="#br0" timeOffset="157819.6">3135 10557 0,'0'-13'31,"14"39"-15,-14-13 0,13 1-1,0-14-15,-13 13 16,13-13-16,0 0 31,1 0-31,-14-13 31,13-1-31,-13 1 16,-13 0 0,13 0-1,13 13 1,0 13 15,0-13-15,-13 13-16,14 0 31,-1-13-15,-13-13-1,13 0 1,-13 0-1,13 13-15,-13-14 16,14 14-16,-1 0 16,0 0-1,0 14 1,0-14 0,1 0 15,-1-14 16,-13 1-47,13 0 15,-13 0-15,13 13 16,-13-13-16,14-1 16</inkml:trace>
  <inkml:trace contextRef="#ctx0" brushRef="#br0" timeOffset="158356.31">3664 10134 0,'14'26'16,"-14"-13"-1,13 0-15,-13 1 0,13-1 16,-13 0-16,13 0 0,1 1 0,-14-1 15,13 0-15,-13 0 0,13 1 16,-13-1-16,13-13 0,-13 13 0,14 0 16,-14-39 31,0 13-47,0-1 15,13 14-15,-13-13 0,13 13 0,-13-13 16,13 0-16,0 13 15,1 0 1,12 0-16,-26 13 16,13-13-16,-13 13 15,0 0-15,0 1 16,-13-1-16,13 0 0,-13 0 16,0 0-16,-1-13 15,14 14-15,-13-14 16,0 0-16</inkml:trace>
  <inkml:trace contextRef="#ctx0" brushRef="#br0" timeOffset="159077.75">3929 10107 0,'0'27'32,"0"-14"-17,0 0-15,13 0 16,-13 0 0,14-13-16,-14 14 15,13-14-15,0 0 0,0 0 16,0 0-1,1-14-15,-1 1 16,-13 0-16,13 0 16,-13 0-16,0-1 15,0 1 1,0 0-16,13 26 47,1 0-32,-1 1 1,0-14 0,0 13-1,1-26 1,-14-1 0,13 14-16,-13-13 0,0 0 15,13 0-15,-13-1 16,0 1-16,13 13 15,-13-13-15,13 13 16,1 0-16,-1 0 31,-13 13-31,13-13 0,-13 13 16,13 1-16,-13-1 31,14-26 0,-14-1-31,0 1 16,0 0-16,0 0 0,13-1 16,-13 1-16,0 0 0,0 0 15,0 0-15,0-1 16,13 1 0</inkml:trace>
  <inkml:trace contextRef="#ctx0" brushRef="#br0" timeOffset="159508.34">4432 9657 0,'13'-13'0,"13"0"31,1 13-15,-14 0-16,0 13 0,-13 0 16,14-13-16,-1 14 0,-13-1 15,13 0-15,-13 0 0,13 14 16,1-14-16,-14 0 0,13 0 0,0 1 16,-13-1-16,13 0 0,-13 0 0,0 0 15,13-13-15,-13 14 0,14-14 16,-1 0-1,0 13 1</inkml:trace>
  <inkml:trace contextRef="#ctx0" brushRef="#br0" timeOffset="159718.31">4736 9935 0</inkml:trace>
  <inkml:trace contextRef="#ctx0" brushRef="#br0" timeOffset="160309.79">4299 9988 0,'0'0'0,"14"26"16,-1-26 0,-13 14-16,13-1 15,-13 0 1,13-13-16,-13 13 0,14-13 47,-1-13-47,-13 0 0,13 13 15,-13-13 1,13 13-16,1-14 0,12 14 16,-13 0-1,0 0 1</inkml:trace>
  <inkml:trace contextRef="#ctx0" brushRef="#br0" timeOffset="165451.67">5887 6800 0,'0'0'15,"26"26"1,-12-26-16,-14 13 15,13-13-15,0 14 0,0-1 16,1 0-16,-1-13 0,0 13 0,0 1 16,0-1-16,1-13 0,-14 13 15,13-13-15,0 13 0,0 1 16,1-14-16,-1 0 16</inkml:trace>
  <inkml:trace contextRef="#ctx0" brushRef="#br0" timeOffset="165668.44">6204 6747 0,'-26'26'32,"26"-12"-32,-13-1 0,13 0 15,-13 13-15,13-12 0,-14 12 0,14 1 16,-13-1-16,13-13 0,-13 14 0,13-1 15,-13 1-15,13-14 0,-14 0 0,14 14 16,0-14-16,-13 0 0,13 0 16,0 1-16,0-1 0,0 0 15,-13 0-15</inkml:trace>
  <inkml:trace contextRef="#ctx0" brushRef="#br0" timeOffset="166381.7">6734 6310 0,'-14'66'31,"14"-39"-15,0 13-16,0-1 0,0 1 0,0 0 16,0 13-16,0-14 0,0 1 15,0 13-15,0-13 0,0-1 0,0 1 16,0-14-16,0 1 0,0-1 0,-13-12 16,13 12-16,0-13 0,0 0 15,0 1-15,0-1 0,0 0 0,0 0 16</inkml:trace>
  <inkml:trace contextRef="#ctx0" brushRef="#br0" timeOffset="166837.51">7078 6826 0,'-14'-26'15,"14"13"1,-13-1 0,13 1-16,0 0 0,-13 0 0,13-1 15,-13 1-15,13 0 0,0 0 16,0 0-16,-14 13 0,14-14 0,0 1 15,27 26 17,-14-13-32,0 14 0,1-1 15,-1 0-15,0-13 16,0 0-16,1 13 0,-1-13 16,0 0-16,0 0 0,0-13 15,1 0-15,-14 0 16,0-1-16,0 1 15,0 0-15,0-14 0,0 14 16,-14-13-16,1 12 0,13-12 16,-13 0-16,0 12 0,13-12 0,0 13 15,-13-1-15,13 1 0,0 0 16,0 53 0,0-14-1</inkml:trace>
  <inkml:trace contextRef="#ctx0" brushRef="#br0" timeOffset="167729.67">6324 8109 0,'79'27'31,"-66"-14"-31,0 0 0,1-13 0,-1 14 15,0-14-15,0 13 0,1-13 16,-1 0-16,0 0 0,0 0 0,0 0 16,1 0-16,-1-13 0,0 13 0,0-14 15,1 1-15,-1 0 16,-13 0-16,13-1 0,-13 1 16,0 0-16,0 0 0,0 0 31,-13 39-16,13-13 1,0 14-16,0-14 0,0 13 0,0 14 16,0-13-16,0 12 0,0 1 15,0 0-15,0-1 0,0 1 16,0-14-16,0 1 0,0-1 0,-13 14 16,13-14-16,0-12 0,0-1 15,0 0-15,0 0 0,0 1 0</inkml:trace>
  <inkml:trace contextRef="#ctx0" brushRef="#br0" timeOffset="168077.84">6813 7633 0,'0'66'32,"13"-39"-32,-13 13 0,13-1 0,-13 1 15,14 13-15,-1 0 0,0 0 16,0 0-16,-13-1 0,14 1 0,-1 14 15,0-15-15,0 1 0,1-13 0,-1 0 16,-13-1-16,13 1 0,0-13 16,-13-1-16,13 0 0,-13-12 0,0-1 15,0 0-15,14 0 0,-14 1 16,13-28 0,0 1-16</inkml:trace>
  <inkml:trace contextRef="#ctx0" brushRef="#br0" timeOffset="168589.15">7474 8202 0,'-13'-13'47,"0"0"-47,13-1 0,-13 14 16,13-13-16,-13 0 0,13 0 0,0-1 16,-14 1-16,14 0 0,0 0 15,-13 13-15,13-13 0,0-1 16,13 1-16,1 13 15,-1 0 1,0 13-16,0-13 0,0 0 16,1 14-16,-1-14 0,0 13 15,0-13-15,1 0 16,-1 0-16,0 0 16,0 0-16,1-13 15,-1-1-15,0 1 16,-13 0-16,0 0 0,13-1 15,-13 1-15,0-13 0,0 13 0,0-14 16,0 14-16,0-14 0,0 1 0,0 13 16,0-1-16,-13-12 0,13 13 15,0 0-15,0-1 0,0 1 16,0 0-16</inkml:trace>
  <inkml:trace contextRef="#ctx0" brushRef="#br1" timeOffset="181542.59">7064 6866 0,'-13'0'16,"0"0"-16,13 13 0,-13-13 15,13 13-15,-14-13 16,14 14-16,-13-14 15,13 13-15,-13-13 16,39 13 15,-12-26-31,-1 13 16,0 0-16,0-13 0,14 13 16,-14-14-16,14 1 0,12 0 15,-12 0-15,-1-1 0,1 1 0,-14 0 16,13 0-16,-13 13 0,14-13 0,-14 13 15,-13-14-15,13 14 0,1 0 16,-14-13-16,13 13 0,0 0 16,-53 13 15,27-13-31,0 14 16,-14-1-16,14 0 0,-13-13 0,-1 13 0,14 0 15,-13 1-15,-1-1 0,14-13 16,0 13-16,-14 0 0,14-13 15,0 14-15,0-14 16,-1 13-16,54-40 31,-27 27-31,14-13 16,-1 0-16,1 0 0,12-14 0,-12 14 16,12 0-16,-12 0 0,-1-1 15,-12 1-15,12 0 0,-13 13 16,1 0-16,-14-13 0,13 13 0,0 0 15,-13-14-15,-13 41 32,0-27-32,-1 13 0,1 0 15,-13 1-15,-14 12 0,13-13 0,-12 0 16,12 1-16,1-1 0,-1 0 16,14 0-16,-13 1 0,13-14 0,-1 13 15,1-13-15,0 0 0,53-13 31,-27 13-31,13-14 16,14 1-16,-14 0 0,14 0 16,-14-1-16,1 1 0,-1 0 0,1 0 15,-14 13-15,0-13 0,1 13 16,-1-14-16,0 14 0,0-13 0,0 13 16,-52 13 15,26-13-31,-1 14 0,1-14 15,0 13-15,0-13 0,-14 13 0,14-13 16,0 0-16,13 13 0,-14-13 16,1 0-16,0 13 0,0-13 15</inkml:trace>
  <inkml:trace contextRef="#ctx0" brushRef="#br1" timeOffset="199703.69">7858 8189 0,'-13'0'0</inkml:trace>
  <inkml:trace contextRef="#ctx0" brushRef="#br1" timeOffset="200636.59">7594 8361 0,'26'-27'16,"-52"54"-16,65-54 0,-26 14 0,-13 0 0,14 13 16,12-13-16,-13-1 0,1 1 0,-1 0 15,13 13-15,-12-13 0,-1 0 16,0 13-16,0-14 0,0 14 0,1-13 16,-1 13-16,-13-13 15,13 13-15,-39 13 47,12 0-47,1-13 0,0 14 16,0-1-16,0 0 0,-14 0 0,14 0 15,-14 1-15,14-1 0,-13 0 16,-14 14-16,27-14 0,-14 0 16,14 0-16,0 1 0,-14-1 0,14-13 15,0 13-15,0 0 0,-14 0 16,14-13-16,13 14 15,40-28 17,-27 1-32,13 0 0,-12 13 0,12-26 15,14 12-15,-14 1 0,1 0 16,-14 0-16,13-1 0,1 1 16,-14 0-16,0 0 0,14 13 0,-27-14 0,13 14 15,0-13-15,0 13 16,-52 0 15,26 13-31,-14 1 0,14-14 0,-14 13 0,1 0 16,-1-13-16,14 13 0,-13 1 15,13-14-15,-1 13 0,-12-13 16,13 13-16,-1-13 0,1 13 16,53-26 15,-27 0-31,0 13 0,14-13 15,-1-1-15,-13 1 0,27 0 0,-27 0 16,14-1-16,-14 14 0,0-13 16,1 0-16,-1 13 0,0-13 0,0 13 15,-39 13 17,13-13-32,-1 13 0,-12 0 15,13 1-15,-14-1 0,1 0 0,-1 0 16,14 1-16,-13-1 0,-1 0 0,1 0 15,12 1-15,1-1 0,0-13 16,0 13-16</inkml:trace>
  <inkml:trace contextRef="#ctx0" brushRef="#br1" timeOffset="202290.37">5609 10332 0,'13'53'0,"27"92"31,-40-118-31,0 13 0,13-14 16,-13 0-16,0 1 0,0-14 0,0 14 16,0-1-16,0-13 0,0 14 15,0-14-15</inkml:trace>
  <inkml:trace contextRef="#ctx0" brushRef="#br1" timeOffset="202784.83">5503 9988 0,'14'119'31,"-14"-79"-31,13 13 0,-13 0 0,13 13 0,0-13 16,-13 13-16,13-26 0,-13 12 0,0 1 15,14-13-15,-14 0 16,0-1-16,13 1 0,-13-13 0,0-14 16,0 13-16,0-13 0,0 1 0,0-1 15</inkml:trace>
  <inkml:trace contextRef="#ctx0" brushRef="#br1" timeOffset="203313.3">5358 10292 0,'-40'40'16,"-13"26"-1,40-39-15,-13-1 0,12 1 0,1-14 16,0 13-16,0-13 0,-1 14 0,14-14 16,-13 0-16,13 1 0,-13-1 15,13 0-15,-13-13 16,39-26-1,-26 12-15,13-12 16,1-1-16,-1-12 0,0-1 16,14 0-16,-14-13 0,13 14 0,-13-14 15,14 13-15,-14 14 0,14-14 0,-14 14 16,0-1-16,0 1 0,1 12 0,-1 1 16,0 0-16,0 0 0,0 13 15,1 0-15,-1 0 0,0 0 16,27 13-16,-27 0 0,13 0 15,1 14-15,-1-1 0,1-12 16,-14 12-16,14-13 0,-14 14 0,0-14 16,0 0-16,14 0 0,-14 1 0,-13-1 15,13-13-15,0 13 0,1 0 16,-14 1-16,0-1 0</inkml:trace>
  <inkml:trace contextRef="#ctx0" brushRef="#br1" timeOffset="203744.87">4948 10398 0,'26'53'31,"-13"-26"-31,1 12 0,-1 1 0,0 0 0,14 39 16,-27-39-16,13-1 0,-13 1 15,13 0-15,-13-14 0,0 1 16,13-1-16,-13-13 0,0 14 0,0-14 15,-13 13-15</inkml:trace>
  <inkml:trace contextRef="#ctx0" brushRef="#br1" timeOffset="203984.46">5027 10438 0,'-26'13'0,"-41"106"32,54-92-32,0 12 0,-13 1 0,12-14 15,1 14-15,0-13 0,-14 12 16,14-12-16,0-1 0,0 1 0</inkml:trace>
  <inkml:trace contextRef="#ctx0" brushRef="#br1" timeOffset="204209.43">4802 10438 0,'27'0'0,"65"0"32,-79-13-32,14 13 0,-1 0 0,1 0 15,-1-14-15,-12 14 0,12 0 0,27-13 16,-27 13-16,-12 0 0,-1-13 16,13 13-16,-12 0 0,-1-13 15</inkml:trace>
  <inkml:trace contextRef="#ctx0" brushRef="#br0" timeOffset="-214157.25">8123 8930 0,'-14'-14'15,"-12"28"1,26-1 0,-13-13-16,0 13 0,-1 0 15,1 1-15,0-1 0,0 0 0,-14 0 16,14 1-16,-13 12 0,-1-13 16,14 14-16,0-14 0,-1 0 0,-12 0 15,13 1-15,-1-1 0,1 0 0,-13 0 16,13 14-16,-1-27 0,1 13 0,0 0 15,13 0-15,-13 1 16,-1-14-16,14 13 0,-13-13 0,13 13 16,-13-13-16,13 13 0,-13 1 15,-1-14 1,14 13-16,-13 0 31,40-13 16,-14 0-31,0-13-16,0 13 15,1 0-15,-1 0 16,0 0-16,0 0 0,1 0 0,12 0 16,-13 0-16,0 0 15,14 0-15,-14 0 0,14 0 0,-1 0 16,-13 0-16,14 0 0,-14-13 0,13 13 15,1 0-15,-14 0 0,0-14 16,14 14-16,-14 0 0,0 0 0,0 0 16,1-13-16,-1 13 0,0 0 15,0 0-15,1 0 32,-1 0-17,0-13 32,-39 13 250,26-13-266,13 13 704,-26 0-610,-1-14-125,1 14 0,0-13 15,0 0-15,-14 13 0</inkml:trace>
  <inkml:trace contextRef="#ctx0" brushRef="#br0" timeOffset="-212231.94">9049 8705 0,'13'-13'31,"0"26"-31,0-13 0,1 13 16,-1-13-16,0 13 0,0 0 15,1-13-15,-1 14 0,0-14 16,0 0-16,1 0 0,-1 0 0,0 0 16,0 0-16,0 0 0,1-14 15,-1 14-15,0-13 0,0 0 16,1 0-16,-1 0 0,-13-1 16,0 1-16,13 0 15,-13 0 1,-26 39 15,26-13-31,-14 1 16,14-1-16,-13 13 0,0 1 0,13-14 15,-13 13-15,13 14 0,-14-13 0,1-1 16,13 0-16,0-12 0,-13 12 0,13 1 16,0-14-16,-13 0 0,13 0 15,0 1-15,0-1 0,0 0 0,-13-13 16,13 13-16,-14-26 31,14 0-31</inkml:trace>
  <inkml:trace contextRef="#ctx0" brushRef="#br0" timeOffset="-211959.09">8850 8612 0,'-26'27'0,"52"-54"0,-52 67 0,13-27 15,13 14-15,0-1 0,0 0 16,0 14-16,13 13 0,0 0 16,0 0-16,14 0 0,-14 0 0,0-14 15,14 1-15,-14 0 0,13-14 0,1 14 16,-14-14-16,14 1 0,-1-14 0,-13 14 15,14-27-15,-1 13 0,-13-13 16,14 0-16,-1 0 0,1-13 0,-1-1 16,14-12-16,-14 13 0,1-27 15</inkml:trace>
  <inkml:trace contextRef="#ctx0" brushRef="#br0" timeOffset="-211672.88">9340 8308 0,'0'0'0,"26"0"0,-13 13 15,1 0-15,12 1 0,1 12 0,12 1 16,-12 12-16,-1 1 0,14 0 0,-14-1 15,-12-12-15,12 12 16,-13 1-16,1 0 0,-1-1 0,-13-12 16,13 13-16,-13-14 0,-13 14 0,13-1 15,-13 1-15,-1-13 0,14 12 0,-13-25 16,-13 12-16,12 0 0,1-12 16,0 12-16,0-13 0</inkml:trace>
  <inkml:trace contextRef="#ctx0" brushRef="#br0" timeOffset="-208742.83">9988 7766 0,'-13'0'16,"26"13"62,0-13-31,0 13-1,1-13-46,-1 0 32,-13 13-32,13-13 15,0 0-15,1 13 32,-1-13-32,0 0 15,-13 14-15,13-14 16,1 13-16,-1 0 15,0-13-15,0 13 0,0-13 16,1 14-16,-1-14 0,0 13 0,0-13 16,14 13-16,-14 0 0,14-13 0,-14 14 15,13-1-15,1 0 0,-14-13 16,27 26-16,-14-12 0,1-1 0,12 13 16,-12-12-16,12-1 0,-12 13 0,-1-13 15,14 1-15,-14 12 0,14 1 16,-13-14-16,12 13 0,-12-12 0,-1 12 15,14-13-15,-14 14 0,1-1 0,12-13 16,14 27-16,-13-13 0,-14-14 16,1 13-16,-1 1 15,14-14-15,-13 0 0,12 14 16,-12-14-16,-14 0 0,0 0 0,14 0 16,-14 1-16,0-1 0,14 0 15,-14 0-15,0-13 0,0 14 0,0-1 16,1-13-16,-1 13 0,0-13 0,-13 13 15,13-13-15,1 14 0,-1-1 16,0-13-16,0 13 16,1 0-1,-1-13-15,0 13 16,0 1 0,-13-1-16,13-13 15,1 13 1,-1-13-16,0 13 15,-13 1-15,13-14 16,1 13-16,-1 0 16,0 0-16,-13 1 15,13-14-15,1 13 16,-1-13 0,-13 13-16,13-13 15,0 13 1,0-13-16,1 13 31,-1-13-15,-26-13 62,-1 13-63</inkml:trace>
  <inkml:trace contextRef="#ctx0" brushRef="#br0" timeOffset="-208208.67">11668 8678 0,'13'27'47,"1"-14"-47,-14 0 16,13-13-16,-13 13 0,13 1 16,0-1-16,-13 0 0,14-13 15,-14 13-15,13 1 0,0-14 16,-13 13-16,13-13 0,-13 13 0,13 0 15,1 1-15,-1-14 16,-13 13-16,13-13 0,-13 13 16,13-13-16,-13 13 0,14-13 15,-1 13 1,-13 1-16,-13-14 16,13 26-16,-14-13 15,14 1-15,-13-1 0,0-13 16,-14 26-16,14-12 15,-13 12-15,-1-13 0,14 0 16,-13 1-16,-14 12 0,27-13 16,-1 1-16,1-14 0,0 13 0,0-13 15</inkml:trace>
  <inkml:trace contextRef="#ctx0" brushRef="#br0" timeOffset="-202520.47">11324 8109 0,'13'0'0,"1"0"16,-1 0-16,-13 14 15,13-14-15,0 13 16,1 0-16,-1 0 16,0 1-16,-13-1 15,13-13-15,-13 13 0,13-13 0,-13 13 16,14 1-16,-14-1 16,13-13-16,-13 13 15,13-13-15</inkml:trace>
  <inkml:trace contextRef="#ctx0" brushRef="#br0" timeOffset="-202242.19">11642 8123 0,'0'0'0,"-27"13"15,14 0 1,13 0-16,-13 1 0,13-1 16,-13 0-16,13 0 0,-14 1 0,14-1 15,-13 13-15,13-13 0,-13 1 16,13-1-16,-13 0 0,13 14 0,-14-14 16,14 0-16,-13 0 0,13 1 0,0-1 15,-13-13-15,13 13 0,0 0 16,-13 0-16</inkml:trace>
  <inkml:trace contextRef="#ctx0" brushRef="#br0" timeOffset="-201805.19">11311 7990 0,'-40'93'15,"27"-53"1,13-1-16,0 1 0,0-13 15,0-1-15,0 0 0,13 1 0,-13 13 16,13-14-16,-13-13 0,14 14 0,-1-14 16,0 13-16,0-12 0,1-1 15,-14 0-15,26 0 0,1 1 16,-14-14-16,0 0 0,0 0 0,0 0 16</inkml:trace>
  <inkml:trace contextRef="#ctx0" brushRef="#br0" timeOffset="-201477.31">11642 7911 0,'26'13'15,"-52"-26"-15,65 40 0,-25-14 0,-1 0 16,0 13-16,0 1 0,1 13 16,-14-14-16,13 0 0,-13 1 0,13-1 15,-13 14-15,0-13 0,0-1 0,0 0 16,-13 1-16,13-1 0,0-12 15,-13 12-15,13 1 0,-14-14 16,14 0-16,-13 0 0,13 0 0,-13 1 16</inkml:trace>
  <inkml:trace contextRef="#ctx0" brushRef="#br0" timeOffset="-198927.43">11020 7580 0,'0'-13'0</inkml:trace>
  <inkml:trace contextRef="#ctx0" brushRef="#br0" timeOffset="-197932.12">11853 9022 0</inkml:trace>
  <inkml:trace contextRef="#ctx0" brushRef="#br0" timeOffset="-191994.97">10120 7805 0,'14'0'0,"-1"0"0,0 0 15,0 0-15,0 0 16,1-13 0,-1 13-16,0 0 15,0 0-15,1 0 0,-1 0 0,0 0 16,0 0-16,1 0 0,12 0 0,-13 0 16,14 0-16,-1 0 0,1 0 0,-1 0 15,1 0-15,-1 0 0,0 0 0,1 0 16,-1 0-16,1 0 15,12 13-15,-12-13 0,-1 0 0,1 0 16,-1 13-16,1-13 0,-1 0 0,14 14 16,-14-14-16,27 13 15,-26-13-15,-1 13 0,1-13 0,-1 0 16,1 13-16,-1-13 0,0 0 0,1 14 16,13-14-16,-14 0 0,1 0 15,12 0-15,-12 0 0,-1 13 0,14-13 16,-14 0-16,14 0 0,-14 0 15,14 0-15,0 0 0,13 13 0,-27-13 16,27 0-16,-26 0 0,12 13 16,1-13-16,13 0 0,-13 14 0,-1-14 15,14 0-15,-13 0 0,13 0 16,-14 0-16,14 13 0,0-13 0,-13 0 16,13 0-16,0 0 0,0 13 0,0-13 15,0 0-15,-1 0 0,1 0 16,0 13-16,0-13 0,0 13 15,-13-13-15,13 0 0,0 14 0,0-14 16,0 0-16,-1 13 0,-12-13 0,13 13 0,0-13 16,-13 13-16,13 1 0,-1-14 15,-12 13-15,0-13 0,13 13 0,-14 0 16,14-13-16,-13 13 0,13 1 16,-13-14-16,13 13 0,-14 0 15,1-13-15,0 13 0,13 1 0,-14-14 16,1 13-16,0-13 0,-1 13 0,-12-13 15,12 13-15,1 1 0,0-14 16,-14 13-16,14 0 0,0-13 0,-1 13 16,-12-13-16,12 13 0,1 1 15,0-14-15,0 13 0,-14-13 0,14 13 16,-1 0-16,-12-13 0,39 14 16,-26-1-16,-14 0 0,1-13 15,12 13-15,1 1 0,0-1 0,-1 0 16,1 0-16,-14-13 0,14 13 15,0 1-15,0-1 0,-14 0 0,14-13 16,-14 13-16,1 1 0,12-1 0,-12-13 16,-1 13-16,14 0 0,-14-13 0,1 13 15,-1-13-15,1 14 0,-1-14 16,14 13-16,-14-13 0,1 13 0,-1-13 16,1 0-16,12 13 0,-12 1 0,-1-14 15,1 13-15,-1-13 0,1 0 16,-1 13-16,1-13 0,-1 13 15,1-13-15,-1 14 0,-13-14 0,14 0 16,-14 13-16,13-13 0,-12 13 0,-1-13 16,13 0-16,-13 0 0,1 13 15,-1-13-15,0 0 0,0 0 0,1 13 16,-1-13-16,0 0 0,0 0 0,1 14 16,-1-14-16,0 0 15,0 0-15,0 13 16,1-13-1,-1 0-15,0 13 16,0-13 0,1 0 15,-1 0-15,-13-13-1,0 0 16</inkml:trace>
  <inkml:trace contextRef="#ctx0" brushRef="#br0" timeOffset="-191562.3">16364 8639 0,'0'26'47,"14"-26"-32,-14 13-15,13-13 0,-13 14 16,13-14-16,-13 13 16,13-13-16,1 13 0,-1-13 15,0 13-15,0 0 16,1 1-16,-1-14 0,-13 13 16,13-13-16,-13 13 0,13-13 0,-13 13 15,13-13-15,1 14 0,-14-1 16,0 0-1,-14 0-15,1 1 16,0-14-16,-13 13 0,12 0 0,-25-13 16,-1 13-16,0 0 15,-13-13-15,14 14 0,-14-14 0,0 13 16,13-13-16,-13 13 0</inkml:trace>
  <inkml:trace contextRef="#ctx0" brushRef="#br0" timeOffset="-190491.56">14314 8493 0,'0'13'31,"0"1"-31,13-1 0,-13 0 16,0 0-16,13 0 16,-13 1-16,14-14 15,-14 13-15,13-13 0,-13 13 0,13-13 16,14 0-16,-14 0 16,-13-13-16,13 13 0,0 0 15,0-13-15,1-1 0,-1 1 16,0 0-16,-13 0 15,-13 39 17,13-13-32,-13 1 15,13-1-15,-14 0 16,1 14-16,0-1 0,0-13 16,0 1-16,-1 25 0,1-26 15,13 1-15,0-1 0,-13-13 0,13 13 16,-13-13-16,13 13 0,0 1 15</inkml:trace>
  <inkml:trace contextRef="#ctx0" brushRef="#br0" timeOffset="-190137.06">14248 8334 0,'-27'27'0,"14"-14"0,13 0 15,-13 1-15,13-1 0,-13 13 16,13 1-16,0-1 0,-14 1 16,14-1-16,0 0 0,0 1 0,0-1 15,0 14-15,14-13 0,-14-1 16,13 0-16,-13 1 0,13-1 0,0-12 16,-13 12-16,14-13 0,-1 1 0,0-14 15,0 13-15,14-13 0,-14 13 16,0-13-16,0 0 0,1-13 0</inkml:trace>
  <inkml:trace contextRef="#ctx0" brushRef="#br0" timeOffset="-189836.3">14618 8361 0,'66'66'31,"-52"-40"-31,-1 1 16,0-14-16,-13 14 0,13 12 0,-13-12 15,0-1-15,0 14 0,-13-14 16,13 14-16,-13 0 0,0-1 0,-1 1 15,1-13-15,-13 12 0,12-12 0,-12-1 16,13 1-16,0-1 0,-1-13 0,1 1 16,0-1-16,0 0 0,-1-13 15</inkml:trace>
  <inkml:trace contextRef="#ctx0" brushRef="#br0" timeOffset="-187099.41">10014 7739 0,'0'13'125,"14"-26"-94,-1 13-15,0 0-16,0 0 15,1 0-15,-1 0 16,0-13-1,0 13-15,1 0 0,-1 0 16,0 0-16,0 0 0,0 0 16,1 0-16,-1 0 0,0 0 15,0 0-15,1-13 16,-1 13-16,0 0 0,0 0 0,1 0 16,-1 0-16,0 0 0,13 0 0,-12 0 15,-1 0-15,0 0 0,14 0 16,-14 0-16,0 0 0,14 0 0,-14 0 15,13 0-15,1-14 0,-14 14 0,13 0 16,1 0-16,-1 0 0,1 0 16,-1 0-16,1 0 0,-1 0 0,1-13 15,-1 13-15,0 0 0,1 0 0,-1 0 16,14 0-16,-13 0 0,-1 0 16,14 0-16,-14 0 0,14 0 0,-14 0 15,14 0-15,0 0 0,-14 0 16,14 0-16,-14 0 0,14 0 0,0 0 15,-1-13-15,1 13 0,0 0 16,13 0-16,-14 0 0,1 0 0,0 0 16,-14 0-16,14 0 0,13 0 0,-14 0 15,1 0-15,0 0 0,-1 0 16,1 0-16,0 0 0,0 0 0,12 0 16,-12 0-16,13 0 0,-13 0 0,13 0 15,0-13-15,-14 13 0,14 0 16,0 13-16,0-13 0,0 0 0,0 0 15,0 0-15,0 0 0,13 0 0,-13 0 16,0 0-16,13 0 0,-13 0 0,13 0 16,0 0-16,0 0 15,-13 0-15,0 13 0,13-13 0,-13 0 16,0 0-16,13 0 0,0 13 0,14-13 16,-27 0-16,13 0 0,-13 14 0,26-14 15,-26 0-15,0 0 16,26 13-16,-13-13 0,14 13 0,-14-13 0,13 0 15,-13 13-15,14-13 0,-14 0 0,13 14 16,-13-14-16,14 0 0,-1 13 16,-13-13-16,14 13 0,-1-13 0,-13 13 15,14-13-15,-14 0 0,13 13 16,1 1-16,-14-14 0,13 13 0,0-13 16,1 13-16,-14 0 0,13-13 15,1 14-15,-1-1 0,0 0 0,1-13 16,-1 13-16,1 1 0,-1-1 0,0-13 15,1 13-15,-1 0 0,14 0 16,-14-13-16,14 14 0,-14-1 0,14 0 16,-14 0-16,14 1 0,-1-1 0,-12 0 15,12 0-15,1 0 0,-1 1 0,14 12 16,-13-13-16,13 14 0,-1-1 16,1-12-16,-26 12 0,26 0 15,-1 1-15,-12 13 0,13-14 0,-14 1 16,-12-1-16,-1 0 0,-13 1 15,14-1-15,-1 1 0,0-1 0,1 1 16,-14-14-16,13 13 0,-13 1 0,1-14 16,-1 14-16,0-14 0,-13 13 0,13-13 15,-13 14-15,13-14 16,-13 0-16,13 1 0,-13-1 0,13 13 0,-26-26 16,13 14-16,-14-1 0,14 0 0,-13 0 15,0 0-15,13 1 0,-14-1 16,1-13-16,0 13 0,-1 0 15,1 1-15,-13-1 0,12-13 0,-12 13 16,-1-13-16,1 13 0,-1-13 0,-13 14 16,14-14-16,-1 13 0,-13-13 15,14 13-15,-14-13 0,0 0 0,1 13 16,-1-13-16,0 0 0,0 0 16,0 13-16,1-13 15,-1-13 1,-13 0-1,13 0 17</inkml:trace>
  <inkml:trace contextRef="#ctx0" brushRef="#br0" timeOffset="-186804.34">21286 8864 0,'0'0'0,"0"-14"0,26 28 31,-13-1-15,1 0-16,-1 0 0,0 0 16,0 1-16,1-1 0,-1 0 15,0 0-15,0 1 0,0-1 0,1 0 16,-1 0-16,-13 1 0,13-1 15,-13 0-15,0 0 0,0 14 0,0-14 16,0 0-16,-13 0 0,0 1 16,-14-1-16,1 13 0,-14-12 0,0-1 15,-13 13-15,1-13 0,-15 1 0,15-1 16,-1-13-16,-14 13 0,15-13 16</inkml:trace>
  <inkml:trace contextRef="#ctx0" brushRef="#br0" timeOffset="-186271.87">20598 9565 0,'13'13'0,"-13"0"16,0 53 0,0-26-16,0 13 0,0-13 0,-13 12 15,13 1-15,0-13 0,0 13 0,0-13 16,0-1-16,0 1 0,0-13 16,0-14-16,0 13 0,0 1 0,0-14 15,0 0-15,0 0 0</inkml:trace>
  <inkml:trace contextRef="#ctx0" brushRef="#br0" timeOffset="-185648.9">20360 9512 0,'106'-40'0,"-212"80"0,264-93 0,-91 40 16,-1-1-16,13-12 0,40 13 0,-13-14 0,13 14 16,13-13-16,1-1 0,-1 1 15,13 12-15,1-12 0,0 0 16,-1-1-16,1 1 0,-14 12 0,0-12 16,0 13-16,-13-1 0,-26 1 15,-14 0-15,1 13 0,-14-13 0,-26 13 16,-1 0-16,-12 0 0,-1 0 0,1 0 15,-14 0-15,0 0 0,14 0 0,-14 13 16,0-13-16,0 13 0,-13 0 16,14 1-16,-1-1 0,-13 0 0,13 14 15,0-1-15,0 14 0,1-1 0,-14 1 16,13 0-16,0 13 0,-13-14 16,13 14-16,14 53 15,-14-53-15,0-13 0,1-1 0,-1 1 16,0 0-16,0-1 0,0 1 0,1 0 15,-1 0-15,0-1 0,0 1 16,-13-14-16,14 14 0,-1-13 0,-13-14 16,13 13-16,-13-13 0,0 14 0,0-14 15,0 0-15,-13 1 0,0 12 0,-1-13 16,1 1-16,-13 12 0,-1-13 16,-12 14-16,-14-1 0,-14-13 0,1 1 15,-13 12-15,13-13 0,-27 1 0,14-1 16,-40 0-16,0 13 0,0-12 15,0-1-15,-14 0 0,1 14 16,-14-14-16,14 13 0,-13-13 0,-1 14 0,14-14 16,-14 0-16,14 14 0,13-14 15,0 0-15,13-13 0,13 14 16,14-14-16,13 0 0,0 0 0,26 0 16,0-14-16,14 14 0,0-13 0,12 0 15,14 0-15,-13-1 0,13 1 16</inkml:trace>
  <inkml:trace contextRef="#ctx0" brushRef="#br0" timeOffset="-184517.11">21114 9723 0,'13'-13'16,"-26"0"-1,0 13-15,-1 0 16,1 13-16,0-13 0,0 0 15,-14 13-15,14-13 0,0 14 0,-1-1 16,-12-13-16,26 13 0,-13-13 16,0 13-16,-1 1 15,28-1-15,-14 0 16,13-13-16,0 13 0,0-13 0,14 13 16,-14-13-16,0 14 0,14-14 15,-14 0-15,13 13 0,-12-13 0,-1 0 16,0 0-16,0 13 0,0-13 0,1 0 15,-14 13 1,-14 1-16,1-1 16,0-13-16,0 13 0,-14-13 0,14 13 0,-13-13 15,12 0-15,-12 14 0,13-14 16,-14 0-16,14 13 0,0-13 16,0 0-16,-1 0 15</inkml:trace>
  <inkml:trace contextRef="#ctx0" brushRef="#br0" timeOffset="-183776.35">21378 9723 0,'-53'0'31,"40"0"-31,0 0 0,0 14 16,-1-14-16,1 13 0,0 0 16,0 0-16,13 1 15,0-1 1,13-13 0,0 0-16,0 0 15,1 0 1,-1 0-16,-13-13 15,13 13-15,0 13 32,1-13-17,-14 13-15,26-26 16,-13 0 0,1 13-16,-1-14 0,0 1 15,-13 0-15,13 0 0,0-14 0,1 14 16,-1-13-16,-13 12 0,0-12 0,13-1 15,-13 14-15,13 0 0,-13 0 16,0-1-16,0 1 0,0 0 16,0 0-16,14 13 0,-41 26 31,27-13-31,0 1 0,-13-1 16,13 0-16,0 0 0,0 14 0,0-14 15,0 0-15,0 1 0,13-1 0,0 0 16,-13 0-16,14-13 15,-1 13-15,0-13 0,0 0 16,1 0-16,-1-13 0,0 13 16,-13-13-16,13 13 15,-39 13 17,26 0-32,0 1 15,-13-14-15,13 13 16,13 0-1,-13 0-15,13-13 0,13 0 16,-26 14-16,14-14 16,-1 0-16,0 0 15,0 0-15,1 0 16,-1 0-16,13 0 16</inkml:trace>
  <inkml:trace contextRef="#ctx0" brushRef="#br0" timeOffset="-182952.34">22265 9485 0,'-14'-13'16,"-12"13"0,26 13-16,-13 1 0,0-14 0,13 13 15,-14 0-15,14 0 0,-13 14 16,13-14-16,-13 0 0,13 0 16,13 1-16,-13-1 15,13-13-15,1 13 16,-1-13-16,0-13 15,0 13-15,0-13 0,1 13 0,-14-14 16,13 14-16,-13-13 0,13-13 16,-13 12-16,-13 14 0,13-13 15,0 0-15,-13 0 0,-1 13 16,1 0-16,0 0 16,0 0-16,13 13 15,-13-13-15,26 13 16,0-13-1,0 0-15,14 0 16,-14 0-16,0-13 16,0 13-16,-13-13 0,14 13 0,-1-13 15,0 13-15,0-14 0,1 1 0,-1 13 16,0-13-16,0 0 16,0-1-16,1 14 15,-1 14-15,0-14 16,-13 13-16,0 0 0,0 0 15,0 14-15,0-1 0,0 1 0,0 12 16,0 14-16,-13-13 0,13 0 0,-13 13 16,-1-14-16,1 1 0,0-14 0,-13 14 15,26-13-15,-14-14 16,1 0-16,13 0 0,0 0 0,-13 1 16,39-54-1,-12 14 1,12-1-16,0-26 0,14 13 0,-13-12 15,12-1-15,1 0 0,0 0 0,-1 13 16,-12 14-16,-1-1 0,-13 1 0,1 13 16,-1-1-16,0 1 0,-13 0 15,13 13-15</inkml:trace>
  <inkml:trace contextRef="#ctx0" brushRef="#br0" timeOffset="-180311.22">21259 10319 0,'-26'0'0,"-40"26"15,52-13 1,1-13-16,13 14 0,-13-14 16,13 13-16,13 0 15,-13 0-15,13-13 0,1 0 0,-1 14 16,0-14-16,0 0 0,1 13 16,-1-13-16,0 0 0,0 13 0,0-13 15,1 13-15,-1 1 16,-26-1-1,-1 0 1,1-13-16,0 13 0,0-13 0,0 13 16,-14-13-16,14 0 0,0 14 0,-1-14 15,1 0-15,-13 0 16,13 0-16</inkml:trace>
  <inkml:trace contextRef="#ctx0" brushRef="#br0" timeOffset="-179676.97">21365 10385 0,'-13'-13'16,"0"26"15,13 0-16,-14 0-15,14 1 16,14-1 0,-14 0-16,13 0 31,0-13-31,0-13 16,1 0-1,-1 13-15,-13-13 0,13 13 16,-13-14-16,13 1 0,-13 0 15,13 13-15,-13-13 16,14-1 0,-1 28 46,-13-1-46,13-13-1,0 0 1,-13 13 0,14-13-16,-1 0 15,0 0 17,0 13 14,1-26-30,-1 13 0,0-13-1,0 13-15,0-13 16,1 13-16,-1 0 16</inkml:trace>
  <inkml:trace contextRef="#ctx0" brushRef="#br0" timeOffset="-178232.2">22040 10226 0,'0'-13'0,"0"26"0,-13-26 0,-1 13 15,1 0-15,0 0 0,13 13 16,-13 0-16,-1-13 0,1 14 16,0-1-16,0 0 0,0-13 0,13 13 15,-14 1-15,14-1 0,0 0 16,27-13 0,-1 0-1,-13-13-15,1 13 16,-1 0-16,0 0 0,0 0 15,1 0-15,-1 0 16,0 13-16,0 0 16,-13 0-16,13 1 15,-13 12-15,0-13 0,0 1 0,-13-1 16,13 0-16,-13 14 0,13-14 0,-13 0 16,13 0-16,-13 0 0,13 1 15,-14-14-15,14 13 0,14-40 31,-1 14-15,-13-13-16,13 13 16,0-14-16,0 1 0,1-1 15,12 1-15,-26-14 0,27 14 0,-14-41 16,0 54-16,-13-13 0,13 12 16,-13-12-16,14 13 0,-14 0 15,0-1-15,0 1 0,-14 40 47,14-14-47,0 0 0,0 13 0,-13-12 16,13-1-16,0 13 0,0-12 0,0-1 15,0 0-15,0 0 0,0 1 16,0-1-16,0 0 0,13 0 0,1 0 16,-1-13-16,0 0 0,0 0 15,0 0-15,1 0 0,-1 0 16,0-13-16,0 13 0,14-13 15,-14 0-15,0 13 0,1-13 0,-1-1 16,0 14-16,0-13 0,0 0 0,1 0 16,-1-1-1,-40 28 32,14-14-47,13 13 0,-13-13 16,13 13-16,0 0 15,0 1 1,13-14 0,0 0-1,1 0-15,-1-14 16,0 14-16,0-13 16,1 13-1,-14-13-15,13 13 16,0 0 31,-13 13-47,13-13 15,-13 13 1,13 1 0,1-14 15,-1 0-16,0-14-15,0 14 0,1-13 16,-1 13-16,0 0 16,-13-13-16,13 13 0,1 0 15,12 0 1,-26 13 0,13-13-1,-13 13-15,13-13 31,14 0-15,-14-13 0,0 13-1,1 0-15,-1 0 16,0 0-16,-13 13 16,0 1-1,-13-1 1,13 0-1,-13-13-15,-1 13 16,1-13-16</inkml:trace>
  <inkml:trace contextRef="#ctx0" brushRef="#br0" timeOffset="-177108.02">5318 11880 0,'0'-27'31,"-13"14"-15,13 0-16,0 0 0,0-14 0,0 14 15,0-13-15,-13-1 0,13 1 0,-14 12 16,14-12-16,0-1 0,-13 14 16,13-13-16,0 13 0,0-1 0,0 1 15,-13 0-15,13 0 0,0-1 0,0 1 16,-13 13-16,13-13 15</inkml:trace>
  <inkml:trace contextRef="#ctx0" brushRef="#br0" timeOffset="-176904.16">5265 11443 0,'-13'27'31,"13"-14"-31,0 0 0,-13 14 16,13-14-16,-13 0 0,13 0 16,0 1-16,-14 12 0,14-13 0,-13 0 15,13 14-15,0-14 0,-13 0 0,13 14 16,0-14-16,0 0 16,-13 1-16,13-1 15</inkml:trace>
  <inkml:trace contextRef="#ctx0" brushRef="#br0" timeOffset="-176695.34">5226 11509 0,'13'-13'32,"13"26"-17,-26 1-15,13-14 16,1 13-16,-1 0 0,0 0 15,0 1-15,1-1 16,-1 0-16,0 0 0,0 0 16,1 1-1</inkml:trace>
  <inkml:trace contextRef="#ctx0" brushRef="#br0" timeOffset="-176380.09">4908 11470 0,'0'53'0,"0"-106"0,0 132 0,0-52 16,0-1-16,0 14 0,0-1 0,0 1 16,0 13-16,13-13 0,-13-1 15,13 1-15,-13 0 0,14-14 0,-1 14 16,0-27-16,0 14 0,1-14 0,-1 0 16,13 0-16,-12-13 15,-1 13-15,0-13 0,13 0 0,-12 0 16,39-13-16,-40 0 0,13 0 15</inkml:trace>
  <inkml:trace contextRef="#ctx0" brushRef="#br0" timeOffset="-176095.88">5345 11205 0,'39'27'0,"1"-14"16,-27 0-16,119 146 31,-105-120-31,-1 1 0,-12 13 0,-1-13 16,0 13-16,-13-14 0,13 14 0,-13-13 15,0 13-15,-13 0 0,0 13 0,0-13 16,-1 0-16,1 0 0,-13-14 16,-1 14-16</inkml:trace>
  <inkml:trace contextRef="#ctx0" brushRef="#br0" timeOffset="-175084.4">24328 10213 0,'-13'-13'16,"13"-1"-1,0 1-15,0 0 0,13 0 16,-13 0-16,0-14 0,0 1 16,14-1-16,-14 14 0,0-27 15,0-13-15,0 27 0,0-1 16,0 1-16,0-1 0,13 1 0,-13 13 16,0-14-16,0 14 0,-13-13 15,13 12-15,0 1 0,0 0 16,0 0-16,0 0 15,-14 13 17</inkml:trace>
  <inkml:trace contextRef="#ctx0" brushRef="#br0" timeOffset="-174879.09">24355 9671 0,'13'0'0,"-39"13"31,12 0-31,1 0 16,0 0-16,0 1 15,0-1-15,-1 13 0,1-12 0,0-1 16,-14 26-16,14-25 0,0-1 16,13 0-16,-13 0 0,13 1 0,-14-14 15,14 13-15,-13-13 0,13 13 0</inkml:trace>
  <inkml:trace contextRef="#ctx0" brushRef="#br0" timeOffset="-174631.94">24289 9684 0,'13'0'31,"13"0"-15,-12 0-16,-1 13 0,0-13 0,0 13 15,-13 0-15,14-13 0,-1 14 16,0-1-16,0 0 0,1 0 0,-1-13 16,0 14-16,-13-1 0,13 0 0,0-13 15,-13 13-15,14-13 0,-14 13 16,13-13-16,-13 14 0,13-14 15</inkml:trace>
  <inkml:trace contextRef="#ctx0" brushRef="#br0" timeOffset="-170275.2">5305 12462 0,'13'26'31,"0"-12"-31,1-1 15,-1 0-15,-13 0 16,13 0-16,0 14 0,1-14 16,-1 14-16,0-1 0,13 1 0,-12 12 15,25 14-15,-12-26 16,12 39-16,-12-40 0,-14 14 16,14-14-16,-1 1 0,1 13 0,-1-14 15,0 0-15,14 14 0,-13-13 16,12-1-16,1 0 0,13 1 0,-27-1 15,14 1-15,13-14 0,0 14 0,-13-14 16,12 13-16,1-13 0,0 14 16,0-14-16,0 0 0,13 1 0,-13-1 15,0 0-15,0-13 0,0 13 0,13 1 16,0-1-16,0-13 0,1 0 16,-1 13-16,13-13 0,-13 0 15,0 0-15,-13 0 0,27 0 0,-14 13 16,0-13-16,13-13 0,1 13 0,-1 13 15,0-13-15,1 0 0,-1 0 16,1-13-16,-1 13 0,0 0 0,14 0 16,0 0-16,-14 0 0,13 0 0,1 0 15,0 0-15,13 0 0,-1 0 16,-12 0-16,13 0 0,0 0 0,-1 0 16,28 0-16,-27 0 0,13 0 0,13 0 15,-26 0-15,26 0 0,0 0 0,1 0 16,-14 0-16,13 0 0,0 0 15,1 0-15,-28 0 0,41 0 0,-14 0 16,1 0-16,12 0 0,-13-13 0,1 13 16,-1 0-16,13-13 15,-12 13-15,-1 0 0,0 0 0,1-14 16,-28 14-16,41 0 0,-14 0 0,-26 0 16,0-13-16,26 13 0,1 0 0,-28 0 15,28 0-15,-28-13 0,28 13 16,-14 0-16,-13-13 0,26 13 0,-13-14 15,-13 14-15,26-13 0,-13 0 0,0 0 16,-13-1-16,-13 14 0,-1-13 16,14 0-16,13 0 0,-26 13 0,-1-13 15,14-1-15,-13 1 0,-1 0 16,1 0-16,0-1 0,-1 1 0,1 0 16,-1 0-16,1-1 0,0 1 15,-1 0-15,1 0 0,0 0 0,-1-1 16,-13 1-16,14 0 0,-14 0 0,14-1 15,-14 1-15,1 0 0,12 0 16,-12 0-16,-1-1 0,1 1 16,-1-13-16,0 12 0,1 1 0,12 0 15,-12-14-15,-1 14 0,0 0 0,1-13 0,-1 12 16,-13 1-16,14 0 16,-1 0-16,0-1 0,1-12 0,-1 26 0,1-13 15,-14-1-15,0 1 0,13 0 16,-13 0-16,14 0 0,-14-1 15,13 1-15,-13 0 0,14 0 0,-14-1 16,0 1-16,0 0 0,0 0 0,0-1 16,1-12-16,-1 13 0,0 0 0,0-1 15,-13 1-15,13 0 0,-26 0 16,26-1-16,-26 1 0,-1-13 0,14 12 16,-13 1-16,0 0 0,-1 0 0,14-14 15,-13 14-15,0 0 0,-1-14 16,1 14-16,0 0 0,-1 0 0,1-14 15,0 14-15,-1 0 0,-12 0 16,13-14-16,-1 14 0,-12 0 0,12-1 16,-12 1-16,-1 0 0,1-13 15,-1 12-15,-13 1 0,14 0 0,-14 0 16,0-1-16,14 1 0,-14 0 0,0-14 16,14 14-16,-14-13 0,13 13 15,-12-1-15,-1-12 0,0 13 0,0-1 16,1-12-16,-1 13 0,0-14 0,0 14 15,-13-13-15,27-1 0,-14 14 16,0-14-16,-13 1 0,27 0 0,-14 12 16,0-12-16,-13 13 0,13-14 0,1 14 15,-1-14-15,-13 14 0,13 0 16,0 0-16,-13 0 0,14-1 16,-14 1-16,13 0 0,-13 0 0,0-1 15,13 14-15,-13-13 0,13 13 0,-13-13 16,0 0-16,13 13 0,-13-14 15,0 1-15,14 13 0,-14-13 16,13 0 0,-13 0-16,0-1 15,13 1 1,0 0 0,-13 0-1,14-1-15,-14 1 31,13 13-31,-13-13 16,13 13 0,-26 13 109,0 0-110,26-26 110,-40 13-62,14 13-63,0-13 0,-14 14 15,14-1-15,-13-13 0,13 13 0,-14 0 16,14 1-16,-14-1 0,14 0 16,-13 0-16,12-13 0,1 13 0,0 1 15,0-14-15,13 13 0,-13-13 16,13 13-16,-14-13 0,1 13 16,26-26 15,1 13-16,-1-13-15,0 13 0,-13-13 16,13-1-16,14 14 0,-14-13 0,0 0 16,0 13-16,14-13 0,-14 0 0,0 13 15,1-14-15,-1 1 0,0 13 16,0 0-16,0-13 0,1 13 0,-1 0 16,0 0-16,0-13 0,1 26 15,-1-13-15,0 0 16,0 13-1,0-13-15,-13 13 16,14-13-16,-1 14 16,-13-1-1,13-13-15,0 13 16,1 0 31,-1-13 109,-40-13 500,14 0-640,0 0 0,0 13-16,13-14 0,-14 1 15,1 13-15</inkml:trace>
  <inkml:trace contextRef="#ctx0" brushRef="#br0" timeOffset="-169284.1">9525 7713 0,'13'13'16</inkml:trace>
  <inkml:trace contextRef="#ctx0" brushRef="#br0" timeOffset="-165279.36">18018 7699 0,'0'0'0,"0"27"31,13-14-15,-13 0-16,0 1 0,14-1 15,-14 0-15,13 0 0,-13 0 16,13 1-16,0-14 16,-13 13-16,14-13 0,-1 0 15,0-13-15</inkml:trace>
  <inkml:trace contextRef="#ctx0" brushRef="#br0" timeOffset="-165128.39">18217 7766 0,'26'-40'16,"-52"80"-16,52-93 16,-39 79-1,0-13 1,-1 1-16,1-1 0,0 0 0,0 0 16,-1 14-16,1-14 0,0 13 0,0-12 15,0 12-15,-1-13 0,14 1 16,-13-1-16,0 0 0,13 0 15,0 0-15,0 1 0</inkml:trace>
  <inkml:trace contextRef="#ctx0" brushRef="#br0" timeOffset="-164232">18230 7461 0,'-40'-13'0,"-66"-13"16,80 39-1,-1-13-15,1 13 0,-14 13 16,1-12-16,12 12 0,-13 1 0,14 12 15,-14 1-15,27 0 0,-13-14 16,12 14-16,1 0 0,0-1 0,13 1 16,0-14-16,0 1 0,13 13 0,-13-14 15,13 0-15,14 14 0,-14-13 0,13-14 16,1 13-16,-1 1 0,1-14 0,-1 0 16,-12-13-16,12 13 15,0-13-15,1 0 0,-1 0 0,1 0 0,-1 0 16,1-13-16,12 0 0,1 0 15,-13-1-15,-1 1 0,14 0 16,-14-13-16,1-1 0,-1 14 0,1-14 16,-1-12-16,-13 12 0,14-12 0,-14 12 15,0-13-15,-13 14 0,0-14 0,0 14 16,0-1-16,-13-12 0,0 12 16,-1-12-16,-12 12 0,-14 1 0,14-1 15,-14 1-15,14 12 0,-14 1 0,0-13 16,1 26-16,-1-13 15,-13-1-15,27 14 0,12 0 16,-12 0-16,-1 0 0,14 0 0</inkml:trace>
  <inkml:trace contextRef="#ctx0" brushRef="#br2" timeOffset="-155032.16">21021 4776 0,'-13'53'0,"0"-40"0,13 13 16,0-12-16,-14-1 15,14 0-15,0 0 0,-13 0 16,13 1 0,0 12-1</inkml:trace>
  <inkml:trace contextRef="#ctx0" brushRef="#br2" timeOffset="-154807.28">20981 4630 0</inkml:trace>
  <inkml:trace contextRef="#ctx0" brushRef="#br2" timeOffset="-154296.72">21220 4710 0,'0'0'0,"-14"0"0,1 0 16,0 13-16,0-13 16,13 13-16,-14 0 0,1 0 0,0 1 15,13-1-15,-13 0 0,13 0 0,-13 1 16,13-1-16,0 0 0,-14 0 16,14 1-16,0-1 0,14 0 15,-14 0-15,13 0 16,0-13-16,0 0 0,14 0 15,12-13 1,-25 0-16,-1 0 0,0 0 16,0-1-16,0 1 0,1 13 0,-1-13 15,0 0-15,-13-1 0,13 1 0,-13 0 16,14 13-16,-41 13 47,14 0-47,0 1 0,13-1 15,0 0-15,-14-13 16,14 13-16,0 1 0,0-1 16,14-13-16,-14 13 15,13-13-15,0 0 0,0 0 16,1 0-16,-1 0 16,0 0-16,0 0 0</inkml:trace>
  <inkml:trace contextRef="#ctx0" brushRef="#br2" timeOffset="-153681.08">21709 4710 0,'-13'-14'0,"0"28"31,-1-14-31,14 13 0,-13-13 0,13 13 16,-13-13-16,0 13 0,13 0 0,-14 1 15,14-1-15,-13 0 16,13 0-16,0 1 15,0-1-15,13 0 16,-13 0-16,14-13 16,-1 0-1,-13 14-15,13-14 0,0 0 16,1 0-16,-1-14 0,0 14 0</inkml:trace>
  <inkml:trace contextRef="#ctx0" brushRef="#br2" timeOffset="-153350.25">21802 4762 0,'13'-13'32,"0"13"-17,-13 13 1,0 1-16,0-1 0,0 0 0,0 0 15,0 1-15,0-1 0,-13 0 16,13 0-16,0 1 16,-13-1-1,26-40 17,-13 14-17,13 0-15,-13 0 0,13-1 0,1 1 16,-1 0-16,0 0 0,0-1 15,1 1-15,-1 0 0,0 13 16,0-13-16,0 13 0,1 0 16</inkml:trace>
  <inkml:trace contextRef="#ctx0" brushRef="#br2" timeOffset="-152265.15">22079 4842 0,'14'-13'16,"-28"26"-16,28-40 15,-14 14 17,-27 26-1,27 1-16,-13-1-15,13 0 16,0 0-16,0 1 16,0-1-16,0 0 15,13-13-15,-13 13 0,13-13 16,1 0-16,-1 0 16,13 0-16,-12 0 15,-1 0-15,0 0 16,0 0-16,1 0 0,-14-13 0,13 13 0,0 0 15,0 0-15,-13-13 0,13 13 0,1-13 16,-1-1 0,0 1 15,-26 0-15,0 13-1,-1 13 1,1 0-1,13 1 1,-13-14 0,13 13-16,0 0 15,13-13 17,14 0-1,-27-13-31,13 13 15,0 0-15,-13-13 16,13 13-16,1 0 16,-1 0 15,0 0-15,-13 13-1,13-13 1,-13 13-1,14-13 1,-1 0 15,0 0-15,0 0 0,-13-13-16,13 13 15,1 0-15,-1 0 0,-13-13 16</inkml:trace>
  <inkml:trace contextRef="#ctx0" brushRef="#br2" timeOffset="-151824.28">22701 4670 0,'0'-13'0,"0"-1"32,0 41-17,0-14 1,0 0-16,0 1 16,0-1-16,0 0 0,0 0 15,0 0-15,0 1 0,0-1 16,-13 0-16,13 0 15,0 1-15,0-1 16,0 0 15</inkml:trace>
  <inkml:trace contextRef="#ctx0" brushRef="#br2" timeOffset="-151524.22">22754 4630 0,'-26'13'15,"12"-13"-15,1 14 16,0-14-16,13 13 0,-13-13 16,0 13-16,-1 0 0,1-13 0,0 14 15,13-1-15,-13 0 0,-1-13 16,1 13-16,0 0 16,0-13-16,13 14 15,-14-14-15</inkml:trace>
  <inkml:trace contextRef="#ctx0" brushRef="#br2" timeOffset="-151244.56">22714 4630 0,'14'13'15,"-1"1"1,0-14-16,-13 13 0,13-13 16,-13 13-16,14-13 0,-14 13 15,13-13-15,0 14 16,0-14-16,-13 13 0,14-13 16,-1 0-16,0 13 15</inkml:trace>
  <inkml:trace contextRef="#ctx0" brushRef="#br2" timeOffset="-149640.25">23667 4710 0,'-13'-14'15,"0"28"-15,-1-14 0,1 0 0,0 13 16,0-13-16,-1 13 0,1-13 16,13 13-16,-13-13 0,0 13 15,13 1 1,0-1-16,13-13 16,0 0-16,-13 13 15,13-13-15,1 0 0,-1 13 0,0-13 16,0 14-16,1-14 0,-14 13 0,13-13 15,-13 13 1,13-13-16,-13 13 0,0 1 16,-13-1-16,0 0 15,13 0-15,-14-13 0,1 13 16,0-13-16,13 14 0,-13-14 0,-1 0 16,1 13-16,0-13 15,0-13 1</inkml:trace>
  <inkml:trace contextRef="#ctx0" brushRef="#br2" timeOffset="-148892.81">23746 4696 0,'14'0'15,"-14"27"1,0-14-1,0 0-15,0 0 16,0 1-16,0-1 0,-14 0 0,14 0 16,0 1-16,0-1 0,0 0 0,0 0 15,0 1 1,0-1-16,27-26 31,-14-1-15,0 14-16,-13-13 15,13 13-15,1-13 16,-1 13-16,0 13 16,0 0-1,-13 1-15,0-1 16,14-13-16,-14 13 16,0 0-16,13-13 15,0 0 1,0 0-16,1 0 0,-1 0 15,0-13-15,0 13 16,-13-13-16,13 13 16,-13-13-16,14-1 15,-28 1 1,1 13 15,0-13-15,26 39 31,0-26-47,-13 14 15,14-14-15,-1 13 16,-13 0 0,13-13-16,-13 13 15,0 0 1,13-39 31,-13 13-32,14 0-15,-1-1 16,-13 1 0,13 0-16,0 13 15,1-13-15,-1-1 16</inkml:trace>
  <inkml:trace contextRef="#ctx0" brushRef="#br2" timeOffset="-148696.5">24209 4710 0,'0'-14'0,"0"41"47,0-14-47,0 0 15,-13 14-15,13-14 0,0 0 0,-13 0 16,13 14-16,-13-14 16,13 0-16,-14 1 0,14-1 15,0 0-15,0 0 0,14-13 16</inkml:trace>
  <inkml:trace contextRef="#ctx0" brushRef="#br2" timeOffset="-148453.25">24368 4749 0,'-13'0'0,"0"0"16,-1 13-1,1-13-15,0 14 0,0-1 16,13 0-16,-13-13 0,13 13 16,-14-13-16,14 14 0,0-1 15,0 0-15,0 0 16,14 1-1,-1-14 1,0 0-16,0 0 0,0 0 16,1 0-16,12 0 0,-13 0 0,1-14 15,-1 14-15</inkml:trace>
  <inkml:trace contextRef="#ctx0" brushRef="#br2" timeOffset="-147512.22">24633 4815 0,'0'-13'0,"-14"13"15,1 0 17,0 13-32,13 1 15,0-1 1,-13-13-16,26 0 31,13 0-15,-12-13-16,-1 13 15,0 0 1,0 0 0,-13 13-16,14-13 15,-1 0 1,0 0-1,0 0-15,1-13 0,-1-1 16,0 1-16,-13 0 0,13 0 16,0-1-16,-13 1 0,14-13 0,-14 13 15,13-14-15,-13 1 0,13-1 0,-13 14 16,13-13-16,-13 12 0,0 1 0,0 0 16,14 0-16,-14-1 15,-14 41 1,1-14-16,13 14 15,-13-14-15,0 13 0,13-13 16,0 14-16,0-14 0,0 0 16,0 1-16,0-1 0,13 0 0,-13 0 15,13 0-15,-13 1 0,13-14 0,1 13 16,12-26 0,-13-1-16,1 1 15,-14 0-15,13 0 0,-13 0 0,13-1 16,0-12-16,-13 13 0,13-1 15,-13 1-15,0 0 0,0 0 0,14 13 16,-14-13-16,-14 39 31,14-13-31,0 0 0,0 1 16,0 12-16,0-13 0,0 1 16,0-1-16,0 0 0,0 0 0,0 0 15,0 1-15,0-1 0,0 0 16,14-13-16,-14 13 0</inkml:trace>
  <inkml:trace contextRef="#ctx0" brushRef="#br2" timeOffset="-146745.15">24791 4749 0,'0'-13'15,"14"13"16,-1 0-31,0 0 0,0 0 0,14-13 16,-1 13-16,-12 0 16,12 0-16,0 0 0,-12 0 0,12-13 15,-13 13-15,14 0 0,-14 0 0,0 0 16,0 0-16,-13-14 0,14 14 0,-1 0 16,-26 27 15,-1-27-31,1 13 15,0 0 1,13 0 0,13 1 15,0-14-31,1 0 16,-1 0-16,0 0 0,-13-14 0,27 14 15,-14 0 1,0 0-16,0 14 15,1-14 1,-1 13 0,0-13-1,0-13 1,0 13 0,1-14-16,-1 1 0,-13 0 15,13 0-15,-13 0 0,13-1 0,-13-12 16,14-1-16,-1 14 0,-13-13 0,13-1 15,-13 14-15,13 0 0,-13 0 16,0-1-16,14 1 0,-14 0 0,-14 39 47,1-12-47,13-1 0,0 0 16,-13-13-16,13 13 0,0 1 0,-13-1 15,13 0-15,-14 0 16,14 0-16,-13 1 31,26-14 0,-13 13-15,14-13-16,-14 13 16,13 0-16,-13 1 15,13-14 1,0 13-16,1-13 15,-1-13-15</inkml:trace>
  <inkml:trace contextRef="#ctx0" brushRef="#br2" timeOffset="-145437.18">23826 5292 0,'0'-27'0,"-27"27"15,14 13 1,0 1 0,26-1-16,-13 0 15,13 0-15,0 1 16,1-14-16,-14 13 0,13-13 16,-13 13-16,13 0 0,0 1 15,-13-1 1,0 0-16,0 0 15,-13-13-15,0 13 0,0 1 16,-1-14-16,1 0 0,0 13 16,0-13-16,0 0 0,-1 0 0,1 13 15,0-13-15,0 0 0,-1 0 16</inkml:trace>
  <inkml:trace contextRef="#ctx0" brushRef="#br2" timeOffset="-144825.1">23918 5345 0,'-13'26'47,"13"-13"-31,0 1-1,0-1-15,13 0 16,1 0 0,-1-13-1,-13 13 1,13-26 0,0 13-1,-13-13-15,13 0 31,1 26 48,-1-13-64,-13 13-15,13-13 16,0 0 31,1 0-32,-14-13 1,13 13-16,0 0 31,-13-13-31,13 26 16,1-13-1,-1 0 1,0 0 0,0 0-1</inkml:trace>
  <inkml:trace contextRef="#ctx0" brushRef="#br2" timeOffset="-144404.33">24408 5212 0,'0'53'31,"0"-40"-31,0 1 15,0-1-15,-13 13 16,13-12-16,0-1 0,0 0 16,-14-13-16,14 13 0,0 1 15,27-28 32,-14 14-31,0 0-16,1 14 15,-28 12 17,1-13-32,0 0 15,0-13-15,-1 14 16,1-14-16,0 0 16,13 13-16</inkml:trace>
  <inkml:trace contextRef="#ctx0" brushRef="#br2" timeOffset="-144021.39">24553 5318 0,'-13'27'31,"13"-14"-31,-13-13 16,13 13-16,13 0 16,-13 1-1,13-14 1,1 0-16,-1-14 16,0 14-1,-13-13-15,13 13 16,-13-13-16,13 0 15,1 13 1,-14 13 15,13 0-15,-13 0 0,0 1 15</inkml:trace>
  <inkml:trace contextRef="#ctx0" brushRef="#br2" timeOffset="-143729.09">24739 5318 0,'0'0'0,"13"0"0,-13 13 46,0 1-46,0-1 16,0 0 0,0 0-1,26-26 32,-26 0-31,13 13-1,-13-13 1,14 13 0</inkml:trace>
  <inkml:trace contextRef="#ctx0" brushRef="#br2" timeOffset="-143451.53">24871 5305 0,'13'26'31,"-26"-12"-15,26-1 0,0-13 46,1 0-62,-1 13 31,0-26-15,0 13 0</inkml:trace>
  <inkml:trace contextRef="#ctx0" brushRef="#br2" timeOffset="-142160.25">23958 5887 0,'-13'0'15,"0"0"1,-14 0-16,14 13 15,0-13-15,-1 13 16,1-13-16,0 14 16,13-1-16,0 0 15,13 0-15,0 1 16,1-1 0,-1 0-16,0 0 15,0 0-15,-13 1 16,0-1-1,0 0-15,-13 0 16,0-13-16,0 14 16,-1-14-16,1 0 0,0 13 15,0-13-15,-1 0 0,1 0 0,0 0 16,0 0-16,0 0 16</inkml:trace>
  <inkml:trace contextRef="#ctx0" brushRef="#br2" timeOffset="-141491.87">23998 6006 0,'0'-13'16,"-14"26"31,14 0-32,0 0 1,0 1-16,0-1 31,0 0-15,14 0-1,-1-13 1,0-13 0,0 13 15,-13-13-31,14 13 16,-14-13-16,13-1 15,0 14 48,0 0-48,1 0 1,-14 14-16,13-14 16,-13 13-16,13-13 15,-13 13 16,13-26 1,0 13-32,-13-13 15,14 13 1,-1 0 0,0 0-1,0 0 1,1 0 15</inkml:trace>
  <inkml:trace contextRef="#ctx0" brushRef="#br2" timeOffset="-140359.41">24408 5953 0,'-13'-13'15,"-1"13"-15,1 0 0,0 0 16,13 13-1,-13-13 1,13 13-16,0 1 16,0-1-16,13 0 0,-13 0 15,13 0-15,-13 1 16,0-1-16,0 0 0,0 0 16,0 14-16,-13-14 31,13 0-31,-13-13 15,26-26 17,0 13-32,0-1 0,-13 1 15,14 0-15,-1 0 0,0-1 16,0-12-16,1 13 0,-14-14 16,13 14-16,0-13 0,-13 12 0,13 1 15,-13 0-15,0 0 0,13 13 0,-13-13 16,0-1-1,0 41 17,-13-14-17,13 0-15,0 0 0,0 1 16,0-1-16,0 0 0,0 0 16,13-13-16,-13 14 0,14-14 15,-14 13-15,13-13 0,0 0 16,0 0-16,1 0 0,-1 0 15,0 0-15,0 0 16,-13-13-16,13 13 0,1 0 0,-14-14 16,13 14-16,-13-13 15,13 13 1,-13-13-16,-26 26 47,12-13-47,14 13 15,-13 1-15,13-1 16,0 0 15,13-13-31,1 0 16,-1-13 0,0 13-1,-13-13-15,13 13 16,1 0-16,-1-14 31,-13 28 16,13-14-31,0 0 15,1 0-16,-1 0-15,0-14 32,0 14-32,0 14 15,-13-1 17,0 0-17,0 0 1,-13-13-1,0 13 1</inkml:trace>
  <inkml:trace contextRef="#ctx0" brushRef="#br2" timeOffset="-139707.25">23402 4736 0,'0'0'16,"0"26"-1,-13-12 1,13-1-16,0 0 0,0 0 15,0 1-15,0-1 0,-13 0 16,13 0-16,0 1 16,0-1-16,-13 0 15</inkml:trace>
  <inkml:trace contextRef="#ctx0" brushRef="#br2" timeOffset="-139516.59">23429 4762 0,'-13'0'0,"-27"27"32,27-14-32,-1-13 0,1 13 0,13 1 15,-13-1-15,0 0 0,0 0 0,-14 14 16</inkml:trace>
  <inkml:trace contextRef="#ctx0" brushRef="#br2" timeOffset="-139351.92">23376 4762 0,'26'14'16,"-12"-1"-1,-1 0-15,-13 0 16,13-13-16,0 14 0,1-1 0,-14 0 16</inkml:trace>
  <inkml:trace contextRef="#ctx0" brushRef="#br2" timeOffset="-138986.45">23588 5318 0,'0'0'16,"0"27"0,-14-14-16,14 0 15,-13 0-15,13 1 0,-13-1 16,13 0-16,-13 0 15,13 0-15,0 1 0,-14-1 16</inkml:trace>
  <inkml:trace contextRef="#ctx0" brushRef="#br2" timeOffset="-138800.68">23574 5318 0,'-13'0'0,"-13"27"32,12-14-32,1 0 15,0-13-15,13 13 0,-13 1 16,0-1-16,13 0 0,-14-13 16</inkml:trace>
  <inkml:trace contextRef="#ctx0" brushRef="#br2" timeOffset="-138657.35">23495 5345 0,'26'-14'31,"-12"14"-31,-1 14 16,0-14-16,0 0 16,1 13-16,-1-13 15,0 13-15,0-13 0</inkml:trace>
  <inkml:trace contextRef="#ctx0" brushRef="#br2" timeOffset="-138248.45">23667 5913 0,'0'27'16,"0"-14"-16,0 0 0,-13 1 16,13-1-16,0 0 0,0 0 15,-13 0-15,13 1 0,0-1 0,-14 0 0,14 0 16,-13 1-16,13-1 0,0 0 15,-13-13-15,13 13 0</inkml:trace>
  <inkml:trace contextRef="#ctx0" brushRef="#br2" timeOffset="-138040.35">23693 5887 0,'-26'26'32,"13"-12"-32,0-1 0,-1 0 15,14 0-15,-13 1 0,0-1 16,0 0-16,13 0 0,-14 0 16,1 1-16,13-1 0</inkml:trace>
  <inkml:trace contextRef="#ctx0" brushRef="#br2" timeOffset="-137879.42">23693 5940 0,'0'0'16,"14"0"-16,-1 0 0,0 13 16,0-13-16,1 13 15,-1-13-15,0 0 16,-13 14-16,13-14 0,0 0 15</inkml:trace>
  <inkml:trace contextRef="#ctx0" brushRef="#br2" timeOffset="-134105.48">8639 1495 0,'0'0'0,"79"-13"0,-39-1 0,26 1 0,0 0 16,27 0-16,-14 0 0,14-1 15,26 1-15,0-13 0,0 12 0,0 1 16,-27 0-16,1 0 0,0-1 15,-1 14-15,-12-13 0,12 0 16,-12 13-16,-1 0 0,-13-13 0,-13 13 16,0 0-16,0-13 0,-13 13 0,-1 0 15,-12 0-15,-1 0 0,-13 0 16,1 0-16,-1 0 0,-40 13 31,-12-13-31,-1 13 0,-13-13 16,-13 13-16,-13 0 0,-1 1 0,1 12 15,-14-13-15,-26 1 0,13 12 0,-13-13 16,13 14-16,-13-14 0,40 0 16,-14 0-16,14 1 0,0-1 15,-1 0-15,14 0 0,0 1 0,13-14 16,0 13-16,27-13 0,-1 0 0,1 13 16,13-13-16,-1 0 0,41-13 31,12 13-31,14-13 0,27-1 0,-1 1 15,1 13-15,12-13 0,-13 0 16,41-1-16,-1-12 0,0 13 0,-14 0 16,-12 13-16,0-14 0,-1 1 0,1 0 15,0 13-15,-14-13 0,0-1 16,-13 14-16,-13-13 0,0 13 16,-13-13-16,0 13 0,-14 0 0,1 0 15,-1-13-15,0 13 0,-12 0 0,-1 0 16,0 0-16,0 0 0,1 0 15,-1 0-15,0-14 16,0 14-16,-52 14 47,12-14-31,-13 13-16,-12-13 0,-1 13 15,-14 0-15,1 1 0,-13-1 0,0 0 16,-1 0-16,-39 1 0,13 12 15,14-13-15,-14 14 0,13-14 0,-13 13 16,14 1-16,12-14 0,1 14 16,0-14-16,13 0 0,-1 13 0,1-12 15,27-14-15,-1 13 0,0 0 0,1 0 16,25-13-16,-12 0 0,13 14 16,-14-14-16,14 0 0,0 13 0,-1-13 15,1 0-15,0 0 16,0 13-1,0-13-15,-1 0 16,1 0 15,0 0 1,39 13 14,-12-13-30,-1 0-16,0-13 0</inkml:trace>
  <inkml:trace contextRef="#ctx0" brushRef="#br2" timeOffset="-131624.3">22079 5067 0,'14'13'31,"-14"0"-31,0 0 0,13 1 15,-13-1-15,13 0 16,0 0-16,-13 1 16,14-14-16,-1 13 0,-13 0 0,13-13 15,0 13-15,1 1 0,-1-14 0,0 13 16,0-13-16,14 13 0,-14 0 16,13-13-16,-12 0 0,12 13 0,1-13 15,-1 14-15,0-14 0,-12 0 0,12 0 16,1 0-16,-14 0 0,13 0 15,-13 0-15,14-14 0,-14 14 16,14 0-16,-14 0 0,0-13 0,14 13 16,-14 0-16,0-13 0,0 13 15,0 0-15,1-13 0,-1 13 0,0-13 16,0-1-16,1 14 0,-1-13 0,0 0 16,0 13-16,1-13 0,-1-1 15,0 1-15,0 0 0,0 13 0,-13-13 16,14-1-16,-1 14 0,-13-13 15,13 0-15,0 13 0,-13-13 0,14 13 16,-1-13 0,-13-1-1,13 14-15,-13-13 16,13 13 0</inkml:trace>
  <inkml:trace contextRef="#ctx0" brushRef="#br2" timeOffset="-131188.33">22860 4974 0,'0'0'0,"26"0"78,1 0-78,-14 0 16,0 0-16,1 0 16,-1-13-16,0 13 15,0 0-15,1 13 16,-1-13-16,0 0 16,-13 13-16,13 1 15,-13-1-15,0 0 16,0 0-16,0 1 15,0-1-15,0 0 0,0 0 16,0 0-16,0 1 0,0-1 16,0 0-1,0 0 1</inkml:trace>
  <inkml:trace contextRef="#ctx0" brushRef="#br2" timeOffset="-130344.45">22066 5133 0,'-13'26'32,"26"-12"-32,-13-1 15,0 13-15,0-12 0,0-1 0,0 13 16,13 1-16,-13-1 0,14-13 0,-14 14 15,0-1-15,13 1 0,0-1 16,-13-13-16,13 14 0,1-14 0,-1 14 16,0-14-16,0 0 0,1 13 0,12-12 15,-13-1-15,14 13 0,-14-12 0,13-1 16,1-13-16,-14 13 16,14 0-16,-1 1 0,0-14 0,1 13 15,-1-13-15,1 0 0,12 0 0,-12 0 16,-1 0-16,1 0 0,13 0 15,-14 0-15,14 0 0,-14 0 0,1-13 16,12 13-16,-12 0 0,-1-14 0,1 14 16,-1 0-16,1-13 0,-14 13 15,13-13-15,-12 13 0,12 0 0,-13-13 16,0 13-16,1-14 0,-1 14 16,0 0-16,-13-13 0,13 13 0,1-13 31,-1 13-31,0-13 15,-13-1 17</inkml:trace>
  <inkml:trace contextRef="#ctx0" brushRef="#br2" timeOffset="-129976.2">23058 5477 0,'-13'-13'31,"40"39"-15,-14-26-16,0 0 15,0 0-15,1 13 16,-1-13-16,0 0 0,0 14 16,1-14-16,-1 0 0,-13 13 15,13 0-15,0-13 16,-13 13-16,13 0 16,-13 1-16,0-1 15,0 0-15,-13 0 0,13 1 16,-13-1-16,0 0 0,13 0 15,-13 1-15,-1-1 0,1 0 0,0 0 16,0 0-16,-1-13 16,1 14-16</inkml:trace>
  <inkml:trace contextRef="#ctx0" brushRef="#br2" timeOffset="-128191.71">22053 5133 0,'-13'26'47,"13"-12"-32,0-1-15,0 0 0,0 0 0,0 1 16,0-1-16,0 0 0,0 13 0,0-12 15,0 12-15,0-13 0,0 14 16,0-14-16,0 14 0,0-14 0,0 13 16,0-13-16,0 14 0,0-1 15,0-12-15,0 12 0,0 0 16,0-12-16,0 12 0,0 1 0,0-1 16,13-13-16,-13 14 0,0-1 0,0-13 15,0 14-15,13-14 0,-13 14 16,0-14-16,0 0 0,13 0 0,-13 14 15,14-14-15,-14 0 0,13 0 0,-13 1 16,13-1-16,0 0 0,1 0 0,-1 1 16,-13-1-16,13 0 0,0-13 15,1 13-15,12 0 0,-13-13 0,0 14 16,1-14-16,12 13 0,-13-13 0,1 13 16,12-13-16,-13 0 15,14 13-15,-14-13 0,13 0 0,1 14 16,-14-14-16,14 0 0,-1 13 0,-13-13 15,14 0-15,-1 0 0,-13 13 16,14-13-16,-1 0 0,-12 0 0,12 0 16,0 0-16,1 0 0,-14 0 0,14 0 15,-14 0-15,13 0 0,-12 0 0,12 0 16,-13 0-16,0 0 16,1 0-16,12 0 0,-13 0 0,1-13 15,-1 13-15,0 0 0,0 0 0,1 0 0,-1 0 16,0-13-1,0 13-15,0 0 16,1 0 0,-1-14 15,0 14-15</inkml:trace>
  <inkml:trace contextRef="#ctx0" brushRef="#br2" timeOffset="-127231.2">22926 5980 0,'0'13'47,"0"0"-32,13 0 1,-13 0 0,14-13-16,-1 14 15,0-14-15,0 13 16,1-13-16,-1 0 16,-13 13-16,13-13 0,0 0 15,0 13 1,1-13-1,-1 0-15,-13 14 16,13-14-16,-13 13 16,-13 0-1,13 0-15,-13 1 16,13-1-16,-14 0 0,1 0 16,13 0-16,-13 1 0,0-14 15,13 13-15,-13 0 0,-1 0 0,1 1 16,0-1-1,0-13-15</inkml:trace>
  <inkml:trace contextRef="#ctx0" brushRef="#br2" timeOffset="-121510.03">24051 6231 0,'26'0'0,"-13"0"16,1-13-16,-1 13 0,0 0 16,0 0-16,0 0 0,1 0 0,-1 0 15,13 0-15,-12 0 0,-1-14 16,0 14-16,0 0 0,1 0 0</inkml:trace>
  <inkml:trace contextRef="#ctx0" brushRef="#br2" timeOffset="-121299.41">24117 6310 0,'26'-13'16,"-13"13"0,1 0-16,-1 0 0,0 0 15,0 0-15,1 0 16,-14-13-16,13 13 0,0 0 16</inkml:trace>
  <inkml:trace contextRef="#ctx0" brushRef="#br2" timeOffset="-113028.33">10901 1640 0,'0'-13'31,"-13"13"-31,-14 13 16,14-13-16,0 14 0,-1 12 16,1-13-16,-13 27 0,-1-14 0,14 1 15,-13-1-15,12 14 0,-12-13 16,13-1-16,-1 0 0,1 1 0,0-14 15,13 14-15,-13-14 0,13 0 0,0 0 16,0 1-16,0-1 16,0 0-16,13 0 0,0-13 15,0 0-15,1 0 0,-1 13 0,0-13 16,0 0-16,1 0 0,12-13 16,-13 13-16,14 0 0,-14 0 15,13-13-15,-12 13 0,-1 0 0</inkml:trace>
  <inkml:trace contextRef="#ctx0" brushRef="#br2" timeOffset="-112648.73">11060 1839 0,'-40'0'31,"40"13"-31,-13 0 0,-1 14 16,14-14-16,-13 0 0,13 0 15,0 1-15,0-1 0,0 13 0,0-12 16,0-1-16,0 0 16,13-13-16,-13 13 0,14-13 0,-1 14 15,0-14-15,0 0 0,1 0 0,-1 0 16,0-14-16,0 14 0,0-13 15,1 0-15,-14 0 16,0-1-16,0-12 16,-14 13-16,14-1 0,-13 1 0,13 0 15,-13-13-15,0 12 16,13 1-16,-13 0 0,-1 13 16,1 0-16,0 0 15,0 13-15</inkml:trace>
  <inkml:trace contextRef="#ctx0" brushRef="#br2" timeOffset="-112292.81">11152 1839 0,'27'13'31,"-14"-13"-31,-13 13 0,13 1 15,0 12-15,1-13 0,-14 0 16,13 1-16,0-1 0,-13 0 0,0 0 16,0 1-16,13-1 0,-13 0 15,0 0-15,0 1 16,0-1-16,0-40 47,0 14-47,0 0 15,0 0-15,0-1 0,13 1 0,-13 0 16,14 0-16,-14-14 0,13 27 16,0-13-16,0 0 0,-13 0 0,14 13 15,-1-14-15,0 14 0,0-13 16,1 13-16,-1 13 16,0-13-16</inkml:trace>
  <inkml:trace contextRef="#ctx0" brushRef="#br2" timeOffset="-111941.49">11536 1879 0,'13'26'16,"-13"-13"-1,0 0-15,0 1 16,0-1-16,13 0 0,-13 0 0,0 1 15,0-1-15,0 0 0,0 0 0,0 1 16,0-1-16,0 0 0,0 0 16,0 0-16,0 1 15,0-1-15,0-53 47,0 27-47,14 0 16,-14 0-16,13-1 0,-13 1 15,13-13-15,0 12 0,-13 1 0,13 0 16,1 0-16,-14-1 0,13 14 16,0-13-16,-13 0 0,13 13 0,1 0 15,-1 0 1</inkml:trace>
  <inkml:trace contextRef="#ctx0" brushRef="#br2" timeOffset="-111382.61">11774 2130 0,'26'-13'16,"-26"-1"-16,14 14 0,-14-13 15,13 0-15,-13 0 16,13 13-16,-13-13 0,0-1 16,13 1-16,-26 26 47,13 1-47,0-1 0,0 0 15,0 0 1,0 0-16,13-13 0,1 0 15,-1 14-15,0-14 0,13-14 16,-12 14-16,-1 0 16,0-13-16,0 0 0,14 0 15,-14 0-15,0-1 0,14-12 0,-14-1 16,0-12-16,0 12 0,1-12 0,-1-1 16,-13 0-16,0 14 0,13-1 15,-13 1-15,0 13 0,0-1 0,0-12 16,0 13-16,0-1 15,-13 41 1,13-1-16,-13 1 0,-1-1 16,1 14-16,0 0 0,13-14 15,-13 1-15,13-1 0,-13-13 0,13 14 0,0-14 16,0 0-16,0 0 16,13 1-16,-13-1 0,0 0 0,26 0 15,-26 1-15,13-14 0,27 13 16,-27-13-16,1 0 15</inkml:trace>
  <inkml:trace contextRef="#ctx0" brushRef="#br2" timeOffset="-110824.41">12369 2011 0,'0'-13'16,"-13"13"-1,0 0 1,0 0 0,-1 0-16,14 13 15,-13-13-15,13 13 0,-13 0 16,0-13-16,13 14 16,0-1-16,0 0 31,13-13-31,0 0 15,0 0-15,1 0 16,-1 0-16,0 0 16,0-13-16,0 13 15,1 0 1,-1-13 15,0 13-31,0 0 0,-13-14 16,14 1-16,-1 13 0,-13-13 0,13 0 15,-13-1-15,13 1 0,1 0 16,-14-14-16,0 1 0,13 0 16,-13 12-16,13-12 0,-13-1 0,13 1 15,-13 13-15,0-1 0,0 1 16,-13 53 0,13-27-1,0 0-15,0 14 0,-13-14 16,13 14-16,0-14 0,0 13 15,0-13-15,0 1 0,0-1 0,0 0 16,0 0-16,0 1 0,0-1 16,13 0-16,-13 0 15</inkml:trace>
  <inkml:trace contextRef="#ctx0" brushRef="#br2" timeOffset="-110634.45">12422 1971 0,'-13'0'0,"79"27"0,-119-54 0,53 14 47,13 13-47,-13-13 0,14 13 0,-1 0 16,0-14-16,0 14 0,1 0 16,-1 0-16,13-13 0,-13 13 0,14 0 15,-14 0-15,0 0 16</inkml:trace>
  <inkml:trace contextRef="#ctx0" brushRef="#br2" timeOffset="-110460.39">12793 1958 0,'13'0'0,"0"26"16,-13-12-1,0-1 1,0 0-16,-13 0 0,13 1 16,0-1-16</inkml:trace>
  <inkml:trace contextRef="#ctx0" brushRef="#br2" timeOffset="-110328.45">12806 1786 0</inkml:trace>
  <inkml:trace contextRef="#ctx0" brushRef="#br2" timeOffset="-109628.33">13097 1918 0,'-13'13'31,"-1"-13"-31,14 14 16,-13-1-16,13 0 0,-13 0 16,13 1-16,-13-1 0,13 0 15,0 0 1,0 1 0,13-14-1,0 0-15,0 0 0,1 0 16,-1 0-16,0 0 0,0-14 0,1 14 15,-1-13-15,-13 0 0,13 13 16,-13-13-16,0-1 0,13 1 16,-13 0-16,-13 0 0,13-14 0,0 14 15,-13 13-15,13-13 0,-13 13 16,-1-13-16,1 13 16,0 0-16,0 0 15,13 13-15,-14-13 16,28 13-1,-1 0 1,0-13-16,0 0 0,1 13 0,-1-13 16,0 0-16,0 14 0,0-14 15,1 13-15,-1-13 0,0 0 16,0 13-16,1-13 0,-14 13 16,13-13-16,-13 14 15,13-14-15,0 13 16,1-13-1,-1 0 1,0 0 0,0-13-16,0 13 15,14 0-15,-14-14 16,0 14 0,1 0-16,-1 0 15,-13 14-15,0-1 31</inkml:trace>
  <inkml:trace contextRef="#ctx0" brushRef="#br2" timeOffset="-108917.2">14367 1455 0,'-13'40'15,"-1"-14"1,14 14-16,-13-13 0,13 12 0,-13 1 16,0 0-16,13-1 0,-13 1 15,13-14-15,-14 1 0,14 13 16,0-27-16,0 0 0,0 13 16,0-12-16,14-1 15,-41-40 16,27 14-31,-13 0 0,0 0 16,-1 0 0,1-1-16,0 14 0,0-13 15,-1 13-15,1 0 0,0 0 0,0 13 16,-27 1-16,27-1 16,0 13-16,-1-26 0,14 13 15,0 1-15,0-1 0,0 0 16,14 0-16,12-13 0,-13 14 15,1-14-15,-1 0 0,13 0 16,-13 0-16,27 0 0,-13 0 16,-14 0-16,0-14 0,0 14 0,1 0 15,-1 0-15,0-13 16,0 13-16,0 0 0,-13-13 0,14 13 16,-1 0-16</inkml:trace>
  <inkml:trace contextRef="#ctx0" brushRef="#br2" timeOffset="-108512.33">14526 1786 0,'-40'13'32,"40"0"-17,-13 1-15,-1-1 0,1 13 16,0-12-16,13-1 0,-13 13 16,13-13-16,0 1 0,13-1 15,-13 0-15,13-13 0,0 13 16,1-13-16,-1 0 0,0 0 15,14 0-15,-14 0 0,0-13 16,0 13-16,-13-13 0,14 0 16,-14-1-16,0 1 0,0 0 15,0 0-15,-14 0 0,14-1 0,0 1 16,-13 0-16,13 0 0,-13-1 16,13 1-16,-13 0 0,-1 26 31</inkml:trace>
  <inkml:trace contextRef="#ctx0" brushRef="#br2" timeOffset="-108038.5">14803 1958 0,'40'-53'32,"-27"40"-17,-13 0-15,0-1 0,14 1 0,-14 0 16,0 0-16,0-1 0,0 1 0,0 0 15,-14 0 1,1 13-16,212 132 141</inkml:trace>
  <inkml:trace contextRef="#ctx0" brushRef="#br2" timeOffset="-107880.49">15094 1826 0,'14'79'110,"-1"-79"-110,-13 53 31,0-40-15,-27-158-16,27 303 0,-13-158 0,0 14 15,0-14-15,-14 0 0,1 13 16,-14 0-16,14-13 15</inkml:trace>
  <inkml:trace contextRef="#ctx0" brushRef="#br2" timeOffset="-107053.22">14751 1918 0,'-14'0'0,"41"-13"46,-14 0-46,0 0 0,0-1 16,14 1-16,-1-13 0,-12 12 16,-1-12-16,13-14 0,-26 27 15,0 0-15,13 0 0,-13-1 16,0 1-16,0 0 0,0 0 16,-13-1-16,0 28 15,0-14-15,13 13 16,-13 0-16,-1 0 0,14 1 0,-13-1 15,13 0-15,-13 13 0,13 1 16,0-14-16,0 0 0,0 1 0,13-1 16,-13 0-1,13-13-15,1 13 0,-1-13 0,13 0 16,1 14-16,-14-14 0,13-14 16</inkml:trace>
  <inkml:trace contextRef="#ctx0" brushRef="#br2" timeOffset="-106556.18">15306 1693 0,'-13'-13'31,"0"13"-15,-1 0-16,1 0 0,0 0 15,0 0 1,0 13-16,-1-13 0,1 14 16,0-14-16,0 13 15,-1-13-15,1 13 16,0 0-16,0-13 0,13 13 15,-14-13-15,14 14 16,-13-14-16,0 13 16,13 0 15,-13-13-15</inkml:trace>
  <inkml:trace contextRef="#ctx0" brushRef="#br2" timeOffset="-105460.45">15875 1693 0,'0'0'0,"0"27"16,0-14-16,0 13 16,-13-12-16,13-1 0,0 0 15,0 14-15,0-14 0,0 13 0,0-12 16,0-1-16,-13 0 16,13 0-16,0 0 0,0 1 0,0-1 15,0 0 1,13-39-1,-13 12 1,13 1-16,0 0 0,-13 0 16,13-14-16,1 14 0,-1 0 0,0 13 15,0-13-15,1 13 0,-14-14 16,13 14-16,0 0 0,0 0 16,1 14-16,-1-1 15,0 0-15,0 0 0,0 1 16,1-1-16,-14 0 15,13-13-15,0 13 16,0-13-16,1 0 16,-1 0-16,0-13 0,0 13 15,0 0-15,1 0 16,-1 0 0,0 0-16,0 13 15,1-13-15,-14 13 16,13-13-16,0 0 15,0 0-15,1 0 0,12 0 16,-13 0-16,0-13 16,1 0-16,-1-13 15,-13 12-15,0 1 0,0 0 16,0 0-16,0-1 0,0 1 0,-13 13 16,13-26-16,-14 26 15,14-14-15,-26 14 0,13 14 16,0-14-16,13 13 0,-14 0 15,1 0-15,0 1 0,0-1 16,13 0-16,0 0 0,0 1 16,13-14-16,0 13 0,0-13 15,1 0-15,-1 0 0,0 0 0,13 0 16,-12-13-16,12-1 0,-13 1 16,27 0-16,-13-14 0,12-12 15,-12 12-15,-1-39 0,-13 40 16,1-1-16,-1 1 0,0-1 15,-13 1-15,13-1 16,-13 14-16,0 0 0,-13 39 31,0 1-31,0-14 16,-1 27-16,1-14 0,13 14 0,-13 0 16,13-14-16,0 0 0,0-12 0,0 12 15,0 14-15,13-27 16,-13 0-16,13 1 0,-13-1 0,14 0 15,-14 0-15,13-13 0,-13 13 0,13-13 16,0 0-16,1 0 0,-1-13 16,0 13-16,-13-13 15</inkml:trace>
  <inkml:trace contextRef="#ctx0" brushRef="#br2" timeOffset="-105217.93">16285 1667 0,'-13'0'0,"53"-13"31,-14 13-31,0 0 0,27 0 0,-13-14 16,0 14-16,13 0 0,-14-13 15,1 13-15,0-13 0,-14 13 0,1 0 16,-1 0-16,-13-13 0,14 13 15,-14 0-15,0 0 0,1 0 0,-1 0 16,-13 13-16</inkml:trace>
  <inkml:trace contextRef="#ctx0" brushRef="#br2" timeOffset="-104775.95">17489 1707 0,'0'39'16,"0"-26"0,0 1-16,0-1 0,0 0 0,0 14 15,0-14-15,0 0 0,0 14 16,0-14-16,13 0 0,-13 0 16,0 0-16,0 1 0,0-1 15</inkml:trace>
  <inkml:trace contextRef="#ctx0" brushRef="#br2" timeOffset="-104620.16">17462 1574 0,'-13'0'15</inkml:trace>
  <inkml:trace contextRef="#ctx0" brushRef="#br2" timeOffset="-104101.93">17648 1759 0,'0'27'0,"13"-14"15,-13 0-15,0 1 16,0-1-16,0 0 31,13-39 16,-13 12-31,13 14-16,1 0 15,-1 0 1,0 0-16,0 0 16,-13 14-16,14-1 31,-1-13-31,13-13 47,-13-1-32,1 14 1,-1 0 0,106-13 30</inkml:trace>
  <inkml:trace contextRef="#ctx0" brushRef="#br2" timeOffset="-103698.61">18071 1588 0,'0'-27'31,"-26"173"0,52-265-15,-52 277-16,26-131 0,0 12 0,13 1 16,-13 26-16,0-39 15,13 26-15,-13-14 16,0-25-16,0 25 0,0-26 16,13 1-16,-26-1 15,13 0-15,-13-26 31,13 0-31,0-27 16,0 14-16,0-14 0,13-40 16,-13 54-16,0 0 0,0 12 15,13-12-15,-13 13 0,0-1 0,14 14 16,-14-13-16,13 13 0,0 0 16,0 13-16,-13 1 15,13-1-15,-13 13 16,-13-12-16,13-1 15,-13 0-15,13 0 0,-13 0 16,13 1-16,-13-14 16,13 13-16,-14-13 0</inkml:trace>
  <inkml:trace contextRef="#ctx0" brushRef="#br2" timeOffset="-102707.3">18362 1574 0,'13'-13'0,"-26"53"31,13-27-15,-13 0-16,13 0 0,0 1 0,0-1 16,-13 0-16,13 0 0,0 1 0,0 12 15,0-13-15,0 0 0,13 1 16,-13 12-16,13-26 16,-13 13-16,13-13 0,1 0 15,-1 0-15,0 0 16,0 0-16,0-13 0,14 0 15,-14 0-15,0-1 16,1 1-16,-14 40 63,0-14-48,13 0-15,-13 0 16,13-13-1,14-13-15,-14 13 16,-13-13-16,13 13 16,0 0-16,0 0 15,-13 13-15,14 0 0,-1 1 16,0 12-16,-13-13 16,13 14-16,-13-14 0,0 13 0,0 1 15,0-1-15,0-12 0,0 12 16,-13 14-16,0-14 0,0 1 0,13-1 15,-14-13-15,1 1 0,0-1 16,0 0-16,-14 0 0,1-105 47,39 52-47,0 14 16,1 12-16,12-25 15,14-14-15,-14 26 16,-13 14-16,14 0 0,-14 0 15,13-1-15,14-12 16,-27 13-16,14-1 16,-27 1-1</inkml:trace>
  <inkml:trace contextRef="#ctx0" brushRef="#br2" timeOffset="-101018.52">19817 1495 0,'0'-13'0,"-39"26"16,12 13-16,1 1 15,-1-1-15,-65 67 16,39-27-1,13 0-15,14 0 16,-1-26-16,27-27 16,0 14-16,0-14 0,0 0 0,0 0 15,0 1-15,13-14 0,1 13 0,-1-13 16,0 13-16,27-13 0,-14 0 16,1 0-16,12-13 0,14 13 15,-13-13-15,0-1 0,-1 14 0,-12-26 16,-1 26-16,1-13 0,-1-1 15,-13 1-15,1 0 0,-1 0 16,0 13-16,0-13 0,0-1 0,-13 1 16,14 13-16,-14-13 15,0 0 1,-14 13-16,1 0 16,0 13-16,0-13 0,0 13 15,-1 0-15,1-13 0,13 14 16,-13-14-16,13 13 0,-13 0 15,13 0-15,0 0 16,0 1-16,13-14 16,0 0-1,0 0-15,1 0 16,-1-14-16,0 1 16,0 13-16,-13-13 0,13 0 15,1 0-15,-14-1 0,13 14 16,-13-13-16,13 0 0,-26 39 62,13-12-62,13-1 16,-13 0 0,13 0-16,1-13 15,-14 13 1,13-13-16,27-26 31,-27 26-15,-13-13-16,0 0 15,13-1-15,0 1 32,-13 40-17,0-14 1,13 0-1,-13 0-15,27 14 32,-14-27-17,0 0-15,1 0 16,-14-14-16,13 14 16,0-13-16,-13 0 15,13 0-15,-13 0 0,14 13 16,-14-14-16,13 1 0,-13 0 15,0 0-15,13 13 16,-13-14 0,0 1-1,0 40 79,0-14-78,0 0-16,0 0 15,0 1 1,0-1-16,13-13 16,0 13-1,1-13-15,-1 0 16,0 0-16,0 0 15,1-13-15,-1 13 0,0 0 0,0-13 16,14 13-16,-27-14 16,13 14-16,0 0 0,-13-13 0,13 13 15,1-13-15,-1 13 16,0 0-16,0-13 16,1 26-1,-1-13-15,0 13 0,0 0 16,-13 1-16,14-14 0,-14 13 15,13 0-15,-13 0 16,0 0-16,0 1 16,-13-14-16,13 13 0,-14 0 0,1 0 15,0-13-15,0 14 0,-1-14 16,1 0-16,0 13 16,0-13-16,-1 0 0,1-13 0,0 13 15,13-14 1</inkml:trace>
  <inkml:trace contextRef="#ctx0" brushRef="#br2" timeOffset="-99900.68">20968 1839 0,'0'-13'0,"-13"-1"47,-13 28-47,12-14 16,1 13-16,0 0 15,-14 14 1,14-14-16,0 0 16,13 0-1,66 0 16,-53-26-15,1 13-16,-1 0 16,0 0-16,0 13 31,0-13-15,1 0-16,-1 0 15,13 0-15,-12-13 16,-1 13-16,0-13 0,0 13 15,1-13-15,-1 0 0,13-14 16,-13 14-16,1-14 16,-14 1-16,26-14 0,-13 14 15,-13-1-15,27-12 16,-14 12-16,-13 14 16,0 0-16,13 39 15,-13-13 1,0 1-16,0-1 0,0 0 15,0 14-15,0 25 16,0-38-16,13 25 0,-13-25 16,0 12-1,14-13-15,-14 1 0,0-1 16,13-13 0,-13 13-16,13-13 15,-26-26 16,0 26-15,13-14-16,-14 14 0,1-13 16,0 13-16,13-13 0,-13 13 0,0-13 15,-14-1-15,14 14 16,13-13-16,-13 13 0,26-13 47,0 13-47,0 0 0,1 0 15,-1-13-15,0 13 0,0 0 16,0 0-16,14 0 0,-14 0 0,0 0 16,1 0-16,-1 0 0,0 0 0,0-14 15,1 14-15,-1 0 0,0 0 16,0 0-16,0 0 0,1 0 16,-1 0-16,0 0 15,-13 14 1,13-14-1,-13 13-15,14 13 16,-14-12-16,0-1 16,0 0-16,0 0 15,13-13-15,-13 14 0,0-1 16,0 0 0</inkml:trace>
  <inkml:trace contextRef="#ctx0" brushRef="#br2" timeOffset="-99034.4">21815 1746 0,'-13'0'0,"-1"0"16,1 0 0,0 13-16,0 1 15,0-14-15,13 13 0,-14 0 16,1 0-16,0 1 0,13-1 0,-13 0 15,-1 0-15,14 1 0,0-1 16,0 0-16,0 0 16,14 0-1,-1-13-15,0 0 16,0 0-16,14-13 16,-1 0-16,40-80 31,-66 54-16,-13 25 1,0 1 0,0 0-16,-1 13 15,1 0 1,13 13 0,13 0-1,1 1 1,-1-14-1,0 13-15,0 0 0,1 0 32,-1-13-32,-13 14 15,13-14-15,-13 13 16,13-13 0,1 0-1,-1-13-15,0 13 16,0 0-1,0 0-15,1 0 16,12 13 0,1-13-1,-1-13 1,-13 13-16,0 0 16,1 0-1</inkml:trace>
  <inkml:trace contextRef="#ctx0" brushRef="#br2" timeOffset="-98828.4">22278 1799 0,'0'-13'0</inkml:trace>
  <inkml:trace contextRef="#ctx0" brushRef="#br2" timeOffset="-97948.05">10398 1574 0,'0'-13'0,"-13"92"31,13-39-15,0 0-16,0-1 0,0 1 15,0 13-15,-13-13 0,13 39 16,-14-39-16,14 39 15,-13-39-15,13 0 0,0-14 16,-13 14-16,13-14 0,-13-13 16,13 14-16</inkml:trace>
  <inkml:trace contextRef="#ctx0" brushRef="#br2" timeOffset="-96190.11">10292 1614 0,'14'-13'0,"38"26"31,-38-13-15,12 0-16,-13 0 15,14 0-15,26 0 0,0 0 16,39-13-16,-52 13 16,53-13-16,-54-1 15,67 1-15,-53 13 0,13-13 16,80 0-16,-14-14 15,0 1-15,-52 12 16,-14 14-16,13-13 0,146-26 16,0 12-1,-66 1-15,-14 12 16,-65 14 0,-14-13-16,-13 13 0,0-13 0,-1 13 15,1 0-15,0-13 0,0 13 0,40 0 16,-40 0-16,-14-14 0,1 14 0,13 0 15,-13-13-15,-1 13 0,1 0 16,0-13-16,-1 13 0,-12 0 16,13 0-16,-14-13 0,1 13 0,-1 0 15,14 0-15,-14-13 0,1 13 0,-1 0 16,14 0-16,-14-14 0,1 14 16,39 0-16,-27-13 0,-12 13 15,13 0-15,26-13 0,-40 13 16,40 0-16,-26 0 15,-13 0-15,12 0 0,-12-13 0,-1 13 16,14 0-16,52 0 16,-52 0-16,0 0 0,-1 0 15,1 0-15,13 0 0,40 13 16,-40-13-16,0 0 0,-14 0 0,54 0 16,-54 0-16,14 0 15,-26 0-15,65 0 0,-52 0 16,13 13-16,40-13 15,-54 13-15,-12-13 16,-1 0-16,1 0 0,39 14 16,0-14-16,-39 0 15,-1 0-15,0 0 0,14 0 0,-13 13 16,25-13-16,-25 0 16,-14 13-16,40-13 0,-13 13 15,13-13-15,-27 0 16,-13 13-16,14-13 0,-1 0 15,-12 0-15,25 0 0,-12 14 0,-14-14 16,13 0-16,120 13 16,-106 0-1,12 0 1,160 1 15,-159-1-31,-26-13 0,12 0 16,1 0-16,13 0 15,-27 0-15,27 13 16,0-13-16,450 13 78,-437-13-62,-40 0-16,27 0 15,13 0-15,-39 0 0,-1 0 16,14 0-16,-13 0 16,-1 0-16,0 0 0,27 0 15,-26 0-15,-1 0 0,1 14 0,12-14 16,1 0-16,-27 0 0,27 0 16,-13 0-16,65 0 15,-39 13-15,13-13 16,0 0-16,-39 0 15,12 0-15,28 0 16,12 13-16,-39-13 16,-14 0-16,27 0 0,13 13 15,-39-13-15,12 0 16,-12 0-16,39 0 0,-26 0 16,26 0-16,-40 0 0,14 0 15,53 13-15,-54-13 16,14 0-16,-13 0 15,13 0-15,13 14 16,-40-14-16,27 0 16,-26 13-16,-1-13 0,1 0 15,12 0-15,-25 0 0,52 13 16,-53-13-16,13 0 0,1 0 16,-1 0-16,14 0 0,13 13 15,-40-13-15,40-13 16,-13 13-16,-14 0 15,1 0-15,-14 0 0,13 0 0,1 0 0,-1-13 16,1 13-16,12 0 16,-12 0-16,13 0 15,-27 0-15,13 0 0,-13 0 16,27-13-16,-13 13 0,-1 0 16,-13 0-16,14 0 0,-14 0 15,13 0-15,1 0 0,-1 0 16,27 0-16,-39 0 15,38 0-15,-38 0 16,12 0-16,1 0 0,-14 0 16,13 0-16,1 13 0,12-13 15,-12 0-15,-1 0 0,40 0 16,-39 0-16,-14 13 0,14-13 16,-14 0-16,13 0 0,14 0 15,-27 0-15,14 0 0,-1 0 16,14 0-16,-14 0 15,-13 0-15,14 13 0,13-13 16,-1 0-16,-12 0 16,-14 0-16,13 0 0,1 0 15,-14 0-15,14 0 0,-1 0 0,14 0 16</inkml:trace>
  <inkml:trace contextRef="#ctx0" brushRef="#br2" timeOffset="-94435.79">21458 1495 0,'13'-13'16,"0"13"-1,0 0-15,1 0 16,-1 0-16,0 0 16,14 0-16,-1 0 0,40 0 15,-13 0-15,-13 0 0,13 0 16,0 0-16,0 0 0,-14 0 0,14 0 15,13 0-15,-39 0 0,12 0 16,-12 0-16,-14 13 0,14-13 16,-14 0-16,26 0 0,-25 0 15,-1 0-15,0 0 0,0 0 16,1 0-16,-14 13 16,13 0-16,-13 1 15,0-1-15,0 13 0,0-12 0,0 25 16,0-12-16,0 12 0,0 1 15,13 0-15,-13-1 0,13 41 16,-13-41-16,14-12 0,-14-1 0,13 1 16,-13-1-16,13-12 0,-13 12 0,0-13 15,13 0-15,-13 14 16,13-14-16,-13 0 0,0 1 16,0-1-16,14 0 15,-28 0 32,1-13-31,0 0-1,-27-13 1,27 13 0,-13 0-16,-27 0 0,26 0 15,-26 0-15,0 0 0,-463 13 31,424-13-15,-80 0-16,92 0 0,-91 0 16,-398 40 15</inkml:trace>
  <inkml:trace contextRef="#ctx0" brushRef="#br2" timeOffset="-91908.54">10213 2315 0,'13'13'0,"0"-13"15,1 0-15,-1 0 16,0 0-16,14 0 0,12-13 16,-12 13-16,-1 0 0,14 0 15,39 0-15,-39-13 0,13 13 16,-14 0-16,14 0 0,0 0 16,53 0-16,-53-13 0,0 13 15,53 0-15,-40 0 0,-13 0 16,0 0-16,0 0 0,13 0 15,40-14-15,-53 14 0,0 0 16,66 0-16,-66 0 0,-1 0 16,1 0-16,0 0 0,0 0 15,0 0-15,0 0 0,0-13 0,0 13 16,0 0-16,53 0 0,-54 0 16,1 0-16,0 0 15,0 0-15,0 0 0,0 0 0,0 0 16,0 0-16,-13 0 0,65 0 15,-52 0-15,0 0 0,0 0 16,0 0-16,-13 0 0,13 0 16,-14 0-16,14 0 0,-13 0 0,0 0 0,26 0 15,-26 0-15,-14 0 16,14 0-16,-1 0 0,1 0 0,13 0 16,0 0-16,-13 0 0,-14 0 0,14 0 15,13 0-15,-14 0 0,1 0 16,-14 0-16,14 0 0,13 0 0,-13 0 15,-14 0-15,14 0 0,-14 0 0,14 0 16,26 0-16,-26 0 16,-14 0-16,14 0 0,0 0 15,-14 0-15,14 0 0,0 0 0,-1 0 16,1 13-16,26-13 0,-26 0 16,26-13-16,-26 13 15,-14 0-15,14 13 0,13-13 16,-14 0-16,-12 0 0,12 0 0,-12 0 15,13 0-15,13 0 16,-14 0-16,-12 0 0,12 0 0,-12 0 16,13 0-16,-14 0 0,14 0 0,-1 0 15,1 0-15,0 0 0,13 0 16,-14 0-16,1 0 0,0 0 16,-14 0-16,14 0 0,0 0 0,26 0 15,-27 0-15,1 0 16,13 0-16,-13 0 0,-1 0 0,41 0 15,-41 0-15,1 0 0,13 0 16,26-13-16,-39 26 16,66-13-16,238 0 47,-318 14-32,146-14 1,-145 0-16,39 0 0,-40 13 15,14-13-15,53 0 16,-40 0-16,13 13 16,-27-13-16,14 0 15,-13 0-15,0 0 16,-14 0-16,40 0 0,-26 0 0,26 0 16,66 13-1,-105-13 1,13 0-16,26 0 0,-27 0 15,1 0-15,26 0 0,-39 0 16,39 14-16,-26-14 0,-14 0 16,40 0-16,-39 0 15,12 0-15,-12 13 0,39-13 16,-40 0-16,40 0 0,-39 0 16,-1 0-16,1 13 0,13-13 15,-14 0-15,0 0 0,1 0 0,-1 0 16,27 0-16,0 0 15,-26 0-15,26 0 16,-40 0-16,13 0 0,1 0 16,26 0-16,-27 0 0,14 0 15,-14 0-15,-12 0 16,12 0-16,14 0 0,-14 0 16,14 0-16,-1 0 15,1 0-15,-13 0 16,12 0-16,-12 0 0,26 0 15,-40 0-15,13 0 0,1 0 16,13 0-16,-27 0 16,13 0-16,14 0 0,-27 0 15,27 0-15,-14 0 16,1 0-16,-14 13 0,27-13 0,-14 0 16,1 0-16,-14 0 0,13 13 15,-13-13-15,27 0 16,-13 0-16,-14 0 0,0 0 0,14 0 15,-14 0-15,0 0 0,0 0 16,14 0-16,-14 0 0,0 0 0,0 14 16,1-14-16,12 0 0,1 0 15,-14 0-15,0 0 16,0 0-16,0 0 0,1 0 0,-1 0 16,0 0-16,0 0 0,14 0 15,-14 0-15,0 0 16,1 0-16,-1 0 0,0 0 15,13 0-15,-12 0 16,-1 0-16,0 0 16,0 0-16,1 0 15,-1 0 1,0 0 0,-13-14-1,13 14-15,-13-13 16,-13 0-1,0 0 1,0 13-16,-1-13 16,1-1-1,-13 1-15,-1 13 16,14-13-16,-13 0 16,-27-1-1</inkml:trace>
  <inkml:trace contextRef="#ctx0" brushRef="#br2" timeOffset="-63220.6">12012 7025 0,'-13'0'16,"0"0"15,39 0 16,-13-14-31,1 14-16,-1 0 15,0 0-15,0 0 16,-39-13 46,13 13-46,39 0 31,-13 0-47,0 0 16,1-13-16,-1 13 15,0 0-15,0 0 16,-13-13 15</inkml:trace>
  <inkml:trace contextRef="#ctx0" brushRef="#br2" timeOffset="-59164.96">8281 8533 0,'-26'13'16,"13"-13"-16,-14 40 15,14-27-15,0 0 16,13 14-16,-13-14 0,13 0 16,0 14-16,-14-14 0,14 0 0,0 0 15,0 0-15,0 14 0,14-27 0,-14 13 16,0 0-16,13 1 0,-13-1 15,13-13-15,-13 13 0,13-13 0,-13 13 16,14-13-16,-1 0 0,0 0 16,0 0-16,0-13 0,1 13 0,-1-13 0,0 0 15,0 13-15,14-14 0,-14 1 16,0 0-16,1-14 0,12 14 16,-13 0-16,0 0 0,1 0 0,-1 13 15</inkml:trace>
  <inkml:trace contextRef="#ctx0" brushRef="#br2" timeOffset="-58620.77">8784 8480 0,'0'13'0,"-13"14"15,0-27 1,13 13-16,-14 0 16,1-13-1,0 0-15,0 13 0,0-13 16,-1 0-16,14-13 0,-13 13 0,0 0 16,-14 0-16,14-13 0,0 0 15,-14-1-15,14 1 0,-13 0 0,13 0 16,-1-1-16,1 1 0,13 0 15,-13 13-15,13-13 0,0 0 0,-13-1 16,13 1 0,13 0-16,0 0 15,0 13 1,1 13-16,-14 0 16,13-13-16,-13 13 0,0 1 0,-13-1 15,13 0-15,0 13 0,-14-12 0,14-1 16,0 0-16,-13 0 0,13 1 15,-13-1-15,13 0 0,0 0 16,-13 0-16,13 1 16,26-14 15,-13 0-31,1 0 16,-1-14-16,0 14 0,0 0 0,0-13 15,1 13-15,-1-13 0,0 0 16,0 13-16,1-13 0,-1 13 0,0-14 15,0 1-15,14 0 0</inkml:trace>
  <inkml:trace contextRef="#ctx0" brushRef="#br2" timeOffset="-57528.76">8930 8255 0,'0'-13'0,"-14"0"32,14-1-32,-13 14 15,0 14 1,13-1-1,-13-13-15,13 13 0,0 0 0,0 0 16,-13 1-16,13-1 0,0 0 16,0 0-16,0 1 15,0-1-15,13 0 16,0-13 0,0-13-16,-13 0 15,13-1-15,-13 1 0,14 0 0,-1 0 16,-13-1-16,13 14 0,-13-13 0,0 0 15,0 0-15,13 13 0,-13-13 16,14 13-16,-1 13 16,0 0-1,-13 0 1,13-13-16,-13 13 16,14-13-16,-14 14 0,13-14 0,0 0 15</inkml:trace>
  <inkml:trace contextRef="#ctx0" brushRef="#br2" timeOffset="-55255.68">10372 8374 0,'-27'13'0,"14"-13"15,13 14-15,-13-14 0,13 13 16,-13 0-16,13 0 0,-14 0 15,14 1-15,0-1 16,-13 0-16,13 0 0,0 1 16,0-1-16,0 13 15,0-13-15,13-13 16,-13 14-16,14-14 16,-1 0-1,0 0 1,0-14-16,0 14 0,1 0 15</inkml:trace>
  <inkml:trace contextRef="#ctx0" brushRef="#br2" timeOffset="-54804.49">10676 8506 0,'-13'0'16,"-1"14"-16,1-14 31,0-14-31,0 14 16,13-13-16,-13 13 0,-1-13 16,14-14-16,-13 14 0,13 0 15,0 0-15,-13 0 0,13-1 0,0 1 16,0 0-16,13 0 0,-13-1 0,0 1 15,0 0-15,13 13 0,-13-13 0,14 13 16,-1 0 0,-13 13-16,0 0 15,0 0-15,-13 1 0,13-1 0,0 13 16,-14-12-16,14-1 0,-13 0 16,13 0-16,-13 0 0,13 1 0,-13-1 15,13 0-15,-14-13 0,14 13 16,0 1-16,14-1 31,-1-26-15,0 13-16,0-14 0,1 14 15,-1 0-15,0 0 16,0-13-16,0 13 16</inkml:trace>
  <inkml:trace contextRef="#ctx0" brushRef="#br2" timeOffset="-54372.75">10848 8678 0,'0'-13'16,"-13"0"-1,-1 26 1,14 0-16,-13-13 16,13 14-16,0-1 15,27-13 32,-27-13-47,13 13 0,0-14 16,0 14-1,1 0-15,-1 0 32,0-13-32,0 13 15,1 0 1,-14-13-16,13 13 0,0 0 15,0-13-15</inkml:trace>
  <inkml:trace contextRef="#ctx0" brushRef="#br2" timeOffset="-53393.55">13335 7832 0,'-13'0'0,"26"0"15,-39 0-15,12 13 0,1 0 16,13 0-16,-13 1 15,13-1-15,-13 0 0,13 0 16,0 1 0,0-1-16,13 0 15,0 0-15,0-13 32,1 0-32,-1 0 0,0 0 15,0 0-15,0 0 0,1-13 16,12 13-16</inkml:trace>
  <inkml:trace contextRef="#ctx0" brushRef="#br2" timeOffset="-52967.39">13666 8017 0,'-14'13'31,"-12"-26"-15,13 0 0,0-1-16,13 1 0,-14 0 15,14 0-15,0 0 0,0-1 16,0 1-16,0 0 16,0 0-16,14-1 0,-14 1 15,13 13-15,0 0 16,-13 27-1,-13-14 1,0-13-16,13 13 0,-14 0 0,1 1 16,0-1-16,0 0 0,-1 0 0,14 0 15,-13-13-15,13 14 16,-13-14-16,13 13 0,-13-13 0,13 13 0,13 0 47,0-13-47,0 0 0,1-13 15,-1 13-15,0 0 16,0 0-16,1 0 0,-1 0 16,0-13-16</inkml:trace>
  <inkml:trace contextRef="#ctx0" brushRef="#br2" timeOffset="-52628.5">13877 7938 0,'-13'0'0,"0"0"15,0 0 1,-1 13-16,1-13 0,13 13 16,-13-13-16,13 13 15,-13-13-15,13 13 16,13-13-1,13 0 1,-12 0 0,-14-13-16,13 13 15,0 13 1,0-13-16,1 0 31,-1 0-31,0 0 16,0 0-16</inkml:trace>
  <inkml:trace contextRef="#ctx0" brushRef="#br2" timeOffset="-51884.26">18799 7938 0,'-27'0'15,"14"13"-15,0 0 16,-1-13-16,14 13 15,-13 0-15,0 1 0,13-1 16,-13-13-16,13 13 0,0 0 16,0 1-1,13-14-15,-13 13 0,13-13 16,0 0-16,14 0 16,-14 0-1,0 0-15,1 0 0,-1 0 16,0 0-16,0 0 0,1 0 15</inkml:trace>
  <inkml:trace contextRef="#ctx0" brushRef="#br2" timeOffset="-51439.7">19209 8123 0,'-13'13'31,"-1"-26"-15,1 13-1,0-14-15,13 1 16,-13 0-16,13 0 0,0 0 0,0-1 16,0 1-16,0-13 0,0 12 15,0 1-15,13 0 0,-13 0 0,0 0 16,13 13-16,-13-14 0,13 14 0,-13-13 15,14 13-15,-28 27 32,14-14-32,-13 0 0,0-13 15,0 13-15,-1 0 0,1 1 16,0-1-16,0 0 0,-1 0 16,1 1-16,0-1 0,13 0 0,-13-13 15,13 13-15,-13-13 0,13 13 0,0 1 16,0-1-1,13-13 1,0 0-16,13-13 0,-12 13 16,-1 0-16,0 0 0,0-14 15,14 14-15,-14-13 0,0 13 16,1 0-16,-1 0 0</inkml:trace>
  <inkml:trace contextRef="#ctx0" brushRef="#br2" timeOffset="-50996.55">19473 8017 0,'0'-13'0,"0"-1"32,-13 28-17,0-14-15,13 13 0,-13-13 16,-1 13-16,14 0 0,-13 1 16,0-1-16,13 0 15,13-13 1,0 0-1,1 0-15,-1-13 0,0 13 16,0-13-16,1 13 0,-1 0 16,0 0-16,-13-14 0,26 14 15,-26 14-15,14-14 0,-1 0 16,-13 13 0,13-13-1,0 13-15,1-13 16</inkml:trace>
  <inkml:trace contextRef="#ctx0" brushRef="#br2" timeOffset="-50034.36">8956 10213 0,'27'-13'16,"-1"13"0,1 0-16,12 0 0,14-14 0,0 14 15,0-13-15,0 13 0,0 0 0,0-13 16,13 13-16,0-13 0,0 13 16,0-13-16,-13 13 0,0-14 0,0 14 15,0 0-15,0-13 0,-13 13 0,-1-13 16,-12 13-16,-1 0 0,1-13 15,-1 13-15,-13 0 0,1 0 0,12-14 16,-13 14-16,0 0 0,1 0 16,-1 0-16,0-13 15,0 13-15,1 0 16,-1 0-16,-13-13 16,13 13-1</inkml:trace>
  <inkml:trace contextRef="#ctx0" brushRef="#br2" timeOffset="-49744.57">10107 9988 0,'27'13'31,"-14"-13"-31,0 13 0,0-13 15,14 14-15,-14-14 0,0 13 16,0-13-16,1 13 0,-1 0 16,0-13-16,0 14 0,1-1 15,-1 0-15,-13 0 16,0 1-16,-13-1 16,13 0-16,-14-13 0,1 13 15,0 0-15,0 1 0,-14-14 0,14 13 16,0-13-16,-14 13 0,1-13 0,-1 13 15,1-13-15,-1 0 16</inkml:trace>
  <inkml:trace contextRef="#ctx0" brushRef="#br2" timeOffset="-49196.82">8943 10094 0,'0'26'15,"-13"-12"1,13-1-16,-14 0 0,14 0 16,-13 14-16,13-14 0,-13 0 0,0 0 15,13 1-15,0-1 16,0 0-16,13 0 15,0-13-15,0 0 16,1 14-16,-1-14 16,0 0-16,14 0 0,-1 0 0,1 0 15,-14 0-15,13 0 0,1 13 16</inkml:trace>
  <inkml:trace contextRef="#ctx0" brushRef="#br2" timeOffset="-47815.04">9419 10808 0,'-13'-26'31,"13"13"-31,-13-1 16,13 1-16,0 0 0,0 0 0,0-1 16,0 1-16,0 0 15,0 0-15,13 13 31,0 13-31,0 0 16,1 0-16,-1 1 0,0-1 16,0-13-16,-13 13 15,14-13-15,-1 0 0,0 0 16,0 0-16,-13-13 16,13 13-1,-13-13-15,0-1 0,0 1 16,0 0-16,0 0 0,0-1 15,0 1 1,0 0-16,0 0 16,-13 13-16,26-13 31</inkml:trace>
  <inkml:trace contextRef="#ctx0" brushRef="#br2" timeOffset="-47551.4">9604 10610 0,'0'0'16,"27"39"0,-14-25-16,0-1 15,1-13-15,-1 13 0,0-13 16,0 0-16,0 0 16,1 0-16,-1-13 0,0 13 15,0 0-15,-13-13 0,14-1 0,-14 1 16,0 0-16,0 0 15,-14 0-15,14-1 0,-13 1 16,0 13-16,13-13 0,-13 13 16,-1 0-16,-12 0 15,13 0-15,0 0 16,-1 13-16,14 0 16,-13-13-16</inkml:trace>
  <inkml:trace contextRef="#ctx0" brushRef="#br2" timeOffset="-46800.62">14248 9737 0,'-13'0'0,"-14"13"31,14-13-31,0 13 0,-1 0 16,1-13-16,13 14 16,-13-1-1,13 0-15,-13 0 0,13 0 16,13-13-1,-13 14-15,13-14 16,0 0-16,1 0 16,-1 0-16,0 13 0,0-26 15,1 13-15,-1 0 0,0 0 0,0 0 16,1 0-16,-14-14 0,13 14 16</inkml:trace>
  <inkml:trace contextRef="#ctx0" brushRef="#br2" timeOffset="-46419.19">14155 9856 0,'-13'0'0,"13"-14"0,-13 14 15,39-13 1,-13 13 0,1 0-16,12 0 15,-13-13-15,14 13 0,-14 0 0,14 0 0,12-13 16,-12 13-16,-1 0 0,27 0 15,-13-13-15,13 13 0,0 0 0,-1-14 16,1 14-16,0 0 0,27-13 0,-14 13 16,13-13-16,-13 13 0,14-13 15,-14 13-15,13-14 0,-13 14 16,1-13-16,-1 13 0,-13-13 0,0 13 16,39-13-16,-65 13 15,-1-13-15,0 13 0,-12 0 0,-1 0 16,0 0-16,0 0 0,1-14 15,-1 14-15,-26-13 47,-14 26-15</inkml:trace>
  <inkml:trace contextRef="#ctx0" brushRef="#br2" timeOffset="-46116.7">15610 9578 0,'14'26'31,"-1"-26"-31,0 14 16,0-1-16,1-13 0,-1 13 15,0 0-15,0-13 0,0 14 16,-13-1-16,14-13 0,-14 13 0,0 0 16,0 0-16,-14 1 15,1-1-15,0 0 0,0 0 16,-14 1-16,1-1 0,-1 13 0,1-13 15,-14 1-15,14-1 0,-14 0 0,0 0 16</inkml:trace>
  <inkml:trace contextRef="#ctx0" brushRef="#br2" timeOffset="-45613.6">14684 10094 0,'-13'0'15,"-40"26"1,40-12-16,0-1 0,0 0 16,-1 0-16,14 0 15,-13-13-15,13 14 0,0-1 0,0 0 16,0 0 0,13-13-16,-13 14 0,14-14 0,-1 0 15,-13 13-15,13-13 0,0 0 16,0 0-16,1 0 0,-1 0 0,0 0 15,0 0-15,1-13 0,12 13 0,-13 0 16,14-14-16</inkml:trace>
  <inkml:trace contextRef="#ctx0" brushRef="#br2" timeOffset="-45188.54">14975 10200 0,'0'13'0,"-13"0"31,0-13-15,0 0-16,-1 0 16,1 0-16,13-13 15,-13 0-15,0-1 16,0 1-16,13 0 0,0 0 0,-14 0 16,14-1-16,0 1 15,0 0-15,14 0 0,-14-1 16,13 14-1,0 0-15,0 0 16,-13 14 0,-13 12-16,0-13 15,0 1-15,13-1 0,-14 0 16,1-13-16,13 13 0,-13-13 0,13 13 16,-13-13-16,13 14 0,-14-14 15,41 13 16,-14-26-31,0 13 16,1 0-16,-1 0 0,0 0 16,0 0-16,0-14 0,1 14 0,-1 0 15,0 0-15,0 0 0,1-13 0,-1 13 16</inkml:trace>
  <inkml:trace contextRef="#ctx0" brushRef="#br2" timeOffset="-44754.56">15147 10160 0,'-13'13'16,"0"0"0,13 1-16,0-1 15,-13-13 1,13 13-16,13-53 62,-13 27-62,0 0 0,0 0 0,0 0 16,0-1-16,13 1 0,-13 0 16,13 0-16,-13-1 15,14 14-15,-1 0 16,0 0-16,0 14 16,1-14-16,-14 13 0,13 0 15,0 0-15,-13 1 16,13-1-16,-13 0 0</inkml:trace>
  <inkml:trace contextRef="#ctx0" brushRef="#br2" timeOffset="-44604.42">15094 10226 0,'0'0'15,"-13"-13"-15,40 13 16,-27-13-1,13 13-15,0 0 0,0-14 0,1 14 0,-1 0 16,0 0-16,0 0 0</inkml:trace>
  <inkml:trace contextRef="#ctx0" brushRef="#br2" timeOffset="-43939.67">14896 10610 0,'0'-27'0,"13"1"31,-13 13-31,13 26 16,1-13-1,-14 13-15,13-13 16,-13 13-16,13-13 0,-13 14 16,13-14-16,-13 13 0,14-13 15,-1 0-15,0 0 16,-13-13-16,13 13 15,-13-14-15,14 14 0,-14-13 16,0 0-16,13 13 0,-13-13 16,0-1-16,13 14 0,-13-13 15,0 0-15,13 13 16,-13-13-16,13 13 0,1-13 16,-1 13-16,0-14 15,0 28 16,-13-1-15,0 0-16,14 0 16,-14 0-16,13-13 15,0 14-15,0-14 16,1 0-16,-1 0 0,0 0 16,0 0-16,0-14 15,1 14-15,-14-13 0,0 0 16,0 0-16,0 0 15,-14 13-15,14-14 0,-13 14 16,0-13-16,0 13 0,0 0 0,-14-13 16,14 13-16,0 0 0,-1 0 15,1 0 1</inkml:trace>
  <inkml:trace contextRef="#ctx0" brushRef="#br2" timeOffset="-43227.83">19301 9472 0,'-13'-13'0,"0"13"0,0 0 16,-1 0-16,1 13 0,0-13 0,-66 40 31,65-40-31,-12 13 0,13 0 0,-1-13 16,1 13-16,0 1 0,0-14 0,0 13 15,13 0-15,-14-13 0,14 13 16,-13-13-16,13 14 0,0-1 16,13 0-16,1-13 0,-1 13 15,0 1-15,0-14 16,0 0-16,1 13 0,-1-13 0,0 0 15,0 0-15,1 0 0,-1 0 16,0 0-16,0 0 0</inkml:trace>
  <inkml:trace contextRef="#ctx0" brushRef="#br2" timeOffset="-42856.39">19050 9618 0,'0'0'15,"40"0"1,-27 13 0,13-13-16,1 13 0,52 14 15,-39-14-15,0 0 0,52 13 16,-52-12-16,0-1 0,52 13 16,-52-12-16,13-1 15,-14 0-15,1 0 0,13 0 0,-13 1 16,-1-1-16,1-13 0,0 13 0,-14 0 15,1-13-15,12 0 0,-12 14 0,-1-14 16,1 0-16,-1 0 0,1 13 16,-14-13-16,13 0 0,-12 0 0,12 0 15,-13 0-15,1 0 0,-1 0 0,0 0 16,0 0 0,0 0-16,1 0 0,-1 0 15,0-13-15,-13-1 31,-13 1-15</inkml:trace>
  <inkml:trace contextRef="#ctx0" brushRef="#br2" timeOffset="-42587.45">20320 9763 0,'13'13'32,"0"1"-17,14-1-15,-14 0 16,0 0-16,1 0 16,-14 1-16,13-1 15,0 0-15,-13 0 0,0 1 0,0-1 16,-13-13-16,0 13 0,-1 0 15,1 1-15,0-1 0,0 0 16,-14 0-16,1 0 0,13-13 0,-14 14 0,-13-1 16,1 0-16,-1-13 0</inkml:trace>
  <inkml:trace contextRef="#ctx0" brushRef="#br2" timeOffset="-42131.19">19235 10213 0,'-13'0'0,"0"0"0,0 13 15,-1-13-15,1 13 0,-27 27 32,27-40-32,13 13 0,0 1 15,0-1-15,0 0 16,13 0-16,1 0 16,-1-13-16,0 0 0,0 14 0,1-14 15,-1 0-15,13 0 0,-13 0 0,1 0 16,12 0-16,1-14 0,-14 14 15</inkml:trace>
  <inkml:trace contextRef="#ctx0" brushRef="#br2" timeOffset="-41736.61">19566 10358 0,'-40'-13'31,"27"0"-31,0 13 0,0-13 15,-1 0-15,1-1 16,13 1-16,-13 0 0,13 0 16,0-1-16,0 1 0,0 0 0,0 0 15,0-1-15,0 1 0,13 0 0,0 0 16,1 13 0,-1 0-1,-26 13-15,13 13 16,-14-12-1,1-1-15,0 0 0,0 0 16,-1 1-16,1-1 0,0 0 16,0-13-1,13 13-15,-13-13 0,13 14 16,13-14 0,0 0-1,0 0-15,14 0 0,-14-14 16,0 14-16,0 0 0,14-13 0,-14 13 15,13-13-15,1 13 0,-14-13 16,14-1-16</inkml:trace>
  <inkml:trace contextRef="#ctx0" brushRef="#br2" timeOffset="-41374.42">19751 10173 0,'13'0'0,"-26"0"32,26 13-32,-13 1 15,-13-1-15,13 0 16,0 0-1,0 1-15,0-1 0,-13-13 0,13 13 0,0 0 16,0 1-16,0-1 16,0 0-16,-13 0 31,13-52-15,0 25-1,0 1-15,0 0 0,13-14 0,-13 14 16,13 0-16,-13 0 0,0-1 0,13 1 15,-13 0-15,14 13 0,-14-13 16,13 13-16,13 0 16,-26 13-16,14 0 15,-14 0-15,13-13 16,-13 14-16,0-1 0,0 0 16,0 0-16,13 1 15,-26 12-15,13-13 31</inkml:trace>
  <inkml:trace contextRef="#ctx0" brushRef="#br2" timeOffset="-41203.57">19711 10292 0,'0'0'16,"-13"0"-16,53-13 46,-27 13-46,0 0 16,1 0-16,12 0 0,-13 0 0,1-13 16,12 13-16,-13 0 0,0 0 15,1 0-15</inkml:trace>
  <inkml:trace contextRef="#ctx0" brushRef="#br2" timeOffset="-40257.99">19262 10649 0,'0'14'0,"-14"-41"31,14 14-15,0 0-16,14 0 15,-14-1-15,0 1 16,0 0-16,13 13 16,0 0-1,0 13 1,1 0-16,-14 1 15,13-1-15,0 0 16,0 0 15,1-26 1,-1 0-32,-13 0 15,13-1 1,-13 1-16,13 0 15,0 13-15,-13-13 16,14 13-16,-14-14 16,13 14-1,0 14 1,-13-1 0,0 0-16,0 0 15,13 1 1,1-1-16,-1-13 15,0 0-15,0 0 0,0 0 16,1 0-16,-1-13 0,0 13 16,0 0-16,1-14 0,-1 1 15,-13 0-15,-13 0 16,-1 13 0,1 0-16,0 0 15,0 0-15,-14 0 0,14 0 16,-27 13-16,14-13 0</inkml:trace>
  <inkml:trace contextRef="#ctx0" brushRef="#br2" timeOffset="-39419.36">9353 11073 0,'-13'26'0,"0"-13"0,13 14 31,0-14-31,13 0 16,0-13-16,-13 14 15,13-14-15,0 0 16,1 0-16,12 0 16,-13 0-16</inkml:trace>
  <inkml:trace contextRef="#ctx0" brushRef="#br2" timeOffset="-39019.51">9723 11112 0,'-39'0'15,"26"0"1,13-13-16,-27 13 15,27-13-15,-13 13 0,13-13 16,-13 0-16,-1-1 0,14 1 16,0 0-16,0 0 0,0-1 15,0 1-15,0 0 0,0 0 16,14 0-16,-1 13 16,0 13-1,-13 0-15,-13 13 16,13-12-16,0-1 0,-13-13 15,13 13-15,-14 0 0,14 1 16,0-1-16,-13-13 0,13 13 16,0 0-16,-13-13 0,13 13 0,13 1 31,0-28-15,1 14-16,-14-13 0,13 13 15,0-13-15,0 13 0,1-13 0,-1 0 16</inkml:trace>
  <inkml:trace contextRef="#ctx0" brushRef="#br2" timeOffset="-38695.7">9763 10980 0,'13'-26'32,"-26"52"-32,40-39 31,-27 26-15,0 0-16,0 1 15,13-1-15,-13 0 16,0 0-16,13-13 0,-13 14 0,0-1 15,0 0 1,0-53 15,0 14-15,0 13-16,0-1 16,13-25-16,-13 26 15,13-1-15,1 14 16,-14-13-16,26 13 0,-26 13 15,13-13-15,1 0 0,-1 14 16,0-14-16,-13 13 0,13-13 16,1 13-16,-1 0 15</inkml:trace>
  <inkml:trace contextRef="#ctx0" brushRef="#br2" timeOffset="-38520.62">9842 11020 0,'0'0'16,"14"-13"-1,-14-1 1,13 14-16,0 0 0,0-13 0,1 13 0,-1-13 16,0 13-16,0 0 15,1-13-15,-1 13 0,13-13 0,-13 13 16,1-14-16</inkml:trace>
  <inkml:trace contextRef="#ctx0" brushRef="#br2" timeOffset="-36396.6">9181 7977 0,'0'13'31,"13"1"-15,1-1-16,12 0 31,-13-13-31,0-13 0,1 13 0,-1-13 16,0 13-16,-13-14 0,13 1 15,1 0 1,-14 39 0,0-12-1,0-1-15,0 0 16,0 0-16,0 1 0,0-1 0,0 0 16,0 0-16,0 0 15,0 1-15,0-1 0</inkml:trace>
  <inkml:trace contextRef="#ctx0" brushRef="#br2" timeOffset="-36152.89">9009 7964 0,'0'26'0,"0"-52"16,-13 79-16,13-40 0,13 0 0,-13 1 0,0 12 16,13-13-16,-13 14 0,14-1 0,-14 1 15,13-14-15,0 13 0,0-12 16,0 12-16,1-13 0,-1 0 0,0 1 16,14-14-16,-14 13 0,0-13 0,0 0 15,14 0-15,-14 0 0</inkml:trace>
  <inkml:trace contextRef="#ctx0" brushRef="#br2" timeOffset="-35944.6">9353 7766 0,'40'13'0,"-80"-26"0,106 39 16,-53-26-16,14 13 0,-1 14 0,-12-1 15,12 1-15,-13-1 0,14 1 0,-14-1 16,0 0-16,-13 1 0,13-1 0,-13 14 16,0-14-16,0 1 0,0-1 15,0 1-15,0-1 0,0 1 0</inkml:trace>
  <inkml:trace contextRef="#ctx0" brushRef="#br2" timeOffset="-35260.59">10941 8890 0,'39'26'31,"-26"-12"-15,1-14-16,-1 0 0,0 0 16,0 0-16,1-14 15,-1 14-15,0-13 0,0 0 16,0 13-16,-13-13 0,14 0 15,-14-1 1,13 1-16,-26 53 47,13-27-47,0 0 0,0 0 16,-14 1-16,14-1 0,0 0 15,0 0-15,0 1 0,-13-14 16,13 13-16,0 0 0</inkml:trace>
  <inkml:trace contextRef="#ctx0" brushRef="#br2" timeOffset="-35056.71">10821 8824 0,'-13'26'0,"13"80"31,0-79-31,13-1 16,-13 1-16,14-1 0,-1 0 15,0-12-15,0-1 0,1 13 0,-1-26 16,0 14-16,14-14 0,-14 13 0</inkml:trace>
  <inkml:trace contextRef="#ctx0" brushRef="#br2" timeOffset="-34864.43">11245 8718 0,'13'0'16,"-26"0"-16,39 13 0,-13-13 0,1 13 0,-1-13 16,0 14-16,0-1 0,-13 0 15,14 0-15,-1 14 0,0-14 0,-13 14 16,13 12-16,1-12 0,-28-1 15,28 1-15,-14-1 0,0 1 0,0-14 16</inkml:trace>
  <inkml:trace contextRef="#ctx0" brushRef="#br2" timeOffset="-34116.47">14380 7924 0,'0'27'31,"0"-14"-31,13 0 16,-13 0-1,14-13-15,-1 0 0,0 0 16,0 0-16,-13-13 15,13 13-15,1 0 0,-1-13 16,0 0-16,0 13 16,-13-13-16,-13 39 31,13-13-31,-13-13 0,13 13 16,-13 1-16,13-1 0,-14 0 0,14 0 15,-13 1-15,0-1 0,13 0 0,0 0 16,-13-13-16,13 13 0,-13 1 15</inkml:trace>
  <inkml:trace contextRef="#ctx0" brushRef="#br2" timeOffset="-33929.5">14274 7898 0,'-39'79'16,"39"-66"0,-14 14-16,14-14 0,14 14 0,-14-14 15,0 0-15,0 13 0,13-12 16,-13-1-16,13 0 0,0 0 16,1-13-16</inkml:trace>
  <inkml:trace contextRef="#ctx0" brushRef="#br2" timeOffset="-33723.42">14658 7805 0,'13'13'16,"-26"-26"-16,39 26 0,1 14 0,-14-1 15,14 1-15,-14-14 0,0 14 0,0 12 16,-13-12-16,13 12 0,-13 1 15,0 0-15,-13-1 0,0 1 16,13 0-16,-13-1 0,0 1 0,-1-13 16,1-1-16</inkml:trace>
  <inkml:trace contextRef="#ctx0" brushRef="#br2" timeOffset="-32965.72">19831 8017 0,'-14'66'32,"28"-53"-32,-14 0 15,0 1-15,0-1 0,13 0 0,-13 0 16,13 1-16,-13-1 0,13 0 15,0-13-15,-13 13 0,14-13 0,-14 14 16,13-14-16,0 0 0,0 0 16</inkml:trace>
  <inkml:trace contextRef="#ctx0" brushRef="#br2" timeOffset="-32628.72">20042 8004 0,'0'0'0,"-13"13"31,13 0-31,0 0 0,0 1 16,13-1-16,-13 0 15,13-13-15,-13 13 16,14-13-16,-1 0 16,0 0-16,0 0 0,1-13 15,-1 13-15,0 0 16,-13-13-16,13 13 0,0-13 0,1-1 15,-14 41 32,-14-27-47,14 13 0,0 0 0,-13 0 16,13 1-16,-13-1 0,13 13 16,-13-12-16,13-1 0,0 0 0,-13 0 15,13 1-15,0-1 0,-14 0 0,14 0 16</inkml:trace>
  <inkml:trace contextRef="#ctx0" brushRef="#br2" timeOffset="-32331.87">20320 7885 0,'40'26'0,"-80"-52"0,80 65 0,-27-25 15,0-1-15,0 0 0,1 0 0,-1 27 16,0-14-16,0 14 0,-13-14 0,0 14 15,0 0-15,-13 0 0,13-14 16,-13 14-16,0-1 0,-1-12 0,1-1 16,0 1-16,13-14 0,-13 0 0,-1 0 15</inkml:trace>
  <inkml:trace contextRef="#ctx0" brushRef="#br2" timeOffset="-8033.36">860 1455 0,'26'0'125,"67"0"-109,66 0-16,79 0 15,119 0-15,119 0 16,27 0-16,-80 0 16,-66 0-16,-26 0 15,-106 0-15,-93 0 16,-13 0-16,-79 0 15,-27 0-15</inkml:trace>
  <inkml:trace contextRef="#ctx0" brushRef="#br0" timeOffset="-38316.28">23442 7342 0,'40'0'0,"79"-13"31,-93 13-31,1-13 0,-1 13 0,14 0 16,-14 0-16,-12 0 0,12 0 0,0 0 15,-12 0-15,12 13 0,-13-13 16,1 13-16,-1 0 0,0 14 0,0-14 16,1 14-16,-14 12 0,13 1 0,-13 0 15,0-1-15,13 1 0,-13 13 16,13 0-16,0 0 0,1 13 0,-1-13 16,0 13-16,0 0 0,1 0 0,12 14 15,-13-14-15,1 13 16,-1 1-16,0-14 0,13 13 0,-12 0 15,-1 1-15,0-1 0,0 1 0,1-1 16,-1-13-16,0 13 0,0-12 16,1 12-16,-1 0 0,0-13 0,0 1 15,0-1-15,1 0 0,-1 0 0,-13 0 16,13-13-16,-13 13 0,13-26 0,-13 13 16,0-13-16,0 12 0,0-12 15,0 0-15,0-14 0,0 14 16,0-14-16,0 1 0,0-1 0,0 1 0,0-14 15,0 14-15,0-14 16,0 13-16,0-13 0,0 1 0,0-1 16,0 0-16,-13 0 15,13 1-15,-13-1 16,0-13-16,-1 0 16,1 0-16,-13 13 0,-14-13 0,-13 13 15,-13 1-15,-13-14 0,-1 13 0,1 0 16,-14 0-16,-39 0 0,13 1 15,-13-1-15,-1 0 0,14 0 0,-26 1 16,12 12-16,1-13 0,13 0 0,-13 14 16,26-14-16,0-13 15,14 13-15,12 1 0,-12-1 0,12-13 0</inkml:trace>
  <inkml:trace contextRef="#ctx0" brushRef="#br0" timeOffset="-36178.89">22781 11351 0,'-27'53'0,"54"-106"0,-67 119 0,27-40 15,13 1-15,-14-1 0,1 1 0,0-1 16,13 1-16,-13-1 0,13 0 0,0-12 16,0 12-16,13-13 15,-13 1-15,0 12 0,13-13 0,0-13 0,1 14 16,-1-14-16,0 0 0,0 0 16,14 0-16,-14-14 0,27 1 0,-14 0 15,1-14-15,12 14 0,-12-13 16,-14 12-16,0 14 0,1-13 0,-1 13 15,0-13-15,0 13 16,0 13-16,-13 0 16,14-13-16,-14 14 0,0-1 0,0 0 15,13 0-15,0 1 0,-13-1 16,13-13-16,-13 13 0,14-13 16,-14 13-16,13-13 0,0-13 15,-13 0 1,13 0-16,-13-1 0,-13 1 15,13 0-15,-13 0 0,13-1 16,-13 14-16,-1-13 0,14 0 0,-13 0 16,0 0-16,0-1 0,-1 1 31,28 0-15,-1 13-16,0 0 0,0 0 15,1 0-15,-1 0 0,0 0 16,0 0-16,1 0 0,-1 0 15,0 0-15,13 0 16,-12 0 0,-1 0-16,0 0 15,0 0 1,-13 13-16,14-13 16,-1 0-16,0 0 31,0-13-31,0 13 0,-13-13 15,14-1-15,-1 1 0,-13 0 0,13 0 16,0-1-16,-13 1 16,14 0-16,-14-13 0,13 12 0,-13 1 15,0-13-15,13 12 0,-13 1 0,0 0 0,0 0 16,13-1 0,-13 1-16,0 53 15,0-27 1,0 14-16,0-1 0,0 14 0,0-1 15,0 14-15,0-13 0,-13 13 16,13-13-16,0 13 0,-13-14 16,13 1-16,-13 0 0,13-1 0,-14 1 15,1-14-15,13-12 0,-13 12 0,13-13 16,-13 1-16,-1-1 0,-12-26 16,26-1-1,0 1-15,0 0 16,0-14-16,13 14 0,-13-13 15,13-1-15,1 1 0,-1-1 0,0-12 16,14 12-16,-14 1 0,13-14 0,-12 14 16,12-1-16,-13 1 0,14 13 15,-14-1-15,0 1 0,0 0 0,1 0 16,-1 13 0,-13 13-16,0 0 15,0 0-15,0 1 16,0-1-16,13 0 15,-13 0-15,0 0 0,13 1 32,1-28-17,-1 14-15,-13-13 0,0 0 0,13 0 16,-13 0-16,0-1 0,-13 1 16,13 0-16,-13 0 15,-1 13 1,14-14-1,14 28 17,-1-14-17,0 0-15,13 0 16,-12 0 0,12 0-16,-13 0 15,1 0-15,-1 0 0,0 0 16,0 0-16,0 0 15,1 0 1,-1 0-16,0-14 16,0 14-1</inkml:trace>
</inkml:ink>
</file>

<file path=ppt/ink/ink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5.005"/>
    </inkml:context>
    <inkml:brush xml:id="br0">
      <inkml:brushProperty name="width" value="0.025" units="cm"/>
      <inkml:brushProperty name="height" value="0.025" units="cm"/>
      <inkml:brushProperty name="ignorePressure" value="1"/>
    </inkml:brush>
  </inkml:definitions>
  <inkml:trace contextRef="#ctx0" brushRef="#br0">19 4,'0'-3,"0"5,0 6,0 5,0 3,0 3,0 0,0 2,0-1,0 1,0-1,-4 0,0-1,-1 1,2-1,1-3</inkml:trace>
</inkml:ink>
</file>

<file path=ppt/ink/ink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5.318"/>
    </inkml:context>
    <inkml:brush xml:id="br0">
      <inkml:brushProperty name="width" value="0.025" units="cm"/>
      <inkml:brushProperty name="height" value="0.025" units="cm"/>
      <inkml:brushProperty name="ignorePressure" value="1"/>
    </inkml:brush>
  </inkml:definitions>
  <inkml:trace contextRef="#ctx0" brushRef="#br0">0 12,'10'0,"6"0,4 0,2 0,1 0,-1 0,-1 0,0 0,-1-3,0-2,-4 1</inkml:trace>
</inkml:ink>
</file>

<file path=ppt/ink/ink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5.933"/>
    </inkml:context>
    <inkml:brush xml:id="br0">
      <inkml:brushProperty name="width" value="0.025" units="cm"/>
      <inkml:brushProperty name="height" value="0.025" units="cm"/>
      <inkml:brushProperty name="ignorePressure" value="1"/>
    </inkml:brush>
  </inkml:definitions>
  <inkml:trace contextRef="#ctx0" brushRef="#br0">18 1,'5'11,"-1"0,0 0,-1 0,0 1,-1 0,0 0,-1-1,0 1,-2 24,-4 7,-14 60,4-19,12-67</inkml:trace>
</inkml:ink>
</file>

<file path=ppt/ink/ink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6.389"/>
    </inkml:context>
    <inkml:brush xml:id="br0">
      <inkml:brushProperty name="width" value="0.025" units="cm"/>
      <inkml:brushProperty name="height" value="0.025" units="cm"/>
      <inkml:brushProperty name="ignorePressure" value="1"/>
    </inkml:brush>
  </inkml:definitions>
  <inkml:trace contextRef="#ctx0" brushRef="#br0">0 39,'240'-9,"7"-1,-107 0,-8 0,-115 10</inkml:trace>
</inkml:ink>
</file>

<file path=ppt/ink/ink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6.980"/>
    </inkml:context>
    <inkml:brush xml:id="br0">
      <inkml:brushProperty name="width" value="0.025" units="cm"/>
      <inkml:brushProperty name="height" value="0.025" units="cm"/>
      <inkml:brushProperty name="ignorePressure" value="1"/>
    </inkml:brush>
  </inkml:definitions>
  <inkml:trace contextRef="#ctx0" brushRef="#br0">145 1,'-132'122,"131"-122,0 1,0 0,0-1,1 1,-1 0,0 0,0 0,1 0,-1 0,0-1,1 1,-1 1,1-1,-1 0,1 0,0 0,-1 0,1 0,0 0,0 0,0 0,0 1,0-1,0 0,0 0,0 0,0 2,1-2,0 0,1 1,-1-1,0 0,0 0,0 0,1 0,-1 0,1 0,-1 0,1 0,-1-1,1 1,-1 0,4 0,7 2,0-1,0 0,22 0,12-2,174-3,-202 0,-1-1</inkml:trace>
</inkml:ink>
</file>

<file path=ppt/ink/ink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7.736"/>
    </inkml:context>
    <inkml:brush xml:id="br0">
      <inkml:brushProperty name="width" value="0.025" units="cm"/>
      <inkml:brushProperty name="height" value="0.025" units="cm"/>
      <inkml:brushProperty name="ignorePressure" value="1"/>
    </inkml:brush>
  </inkml:definitions>
  <inkml:trace contextRef="#ctx0" brushRef="#br0">104 1,'-2'9,"0"0,0 0,-1 0,-1-1,-6 14,-11 30,1 34,-13 39,27-107</inkml:trace>
</inkml:ink>
</file>

<file path=ppt/ink/ink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8.679"/>
    </inkml:context>
    <inkml:brush xml:id="br0">
      <inkml:brushProperty name="width" value="0.025" units="cm"/>
      <inkml:brushProperty name="height" value="0.025" units="cm"/>
      <inkml:brushProperty name="ignorePressure" value="1"/>
    </inkml:brush>
  </inkml:definitions>
  <inkml:trace contextRef="#ctx0" brushRef="#br0">18 1,'0'7,"0"5,0 4,0 2,0 2,0 1,0 0,-3-1,-1 1,-1-2,2 1,0-4</inkml:trace>
</inkml:ink>
</file>

<file path=ppt/ink/ink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9.116"/>
    </inkml:context>
    <inkml:brush xml:id="br0">
      <inkml:brushProperty name="width" value="0.025" units="cm"/>
      <inkml:brushProperty name="height" value="0.025" units="cm"/>
      <inkml:brushProperty name="ignorePressure" value="1"/>
    </inkml:brush>
  </inkml:definitions>
  <inkml:trace contextRef="#ctx0" brushRef="#br0">0 20,'7'-3,"5"-2,4 1,3 1,1 0,1 2,-4 0</inkml:trace>
</inkml:ink>
</file>

<file path=ppt/ink/ink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41.048"/>
    </inkml:context>
    <inkml:brush xml:id="br0">
      <inkml:brushProperty name="width" value="0.025" units="cm"/>
      <inkml:brushProperty name="height" value="0.025" units="cm"/>
      <inkml:brushProperty name="ignorePressure" value="1"/>
    </inkml:brush>
  </inkml:definitions>
  <inkml:trace contextRef="#ctx0" brushRef="#br0">55 0,'-3'7,"-1"5,0 4,0 3,2 1,-3-3,0 0,1-1,0 1,2 0,-3 2,0-1,1 2,0-4</inkml:trace>
</inkml:ink>
</file>

<file path=ppt/ink/ink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41.696"/>
    </inkml:context>
    <inkml:brush xml:id="br0">
      <inkml:brushProperty name="width" value="0.025" units="cm"/>
      <inkml:brushProperty name="height" value="0.025" units="cm"/>
      <inkml:brushProperty name="ignorePressure" value="1"/>
    </inkml:brush>
  </inkml:definitions>
  <inkml:trace contextRef="#ctx0" brushRef="#br0">1 23,'562'-15,"-529"12,-9 0,1 2,0 0,0 1,40 7,-48-3</inkml:trace>
</inkml:ink>
</file>

<file path=ppt/ink/ink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12:22.823"/>
    </inkml:context>
    <inkml:brush xml:id="br0">
      <inkml:brushProperty name="width" value="0.05292" units="cm"/>
      <inkml:brushProperty name="height" value="0.05292" units="cm"/>
      <inkml:brushProperty name="color" value="#C00000"/>
    </inkml:brush>
    <inkml:brush xml:id="br1">
      <inkml:brushProperty name="width" value="0.05292" units="cm"/>
      <inkml:brushProperty name="height" value="0.05292" units="cm"/>
      <inkml:brushProperty name="color" value="#0070C0"/>
    </inkml:brush>
  </inkml:definitions>
  <inkml:trace contextRef="#ctx0" brushRef="#br0">1032 1270 0,'0'13'32,"26"14"-32,40-14 15,27 27-15,66-27 16,26 0-16,40 27 16,92-40-16,80 0 15,-26 0-15,12 0 16,14 0-16,0 0 15,-66 0-15,-14 0 16,-26 0-16,-92 0 16,-14 0-16,-26 0 15,-27 0-15,-53 0 16,14 0-16,-66 0 16,12 0-16,-26 0 15,1 0-15</inkml:trace>
  <inkml:trace contextRef="#ctx0" brushRef="#br0" timeOffset="2214.33">20095 450 0,'0'26'0,"0"-13"16,0 1-16,0-1 0,0 0 16,0 0-16,0 1 0,0-1 15,0 0-15,0 0 0,0 1 0,0-1 16,0 0-16,0 0 15,-13 0-15</inkml:trace>
  <inkml:trace contextRef="#ctx0" brushRef="#br0" timeOffset="2403.87">20069 357 0,'0'-13'16</inkml:trace>
  <inkml:trace contextRef="#ctx0" brushRef="#br0" timeOffset="2758.17">20254 476 0,'0'13'16,"-13"40"-1,13-39-15,0-1 16,0 0-16,0 0 16,13-26 31,0 0-47,-13 0 0,13 13 15,-13-14-15,14 14 0,-14-13 16,13 13-16,0 0 0,0 0 15,0 0-15,1 0 0,-1 0 16,0 0-16,-13 13 0,13-13 16,1 14-16,-14-1 0,13-13 15,-13 13-15,13-13 0,0 13 0,1 1 16</inkml:trace>
  <inkml:trace contextRef="#ctx0" brushRef="#br0" timeOffset="3706.02">20796 357 0,'-26'40'16,"13"-27"-1,13 0-15,0 1 0,0-1 16,-14 0-16,14 0 0,0 0 15,0 1-15,14-14 0,-14 13 0,13 0 32,-26-26-1,-1 0-15,1 13-1,0 13-15,0-13 0,-1 0 16,1 13-16,0-13 0,13 13 0,-13-13 15,13 14-15,-13-14 0,13 13 16,0 0 0,13-13-16,-13 13 0,26-13 15,-13 0-15,1 0 0,-1 0 16,13-13-16,1 13 0,-1 0 0,1-13 16,-14 13-16,13-13 0,-12 13 15,12-14-15,-13 14 0,1 0 16,-14-13-16,13 13 0,0-13 0,-13 0 15,0-1 1,-13 28 0,0-14-1,-1 13-15,1-13 16,13 13-16,0 0 31,13-13-31,1 14 0,-1-14 16,0 0-16,0 0 0,0-14 15,1 14-15,-1 0 0,-13-13 16,13 13-16,0-13 0,1 13 16,-14-13-16,13-1 0,0 14 0,-13-13 15,13 0-15,-13 0 0,0 0 0,14 13 16,-14-14-16,0 1 0,13 0 16,-13 39 15,0-12-16,0-1-15,0 13 0,0-13 16,0 1-16,0-1 0,0 13 16,0-12-16,0-1 0,0 13 0,0-12 15,0-1-15,0 0 0,0 0 0,0 0 16,0 1-16,0-1 16,0 0-16,-13-13 0,13-26 31,0 12-16,13-12-15,-13 13 0,0-14 0,13 1 16,-13-1-16,13 14 0,-13-13 16,13 12-16,-13 1 0,14 0 0,-1 0 15,0 13-15,0 0 16,-13 13 0,0 0-16,-13 0 15,13 1-15,-13-14 16,0 13-16,13 0 0,-14-13 0,-12 13 15,13-13-15,0 14 0,-1-14 16,1 13-16</inkml:trace>
  <inkml:trace contextRef="#ctx0" brushRef="#br0" timeOffset="4496.2">20452 833 0,'-13'67'32,"13"-41"-32,0-13 0,0 27 15,0-27-15,0 14 0,0-14 16,13 0-16,-13 0 0,0 1 0,0-1 16,0 0-16,14 0 0,-14 0 15,0-39 16,-14 26-31,14-13 0,-13 0 16,0-1-16,13 1 0,-13 13 16,-1 0-16,-12 0 15,13 0 1,-1 13-16,1-13 0,0 14 16,0-1-16,0 0 0,-1 0 15,14 0-15,0 1 16,0-1-16,14-13 15,-1 0 1,0 0-16,0 0 0,14-13 16,-1 13-16,-13-14 0,14 14 0,-1-13 15,1 0-15,-1 13 0,-13-13 0</inkml:trace>
  <inkml:trace contextRef="#ctx0" brushRef="#br0" timeOffset="5090.18">20651 1045 0,'-27'13'16,"14"1"-16,26-1 31,1-13-15,-1 0-16,0 0 16,0 0-16,0 0 0,-13-13 15,14 13-15,-1-14 0,0 1 16,0 0-16,-13 0 0,0-1 15,14 1-15,-14-13 0,0 12 16,0 1-16,0 0 16,0 0-16,0 0 0,0-1 15,-14 14-15,14 14 32,-13-1-32,13 0 0,0 0 0,0 0 15,0 1-15,0-1 0,0 0 16,0 14-16,0-14 0,13 13 15,-13-12-15,0-1 0,0 0 0,14 13 16,-14-12-16,0-1 0,0 0 16,13 0-16,-13 1 15,0-1-15,0 0 16,13-39 15,-13 12-31,0 1 16,0 0-16,0-14 0,13 1 0,-13 0 15,0-1-15,13-13 0,1 14 16,-14 13-16,13-1 0,-13 1 0,13 0 16,0 0-16,1 13 0,-14-13 15,13 13-15,13 0 16,-12 13-16,-14 0 16,0 0-1,0 0-15,-14-13 0,14 14 16,-13-14-16,13 13 0,-13-13 15,0 13-15,-1-13 0,1 13 0,0-13 16,13 14-16,-13-14 0,-1 0 0</inkml:trace>
  <inkml:trace contextRef="#ctx0" brushRef="#br0" timeOffset="7289.72">20611 1442 0,'-26'0'32,"12"13"-32,1 0 0,13 1 15,-13-1-15,0 0 0,-1 14 0,1-14 0,13 0 16,-13 0-16,13 1 0,-13-1 15,13 0-15,0 0 0,0 0 16,0 1-16,13-1 16,0-13-16,0 0 0,1 0 15,-1-13-15,13 13 0,-12-14 16,-1 1-16,13 13 0,-12-13 0,-1 0 16,0 0-16,0 13 0,0-14 15,14-12 16,-14 39-31,-13 0 0,0 1 16,13-1-16,-13 0 16,14-13-16,-14 13 15,13-13-15,0 0 0,0 0 16,0 0-16,1 0 0,-1 0 0,0-13 16,0 13-16,1 0 0,-14-13 15,13 0-15,-13-1 0,13 1 16,-13 0-16,-13 0 15,0 13-15,13-14 16,-14 14-16,1 0 0,0 0 16,0 0-1,-1 0-15,41 0 47,-14-13-47,0 13 0,1 0 0,-1 0 16,0 0-16,0 0 0,1 0 15,-1 0-15,0 0 16,0 13-16,0-13 16,-13 14-16,14-14 0,-14 13 0,13 0 15,-13 0 1,0 1 0,13-14-16,-13-14 31,13 1-31,1 0 15,-1 0-15,0 13 16,0-14-16,1 14 16,-1 0-1,0 14-15,0-1 16,0-13 0,-13 13-16,14-13 15,-1 0-15</inkml:trace>
  <inkml:trace contextRef="#ctx0" brushRef="#br0" timeOffset="7495.79">21339 1257 0,'0'-13'0,"13"39"32,-13-13-17,0 0-15,0 14 0,0-1 0,0-12 16,0 12-16,0-13 0,0 14 15,0-14-15,0 13 0,13-12 0,-13-1 16,0 0-16,13 0 0,-13 1 16,14-14-16,-14 13 15</inkml:trace>
  <inkml:trace contextRef="#ctx0" brushRef="#br0" timeOffset="8130.84">21299 1455 0,'0'0'0,"0"-13"0,13 13 16,0-13 0,1 13-16,12 0 15,-13 0-15,1 0 16,-1 0-1,0 13-15,0-13 0,-13 13 0,13-13 16,-13 13-16,14-13 0,-14 14 0,13-1 16,-13 0-1,13-13-15,-13 13 16,13-13-16,1-13 31,-1 13-15,-13-13-16,13 13 0,-13-13 0,13 13 15,-13-14-15,14 1 0,-1 0 16,-13 0 0,13 13-16,0-13 15,0 13 1,1 0-16,-1 0 16,-13-14-16,13 14 0,0 0 15,1 0 16,-14 14-15,0-1 0,0 0-1,0 0-15,13-13 16,-13 13-16,13-13 16,0 0-1,1-13 1,-1 13-16,-13-13 15,0 0-15,0 0 32,-13-1-32,13 1 15,-14 0-15,14 0 16</inkml:trace>
  <inkml:trace contextRef="#ctx0" brushRef="#br0" timeOffset="8744.04">21683 172 0,'13'-13'16,"27"13"-16,-14 0 0,14 0 16,13 0-16,-27 0 0,1 0 15,-1 0-15,106 66 31,-132-53-31,13 14 0,1-14 16,-14 13-16,13 1 0,-13-1 16,13 1-16,0 39 15,-13-27-15,14-12 0,-1 52 16,0-39-16,0 0 0,1-14 0,-1 14 16,0 0-16,0-14 0,0 14 15,1-1-15,-1-12 0,13 39 16,-12-40-16,-1 1 0,0 13 0,0-14 15,-13 0-15,14-12 0,-14 12 0,13 1 16,-13-1-16,0-13 0,0 14 16,13-14-16,-13 0 0,0 14 0,0-14 15,0 0-15,-13 0 0,13 1 0,0-1 16,0 0-16,-13 0 16,13 1-16,-14-1 0,1 0 15,0 0-15,0 0 16,-1-13-16,1 14 0,0-1 0,-14-13 15,14 13-15,-13-13 0,13 13 16,-14-13-16,1 14 0,-1-14 0,1 0 16,-14 0-16,0 13 0,1-13 0,-1 13 15,0-13-15</inkml:trace>
  <inkml:trace contextRef="#ctx0" brushRef="#br0" timeOffset="11290.04">15875 291 0,'-13'27'0,"0"-27"0,13 39 15,0-26 1,0 1-16,0 12 0,0-13 0,0 1 16,13-1-16,-13 0 0,13 0 0,-13 0 15,13-13-15,-13 14 0,13-14 16,1 13-16,-1-13 16,0 0-16,14 0 0,-27-13 15,13 13-15,0-14 0,0 1 0,-13 0 16,14 0-16,-14 0 0,13-1 15,-26 1-15,13-13 0,0-1 0,-14 14 16,1-27-16,0 14 0,13 13 0,-13-1 16,-1-12-16,1 13 0,0-1 15,0 1-15,-1 0 0,1 13 16,0 13-16,13 0 0,-13 1 16,13-1-16,0 13 15,13-12-15,-13-1 0,13 13 0,-13-12 16,13 12-16,1-13 0,-1 14 15,0-14-15,0 0 0,1 0 0,-1 1 16,0-1-16,0 0 0,1 0 16,-14 0-16,13-13 0,0 14 0,0-1 15,0 0-15,1-13 16,-14 13-16,13 1 16,-13-1-16,13-13 15,-13 13-15</inkml:trace>
  <inkml:trace contextRef="#ctx0" brushRef="#br0" timeOffset="11917.17">16259 278 0,'-14'26'15,"14"-12"-15,0-1 16,14 0-16,-14 0 16,0 0-16,13 1 0,-13-1 0,13 0 15,0 0-15,1-13 16,-14 14-16,13-14 0,0 0 15,0 0-15,0-14 16,1 1-16,-14 0 16,13 0-16,-13-1 15,0 1-15,0 0 16,13 0-16,-13 0 16</inkml:trace>
  <inkml:trace contextRef="#ctx0" brushRef="#br0" timeOffset="12721.93">16100 714 0,'0'0'15,"-13"14"1,13-1 0,0 0-16,0 14 0,0-14 0,-14 13 15,14-13-15,0 14 0,0-14 16,0 14-16,14-14 0,-14 0 0,0 0 15,0 0-15,13-13 0,-13 14 0,13-14 16,-13 13-16,13-13 0,1 0 16,-1 0-16,0-13 15,0 13-15,0-14 0,1 14 0,-14-13 16,13 0-16,-13 0 0,0 0 16,0-14-16,0 14 0,0-14 15,-13 14-15,13-13 0,-14 13 0,14-1 16,-13-12-16,13 13 0,-13 13 0,0-14 15,13 1-15,-13 13 0,-1 0 16,1 0 0,13 13-16,0 1 0,0 12 15,13-13 1,-13 1-16,14 12 0,-14-13 16,13 0-16,-13 1 0,13-1 0,0 0 15,-13 0-15,13-13 0,1 14 0,-14-1 16,13 0-16,-13 0 15,13-13-15,-13 13 0,13-13 0,1 0 16,-1 0-16,0 14 16</inkml:trace>
  <inkml:trace contextRef="#ctx0" brushRef="#br0" timeOffset="13010.11">16431 728 0,'0'0'16,"0"26"0,0-13-1,0 14-15,0-14 0,0 0 16,0 0-16,0 1 0,0-1 16,0 0-16,0 0 0,13 1 0,-13-1 15,0 0-15,0 0 0,13-13 0,-13 13 16,13-13-1,-13 14-15,14-1 16,-1-13-16,0-13 16,0 13-1,-13-14-15,13 14 16,1 0-16,-14-13 0,13 0 0</inkml:trace>
  <inkml:trace contextRef="#ctx0" brushRef="#br0" timeOffset="13423.15">16867 410 0,'53'-26'15,"-40"12"1,14 14-16,-14-13 0,13 13 0,-12-13 16,-1 13-16,13-13 0,-12 13 0,-1 0 15,0-13-15,0 13 16,1 0-16,-1-14 16,0 14-16,0 0 15</inkml:trace>
  <inkml:trace contextRef="#ctx0" brushRef="#br0" timeOffset="13883.16">17396 93 0,'0'26'16,"0"-13"-16,0 1 16,0-1-16,0 0 0,0 0 0,14 0 15,-14 1-15,0-1 0,0 0 16,0 0-16,0 1 0,0-1 16,0 0-1,-14-39 16,1 26-31,13-14 0,0-12 16,0 13-16,0-1 0,0 1 0,0 0 16,0 0-16,0 0 0,0-1 15,0 1-15,13 0 0,-13 0 16,14 13-16,-1 13 16,0-13-16,-13 13 15,13 0-15,-13 1 16,0-1-16,13 0 0,-13 0 0,0 0 15,0 1-15,-13-14 0,13 13 16,0 0-16,0 0 0,-13-13 16,13 14-16,-13-1 0,13 0 15,-13-13-15,13 13 0,-14-13 16,14 14-16</inkml:trace>
  <inkml:trace contextRef="#ctx0" brushRef="#br0" timeOffset="14130.39">16960 410 0,'39'13'31,"-25"-13"-31,-1 0 15,13 0-15,1 14 0,-14-14 0,14 0 0,-1 0 16,0 13-16,1-13 0,-1 0 16,1 0-16,-1 0 0,1 0 0,-14 0 15,13 0-15,-12 0 0,12 0 0,-13-13 16,14 13-16</inkml:trace>
  <inkml:trace contextRef="#ctx0" brushRef="#br0" timeOffset="14479.19">17806 278 0,'-26'13'0,"52"-26"0,-65 39 0,26-26 0,-1 14 15,1-1-15,0-13 0,13 13 16,-13 0-16,-1 0 0,14 1 16,0-1-16,0 0 15,0 0-15,14-13 16,-1 14-16,0-14 0,0 0 15,1 0-15,-1 0 0,13-14 0,-13 14 16,1 0-16,-1 0 0,13-13 16,-12 13-16,-1-13 0</inkml:trace>
  <inkml:trace contextRef="#ctx0" brushRef="#br0" timeOffset="15062.16">17079 939 0,'26'-26'31,"-12"26"-31,12-27 0,0 27 0,-12-13 16,12 0-16,1 0 16,-1 13-16,-13-14 0,14 14 0,-14-13 15,0 13-15,0-13 0,1 13 0,-1 0 16</inkml:trace>
  <inkml:trace contextRef="#ctx0" brushRef="#br0" timeOffset="15281.4">17145 900 0,'13'13'0,"14"13"31,-14-13-31,0-13 0,0 14 16,1-1-16,-14 0 0,13 0 0,-13 1 15,13-1-15,0 0 16,1 0-16,-1 1 16,0-14-16,0 0 0</inkml:trace>
  <inkml:trace contextRef="#ctx0" brushRef="#br0" timeOffset="15769.63">17674 794 0,'-13'26'16,"13"-13"-1,-13-13-15,13 14 16,0-41 15,0 14-15,13 0-1,0 13 1,0 0 0,1 0-16,-1 0 15,0 0 1,0 0-16,1 0 16,-1 0-16,0 0 15,-13-13-15,13 13 0,-13-14 16,13 1-16,-13 0 15,0 0-15,14-1 16,-14 1-16,0 0 16,0 39 15,-14-12-31,14-1 0,-13 13 16</inkml:trace>
  <inkml:trace contextRef="#ctx0" brushRef="#br0" timeOffset="16138.95">17899 952 0,'-13'0'16,"0"14"-16,-1-1 15,1 0-15,13 0 16,0 1-16,-13-14 0,13 13 16,13 0-16,-13 0 0,13-13 15,-13 14-15,14-14 16,-1-14 0,0 14-16,0 0 0,-13-13 0,14 13 15,-1-13-15,0 0 0,-13-1 16,13 14-16,-13-13 0,0 0 0,0 0 15,-13-1-15,0 14 16,0-13 0,-1 13-16,1 0 15,0 0-15,0 13 16,-1-13-16</inkml:trace>
  <inkml:trace contextRef="#ctx0" brushRef="#br0" timeOffset="16403.21">17965 900 0,'0'0'0,"13"13"16,1-13-1,-1 0-15,0 13 16,-13 0 0,0 0-1,13-13 1,-13-13 62</inkml:trace>
  <inkml:trace contextRef="#ctx0" brushRef="#br0" timeOffset="16867.12">17158 1019 0,'66'79'15,"-52"-53"-15,-1 1 0,13 13 0,-12-14 16,-1 1-16,0-1 0,0 14 0,0-27 15,-13 13-15,14-12 0,-1 12 16,-13-13-16,0 1 0,13-1 16,-13 0-16,13-13 0,-13 13 0,14-13 15,-14 13-15,13-13 0</inkml:trace>
  <inkml:trace contextRef="#ctx0" brushRef="#br0" timeOffset="17136.4">18031 1244 0,'0'13'15,"0"0"-15,0 0 0,0 0 16,0 14-16,-13-1 0,13 67 31,-13-80-31,13 0 0,0 1 16,0-1-16,0 0 0,0 0 15</inkml:trace>
  <inkml:trace contextRef="#ctx0" brushRef="#br0" timeOffset="17730.24">18018 1283 0,'13'-13'0,"14"0"31,-14 13-31,0 13 16,1 0-1,-14 0-15,0 1 0,0-1 16,0 0-16,0 0 16,0 1-1,13-14-15,-13 13 16,13 0-16,-13 0 0,13-13 16,-13 14-16,13-14 0,-13 13 15,0 0-15,0 0 0,-13 0 16,0 1-16,13-1 0,-13 0 15,13 0-15,-13-13 0,-1 14 0,1-14 16,13 13-16,-13-13 0,0 0 16,-1-13-16,1 13 0</inkml:trace>
  <inkml:trace contextRef="#ctx0" brushRef="#br0" timeOffset="18323.32">18045 939 0,'0'13'32,"13"1"-17,-13-1-15,0 0 16,0 0-16,13-13 0,-13 14 15,0-1-15,0 0 16,13-26 31,-13-14-31,0 14-16,14 0 15,-14 0 1,13-1-16,0 14 15</inkml:trace>
  <inkml:trace contextRef="#ctx0" brushRef="#br0" timeOffset="18855.05">18296 833 0,'0'27'31,"-13"-14"-15,13 0-16,0 1 0,0-1 0,0 0 16,0 0-16,0 0 0,0 1 15,0-1-15,0 0 16,0 0 0,0 1-16,-27-28 46,14 14-30,0 0 0,0 14-16,-1-14 0,1 13 15,13 0 1,-13-13-16,13 13 0,0 1 16,0-1-1,13-13 1,0 0-16,14-13 15,-14 13-15,0-14 0,0 14 0,14-13 16,-14 0-16,14 13 0,-14-13 16,0 13-16,-13-14 0,13 14 15,1-13-15,-1 13 0,0-13 16,0 26 15,-13 0-15,0 1-1,0-1 1,13-13 0</inkml:trace>
  <inkml:trace contextRef="#ctx0" brushRef="#br0" timeOffset="19266">18547 939 0,'0'13'0,"14"-13"16,-14 14-16,0 12 31,13-26-15,-13 13-16,13-26 46,0 0-46,0 13 32,1-13-32,-1 13 15,0 0 1,-13-14-16,13 14 0,1 0 0</inkml:trace>
  <inkml:trace contextRef="#ctx0" brushRef="#br0" timeOffset="19549.36">18785 913 0,'-26'13'63,"26"0"-47,-13-13-1,26 13 32,0-13-47,0 0 16,1 0-1,-1 0 1,0 0-16,0 0 16</inkml:trace>
  <inkml:trace contextRef="#ctx0" brushRef="#br0" timeOffset="20157.9">17952 661 0,'-13'0'16,"0"0"0,13 14-16,-14-14 0,14 13 0,0 0 15,0 0-15,-13 1 16,26-1 0,-13 0-16,14 0 15,-1 1-15,0-14 16,0-14-1,0 14-15,1-13 16,-14 0-16,0 0 16,-14-1-1,14 1-15,-13 13 16,0 0 0,0 0-1</inkml:trace>
  <inkml:trace contextRef="#ctx0" brushRef="#br0" timeOffset="20593.84">18058 635 0,'13'0'15,"0"26"16,-13-12-15,0-1 0,14-13-1,-1-13 17,-13-1-1,13 14-16,0 0 17,0 0-32,1 0 15,-1-13 1,0 13-16,0-13 16,1 13-1,-14 13 1,13 0-1,-13 1-15,13-14 0,-13 13 16,0 0-16,13-13 0,-13 13 0,13 1 16</inkml:trace>
  <inkml:trace contextRef="#ctx0" brushRef="#br0" timeOffset="21144.21">18296 1389 0,'-13'27'32,"13"-14"-32,0 0 0,0 0 15,0 0 1,0 1-16</inkml:trace>
  <inkml:trace contextRef="#ctx0" brushRef="#br0" timeOffset="21338.34">18230 1296 0,'0'-13'0,"0"26"15,13-26-15,0 0 16,0 13-16,1 0 15,-1-13-15,0 13 16,0 0-16</inkml:trace>
  <inkml:trace contextRef="#ctx0" brushRef="#br0" timeOffset="21662.32">18203 1588 0,'40'0'31,"-27"-14"-31,0 14 16,1-13-16,-1 13 16,0 0-16,14-13 0,-14 0 15,0 13-15</inkml:trace>
  <inkml:trace contextRef="#ctx0" brushRef="#br0" timeOffset="22134.33">18547 1376 0,'-13'0'0,"13"13"32,0 0-17,0 1-15,0-1 16,0 0-16,0 0 31,13-26-15,1 0-1,-1 0 1,0-1 0,0 14-1,0 0 1,1-13 0,-1 13-1,-13-13-15,13 13 0,-13-13 16,0-1-16,13 14 15,-13-13-15,0 0 0,0 0 16,0-1-16,0 1 16,0 0-16,0 0 15,0 0-15,0-1 16,0 1-16</inkml:trace>
  <inkml:trace contextRef="#ctx0" brushRef="#br0" timeOffset="22632.2">18481 159 0,'27'-13'16,"-14"-1"-16,13 14 0,67-26 31,-67 26-31,1 0 16,-14 13-16,13-13 0,-12 13 15,-1 1-15,0-1 0,0 13 0,14 1 16,-14-1-16,0 1 0,1 12 16,-1-12-16,0 12 0,0-12 0,0 13 15,1-1-15,12 1 0,-13 0 16,14 13-16,-1-14 0,1 1 0,-14-14 16,0 14-16,14-13 0,-14 12 0,0-12 15,0-1-15,1 14 0,-1-14 16,0 1-16,-13-14 0,0 13 15,0 14-15,0-27 0,-13 14 16,0-1-16,13-13 0,-14 1 0,-12 12 16,-1 1-16,1-14 0,0 0 15,12 0-15,-12 1 0,-1-14 0,1 0 16,-14 0-16</inkml:trace>
  <inkml:trace contextRef="#ctx0" brushRef="#br0" timeOffset="23254.24">15743 291 0,'-27'0'0,"54"0"0,-67 13 0,27 1 15,26-1 1,-13 0-16,0 0 15,13 0-15,-13 1 0,13-1 16,-13 13-16,14-12 16,-14-1-16,13 13 0,0-13 0,-13 14 15,13 13-15,1-14 0,-14 14 16,13-1-16,13 41 0,-12-40 16,-14 12-16,13-12 0,-13 0 15,13-1-15,-13 1 0,13 40 0,0-41 16,-13-12-16,14 26 15,-1-27-15,0-13 0,0 1 16,-13 12-16,14-13 0,-1-13 0,0 13 16,0-13-16,14 14 0,-14-14 0,0 0 15,0-14-15,1 14 0,12 0 16,-13-13-16</inkml:trace>
  <inkml:trace contextRef="#ctx0" brushRef="#br0" timeOffset="24062.21">7157 1336 0,'0'0'0,"66"-13"0,-39 0 0,65-14 16,-39 14-16,13 0 0,0-14 15,1 14-15,-1 0 0,79-27 16,-79 14-16,1 12 0,38-12 16,-65 26-16,13-13 15,-27 13-15,1-13 0,-14 13 0,0 0 16,1 13-16,-1-13 0</inkml:trace>
  <inkml:trace contextRef="#ctx0" brushRef="#br0" timeOffset="24290.04">7289 1521 0,'-26'14'15,"52"-28"-15,-65 28 0,39-1 16,-14-13-16,41 0 15,-14 0-15,13 0 0,1 0 16,-1 0-16,14-13 0,53 13 16,-54-14-16,14 14 15,-13-13-15,0 13 0,-1-13 0,-12 13 0,-1 0 16,1-13-16,-1 13 0,1 0 16,-14 0-16,13-14 0,-12 14 15,12 0-15,1 0 0,-14-13 0</inkml:trace>
  <inkml:trace contextRef="#ctx0" brushRef="#br0" timeOffset="25755.83">10001 807 0,'40'-13'0,"-14"13"0,-12-13 16,-1 13-16,13-14 0,-12 14 16,12-13-16,-13 0 0,40 0 15,-40 13-15,14-14 0,-14 1 16</inkml:trace>
  <inkml:trace contextRef="#ctx0" brushRef="#br0" timeOffset="25983.75">10200 609 0,'13'-14'15,"13"14"-15,93 14 32,-92-1-32,13 13 15,13 14 1,-27 145 31,-39-172-47</inkml:trace>
  <inkml:trace contextRef="#ctx0" brushRef="#br0" timeOffset="27078.16">11020 423 0,'-13'40'16,"-1"-14"-16,1 1 0,13-14 15,-13 14-15,13-1 16,-13 14-16,13-27 0,0 13 0,0 1 16,0-14-16,0 0 15,13 1 1,0-14-16,0-14 0,1 1 15,-1 13-15,0-13 0,0 13 16,1-13-16,-1-1 16,0 1-16,0 13 15,0 13-15,1 1 16,-14-1 0,13-13-16,-13 13 0,13 0 0,0-13 15,1 14-15,-1-14 16,0 0-16,0 0 15,1-14-15,-1 14 0,13 0 0,-26-13 16,13 13-16,1-13 0,-1 13 0,-13-13 16,0-1-16,13 14 0,-13-13 15,-13 0-15,13 0 0,0 0 0,-27-1 16,14 1-16,0 13 0,0-13 16,0 13-16,-1-13 0,1-1 15,0 14-15,0 0 16,-1-13-16,41 26 47,-14 1-47,0-14 0,1 0 15,12 13-15,-13-13 16,14 13-16,-14-13 0,0 13 0,0-13 16,1 14-16,-1-14 0,0 13 0,0 0 15,1-13-15,-14 13 16,13-13-16,0 13 15,0 1-15,0-28 47,-13 1-47,0 0 0,0 0 16,0 0-16,14 13 0,-14-14 16,0 1-16,13 13 0,-13-13 15,13 0-15,0 13 16,1 0-16,-1 0 15,0 0 1,0 0-16,-13 13 0,14-13 0,-1 13 16,0 0-16,0-13 15,-13 14-15,13-1 16,1-13 0,-14 13-16,13-13 15,0 0 16,0-13-15,-13 0-16,0-1 16,14 14-16,-14-13 0,13-27 15,0 27-15,0-27 16,1 27 0,25-26 15</inkml:trace>
  <inkml:trace contextRef="#ctx0" brushRef="#br0" timeOffset="27710.24">11867 648 0,'26'-13'0,"-26"0"16,13 13-16,-13-13 0,13 13 16,-13-27-16,14 27 0,-14-13 15,0 0 1,0 52 15,0-25-15,0-1-16,0 0 0,0 0 15,0 0-15,13 1 16,0-1-16,0-13 16,1 0-16,-1 0 0,0 0 0,0 0 15,1 0-15,-1-13 0,0-1 0,0 1 16,14 0-16,-14 0 0,0 0 16,0-1-16,-13-12 0,14-1 0,-1-12 15,-13 12-15,0 1 16,0-1-16,13 1 0,-13-1 0,0 14 15,-13 0-15,13-13 0,0 12 16,0 1-16,-13 40 16,13-14-1,0 13-15,0-13 0,-14 14 0,14-1 16,0 40-16,0-26 16,14 26-16,-1-39 15,-13-14-15,13 13 0,0-12 0,1-1 16,-1 0-16,13 0 0,-13-13 15,1 14-15,-1-14 0,0 0 16,0-14-16</inkml:trace>
  <inkml:trace contextRef="#ctx0" brushRef="#br0" timeOffset="28450.19">12502 595 0,'0'0'0,"0"-13"0,-14 13 16,1 0-1,0 0 1,0 0 0,13 13-16,-14 1 0,14-1 15,0 0 1,14 0 15,-1-13-31,0 0 16,0 0-16,1 0 15,12 0 1,-13 0-16,0-13 16,1 13-16,-1 0 0,-13-13 0,13 13 15,0-13-15,1-1 0,-1 1 16,-13 0-16,13 0 0,0-1 0,-13-12 16,14 13-16,-14-14 0,13 1 15,-13-1-15,13-12 0,-13-1 16,13 27-16,-13 0 0,0-14 15,13 14 1,-13 39 0,14-12-16,-14-1 0,13 13 15,-13-13-15,13 14 0,0-1 0,-13-12 16,14 12-16,-14 0 16,13-12-16,0 12 0,-13-13 0,13 27 15,1-13-15,-1-1 16,-13-13-1,-13-13-15,-1 0 16,1 13-16,0-26 16,0 13-16,-1 0 15,1-13-15,0 13 0,0-13 16,13 0-16,0-1 16,0 1-16,13 13 15,-13-13-15,13 0 16,0-1-16,1 1 0,-1 13 0,0-13 15,14 0-15,-1-1 0,-13 14 16,0-13-16,1 13 0,-1 0 16,13 0-16,-12 0 15,12 0-15,-13 13 0,1-13 16,-1 14-16,0-14 16,-13 13-16,13 0 15,-13 0-15,13-13 16,-13 14-16</inkml:trace>
  <inkml:trace contextRef="#ctx0" brushRef="#br0" timeOffset="29003.12">13176 397 0,'0'53'0,"0"-106"0,0 119 15,0-53-15,0 0 0,0 1 16,13 12-16,-13-13 16,14-13-1,-1 0-15,0 14 16,0-28-16,1 14 0,-1 0 0,-13-13 0,13 13 16,0-13-16,1-14 15,-14 14-15,0-13 16,-14 13-16,14-1 0,-13 1 15,0 0-15,0 13 16,-1-13-16,1 13 16,0 0-16,13 13 31,0 0-31,13 0 16,0 1-16,-13-1 0,14 0 15,-1-13-15,0 13 16,0 0-16,1-13 15,-1 14-15,0-14 16,-13 13 0,13-13-16,-26 26 31</inkml:trace>
  <inkml:trace contextRef="#ctx0" brushRef="#br0" timeOffset="29261.95">11509 1111 0,'93'-39'0,"53"-1"15,-54 13-15,1 1 0,26-1 0,-13 27 16,-1-26-16,14 0 15,-39 12-15,-1 1 0,14 0 0,-27-14 16,13 14-16,54 0 0,-80 0 16,0 0-16,13-1 15,-53 14-15,0 0 0,0 0 16</inkml:trace>
  <inkml:trace contextRef="#ctx0" brushRef="#br0" timeOffset="29446.89">11602 1257 0,'0'0'0,"53"-13"0,-13-1 0,-1 1 16,27 0-16,1-14 0,-1 14 16,92-40-16,-78 27 0,12-1 15,-12 1-15,65-27 0,-65 26 16,-14 14-16,66-53 15,-79 40-15,0-1 0</inkml:trace>
  <inkml:trace contextRef="#ctx0" brushRef="#br0" timeOffset="29950.36">13309 556 0,'26'-40'32,"-13"40"-32,0-13 0,1-1 0,12 14 15,-13-13-15,1 13 0,-1-13 16,0 13-16,0 0 0,1-13 0,-1 13 16,0 0-16,0 0 0,0 13 15,1-13-15,-14 13 0,13-13 16,-13 13-16,13-13 0,-13 14 15,0-1-15,13-13 0</inkml:trace>
  <inkml:trace contextRef="#ctx0" brushRef="#br0" timeOffset="36224.04">5569 2315 0,'67'0'32,"-41"0"-32,14 0 0,13-13 15,0 13-15,0 0 0,-1 0 16,1-13-16,0 13 0,-13 0 0,13-14 15,0 14-15,0 0 0,-14 0 0,-12-13 16,13 13-16,-27 0 0,13 0 16,1 0-16</inkml:trace>
  <inkml:trace contextRef="#ctx0" brushRef="#br0" timeOffset="37453.97">7501 2275 0,'40'0'0,"-27"0"0,13-13 15,14 13-15,13 0 0,0 0 16,13 0-16,0-13 0,14 13 0,-28 0 15,1 0-15,13 0 0,-13 0 16,0 0-16,0 0 0,0 0 0,0 0 0,-13 0 16,-14 0-16,14 0 15,-14 0-15,1 0 0,-14 0 0,0 0 16,14 0-16,-14 0 0,0 0 16,0 0-16,1-13 0,-1 13 15</inkml:trace>
  <inkml:trace contextRef="#ctx0" brushRef="#br0" timeOffset="38542.11">10200 2289 0,'66'13'0,"-40"-13"0,1 0 16,12 0-16,14 0 0,14 0 0,-1 0 15,13 0-15,0 0 0,1 0 16,12 0-16,-12 0 0,-1 0 16,0 0-16,1 0 0,-14 0 0,-13-13 15,13 13-15,-13 0 0,0 0 0,0 0 16,0 0-16,-14 0 0,-12 0 16,13 0-16,-14 0 0,1 0 0,-14 0 15,13 0-15,-13-14 0,1 14 16,-1 0-16,0 0 0,0 0 0,1 0 15,-1 0-15,0 0 16,0 0 0,0 0-1</inkml:trace>
  <inkml:trace contextRef="#ctx0" brushRef="#br0" timeOffset="39938.21">15888 1786 0,'-13'26'16,"13"-12"-16,-13 12 15,13 1-15,0-14 0,-13 13 16,13 1-16,-14-1 0,14 1 16,0-1-16,-13 1 0,13-1 0,0 0 15,0 1-15,0-14 0,-13 0 0,13 1 16,0-1-16,0 0 0,0 0 16,0 0-16,0 1 15</inkml:trace>
  <inkml:trace contextRef="#ctx0" brushRef="#br0" timeOffset="41966.67">15928 1786 0,'13'0'16,"0"0"-1,1 0-15,-14 13 0,26-13 16,-13 0-16,1 0 0,25 0 16,-12 0-16,-1 0 0,1 0 15,12-13-15,1 13 0,13 0 16,-13 0-16,12-13 0,1 13 0,0 0 16,0-14-16,-13 14 0,13-13 0,0 13 15,13 0-15,-13 0 0,0-13 16,13 13-16,-13-13 0,0 13 15,13 0-15,40-13 0,-53 13 16,0 0-16,-1-14 0,-12 14 16,13 0-16,0 0 0,0-13 0,-13 13 15,12 0-15,-12 0 0,0-13 0,0 13 16,-1 0-16,1 0 0,0 0 16,-14-13-16,1 13 0,12 0 15,-12 0-15,-1 0 0,14 0 0,0-14 16,-1 14-16,-12 0 0,-14 0 15,13 0-15,1 0 0,-1 0 0,-13 0 16,14 0-16,-14 0 0,14 0 0,-14-13 16,13 13-16,-12 0 15,-1 0-15,13 0 0,-13 0 0,1 0 0,12 0 16,-13 0-16,1 0 0,12 0 16,-13 0-16,1 0 0,12 13 15,0-13-15,-12 0 0,12 0 16,-13 0-16,1 0 0,-1 0 0,0 0 15,13 0-15,-12 0 0,-1 0 16,0 0-16,0 0 0,1 0 0,12 0 16,-13 0-16,1 0 0,-1 0 0,0 0 15,13 0-15,-12 0 0,-1 14 16,0-14-16,14 0 0,-14 0 16,0 0-16,0 0 0,1 0 0,12 0 0,-13 0 15,0 0-15,1 0 16,-1 0-16,0 0 0,0 0 15,1 0-15,-1 0 0,0 0 0,0 13 16,1-13-16,-1 0 0,0 0 0,0 0 16,0 0-16,1 0 15,-1 0-15,0 0 0,0 0 16,1 0-16,-1 0 0,0 0 0,0 0 0,1 13 16,-1-13-16,0 0 15,0 0-15,0 0 0,1 0 0,-1 0 16,0 0-16,0 0 0,1 0 0,-1 0 15,0 0-15,0 13 0,0-13 0,1 0 16,-1 0-16,0 0 16,0 0-16,1 0 0,-1 0 0,0 0 15,0 0-15,1 0 16,-1 14-16,0-14 0,0 0 16,0 0-16,1 0 15,-1 0 16,0 13-31,-13 0 32,0 0-32,0 0 15,-13 1-15,13-1 0,0 0 16,0 0-16,-13 1 0,13-1 16,0 0-16,-14 0 0,14 14 0,0-14 15,0 0-15,-13 14 0,13-14 0,0 0 16,0 0-16,0 1 0,0-1 15,0 13-15,-13-12 0,13-1 16,0 13-16,0-13 16,0 1-16,0-1 0,0 0 15,0 0-15,-13 1 0,13-1 16,0 0-16,0 0 0,0 0 16,0 1-1,0-1 1,0 0 15,0 0 0,-13-13 1,-1 0-17,1 0 1,-13 0-1,-1-13 1,14 13-16,0 0 0,-1 0 16,-12 0-16,13 0 0,0 0 15,-14 0-15,14 0 0,-14 0 0,1 0 16,0 0-16,-1 0 0,-26 0 16,27 0-16,-1 0 0,1 0 15,-14 0-15,14 0 0,-54 0 16,27 0-16,0 0 0,14 0 15,-14 0-15,0 0 0,0 0 0,0 13 0,-13-13 16,13 0-16,0 0 0,0 0 16,13 0-16,-12 0 0,12 0 15,0 14-15,14-14 0,-14 0 0,14 0 16,-14 0-16,13 0 0,1 0 16,-27 0-16,27 0 0,-1 0 15,1 0-15,12 0 0,-12 0 0,0 0 16,12 0-16,-12 0 0,13 0 15,-14 0-15,14 0 0,0 0 0,-1 0 16,-12 0-16,13 0 0,0 0 16,-1 0-16,1 0 0,0 0 0,-14 0 15,14 0-15,0 0 0,0 0 16,-1 0-16,-12 0 0,13 0 0,-14 0 0,14 0 16,0 0-16,-14 0 0,1 0 15,-1 0-15,-12 13 16,12-13-16,1 0 0,-1 0 0,14 0 15,-13 0-15,-1 0 0,1 0 0,13 0 16,-14 0-16,1 0 0,12 0 16,-12-13-16,13 13 0,0 0 15,-27 0-15,13 0 0,14 0 0,-13 0 16,-1 0-16,1 0 16,-1 0-16,1 0 0,-1 0 0,-12 0 0,-1 0 15,0 0-15,-13 0 0,14 0 16,12 0-16,-12 13 0,12-13 15,-13 0-15,14 0 0,-14 0 0,14 0 16,-14 0-16,27 0 0,-14 13 0,1-13 16,-14 0-16,27 0 15,0 0-15,-14 0 0,14 0 16,0 13-16,0-13 0,-14 0 16,14 0-1,0 0-15,0 0 16,-1 0-1,1 14-15,0-14 16</inkml:trace>
  <inkml:trace contextRef="#ctx0" brushRef="#br0" timeOffset="43943.23">1349 2871 0,'27'13'31,"-1"-13"-31,1 0 0,12 13 0,1-13 16,13 13-16,0-13 0,0 14 16,13-14-16,13 13 0,1-13 0,-1 0 15,1 13-15,-1-13 0,0 0 0,1 0 16,-14 0-16,13 0 15,-13-13-15,0 13 0,-13 0 0,0 0 0,-13-13 16,13 13-16,-27 0 0,14 0 0,-27-14 16,14 14-16,-14 0 15,0 0-15,0 0 0,1 0 0,-1 0 16</inkml:trace>
  <inkml:trace contextRef="#ctx0" brushRef="#br0" timeOffset="44618.3">4088 2858 0,'225'0'31,"-172"13"-31,0-13 0,-1 0 0,1 0 0,-13 0 16,13 0-16,-13 0 15,-14 0-15,14 0 0,-14 0 0,1 0 16,-1 0-16,1 0 0,-14 0 0,0 0 15,0 0-15,1 0 0,-1 0 16,0 0-16,0 13 0,0-13 16</inkml:trace>
  <inkml:trace contextRef="#ctx0" brushRef="#br0" timeOffset="45303.07">7038 2871 0,'79'0'15,"-26"-13"-15,0 13 0,13 0 0,14 0 16,-1-14-16,14 14 0,12-13 15,-12 13-15,13 0 0,-13-13 16,12 13-16,-12 0 0,13-13 0,-27 13 16,14 0-16,-14-14 0,-13 14 0,-13 0 15,0-13-15,-13 13 0,-1 0 16,-12 0-16,-14 0 0,14 0 0,-14-13 16,0 13-16,0 0 0,1 0 0,-1 0 15</inkml:trace>
  <inkml:trace contextRef="#ctx0" brushRef="#br0" timeOffset="63789.74">14989 8440 0,'0'-13'0,"-14"13"15,14 13 17,-13 0-32,13 1 15,0-1-15,0 0 0,0 0 16,0 1 0,0-1-16</inkml:trace>
  <inkml:trace contextRef="#ctx0" brushRef="#br0" timeOffset="64095.25">15187 8136 0,'-26'13'16,"26"0"-16,-14 14 0,1-1 15,0 14-15,0 0 0,-1-1 0,-12 41 16,13-41-16,0 14 0,-1-26 16,14 12-16,-13 1 0,0 13 15,13-26-15,0-1 0,0 0 16,-13 14-16,13-27 0,0 1 15,0-1-15,0 0 0,0 0 0,0 1 16,-14-1 0</inkml:trace>
  <inkml:trace contextRef="#ctx0" brushRef="#br0" timeOffset="64466.01">14764 8665 0,'-13'27'0,"-1"-1"15,14-13-15,0 0 0,-13 14 0,13-14 16,0 14-16,0-1 0,0 1 0,0-1 15,0 0-15,0-12 0,13 12 16,-13-13-16,0 1 0,14-1 16,-1 0-16,0 0 0,-13 1 0,13-14 15,0 13-15,1-13 0,-1 0 0,0 0 16,0 0-16,1 0 0,-1 0 16,0 0-16,0 0 0,14-13 0,-14 13 15,0 0-15,0-14 0,1 14 0,-1-13 16,0 13-16,14-13 0,-14 13 15,-13-13-15,13 13 16,0-14-16,0 14 0</inkml:trace>
  <inkml:trace contextRef="#ctx0" brushRef="#br0" timeOffset="66298.67">18759 8321 0,'-13'27'0,"-14"65"32,27-79-32,-13 14 15,13-14-15,-13 27 0,13-27 16,0 0-16,0 0 0,0 1 15,0-1-15,0 0 16,0 0-16,0 1 16,13-14-16,-13 13 15,13-13-15,0 0 0,1 0 16,-1 0-16,0-13 16,0 13-16,1 0 0,-1 0 0,0-14 15,0 14 1,1-13-16</inkml:trace>
  <inkml:trace contextRef="#ctx0" brushRef="#br0" timeOffset="66475.07">18759 8546 0,'-13'-13'0,"39"13"31,-13 0-31,-13-13 15,14 13-15,-1 0 0,0-14 0,0 14 16,1 0-16,-1-13 0,13 13 0,-13 0 0,-13-13 16</inkml:trace>
  <inkml:trace contextRef="#ctx0" brushRef="#br0" timeOffset="66771.2">18746 8361 0,'0'0'16,"13"-13"0,0 13-16,14 0 0,-14-14 0,13 14 15,1 0-15,-1-13 0,1 13 16,12-13-16,-12 13 0,-1-13 16,1 13-16,12-14 0,-25 14 15,-1 0-15,0 0 0,0 0 16,1 14-16,-14-1 15,0 0-15,-14 0 16,14 1-16,-13-1 16,13 13-16,-13-12 0,0-1 0,-1 13 15,1-13-15,0 1 0,13 12 0,-26 1 16,12-14-16,1 0 0,13 0 16</inkml:trace>
  <inkml:trace contextRef="#ctx0" brushRef="#br0" timeOffset="66934.3">18931 8506 0,'40'14'31,"-27"-1"-31,0 0 16,14 0-16,-14-13 15,0 13-15,0-13 0,0 14 0,1-1 16,-1-13-16,0 0 0,14 13 0</inkml:trace>
  <inkml:trace contextRef="#ctx0" brushRef="#br0" timeOffset="67227.25">19381 8334 0,'13'0'0,"0"40"31,-13-27-31,0 1 16,0-1-16,0 0 0,-13 0 0,13 14 0,0-14 15,-13 0-15,13 0 0,0 1 0,0-1 16,0 0-16,13-13 16,-13 13-16,13-13 0,0 0 15,1-13-15,12 13 0,-13 0 16,1-13-16,12 13 0,-13-13 15,0-1-15,1 14 0,-14-13 0,0 0 16,13 13-16,-26-13 0,13-1 16,-14 1-16,-25-13 0</inkml:trace>
  <inkml:trace contextRef="#ctx0" brushRef="#br0" timeOffset="68344.16">807 5728 0,'0'27'0,"0"-14"0,0 0 15,0 0-15,0 1 0,13-1 0,-13 0 16,0 14-16,0-14 0,13 0 16,-13 0-16,14 0 0,-14 1 15,13-1-15,0 0 0,0 0 16,1-13-16,-1 14 15,0-14-15,0 0 0,0 0 0,1 0 16,-1 0-16,-13-14 16</inkml:trace>
  <inkml:trace contextRef="#ctx0" brushRef="#br0" timeOffset="68733.11">926 5913 0,'-13'0'0,"26"0"0,0-13 47,-13 0-47,13 13 0,1 0 15,-1-13-15,-13 0 16,-13-1 15,-1 14-15,1 0-1,0-13-15,13 0 32,13 0-32,0-1 0,1 1 15,-14 0-15,13 13 0,0-13 16,0-1-16,1 1 0,-1 13 16,0 0-16,0 0 15,1 13 1,-1 1-16,-13-1 0,13-13 15,-13 26-15,13 1 0,-13-14 16,0 0-16,13 1 0,-13 12 16,0-13-1</inkml:trace>
  <inkml:trace contextRef="#ctx0" brushRef="#br0" timeOffset="68878.05">1098 5913 0,'-13'-13'31,"39"13"-15,-13 0-16,1 0 16,-1 0-16,0-13 15,0 13-15,1-13 0,-1 13 0,0-13 16</inkml:trace>
  <inkml:trace contextRef="#ctx0" brushRef="#br0" timeOffset="69022.25">1323 5702 0,'0'-27'0,"0"14"16,26 40 15,-26-14-31,14 0 0,-14 0 16,13 0-16,0 14 0,-13-14 15,13 0-15,-13 1 0,14-1 16,-1 0-16,-13 0 0,13 1 0,0-14 16,-13 13-16,13-13 0</inkml:trace>
  <inkml:trace contextRef="#ctx0" brushRef="#br0" timeOffset="69528.39">1601 5768 0</inkml:trace>
  <inkml:trace contextRef="#ctx0" brushRef="#br0" timeOffset="69653.89">1693 5980 0</inkml:trace>
  <inkml:trace contextRef="#ctx0" brushRef="#br0" timeOffset="77044.23">20373 8453 0,'13'-13'0,"-13"40"63,-13-14-63,13 0 15,0 0-15,0 1 0,-13-1 16,13 0-16,0 0 0,-14 0 16,14 1-16,0-1 15,0 0-15,-13-13 0,13 13 16,0 1-16,0-1 15,13-13-15,1 13 16,-1-13-16,0 0 16,0 0-16,1 0 15,-1 0-15,0 0 0,0 0 0,1 0 16,-1 0-16,0 0 16,0 0-16,0 0 0,1 0 15,-1-13-15</inkml:trace>
  <inkml:trace contextRef="#ctx0" brushRef="#br0" timeOffset="77242.16">20466 8586 0,'-14'0'16,"67"-14"-1,-40 14 1,1 0-16,-1 0 16,0 0-16,-13-13 0,13 13 0,1 0 15</inkml:trace>
  <inkml:trace contextRef="#ctx0" brushRef="#br0" timeOffset="77439.28">20479 8453 0,'13'-26'32,"0"26"-32,0 0 15,1 0-15,-1 0 16,0 0-16,0 0 15</inkml:trace>
  <inkml:trace contextRef="#ctx0" brushRef="#br0" timeOffset="77626.92">20796 8440 0,'-13'53'31,"0"-40"-31,13 1 15,-13-1-15,-1 0 0,14 0 16,-13 14-16,0-14 0,13 0 0,-13 0 16,13 1-16,-14-1 0,1 0 15,13 0-15,-13-13 16,13 14-16</inkml:trace>
  <inkml:trace contextRef="#ctx0" brushRef="#br0" timeOffset="77859.16">20624 8520 0,'0'0'15,"0"26"1,14-13 0,-14 0-16,0 1 0,13-14 0,0 13 15,-13 0-15,13 0 0,-13 1 0,13-14 16,-13 13-16,14 0 0,-1 0 15,0 1-15,0-14 16,-13 13-16,14-13 16,-1 0-16</inkml:trace>
  <inkml:trace contextRef="#ctx0" brushRef="#br0" timeOffset="78610.08">21008 8520 0,'-13'0'0,"-1"13"16,1-13 0,13 13-16,-13-13 15,13 13-15,0 0 0,-13 1 0,13-1 0,-13 0 16,13 0-16,-14 1 0,14-1 0,0 0 16,0 0-16,0 1 0,14-1 15,-14 0-15,13 0 16,0-13-16,0 0 15,0 0-15,1 0 16,-1 0-16,0 0 0,0-13 0,1 13 16,-1-13-16,0 0 0,0-1 0,1 1 15,-1 0-15,0 0 0,-13-1 16,0 1-16,13 13 0,-13-13 16,0 0-16,0-1 0,-26 28 46,13-1-46,13 0 16,0 0 0,13 1 15,0-14-31,0 0 16,0 0-16,14 0 15,-14 13 1,0-13-16,-13 13 0,14-13 15,-14 13-15,13 1 0,-13-1 16,0 0 0,0 0-16,13-26 62,-13 0-62,13 0 0,-13-1 0,13 1 16,-13 0-16,14 0 15,-14-1-15,13 1 0,0 0 16,0 13-16,-13-13 0,14 13 0,-1 0 16,-13-14-16</inkml:trace>
  <inkml:trace contextRef="#ctx0" brushRef="#br0" timeOffset="79034.03">21497 8533 0,'-53'39'15,"53"-25"1,-13-1-16,0 0 0,13 0 16,0 1-1,0-1 1,13-13-16,0 0 16,1 0-16,-1 0 0,0-13 0,0 13 15,1 0-15,-14-14 16,13 14-16,0 0 0,0 0 15,1 14 1,-14-1 0,13 0-16,-13 0 15,0 1-15,-13-1 16,13 0 0</inkml:trace>
  <inkml:trace contextRef="#ctx0" brushRef="#br0" timeOffset="79148.28">21643 8533 0,'-13'-13'16</inkml:trace>
  <inkml:trace contextRef="#ctx0" brushRef="#br0" timeOffset="79575.23">21749 8572 0,'-13'14'31,"13"-1"-31,13 0 16,-13 0-16,0 1 16,0-1-16,-13 0 15,13 0-15,0 1 16,0-1 0,26-40 15,-26 14-31,13 13 15,0-13-15,1 0 0,-1-1 0,0 1 16,0 0-16,1 0 16,-28 39 15,14-13-15,0 1-1,14-14-15,-1 0 16,0 0-16,0 0 0,1 0 15,-1 0-15,0-14 0,0 14 0</inkml:trace>
  <inkml:trace contextRef="#ctx0" brushRef="#br0" timeOffset="80095.17">22569 8308 0,'13'13'0,"-13"0"15,0 1-15,-13-1 0,13 0 16,0 0-16,0 1 0,0 12 16,-13-13-16,13 0 0,0 14 0,-14-14 15,14 0-15,-13 1 0,13-1 0,0 0 16,0 0-16,0 0 15,-13-13-15,13 14 0,0-1 16,0 0-16,13-13 31,0 13-15,1-13 15,-1 0-31,0 0 16,0 0-16,1 0 15,-1 0-15,0 0 16,0 0-16</inkml:trace>
  <inkml:trace contextRef="#ctx0" brushRef="#br0" timeOffset="81098.13">22781 8612 0,'13'-13'0,"0"0"16,-13-1-16,0 1 16,13 0-16,-13 0 15,-13 0 1,0 26 15,13 0-31,-13 0 16,13 0-16,0 1 15,0-1 1,13-13-16,-13 13 0,13 0 16,0-13-16,1 0 0,-1 14 15,0-14-15,13-14 16,-12 14-16,-1 0 15,-13-13-15,13 13 0,0-13 16,1 0-16,-14-1 16,13 14-16,-13-13 15,13 13-15,-13-13 32,27 26-17,-27 0 1,13 1-16,-13-1 15,13-13-15,-13 13 16,13-13 0,0 0-16,1 0 15,-1-13 1,0 0 0,0-1-1,1 14 1,-1 0-1,0-13 1,0 13-16,1-13 16,-1 13-16,-13-13 15,13 13-15,-13-13 0,13-1 16,-13 1 0,-26 26 15,26 1-31,-13-1 15,13 0 1,0 0 0,13-13-16,0 0 15,0-13-15,0 13 16,1-13-16,-1 13 0,0-13 0,0-1 16,1-12-16,-1 13 0,13-14 15,-13 1-15,1-1 0,-1 1 0,-13 13 16,13-14-16,0 14 0,-13 0 0,14-1 15,-14 1-15,0 0 0,0 53 32,-14-27-32,14 0 15,0 14-15,-13-14 0,13 0 0,0 14 16,0-14-16,0 0 0,13 13 0,-13-12 16,0-1-16,0 0 15,14 0-15,-14 1 0,0-1 0,13-13 16,-13 13-16,13-13 0,-13 13 15,13-13-15,1 0 16</inkml:trace>
  <inkml:trace contextRef="#ctx0" brushRef="#br0" timeOffset="84653.47">20651 9247 0,'0'-13'0,"0"39"16,0-12-16,0-1 0,0 0 15,0 0-15,-13 1 0,13-1 0,0 13 16,0-13-16,0 1 0,0-1 16,-14 0-16,14 0 0,0 1 0,0-1 15,0 0-15,0 0 16,0 1-16,14-1 16</inkml:trace>
  <inkml:trace contextRef="#ctx0" brushRef="#br0" timeOffset="85571.24">20638 9327 0,'13'-27'15,"0"27"1,0-13-16,0 13 0,1 0 15,-1 0-15,0 0 16,0 0-16,1 13 16,-14 0-1,0 1 1,0-1-16,-14 0 0,14 0 16,0 0-16,14-13 0,-14 14 15,13-1-15,0 0 16,0-13-16,0 13 15,1-13-15,-1 14 0,-13-1 16,13 0-16,-13 0 16,0 1-16,-13-1 15,0 0-15,-1 0 0,1-13 16,13 13-16,-13-13 0,0 14 16,0-14-16,-1 0 0,1 0 15,0 0 1</inkml:trace>
  <inkml:trace contextRef="#ctx0" brushRef="#br0" timeOffset="86083.03">20968 9485 0,'0'-13'31,"0"0"-15,0 0-16,0-1 0,0-12 15,0 13 1,-13-1-1,26 41 32,-13-14-47,13-13 16,1 0 0,12 0-16,-26-13 15,13 13-15,1-13 0,-1 13 16,-13-14-16,13 1 0,0 13 0,-13-13 15,14 13-15,-1-13 0,0 13 16,-13 13 0,13-13-16,-13 13 0,0 0 15,0 1-15,13-1 0,-13 0 16,0 0-16,0 1 0,0-1 0,0 0 16,0 0-16,0 1 15,0-1-15,14-13 0,-14 13 16,13-13-16,0 0 31</inkml:trace>
  <inkml:trace contextRef="#ctx0" brushRef="#br0" timeOffset="86677.16">21325 9353 0,'27'0'47,"-14"-13"-47,0 13 15,1 0-15,-14-13 16,13 13-16,0 0 0,0-14 16,0 14-1,1-13 1,-28 40-1,14-14-15,0 0 16,-13 0-16,13 0 0,0 1 16,-13 12-16,13-13 0,0 1 15,-13-1-15,13 13 0,-13-12 0,13-1 16,-14 0-16,14 0 0,-13 0 16,0 1-1,0-1 1,39-13 46,-13 0-62,1 0 16,-1-13-16,0 13 0,0 0 16,0-14-16,1 14 0,-1 0 15,0 0-15,0-13 0,1 13 16</inkml:trace>
  <inkml:trace contextRef="#ctx0" brushRef="#br0" timeOffset="88235.18">19685 8361 0,'-13'13'47,"13"0"-47</inkml:trace>
  <inkml:trace contextRef="#ctx0" brushRef="#br0" timeOffset="88358.25">19751 8572 0,'-13'0'0</inkml:trace>
  <inkml:trace contextRef="#ctx0" brushRef="#br0" timeOffset="90024.1">20373 8440 0,'13'-13'31,"0"13"-15,1 0-16,-1-13 16,0 13-16,0-13 15,1 13-15,-1 0 0,0 0 16,0 0-16,0 0 16,1 0-16</inkml:trace>
  <inkml:trace contextRef="#ctx0" brushRef="#br0" timeOffset="97955.19">20227 8665 0,'0'-13'16,"-13"0"-1,0 13 1,0 0 0,13 13-16,-14-13 0,1 0 0,0 13 15,0 0-15,0 1 0,-1-1 0,1 0 16,-13 13-16,-1 1 0,14-1 16,0 14-16,-14-13 0,14-1 0,-13 14 15,12-1-15,1 1 0,0-13 0,0 12 16,-1 1-16,1-14 0,0 1 0,13-1 15,0-12-15,-13 12 0,13 0 16,13-12-16,-13 12 0,0-13 16,13 1-16,0-1 0,1 0 0,-14 0 0,13 0 15,0 1-15,0-14 16,1 13-16,-1-13 0,0 0 0,13 0 16,-12 0-16,-1 0 0,0 0 0,0 0 15,1 0-15,-1 0 16,0 0-16,0 0 0,1 0 15</inkml:trace>
  <inkml:trace contextRef="#ctx0" brushRef="#br0" timeOffset="99111.33">20214 8572 0,'-26'0'31,"39"14"0,0-1-31,0-13 16,-13 13 0,14-13-16,-14 13 15,13-13 1,-13 14 15,0-1-31,0 0 16,-13 0-16,13 1 15,-14-1-15,1 0 16,13 0-16,-13 0 0,13 1 0,-13-1 16,13 0-16,-14 0 0,14 1 0,0-1 15</inkml:trace>
  <inkml:trace contextRef="#ctx0" brushRef="#br0" timeOffset="99837.3">20108 9313 0,'14'14'31,"-1"-14"-15,0 13 0,0-13-16,-13 13 0,13-13 15,-13 13 1,14-13-16,-14 13 16,0 1-16,-14-1 15,14 0-15,0 0 0,-13 1 0,0-1 16,13 0-16,-13 0 0,0 1 15,-1-1-15,1 0 0,0 0 16,0 0-16</inkml:trace>
  <inkml:trace contextRef="#ctx0" brushRef="#br0" timeOffset="114488.31">23932 8229 0,'0'-14'0,"-14"28"62,14-1-62,-13 0 0,13 0 0,-13 14 16,13-14-16,-13 13 0,13-12 0,-14 12 15,14 1-15,0-14 0,-13 0 16,13 13-16,0-12 0,0-1 0,13 0 16,-13 0-16,0 1 0,0-1 0,14-13 15,-14 13-15,13 0 0,0 0 16,0-13-16,1 0 15,-1 0-15,0 0 0,0 0 16,0 0-16,-13-13 0,14 13 0,-1 0 16,0-13-16</inkml:trace>
  <inkml:trace contextRef="#ctx0" brushRef="#br0" timeOffset="114755.25">24143 8295 0,'0'-14'0,"13"14"31,1-13-31,-1 13 15,0 0-15,0 0 0,1 0 16,-1 0-16,0 0 0,0 0 0,1 0 16,-1-13-16,0 13 0,0 0 15,0 0-15,1 0 0,-1 0 0,0 0 16</inkml:trace>
  <inkml:trace contextRef="#ctx0" brushRef="#br0" timeOffset="115095.37">24355 8281 0,'-13'27'32,"13"-14"-17,0 0-15,0 1 16,0-1-16,-14 0 0,14 0 16,0 1-16,-13-1 0,0 0 15,0 0-15,13 0 0,-13 1 16,-1-1-16,14 0 0,-13-13 15,0 13-15,13 1 16,-13-14 0,13 13-16,13-13 31,0 0-15,14-13-1,-14 13-15,0 0 0,0 0 16,0 0-16,1 0 0,-1-14 0,0 14 15,0 0-15,-13-13 0,14 13 0,-1 0 16,-13-13-16,13 13 0,0 0 16</inkml:trace>
  <inkml:trace contextRef="#ctx0" brushRef="#br0" timeOffset="115390.38">24474 8083 0,'26'0'0,"-52"0"0,66 0 0,-27 13 16,0-13-16,14 13 0,-1 14 15,-13-14-15,14 14 0,-1-1 0,1 1 16,-14-1-16,0 14 0,0-14 15,-13-13-15,14 14 0,-14-1 0,0 1 16,0-14-16,-14 13 0,14 1 16,-13-1-16,0-12 0,13 12 0,-13-13 15,-14 14-15,14-14 0,0 0 0,-1 0 16,1 1-16,0-1 0,0-13 16</inkml:trace>
  <inkml:trace contextRef="#ctx0" brushRef="#br0" timeOffset="116154.38">22159 9340 0,'0'26'47,"0"-13"-47,0 1 0,0-1 0,0 0 15,0 0-15,0 1 0,0 12 0,0-13 16,0 1-16,0-1 0,0 0 16,0 0-16,0 0 0,0 1 15,0-1-15,-13-13 0,26 13 16</inkml:trace>
  <inkml:trace contextRef="#ctx0" brushRef="#br0" timeOffset="116458.27">22146 9353 0,'13'-13'0,"0"0"15,0 13-15,67 13 32,-67 0-32,0 13 15,-13-12-15,13-1 0,-13 0 0,0 0 16,0 1-16,0-1 0,-13 0 16,13 0-16,-13 1 0,13-1 0,-13 0 15,-1 0-15,14 0 0,-13 1 0,0-14 16,13 13-16,-13-13 0,0 0 15,-1 0-15,1 0 16</inkml:trace>
  <inkml:trace contextRef="#ctx0" brushRef="#br0" timeOffset="116799.06">22027 9221 0,'0'0'0,"-14"0"0,1 13 16,13 0-1,-13 0-15,13 1 0,-13 12 0,13 1 16,-14-1-16,14 0 0,-13 14 16,13-13-16,0-1 0,0 1 0,0-1 15,0-13-15,13 14 0,-13-1 0,14-13 16,-1 1-16,-13-1 0,13 0 0,0 0 16,1-13-16,-1 14 0,0-14 15,0 0-15,14 0 0,-14 0 0,13-14 16</inkml:trace>
  <inkml:trace contextRef="#ctx0" brushRef="#br0" timeOffset="117127.16">22278 9181 0,'13'0'16,"-26"0"-16,39 13 0,-12-13 0,12 14 16,-13-14-16,14 13 0,-1 13 15,1 1-15,-1-14 0,-13 13 0,1 1 16,-1-14-16,0 13 0,-13 1 0,0-14 15,0 14-15,0-14 0,0 13 16,0-12-16,-13 12 0,0-13 16,-1 14-16,1-14 0,13 13 0,-13-12 0,0-1 15,-1 0-15,1 0 16</inkml:trace>
  <inkml:trace contextRef="#ctx0" brushRef="#br0" timeOffset="118269.45">24183 8281 0,'26'-13'31,"-12"13"-31,-1 0 0,0 0 0,14-13 15,-14 13-15,13 0 0,1 0 16,-14 0-16,13 0 0,-12 0 0,12-13 16,-13 13-16,1 0 0,-1 0 0,0 0 15,0 0-15,0 0 0,1 0 16</inkml:trace>
  <inkml:trace contextRef="#ctx0" brushRef="#br0" timeOffset="118555.02">24355 8268 0,'-13'0'0,"-1"13"15,1 1-15,13-1 16,-13 0-16,13 0 0,-13 1 16,13-1-16,-13 0 0,13 14 0,0-14 15,-14 0-15,14 0 0,0 0 0,-13-13 16,13 14-16,0-1 0,0 0 16,-13-13-16,13 13 0,0 1 15,0-1 1</inkml:trace>
  <inkml:trace contextRef="#ctx0" brushRef="#br0" timeOffset="118811.35">24104 8559 0,'52'-13'16,"-38"13"-1,-1 0-15,13-13 0,-12 13 0,12 0 16,-13 0-16,14 0 0,-14 0 0,0 0 16,14 0-16,-14 0 15,0 0-15,0 0 0,1 0 0,-1 0 16,0 0-16</inkml:trace>
  <inkml:trace contextRef="#ctx0" brushRef="#br0" timeOffset="130479.25">20122 10478 0,'13'26'31,"-13"-13"-15,0 0-16,0 1 0,0-1 0,0 0 15,0 14-15,13-14 0,-13 0 0,0 13 16,0-12-16,0-1 0,0 0 0,13 0 15,-13 1-15,0-1 16,0 0-16,0 0 0,0 1 0,0-1 16,0 0-16,0-39 62,0 12-62,13 14 16,-13-13-16,0 0 0,14 0 15,-1-1-15,0 14 0,-13-13 16,13 13-16,1 0 0,-1 0 0,0 0 16,-13 13-16,13-13 0,1 0 15,-1 14-15,-13-1 16,13-13-16,-13 13 0,0 0 0,0 1 16,-13-1-16,0 0 15,-1 0-15,14 0 0,-13-13 16,0 14-16,0-14 0,-1 13 0,1-13 15,0 0-15,0 13 0,-1-13 16,1 0-16</inkml:trace>
  <inkml:trace contextRef="#ctx0" brushRef="#br0" timeOffset="131053.85">20413 10676 0,'-14'13'47,"14"0"-47,0 1 15,0-1-15,14 0 16,-1 0-16,0-13 15,0-13 1,1 13-16,-1-13 16,0 13-16,-13-13 0,13 13 0,-13-14 15,13 14-15,-13-13 0,14 13 16,-14-13-16,13 13 16,0 13-1,-13 0 1,13 1-1,-13-1-15,14-13 16,-1 13-16,13-13 16,-12-13-16,-1 13 15,0-13-15,0-1 0,0 1 16,-13 0-16,14 0 0,-1-1 16,-13-12-16,13 13 0,-13-14 0,13 1 15,-13 13-15,0-1 0,14-12 0,-14 13 16,0 0-16,0-1 0,0 1 15,0 53 17,13-27-32,-13 0 0,0 14 15,0-14-15,0 0 0,13 14 16,-13-14-16,0 0 0,13 13 0,-13-12 16,13-1-16,1 0 15,-1 0-15,0-13 16</inkml:trace>
  <inkml:trace contextRef="#ctx0" brushRef="#br0" timeOffset="131262.26">20704 10544 0,'26'13'31,"1"-26"-31,-14 13 0,0 0 16,13 0-16,-12-14 0,-1 14 0,13 0 15,-12-13-15,12 13 0,-13 0 16,14-13-16,-14 13 0,0 0 0</inkml:trace>
  <inkml:trace contextRef="#ctx0" brushRef="#br0" timeOffset="131921.84">21405 10544 0,'0'26'31,"0"-13"-16,0 1-15,13-14 16,-13 13-16,13-13 16,0 0-16,1 0 15,-1-13-15,0 13 16,0-14-16,-13 1 0,14 13 16,-1 0-16,-13-13 0,13 13 0,-13-13 15,13 13-15,1 13 16,-14 0-1,13-13-15,-13 13 0,0 1 0,0 12 16,0-13-16,0 0 0,-13 14 0,13-14 16,0 0-16,-14 14 0,14-14 0,-13 0 15,13 1-15,-13-1 16,13 0-16,-13 0 0,13 0 16</inkml:trace>
  <inkml:trace contextRef="#ctx0" brushRef="#br0" timeOffset="132223.13">21722 10583 0,'0'-13'16,"-26"40"15,26-14-31,0 0 0,0 0 15,0 0-15,0 1 0,0-1 16,13-13-16,-13 13 0,13-13 0,1 0 16,-1 13-16,0-26 15,0 13-15,0 0 16,-13-13-16,0-14 16,0 14-16,-13 13 15,13-13-15,0 0 0,-13 13 0,13-13 16,-13 13-16,0-14 15,-1 14-15,1 14 16</inkml:trace>
  <inkml:trace contextRef="#ctx0" brushRef="#br0" timeOffset="132673.25">21947 10557 0,'0'-13'15,"-13"39"17,13-13-32,0 1 0,0-1 15,-13 0-15,26 0 0,-13 0 16,13-13-16,-13 14 15,13-14-15,-13 13 0,14-13 16,12-13 0,-13-1-1,1 1-15,-14 0 0,13 0 16,-13 0-16,13-1 16,-13 1-16,0 0 15,13 13 1,-13 13 15,0 0-31,0 1 0,0-1 16,13 0-1,-13 0-15,0 0 32,14-13-32,-1 0 15</inkml:trace>
  <inkml:trace contextRef="#ctx0" brushRef="#br0" timeOffset="132997.24">22265 10530 0,'13'14'31,"-13"-1"-31,0 0 16,0 0-16,0 1 0,-13-14 15,13 13-15,0 0 0,0 0 16,0 0 0,0-39 15,13 26-31,-13-13 15,0 0-15,13-1 0,0 14 16,-13-13-16,14 0 0,-1 0 0,0-1 16,14 1-16,-14 13 0,0-13 0,13 13 15,-12-13-15,-1 13 16</inkml:trace>
  <inkml:trace contextRef="#ctx0" brushRef="#br0" timeOffset="134125.68">22926 10504 0,'0'13'16,"0"0"-16,0 1 15,-13-1-15,13 0 0,0 0 16,0 1-16,0-1 15,0 0-15,0 0 16,0 0 0,13-26 31,-13 0-47,13 13 0,-13-13 15,14 13-15,-1-13 16,0 13 15,0 13-31,1-13 16,-14 13-1,13-13-15,-13 13 0,13-13 16,0 0-16,0 0 16,1 0-1,-1 0 1,0 0-16,0 13 15,1-13 1,-1 0-16,0-13 16,0 13-16,1 0 0,-1 0 15,0-13 1,0 13 0,0 0-16,-13 13 46,0 0-14,14 1-17,-1-14 1,0-14-16,0 14 0,1 0 16,-1-13-16,0 13 15,-13-13-15,13 0 0,-13 0 16,0-1-16,0-12 15,-13 13 1,0-1-16,0 14 16,-1 0-16,1 0 0,0 0 0,0 0 0,-1 0 15,1 14-15,0-14 16,0 13-16,0-13 0,13 13 16,-14-13-16,14 13 0,14-13 15,-1 0 1,0 0-16,0 0 0,0 0 0,1 0 15,12 0-15,-13-13 0,1 13 0,12-13 16,-13 13-16,0-13 0,1-1 0,-1 1 16,0 0-16,0 0 0,1 0 15,-1-1-15,-13 1 0,13 0 0,-13 0 16,13 13-16,-13-14 0,14 14 31,-14 27-15,0-14-16,0 0 0,0 1 15,0-1-15,0 0 0,13 0 16,-13 0-16,0 1 0,0-1 16,0 0-16,13 0 15</inkml:trace>
  <inkml:trace contextRef="#ctx0" brushRef="#br0" timeOffset="134278.13">23429 10557 0,'-27'0'0,"54"0"0,-67-13 0,27 13 0,0 0 16,26-14 31,0 1-32,0 13-15,1 0 0,12-13 0,-13 13 16,14-13-16,-14 13 0,13 0 0,-12-13 16,12 13-16,1-14 0</inkml:trace>
  <inkml:trace contextRef="#ctx0" brushRef="#br0" timeOffset="135130.14">24130 10411 0,'0'0'0,"-26"14"31,26-1-31,-14-13 0,14 13 16,-13 0-16,13 1 0,-13-1 0,13 0 15,-13 0-15,13 0 0,0 1 0,0-1 16,0 0-16,0 0 16,13 1-16,0-1 0,0-13 15,1 0-15,-1 0 16,0 0-16,0 0 0,0-13 16,1 13-16,-1 0 15,0 0-15,0 0 16,-13 13-1,14-13 1,-14 13-16,13 0 16,0-13-1,0 0-15,1 0 16,-1 0-16,0 0 16,-13-13-16,13 0 15,-26 0-15,13-1 16,-13 14-16,13-13 15,-13 13-15,13-13 0,-14 13 16,14-13-16,-13 13 16,13-14-1,27 14 1,-14 0 0,0 14-16,0-14 15,0 13-15,1-13 0,-1 13 16,0-13-16,0 13 15,-13 1-15,14-14 16,-14 13-16,0 0 31,13-26 1,0 0-32,0 13 15,1-14 1,-1 14-1,0 0 1,0 0-16,0 0 16,1 0-16,-1 0 15,0-13-15,14 0 16,-14 13-16</inkml:trace>
  <inkml:trace contextRef="#ctx0" brushRef="#br0" timeOffset="135498.59">24699 10425 0,'0'-14'0,"13"14"31,-26-13-15,0 26 46,-1-13-46,1 14-1,0-14-15,13 13 0,-13 0 16,13 0-16,0 1 16,0 12-1,0-13 1,0 0-16,13-13 0,-13 14 0,0-1 16,13-13-16,-13 13 0,0 0 15,0 1-15,0-1 16,0 0-16,0 0 15,-13-13-15,0-13 47</inkml:trace>
  <inkml:trace contextRef="#ctx0" brushRef="#br0" timeOffset="135670.74">24765 10517 0,'0'13'16,"0"1"0,-13-1-1,13 0-15,0 0 16,-13-13-16,13 14 0,-14-1 16,14 0-16,-13-13 15</inkml:trace>
  <inkml:trace contextRef="#ctx0" brushRef="#br0" timeOffset="135806.25">24778 10398 0,'-13'-13'0,"0"13"16</inkml:trace>
  <inkml:trace contextRef="#ctx0" brushRef="#br0" timeOffset="136378.18">24937 10345 0,'0'53'31,"0"-40"-31,0 1 16,-13-1-16,13 0 0,0 0 16,0 1-16,0-1 0,0 0 15,0 0-15,0 0 16,0 1 0,13-14-1,-39 0 16,12 0-15,1 0 0,0 13-16,0-13 15,-1 13-15,41-13 47,-14 0-31,0 0-16,14-13 15,-14 13 1,0 0-16,0 0 16,-13 13-16,14-13 15,-1 13 1,0-26 31,0 13-47,-13-13 0,14 13 15,-1-13-15,0 13 16,-13-14-16,13 14 16,0-13-16,1 13 0,-1-13 15,0 13-15,0 0 16</inkml:trace>
  <inkml:trace contextRef="#ctx0" brushRef="#br0" timeOffset="136503.34">25188 10478 0,'0'0'16,"14"0"-16,-14-14 31</inkml:trace>
  <inkml:trace contextRef="#ctx0" brushRef="#br0" timeOffset="138853.91">20955 11298 0,'0'26'16,"0"-13"-16,0 1 15,-13 12-15,13-13 0,0 1 16,0-1-16,0 13 0,0-13 0,0 1 15,0-1-15,0 0 0,-13 0 16,13 1-16,0-1 0,0 0 0,0 0 16,0 1-1,13-41 17,-13 14-32,0 0 0,0-14 0,0 14 15,0-14-15,13 1 16,-13 0-16,13-1 0,-13 1 0,13-1 0,-13 14 15,14-14-15,-14 14 0,13 0 0,0 0 16,14 13 15,-27 13-31,13 0 0,-13 0 16,13 1-16,-13-1 0,0 13 16,0-12-16,13-1 0,-13 13 0,0-12 15,0-1-15,14 0 0,-14 0 0,0 0 16,0 1-16,13-1 0,-13 0 15,0 0-15,13 1 0,-13-1 16,13-13 0</inkml:trace>
  <inkml:trace contextRef="#ctx0" brushRef="#br0" timeOffset="139050.1">20995 11483 0,'-14'-13'31,"41"13"-31,-14 0 16,0 0-16,1 0 0,12 0 16,-13-14-16,1 14 0,-1 0 0,13 0 15,-13 0-15,1 0 16,12 0-16</inkml:trace>
  <inkml:trace contextRef="#ctx0" brushRef="#br0" timeOffset="139629.2">21392 11351 0,'-27'0'0,"-13"0"32,27 0-32,13 13 15,0 0 1,0 0-16,0 1 0,13-1 16,-13 0-16,0 0 0,14 0 15,-14 1-15,0-1 0,0 0 0,0 0 16,0 1-16,0-1 0,-14 0 0,14 0 15,-13 1-15,0-1 0,13 0 16,-13 0-16,-14 0 16,27 1-16,-13-14 0,13 13 0,-13-13 15,26-13 17,0 13-32,0-14 15,1 14-15,25-26 16,-25 13-16,12-14 0,1 14 0,-1-13 15,0 12-15,1-12 0,-14-1 0,14 1 16,-14 13-16,0-14 0,0 14 16,-13 0-16,14 13 0,-14-13 0,0-1 15,-27 28 17,27-1-32,-13 0 0,0 0 15,13 1-15,0-1 0,0 0 16,0 0-16,0 0 15,13 1-15,-13-1 16,13-13-16,0 0 0,-13 13 0,14-13 16,-1 0-16,0 0 0,0 0 15,0 0 1,1 13-16</inkml:trace>
  <inkml:trace contextRef="#ctx0" brushRef="#br0" timeOffset="142990.63">21127 12065 0,'0'-13'16,"0"39"15,0-13-15,0 1-16,0-1 16,0 0-16,0 0 0,0 1 0,0-1 15,0 0-15,0 0 0,0 1 0,0-1 16,0 0-16,0 0 0,0 0 15,0 1-15,0-1 16,0 0-16,0 0 16</inkml:trace>
  <inkml:trace contextRef="#ctx0" brushRef="#br0" timeOffset="143345.56">21074 12144 0,'0'-13'0,"13"0"0,27 0 31,-27 13-31,0 0 0,1 0 15,-1 13-15,0-13 16,0 0-16,1 13 0,-1 0 0,0-13 16,-13 14-16,13-1 0,0 0 0,1 0 15,-14 1-15,0-1 16,0 0-16,0 0 0,0 0 0,-14-13 16,14 14-16,-13-1 0,13 0 0,-13 0 15,0 1-15,0-1 16,-1-13-1,14 13-15,-13-13 0,0 0 16</inkml:trace>
  <inkml:trace contextRef="#ctx0" brushRef="#br0" timeOffset="143517.01">21365 12184 0,'13'13'31,"-13"1"-31,0-1 16,0 0-16,0 0 15,0 0-15,0 1 0,0-1 16,-13-13-16,13 13 0</inkml:trace>
  <inkml:trace contextRef="#ctx0" brushRef="#br0" timeOffset="143669.76">21352 12091 0</inkml:trace>
  <inkml:trace contextRef="#ctx0" brushRef="#br0" timeOffset="144178.19">21497 12277 0,'0'-14'0,"40"-25"31,-27 26-15,-26 26 31,13 0-47,-13-13 0,13 13 16,0 14-16,0-14 15,13-13 1,0 0-16,1 0 15,-1-13-15,0 13 0,-13-14 16,13 1-16,0 13 0,1-13 16,-1 0-16,0 0 0,0-1 0,1-12 15,-14 13-15,13-1 0,-13 1 0,13 0 16,-13 0-16,13-1 16,-13 1-16,0 40 46,0-14-46,0 0 16,0 0-16,0 1 0,0-1 0,0 0 16,14 0-16,-14 1 0,13-1 0,-13 0 15,13-13-15,-13 13 0,13-13 16,0 13-16,1-13 16,-1-13-16,0 13 0,0 0 15,-13-13-15</inkml:trace>
  <inkml:trace contextRef="#ctx0" brushRef="#br0" timeOffset="144338.17">21669 12144 0,'40'-13'31,"-13"0"-31,-14 13 15,0 0-15,13-13 0,-12 13 0,12-14 16,1 14-16,-1-13 0</inkml:trace>
  <inkml:trace contextRef="#ctx0" brushRef="#br0" timeOffset="145013.29">22159 11390 0,'13'-13'16,"0"13"-16,1 0 15,-1 0-15,0 0 0,0 0 16,0 0-16,1 13 16,-1 1-16,0-1 15,-13 0-15,13-13 0,-13 26 0,0-12 16,14-1-16,-14 0 0,0 14 15,13-1-15,-13-13 0,13 14 0,-13-1 16,13 1-16,-13 12 0,14-12 0,-14-1 16,13 1-16,-13-1 0,13 14 15,0-14-15,0 14 0,1-14 16,-14 1-16,13-1 0,0 1 0,-13-1 16,13-12-16,-13 12 0,14-13 0,-14 14 15,0-14-15,0 0 0,0 0 16,13 1-16,-26-1 0,13 0 15,0 0-15,-14 1 0,1-1 16,0 0-16,0-13 16,-1 13-16,1-13 0,0 0 0,-13 0 15,12 0-15,-12 0 0,-1 0 0,1-13 16,-1 13-16,-12-13 0</inkml:trace>
  <inkml:trace contextRef="#ctx0" brushRef="#br0" timeOffset="145630.94">20690 11337 0,'-39'0'16,"78"0"-16,-91 0 0,38 14 0,1-14 15,0 13-15,0-13 0,13 13 16,-14 0-16,14 1 0,0 12 0,-13-13 15,13 14-15,0-14 0,0 13 0,13 1 16,-13 13-16,0-1 16,14 1-16,-14 0 0,0-1 0,13 1 0,-13 0 15,0-14-15,0 14 0,0-1 16,0-12-16,0 13 0,0-14 0,0 1 16,0 12-16,0 1 0,0-14 15,0 1-15,-13-1 0,13 1 0,0-1 16,0 1-16,0-1 0,0-13 15,0 14-15,0-14 0,13 0 0,-13 0 16,13 1-16,-13-1 0,13-13 16,1 0-16,-1 0 15,0-13-15,0 13 0,0-14 16,1 1-16</inkml:trace>
  <inkml:trace contextRef="#ctx0" brushRef="#br0" timeOffset="146538.37">19010 9366 0,'40'0'15,"-27"0"1,0 0-16,14 0 0,-14-13 16,14 13-16,-14 0 0,13 0 15,-12 0-15,12 0 0,-13-13 0,0 13 0,1 0 16,-1 0-16,0 0 0,0 0 16,1-13-16,-1 13 15,0 0-15,-13-14 0</inkml:trace>
  <inkml:trace contextRef="#ctx0" brushRef="#br0" timeOffset="146781.14">19288 9194 0,'53'14'16,"-40"-1"-16,14-13 15,-14 13-15,0 0 0,0 0 16,1 14-16,-1-14 0,0 0 16,0 1-16,-13-1 0,14 0 0,-14 0 15,0 0-15,0 14 0,0-14 0,0 0 16,0 1-16,-14-1 0,1 0 16,0 0-16,0 1 0</inkml:trace>
  <inkml:trace contextRef="#ctx0" brushRef="#br0" timeOffset="147350.29">17621 9366 0,'-13'27'31,"13"-14"-31,0 0 0,0 14 0,0-14 16,0 13-16,0-12 0,0 12 16,0 0-16,0-12 0,0 12 15,0-13-15,0 1 0,0-1 0,13 0 16,-13 0-16,0 1 0,0-1 0,13 0 16,1-13-1,-14 13-15,13-13 0,0 0 16,14 0-16,-14-13 0,0 13 15,0 0-15,1-13 16,-1 13-16,0-13 0,0 13 16,-13-14-16</inkml:trace>
  <inkml:trace contextRef="#ctx0" brushRef="#br0" timeOffset="147521.6">17661 9538 0,'13'0'16,"-26"0"-16,39-13 0,-12 13 0,-1 0 15,0-13-15,0 13 0,1 0 16,-1-13-16,0 13 0,0 0 0,-13-14 16</inkml:trace>
  <inkml:trace contextRef="#ctx0" brushRef="#br0" timeOffset="147785.25">17926 9313 0,'26'14'31,"-26"12"-31,0-13 16,0 0-16,0 1 0,0 12 15,0-13-15,0 14 0,-13-14 0,13 14 16,-13-1-16,13 14 0,-14-14 16,1 1-16,13-14 15,-13 0-15</inkml:trace>
  <inkml:trace contextRef="#ctx0" brushRef="#br0" timeOffset="147993.4">17833 9551 0,'40'0'31,"-27"0"-31,0 0 0,0 0 0,1 14 15,-1-14-15,0 13 0,13-13 0,-12 0 16,-1 13-16,13-13 0,-12 0 16,-1 0-16,13 0 0,-12 13 15,-1-13-15,0 0 0</inkml:trace>
  <inkml:trace contextRef="#ctx0" brushRef="#br0" timeOffset="149193.97">18098 9538 0,'26'0'16,"-13"0"15,0 0 0,-13-13 16,0 0-15,0 0-32,0-1 15,0 1-15,0 0 0,0 0 16,0-1-1,0 1-15,-13 0 0,26 39 32,-13-12-17,0 12-15,0-13 0,0 14 16,0-1-16,0 1 0,14-1 0,-14 1 16,0-14-16,0 13 0,0 1 0,0-14 15,0 0-15,13 14 0,-13-14 16,0 0-16,0 0 0,0 1 15,-13-28 17,13 1-32,0 0 0,0-14 15,0 14-15,0-13 0,0-1 0,13 1 16,-13-1-16,13 14 0,-13-13 16,13 12-16,-13 1 0,14 0 0,-1 0 15,0 13 1,-13 13-1,13 0-15,-26 14 16,13-14-16,0 0 16,0 0-16,0 1 15,0-1-15,0 0 16,13 0 0,0-26 15,1 13-31,-14-13 0,0 0 15,13 13-15,-13-14 0,0 1 0,13 13 16,-13-13-16,0 0 0,13-1 16,1 1-16,-1 0 15,0 13 1,0 13 0,1 0-16,-1 1 15,-13-1 1,13-13-16,-13 13 15,13-13 1,0-13 0,1 0-1,-1-1 1,-13 1-16,13 13 16,-13-13-16,13 13 0,-13-13 15,14 13-15,-14-13 16,13-1-16,0 14 15,-13-13-15,13 0 0,1 13 16,-14-13 0,13 26-1,-13 0-15,0 0 16,13 14 0,-13-14-16,0 13 15,0-12 1,0-1-1</inkml:trace>
  <inkml:trace contextRef="#ctx0" brushRef="#br0" timeOffset="149334.12">18561 9393 0,'0'-14'0,"-14"41"47</inkml:trace>
  <inkml:trace contextRef="#ctx0" brushRef="#br0" timeOffset="151458.24">20929 9710 0,'39'0'16,"-26"0"-16,1 0 15,12-13-15,-13 13 0,14 0 0,-14 0 16,14 0-16,-1-13 0,-13 13 0,14 0 15,-14 0-15,0 0 0,0-13 16,1 13-16</inkml:trace>
  <inkml:trace contextRef="#ctx0" brushRef="#br0" timeOffset="151667.1">20995 9750 0,'26'0'32,"-13"0"-32,1 0 0,12 0 0,-13 0 15,1 0-15,12 0 0,-13-13 16,14 13-16,-14 0 0,0 0 0,0 0 16,1 0-16,-1 0 0,0 0 0,0 0 15,0 0-15</inkml:trace>
  <inkml:trace contextRef="#ctx0" brushRef="#br0" timeOffset="156422">23072 11708 0,'0'-13'0,"0"-1"16,0 54 15,0-27-31,-14 1 16,14-1-16,0 13 0,-13-13 0,13 14 16,0-14-16,-13 14 0,13-14 15,0 0-15,0 0 0,0 0 0,0 1 16,0-1-16,-13 0 0,26-13 15,-13 13-15,0 1 0,13-1 16,0-13-16,-13 13 16,14-13-16,-1 0 0,0 0 15,0 0-15,1 0 16,-1 0-16,0 0 0,0 0 0,1 0 16,-1 0-16,0 0 0,0-13 15,0 13 1</inkml:trace>
  <inkml:trace contextRef="#ctx0" brushRef="#br0" timeOffset="156606.29">23111 11906 0,'0'0'0,"14"-13"16,-1 13-16,0 0 0,0-13 0,1 13 15,-1 0-15,0 0 0,0-13 0,0 13 16,1 0-16,12 0 0,-13-14 16,1 14-16,-1 0 0,0 0 0</inkml:trace>
  <inkml:trace contextRef="#ctx0" brushRef="#br0" timeOffset="156937.76">23138 11695 0,'26'-14'31,"-12"14"-15,-1 0-16,0 0 0,13 0 16,-12 0-16,-1 0 0,13 0 0,-12 0 15,12 0-15,0-13 0,-12 13 16,-1 0-16,0 0 0,0 0 0,1 0 15,-1 0-15,0 0 0,0 0 16,1 0-16,-14 13 16,0 1-1,0-1-15,0 0 0,0 0 16,-14 1-16,14-1 0,0 0 16,-13 0-16,13 14 0,0-14 0,-13 13 15,13-12-15,-13-1 0,13 13 0,-14-13 16,14 1-16,0-1 0,-13-13 15</inkml:trace>
  <inkml:trace contextRef="#ctx0" brushRef="#br0" timeOffset="157142.04">23283 11840 0,'14'-26'31,"-1"39"-16,0 0-15,0 0 0,0-13 16,1 14-16,-1-1 0,0-13 0,0 13 16,1 0-16,-1-13 0,0 13 15,0-13-15,1 14 0,-1-14 0,0 0 16,0 0-16,0 13 0,1-26 16</inkml:trace>
  <inkml:trace contextRef="#ctx0" brushRef="#br0" timeOffset="157394.41">23693 11536 0,'0'0'0,"0"-13"0,-13 13 0,0 13 16,13 0-1,-13-13-15,13 13 0,0 14 16,0-14-16,-13 13 0,13-12 0,0 12 15,0 1-15,-14-1 0,14-13 0,0 14 16,0-14-16,0 13 0,0-12 16,14-1-16,-14 0 0,0 0 0,0 1 15,0-1-15,13-13 0,-13 13 16,13 0 0</inkml:trace>
  <inkml:trace contextRef="#ctx0" brushRef="#br0" timeOffset="157577.34">23508 11814 0,'0'0'0,"13"-14"0,1 1 16,-1 13-16,0 0 15,0-13-15,1 13 0,12 0 16,-13 0-16,1 0 0,-1 0 0,0 0 15,0 0-15,0 0 0,1 0 16</inkml:trace>
  <inkml:trace contextRef="#ctx0" brushRef="#br0" timeOffset="157894.23">23786 11748 0,'0'13'31,"13"-13"-31,-13 13 16,0 0-16,0 0 0,0 1 0,0-1 15,0 0-15,0 0 0,13 1 16,-13-1-16,0 0 16,14-39 15,-14 12-16,0 1-15,0 0 0,13 13 0,-13-13 16,13-1-16,-13 1 0,0 0 0,13 0 16,-13 0-16,14 13 31</inkml:trace>
  <inkml:trace contextRef="#ctx0" brushRef="#br0" timeOffset="158670.31">23998 11748 0,'-14'-14'31,"1"28"-31,0-14 16,13 13-16,-13-13 0,13 13 0,-13 0 16,13 0-16,-14-13 0,14 14 0,0-1 15,-13 0-15,13 0 16,0 1-16,13-1 16,-13 0-1,14-13-15,-1-13 16,0 13-1,-13-13-15,13-1 0,-13 1 16,13 0-16,-13 0 16,0-1-16,14 1 15,-14 0-15,0 0 16,13 39 15,-13-13-15,0 1-1,0-1-15,0 0 16,0 0 0,13-13-1,0-13 1,1 0 0,-1 0-1,-13-1 1,13 14-16,0 14 31,-13-1-15,0 0-16,14 0 31,-1-13 16,0-13-32,0 13 1,-13-13-16,13 13 16,1 0-1,-1 13-15,0-13 16,0 0-16,1 0 0,-1 13 16,0-13-16,0 0 15,1 0-15,-1 0 0,0 0 0</inkml:trace>
  <inkml:trace contextRef="#ctx0" brushRef="#br0" timeOffset="159883.4">24342 11880 0,'13'-27'32,"0"27"-17,-13-13-15,13 0 0,-13 0 16,14-1-16,-14 1 15,0 0-15,0 0 16,-14 0 0,-12 26-1,13 0 1,13 0-16,0 0 16,-14-13-16,14 14 0,0-1 15,0 0-15,14-13 16,-14 13-16,13 1 0,0-14 15,0 13 1,1-13-16,-1 0 0,0 0 16,0-13-16,1 13 15,-14-14-15,13 14 0,0-13 16,0 13 0,-13-13-16,13 13 15,-13 13 16,0 0-15,0 1-16,0-1 16,14-13-16,-14 13 15,13 0-15,0-13 16,0 0 0,1-13-16,-1 13 15,-13-13-15,13 13 0,-13-13 16,13 13-16,-13-14 0,0 1 0,0 0 15,0 0-15,0-1 16,-13 1 0,0 26-1,0-13 1,13 14 0,-14-1-1,28-13 1,-1 0-1,0 0-15,0-13 16,0 13-16,1-14 16,-1 1-1,0 13-15,-13-13 16,13 26 15,-13 0 0,14-13-31,-14 14 16,0-1 15,13-13-31,0 0 32,0-13-1,1 13-31,-1 0 47,0 13-32,-13 0 1,26-13 46,-26-13-62,14 0 0,-1-1 16,-13 1-16,13 13 0,-13-13 0,13 13 16,-13-13-16</inkml:trace>
  <inkml:trace contextRef="#ctx0" brushRef="#br0" timeOffset="160438.1">23733 12435 0,'0'27'31,"13"-14"-31,-13 0 16,0 1-16,14-1 0,-14 0 15,13 0-15,-13 0 0,13-13 16,0 0 0,0 0-1,-13-13-15,14 13 0,-14-13 0,13 13 16,-13-13-16,0 0 0,13-1 16,0 1-16,1 0 0,-14 0 15,13 13-15,-13-14 0,13 1 0,0 13 16,1 0-16,-14-13 15</inkml:trace>
  <inkml:trace contextRef="#ctx0" brushRef="#br0" timeOffset="160966.13">24064 12382 0,'-27'14'16,"14"-1"-16,13 0 15,-13-13-15,13 13 0,0 1 16,-13-14-16,13 13 0,0 0 16,0 0-1,13-26 17,0 13-17,0-13-15,1 13 16,-1 0-16,0 0 15,0 0 1,1 13 0,-1-13-16,-13 13 15,0 1-15,0-1 32,26-26-1,-26-1-31,13 1 15,1 0-15,-1 0 16,0-1-16,0 14 0,1-13 16,-1 13-16,0 0 15,0 0 1,1 13 0,-14 1-16,0-1 15,0 0 1,-14 0-1,14 1-15</inkml:trace>
  <inkml:trace contextRef="#ctx0" brushRef="#br0" timeOffset="161097.26">24328 12343 0,'-13'-13'0,"13"-1"31</inkml:trace>
  <inkml:trace contextRef="#ctx0" brushRef="#br0" timeOffset="161829.23">24421 12356 0,'-26'0'32,"26"13"-32,-14 0 15,14 1-15,-13-14 16,13 13-16,0 0 16,0 0-1,13-13 1,1 0-1,-1-13-15,0 13 0,0-13 16,1 13 0,-14-13-16,13 26 31,0 0-15,0-13-1,0 0 1,1-13-16,-1 13 15,-13-13-15,13-1 0,0 14 16,1-13-16,-14 0 0,13 0 0,0 0 16,-13-14-16,13 14 0,-13 0 0,13-1 15,-13-12-15,14 0 16,-1 12-16,-13 1 16,0 0-16,0 0 15,-13 39 1,-1-13-1,14 1-15,-13-1 0,13 0 16,0 0-16,-13 0 0,13 1 16,-13-1-16,13 0 0,0 0 15,0 1-15,-13-14 16,39-14 31,-13 14-47,0 0 15,1 0 1,-14 14-16,13-14 16,-13 13-1,0 0-15,0 0 16,-13 0-16,13 1 16,-14-14-16,1 13 15,0-13 1,13-13 15</inkml:trace>
  <inkml:trace contextRef="#ctx0" brushRef="#br0" timeOffset="162142.43">24791 12118 0,'-13'26'31,"13"-12"-15,0-1-16,-13 0 0,13 0 0,0 1 16,0-1-16,0 0 15,0 0-15,0 0 0,0 1 16,13-1 0,0-26-16,1 13 15,-1 0-15,-13-14 16,13 14-16,0 0 0,14 0 15,-14 0 1,-13 14-16,13-14 16,1 13-16,-1-13 15,0 0 1,0-13-16</inkml:trace>
  <inkml:trace contextRef="#ctx0" brushRef="#br0" timeOffset="164883.04">20585 12171 0,'-27'13'0,"14"0"16,0-13-1,13 14 1,-14-14-16,1 0 15,0 0-15,13 13 16,-13-13-16,-14 0 16,14 0-16,0 0 15,0 0-15,-1 0 0,1 0 16,0 0-16,0 0 0,-1 0 0,-12 0 16,13-13-16,0 13 0,-1 0 15,1 0-15,0 0 0,0-14 16,-14 14-16,14 0 0,0-13 0,-14 13 15,14-13-15,0 13 0,0-13 0,-14 13 16,14-14-16,0 14 0,-1-13 16,-12 13-16,13-13 0,-14 13 0,14-13 15,-13 13-15,-1-14 0,1 14 0,12-13 16,-12 0-16,0 13 0,12-13 16,-12 0-16,-1 13 0,14-14 0,-13 1 15,12 0-15,1 13 0,-13-13 0,13 13 16,-1-14-16,1 1 0,-13 0 15,12 13-15,1-13 0,0-1 16,0 1-16,-1 13 0,1-13 0,0 0 16,0 0-16,0-1 0,-1 1 15,1 0-15,0 0 0,0-1 0,-1 1 16,1-13-16,0 13 0,0-1 0,0 1 16,-1-13-16,1 12 0,0 1 0,0-13 15,-1 12-15,-12 1 0,13-13 16,-14 13-16,14-1 0,0-12 0,-14 13 15,1-1-15,13-12 0,-1 13 0,1-1 16,-13 1-16,12 0 0,1-13 16,0 12-16,0 1 0,-14-13 0,14 12 15,0-12-15,-14 13 0,14-1 16,0 1-16,0 0 0,-1-13 16,1 12-16,13 1 0,-13 0 0,0 0 15,0-1-15,13 1 0,-27-13 16,14-1-16,0 14 0,13 0 15,-14 0-15,1-1 0,13 1 0,-13-13 16,0 12-16,-1 1 0,14 0 0,-13 0 16,0 0-16,13-1 0,-13 1 15,13 0-15,-13 0 0,-1-1 0,14 1 16,-13 0-16,13 0 0,-13-14 0,13 14 16,-13 0-16,13 0 0,-14-1 15,14 1-15,-13 0 0,13 0 16,-13-1-16,13 1 0,0 0 0,-13 0 15,13-1-15,0 1 0,-13 0 0,13 0 16,-14 0-16,14-1 0,0 1 16,0 0-16,-13 0 0,13-1 15,0 1-15,-13 0 0,13 0 0,0 0 16,0-1-16,-13 14 16,13-13-16,0 0 0,0 0 15,0-1-15,-14-12 16,14 13-16,0-1 15,0 1 1,0 0 0,0 0-16,0 0 15,-13 13-15,13-14 16,0 1 0,0 0 15,-13 13 16,0 0-47,13 13 31</inkml:trace>
  <inkml:trace contextRef="#ctx0" brushRef="#br0" timeOffset="165579.18">18521 10266 0,'-13'26'0,"-1"-26"0,14 14 15,-13-14-15,13 13 0,-13 0 16,0 0-16,13 0 0,0 1 16,-14-1-16,1 0 0,13 0 0,-13-13 15,13 14-15,0-1 0,-13 0 0,13 0 16,-13 1-16,13-1 15,-14 0-15,14 0 16,0 0 0,14-39 46,-14 13-62,0 0 0,13-1 16,-13 1-16,0 0 15,13 13-15,-13-13 0,0-1 16,13 1-16,-13 0 16,13 13-16,-13-13 0,0-1 15,14 14-15,-14-13 16,13 0 0,0 13-16,0 0 15,1 0-15,-1 0 16,0 0-16,-13 13 0,13-13 15,1 13-15,-1 1 0,0-14 16,0 13-16,0 0 0,-13 0 0,14-13 16,-1 14-16,-13-1 0,13-13 15,0 13-15,1 0 0,-14 1 16,13-14-16,-13 13 0,13 0 16,-13 0-1,13 0 1,-13 1-16,13-14 0,1 13 15,-1-13 1</inkml:trace>
  <inkml:trace contextRef="#ctx0" brushRef="#br0" timeOffset="167005.24">18600 9538 0,'0'40'15,"0"-27"1,0 0-16,0 1 31,13-41 32,-13 14-48,14 13-15,-14-13 0,13-1 16,0 14 0,0 14 15,1-1-15,-14 0 15,13-13-16,0-13 1,-13 0 0,13 13-16,-13-14 15,13 14 1,1 0 0,-1 14-1,0-14 1,14 0 15,-14-14-15,0 1-16,0 0 15,1 0 17,-14 26-17,0 0 1,13-13-16,-13 13 15,13-13 1,0 0-16,0 0 16,-13-13-16,14 13 0,-14-13 0,13 0 15,0 0 1,-13-1-16,0 1 0,13 0 16,-13 0-16,0-1 0,14 1 0,-14 0 15,0 0-15,0-1 16,13 14-16,-13 27 31,0-14-15,-13 0-16,13 14 15,0-14-15,0 0 16</inkml:trace>
  <inkml:trace contextRef="#ctx0" brushRef="#br0" timeOffset="167130.87">18904 9512 0,'0'-13'0,"27"-1"31,-14 1-31,0 0 0</inkml:trace>
  <inkml:trace contextRef="#ctx0" brushRef="#br0" timeOffset="167786.04">17846 9882 0,'13'13'0,"1"-13"0,-14 14 0,13-14 0,-13 13 15,13 0-15,-13 0 0,0 1 16,13-1-16,-13 0 0,0 0 0,0 0 16,0 1-16,0-1 0,14-13 15,-14 13-15,0-39 47,0 12-47,13 1 16,-13 0-16,13 13 0,-13-13 15,13 0-15,-13-1 0,13 14 0,-13-13 16,14 13-16,-1-13 0,0 13 0,14 0 16,-27 13-1,13-13-15</inkml:trace>
  <inkml:trace contextRef="#ctx0" brushRef="#br0" timeOffset="168249.4">18124 9988 0,'0'-26'16,"0"12"-1,-13 41 32,13-14-47,0 0 16,13 0-16,-13 1 15,13-1-15,0-13 16,1 13 0,-1-13-16,0-13 0,0 13 15,1 0-15,-14-13 16,13 13-16,-13-14 0,13 14 15,-13-13-15,0 0 0,13 13 16,-13-13-16,0 0 0,13 13 16,-13-14-1,14 14 1,-1 14-16,0-14 16,-13 13-16,13-13 0,-13 13 15,0 0-15,0 0 16,0 1-16,0-1 15,-13 0-15,0 0 16,13 1-16,-13-14 0,13 13 16,-14-13-16</inkml:trace>
  <inkml:trace contextRef="#ctx0" brushRef="#br0" timeOffset="168986.16">18415 9975 0,'0'13'47,"-13"0"-31,26 0-16,-13 1 31,13-14-31,0-14 16,1 14-16,-1-13 15,0 13 1,0 0-16,1 13 31,-1 1-15,0-14-1,0 0 1,1 0-16,-1-14 16,0 1-16,0 13 15,-13-13-15,13 0 0,1 0 16,-14-1-16,13 1 0,-13 0 16,0 0-16,0-1 0,13 14 0,-13-13 15,0 0-15,13 0 16,-13 39 15,0-13-31,14 1 16,-14-1-16,0 0 0,0 0 15,13-13-15,-13 14 0,13-1 0,-13 0 16,13-13-16,0 13 0,1-13 16,-1-13-1,0 13-15,0-13 0,1 0 16,-1-1-16,-13 1 0,13 0 15,-13 0-15,13-1 0,-13-12 16,14 13-16,-14-1 0,0 1 16,13 13-16,-13-13 0,13 39 31,-13-12-15,0-1-16,0 0 0,0 0 15,0 1-15,13-1 0,-13 0 0,13 0 16,-13 1-16,14-1 15,-1 0-15,0-13 16,0 0-16,1-13 16</inkml:trace>
  <inkml:trace contextRef="#ctx0" brushRef="#br0" timeOffset="169225.74">18719 9948 0,'66'-13'31,"-52"0"-31,-1 13 0,13 0 16,-12 0-16,12-13 0,-13 13 0,14 0 15,-14-14-15,0 14 0,0 0 0,1-13 16,-1 13-16,0 0 0,0 0 15,-13-13-15,14 13 0,-1 0 16,0 0 0</inkml:trace>
  <inkml:trace contextRef="#ctx0" brushRef="#br0" timeOffset="176258.26">8281 3545 0,'0'0'0,"67"-13"0,-41 13 0,27 0 0,0 0 15,13 0-15,0-13 0,14 13 16,-1 0-16,0 0 0,1-13 0,12 13 15,1 0-15,-14-14 0,1 14 0,-1-13 16,0 13-16,1 0 16,-1-13-16,1 13 0,-14-13 0,-13 13 15,-1 0-15,-12-13 0,0 13 0,-14 0 16,1 0-16</inkml:trace>
  <inkml:trace contextRef="#ctx0" brushRef="#br0" timeOffset="176509.42">9181 3559 0,'27'0'0,"-1"0"0,-13 0 15,27 0-15,-14 0 0,14 0 0,13 0 16,-13 0-16,26 0 0,-13 0 15,0 0-15,13-14 0,-13 14 0,13 0 16,-13 0-16,0 0 0,0 0 0,-1 0 16,-12 0-16,-13 0 0,-1 0 15,1 0-15,-1-13 0,-13 13 0,14 0 16,-14 0-16,0 0 0</inkml:trace>
  <inkml:trace contextRef="#ctx0" brushRef="#br0" timeOffset="178027.16">14962 3545 0,'146'0'15,"-93"0"-15,224-13 16,-197 13-16,-1 0 15,1 0-15,12 0 0,-12 0 0,-14 0 16,13 0-16,-13 0 0,-13-13 16,13 13-16,-13 0 0,0 0 0,0 0 15,-13 0-15,-1 0 0,-12 0 0,-1 0 16,-12 0-16,-1 0 0,0 0 16</inkml:trace>
  <inkml:trace contextRef="#ctx0" brushRef="#br0" timeOffset="178393.36">14975 3704 0,'67'0'0,"-15"0"0,1-13 0,0 13 16,27 0-16,-14-13 0,13 13 15,14 0-15,-14 0 0,14 0 0,-14-14 16,1 14-16,-1 0 0,-26 0 0,13 0 16,-13 0-16,-13 0 0,12 0 15,-12 0-15,-13 0 0,-1 0 0,1 0 16,-14 0-16,13 0 0,-13 14 0,1-14 15,-1 0-15,0 0 16,0 0-16,1-14 16,-1 14 15</inkml:trace>
  <inkml:trace contextRef="#ctx0" brushRef="#br0" timeOffset="179841.24">18574 3519 0,'291'-27'31,"-212"14"-31,14 13 0,-1-13 16,14 13-16,27 0 0,-28 0 0,28-13 15,-28 13-15,1 0 0,0 0 16,0 13-16,0-13 0,0 0 0,-14 0 16,1 0-16,-14 0 0,1 0 15,-14 0-15,-13 0 0,0 0 0,-1 0 16,-12 0-16,-13-13 0,-1 13 0,1 0 15,-14 0-15,13 0 0,-13 13 16,1-13-16</inkml:trace>
  <inkml:trace contextRef="#ctx0" brushRef="#br0" timeOffset="180167.39">19420 3612 0,'291'-27'31,"-211"27"-31,12-13 0,14 13 0,27 0 16,-28 0-16,1-13 0,93 26 15,-107-13-15,-12 0 0,12 0 0,-12 0 16,-14 0-16,0 13 0,-13-13 16,0 0-16,26 0 0,-39 0 15,-27 0-15,13 0 0,1 0 0,-14 0 16,0 0-16,1 0 16,-1 0-16,0 0 0,0 0 0,14 0 0,-14 0 15,0 0-15,14-13 0</inkml:trace>
  <inkml:trace contextRef="#ctx0" brushRef="#br0" timeOffset="181813.89">4471 4101 0,'252'-26'15,"-173"12"1,1 1-16,-1 13 0,14-13 0,-1 13 16,-12-13-16,12 13 0,-12-14 15,12 14-15,-13 0 0,14-13 0,-14 13 16,1-13-16,-1 13 0,-13 0 0,-13-13 16,0 13-16,0 0 15,-13 0-15,-1 0 0,-12 0 0,-1 0 0,1 0 16,-14 0-16,0 0 0</inkml:trace>
  <inkml:trace contextRef="#ctx0" brushRef="#br0" timeOffset="182073.58">5054 4207 0,'92'0'16,"-52"0"-16,13 0 16,0 0-16,13-13 0,13 13 15,1 0-15,-1 0 0,14-14 0,-14 14 0,0 0 16,14 0-16,-14 0 0,-13 0 16,1-13-16,-15 13 0,1 0 0,0 0 15,-13 0-15,-14 0 0,1 0 16,-1 0-16,-12 0 0,12 0 15,-13 0-15,1 0 0,-1 0 0</inkml:trace>
  <inkml:trace contextRef="#ctx0" brushRef="#br0" timeOffset="182703.2">8916 4141 0,'93'-13'0,"-186"26"0,226-26 0,-54-1 16,-13 14-16,14-13 0,-14 13 0,13 0 16,14 0-16,-1-13 0,-12 13 15,12 0-15,1 0 0,-14 13 0,14-13 16,-14 0-16,1 0 0,-1 0 0,-26 0 16,13 0-16,-26 0 0,0 0 15,-1 0-15,-12 0 0,-1-13 16,-13 13-16,14 0 0,-14 0 0,-13-13 15</inkml:trace>
  <inkml:trace contextRef="#ctx0" brushRef="#br0" timeOffset="183026.95">8811 4392 0,'0'0'0,"185"-26"0,-106 26 0,14-14 15,-14 14-15,27-13 16,13 13-16,-13-13 0,-13 0 0,12 13 16,-12 0-16,13-14 0,-27 14 0,14 0 15,-14-13-15,-13 13 0,0 0 16,-13-13-16,-13 13 0,0 0 0,-14 0 15,1 0-15,-1-13 0,-13 13 0,1 0 16,-1 0-16,0 0 0,0 0 16,0 0-16,1 0 0,-1-13 15</inkml:trace>
  <inkml:trace contextRef="#ctx0" brushRef="#br1" timeOffset="197735.96">20201 12052 0,'-27'0'141,"14"-13"-126,0 13 1,0-14-16,13 1 0,-13 0 16,-1 0-1,14-1-15,-13 1 16,13 0-16,-13 13 0,13-13 0,-13-1 16,13 1-16,0 0 0,-14 0 0,1 0 15,13-1 1,-13-12-16,13 13 0,-13-1 0,13 1 15,0 0-15,-14 0 0,14 0 0,-13-1 16,13 1-16,-13-13 0,13 12 16,-13 1-16,13 0 0,0 0 0,-13 13 15,13-14-15,0 1 0,-14 0 0,14 0 16,0 0-16,-13-1 0,13 1 0,-13-13 16,13 12-16,0 1 0,-13 0 15,13 0-15,0-1 0,-14-12 0,14 13 16,0 0-16,-13-1 0,13-12 0,0 13 15,-13-1-15,13-12 16,0 13-16,0-1 0,0 1 0,0-13 16,0 13-16,0-1 0,0 1 0,0-13 15,-13 12-15,13 1 0,0-27 16,0 1-16,0 26 16,0-14-16,13 14 0,-13-14 0,0 14 15,0 0-15,0-13 0,0 12 16,0 1-16,0 0 0,0-14 0,0 14 15,0-13-15,13 12 0,-13-12 0,0 13 16,0 0-16,0-14 0,13 14 16,-13 0-16,0-14 0,0 14 0,0 0 15,14-1-15,-14 1 0,0-13 16,0 13-16,13-1 0,-13-12 16,0 13-16,13-1 0,0-12 15,-13 0-15,0 12 0,14 1 16,-14 0-16,13 0 0,0-1 0,-13 1 15,13 0-15,0 0 0,-13-1 16,14 1-16,-1-13 0,0 13 16,-13-14-16,13 14 0,1 13 0,-14-13 15,13-1-15,-13 1 0,13 0 16,0 0-16,-13-1 0,14 1 0,-14 0 16,13 13-16,-13-13 0,13 0 0,0-1 15,-13 1-15,13 0 0,1 0 16,-1 13-16,-13-14 0,13 1 15,0 0-15,1 0 0,-1-1 16,0 1-16,0 13 0,-13-13 0,14 0 16,-1 0-16,0 13 15,-13-14-15,13 14 0,-13-13 16,13 0-16,1 13 16,-14-13-1,13-1 1,0 14-1,-13-13 17</inkml:trace>
  <inkml:trace contextRef="#ctx0" brushRef="#br1" timeOffset="198085.96">20254 9869 0,'26'-13'15,"-12"13"1,-1 0-16,0 0 15,0 0-15,0 0 0,1 0 16,-1 0-16,0 0 0,0 0 0,1 0 16,-1 0-16,0 0 0,0 13 15,1 0-15,-1 0 16,-13 1-16,0-1 16,0 0-16,0 0 0,0 1 15,0-1-15,0 0 16,0 0-16,0 0 0,0 14 0,0-14 15,0 14-15,0-1 0,13 1 0,-13 12 16,13 1-16</inkml:trace>
  <inkml:trace contextRef="#ctx0" brushRef="#br1" timeOffset="200025.22">3916 3572 0,'0'0'0,"-13"-13"0,13 39 32,0 1-17,0-14-15,0 13 0,0 1 16,0 12-16,0 1 0,-14 13 0,14-13 15,0-1-15,0 1 0,0 0 0,0-14 16,0 1-16,0-14 0,-13 13 16,13 1-16,0-14 0,0 0 0,0 1 15,0-1-15,0 0 0,0 0 16</inkml:trace>
  <inkml:trace contextRef="#ctx0" brushRef="#br1" timeOffset="201517.84">3836 3453 0,'14'0'16,"-14"-13"-16,13 13 16,0 0-16,14 0 0,-14 0 0,13 0 15,1 0-15,-1 0 0,14 0 16,0 0-16,-1 0 0,14 0 0,0 0 16,-13-14-16,13 14 0,0 0 0,0 0 15,-1 0-15,1-13 0,-13 13 16,26 0-16,-13 0 0,0-13 0,0 13 15,0 0-15,13 0 0,-13 0 0,26-13 16,-26 13-16,13 0 0,1 0 16,-15 0-16,1 0 0,14 0 0,-15 0 15,1 0-15,13 0 0,-13 0 0,0 0 16,13 0-16,-13 0 16,0 0-16,-13 0 0,13 0 0,0 0 15,0 0-15,-27 0 0,14 0 0,-14-14 16,14 14-16,-14 0 0,1 0 15,-1 0-15,-12 0 0,12 0 0,-13 0 16,1 0-16,12 0 0,-13 0 0,0 0 16,1 0-16,-1 0 15,0-13-15,0 13 0,1 0 0,-1 0 16,0 0-16,0 0 0,14 0 16,-14-13-1,0 13 1,0 0-16,1 0 0,12 0 31,-13 0-31,14 0 16,-14 0-16,0 0 15,1 0-15,-1 0 16,0 0-16,0 0 0,0 0 16,1 0-16,-1 0 15,0 0-15,0 0 31,1 0-15,-1 0 15,-13 13-15,13 0-16,-13 1 16,0-1-1,0 0-15,0 0 0,0 1 16,0-1-16,0 0 0,13 0 0,-13 0 15,0 14-15,0-14 0,0 0 16,0 1-16,0 12 0,0-13 0,0 1 16,0 12-16,0 14 15,0-27-15,0 0 0,0 14 16,0-14-16,0 13 0,0-12 0,-13-1 16,13 13-16,0-13 0,0 1 0,0-1 15,0 0-15,0 14 0,0-1 16,0-13-16,0 1 15,0-1-15,0 0 0,0 0 0,0 0 16,0 1 0,0-1-16,0 0 15,-13 0-15,13 1 16,0-1 0,0 0-16,0 0 15,0 1-15,0-1 16,0 0-1,0 0 1,0 0 0,0 1-1,-13-14 1,-1 0 0,1 0-1,0 0-15,0 0 0,-1 0 16,-12 0-16,13 0 0,-27 0 0,14 0 15,-27 0-15,-13 0 0,13 13 0,-14-13 16,1 0-16,-13 0 0,0 0 16,12 0-16,1 13 0,13-13 15,0 0-15,1 0 0,12 0 0,13 0 16,-12 0-16,12 0 0,-12 0 0,12 0 16,-13 0-16,14 0 0,-14 0 15,1 0-15,12 0 0,-13 0 0,14 0 16,-14 0-16,-13 0 0,0 0 0,14 0 15,-1 0-15,14 0 0,-14 0 16,13 0-16,1 0 0,0 0 16,12 0-16,-12 0 0,-1 0 0,14 0 0,-13 0 15,12 0-15,-12 0 16,0 0-16,-1 0 0,14 0 0,-14 0 16,1 0-16,-1 0 0,1 0 0,0 0 15,-1 13-15,14-13 0,-14 0 16,1 0-16,0 0 0,-1 0 0,1 0 15,12 0-15,1 14 0,-13-14 0,12 0 16,1 0-16,0 0 0,0 0 0,0 0 16,-1 0-1,1 0-15</inkml:trace>
  <inkml:trace contextRef="#ctx0" brushRef="#br1" timeOffset="209662.26">23535 12105 0,'0'0'15,"39"0"-15,-25 0 16,12 0-16,1 0 0,12 0 15,1 0-15,13 0 0,0-14 0,-14 14 16,14 0-16,0-13 0,-13 13 0,13-13 16,-13 13-16,-1-13 0,1 13 15,-14 0-15,1-13 0,-14 13 0,14 0 16,-14 0-16,0 0 0</inkml:trace>
  <inkml:trace contextRef="#ctx0" brushRef="#br1" timeOffset="209859.78">23627 12131 0,'-13'0'0,"26"0"0,14 0 32,-1 0-32,1 0 0,-1 0 15,14 0-15,-1 0 0,14 0 0,0-13 16,-13 13-16,13 0 0,-13 0 0,-1-13 15,-12 13-15,-1 0 0,1 0 16,-1 0-16,-13 0 0,1 0 0,-1 0 16,0 13-16,0-13 0,-13 13 0</inkml:trace>
  <inkml:trace contextRef="#ctx0" brushRef="#br1" timeOffset="210243.15">24196 12726 0,'0'0'15,"40"0"-15,-14-13 0,-12 13 0,-1 0 0,0-13 16,0 13-16,14 0 16,-14-13-16,0 13 0,0 0 0,1 0 15</inkml:trace>
  <inkml:trace contextRef="#ctx0" brushRef="#br1" timeOffset="210427.02">24156 12806 0,'27'0'0,"79"-13"31,-93-1-31,13 14 0,14 0 16,0-13-16,-14 13 15,-12 0-15,-1 0 0,0 0 16</inkml:trace>
  <inkml:trace contextRef="#ctx0" brushRef="#br1" timeOffset="212058.4">3003 1244 0,'26'13'31,"-12"-13"-16,-1 13-15,13-13 0,1 0 0,-1 0 16,14 0-16,-14 0 0,27 0 0,-13 0 16,0 0-16,13-13 0,-14 13 15,1 0-15,0 0 0,-14-13 0,1 13 16,12 0-16,-25-14 0,12 14 0,0 0 16,-12 0-16,-1 0 0,13-13 15,-12 13-15,-1 0 16,0 0-16</inkml:trace>
  <inkml:trace contextRef="#ctx0" brushRef="#br1" timeOffset="-196714.62">5133 6376 0,'-13'0'0,"39"0"63,-13 0-48,1 0-15,-1 0 16,0 0-16,0 0 15,1 0-15,-1 0 0,0 0 0,0 0 16,0 0-16,1 0 0,-1 0 16,13 0-16,-12 0 0,-1 0 0,13 0 15,-12 14-15,12-14 0,-13 0 0,14 0 16,-14 0-16,0 0 0,14 0 16,-14 0-16,13 0 0,-13 0 15,14 0-15,-14 0 0,14 0 0,-1 0 16,1-14-16,-14 14 0,13 0 15,1 0-15,-1 0 0,1 0 0,-1 0 16,1 0-16,-1 0 0,0 0 0,1 0 16,-1 0-16,-12-13 0,12 13 15,0 0-15,1 0 0,-14 0 0,14 0 16,-14-13-16,13 13 0,-12 0 0,-1 0 16,0 0-16,0 0 0,0 0 15,1 0-15,-1 0 0,0 0 0,0 0 16,1 0-16,-1 0 0,0 0 0,0 0 15,1 0-15,-1 0 0,0 0 16,0-13-16,0 13 0,1 0 16,12 0-16,-13 0 0,1 0 0,-1 0 15,0 0-15,0 0 0,14 0 16,-14 0-16,0 0 0,0 0 0,14 0 16,-14 0-16,0 0 0,14 0 15,-14 0-15,14 0 0,-14 0 0,0 0 16,13 0-16,-12 0 0,12 0 15,-13 0-15,14 0 0,-14 0 0,13 0 16,-12 0-16,12 0 0,1 0 16,-14 0-16,0 0 0,14 0 0,-1 0 0,-13 0 15,14 0-15,-1 0 0,1 0 16,-14 0-16,13 0 0,1 0 16,-1 0-16,1 0 0,-14 0 0,13 0 15,1 0-15,-14 0 0,13 0 16,1 0-16,-14 0 0,14 0 0,-14 0 15,0 0-15,14 0 0,-14 0 0,0 0 16,13 0-16,-12 0 0,-1 0 16,0 0-16,0 0 0,14 0 0,-14 0 15,0 0-15,1 0 0,-1 0 16,0 0-16,0 0 0,0 13 0,1-13 16,-1 0-16,13 0 0,-12 0 15,-1 0-15,13 0 0,-12 0 0,12 0 16,0 0-16,1 0 0,-1 0 15,1 0-15,-14 0 0,14 0 0,-1 0 16,0 0-16,1 0 0,-1 0 16,-12 0-16,12 0 0,-13 0 0,14 0 15,-14 13-15,0-13 0,14 0 16,-14 0-16,0 0 0,0 0 0,1 0 16,-1 0-16,0 0 0,0 0 15,0 13-15,1-13 16,-1 0-1,0 0 1,0 0 31,-13 14-31</inkml:trace>
  <inkml:trace contextRef="#ctx0" brushRef="#br1" timeOffset="-195921.15">9697 6390 0,'53'0'31,"-27"0"-31,14 0 0,13 0 0,0 0 16,0-14-16,0 14 0,0 0 0,0 0 15,13 0-15,-13 0 0,13 0 16,-13 0-16,13 0 0,-13 0 0,-14 0 16,1 0-16,0 0 0,-14 0 15,1 0-15,-1 0 0,1 14 16,-14-14-16,0 0 0,0 0 0,1 0 15,-1 0-15</inkml:trace>
  <inkml:trace contextRef="#ctx0" brushRef="#br1" timeOffset="-193465.72">14803 6443 0,'27'13'15,"-14"0"-15,0-13 16,14 0-16,-1 0 0,1 0 0,12 0 16,14 0-16,0 0 0,0 0 15,0 0-15,13 0 0,-13 0 0,27 0 16,-1 13-16,0-13 0,1 0 16,-1 0-16,0 0 0,1 0 0,-1 14 15,-13-14-15,14 0 0,-1 0 0,0 13 16,1-13-16,-14 0 0,13 13 15,-13-13-15,-13 13 0,27-13 0,-27 0 16,13 13-16,13-13 0,-13 14 16,0-14-16,1 0 0,-14 13 0,-1-13 15,1 0-15,0 13 0,0-13 16,0 0-16,0 0 0,-13 0 0,13 0 16,-27 0-16,14 0 0,-14 0 0,1 0 15,-1 0-15,1 0 0,-1 0 16,1 0-16,-1 0 0,-13 0 0,0 13 15,14-13-15,-14 0 0,0 0 0,1 0 16,-1 0-16,0 0 16,0 0-16,1 0 15,-1 0-15,0 0 32,0 0-1,0 0 0,-13 14 32</inkml:trace>
  <inkml:trace contextRef="#ctx0" brushRef="#br1" timeOffset="-192353.58">20677 6390 0,'40'0'31,"-14"0"-15,14 0-16,13 0 0,0 0 0,0 0 15,13 0-15,0 0 0,13 0 0,1 13 16,-1-13-16,-13 0 0,14 0 16,-1 0-16,-13 0 0,0 0 0,1 0 15,-15 0-15,1 0 0,14 13 0,-15-13 16,1 0-16,0 0 0,-13 0 16,-14 0-16,14 0 0,0 0 15,-14 0-15,1 0 0,-1 0 0,1 0 16,-14 0-16,0 0 0,14 0 15,-14 0-15,0 0 0,0 0 16,0 0-16,1 0 16,-41 13 15,14-13-31,0 0 0,0 0 0,-14 14 16</inkml:trace>
  <inkml:trace contextRef="#ctx0" brushRef="#br1" timeOffset="-190245.31">1508 6932 0,'13'13'0,"14"-13"16,-14 0-16,0 0 0,1 0 0,-1 0 0,13 0 15,1 0-15,12 0 16,1 0-16,0 0 0,13 0 0,13 0 15,-13 0-15,0 0 0,13 14 0,-13-14 16,13 0-16,-13 0 0,26 0 16,0 0-16,1 0 0,-14 0 0,13 0 15,1 0-15,-1 0 0,67 0 16,-67 0-16,0-14 0,1 14 16,-14 0-16,13 0 0,-13 0 15,-13 0-15,27 0 0,-14-13 0,-13 13 0,13 0 16,0 0-16,-13 0 0,0 0 15,0-13-15,13 13 0,-13 0 16,-13 0-16,13 0 0,-1 0 0,-12 0 16,-13 0-16,12 0 0,-12 0 15,12 0-15,-12 0 0,13 13 0,-14-26 16,0 26-16,1-13 0,-1 0 0,1 0 16,-1 0-16,1 0 0,-1 0 15,1 0-15,-14 0 0,13 0 0,-12 0 16,12 0-16,0-13 0,-12 13 15,12 0-15,-13 0 0,1 0 0,12 0 16,-13 0-16,1 0 0,12 0 0,-13 0 16,0 0-16,14 0 0,-14 0 15,0-13-15,14 13 0,-1 0 16,-12 0-16,-1 0 0,0 0 16,13 0-16,-12 0 0,-1 0 0,0 0 15,0-14-15,1 14 0,12 0 16,-13 0-16,1 0 0,-1 0 0,26 0 15,-25 0-15,12 0 0,-13 0 16,1 0-16,12 0 0,-13-13 16,1 13-16,12 0 0,-13 0 0,14 0 15,-14 0-15,13 0 0,-12 0 0,12 0 16,-13 0-16,14 0 16,-14 0-16,13 0 0,-12 0 0,12 0 0,-13 0 15,14 0-15,-14 0 0,0 0 16,14 0-16,-14 0 0,0 0 15,14 0-15,-14 0 0,0 0 0,0-13 16,1 13-16,-1 0 0,0 0 0,0 0 16,0 0-16,14 0 15,-14 0 1,0 0-16,1 0 16,-1 0-1,0 0 1,0-13 15</inkml:trace>
  <inkml:trace contextRef="#ctx0" brushRef="#br1" timeOffset="-189309.16">1204 9525 0,'0'-13'0,"0"39"31,0-13-31,13 14 0,-13-14 16,0 14-16,0-1 15,0 1-15,0-1 0,0 0 0,13 14 0,-13-13 16,-13-1-16,13 0 0,0 1 16,0-1-16,0-12 0,-13 25 15,13-12-15,0-14 0,0 0 16,0 0-16,-13 1 0</inkml:trace>
  <inkml:trace contextRef="#ctx0" brushRef="#br1" timeOffset="-189029.6">1191 9591 0,'-14'0'0,"14"13"0,-13-13 16,13 14-16,-13-1 0,0 0 0,-40 80 47</inkml:trace>
  <inkml:trace contextRef="#ctx0" brushRef="#br1" timeOffset="-188806.54">1151 9538 0,'0'0'16,"26"13"-1,-26 1-15,14-14 16,-14 13-16,13 0 0,-13 0 16,13 1-16,0-1 0,-13 0 0,14 0 15,-1 1-15,-13-1 0,26 13 16,-13-13-16,-13 1 0,14-14 0,-1 13 15</inkml:trace>
  <inkml:trace contextRef="#ctx0" brushRef="#br1" timeOffset="-188602.28">1495 9710 0,'0'66'32,"0"-52"-17,0 25-15,0-26 0,0 1 16,0 12-16,0-13 0,0 1 16</inkml:trace>
  <inkml:trace contextRef="#ctx0" brushRef="#br1" timeOffset="-187879.66">1680 9710 0,'-26'0'15,"-1"40"1,27-27-16,-13 0 16,13 1-16,0-1 0,0 0 0,0 0 15,0 0-15,0 1 0,13-1 16,-13 0-16,13 0 0,1 1 16,-1-14-16,0 0 15,0 0-15,1 0 16,-1 0-16,0-14 0,0 1 15,0 0-15,-13 0 0,0-1 16,0 1-16,0 0 16,0 0-16,0-14 15,-13 14 1,13 0-16,0 39 78,0-12-78,13-1 16,-13 0-16,14-13 0,-14 13 15,13 0 1,0 1-16,-13-1 16,13-13-16,-13 13 15,14-13-15,-14 13 16,13-13-16,-13 14 15,13-1 1,0-13 0,1 0-1</inkml:trace>
  <inkml:trace contextRef="#ctx0" brushRef="#br1" timeOffset="-187618.19">1614 9525 0,'-13'0'0,"39"13"31</inkml:trace>
  <inkml:trace contextRef="#ctx0" brushRef="#br1" timeOffset="-187263.48">1984 9935 0,'-13'-26'0,"13"12"0,0 1 15,0 0-15,0 0 16,0-1-16,0 1 16,-13 0-16,13 0 15,-13 26 17,13 0-32,-14-13 0,14 13 15,0 1-15,0-1 0,0 0 16,14-13-16,-14 13 0,0 1 15,13-14-15,0 13 0,0-13 0,1 0 0,-1 0 16,0 0-16,0 0 0,1 0 16,-1 0-16,0 0 0</inkml:trace>
  <inkml:trace contextRef="#ctx0" brushRef="#br1" timeOffset="-186485.68">2302 9710 0,'-13'13'32,"-1"-13"-32,14 14 0,0-1 15,0 0-15,0 0 0,0 1 16,0 12-16,0-13 0,0 0 16,0 1-16,14-1 0,-14 0 15,0 0-15,13-13 0,-13 14 16,13-14-16,-13 13 15,13-13-15,1 0 16,-1 0-16,-13-13 0,13 13 16,-13-14-16,13 14 15,-13-13-15,13 13 0,1-13 16,-1 13-16,0 0 16,0 0-1,1 13-15,-1-13 16,-13 13-16,13 1 15,-13-1 1,13-13-16,1-13 47,-14-1-47,13 1 16,-13 0-16,13 0 0,-13-1 15,13 1-15,0 13 0,-13-13 16,14 13-16,-1 0 15,0 13 1,0-13 0,1 0-16,-1 0 15,-13-13 1,13 13 0,-13-13-16,13 26 46,-13 0-46,0 0 16,14 1 0,-1-14-1,0 0-15,0 0 16,0 0-16</inkml:trace>
  <inkml:trace contextRef="#ctx0" brushRef="#br1" timeOffset="-186100.56">3836 9565 0,'14'13'0,"-28"-26"0,28 39 16,-14-13-16,0 1 0,0-1 15,13 0-15,-13 0 0,0 14 0,0-14 16,0 27-16,0-27 16,0 0-16,0 0 0,0 1 15,0-1-15,0 0 0,0 0 0,0 0 16</inkml:trace>
  <inkml:trace contextRef="#ctx0" brushRef="#br1" timeOffset="-185880.57">3929 9551 0,'-26'27'15,"12"-27"1,1 13-16,13 0 0,-13 1 0,0-1 15,-1 13-15,14-12 0,-13-1 0,0 0 16,0 0-16,13 0 0,-13 1 16,-1-14-16,14 13 0,-13 0 15</inkml:trace>
  <inkml:trace contextRef="#ctx0" brushRef="#br1" timeOffset="-185722.66">3876 9538 0,'27'13'16,"-14"1"-1,0-1-15,0 0 0,1-13 16,-14 13-16,13 1 0,13-14 0,-13 13 16,1-13-16</inkml:trace>
  <inkml:trace contextRef="#ctx0" brushRef="#br1" timeOffset="-185237.45">4405 9525 0,'-13'13'15,"26"-26"-15,-39 26 0,26 0 0,-13 1 16,13-1-16,0 0 16,0 0-16,0 1 0,13-1 0,-13 0 15,13 14-15,-13-14 0,13 13 16,1-13-16,-1 14 0,-13-14 0,13 14 16,-13-14-16,13 0 0,-13 0 0,0 0 15,0 1-15,-13-1 16,13 0-16,-13 0 0,0-13 0,-1 14 15,1-14-15,0 13 0,-14-13 16,14 0-16,0 0 0,0 0 16,-1 0-16,1 0 0,13-13 15,-13 13-15,13-14 16,13 1-16</inkml:trace>
  <inkml:trace contextRef="#ctx0" brushRef="#br1" timeOffset="-184502.41">4538 9684 0,'13'13'47,"-13"0"-31,0 0-16,0 1 15,0-1-15,0 0 16,13 0-16,-13 1 0,13-1 15,1 0 1,-1-13 0,0-13-16,0 13 15,-13-13-15,13 13 0,-13-14 16,14 14-16,-14-13 0,0 0 16,13 13-16,-13-13 15,0-1-15,13 1 31,0 26 16,-13 1-31,14-14-16,-14 13 16,0 0-16,0 0 15,13 1-15,-13-1 16,13-13-1,0 0 32,0-13-47,-13-1 16,14 14-16,-1-13 16,0 0-1,0 13 1,1 0-1,-14 13-15,13-13 16,0 13 0,0-13 15,1 0 0,-14-13-31,13 13 16,0-13-1,0 13-15,0 0 16,-13-13-16,14 13 0,-1 0 16,0 0-16,0-14 0,1 14 0,12 0 15,-13 0-15,1-13 0</inkml:trace>
  <inkml:trace contextRef="#ctx0" brushRef="#br1" timeOffset="-183882.61">5186 9366 0,'0'0'16,"0"27"15,13-1-31,-13-13 0,13 14 0,-13-1 16,0-12-16,14 12 0,-14 0 15,13 1-15,-13-14 0,0 0 16,13 14-16,-13-1 0,0-12 16,0-1-16,13-13 0,-13 13 0,0 0 15,0-39 16,0 13-15,13-1-16,-13 1 16,14 13-16,-14-13 0,13 13 15,0 0-15,0 0 16,1 0-16,-14 13 16,0 0-1,0 14-15,-14-27 0,1 13 16,0 0-16,0 0 0,-1 1 0,1-1 15,0 0-15,0-13 0,0 13 16,-1-13-16</inkml:trace>
  <inkml:trace contextRef="#ctx0" brushRef="#br1" timeOffset="-183312.26">5464 9578 0,'0'26'47,"0"-12"-32,0-1-15,0 0 0,13-13 16,-13 13-16,13 1 15,0-14-15,1 0 32,-1 0-32,0 0 15,-13-14-15,0 1 16,13 0-16,-13 0 16,0-1-1,13 14-15,-13-13 0,27 26 47,-14 1-31,-13-1-16,0 0 15,13 0-15,-13 1 16,14-1 15,-1-26-15,-13-1-1,13 1-15,-13 0 0,13 13 16,-13-13-16,14 13 0,-14-14 16,0 1-16,13 13 0,0 0 15,-13-13-15,13 26 16,0-13 0,-13 13-16,14 1 15,-14-1 1</inkml:trace>
  <inkml:trace contextRef="#ctx0" brushRef="#br1" timeOffset="-182997.37">5847 9538 0,'0'0'15,"14"13"16,-14 1-31,0-1 16,13 0-16,-13 0 0,0 1 16,13-1-1,-13 0 1,13-26 0,0 13-16,-13-13 15,14 13-15,-14-14 0,13 1 16,0 0-16,-13 0 0,13-1 0,1 1 15,-1 13-15,0-13 0,0-13 16,0 26-16,1-14 0,-1 14 16,-13 14-1</inkml:trace>
  <inkml:trace contextRef="#ctx0" brushRef="#br1" timeOffset="-182441">2368 10411 0,'66'-13'31,"-13"0"-31,13 13 16,14-13-16,-1-1 0,14 1 0,-1 0 16,27 0-16,0 0 0,0-1 0,-26 1 15,13 13-15,-14-13 0,1 0 16,0 13-16,-1-14 0,-12 1 0,39 0 16,-66 13-16,-14 0 0,1 0 15,-14-13-15,-12 13 0,-1 0 16</inkml:trace>
  <inkml:trace contextRef="#ctx0" brushRef="#br1" timeOffset="-182190.82">2474 10557 0,'0'0'0,"26"-13"0,14 13 15,0 0-15,92-27 0,-53 14 16,1 0-16,12 0 0,14-1 16,-13 1-16,-1 0 0,1 0 15,0-14-15,-14 27 0,14-13 0,-27 0 16,13-1-16,-13 1 0,-26 13 0,0-13 16,-1 13-16,-25-13 0,12 13 15,-13 0-15,0 0 0</inkml:trace>
  <inkml:trace contextRef="#ctx0" brushRef="#br1" timeOffset="-180613.45">6257 9472 0,'-13'0'0,"13"13"16,-26 1 0,26-1-16,0 0 0,-14-13 15,14 13 1,14-13 0,12 0-1,-13-13-15,1 13 16,-1 0-16,0 0 0,0 0 15,1 0-15,-1 0 0,0 0 16,0 13-16,0-13 16,1 13-16,-1 1 15,-13-1-15,13-13 0,-13 13 16</inkml:trace>
  <inkml:trace contextRef="#ctx0" brushRef="#br1" timeOffset="-174053.67">7607 6932 0,'26'0'0,"252"-13"31,-199 13-31,1 0 16,12 0-16,1-13 0,13 13 0,-14 0 15,1-14-15,0 14 0,-14 0 0,14-13 16,-14 13-16,0 0 0,1 0 0,-27-13 16,13 13-16,-26 0 0,12 0 15,-12 0-15,-13 0 0,-1 0 0,0 0 16,-12 0-16,-1 0 0,0 0 16,0 0-16,1 0 0,-1 0 15,0 0 1</inkml:trace>
  <inkml:trace contextRef="#ctx0" brushRef="#br1" timeOffset="-172223.25">14751 6787 0,'0'0'16,"39"0"15,1 13-31,-14-13 0,27 0 0,0 0 15,0 13-15,13-13 0,0 0 16,1 13-16,12-13 0,-13 13 16,13-13-16,-12 14 0,12-14 0,-13 0 15,0 13-15,-13-13 0,0 0 0,-13 0 16,13 0-16,-27 13 0,1-13 16,-1 0-16,1 0 0,-14 0 0,13 0 15,-13 0-15,1 0 16,-1 0-16,0 0 0,0 0 15,1 0-15,-1 0 16,0-13 0,0 13 15,0-13 16,-26-1 31,0 14 16,-27 0-63,27 0-31,-13 0 0,12 0 0,-38 14 16,12-14-16,-13 13 0</inkml:trace>
  <inkml:trace contextRef="#ctx0" brushRef="#br1" timeOffset="-171030.61">7210 9353 0,'0'66'0,"0"14"16,0-67-1,0 0-15,0 13 0,0-12 16,0-1-16,0 0 0,0 0 16,0 1-16,13-1 15,-13-40 48,0 14-63,0 0 0,0 0 15,0-1-15,0 1 0,0 0 0,0-13 16,0 12-16,0 1 0,0-13 16,0 12-16,0 1 0,0 0 0,0 0 15,0-1-15,0 1 0,0 0 16,13 0-16,-13 0 15,27 13 1,-14 13 0,-13 0-16,13-13 0,0 13 15,-13 0-15,14 1 0,-1-14 16,0 13-16,0 0 0,1 0 0,-1-13 16,0 14-16,0-1 0,1-13 0,-14 13 15,13-13-15,0 0 0,0 0 16,0 0-16,1 13 0,-14-26 0,26 13 15,-13 0-15,-13-13 16,14 13-16,-14-13 0,13-1 16,-13 1-16,0 0 15,0 0-15,0-1 0,0 1 0,0 0 16,0 0-16,0-14 0,0 14 0,0 0 16,0 0-16,0-1 0,0 1 15,-13 0-15,13 0 0,0 0 16,0-1-1</inkml:trace>
  <inkml:trace contextRef="#ctx0" brushRef="#br1" timeOffset="-170722.73">7660 9181 0,'13'27'0,"-13"-14"16,0 0-16,0 0 16,0 14-16,0-14 0,13 13 15,-13-12-15,0-1 0,13 0 0,-13 0 0,14 0 16,-1 1-16,-13-1 0,13-13 16,0 13-16,1-13 0,-1 0 0,0 0 15,0 0-15,0-13 0,1 13 0,-1-13 16,0 13-16,-13-14 0,13 1 0,-13 0 15,0 0-15,0 0 16,0-1-16,0 1 0,-13 0 16,0 0-16,13-1 0,-13 1 0,-1 0 15,14 0-15,-13 13 0,0-13 16,0-1-16,13 1 0,-13 0 16,13 0-16,-14-1 0</inkml:trace>
  <inkml:trace contextRef="#ctx0" brushRef="#br1" timeOffset="-170178.62">7752 8546 0,'-79'13'15,"158"-26"-15,-211 26 0,79 0 0,0 1 0,-13 12 16,0 1-16,13-1 0,-13 1 15,26 12-15,-13 1 0,14 0 0,-1 13 16,0-14-16,14 14 0,12-13 0,-12 13 16,13 0-16,13-14 0,0 14 0,0 0 15,13 0-15,-13 13 0,26-13 16,1 0-16,-1 0 0,14 0 0,0-13 16,-1 13-16,14-14 0,0 1 15,-13 0-15,13-14 0,0 0 0,0 1 16,0-14-16,13 0 0,-13 1 15,0-14-15,0 0 0,-1 0 0,1-14 16,0 14-16,0-26 0,0 13 0,0-1 16,0-12-16,-13 0 0,13-1 15,-27 1-15,14 12 0,-14-12 0,14 0 16,-14-14-16,1 13 0,-14 1 0,13-14 16,-12 14-16,-1-14 0,0 14 15,0-14-15,-13 0 0,14 1 0,-14-1 16,0 0-16,0 1 0,-14-1 0,1 0 15,0 0-15,-14-12 16,1 12-16,0 0 0,-14 0 0,0 14 16,-13 0-16,0-1 0,14 1 0,-14 12 15,0-12-15,0 13 0,0 13 0,13-14 16,-13 1-16,14 13 0,-1 0 16,14 0-16,-27 13 0,13-13 0,13 14 15,-12-1-15,26 0 0,-14 0 0,14 1 16,13-1-16,-13 0 0,13 0 15,13 1-15</inkml:trace>
  <inkml:trace contextRef="#ctx0" brushRef="#br1" timeOffset="-169833">8837 8652 0,'0'-13'0,"-26"39"31,12 1-31,-12-1 0,13 14 15,-14-14-15,-26 67 0,27-54 16,13 1-16,-1 0 0,-12-14 0,13 14 16,-1-14-16,1 1 0,0-14 15,0 14-15,13-14 0,-13 0 0,13 0 16,0 1-16,-14-1 0,14 0 31</inkml:trace>
  <inkml:trace contextRef="#ctx0" brushRef="#br1" timeOffset="-169173.68">8387 8718 0,'80'53'32,"-41"-27"-32,-12 1 0,12-14 15,1 27-15,0-14 0,39 27 16,-52-40-16,12 14 0,-12-1 16,13-12-16,-14-1 0,14 13 15,-27-13-15,0-13 0,0 14 0,1-1 16,-1-13-16,0 13 15,0-13 1,-13 13-16,14-13 16,-1 0-1,0 14 1,-13-41 265,-13 14-265,13 0-1,-13-1-15</inkml:trace>
  <inkml:trace contextRef="#ctx0" brushRef="#br1" timeOffset="-164818.68">11298 10067 0,'0'-13'16,"0"0"62</inkml:trace>
  <inkml:trace contextRef="#ctx0" brushRef="#br1" timeOffset="-163511.4">11377 10014 0,'-13'-13'0,"26"26"0,-26-39 0,0 26 16,-1 0-16,1 0 15,0 0-15,0 0 0,-14 13 0,14-13 16,-27 13-16,14 14 0,-1-14 0,1 14 16,-14-1-16,27 1 0,-13-14 15,-1 13-15,14 1 0,0-14 0,13 13 16,-14-12-16,14 12 0,-13-13 0,13 1 15,0-1-15,0 0 0,0 0 16,0 0-16,0 1 0,0-1 0,13 0 16,1-13-16,-14 13 0,13 1 0,0-14 15,0 0-15,1 13 0,-1-13 0,13 0 16,-13 0-16,14-13 16,-1 13-16,1-14 0,-14 14 0,14-13 15,-1 0-15,0 13 0,1-13 0,-14-1 16,14 1-16,-1-13 15,-13 13-15,1 13 0,-14-14 16,13 1-16,-13 0 0,13 13 0,-13-13 0,13-1 16,-13 1-1,-13 40 17,13-14-32,0 0 0,-13 0 15,13 1-15,0-1 0,13 0 16,-13 0-16,0 0 15,13 1-15,0-14 0,1 13 16,-1-13 0,0 0-16,0 0 0,-13-13 0,14 13 15,-14-14-15,13 14 0,-13-13 0,13 0 16,-13 0-16,0 0 0,0-1 16,0 1-16,0 0 15,0 0-15,-13-1 16,0 14-1,-1 0 17,41 14-1,-14-14-31,0 0 16,1 13-16,-1-13 15,-13 13-15,13-13 16,-13 13-16,13-13 0,-13 14 15,0-1-15,0 0 16,0 0 0,13-13 15,1-13-15,-1 13-16,0-13 15,0 13-15,1 0 16,-1 0-16,0 0 15,0 0-15,1 0 16,-1 0-16,13 0 16,-13 0-16,-13-13 0,14 13 15</inkml:trace>
  <inkml:trace contextRef="#ctx0" brushRef="#br1" timeOffset="-162365.55">12025 9922 0,'-39'40'31,"25"-27"-31,14 13 0,-13 1 0,0 12 16,0 1-16,13-13 0,-14 12 15,14-12-15,0 12 0,-13 1 0,13-13 16,13-1-16,-13 0 0,0 1 0,0-1 15,0-12-15,0 12 16,14-13-16,-14 14 0,0-14 0,0 0 16,0 0-16,0 1 0,-14-1 15,14 0 1,-13-26 0,0 13-16,13-13 0,-13-1 15,13 1-15,0 0 16,0 0-16,0 0 0,0-1 15,13 1-15,-13 0 0,13 0 0,0-1 16,-13 1-16,14 0 0,-1 0 16,13-1-16,-12 14 0,-1-13 0,0 0 15,0 0-15,1 13 0,-1 0 16,-13-13-16,13 13 16,0 13-1,0-13-15,-13 13 0,0 0 16,0 0-16,14 1 15,-14-1-15,13 0 16,-13 0-16,13-13 16,0 0-16,1 0 0,-1 0 15,0-13-15,0 0 16,1 13-16,-14-13 0,13-1 16,-13 1-16,0 0 0,13 0 15,-13 0-15,-13-1 16,13 1-16,0 0 15,-13 13-15,13-13 0,-14 13 16,1 0-16,0 0 16,0 13-16,-1 0 31,14 0-31,14-13 16,-14 14-1,13-14-15,0 0 16,0 0-16,1 0 15,-1 0-15,-13-14 16,13 14-16,0 0 16,0-13-1,1 13 1,-1 13 0,0 1 15,-13-1-31,13-13 15,-13 13-15,14-13 32,-14 13-17,13-26 1,0 13 0,0-13-1,0 13 1,1 0-16,-14-13 15,13 13 1,0 13 0,0 0 15,1-13-15,-14 13-1,13-13 1,0 0-1,0 0 1,1-13-16,-1 13 16,0-13-1,0 13 1</inkml:trace>
  <inkml:trace contextRef="#ctx0" brushRef="#br1" timeOffset="-161834.53">12925 10014 0,'-13'0'0,"13"14"15,-14-1-15,1 0 0,13 0 0,-13 54 32,13-54-32,0 0 0,0 0 15,0 0-15,0 1 0,0-1 0,0 0 16,0 0 0,-13-26 15,-14 13-31,14-13 15,0 13-15,0 0 0,-1 13 0,1-13 16,0 0-16,0 0 0,-1 13 16,-12-13-16,13 14 0,13-1 0,-13-13 15,-1 13-15,14 0 0,0 1 16,14-14-16,-1 0 16,0 0-16,0 0 0,0 0 15,14 0-15,-14 0 0,14-14 16,-14 14-16,13 0 0,-12 0 0,12-13 15,-13 13-15,0 0 0,1 0 0,-1 0 16,0 0-16,0 0 16,1 0-16,-1 0 0,-13 13 15,13-13-15,-13 14 16,0-1 0,0 0-1</inkml:trace>
  <inkml:trace contextRef="#ctx0" brushRef="#br1" timeOffset="-161217.75">13123 10213 0,'14'-13'0,"-14"26"31,0 0-31,0 0 31,13 1-31,13-14 63,-13-14-63,1 14 15,-1 0 1,-13-13-16,13 13 0,0 0 16,-13 13-16,14-13 15,-14 14-15,0-1 16,13-13-16,-13 13 0,-13 0 0,13 1 16,0-1-16,-14 0 0,14 0 0,-13 0 15,0 1-15,0-1 0,13 0 16,-14 0-16,1 1 0,0-1 15,0-13-15,26-27 32,-13 14-32,0 0 15,13 0-15,0-14 0,1 1 0,-1-1 16,13 1-16,1-1 0,-1 14 0,-12-13 16,12 12-16,-13 14 0</inkml:trace>
  <inkml:trace contextRef="#ctx0" brushRef="#br1" timeOffset="-161099.53">13573 10134 0,'0'-14'15,"0"1"1,-13 13 0,13-13-16</inkml:trace>
  <inkml:trace contextRef="#ctx0" brushRef="#br1" timeOffset="-159397.37">9935 7554 0,'27'13'32,"-1"-13"-32,0 0 0,1-13 15,26 13-15,0 0 0,13 0 0,13 0 16,1-13-16,-1 13 0,0 0 15,14 0-15,-14 0 0,1-14 0,-1 14 16,1 0-16,-1 0 0,-13 0 0,-13 0 16,13 0-16,-13 0 0,-13 0 15,-14 0-15,14 0 0,-14 0 16,1 0-16,-14 0 0,13 14 0,-12-14 16,-1 0-16,0 0 0,0 0 0,1 0 15,-1 0-15,0 0 16,0 0-1</inkml:trace>
  <inkml:trace contextRef="#ctx0" brushRef="#br1" timeOffset="-158487.6">13481 7594 0,'-14'0'0,"28"0"0,12 0 47,0-14-47,1 14 0,26 0 15,0 0-15,0 0 0,26-13 0,-13 13 16,14 0-16,-1-13 0,-13 13 0,13 0 16,1-13-16,-1 13 0,1-14 0,-1 14 15,0 0-15,-13 0 0,14-13 16,-27 13-16,0 0 0,-14 0 16,1 0-16,-14 0 0,1 0 0,-1 0 15,-12 0-15,-1 0 0,0 0 16,0 0-16,1 0 0,-1 0 0,0 0 15,0 0-15,0 0 32,-13 13-32,14-13 15,-14 14-15,13-14 0,-13 13 16,13-13-16</inkml:trace>
  <inkml:trace contextRef="#ctx0" brushRef="#br1" timeOffset="-157833.72">16603 7594 0,'26'0'15,"-13"0"-15,14-14 0,-14 14 16,27 0-16,-1 0 0,14-13 0,0 13 16,0 0-16,0 0 0,13-13 15,-13 13-15,13 0 0,-13 0 0,0 0 16,0-13-16,0 13 0,0 0 0,0 0 16,-14 0-16,1 0 0,-13-14 15,-1 14-15,-13 0 0,14 0 16,-14 0-16,0 0 0,0 0 0,1 0 15,-1 0-15,0 0 16,0 0 0,1 0-16,-1 0 15,0 0 1,-13 14-16,13-14 16,0 13-16,1-13 15,-1 0-15</inkml:trace>
  <inkml:trace contextRef="#ctx0" brushRef="#br1" timeOffset="-157070.29">19209 7607 0,'13'0'16,"0"0"-16,0-13 0,1 13 0,-1 0 16,13 0-16,14 0 0,0-14 15,13 14-15,0 0 0,26 0 16,0 0-16,1 0 0,-1 0 0,0 0 16,1 0-16,-14 0 0,0 0 0,0 0 15,-13 0-15,0 0 0,0 0 16,-13 0-16,-14 0 0,1 0 0,-1 0 15,-13 0-15,14 0 0,-14 0 0,0 0 16,0 0-16,1 0 16,-1 0-1,-13-13 17,26 26-17,-12-13-15,-1 0 0,0 0 16,0 0-16</inkml:trace>
  <inkml:trace contextRef="#ctx0" brushRef="#br1" timeOffset="-156539.65">22053 7501 0,'26'13'16,"-12"-13"-16,-1 0 0,13 0 0,1 0 16,-14 0-16,27 0 0,-14 0 0,14 0 0,-14 0 15,14 0-15,0 0 0,-14 0 16,1 0-16,-1 0 0,1 0 16,-1 0-16,-13 0 0,0 0 0,1 0 15,-1 0-15,0 0 0,0 0 16,-39-13-1,-1 0-15,-12 13 0,-14-14 16</inkml:trace>
  <inkml:trace contextRef="#ctx0" brushRef="#br1" timeOffset="-155480.39">1191 8083 0,'198'0'31,"-145"0"-31,13 0 0,0 0 0,27 0 16,-14 0-16,14 0 0,-1 0 15,-12 0-15,26 0 0,-14 0 0,1 0 16,-1 0-16,1 0 0,0 0 0,-14 13 16,14-13-16,-14 0 0,0 0 0,-26 0 15,13 0-15,-13 0 0,14 0 16,-15 0-16,-12 0 0,0 0 16,0 13-16,-14-13 0,0 0 0,1 0 15,-14 0-15,0 0 0,14 0 16,-14 0-16,0 0 0,0 0 15,1 0-15,-1 0 16,0 0 15</inkml:trace>
  <inkml:trace contextRef="#ctx0" brushRef="#br1" timeOffset="-154315.05">5106 8083 0,'40'0'0,"119"0"31,-106 0-31,0 0 0,13 0 16,-13 0-16,26 0 0,1 13 0,-1-13 15,0 0-15,1 0 0,-1 0 16,-13 0-16,0 0 0,-13 0 0,0 0 16,0 0-16,-13 0 0,-1 0 15,-12 0-15,-1 0 0,1 0 0,-14 0 16,14 0-16,-14 0 0,0 0 15,0 0-15,0 0 0,1 0 16,-1 0-16,0 0 16,0-13-16,1 13 47,-14 13-16</inkml:trace>
  <inkml:trace contextRef="#ctx0" brushRef="#br1" timeOffset="-153539.15">7382 7646 0,'0'0'0,"0"27"0,0-14 16,-13 0-16,13 14 0,0 13 0,-14-1 15,14 1-15,0 0 0,-13-1 16,13 1-16,0 0 0,0-14 16,0 14-16,0-14 0,-13 1 0,26-14 15,-13 13-15,0-12 0,0-1 16,0 0-16,0 0 0,0 1 0,0-1 15</inkml:trace>
  <inkml:trace contextRef="#ctx0" brushRef="#br1" timeOffset="-151696.72">7183 7607 0,'14'-13'0,"78"13"31,-65 0-31,12 0 16,-12 0-16,13 0 0,-14 0 0,27-14 15,0 14-15,0 0 0,0 0 0,0 0 16,0 0-16,13 0 0,-13 0 15,0 0-15,-1 14 0,15-14 0,-15 0 16,1-14-16,14 14 0,-15 0 16,15 0-16,-1 0 0,-13 0 15,0 0-15,13 0 0,-13 0 0,0 0 16,-14 0-16,14 0 0,0 0 0,0 0 16,-13 0-16,13 0 0,-14 0 15,14-13-15,0 13 0,-13 0 0,13 0 16,-27 0-16,27-13 0,-26 13 15,12 0-15,-12 0 0,-1 0 0,14 0 16,-14 0-16,1 0 0,-1 0 16,1-13-16,-1 13 0,14 0 0,-14 0 15,1 0-15,12 0 0,-12 0 0,-1 0 16,14 0-16,-14 0 0,14-14 16,-13 14-16,12 0 0,-12 0 0,12 0 15,1 0-15,0 0 0,0 0 0,-14-13 16,14 13-16,-14 0 0,27 0 15,-13 0-15,-14 0 0,27 0 0,-13 0 16,0 0-16,-1 0 0,-12 0 0,26 0 16,-14 0-16,1 0 0,0 0 15,-14 0-15,14 13 0,-1-13 0,1 0 16,-13 0-16,12 0 0,1 0 0,0 0 16,-1 14-16,14-14 0,-13 0 15,-14 0-15,14 0 0,-13 0 16,12 0-16,1 0 0,-14 0 0,14 0 15,-13 0-15,12 0 0,-12 0 16,-1 0-16,14 0 0,-14 0 0,1 0 16,-1 0-16,1 0 0,-1 0 0,1 0 15,-1 13-15,14-13 0,-14 0 16,1 0-16,-1 0 0,1 0 0,12 0 16,-12 0-16,-1 0 0,1 0 0,-1 0 15,1 0-15,-14 0 0,13 0 16,1 0-16,-1 0 0,-13 0 0,14 13 15,-1-13-15,-12 0 0,12 0 16,-13 0-16,14 0 0,-14 0 16,13 0-16,-12 0 0,12 0 0,-13 13 15,14-13-15,-14 0 0,0 0 0,14 0 16,-14 0-16,0 0 0,14 0 16,-1 0-16,-13 0 15,0 0-15,1 0 0,-1 0 16,0 0-16,0 0 31,1 0-31,-14 14 16,13-1-16,-13 0 15,0 0-15,0 0 0,0 1 16,13-1-16,-13 0 0,0 14 16,0-14-16,0 13 0,0-12 0,0 12 15,0-13-15,0 14 0,0-14 16,0 13-16,0-12 0,0-1 0,0 13 15,0-12-15,13-1 0,-13 0 0,0 0 16,0 0-16,0 1 0,14-1 16,-14 0-16,0 0 0,0 1 0,13-14 15,-13 13-15,0 0 0,0 0 16,0 0 0,0 1-16,0-1 15,-13-13 1,-1 0-1,1 0-15,0 13 0,0-13 16,-1 0-16,-12 0 0,13 0 0,-14 0 16,1 0-16,-1 0 0,1 0 0,-14 0 15,-13 0-15,0 0 0,14 0 16,-14 0-16,-13 0 0,13 0 0,0 0 16,-13 0-16,13 13 0,-13-13 0,13 0 15,-13 0-15,13 0 16,-27 0-16,14 14 0,-13-14 0,26 0 0,-13 0 15,-1 0-15,1 0 0,13 0 16,-26 13-16,13-13 0,-13 0 16,12 0-16,1 13 0,0-13 0,13 0 15,-13 13-15,13-13 0,0 0 0,0 0 16,0 14-16,0-14 0,14 0 16,-14 0-16,0 13 0,0-13 0,0 0 15,0 0-15,13 0 0,-12 13 0,-1-13 16,13 0-16,-13 0 0,13 13 0,1-13 15,-1 0-15,0 0 16,1 13-16,-1-13 0,0 0 0,14 0 16,-14 0-16,0 0 0,14 0 0,-14 0 15,14 0-15,-14 14 0,14-14 16,-14 0-16,14 0 0,-1 0 0,1 0 16,-1 0-16,1 0 0,-1 0 0,1 0 15,-1 0-15,1 0 0,-1 0 16,1 0-16,-1 0 0,1 0 0,0 0 15,-1 0-15,14 0 0,-14 0 0,1 0 16,-1 0-16,1 0 0,0 0 16,-1 0-16,1 0 0,-1-14 0,1 14 15,-1 0-15,1 0 0,-1 0 0,-12 0 16,12 14-16,1-14 0,-14-14 16,14 28-16,-1-14 0,-13 0 15,14 0-15,0 0 0,-1 0 0,1 0 16,-1 0-16,1 0 0,-1 0 0,1-14 15,-1 14-15,1 0 0,-1 0 16,1 0-16,13 0 0,-14 0 16,-26 0-16,27 0 0,13 0 0,-14-13 15,14 13-15,0 0 0,0 0 16,-14 0-16,14 0 0,0 0 0,-1 0 16,1 0-16,0 0 0,0 0 0,-1 0 15,1 0-15,0 0 0,0 0 16,0 0-16,-14 0 0,14 0 0,0 0 15,-14 0-15,1 0 0,12 0 0,-12 0 16,13 0-16,-14 0 0,14 0 16,0 0-16,0 0 0,-1 0 15,1 0-15,0 0 0,0 0 0,-1 13 16,1-13-16,0 0 0,0 0 16,0 14-1</inkml:trace>
</inkml:ink>
</file>

<file path=ppt/ink/ink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3.655"/>
    </inkml:context>
    <inkml:brush xml:id="br0">
      <inkml:brushProperty name="width" value="0.025" units="cm"/>
      <inkml:brushProperty name="height" value="0.025" units="cm"/>
      <inkml:brushProperty name="ignorePressure" value="1"/>
    </inkml:brush>
  </inkml:definitions>
  <inkml:trace contextRef="#ctx0" brushRef="#br0">152 16,'-5'-1,"0"0,0 0,0 0,-1 1,1 0,0 0,0 0,-1 0,1 1,0 0,0 0,0 1,0-1,0 1,0 0,0 1,-6 3,8-5,-1 1,1-1,0 1,0 0,0 0,0 0,0 0,1 1,-1-1,1 1,-1-1,1 1,0 0,0 0,0 0,0 0,1 0,-1 1,1-1,0 0,0 1,0-1,0 1,1-1,-1 1,1 3,1-5,0 0,0 0,0 0,0 0,0-1,0 1,0 0,1-1,-1 1,0-1,1 1,0-1,-1 0,1 0,0 0,0 0,-1 0,1 0,0 0,0 0,2 0,51 11,-33-8,-14-2,-1 0,0 0,0 1,0 0,0 0,0 0,-1 1,1 0,-1 0,10 10,-14-12,-1 0,1 0,-1 0,0 1,1-1,-1 0,0 1,0-1,-1 1,1-1,0 1,-1-1,1 1,-1-1,0 1,0 0,0-1,0 1,-1-1,1 1,-1 0,1-1,-1 1,0-1,0 0,0 1,0-1,-1 0,1 1,-1-1,1 0,-1 0,-3 3,1 0,-1-1,1 0,-1 0,0 0,0-1,0 1,0-1,0-1,-7 4,11-6,0 1,0-1,-1 1,1-1,0 0,0 1,0-1,0 0,0 0,0 0,-1 0,1 0,0 0,0 0,0 0,0 0,0 0,-1-1,1 1,0 0,0-1,0 1,0-1,0 1,0-1,0 0,0 1,0-1,1 0,-1 0,0 0,0 0,1 1,-1-1,0 0,1 0,-1 0,1 0,-1-1,1 1,-1 0,1 0,0 0,0 0,0 0,-1 0,1-1,0 1,1 0,-1 0,0 0,0 0,1-3,1-4,0 1,1-1,0 0,0 1,1-1,0 1,1 0,-1 0,1 1,0-1,11-9,-7 6,-1 1,0-1,-1 0,0-1,10-21,-16 29,-1 1,1-1,0 0,-1 0,1 0,-1 0,0 0,0 0,0 0,-1 0,1 0,-1 0,0 0,1 0,-1 1,0-1,-1 0,1 0,0 1,-1-1,0 1,1-1,-1 1,0 0,0 0,0 0,-1 0,1 0,-3-2,-1 1,1-1,-1 1,0 0,-1 1,1-1,0 1,-9-1,6 0,-8-1</inkml:trace>
</inkml:ink>
</file>

<file path=ppt/ink/ink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4.549"/>
    </inkml:context>
    <inkml:brush xml:id="br0">
      <inkml:brushProperty name="width" value="0.025" units="cm"/>
      <inkml:brushProperty name="height" value="0.025" units="cm"/>
      <inkml:brushProperty name="ignorePressure" value="1"/>
    </inkml:brush>
  </inkml:definitions>
  <inkml:trace contextRef="#ctx0" brushRef="#br0">9 4,'0'-3,"0"5,0 9,0 6,0 4,0 1,0 0,0 0,0-1,0 0,0-1,-3-4,-1-1,3 1,2-4</inkml:trace>
</inkml:ink>
</file>

<file path=ppt/ink/ink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5.049"/>
    </inkml:context>
    <inkml:brush xml:id="br0">
      <inkml:brushProperty name="width" value="0.025" units="cm"/>
      <inkml:brushProperty name="height" value="0.025" units="cm"/>
      <inkml:brushProperty name="ignorePressure" value="1"/>
    </inkml:brush>
  </inkml:definitions>
  <inkml:trace contextRef="#ctx0" brushRef="#br0">0 1,'7'0,"5"0,7 0,4 0,1 0,0 0,-1 0,2 0,1 0,2 0,-1 0,2 0,0 0,-3 0,-4 0</inkml:trace>
</inkml:ink>
</file>

<file path=ppt/ink/ink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5.764"/>
    </inkml:context>
    <inkml:brush xml:id="br0">
      <inkml:brushProperty name="width" value="0.025" units="cm"/>
      <inkml:brushProperty name="height" value="0.025" units="cm"/>
      <inkml:brushProperty name="ignorePressure" value="1"/>
    </inkml:brush>
  </inkml:definitions>
  <inkml:trace contextRef="#ctx0" brushRef="#br0">59 0,'-3'5,"0"0,0 0,1 0,-1 1,1-1,1 1,-1-1,1 1,0 0,0-1,0 1,1 0,0 0,1 9,-3 28,-9 11,-11 70,20-109</inkml:trace>
</inkml:ink>
</file>

<file path=ppt/ink/ink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6.253"/>
    </inkml:context>
    <inkml:brush xml:id="br0">
      <inkml:brushProperty name="width" value="0.025" units="cm"/>
      <inkml:brushProperty name="height" value="0.025" units="cm"/>
      <inkml:brushProperty name="ignorePressure" value="1"/>
    </inkml:brush>
  </inkml:definitions>
  <inkml:trace contextRef="#ctx0" brushRef="#br0">1 78,'52'-3,"76"-13,2 0,260-25,-372 40</inkml:trace>
</inkml:ink>
</file>

<file path=ppt/ink/ink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7.484"/>
    </inkml:context>
    <inkml:brush xml:id="br0">
      <inkml:brushProperty name="width" value="0.025" units="cm"/>
      <inkml:brushProperty name="height" value="0.025" units="cm"/>
      <inkml:brushProperty name="ignorePressure" value="1"/>
    </inkml:brush>
  </inkml:definitions>
  <inkml:trace contextRef="#ctx0" brushRef="#br0">261 35,'1'-1,"0"-1,0 1,0 0,0-1,0 1,1 0,-1 0,0 0,1 0,-1 0,1 0,-1 0,1 0,0 1,-1-1,1 0,0 1,-1 0,1-1,0 1,0 0,-1 0,4 0,21-8,-28 3,-10 3,-12 1,10 4,-1 0,0 0,1 2,0 0,0 0,1 2,-1-1,1 2,1 0,-1 0,-20 20,32-27,1-1,-1 1,1 0,-1-1,1 1,0 0,-1 0,1-1,0 1,0 0,0 0,0 0,-1 0,1-1,0 1,0 0,1 0,-1 0,0-1,0 1,0 0,0 0,1 0,-1-1,0 1,1 0,-1 0,1-1,-1 1,1 0,-1-1,1 1,-1-1,1 1,0 0,-1-1,1 1,0-1,-1 0,2 1,38 22,-23-15,-15-7,0 0,0 0,0 1,0-1,-1 0,1 0,0 1,-1-1,0 1,1 0,-1-1,0 1,0 0,1 0,-1 0,-1 0,1-1,0 2,0-1,-1 0,1 0,-1 0,0 3,0-3,-1 0,0 1,0-1,0 0,0 0,0 0,0 0,0 0,-1 0,1 0,-1 0,0-1,1 1,-1-1,0 1,0-1,-3 2,-5 3,-1 0,1-1,-2 0,1-1,0 0,-1-1,-13 2,-21-2,25-2</inkml:trace>
</inkml:ink>
</file>

<file path=ppt/ink/ink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8.112"/>
    </inkml:context>
    <inkml:brush xml:id="br0">
      <inkml:brushProperty name="width" value="0.025" units="cm"/>
      <inkml:brushProperty name="height" value="0.025" units="cm"/>
      <inkml:brushProperty name="ignorePressure" value="1"/>
    </inkml:brush>
  </inkml:definitions>
  <inkml:trace contextRef="#ctx0" brushRef="#br0">78 37,'-1'-1,"1"1,-1 0,1-1,-1 1,1 0,-1-1,1 1,-1 0,1 0,-1-1,1 1,-1 0,1 0,-1 0,0 0,1 0,-1 0,1 0,-1 0,1 0,-1 0,0 0,1 0,-1 0,1 1,-1-1,1 0,-1 0,1 0,-1 1,1-1,-1 0,1 1,-1-1,1 1,-1-1,1 0,0 1,-1 0,-24 14,23-13,-1 0,1 1,-1-1,1 1,0-1,0 1,0 0,0-1,0 1,1 0,-1 0,1 0,0 1,0-1,0 0,0 0,0 1,1-1,0 0,-1 1,1-1,0 0,1 1,-1-1,1 1,-1-1,1 0,0 0,0 0,1 1,-1-1,1 0,-1 0,1-1,3 5,-2-3,0 0,0 0,0-1,1 0,-1 1,1-1,0-1,0 1,0 0,0-1,0 0,1 0,-1 0,1-1,-1 1,1-1,0 0,-1-1,1 1,0-1,0 0,-1 0,1 0,0 0,5-2,-6 1,-1 0,1 0,-1 0,0-1,1 1,-1-1,0 0,0 0,0 0,0 0,-1 0,1-1,-1 1,1-1,-1 1,0-1,0 0,0 0,0 0,0 0,-1-1,0 1,1 0,-1-1,0 1,0-6,0 4,-1 0,0 0,-1 0,1 1,-1-1,0 0,0 0,-1 1,1-1,-1 0,0 1,0 0,-1-1,1 1,-1 0,0 0,0 0,-6-5,3 4,-1-1,0 2,0-1,0 1,0 0,-1 0,1 1,-1 0,0 1,0 0,-10-2,0 1</inkml:trace>
</inkml:ink>
</file>

<file path=ppt/ink/ink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0.105"/>
    </inkml:context>
    <inkml:brush xml:id="br0">
      <inkml:brushProperty name="width" value="0.025" units="cm"/>
      <inkml:brushProperty name="height" value="0.025" units="cm"/>
      <inkml:brushProperty name="ignorePressure" value="1"/>
    </inkml:brush>
  </inkml:definitions>
  <inkml:trace contextRef="#ctx0" brushRef="#br0">211 0,'-2'1,"-1"0,0 1,1-1,0 1,-1 0,1-1,0 1,0 0,0 0,0 0,0 1,-3 3,-4 5,-24 19,0 0,-58 68,90-97,0 1,0-1,0 0,0 1,0-1,0 1,0-1,0 1,1-1,-1 1,1-1,-1 1,1 0,-1-1,1 1,0 0,0-1,0 1,0 0,0-1,0 1,1 2,0-3,0 1,0-1,0 0,0 0,0 0,1 1,-1-1,0 0,0 0,1-1,-1 1,1 0,-1 0,1-1,-1 1,1-1,0 1,2-1,11 2,0 0,0-1,30-3,-33 2,103 0,44-3,-142 0,-5-1</inkml:trace>
</inkml:ink>
</file>

<file path=ppt/ink/ink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0.891"/>
    </inkml:context>
    <inkml:brush xml:id="br0">
      <inkml:brushProperty name="width" value="0.025" units="cm"/>
      <inkml:brushProperty name="height" value="0.025" units="cm"/>
      <inkml:brushProperty name="ignorePressure" value="1"/>
    </inkml:brush>
  </inkml:definitions>
  <inkml:trace contextRef="#ctx0" brushRef="#br0">32 0,'0'3,"0"5,0 4,0 3,0 2,0 3,0 0,0 0,-3 0,-1 0,-1 0,2 0,0-1,2 1,-3-4,-1-1,1-3</inkml:trace>
</inkml:ink>
</file>

<file path=ppt/ink/ink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2.637"/>
    </inkml:context>
    <inkml:brush xml:id="br0">
      <inkml:brushProperty name="width" value="0.025" units="cm"/>
      <inkml:brushProperty name="height" value="0.025" units="cm"/>
      <inkml:brushProperty name="ignorePressure" value="1"/>
    </inkml:brush>
  </inkml:definitions>
  <inkml:trace contextRef="#ctx0" brushRef="#br0">1 0,'3'7,"1"5,1 4,-2 3,-4-2,-2-1,0 0,0 2,0-4</inkml:trace>
</inkml:ink>
</file>

<file path=ppt/ink/ink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17:13.742"/>
    </inkml:context>
    <inkml:brush xml:id="br0">
      <inkml:brushProperty name="width" value="0.05292" units="cm"/>
      <inkml:brushProperty name="height" value="0.05292" units="cm"/>
      <inkml:brushProperty name="color" value="#0070C0"/>
    </inkml:brush>
  </inkml:definitions>
  <inkml:trace contextRef="#ctx0" brushRef="#br0">7011 4273 0,'-39'0'32,"26"0"-17,39 0 16,0 0-31,1 0 16,-1 13-16,27-13 0,0 0 0,0 0 16,0 0-16,0 0 0,0 0 15,13 0-15,-13 0 0,26 0 0,-13 0 16,14 0-16,-1-13 0,-13 13 0,14 0 16,-27 0-16,13 0 0,13-13 15,-13 13-15,0 0 0,-13 0 16,14 0-16,-15 0 0,15 0 0,-15 0 0,1 0 15,-13 0-15,0 0 0,-1 0 16,-12 0-16,13 0 0,-14 0 0,-13 0 16,14 0-16,-1 0 0,-13 0 15,1 0-15,-1 0 0,0 0 16,0 0-16,1 0 0,-1 0 16,0 0-16,0 0 0,1 0 15,-1 0 1,0 0 15,0 0 0,0-13 16</inkml:trace>
  <inkml:trace contextRef="#ctx0" brushRef="#br0" timeOffset="2526.44">10821 4247 0,'27'0'16,"-14"0"-16,14 0 15,-1 0-15,1 0 0,12 0 16,14 0-16,0 0 0,0 0 0,13 0 16,0 0-16,14 0 0,-1 0 0,0-14 15,1 14-15,-14 0 0,13 0 16,-13 0-16,-13 0 0,0 0 0,0 0 16,0 0-16,-13 0 0,-14 0 0,1 0 15,-1 0-15,1 0 0,-14 0 16,13 0-16,-12 0 0,-1 0 0,0 14 15,0-14-15,0 0 16,1 0 0,-1-14-16,0 14 15,0 0 17,1 0-17,-1 0 32,-26-13 547,-1 13-579,1-13-15,0 13 0</inkml:trace>
  <inkml:trace contextRef="#ctx0" brushRef="#br0" timeOffset="3671.96">8678 3810 0,'0'-26'15,"0"12"-15,14 1 0,-14 0 16,0 0-16,13-80 15,-13 67 1,0-1-16,0 1 0,13-1 0,-13 14 16,0 0-16,0-14 0,0 14 15,0 0-15,13 0 0,-13-1 0,0 1 16,0 0-16,0 0 31</inkml:trace>
  <inkml:trace contextRef="#ctx0" brushRef="#br0" timeOffset="3927.91">8758 3387 0,'-14'0'31,"1"0"-15,0 0-16,0 13 15,0 0-15,-1-13 0,1 13 16,0 1-16,0-1 0,-14 0 16,14-13-16,0 13 0,-1 0 0,1 1 15,0-1-15,0 0 0,0 0 16,-1-13-16,14 14 15,-13-14-15,13 13 0</inkml:trace>
  <inkml:trace contextRef="#ctx0" brushRef="#br0" timeOffset="4170.96">8652 3413 0,'13'0'0,"-26"0"0,39 0 16,-12 0 0,-1 0-16,-13 13 0,13-13 15,0 14-15,0-1 0,1-13 16,-1 13-16,0 0 0,0 0 0,1-13 16,-1 14-16,0-1 0,0-13 0,1 13 15,-1 0-15,0-13 0,-13 14 0,13-14 16,0 0-16,-13 13 0,14-13 15,-1 13-15,0 0 16,0 1-16,1-14 0</inkml:trace>
  <inkml:trace contextRef="#ctx0" brushRef="#br0" timeOffset="4904.1">11562 3770 0,'0'14'15,"14"-28"17,-14 1-17,0 0-15,0 0 0,0-1 16,13-12-16,-13 13 0,0-1 0,0-12 15,13 0-15,-13-1 0,0 1 16,0 12-16,13-12 0,-13-1 16,0 14-16,0 0 0,13 0 0,-13 0 15,0-1-15,0 1 0,0 0 0,0 0 16,14-1 0,-14 1-1</inkml:trace>
  <inkml:trace contextRef="#ctx0" brushRef="#br0" timeOffset="5206.75">11708 3347 0,'-13'-13'16,"-1"13"-16,1 13 16,0-13-16,0 13 15,-1-13-15,1 13 0,0 1 16,0-1-16,0 0 16,-1 0-16,1-13 0,13 14 0,-13-1 15,0 0-15,-1 0 0,1-13 16,13 13-16,-13 1 0,0-14 0,13 13 15,-14-13-15,14 13 0,-13 0 16,0-13 0</inkml:trace>
  <inkml:trace contextRef="#ctx0" brushRef="#br0" timeOffset="5520.22">11589 3360 0,'13'0'0,"0"13"16,0-13-1,1 14-15,-1-14 0,0 13 16,0 0-16,1-13 0,-1 13 0,0-13 15,0 14-15,-13-1 16,14-13-16,-1 13 0,0 0 0,13 0 16,-12-13-16,-1 14 15,0-14-15,-13 13 16,13-13-16,1 13 16,-1 0 15</inkml:trace>
  <inkml:trace contextRef="#ctx0" brushRef="#br0" timeOffset="16192.84">8705 3281 0,'0'13'15,"0"-39"63,0 12-78,13 14 0,-13-13 16,0 0-16,13 0 16,-13-1-16,13 1 15,-13 0-15,14 13 0,-14-13 0,13 0 16,-13-1-16,13 14 0,-13-13 0,13 0 15,1 13-15,-1-13 0,0-1 16,0 14-16,1-13 0,-1 0 16,13 13-16,-13 0 0,1-13 0,-1 13 15,0 0-15,0 0 0,1-14 16,-1 14-16,0 0 0,14 0 0,-14 0 16,0 0-16,0 0 0,0 0 0,1 0 15,-1 0-15,0 0 0,0 0 16,1 14-16,-1-14 0,0 0 15,0 0-15,1 0 0,-1 13 0,0-13 16,0 0-16,0 0 0,1 13 0,-1-13 16,0 0-16,0 13 15,1-13-15,-1 0 0,0 14 16,0-14-16,0 0 16,1 0-16,-1 13 15,0-13-15,0 0 0,1 0 16,-1 0-16,0 13 0,0-13 15,1 0-15,-1 0 16,0 0-16,0 0 0,0 0 16,1 0-16,-1 0 15,0 0-15,0 0 16,1 0-16,-1 0 0,0 0 16,14 0-16,-27-13 15,13 13-15,0 0 0,0-13 16,0 13-16,-13-14 15,14 14-15,-14-13 0,13 0 16,-13 0 0,13-1-16,-13 1 15,13 0 17,-13 0-17,14 13 32,-1 13-31,0-13-16,0 0 15,0 13-15,1-13 16,-1 0-16,0 0 0,0 13 16,1-13-16,-1 0 0,0 0 0,0 14 15,14-14-15,-14 0 16,0 0-16,0 0 0,1 0 0,-1 13 15,0-13-15,14 0 0,-14 0 0,0 0 16,0 0-16,14 0 0,-14 0 16,0 0-16,0 0 0,14 0 0,-14 0 15,14 0-15,-14 0 0,13 0 0,-12 0 16,12 0-16,-13 0 0,0 0 16,14-13-16,-14 13 0,14 0 0,-1 0 15,-13 0-15,14-14 0,-14 14 0,13 0 16,-12-13-16,12 13 0,-13 0 15,14-13-15,-1 13 0,-13 0 16,14-13-16,-14 13 0,14 0 0,-14 0 16,13-13-16,-12 13 0,12-14 15,-13 14-15,14 0 0,-1-13 0,-13 13 16,14-13-16,-1 13 0,-12 0 0,12-13 16,0 13-16,-12 0 0,12-14 15,1 14-15,-14 0 0,13-13 0,-13 13 16,14 0-16,-1 0 0,-12-13 0,12 13 15,1 0-15,-14 0 0,13-13 16,-13 13-16,14 0 0,-1 0 0,-12 0 16,12 0-16,-13 0 0,1 0 0,12 0 15,-13 0-15,14 0 0,-14 0 16,13 0-16,-12 0 0,12 13 16,1-13-16,-14 0 0,13 0 0,-13 13 15,1-13-15,12 13 0,-13 1 0,1-14 16,-1 13-16,0-13 0,0 13 15,1 0-15,-1 1 0,0-1 16,-13 0-16,13-13 0,-13 13 0,13 0 16,1 1-16,-14-1 15,13 0-15,-13 0 16,13-13-16,-13 14 0,13-1 31,1 0 0,-41 0 16</inkml:trace>
  <inkml:trace contextRef="#ctx0" brushRef="#br0" timeOffset="22522.08">2064 4696 0,'39'14'0,"-25"-14"0,-1 0 0,0 0 16,0 0-16,14 0 0,-1 0 15,1 0-15,-1 0 0,1 0 0,-1 0 16,1 0-16,12 0 0,-12 0 16,-1 0-16,-13 0 0,14 0 0,-1 13 15,-12-13-15,-1 0 0,0 0 16,0 0-16,0 0 0,1 0 15,-41 0 1,14 13 0,0-13-16,-14 0 0,1 0 0,-1 13 15,-12-13-15,12 0 0,1 13 16,-14-13-16,27 0 0,-14 0 0,14 0 16,-13 0-16,12 0 0,1 0 0,0 0 15,53 0 16,-27 0-31,13 0 0,1 0 16,13-13-16,-14 13 0,14 0 0,-14 0 16,1 0-16,12 0 0,-25-13 0,12 13 15,0 0-15,-12 0 0,-1 0 16,0 0-16,0 0 0,1 0 0,-67 0 47,26 0-47,1 0 0,13 0 15,-14 0-15,-13 13 0,27-13 0,-13 0 16,12 0-16,-12 0 0,13 0 16,0 0-16,39-13 31,0 13-31,1 0 16,-1 0-16,1-13 0,-1 13 0,14 0 15,-14 0-15,1 0 0,-1 0 0,-12 0 16,12-13-16,-13 13 15,1 0-15,-1 0 0,0 0 0,0 0 16,-66 0 15,40 0-31,-13 13 0,-1-13 0,1 0 16,-1 0-16,1 0 0,13 0 0,-14 0 16,14 0-16,0 0 0,-1 0 15,54 0 1,-27 0-1,14-13-15,-1 13 0,14 0 16,-14-14-16,1 14 0,-1 0 0,1 0 16,-14 0-16,13 0 0,-12-13 0,-1 13 15,0 0-15,-53 0 47,27 0-47,13-13 0,-13 13 16,0 0-16,0 0 0,-1 0 0,1 0 15</inkml:trace>
  <inkml:trace contextRef="#ctx0" brushRef="#br0" timeOffset="23234.08">2315 4233 0,'13'-13'15,"1"13"-15,25 0 16,80 0-1,-92 0-15,-1 0 0,14 0 16,-14 0-16,14 0 0,-13 13 0,-14-13 16,13 0-16,1 0 0,-14 0 15,0 0-15,0 0 0,1 0 0,-1 0 16,0 0-16,-39 14 31,-1-14-31,1 0 0,-1 0 16,1 13-16,-14-13 0,14 0 0,-14 0 15,-13 0-15,27 0 0,-14 0 16,13 0-16,14 0 0,-13 0 0,12 0 16,-12 0-16,13 0 0,0 0 15,52 0 1,-26 0 0,14 0-16,-1 0 0,1-13 15,13 13-15,-14 0 0,0 0 0,1 0 16,-1 0-16,1 0 0,-14-14 15,0 14-15,1 0 0,-1 0 0,0 0 16,-39 14 0,12-14-16,-12 13 15,13-13-15,-14 0 0,1 0 0,-1 13 16,14-13-16,0 0 0,-14 0 16,14 0-16,0 0 0</inkml:trace>
  <inkml:trace contextRef="#ctx0" brushRef="#br0" timeOffset="23854.12">3321 4286 0,'13'13'16,"-13"1"-1,0-1-15,13 0 0,-13 0 16,0 14-16,0-14 0,0 0 15,0 1-15,0-1 0,0 0 16,0 0-16,13-13 0,-13 13 0,0 1 16,0-1-16,13-13 15,1-13 1,-14-1 0,0 1-16,0 0 0,0 0 15,0 0-15,0-1 16,0 1-16,0 0 0,-14 53 47,14-14-47,0-13 0,0 0 15,0 1-15,0-1 0,0 13 0,-13-12 16,13-1-16,0 0 0,0 0 16,0 1-16</inkml:trace>
  <inkml:trace contextRef="#ctx0" brushRef="#br0" timeOffset="24610.99">1852 4445 0,'0'0'0,"-13"0"16,0 0-1,13 13-15,0 0 0,-14-13 16,14 14-16,0-1 0,0 0 16,0 0-16,0 1 0,0-1 0,0 0 15,0 0-15,14 1 0,-14-1 16,0 0-16,0 0 16,0 0-1,0-39 1,0 13-16,0 0 15,-14-1-15,14-12 0,0 13 16,-13-1-16,13 1 0,0 0 0,-13 0 16,13-1-16,0 1 0,-13 0 0,13 0 15,-14 13 1</inkml:trace>
  <inkml:trace contextRef="#ctx0" brushRef="#br0" timeOffset="26563.4">7633 4789 0,'-13'0'31,"53"-13"-15,-14 13-16,-13 0 15,27 0-15,-13 0 0,12 0 0,1 0 0,0 0 16,-1 0-16,-12-14 0,12 14 16,-12 0-16,13 0 0,-14 0 15,0 0-15,1 0 0,-14 0 0,14 0 16,-14 0-16,0 0 0,0 0 0,1 0 15,-1 0-15,-40 14 32,14-14-32</inkml:trace>
  <inkml:trace contextRef="#ctx0" brushRef="#br0" timeOffset="26856.09">7567 4895 0,'-26'0'0,"52"0"0,-66 0 0,67 0 31,-14 0-31,14 0 16,-1 0-16,0 0 0,27-13 0,-13 13 15,13 0-15,0-14 0,-13 1 0,13 13 16,-14-13-16,1 13 0,0 0 16,-14-13-16,0 13 0,1 0 0,-14 0 15,14-14-15,-14 14 0,0 0 0,0 0 16,1 0-16,-1 0 15,0-13-15</inkml:trace>
  <inkml:trace contextRef="#ctx0" brushRef="#br0" timeOffset="31814.12">16259 4736 0,'26'0'0,"-13"0"16,1 0-16,-1 0 0,13 0 0,-13-13 16,14 13-16,-1 0 0,1 0 15,-1 0-15,1 0 0,12 0 0,-12 0 16,-14 0-16,14 0 0,-1 0 0,-13 0 16,1 0-16,-1 0 0,0 0 15,0 0-15,-39 13 31,13-13-31,-1 0 16,-12 0-16,-1 13 0,1-13 0,-1 0 16,1 0-16,-14 13 0,14-13 0,-1 0 15,1 0-15,-1 14 0,14-14 16,0 0-16,0 0 0,0 0 0,-1 13 16,41-13 15,-14 0-31,13 0 0,-12 0 0,12 0 15,-13 0-15,14-13 0,-1 13 0,-12 0 16,-1 0-16,0 0 0,0 0 16,0 0-16,1-14 0</inkml:trace>
  <inkml:trace contextRef="#ctx0" brushRef="#br0" timeOffset="32314.94">16140 4405 0,'0'0'0,"-14"27"31,14-14-31,0 0 16,0 14-16,0-1 0,0-13 16,-13 14-16,13-1 0,0 1 0,0-14 15,0 13-15,0 1 0,0-14 0,0 14 16,0-14-16,0 0 0,0 0 15,0 0-15,0 1 0,0-1 16</inkml:trace>
  <inkml:trace contextRef="#ctx0" brushRef="#br0" timeOffset="32964.08">16192 4313 0,'0'0'0,"27"-14"0,-14 14 15,0-13-15,1 13 0,12 0 16,-13 0-16,14 0 0,-1 0 0,1-13 15,-1 13-15,14 0 0,0 0 0,-1-13 16,1 13-16,0 0 0,-14 0 16,14-13-16,-14 13 0,1 0 0,12 0 15,-12-14-15,-14 14 0,14 0 0,-1 0 16,-13-13-16,0 13 0,1 0 16,-1 0-16,0 0 0,0 0 15,1 0-15,-1 0 16,0 0-1,0 13 1,-13 1 0,0-1-16,0 0 15,0 0-15,0 0 0,0 14 0,0-14 16,0 14-16,0-1 0,0 1 0,0-1 16,13 0-16,-13 1 0,0-1 15,0 1-15,14-1 0,-14 1 0,13-1 16,-13-13-16,0 14 0,13-1 15,-13-12-15,0-1 0,0 13 0,0-13 16,0 1-16,0-1 0,0 0 16,0 0-16,0 1 0,0-1 15,-13-13-15,13 13 16,-13-13-16,-1 13 0,1-13 16,0 0-16,0 0 0,0 14 0,-1-14 15,-12 0-15,-1 0 0,1 0 16,0 13-16,-27-13 0,13 0 0,0 13 15,-13-13-15,14 0 0,-1 0 0,0 13 16,1-13-16,12 0 0,1 13 0,-1-13 16,14 0-16,-14 0 0,14 14 15,0-14-15,0 0 0</inkml:trace>
  <inkml:trace contextRef="#ctx0" brushRef="#br0" timeOffset="34602.94">17449 4776 0,'13'0'16,"1"0"-16,-1 0 0,0 0 15,0 0-15,14-14 0,-1 14 0,14 0 16,0 0-16,13 0 0,0 0 15,-14 0-15,14 0 0,0 0 16,0 0-16,0-13 0,0 13 0,13 0 16,-13 0-16,26 0 0,-26-13 0,13 13 15,-13 0-15,0 0 0,-13 0 16,13 0-16,0 0 0,-14-13 0,-12 13 16,12 0-16,-12 0 0,-1 0 0,1 0 15,-14 0-15,14 0 16,-14 0-16,0 0 0,0 0 0,0 0 0,1 0 15,-54 13 17,27-13-17,0 0-15,-14 0 0,14 0 0,-14 0 16,1 0-16,-1 0 0,-12 0 16,12 13-16,1-13 0,-14 0 0,14 0 15,13 0-15,-14 0 0,14 0 0,-14 0 16,14 0-16,0 0 0,0 0 15,52 0 17,-12 0-32,-14 0 0,14 0 15,-1 0-15,14 0 0,-14 0 16,1 0-16,12 0 0,-12-13 0,-1 13 0,14 0 16,-14 0-16,-12 0 15,12 0-15,0 0 0,-12 0 16,-1 0-16,0 0 0,0 0 0,1 0 0,-1 0 15,0 0-15,0 0 16</inkml:trace>
  <inkml:trace contextRef="#ctx0" brushRef="#br0" timeOffset="36603.83">24117 4802 0</inkml:trace>
  <inkml:trace contextRef="#ctx0" brushRef="#br0" timeOffset="38219.35">952 5212 0,'0'0'0,"40"0"0,-13 0 0,-1-13 16,1 13-16,-1 0 0,27 0 16,0 0-16,0-13 0,0 13 15,0 0-15,0-13 0,-1 13 0,1 0 16,-13-14-16,13 14 0,-13 0 16,-14 0-16,1 0 0,-14 0 0,13 0 15,-13 0-15,1 0 0,-1 0 0,-13 14 16,-13-1-1,-14-13-15,14 0 16,-13 13-16,-14 0 0,0-13 0,-13 14 16,14-14-16,-14 0 0,0 13 15,0-13-15,0 13 0,0-13 0,13 0 16,1 0-16,-1 13 0,13-13 0,1 0 16,13 0-16,-14 0 15,14 0-15,0 0 0,39-13 31,1 13-31,-1 0 0,14-13 16,0 13-16,13-13 0,-1 13 16,1-14-16,-13 14 0,13-13 0,-13 13 15,-1-13-15,-12 13 0,-1 0 0,1-13 16,-1 13-16,-13 0 0,14 0 16,-14-14-16,0 14 0,1 0 0,-1 0 15,0 0-15,0 0 16,-39 0 46,13 0-62,-1 0 16,1 0-16</inkml:trace>
  <inkml:trace contextRef="#ctx0" brushRef="#br0" timeOffset="40335.85">19936 1124 0,'14'0'32,"-14"-13"15,-14 0 15,1 13-15,0 13-31,0-13-16,13 13 15,-14-13-15,14 14 0,-13-14 0,13 13 16,-13 0-16,13 0 0,0 1 15,0-1 1,0 0-16,13-13 0,0 13 16,1-13-16,-1 0 15,0 0-15,0 14 0,1-14 16,-1 0-16,0 0 0,0 0 0,0 0 16,1 13-16,-1-13 0,0 13 15,0-13-15,-13 13 16,0 0-16,14-13 0,-14 14 0,0-1 15,13-13-15,-13 13 0,0 0 16,0 1-16,13-1 16,-13 0-16</inkml:trace>
  <inkml:trace contextRef="#ctx0" brushRef="#br0" timeOffset="40695.67">20267 1124 0,'-26'14'16,"26"-1"-16,0 0 16,0 0-16,0 1 0,0-1 15,0 0-15,-14 0 0,14 1 16,0-1-16,0 0 0,0-39 47,0 12-47,0 1 15,0-13-15,0 12 0,14-12 0,-14 13 16,0-1-16,0-12 0,13 13 16,0 0-16,-13-1 0,13 14 15,-13-13-15,14 13 0,12 13 16,-13-13-16,-13 14 0,13-14 15,1 13-15,-14 0 0,13 0 0,0 0 16,-13 1-16,13-1 0,-13 0 0,0 0 16,14 1-16,-14-1 0,0 0 15</inkml:trace>
  <inkml:trace contextRef="#ctx0" brushRef="#br0" timeOffset="40899.8">20214 1217 0,'13'-13'47,"1"0"-47,-1 13 0,0 0 16,0-14-16,1 14 0,12 0 0,-13-13 15,14 13-15,-14 0 0,13-13 16,-12 13-16,12-13 0,-13 13 0,14 0 15,-1 0-15</inkml:trace>
  <inkml:trace contextRef="#ctx0" brushRef="#br0" timeOffset="41534.01">22423 900 0,'0'0'16,"-66"52"15,53-38-31,0-1 16,13 0-16,-13 14 0,-1-1 15,14-13-15,0 1 0,0-1 16,14 0-16,-1-13 15,0 0-15,0 0 0,1 0 16,-1-13-16,0 13 0,13-13 0,-12-1 16,-1 14-16,13 0 0,-12-13 0,-1 13 15,0 0-15,0 0 0,0-13 16,1 26-16,-1-13 16,0 0-16,-13 13 0,13-13 0,-13 14 0,14-1 15,-14 0-15,13 0 16,-13 0-16,13 1 15,-13-1-15,13-13 16</inkml:trace>
  <inkml:trace contextRef="#ctx0" brushRef="#br0" timeOffset="41791.75">22834 860 0,'0'-13'31,"0"39"-15,0-13-16,0 1 15,0-1-15,0 13 0,0-13 0,0 1 16,0-1-16,0 13 0,0-12 0,0-1 16,-14 13-16,14-12 0,0-1 0,0 0 15,0 0-15,0 0 16,14 1-16,-14-1 15,13-13-15</inkml:trace>
  <inkml:trace contextRef="#ctx0" brushRef="#br0" timeOffset="42362.97">22794 926 0,'13'-13'16,"0"0"-1,1 13-15,-1 0 16,13 0-16,-13 0 16,1 13-16,-1 0 15,-13 0-15,0 0 16,0 1 0,0-1-16,0 0 15,0 0-15,13-13 16,-13 14-16,13-1 0,-13 0 15,14-13-15,-14 13 0,13 1 0,-13-1 16,0 0 0,0 0-16,-13 0 0,13 1 15,-14-14-15,14 13 0,-13 0 0,0 0 16,0 1-16,-1-14 0,1 13 16,0 0-16,-13-13 0,12 0 0,-12 13 15</inkml:trace>
  <inkml:trace contextRef="#ctx0" brushRef="#br0" timeOffset="43324.16">19222 913 0,'-13'0'15,"13"13"-15,0 0 32,0 0-1,0-52 16,0 26-32,0-1-15,0 1 0,0 0 16,-13 13-16,39 13 31,-13-13-15,-13 13-16,13-13 0,-13 14 15,14-14-15,-1 13 0,0-13 16,-13 13-16,13-13 0,1 13 16,-1-13-16,0 0 15,0-13 1,-13 0-16,0 0 16,0-1-16,0 1 0,0 0 15,0 0-15,-13-1 16,13 1-16,0 0 15,0 0-15,0 0 0,13-1 32,1 14-17</inkml:trace>
  <inkml:trace contextRef="#ctx0" brushRef="#br0" timeOffset="43590.15">19407 754 0,'0'0'15,"13"0"1,-13 13-16,0 1 15,0-1-15,14-13 0,-14 13 0,0 0 16,0 0-16,13-13 0,-13 14 0,13-1 16,0 0-16,1-13 15,-1 13-15,0-13 0,0 0 16,0 0-16,1 0 16,-1 0-16,0-13 15,-13 0 1,-13 0-16,13-1 0,-13 1 15,13 0-15,-14 13 16,1-13-16,13 0 0,-13 13 16,0 0-16,0 13 15,-1-13-15,14 13 16</inkml:trace>
  <inkml:trace contextRef="#ctx0" brushRef="#br0" timeOffset="45503.05">19870 688 0,'0'0'0,"-13"0"0,0 0 16,0 13 0,-1-13-16,14 13 0,-13-13 0,13 14 15,-13-1-15,13 0 0,-13-13 16,13 13-16,0 1 15,-14-1-15,28 0 16,-1-13 0,0-13-1,0 13-15,1-13 0,-1 13 16,-13-14 0,13 1-16,0 26 31,-13 1-16,13-14-15,-13 13 16,14-13-16,-1 0 16,0 0-16,0 0 15,1-13 1,-1-1-16,-13 1 0,13 13 16,-13-13-16,0 0 0,13-14 0,-13 14 15,0 0-15,0-14 0,0 14 16,0-13-16,0 12 0,0 1 0,0 0 15,0 0-15,0-1 0,0 1 0,0 0 16,-13 39 15,13-12-31,0-1 0,0 0 16,0 0-16,0 14 16,0-14-16,0 0 0,0 0 0,0 1 15,13-1-15,-13 0 0,0 0 0,13 1 16,-13-1-16,14-13 0,-14 13 0,26-13 15,-13 0 1,1 0-16,-1 0 16,-13-13-16,13 13 0,-13-13 15,13-1 1,-13 41 31,0-14-32,14 0 1,-1-26 0,0 13-16,0 0 15,0-13-15,1 13 0,-1-13 16,-13-1-16,13 14 0,-13-13 16,13 0-16,-13 0 15,0-1 1,0 1-1,-13 40 48,13-14-47,0 0-1,13-13-15,-13 13 16,0 1-1,14-14-15,12 0 16,-13 0 0,-13-14-16,14 14 15,-14-13-15,13 0 16,-13 0-16,0-1 16,0 1-16,0 0 15,0 0 1,0 0-1,-13 13-15,13-14 16,-14 14 0,1 0-16,0 0 47,0 0-32,26 14 32,0-14-47,0 0 16,1 0-16,-1 0 15,0 0-15,-13-14 16,13 14-16,-13-13 16,13 13-16,1-13 0,-14 0 15,0-1-15,13 14 0,-13-13 16,0 0-1,0 0-15,13 13 16,-13 26 15,0-13-31,0 1 16,0-1-16,0 0 0,0 0 16,13 1-16,-13-1 0,0 0 15,0 0 1,14-13-1,-1 0-15,0 0 16,0 0 0,1 0-1,-1 13-15,0-13 16,0 0-16,0 0 0,1 0 16,-1 0-16,0 0 0,0 0 15,1 14-15,-1-14 0,0 0 16</inkml:trace>
  <inkml:trace contextRef="#ctx0" brushRef="#br0" timeOffset="47758.28">22503 476 0,'0'0'0,"-13"-13"0,-1 13 31,1 0-15,13 13-16,-13-13 0,13 13 16,-13-13-16,13 14 0,-14-1 15,14 0-15,0 0 0,0 1 16,0-1-16,14 0 16,-1-13-1,0 0-15,0-13 16,1 13-16,-1-13 15,-13-1-15,13 14 16,-13-13-16,13 13 16,-13-13-16,13 26 31,1 0-31,-1 1 16,0-14-1,-13 13-15,13-13 16,1 0-16,-1 0 0,0-13 15,0 13-15,-13-14 16,14 1-16,-14 0 0,13 0 16,-13-1-16,0 1 0,0-13 0,13 13 15,-13-1-15,0 1 0,0 0 0,0 0 16,0-1-16,0 1 16,0 0-16,-13 39 31,13-12-16,0-1-15,0 0 0,13 0 0,-13 1 16,0-1-16,13-13 0,-13 13 0,0 0 16,13 0-16,1-13 0,-14 14 15,13-14-15,0 0 0,0 13 0,1-13 16,-1 0-16,0-13 0,0 13 0,1 0 16,-1-14-16,0 1 15,0 13-15,0-13 0,1 0 16,-14 0-16,13 13 15,-13-14-15,-13 41 47,13-14-47,0 0 16,0 0-16,13 1 16,0-14-1,0 0-15,1 0 0,12 0 16,-13-14-1,1 14-15,-1-13 0,0 13 16,0-13-16,0 13 0,-13-13 16,14 13-1,-14-13-15,13 13 16,0 0 31,-13 13-32,13-13 1,1 0 0,12 0-16,-13-13 31,-13-1-15,0 1-16,-13 13 15,13-13-15,-13 13 0,13-13 16,-13 13-16,-1 0 0,-12-14 15,13 14-15,-1 14 16,41-14 31,-14 0-47,0-14 16,1 14-16,-1 0 15,-13-13-15,13 13 0,0-13 0,1 0 16,-1 0-16,0 13 0,-13-14 15,13 1-15,0 0 16,1 26 0,-14 0-1,13 1-15,-13-1 16,0 0-16,0 0 0,13 0 16,-13 1-16,0-1 0,13 0 15,-13 0 1,14 1-1,-1-28 1,0 14 15,0 0-31,0 0 16,1 0-16,-1 0 16,0 0-16,0 0 15,1 0-15,-1-13 0,0 13 0,0-13 16,1 13-16,-1 0 0,-13-13 15,13 13-15,-13-14 16,13 1-16,-26 13 31,-13 0-15,26 13 0,-14 1-1,28-1 1,-1-13-1,0 0 1,0 0 0,0 0-16,1 0 0,-1-13 15,0 13-15,0 0 0,-13-14 16,14 14-16,-14-13 0,13 13 16,0-13-16,0 0 0,-13 0 15,14-1-15,-1-12 0,-13 13 0,13-1 16,-13 1-16,13 0 0,-13 0 15,13-1-15,-13 1 16,14 40 0,-14-14-1,0 0-15,0 0 16,0 1-16,0-1 0,0 0 0,0 0 16,13 1-16,-13-1 0,0 0 0,0 0 15,13 0-15,0-13 16</inkml:trace>
  <inkml:trace contextRef="#ctx0" brushRef="#br0" timeOffset="47894.98">23945 370 0,'0'0'0,"13"0"16,-39-13 15,12 26-15</inkml:trace>
  <inkml:trace contextRef="#ctx0" brushRef="#br0" timeOffset="49594.86">20254 1733 0,'0'26'0,"0"-12"0,13-1 0</inkml:trace>
  <inkml:trace contextRef="#ctx0" brushRef="#br0" timeOffset="49754.51">20386 2077 0,'-13'40'31,"13"-27"-15</inkml:trace>
  <inkml:trace contextRef="#ctx0" brushRef="#br0" timeOffset="49907.32">20413 2328 0,'13'14'16,"-13"-1"-16,0 0 15,0 0-15,0 0 16,0 1-16,0-1 0,0 0 0,13 0 15,-13 1-15,0-1 0</inkml:trace>
  <inkml:trace contextRef="#ctx0" brushRef="#br0" timeOffset="50758.75">19751 2527 0,'0'0'0,"-26"-66"31,26 52-31,-14 1 0,14 0 16,-13 0-16,13-1 0,0 1 0,-13 0 15,13 0-15,0 0 0,-13-1 0,13 1 16,-13 0-16,13 0 16,-14-1-16,1 14 31</inkml:trace>
  <inkml:trace contextRef="#ctx0" brushRef="#br0" timeOffset="51007.14">19659 2236 0,'-14'13'31,"1"0"-31,0 0 16,13 1-16,-13-1 0,13 0 16,-14-13-16,14 13 0,0 1 15,-13-14-15,13 13 0,0 0 16,-13-13-16</inkml:trace>
  <inkml:trace contextRef="#ctx0" brushRef="#br0" timeOffset="51582.89">19659 2249 0,'52'13'31,"-38"0"-31,-1-13 16,0 14-16,0-14 0,1 0 0,-1 0 16,0 0-16,0 13 0,1-13 0,-1 0 15,0 0-15,0 0 0,0 0 16</inkml:trace>
  <inkml:trace contextRef="#ctx0" brushRef="#br0" timeOffset="52680.91">23521 1640 0,'14'0'16,"-14"14"15,0-1-31,0 0 16,0 0-16,0 14 0,0-14 0,0 0 15,13 14-15,-13-14 0,0 0 16,0 14-16,0-14 0,0 0 15,0 0-15,0 1 0,0-1 0,0 0 16,0 0-16,0 0 16,0 1-16</inkml:trace>
  <inkml:trace contextRef="#ctx0" brushRef="#br0" timeOffset="53203.39">23482 1852 0,'0'0'16,"-13"-13"-1,26 39 17,0-12-17,-13-1-15,13 0 16,-13 0-16,0 0 16,13 1-16,-13-1 0,0 0 15,14 0-15,-14 1 16,13-14-16,-13 13 0,13 0 15,0-13 1,14 0 0,-27-13-1,13 13-15,0-13 16,1-1-16,-1 14 0,-13-13 16,13 13-16,0-13 0,-13 0 15,13 13-15,-13-14 16,14 14-16,-1-13 15</inkml:trace>
  <inkml:trace contextRef="#ctx0" brushRef="#br0" timeOffset="54119.06">22807 1442 0,'53'-26'0,"-106"52"0,132-52 0,-52 12 0,13 14 15,-1-13-15,1 0 0,0 0 16,-1 13-16,1-14 0,-13 14 0,-14 0 16,0 0-16,0 0 0,0 0 0</inkml:trace>
  <inkml:trace contextRef="#ctx0" brushRef="#br0" timeOffset="54286.15">22781 1495 0,'0'0'0,"-27"13"16,14-13-16,53 0 31,-27 0-31,13-13 16,1 13-16,26-13 0,-14 13 0,1-14 15,13 1-15,0 0 0,-13 0 16,13 0-16</inkml:trace>
  <inkml:trace contextRef="#ctx0" brushRef="#br0" timeOffset="54956">19976 1521 0,'66'-26'15,"-53"26"-15,14-13 16,13-1-16,-1 1 0,1 13 0,0-13 16,13 0-16,-14 0 0,-12 13 0,-1-14 15,1 14-15,-1 0 0</inkml:trace>
  <inkml:trace contextRef="#ctx0" brushRef="#br0" timeOffset="55198.53">20016 1548 0,'26'0'32,"-13"-13"-32,1 13 0,-1 0 15,13-14-15,1 14 0,-1-13 16,1 13-16,-1 0 0,-13-13 15,14 13-15,-1-13 0,-12 13 0,-1 0 16,0-14-16,0 14 0,0 0 16,1 0-16,-14-13 0,13 13 0</inkml:trace>
  <inkml:trace contextRef="#ctx0" brushRef="#br0" timeOffset="56427.63">19526 1098 0,'212'-40'15,"-172"27"-15,13 13 16,13-26-16,0 12 0,0 1 0,0 0 16,0 0-16,-13 13 0,13-14 15,0 14-15,-13-13 0,-13 0 16,13 0-16,-13 0 0,-1-1 0,1 1 15,0 13-15,-1-13 0,1 0 0,-13-1 16,-1-12-16,-13 13 0,14 0 0,-1-1 16,-13-12-16,1 13 0,-1-1 15,0-12-15,0 13 0,1-14 0,-14 1 16,13 13-16,-13-1 0,0-12 0,0-1 16,-13 14-16,13-13 0,-14-1 15,1 14-15,0-13 0,-14-1 0,1 1 16,13-1-16,-14 1 0,-12 13 0,-1-14 15,0 1-15,1 12 16,-14-12-16,-14 13 0,15-1 0,-1 1 16,0 0-16,0 0 0,0 13 0,0-13 15,-13 13-15,13 0 0,-27 13 0,14-13 16,-13 13-16,13 0 0,0 0 16,0 14-16,-1-14 0,1 14 0,0-1 15,0 1-15,0-1 0,13 0 0,-13 1 16,13 13-16,0-14 0,0 0 15,13 14-15,1-13 0,-1 12 0,13 1 16,1-14-16,13 1 0,-14 13 0,14-14 16,13 1-16,-13-1 0,13-13 15,0 14-15,0-1 0,13-13 16,0 14-16,1-1 0,12-13 0,0 14 16,14-14-16,0 14 0,13-14 0,-14 0 15,14 0-15,-13-13 0,13 14 16,0-14-16,0 0 0,0 13 0,0-13 15,0 0-15,-1-13 0,15 13 0,-14 0 16,-1-14-16,1 1 0</inkml:trace>
  <inkml:trace contextRef="#ctx0" brushRef="#br0" timeOffset="57455.47">22503 79 0,'-53'14'0,"106"-28"16,-133 41-16,67-14 0,0 0 0,-13 1 16,-1 12-16,14 0 0,-14-12 0,1 12 15,13-13-15,-1 1 0,1 12 0,13-13 16,-13 14-16,13-14 15,-13 0-15,26 14 0,-13-14 0,13 40 16,27-14-16,-14-12 16,1-1-16,13 1 0,-14-14 15,27 14-15,-13-14 0,-1 13 0,14-13 16,13 1-16,40 12 0,-40-26 16,0 13-16,-13-13 0,14 0 15,-1 0-15,79 0 0,-65-13 16,-14 13-16,13-13 0,-13 13 0,-13-13 15,0-1-15,-13 14 0,13-13 16,0 0-16,-14 13 0,1-13 0,0 0 16,-1-14-16,14 14 0,-26 0 15,12-1-15,1-12 0,-13 13 16,12-1-16,-12 1 0,12 0 0,-25 0 16,12 0-16,-13-1 0,14 1 0,-14 0 15,0 13-15,0-13 0,-13-1 16,14 1-16,-14 0 0,13 0 15,-26 0-15,13-1 0,0 1 0,-14-13 16,1 12-16,-13-12 0,-1-1 16,1 1-16,-14 0 0,0-1 0,1 1 15,-14-1-15,-13 1 0,13 12 0</inkml:trace>
  <inkml:trace contextRef="#ctx0" brushRef="#br0" timeOffset="57542.18">22873 26 0,'0'0'0,"-79"14"0,39-1 0</inkml:trace>
  <inkml:trace contextRef="#ctx0" brushRef="#br0" timeOffset="59438.14">23667 2831 0,'13'0'0,"-13"93"32,-13-67-32,13-13 0,0 14 15,0-14-15,0 13 0,0-12 16,0-1-16,0 0 0,0 0 0,0 1 16,0-1-16,0 0 0,0 0 15,13 1-15,0-1 16,1-13-16,-14 13 0,13-13 15,0 0-15,0 0 0,1 0 16,-1 0-16,0 0 0,0 0 16,0-13-16,1 13 0</inkml:trace>
  <inkml:trace contextRef="#ctx0" brushRef="#br0" timeOffset="59882.96">23786 3043 0,'13'-14'16,"0"14"-16,1 0 0,-14-13 15,13 13-15,0 0 0,0 0 16,1-13-16,-1 13 0,0 0 16,-13-13-16,13 13 0,-13-13 15,-13-1 1,13 1-16,-13 13 0,0-13 15,-1 13-15,1-13 16,0 13-16,0-14 0,-1 14 0,14-13 16,-13 13-16,0-13 15,39 0 1,-12 13-16,-1 0 16,0 0-16,0 0 0,14 0 0,-1 0 15,1-13-15,-14 13 0,13 0 16,-12 0-16,-1 0 0,13 0 0,-12 0 15,-1 0-15,0 0 0,-13 13 16,13-13-16,-13 13 16,0 0-16,0 0 15,-13 1-15,13 12 0,0-13 0,-13 1 16,0 12-16,13-13 0,-14 14 16,14-14-16,-13 0 0,0 0 0,13 1 15,-13-14-15,13 13 0,0 0 16,-14-13-16</inkml:trace>
  <inkml:trace contextRef="#ctx0" brushRef="#br0" timeOffset="60034.56">23958 3149 0,'0'0'0,"-13"-14"0,13 1 16,0 0-16,13 13 15,0 0 1,0 0 0,1 0-1,-1 0-15,0 0 0,0 0 16,1 0-16,-1 0 0,0 0 15,0 0-15,1 0 0,12-13 0,-13 13 16</inkml:trace>
  <inkml:trace contextRef="#ctx0" brushRef="#br0" timeOffset="60491.04">24315 2844 0,'0'0'16,"0"-26"-16,0 13 0,0-1 0,0 1 15,-13 40 16,13-14-31,0 0 0,0 0 16,-13 1-16,13 12 0,0-13 0,-13 14 16,13-1-16,-14-13 0,14 1 15,0 12-15,0-13 0,-13 0 0,13 1 16,0-1-16,0 0 0,-13-13 16,13 13-1,0-39 1,0 13-1,0-1-15,13 1 16,-13 0-16,13 13 0,1-13 16,-1 13-1,0 0 1,0 0-16,0 0 16,1 0-16,-1 13 15,0-13 1,0-13-1,1 13-15,-1 0 16,-13-13-16,13 13 16,-13-14-16,13 14 0,-13-13 0,14 13 15,-14-13-15,13 13 0,0-13 16</inkml:trace>
  <inkml:trace contextRef="#ctx0" brushRef="#br0" timeOffset="61415.83">23958 3387 0,'0'26'31,"13"-13"-31,-13 1 16,0-1-16,0 0 0,13 0 0,-13 0 15,14 1-15,-14-1 16,13-13-16,0 13 16,0-13-16,1-13 15,-1 0-15,-13-1 16,0 1-16,13 0 0,-13 0 16,0 0-16,13-1 0,-13 1 0,0 0 15,14 0-15,-14-1 0,0 1 16,13 0-1,0 13-15,0 0 16</inkml:trace>
  <inkml:trace contextRef="#ctx0" brushRef="#br0" timeOffset="62008.07">24262 3360 0,'-26'27'16,"26"-14"-1,-13-13-15,13 13 0,0 0 16,0 1-16,-14-14 16,28 13-1,-1-26 1,0 13 0,0 0-16,1 0 15,-14-14-15,13 14 16,0 0-16,0 0 15,0 0 1,1 14-16,-1-14 16,0 0-1,0-14 1,-13 1 0,14 13-16,-14-13 0,13 13 15,-13-13-15,13-1 16,0 1-16,1 13 15,-14-13-15,13 13 0,0-13 16,0 13-16,0 0 16,1 0-1,-1 0-15,-13 13 16,13-13-16,-13 13 16,0 0-16,0 1 15,13-14 1,1 0 15,-1-14-31,0 14 16,-13-13-1,13 13-15,0-13 32</inkml:trace>
  <inkml:trace contextRef="#ctx0" brushRef="#br0" timeOffset="68091.11">10464 6059 0,'93'-13'16,"-67"13"-1,1 0-15,12 0 0,1 0 0,13-14 16,0 14-16,0 0 0,0 0 0,13 0 16,-13 0-16,0 0 0,0 0 15,0 0-15,0 0 0,-1 0 0,-12 0 16,-13 14-16,12-14 0,-12 0 0,-14 0 16,13 0-16,-12 0 0,-1 0 15,0 0-15,0 0 0,1 0 0,-54 0 47,27 0-47,-1 0 16,-12 0-16,-14 0 0,14 0 15,-14 13-15,14-13 0,-27 0 16,0 0-16,26 0 0,-12 0 0,12 0 16,-12 13-16,12-13 0,14 0 0,-14 0 15,14 0-15,0 0 0,0 0 16,0 0-16,-1 0 0,67 13 31,-26-26-31,-1 13 16,27 0-16,0 0 0,13 0 0,-13 0 15,26 0-15,1 0 0,79 0 16,-93 0-16,13 0 16,-13 0-16,0 0 0,-13 0 0,0 13 15,0-13-15,-26 0 0,12 0 0,-12 0 16,-1 0-16,-13 0 0,14 0 15,-14 14-15,0-14 0,1 0 0,-1 0 16,0 0-16,0 0 16,0 0-16,1 0 15,-14-14 1</inkml:trace>
  <inkml:trace contextRef="#ctx0" brushRef="#br0" timeOffset="68727.2">10253 5622 0,'-14'0'31,"1"14"-31,13-1 16,0 0-16,-13 14 0,13-1 0,-13 14 0,13-1 15,-14-12-15,14 13 16,-13 12-16,13-25 0,-13 13 0,0-1 16,13-12-16,0-1 0,-13 1 0,13-14 15,0 13-15,0-12 0,0-1 16,0 0-16,0 0 0,0 0 16</inkml:trace>
  <inkml:trace contextRef="#ctx0" brushRef="#br0" timeOffset="70710.02">22609 2262 0,'0'0'0,"-14"27"31,1-14-15,13 0-16,0 0 16,-13 1-16,13-1 0,0 0 0,0 0 15,-13 0-15,13 1 0,0-1 0,13-13 16,-13 13-16,0 0 0,13-13 16,0 0-16,1 0 15,-1 0-15,0-13 16,0 13-16,1-13 0,-1 0 15,0 13-15,0-14 16,14 14 0,-27 14-16,0-1 15,13-13 1,-13 13-16,13 0 0,0-13 16,1 0-16,-1 0 0,0 0 15,0 0-15,1-13 16,-1 0-16,0 13 0,0-13 15,0-1 1,1 14 0,-1 14-1,0-14 1,-13 13 0,13-13-16,1 0 15,-1 0 1,-13-13-1,0-1 1,-13 1-16,-1 13 16,14-13-1,-13 13 1,26-13-16,1 0 16,-1 13-1,-13-14-15,13 14 16,0 0-16,1 0 15,-1 14 1,-13-1 0,13-13-16,0 13 0,0 0 31,1-13-31,-1 13 16,0-13-1,-13-13-15,13 0 16,-26 0 15,13 0-15,0-1 15</inkml:trace>
  <inkml:trace contextRef="#ctx0" brushRef="#br0" timeOffset="71039.45">23217 2209 0,'13'-13'15,"1"26"17,-14 0-32,0 1 0,0-1 0,0 0 15,0 0-15,0 1 0,0-1 16,13 0-16,-13 0 16,0 1-16,-13-14 46,-1 0-46,1 0 16,-40 26 15,40-13-31,13 0 0,13 1 32,1-1-32,-1-13 15,0 0-15,0 0 16,0 0-16,1 0 0,-1 0 0,0-13 15,0 13-15,14 0 0,-14 0 16,0-14-16</inkml:trace>
  <inkml:trace contextRef="#ctx0" brushRef="#br0" timeOffset="71522.89">23932 2077 0,'0'0'0,"-14"26"31,14-12-15,0-1-16,0 0 0,0 0 16,0 1-16,0-1 0,0 0 0,0 0 15,0 0-15,14 1 16,-14-1-16,-14 0 31,1-26-15,-13 13-16,12 0 15,1 0 1,0 13-16,0-13 0,-1 0 16,14 13-16,-13-13 0,13 14 0,-13-14 15,26 13 1,0-13-16,1 0 15,-1 0-15,13-13 0,-12 13 0,-1 0 16,13-14-16,-12 14 0,-1 0 16,13-13-16,-13 13 0,1 0 0,-1 0 15,0 0-15,0 0 0,1 0 16,-1 0-16,0 0 16,0 13-16,1 1 31</inkml:trace>
  <inkml:trace contextRef="#ctx0" brushRef="#br0" timeOffset="72148.82">24236 2222 0,'13'-26'31,"-13"13"-15,-26 39 15,12-13-31,1 1 16,13-1-1,0 0-15,13 0 16,1-13-16,-1 0 15,0 0-15,0 0 16,1-13-16,-1 13 0,0 0 0,0-13 16,14 0-16,-14 13 0,0-14 0,0 1 15,1 0-15,-1-13 0,0 12 16,0 1-16,1-13 0,-14 12 0,13 1 16,-13-13-16,0 13 0,13 13 15,-13-14-15,0 1 0,13 0 16,-26 39 15,13-12-31,0-1 0,0 0 16,0 0-16,0 0 15,0 1-15,13-1 0,-13 0 0,0 0 16,13 1-16,-13-1 16,14-13-16,-1 0 15,0 13-15,0-26 16</inkml:trace>
  <inkml:trace contextRef="#ctx0" brushRef="#br0" timeOffset="72347.67">24342 2064 0,'26'-13'15,"-13"13"1,1-14-16,-1 14 0,13-13 0,-12 13 16,12 0-16,-13-13 0,14 13 15,-1-13-15,-13 13 0,14-14 0,-1 14 16,-13-13-16,1 13 0,-1 0 16</inkml:trace>
  <inkml:trace contextRef="#ctx0" brushRef="#br0" timeOffset="73404">20002 2831 0,'0'0'0,"14"0"0,-14-13 15,-14 39 16,14-12-31,0-1 0,0 0 16,0 0-16,0 0 0,0 1 16,0-1-16,0 0 0,0 0 0,0 1 15,0-1-15,0 0 0,0 0 0,0 0 16,0 1 0,0-54 15,0 27-31,0 0 0,0-1 15,0-12-15,0 13 0,0-14 16,0 14-16,0 0 0,14-14 0,-14 14 16,0 0-16,13 0 0,-13-1 15,13 41 17,-13-14-32,0 0 15,0 1 1,13-14-16,-13 13 0,14 0 15,-1 0-15,0 0 0,-13 1 16,13-1-16,1 0 16,-14 0-16,13 1 0,-13-1 15,0 0 1,0 0-16,-13-13 16,13 13-16,-14-13 15,41-26 16</inkml:trace>
  <inkml:trace contextRef="#ctx0" brushRef="#br0" timeOffset="74030.6">20254 2897 0,'26'-13'0,"-52"26"15,52-39-15,-12 26 0,-14-13 0,-27 26 63,27 0-63,-13-13 0,13 13 0,-13-13 15,13 13-15,0 1 0,0-1 16,0 0-16,0 0 16,13-13-1,0 0-15,0-13 16,1 13-16,-1-13 16,-13 0-16,13 13 0,-13-14 0,13 1 15,-13 0-15,13 13 0,-13-13 16,14 0-1,-1 26 1,0-13 0,0 13-1,1-13-15,-1 0 0,0 0 16,0 0-16,1 0 0,-1 0 16,0 0-16,0-13 15,0 13 1,1 0-16,-1 0 15,-13 13 1,0 0-16,0 0 16,13 1-1,0-1 1,1-26 0,-1 13-16,-13-14 15,0 1-15,13 13 0,-13-13 0,13 0 16,-13-14-16,0 14 0,0-13 15,0 12-15,0 1 0,0 0 0,0-14 16,0 14-16,0 0 0,0 0 16,-13 39 15,13-13-31,0 14 0,0-14 16,-13 0-16,13 14 15,0-14-15,0 0 0,0 14 0,0-14 16,0 0-16,0 0 0,13 1 15</inkml:trace>
  <inkml:trace contextRef="#ctx0" brushRef="#br0" timeOffset="74499.89">20915 2606 0,'-13'27'31,"13"-14"-31,0 13 0,0-12 16,0-1-16,0 13 0,0-13 16,0 14-16,0-14 0,0 0 15,0 1-15,0-1 0,0 0 0,0 0 16,0 1-16,0-1 15,-13-13 1,0 13-16,-1-13 0,1 0 16,0 13-1,0-13-15,-1 13 16,1 1-16,26-1 31,14-26-15,-14 13-16,0-14 0,1 14 0,12-13 15,-13 13-15,1 0 0,-1-13 0,0 13 16,0-13-16,0 13 16,1 0-16,-1 0 15,0 0-15,0 13 16,-13 0 0,14-13-1</inkml:trace>
  <inkml:trace contextRef="#ctx0" brushRef="#br0" timeOffset="74607.75">21114 2752 0</inkml:trace>
  <inkml:trace contextRef="#ctx0" brushRef="#br0" timeOffset="75070.22">21193 2805 0,'0'-14'0,"-26"28"62,26-1-62,-14 0 16,14 0-1,0 1 1,14-14-16,-1 0 16,0 0-16,14-14 15,-14 14-15,0-13 0,0 0 16,0 13-16,1-13 0,-1-1 15,0 1-15,-13-13 0,13 12 0,1 1 16,-14 0-16,13-13 0,-13 12 0,13 1 16,-13 0-16,0 0 0,0-1 15,-13 41 17,13-14-17,0 14-15,0-14 0,0 0 16,0 0-16,0 0 0,0 1 0,0-1 15,13 0-15,-13 0 0,13 1 16,-13-1-16,14 0 0,-1-13 16,-13 13-1</inkml:trace>
  <inkml:trace contextRef="#ctx0" brushRef="#br0" timeOffset="75207.02">21352 2765 0,'-13'-13'31,"26"-1"-15,0 14 0,-13-13-16,13 13 0,1 0 0,12-13 15,-13 13-15,14-13 0,-1 0 16</inkml:trace>
  <inkml:trace contextRef="#ctx0" brushRef="#br0" timeOffset="76062.17">23627 3254 0,'-26'0'0,"13"0"32,-1 0-17,1 0-15,0 0 16,0-13-1,-1 13-15,1 0 0,0-13 0,0 0 16,0 13-16,-1-14 0,1-12 0,0 0 16,-14-1-16,14 1 0,0-1 0,0-13 15,13 14-15,-14-14 0,1 14 16,13-1-16,0 1 0,-13 0 0,13-1 16,0 14-16,0-14 0,-13 14 0,13 0 15,0 0-15,0-1 16,-13-25-1,13 26-15</inkml:trace>
  <inkml:trace contextRef="#ctx0" brushRef="#br0" timeOffset="76287.59">23283 2686 0,'-13'13'31,"0"0"-31,13 0 0,-13-13 16,-1 13-16,1 14 0,0-14 0,0 0 16,0 1-16,-1 12 0,1-13 15,0 1-15,0-1 0,13 0 0,-14 0 16,1 0-16,13 1 0,0-1 15</inkml:trace>
  <inkml:trace contextRef="#ctx0" brushRef="#br0" timeOffset="76460.32">23230 2752 0,'40'26'15,"-27"-26"1,-13 13-16,14-13 0,-1 14 0,0-14 16,0 13-16,0-13 0,1 13 0,-1-13 15,0 13-15,0-13 0,-13 14 16</inkml:trace>
  <inkml:trace contextRef="#ctx0" brushRef="#br0" timeOffset="77210.3">23588 3241 0,'-27'-13'31,"1"26"-31,12-13 0,1 0 16,0 0-16,-13 13 0,-1-13 0,1 0 16,-27 14-16,13-14 0,-13 0 15,0 13-15,14-13 0,-14 0 0,0 0 16,0 0-16,13 0 0,0 0 0,1 0 16,-67 0-16,53 0 15,0-13-15,13 13 0,-13 0 16,14 0-16,-14-14 0,26 14 0,-12 0 15,-1-13-15,14 13 0,-1-13 0,-13 13 16,14-13-16,-1 13 0,-12-14 16,-1 14-16,0-13 0,1 0 0,-1 13 15,0-13-15,1 13 0,-1-13 0,0 13 16,14 0-16,-14 0 0,0-14 16,14 14-16,-14 0 0,14 0 0,13 0 15,-14 0-15,1 0 16,12 0-16,1 0 0,0 0 15,0 0-15,0 0 0,-1 0 16,1 0-16</inkml:trace>
  <inkml:trace contextRef="#ctx0" brushRef="#br0" timeOffset="77702.92">21564 3096 0,'-27'26'31,"27"-13"-31,-13 1 16,13-1-16,-13 0 16,13 0-1,-14-13 1,1 0 15,0 0-31,0-13 16,-1 13-16,1-13 0,0 13 15,0 0 1,13-13-16,-13 13 16,-1 0-16,1 13 15,0-13 1,13 13-16,0 0 16,-13 0-16,26 1 15,-13-1-15,13 0 16,-13 0-1,13-13-15,-13 14 0,14-14 16,-1 0-16,0 13 0,0-13 16,0 13-16,1-13 0,-1 13 15,0-13-15,0 0 0</inkml:trace>
  <inkml:trace contextRef="#ctx0" brushRef="#br0" timeOffset="78043">21669 3254 0</inkml:trace>
  <inkml:trace contextRef="#ctx0" brushRef="#br0" timeOffset="78494.8">21511 3334 0,'-27'-13'15,"14"-1"1,0 14-1,13-13-15,-14 13 0,14-13 16,-13 13-16,13-13 0,-13-1 0,0 1 16,0 13-16,13-13 15,-14 13-15,1-13 16,0-1 0,13 1-1,13 0 1,0 13-16,1-13 0,12 13 0,-13-13 15,27-1-15,0 1 0,-1 0 0,1 0 16,0-14-16,-1 14 0,1 0 0,0-1 16,-1 1-16,1 0 0,-13 13 15,-1-13-15,-13 0 0,1 13 0,-1-14 16,0 14-16,0 0 0,-13-13 0,13 13 16,1-13-16</inkml:trace>
  <inkml:trace contextRef="#ctx0" brushRef="#br0" timeOffset="86338.04">20095 3413 0,'-13'13'0,"26"-26"0,-26 40 16,26-14 0,-13 0-16,13-13 15,1 13-15,-1-13 0,0 13 0,0-13 16,0 14-16,1-14 0,-1 13 16,0 0-16,0-13 0,-13 13 15,14-13-15,-14 14 16,-14-1-16,14 0 15,-13 0-15,0-13 0,13 14 0,-13-14 16,-1 13-16,1-13 0,0 13 16,0-13-16,0 0 0,-1 0 15,1 0-15</inkml:trace>
  <inkml:trace contextRef="#ctx0" brushRef="#br0" timeOffset="87299.33">20254 3426 0,'13'14'31,"-13"-1"-15,13 0-16,-13 0 16,14 0-1,-14 1-15,13-28 63,0 14-63,-13-13 15,13 0-15,-13 0 16,13 13 0,1-13-16,-1 13 15,0 0 1,0 0 0,1 0-1,-1 0 16,0 0-31,-13-14 16,13 14-16,1-13 16,-1 13-1,0 0 1,-13 13 0,13-13-1,0 0 1,1 0-16,-1-13 31,0 13-31,0 0 16,1-13-16,-1 13 15,0 0 1,-13-13-16,13 13 16,1 0-16,-14-14 15,13 14-15,-13-13 16,13 13-16,-13-13 15,0 0 1,-13 13 0,0 0-1,-1 0-15,14 13 16,-13 0 0,26 0-16,-13 1 15,14-1-15,-1-13 16,0 13-1,0-13 1,14-13-16,-14 13 16,-13-13-16,13 13 15,-13-14-15,0 1 16,0 0-16,0 0 16,-13 0-1,0 13 1,13-14-16,-27 28 15</inkml:trace>
  <inkml:trace contextRef="#ctx0" brushRef="#br0" timeOffset="87618.81">20876 3122 0,'0'13'15,"0"1"-15,0 12 16,0 0-16,0-12 0,0 12 16,-14-13-16,14 14 0,-13-1 0,13 1 15,0-14-15,-13 13 0,13-12 16,0 12-16,-13-13 0,13 1 0,0-1 16,0 0-16</inkml:trace>
  <inkml:trace contextRef="#ctx0" brushRef="#br0" timeOffset="88053.84">21034 3228 0,'-26'0'31,"13"0"-31,-1 0 15,1 0-15,13 13 0,-13-13 0,0 13 16,0 1-16,-1-14 16,14 13-16,-13-13 15,13 13-15,0 0 16,0 1-16,0-1 31,13-13-31,1 0 0,-1 0 16,0 0-16,0 0 0,0-13 15,1 13-15,-1 0 0,0-14 16,-13 1-16,13 13 0,1-13 0,-1 0 16,-26 26 31,13 0-32,0 0-15,0 1 16,0-1-1,13-13-15,0 13 0,0-13 16,1 0-16,-1 0 0,0 0 16</inkml:trace>
  <inkml:trace contextRef="#ctx0" brushRef="#br0" timeOffset="91166">23138 3545 0,'-13'27'31,"13"-14"-31,0 0 16,0 1-16,0-1 0,0 0 15,0 0-15,0 0 16,0 1-16,0-1 16,13-26 30,0 13-46,-13-14 0,13 1 16,1 0 0,-1 13-1,-13 13 1,13-13-16,-13 13 16,13 1-16,0-1 15,1 0 1,-1-13-16,0 0 0,0 0 15,1 0-15,-1-13 0,0 13 16,0-13-16,0 13 16,-13-14-16,14 14 0,-14-13 0,13 13 15,-13-13-15,0 0 16,0 0 0,-13 39 15,-1-26-31,14 13 0,0 0 15,0 1-15,14-1 16,-1-13 0,0 0-1,0 0-15,1 0 16,-14-13-16,13-1 16,-13 1-1,0 0-15,-13 13 0,13-13 16,0 0-16,-14 13 15,14-14-15,-13 1 16,40 26 78,-14-13-94,0 14 15,0-14 1,1 13 0,-1-13-16,-13 13 15,13-13 1,0 0 46</inkml:trace>
  <inkml:trace contextRef="#ctx0" brushRef="#br0" timeOffset="91351.16">23627 3466 0,'0'-13'0,"-13"52"31,13-25-31,0-1 16,0 0-16,0 0 0,-13 14 15,13-14-15,0 0 0,0 14 0,0-14 16,0 0-16,0 0 0,0 1 16,0-1-16</inkml:trace>
  <inkml:trace contextRef="#ctx0" brushRef="#br0" timeOffset="91571.77">23574 3638 0,'0'-13'15,"14"13"1,-1 0-1,-13-13-15,13 13 0,14 0 16,-14 0-16,0 0 16,0-14-16,0 14 0,1 0 15</inkml:trace>
  <inkml:trace contextRef="#ctx0" brushRef="#br0" timeOffset="92007.83">23892 3651 0,'-13'0'0,"-1"0"16,14 13-1,0 1-15,14-1 16,-14 0-16,13 0 0,0 1 15,0-1 1,-13 0-16,14-13 16,-14 13-16,0 1 15,-14-14-15,-12 0 16,26 13 0,-13-13-16,-1 0 0,1 0 15,0 0-15,0-13 16</inkml:trace>
  <inkml:trace contextRef="#ctx0" brushRef="#br0" timeOffset="93360.31">23998 3678 0,'13'13'47,"-13"0"-31,0 0-16,0 1 15,0-1 1,13 0 0,-13 0-1,13-26 48,1 13-48,-14-13 1,13 13-16,-13-13 16,13 13-16,0 0 15,1 0 1,-14 13-16,13-13 15,-13 13 1,13-13-16,0 0 63,0 0-48,1 0 16,-1 0-15,0 0-16,0 0 16,1 0-16,-1 0 15,0 0-15,0 0 16,1-13-16,-1 0 16,-13-1-1,0 1 1,-13 13-1,-1 13 17,1-13-17,13 14-15,0-1 16,0 0 0,13-13-16,1 0 15,12 0-15,-13 0 16,0 0-16,1-13 0,-1 0 15,0 13-15,0-14 0,1 14 16,-14-13-16,13 0 0,0 13 0,-13-13 16,13-1-16,-13 1 0,14 0 15,-14 0-15,13 0 0,-13-1 16,0 1-16,13 13 0,-13-13 16,-13 39 15,13-12-31,0-1 0,-13 0 15,13 0-15,-14 0 0,14 1 16,-13-1-16,13 0 0,-13 0 16,13 1-1,0-1-15,13-26 32,0 13-17,1-14-15,-1 14 0,-13-13 16,13 13-16,0 0 0,-13-13 0,13 13 15,1-13-15,-1 13 16,-26 26 15,-1-26-15,1 13-16,0-13 16,13 14-16,-13-14 0,13 13 0,-13-13 15,13 13-15,-14-13 16,28 13 15,-1-13-31,0 0 16,0-13-16,0 13 0,1 0 15,-1-13-15,0 13 16,-13-13-16,13 13 0,1-14 0,-1 1 16,0 13-16,-13-13 15,13 13 1,0 13 15,-13 0-15,0 1-1,0-1 1,0 0-16</inkml:trace>
  <inkml:trace contextRef="#ctx0" brushRef="#br0" timeOffset="93498.67">24725 3612 0,'0'0'0,"-13"-14"0,0 14 31</inkml:trace>
  <inkml:trace contextRef="#ctx0" brushRef="#br0" timeOffset="93769.77">24791 3585 0,'14'13'16,"-14"1"-1,0-1 1,0 0 0,13 0-16,0-13 15,-13 13 1,13-13 0,1-13-1,-1 13-15,0-13 16</inkml:trace>
  <inkml:trace contextRef="#ctx0" brushRef="#br0" timeOffset="94824.02">20280 3201 0,'-13'-13'15,"40"0"1,-14 13-16,0-13 0,13 13 0,14-13 16,0-1-16,0 1 0,-1 0 15,1 0-15,0-1 0,-1 1 0,1 0 16,13 0-16,-13-1 0,-1 1 0,-12 13 16,-1-13-16,1 13 0,-14-13 15,13 13-15,-12 0 0,-1-13 0,0 13 16,0 0-16,0 0 0,1 0 15,-14-14-15,13 14 0,-53 27 47</inkml:trace>
  <inkml:trace contextRef="#ctx0" brushRef="#br0" timeOffset="95402.75">20518 3175 0,'27'0'31,"-14"0"-31,0-13 0,14 13 16,-14 0-16,14-13 0,-1-1 16,0 14-16,1-13 0,-1 13 15,1-13-15,-14 0 0,13 13 0,1 0 16,-14-14-16,14 14 0,-14 0 15,0-13-15,0 13 0,1 0 0,-1 0 16,-13-13-16,13 13 0,0 0 0,0 0 16,1 0-1,-1-13 1,0 13 0,0 0 15,-39 0 203</inkml:trace>
  <inkml:trace contextRef="#ctx0" brushRef="#br0" timeOffset="96431.16">20505 3731 0,'66'-27'15,"-39"14"-15,-1 13 16,1-27-16,12 27 0,-12-13 16,13 0-16,-1 0 0,-12 0 0,12-1 15,-12 14-15,-1-13 0,1 0 0,-1 13 16,1-13-16,-14 13 0,0-14 0,14 14 15,-14 0-15,0 0 16</inkml:trace>
  <inkml:trace contextRef="#ctx0" brushRef="#br0" timeOffset="96966.86">20598 3744 0,'0'0'0,"26"-13"31,-12 13-31,-1-14 0,13 14 0,1-13 16,-1 13-16,14-13 0,-14 0 0,1 13 15,-1-14-15,1 14 0,-1-13 16,1 13-16,-1-13 0,0 13 0,1-13 16,-14 13-16,0-13 0,14 13 0,-14 0 15,0 0-15,1-14 16,-1 14-16,0 0 0,0 0 15,-13-13 1,13 13 0,1 0-1,-1 0 1,0 0 78,-13-13 46,0 0-124</inkml:trace>
  <inkml:trace contextRef="#ctx0" brushRef="#br0" timeOffset="99247.23">19791 2699 0,'-13'-13'16,"-27"13"0,13 0-16,14 0 0,-13 0 15,13 13-15,-14-13 0,14 13 0,0-13 16,-1 13-16,1 0 0,0 1 0,0-1 15,13 0-15,-14 14 0,14-14 16,0 13-16,14-12 0,-14 12 0,0 0 16,13 1-16,-13-1 0,0 1 0,0-1 15,0-13-15,0 1 0,0 12 16,13-13-16,-13 1 0,0-1 16,-13 0-16,13 0 0,-13 1 15,13-1-15,-14 0 16,14 0-16,-13 0 0,13 14 0,-13-14 15,13 27-15,0-14 0,0 1 16,0-1-16,0 14 0,0 0 0,13-14 16,-13 14-16,13-14 0,1-13 15,-14 14-15,13-14 0,0 14 0,0-14 16,-13 0-16,14 0 0,-1-13 0,-13 13 16,13-13-16,-13 14 0,13-14 15,1 0-15</inkml:trace>
  <inkml:trace contextRef="#ctx0" brushRef="#br0" timeOffset="100467.71">18071 3069 0,'-26'13'31,"12"1"-31,1-1 0,-13 13 0,-1 1 16,14-1-16,-13 1 0,12-1 15,1 1-15,-13-1 0,26-13 0,-14 14 16,14-14-16,-13 0 0,13 0 0,0 1 16,13-1-16,1-13 15,-1 0-15,0 0 16,0 0-16,14-13 0,-14-1 0,13 14 15,-12-13-15,12 0 0,-13 13 0,1-13 16,-1 13-16,0-13 0,0 13 16,1 0-16,-1 0 15,0 0-15,-13 13 16,13-13-16,0 13 0,1 0 16,-1 0-16,0-13 15,0 14-15,1-14 0,-1-14 0,0 14 16,0 0-16,0 0 0,1-13 15,-1 13-15,0-13 16,0 0-16,-13 0 16,0-1-16,0 1 15,-13 13-15,13-13 0,-13 13 0,0-13 16,-1 13-16,1 0 0,0-14 16,0 14-16,0 0 0,-1 0 15,1 14-15,26-1 31,1-13-15,-1 0-16,0 0 16,0 0-16,0 0 0,1 0 15,-1 0-15,0 0 16,0 0-16,-13 13 16,14-13-16,-1 0 15,0 0 1,0 0 15,1 0-15,-1-13-16,0 13 0,0-13 15,0 13-15,1 0 16,-14-14-16,13 1 0</inkml:trace>
  <inkml:trace contextRef="#ctx0" brushRef="#br0" timeOffset="101259.95">18547 3082 0,'0'-26'0,"0"52"0,14-39 32,-14 26-17,0 14-15,13-14 0,-13 0 16,0 14-16,0-1 0,0 1 0,13-1 16,-26 1-16,13-1 0,0 1 15,0-1-15,0-13 0,-13 14 0,13-14 16,0 13-16,-14-12 0,14-1 0,0 0 15,-13 0-15,13 0 16,0-52 0,0 26-1,13-1-15,-13 1 0,14 0 16,-1-14-16,0 14 0,0 0 0,0 0 16,-13 0-16,14-1 0,-1 14 0,-13-13 15,13 0-15,0 13 16,-13-13-16,14 13 15,-1 13-15,0 0 16,0 0 0,0-13-1,-13 14-15,14-14 0,-1 0 16,0 0 0,0 0-1,1-14-15,-14 1 0,0 0 16,0 0-1,0-1-15,-14 14 0,14-13 16,-13 13-16,0 0 16,0 0-1,-1 0-15,14 13 16,14-13 15,-1 0-31,13 0 16,-12 0-16,-1 0 15,0-13-15,0 13 16,1 0-16,-1 0 16,0 13-1,0-13-15,0 0 16,1 0-16,-1 0 16,0 0-1,0 0-15,1-13 16,-1 13-16,0 0 31,0 0-31,1 0 16,-1 0-1,0 0 1,0 0 0,0 13-1</inkml:trace>
  <inkml:trace contextRef="#ctx0" brushRef="#br0" timeOffset="102100">18349 3638 0,'40'40'31,"-40"-27"-31,13 0 0,-13 0 0,13-13 16,0 14-16,0-14 0,1 13 16,-1-13-16,0 0 15,0 0 1,1-13-16,-14-1 15,13 14-15,-13-13 0,0 0 16,0 0-16,0-1 16,13 1-16,-13 0 15,13 0-15,1 13 16,-14-13 0,13 13-16</inkml:trace>
  <inkml:trace contextRef="#ctx0" brushRef="#br0" timeOffset="102595">18693 3572 0,'-13'26'0,"-1"-26"15,14 14-15,0-1 0,-13 0 16,13 0 0,13-13 30,1 0-46,-1 0 16,0 0 0,0 0-16,0 0 15,-13 13-15,14-13 16,-1 0-16,-13 14 16,13-14-1,0 0 1,1-14 15,-14 1-15,13 13-16,-13-13 15,13 13-15,-13-13 0,13 13 0,-13-13 16,14 13-16,-1-14 16,0 14-1,0 0-15,0 0 16,1 0-1,-14 14 1,0-1 0,0 0-1</inkml:trace>
  <inkml:trace contextRef="#ctx0" brushRef="#br0" timeOffset="102723.14">18944 3506 0,'0'0'0,"0"-14"16</inkml:trace>
  <inkml:trace contextRef="#ctx0" brushRef="#br0" timeOffset="102982.15">19010 3545 0,'0'14'15,"14"-1"1,-1-13 0,-13 13-1,13-13-15,0 0 16,0 0-1,1 13-15,-1-26 16,0 13 0,0 0-1,1 0-15,-14-13 16</inkml:trace>
  <inkml:trace contextRef="#ctx0" brushRef="#br0" timeOffset="104556.01">17701 3122 0,'-27'13'0,"54"-26"0,-67 26 16,40 1-16,-13-1 0,-1 0 15,14 13-15,0-12 0,0 12 16,14 1-16,-14 12 0,13 1 0,0-14 16,0 14-16,14 0 0,-14-1 0,0 1 15,1-13-15,-1-1 0,0 1 16,-13-14-16,13 0 0,-13 0 0,13 0 15,-13 1-15,14-1 0,-14 0 63,0 0-63,13-13 16,0 27-16,-13-14 15,13 0-15,1 1 0,-1-1 0,0 0 16,14 0-16,-14-13 0,0 13 15,0-13-15,0 0 0,1 0 16,-1 0-16,0 0 0,14 0 0,-14-13 16,0 13-16</inkml:trace>
  <inkml:trace contextRef="#ctx0" brushRef="#br0" timeOffset="105716.93">17621 3598 0,'-39'14'0,"78"-28"0,-92 28 0,40-1 16,0-13-16,-14 0 0,14 0 15,-13 0-15,-1 13 0,-12-13 16,12 0-16,-26-13 0,14 13 0,-14 0 15,13-13-15,-13-1 0,0 1 16,0 0-16,0-14 0,0 14 0,-52-40 16,65 27-16,-13-1 0,13-12 15,-13 12-15,14-12 0,12 12 0,-13-13 16,27 14-16,-13-14 0,-1-26 16,14 26-16,13 1 0,0-1 15,0 0-15,13 1 0,14-14 16,-1 0-16,14 0 0,0 0 0,-1 0 15,94-66-15,-67 66 0,13-13 16,14 13-16,-1 0 0,-12 0 16,12 0-16,1 0 0,-1 14 15,-12-14-15,65-27 0,-78 41 16,-1-1-16,-13 14 0,0-1 16,-14-13-16,14 14 0,0-1 0,-26 1 15,-1 26-15,0-26 16,-12 12-16,-1 14 0,-13-13 15,13 13-15,0-13 0,1 0 16,-1 13-16,-13-14 0,13 14 16,0-13-1,0 13-15</inkml:trace>
  <inkml:trace contextRef="#ctx0" brushRef="#br0" timeOffset="106106.97">17992 1601 0,'39'-13'0,"-25"13"0,12-14 15,-13 14-15,14 0 0,-1 0 16,1-13-16,-1 13 0,1 0 16,-1 0-16,0 0 0,1 13 0,-14-13 15,14 0-15,-1 14 0,-13-1 0,14 0 16,-14 0-16,0 14 0,0-14 15,-13 13-15,14 1 0,-14-1 0,0-13 16,0 14-16,-14-1 0,14 14 0,-13-13 16,13-1-16,-13 14 0,0-14 15,13-13-15,-13 14 0,13-1 16,-14-12-16,14 12 0,0 0 0,-13-12 0,13-1 16,-13 0-16</inkml:trace>
  <inkml:trace contextRef="#ctx0" brushRef="#br0" timeOffset="139218.99">19169 7038 0,'13'-13'0,"-52"26"31,39 0-31,-14 0 0,14 1 0,-13 12 0,0-13 16,13 14-16,-13-1 0,13 1 15,-14-1-15,14-13 0,0 14 0,0-14 16,0 13-16,0-12 0,0 12 15,14-13-15,-14 1 0,13-1 0,-13 0 16,13-13-16,0 13 0,1-13 0,-1 0 16,0 0-16,0 0 0,1 0 15,-1 0-15,0-13 0,13 0 0,-12 13 16,-1-13-16,0-14 0,0 14 0,-13 0 16,14-1-16,-14 1 0,0 0 15,0-13-15,0 12 0,0 1 0,-14 0 16,1-14-16,13 14 0,-13 0 0,0 0 15,-1 0-15,1-1 0,0 14 16,0-13-16,0 13 0,-1 0 16,1 0-16,0 0 0,0 0 15,-1 13-15,1 1 16</inkml:trace>
  <inkml:trace contextRef="#ctx0" brushRef="#br0" timeOffset="139770.12">19513 6972 0,'-13'39'15,"13"-25"-15,0 12 0,0-13 16,-13 14-16,13-1 0,0 14 0,-14 0 15,14-1-15,0-12 0,0-1 16,0-13-16,-13 14 0,13-14 0,0 0 16,0 1-16,0-1 0,0 0 0,0 0 15,0 1-15,0-67 32,13 39-17,-13 1-15,14-13 0,-1 12 0,0 1 16,0-13-16,0 13 0,14-1 15,-14 14-15,14-13 16,-14 26 0,0 1-16,-13-1 15,-13 0-15,0 0 0,-1 0 16,14 14-16,-26-14 0,13 0 0,-1 1 16,1-1-16,0-13 0,13 13 0,-13 0 15,0-13-15,-1 0 16,14 14-16</inkml:trace>
  <inkml:trace contextRef="#ctx0" brushRef="#br0" timeOffset="140259.66">19791 7197 0,'-13'0'15,"26"0"-15,-40 0 0,14 0 16,13 13-16,0 0 16,0 0-16,0 1 15,0-1-15,13-13 0,-13 13 16,0 0-16,0 0 0,0 1 0,0-1 15,-13 0-15,13 0 16,-13-13-16,0 14 0,-1-1 0,1-13 16,0 13-16,0-13 15,0 0-15,-1 0 0,1 0 0,0 0 16,0 0-16,39-13 31</inkml:trace>
  <inkml:trace contextRef="#ctx0" brushRef="#br0" timeOffset="140879.01">19950 7289 0,'0'-13'0,"-27"0"16,14 13-1,0 0 1,-1 13 0,1 0-1,13 0-15,0 1 16,-13-14-16,26 13 0,-13 0 16,0 0-1,13 1 1,1-14-1,-1-14-15,0 14 16,0 0-16,1 0 16,-1 0-1,0 0-15,0 0 16,-13 14-16,13-14 16,1 13-1,-14 0-15,13-13 16,0 0 15,0-13-31,-13 0 16,14-1-16,-14 1 15,13 13-15,-13-13 0,13 0 0,0-1 16,1 14-16,-14-13 16,13 13-16,-13-13 0,13 13 0,0 0 15,0 0 1</inkml:trace>
  <inkml:trace contextRef="#ctx0" brushRef="#br0" timeOffset="141298">20360 7289 0,'0'27'15,"0"-14"1,0 0-16,0 0 0,13-13 15,-13 14-15,0-1 16,13 0-16,0-13 16,1-13-1,-1 0 1,-13-1-16,13 1 0,-13 0 16,13 0-16,-13-1 0,14 1 0,-14 0 15,0 0-15,13 0 0,0-1 16,0 14-16,-13-13 15,13 13-15,1 0 0,-1 0 16,0 0-16</inkml:trace>
  <inkml:trace contextRef="#ctx0" brushRef="#br0" timeOffset="141935.75">20730 7236 0,'-26'-13'15,"12"13"-15,1 0 16,0 13-16,0-13 0,0 14 16,-1-1-16,1-13 15,13 13-15,-13-13 0,13 13 0,0 0 16,0 1 0,13-1-1,0-13 1,1 0-16,-1 0 15,0 0-15,0 0 0,0 0 16,1 0 0,-1-13-16,0 13 0,0 0 15,1-14-15,-1 14 0,0-13 16,-13 0-16,13 13 0,0-13 0,-13 0 16,14-1-16,-1-12 0,-13 13 15,13-14-15,-13 14 0,13-13 0,-13 12 0,14 1 16,-14 0-16,0 0 0,0-1 0,13 1 15,-13 26 17,0 1-32,0-1 0,0 0 15,0 0-15,13 14 0,-13-14 0,0 13 16,0-12-16,0-1 16,0 13-16,0-12 0,0-1 0,0 0 0,13 0 15,-13 0 1,-26-26 15,13 13-31,13-13 0,-14 13 0,1-13 16,0 0-1,0-1 1,26 1 0,0 0-1,14 0 1,-14 13-16,0-14 0,0 14 0,14 0 15,-14-13-15,13 13 0,-12-13 0,12 13 16,1-13-16,-14 13 0,0 0 16,0 0-16,1 0 0</inkml:trace>
  <inkml:trace contextRef="#ctx0" brushRef="#br0" timeOffset="142308.74">21537 7144 0,'-13'0'16,"-14"0"-1,27 13 1,14 0-16,-14 0 0,0 1 16,13-14-16,-13 13 0,0 0 15,13 0-15,-13 1 0,0-1 16,0 0-16,0 0 0,-13 0 16,13 1-16,-13-14 15,-1 13-15,1-13 0,0 13 0,0-13 16,-1 13-16,1-13 0,0 0 15,0 0 1,13-13 0,13 0-16</inkml:trace>
  <inkml:trace contextRef="#ctx0" brushRef="#br0" timeOffset="142490.87">21788 7011 0,'14'27'31,"-14"-14"-31,0 0 0,-14 1 16,14-1-16,0 13 0,0-12 15,0 12-15,-13 0 0,13 1 0,0-1 16,0-12-16,-13 12 0,13-13 0,0 14 16,0-14-16,0 0 0</inkml:trace>
  <inkml:trace contextRef="#ctx0" brushRef="#br0" timeOffset="142994.91">21630 7276 0,'13'-26'32,"-13"12"-32,13 14 15,0 0-15,14-13 16,-14 13-16,14-13 0,-14 13 0,0 0 15,13-13-15,-12 13 0,-1 0 0,0 0 0,0 0 16,1 0 0,-1 0-16,0 13 15,-13 0 1,0 0 0,13 1-16,1-14 15,-1 0-15,0 0 16,13 0-16,-12 0 15,-1-14-15,0 14 16,0-13 0,1 13-16,-1 0 15,-13 13 1,13-13-16,0 14 16,0-14-1,1 0 1,12 0-16,-13 0 15,1 0 1,-1 0-16,0 13 16,-13 0-1,0 0 1,-13 0-16,13 1 0,-13-1 16,13 0-1,-14 0-15</inkml:trace>
  <inkml:trace contextRef="#ctx0" brushRef="#br0" timeOffset="143574.64">19659 7818 0,'0'27'15,"-14"-14"-15,14 0 16,-13 1-16,13 12 0,-13 1 16,13-14-16,-13 13 0,13-13 0,0 1 0,-14 12 15,14-13-15,0 1 16,0-1-16,0 0 0,0 0 0,-13 0 0,13 1 16,0-1-16,13 0 15,1 0 1,-1-13-16,0 0 0,0 0 15,1 0-15,-1 0 0,0 0 0,0 0 16,0-13-16,14 13 0,-14-13 0,0 13 16,1-13-16,-1 13 0,0 0 15,-13-14-15,13 1 0</inkml:trace>
  <inkml:trace contextRef="#ctx0" brushRef="#br0" timeOffset="144134.81">19659 8043 0,'26'-13'16,"-13"13"-1,0 0-15,1-13 0,12 13 16,-26-13-16,13 13 0,1-14 16,-14 1-16,0 0 15,-14 13 1,14-13-16,-13 13 0,13-13 15,-13-1-15,26 1 16,0 0 0,1 13-16,-1 0 15,0-13-15,14 13 0,-14-14 0,13 14 16,1-13-16,-14 13 0,13-13 16,-12 13-16,-1 0 0,0 0 0,0 0 15,0 0-15,1 0 0,-1 13 16,-13 0-1,0 1-15,-13-1 16,13 0-16,0 0 0,-14 1 0,1-1 16,13 13-16,-13-13 0,0 1 0,0-1 15,13 0-15,-14 0 0,1 1 16,13-1-16,-13-13 0,13 13 0,-13-13 0,-1-13 47,14 0-47,0-1 0,14 1 15,-14 0-15,0 0 16,0-1-16,13 14 16,0 14-1,0-14-15,1 13 16,-1-13-16,-13 13 0,26-13 0,-26 13 16,27-13-16,-1 14 0,-13-14 15,1 0-15,-1 0 0,13 0 16,-12 0-16</inkml:trace>
  <inkml:trace contextRef="#ctx0" brushRef="#br0" timeOffset="144536.01">20320 7792 0,'0'-13'0,"0"0"16,-13 13-16,0 13 31,13 0-31,0 0 0,-14 0 0,14 1 16,-13 12-16,13 1 0,-13-1 0,13 14 15,-13-14-15,13 14 0,0 0 16,0-14-16,-14 0 0,14 1 16,0-1-16,0 14 0,0-13 15,0-14-15,-13 0 0,13 0 16,0-39 0,0 13-1,0-1-15,0-12 0,13-67 16,-13 54-16,27-67 15,-14 79-15,14-12 0,-14 12 16,13-13-16,-13 27 16,1 13-16,-1 0 15,-13 13-15,13 1 0,-26 12 16,0 14-16,-1-14 16,1 1-16,-40 39 15,27-53-15,13 0 0,-1 1 16,-12-1-16,13 0 15,-1-13 1</inkml:trace>
  <inkml:trace contextRef="#ctx0" brushRef="#br0" timeOffset="146208.79">20148 8758 0,'0'-14'16,"0"28"-16,-13-41 15,0 40 1,-1-13-16,1 14 0,0-1 15,0 13-15,-1-12 0,1 12 0,0 1 16,0-1-16,-1 0 16,1-12-16,0 12 0,13-13 0,0 1 0,0-1 15,0 0-15,0 0 0,0 1 16,13-14-16,-13 13 0,13-13 0,1 0 16,-1 0-16,0 0 0,0 0 0,1-13 15,-1 13-15,13-14 0,-12 14 16,-1-13-16,0 13 15,0-13-15,0 13 0,1 13 16,-1-13-16,0 13 16,0 1-16,1-1 15,-1 0 1,0-13-16,0 0 0,1 0 16,-1 0-16,0 0 0,0 0 15,0-13-15,1 0 16,-14-1-16,0 1 0,0 0 15,0 0-15,0-1 16,-14 1-16,1 0 0,0 0 16,0 13-16,0 0 0,-1-14 15,1 14-15,0 0 16,0 0-16,-1 0 16,14 14-16,14-1 31,-1-13-31,0 0 0,0 0 15,1 0-15,-1 0 0,0 0 16,0 0-16,14 0 0,-14 13 16,0-13-16,14 0 0,-1 13 15,-13-13-15,1 14 0,-1-14 16,0 13-16,0 0 0,0 0 16,-13 1-16,14-1 0,-14 0 15,0 0-15,0 0 16,0 1-16,0-41 62,13 14-62,-13 0 0,13-14 16,0 14-16,1 0 16,-14 0-16,13 13 15,0 0-15,0 0 16,1 0-16,-1 13 0,0 0 15,0 0-15,-13 1 16,13-1-16,1 0 16,-14 0-16,13 0 15,0 1 1,-13-28 15,0 1-31,13 0 0,-13 0 16,0-14-16,14 14 15,-14 0-15,0 0 0,13-14 16,0 27-16,-13-13 0,13 13 0,0-13 16,1 13-16,-1 0 15,0 0-15,0 0 0,1 13 16</inkml:trace>
  <inkml:trace contextRef="#ctx0" brushRef="#br0" timeOffset="146805.03">20942 9155 0,'13'-14'16,"0"1"-1,-13 0-15,13 13 16,-13-13-16,14-1 0,-14 1 15,13 13-15,-13-13 0,13 0 16,-39 39 15,26-13-15,0 1 0,0-1-16,0 0 0,13 0 15,0-13 1,0 0-16,1 0 0,12-13 15,-13 13-15,1-13 0,12 0 16,-13-1-16,14-12 0,-1 13 0,-13-14 16,1 1-16,-1-1 0,0 1 0,0 13 15,-13-1-15,13-12 0,-13 13 16,0 0-16,14 13 0,-41 13 31,27 0-31,-13 0 0,13 0 16,-13 14-16,13-14 0,-13 0 0,13 1 15,0-1-15,0 0 0,0 0 16,13-13-16,-13 14 0</inkml:trace>
  <inkml:trace contextRef="#ctx0" brushRef="#br0" timeOffset="147811.87">19870 8255 0,'0'-13'15,"-39"52"1,25-25-16,1-1 15,0 13-15,0 1 0,-1-1 0,1 1 16,13-14-16,-13 13 0,13-12 16,-13 12-16,13-13 0,0 1 0,0-1 15,0 0-15,13 0 0,0 0 16,0-13-16,-13 14 0,14-14 16,-1 0-16,0-14 0,0 14 15,14 0-15,-14-13 0,0 13 0,0-13 16,1 13-16,-14-13 0,13 13 0,0 0 15,0-13-15,1 26 16,-1 0 0,-13 0-1,13-13-15,0 13 16,0-13-16,1 0 16,-1-13-16,0 13 15,-13-13-15,13 13 0,-13-13 16,0 0-16,0-1 15,-13 1-15,13 0 0,-13 0 16,0-1 0,-1 14-16,14-13 15,-13 13 1,53 13 0,-27-13-1,0 0-15,-13 14 16,14-14-16,-1 0 0,-13 13 0,13-13 15,-13 13-15,13-13 0,1 0 16,-14 13-16,13-13 16,-13 14-16,13-14 15,0 0 1,-13-14-16,13 14 16,1 0-16,-1 0 15,0 0 1,0 0-16,1 0 15,-1-13 1,0 13-16,0 0 0,1-13 16,-1 13-16,0-13 0</inkml:trace>
  <inkml:trace contextRef="#ctx0" brushRef="#br0" timeOffset="148353.04">20452 8229 0,'0'0'0,"0"-14"0,0 1 16,-13 40 15,13-14-31,0 0 0,0 0 16,0 0-16,0 14 0,0-1 0,0-12 15,0 12-15,0-13 0,13 14 0,-13-14 16,0 0-16,0 0 0,0 1 16,14-1-16,-14 0 15,0 0-15,-14-13 31,-12 0-15,13-13-16,-1 13 16,1-13-16,0 0 15,13-1 1,0 1 0,13 13-16,0 0 15,1-13-15,-1 13 16,0 0-16,0 0 0,1 0 0,-1 0 15,0 0-15,0 0 0,0 0 16,1 13-16,-1-13 16,0 13-16,0 1 0,-13-1 15,14-13-15,-14 13 16,13-13-16,-13 13 16,13-26 15,0 0-31,-13 0 15,0-1-15,14 1 0,-14 0 16,13 0-16,-13 0 0,13-1 16,0 1-16,0 13 31,1 0-31,-1 0 16,0 0-16</inkml:trace>
  <inkml:trace contextRef="#ctx0" brushRef="#br0" timeOffset="148746.12">20902 8374 0,'-13'13'16,"0"-13"-16,-27 53 31,27-40-31,-1 1 16,14-1-16,14 0 16,-14 0-16,13-13 0,0 0 15,0 0-15,14 0 16,-14 0-16,0-13 15,1 0-15,-1 13 0,-13-13 16,13-1-16,-13 1 16,0 0-16,0 0 0,0 0 15,0-1-15,0 1 0,-13 13 0,13-13 16,-13 13-16,-1-13 16,1 13-16,0 13 15</inkml:trace>
  <inkml:trace contextRef="#ctx0" brushRef="#br0" timeOffset="149068.87">21140 8255 0,'0'40'31,"0"-14"-31,0-13 16,0 1-16,-13 12 0,13-13 0,0 14 15,0-14-15,-13 0 0,13 14 0,0-14 16,0 0-16,0 0 0,0 1 16,0-1-16</inkml:trace>
  <inkml:trace contextRef="#ctx0" brushRef="#br0" timeOffset="149271.31">21365 8229 0,'-13'13'31,"0"0"-31,13 0 0,0 0 16,-14 1-16,14-1 0,0 0 0,-13 0 16,13 14-16,0-14 0,-13 0 15,13 1-15,0-1 0,0 0 0,0 13 16,0-12-1,13-14-15</inkml:trace>
  <inkml:trace contextRef="#ctx0" brushRef="#br0" timeOffset="149871.9">21444 8440 0,'0'0'0,"0"-13"0,0 0 16,-13 13-16,13-13 15,-13 13 17,0 13-32,13 0 15,-13-13-15,13 13 0,0 14 16,13-14 0,13-13-1,-13 0-15,1 0 16,-1-13-16,13 13 0,-12-14 0,-1 14 15,0-13-15,14 0 0,-14 13 16,0-13-16,0 13 0,-13-13 0,13 13 16,1-14-16,-1 14 0,-13-13 15,-13 40 17,13-14-32,0 0 15,-14-13-15,14 13 0,0 0 16,0 1-1,14-14 1,12 0-16,-13 0 16,1-14-16,-1 1 0,0 0 15,0 0-15,1 0 0,12-27 16,-13 0-16,0 27 0,1-14 0,-1 1 16,-13 13-16,13-14 0,-13 14 15,0 0-15,0 0 0,13 13 0,-26-14 16,0 28-1,0-1-15,13 13 0,-14-12 16,14-1-16,-13 0 0,13 13 16,0-12-16,0 12 0,0-13 15,13 27-15,1-27 0,-1 14 16,0-14-16,0-13 0,14 13 16,-14 0-16,14-13 0,-1 14 0,0-14 15,1 0-15,-1 0 0</inkml:trace>
  <inkml:trace contextRef="#ctx0" brushRef="#br0" timeOffset="150409.94">22463 8255 0,'0'26'46,"-13"-26"-46,13 14 0,0-1 16,0 0-16,0 0 0,-13 1 16,13-1-16,0 0 0,-14 0 15,14 1-15,0-1 0,0 0 16,0 0-16,-13-13 16,13 13-16,0 1 15,-13-1 16,26 0 32,0-13-63,1-13 0,-1 13 16,0 0-16,0 0 0,1 0 0,-1-13 15,13 13-15,-13 0 0,1-14 16,-1 14-16,0 0 0,0-13 0,1 13 15,-1-13-15</inkml:trace>
  <inkml:trace contextRef="#ctx0" brushRef="#br0" timeOffset="151243.51">22516 8361 0,'-13'-13'0,"26"26"0,-39-26 16,52 13 30,-13 0-46,0 0 0,1 0 0,-1 0 16,0 0-16,0 0 0,1 0 0,-14-14 16,13 14-16,0 0 0,-13-13 15,13 0 1,-26 0 0,13-1-16,13 14 15,-13-13-15,14 0 16,-1 13-16,-13-13 0,13 13 15,0 0-15,0 0 0,-13-13 16,14 13-16,-1 0 0,0 0 16,0 13-16,1-13 15,-14 13-15,0 0 16,0 14-16,-14-14 16,14 0-16,-13 0 0,13 1 15,0-1-15,-13-13 0,13 13 16,-13-13-16,13 13 0,0-39 47,13 13-32,0 13 17,0 0-32,1 0 15,12 0 1,-13 0-16,1 0 15,-1-14-15,13 14 0,-13 0 0,1-13 16,-1 13-16,0-13 0,-13 0 0,13-1 16,1 14-16,-1-13 0,-13 0 15,13 13-15,-13-13 0,13 0 16,-13-1-16,14 14 0,-14 14 31,0-1-15,0 0-16,0 0 0,0 0 15,0 1-15,-14 12 0,14-13 0,0 1 16,-13-1-16,13 0 0,0 0 16,-13 1-16,13-28 31,0 1-15,0-13-16,13 12 0,0-12 15,1-1-15,-1 1 0,-13 13 0,26-14 0,-26 14 16,13 0-16,1 0 0,-1 13 15,-13-14-15,13 14 0,0 14 32,-26 12-32,0-26 15,13 13-15,-13 1 0,-1 12 16,1-13-16,0 0 0,0 1 0,-14-1 16,14 0-16,0-13 0,0 13 0,-1 1 15,1-14-15</inkml:trace>
  <inkml:trace contextRef="#ctx0" brushRef="#br0" timeOffset="152448.12">21471 8996 0,'0'-13'0,"-13"26"47,-1-13-47,14 13 16,-13-13-16,13 13 0,-13 1 15,13-1 1,0 0-16,13-13 31,0 0-15,1 0-16,-1-13 16,0 26 15,0-13-31,1 13 15,-1-13 1,-13 13-16,13-13 16,0-13-16,1 0 0,-1 13 15,-13-13-15,13 0 0,0-1 16,-13 1-16,13 0 0,-13 0 0,14-1 16,-14-12-16,0 13 0,13-1 0,-13 1 15,0 0-15,13 0 0,-13 0 16,0-1-16,13 41 31,-13-14-31,0 0 16,0 14-16,0-14 0,0 0 15,0 0-15,0 14 0,0-14 0,0 0 16,0 1-16,-13-1 0,13 0 16,-13 0-16,13 0 15,-13-13-15,-1 0 16,1-13-1,26 0 17,-13 0-32,14 13 0,-14-13 0,13 13 15,0-14-15,0 14 16,1-13-16,-1 13 16,0 0-16,0 0 0,1 0 15,-1 0-15,-13 13 0,13-13 0,0 14 16,0-1-1,-13 0 1,0 0-16,14-13 0,-14 13 16</inkml:trace>
  <inkml:trace contextRef="#ctx0" brushRef="#br0" timeOffset="152606.9">21828 8903 0,'-13'-13'31</inkml:trace>
  <inkml:trace contextRef="#ctx0" brushRef="#br0" timeOffset="152952.5">21934 8930 0,'-13'26'31,"13"-13"-31,0 1 0,0-1 16,0 13-1,13-12-15,-13-1 16,13-13-1,0-13 1,1 13-16,-14-14 0,13 1 16,-13 0-16,0 0 15,13-1 1,-13 28 31,13-1-32,1 0 1,-1-13 0,0 0-16,0 0 0,0 0 15,-13 13-15</inkml:trace>
  <inkml:trace contextRef="#ctx0" brushRef="#br0" timeOffset="154397.29">22622 9075 0,'-27'-13'47,"14"13"-47,0-13 0,13 0 0,-13-1 16,-1 14-16,1-26 0,13 13 15,0-1-15,-13 1 0,13-13 0,0-1 16,0 14-16,13 0 0,-13-14 16,0 14-16,13 0 0,-13 0 15,14-1-15,-1 1 0,0 0 16,-13 39 0,0-12-16,-13-1 15,0 0-15,-14 14 0,14-1 16,-13 0-16,12 1 0,-12-14 0,13 14 15,-1-14-15,14 0 0,-13 0 0,0-13 0,13 14 16,-13-14-16,13 13 0,-13 0 16,26-13-1,0 0 1,0 0-16,0 0 0,14 0 16,-14 0-16,14-13 0,-1 13 0,0-13 15,1 13-15,-1-27 0,14 27 0,-27-13 16,14 0-16,-1 13 0,1-14 15</inkml:trace>
  <inkml:trace contextRef="#ctx0" brushRef="#br0" timeOffset="155290.74">23151 8678 0,'-26'-13'31,"12"26"-31,14 1 16,-13-14-16,0 13 0,0 13 0,-1-13 15,1 1-15,-13 12 0,13 1 16,-1-1-16,14-13 0,-13 1 0,13 12 16,0-13-16,-13 0 0,26 1 0,-13-1 15,0 0-15,13 0 16,1-13-16,-1 14 0,0-14 15,0 0-15,0 0 0,1-14 0,-1 14 16,13 0-16,-12 0 16,-1-13-16,13 13 0,-12 0 0,-1-13 15,0 13-15,13-13 0,-12 13 0,-1-14 16,0 14-16,-13-13 0,13 13 16,-13-13-16,14 13 0,-1-13 15,-40 13 32,14 13-47,0-13 0,0 13 16,-1 0-16,14 1 15,-13-14-15,13 13 16,0 0-16,13-13 16,1 0-1,-1 0-15,0 0 16,0-13-16,1 13 0,-1-13 15,0 13-15,-13-14 0,13 1 0,0 13 16,-13-13-16,14 13 16,-14-13-16,13 13 15,-13 13 1,0 0 0,0 0-1,0 1-15,13-1 31,14-13-15,-27-13-16,13 13 16,-13-14-16,13 14 15,0 0-15,-13-13 16,14 26 15,-1 1-15,0-14-1,0 0 17,0 0-32,-13-14 15,14 14-15,-1 0 16,0 0 31,-26 27-32,13-14 1</inkml:trace>
  <inkml:trace contextRef="#ctx0" brushRef="#br0" timeOffset="156696.07">23760 8890 0,'-14'-13'16,"1"0"0,0 26-1,0-13-15,-1 13 16,1-13-16,13 13 15,-13-13-15,13 13 16,13 1 0,0-14-1,1 0 1,-1 0-16,0 0 16,0 0-1,1 0-15,-1 0 16,-13 13-16,26-26 15,-13 13-15,1 0 16,-1-14-16,0 14 0,-13-13 16,13 13-16,1-13 0,-1 13 0,0-13 0,-13 0 15,13-1-15,-13 1 0,14-13 16,-14 12-16,13 1 0,-13 0 16,0 0-16,13 13 0,-13-14 0,0 1 15,13 13-15,-13-13 0,0 26 31,0 0-31,0 1 16,0-1-16,0 0 0,0 0 0,0 1 16,0 12-16,0-13 0,0 1 0,-13-1 15,13 0-15,0 0 16,0 0-16,-13-13 0,13 14 0,0-1 16,-13-40 30,26 14-46,0 0 16,-13 0-16,13 13 0,-13-13 16,13 13-16,1-14 0,-1 14 15,0-13-15,0 13 16,1 0-16,-1 13 16,0 1-1,-13-1 1,0 0-16,13-13 0,-13 13 15,0 0 1</inkml:trace>
  <inkml:trace contextRef="#ctx0" brushRef="#br0" timeOffset="156812.64">24183 8771 0,'0'-13'0,"-13"13"32</inkml:trace>
  <inkml:trace contextRef="#ctx0" brushRef="#br0" timeOffset="157164.12">24209 8771 0,'14'13'0,"-28"0"16,14 1 0,0-1-1,0 0-15,0 0 16,14 1 0,-1-14-1,0-14-15,0 1 16,1 0-16,-1 0 15,-13-1 1,13 14 0,-13 14 15,13-14-15,14 0-1,-14 0 1,0-14-16,0 14 0,1 0 15,-1-13-15,0 13 16</inkml:trace>
  <inkml:trace contextRef="#ctx0" brushRef="#br0" timeOffset="158338.91">20743 9618 0,'-13'39'31,"13"-25"-31,-13-1 0,13 13 0,-13-13 16,13 14-16,-14-1 0,14 1 0,-13-14 16,13 0-16,0 14 0,0-14 0,0 0 15,13 0-15,-13 1 16,14-1-16,-1-13 0,0 0 0,0 0 15,1 0-15,-1 0 0,0-13 0,0 13 16,0 0-16,1-14 0,-1 14 16,0 0-16,0-13 0,1 13 15,-1 0-15,-13 13 16,13 1-16,-13-1 16,13-13-16,-13 13 0,0 0 15,14-13-15,-1 14 16,0-14-16,0 0 15,0 0-15,1 0 0,-1 0 16,0 0-16,-13-14 0,13 14 0,-13-13 16,0 0-16,14 13 0,-14-13 15,0-1-15,-14 14 0,14-13 0,0 0 16,-13 0-16,0-1 0,0 14 16,13-13-16,-14 13 0,1 0 15,0-13-15,26 26 47,0-13-47,1 0 16,-1 0-16,0 13 0,0-13 15,1 0-15,-1 0 0,0 0 16,0 0-16,1 14 16,-1-28-16,0 14 15,0 0-15,0 14 31,1-14-15,-1 0-16,0 0 31,0 0-31,1 0 16,-1-14-16</inkml:trace>
  <inkml:trace contextRef="#ctx0" brushRef="#br0" timeOffset="159446.93">21378 9499 0,'-13'39'16,"13"-12"-16,-13-14 15,13 13-15,0 1 0,0 13 16,0-1-16,0 1 0,0-14 15,0 14-15,0 0 0,0-14 0,0 1 16,0-1-16,0 1 0,0-14 0,0 13 16,-13-13-16,13 1 0,0-1 15,0 0-15,-14 0 0,14-39 47,0 13-47,0-1 0,14 1 0,-1 0 16,-13-13-16,13 12 0,0 1 0,1 0 15,-1 0-15,-13-1 16,13 1-16,-13 0 0,13 13 0,-13-13 16,13 13-16,-13-14 0,14 14 15,-14 14 1,0-1 0,13 0-16,0 0 15,0-13 1,14 0-1,-14-13-15,0 0 16,1 0-16,-14-1 16,0 1-16,0 0 15,0 0-15,0 0 0,-14 13 16,14-14-16,-13 14 0,0 0 16,0-13-16,-1 26 15,1-13-15,0 0 0,0 14 16,-1-1-1,28 0-15,-1-13 16,0 0-16,0 0 16,14 0-16,-14-13 15,0 13-15,1 0 0,-1 0 0,0-13 16,0 13-16,-13-14 0,13 14 16,1 0-16,-1-13 15,0 26 16,-13 1-15,0-1-16,0 0 16,0 0-1,13-13-15,-13 13 16,14-13-16,-1 0 31,0 0-15,0 0-1,-13-13-15,14 13 0,-1-13 32,-13 0-17,13 13 1,0 0 31,-13 13-32,13 0 1,1-13 15,-1 0-15,0-13 0,0 13-1,1 0 1,-1-13-16,0 13 15,0 0-15,1 0 16,-1-13-16,0 13 16,0 0-16,0-14 0,1 14 15,-1 0-15</inkml:trace>
  <inkml:trace contextRef="#ctx0" brushRef="#br0" timeOffset="160075.99">22146 9631 0,'-14'0'16,"-25"13"0,25 0-16,1 1 15,0-1-15,13 0 0,-13 0 0,0 0 16,13 1-16,-14-1 16,14 0-16,0 0 0,14-13 0,-14 14 15,13-14-15,0 0 16,0 0-16,0 0 0,1-14 15,-1 14-15,0-13 0,0 0 16,1 0-16,-1-1 0,0 1 0,-13-13 16,13-1-16,1 14 0,-14-13 15,13 12-15,0-12 0,-13 13 16,0-1-16,13 1 0,-13 0 0,0 0 16,-26 39 15,26-13-31,-13 1 0,13-1 15,0 0-15,-14 0 0,14 1 0,0-1 16,-13 0-16,13 0 0,0 1 16,0-1-16,0 0 0,13-13 0,-13 13 15,14-13-15,-1 0 16,13 0-16,-13 0 16,1 0-16,-1 0 15,-13-13-15,13 26 16,0-13-16,1 13 15,-1 1 1,-13-1-16</inkml:trace>
  <inkml:trace contextRef="#ctx0" brushRef="#br0" timeOffset="160186.81">22437 9551 0</inkml:trace>
  <inkml:trace contextRef="#ctx0" brushRef="#br0" timeOffset="160865.76">22476 9684 0,'0'26'32,"0"-13"-17,0 1 1,0-1-1,0 0-15,27-26 79,-14 0-64,0 13-15,0 0 16,1 0-1,-14-14-15,13 14 16,0 0-16,0 0 16,1 0-16,-1 0 15,13-13 1,-12 13-16,-1 0 16,0 0-16,0 0 0</inkml:trace>
  <inkml:trace contextRef="#ctx0" brushRef="#br0" timeOffset="161167.16">22781 9657 0,'-14'14'32,"28"-1"-17,-14 0-15,0 0 16,0 0-16,0 1 0,0-1 15,0 0-15,0 0 0,0 1 0,-14-1 16,14 0-16,-13 0 0,13 0 0,-13 1 16,0-1-16,-1 0 15,1-13-15,13 13 0,-13-13 16,0 0-16,0 0 16,13-13-16,13 0 15,-13 0-15,13-1 0,0 1 16,0 13-16,1-13 0,-1 0 0,13 0 15,1-1-15,-14 1 16,14 0-16,-1 0 0</inkml:trace>
  <inkml:trace contextRef="#ctx0" brushRef="#br0" timeOffset="161627.78">23416 9512 0,'0'26'0,"0"-13"15,-14 1-15,14-1 0,0 0 0,0 0 16,-13 1-16,13-1 0,0 13 16,0-12-16,0-1 0,0 0 0,13 0 15,-13 0-15,0 1 0,14-14 16,-14 13-1,13-26 1,0 13-16,-13-14 0,13 1 0,-13 0 16,14 0-16,-14 0 0,13-14 15,-13 1-15,13 12 0,0-12 16,-13 13-16,13-1 0,-13 1 0,14 0 16,-14 0-16,13 13 0,-13-13 0,13 13 15</inkml:trace>
  <inkml:trace contextRef="#ctx0" brushRef="#br0" timeOffset="162164.84">23760 9512 0,'-53'26'31,"39"-13"-31,14 1 15,-13-1-15,0 0 16,13 0-16,-13-13 0,13 14 0,0-1 16,0 0-1,13-13 1,0-13 0,0 13-16,1-13 0,-1 13 15,0 0-15,0 0 0,14 0 16,-14 0-1,0 0-15,-13 13 16,13-13-16,-13 13 0,0 0 16,0 1-1,0-1-15,0 0 16,14-39 31,-1 26-47,-13-14 0,13 1 0,0 0 15,1 0-15,-14-1 0,13 1 0,0 0 16,0 13-16,1-13 16,-1 13-16,0 13 15,0-13-15,-13 13 16,0 0-16,13-13 0,-13 14 16,0-1-16,0 0 15,0 0-15,14 1 31</inkml:trace>
  <inkml:trace contextRef="#ctx0" brushRef="#br0" timeOffset="162274.81">24051 9432 0</inkml:trace>
  <inkml:trace contextRef="#ctx0" brushRef="#br0" timeOffset="162924.01">24143 9485 0,'-13'14'0,"13"-1"16,-13 13 0,13-13-16,0 1 15,0-1-15,13 0 16,0-13 0,0-13-1,1 13-15,-1-13 16,0 13-16,0-14 31,1 28-15,-1-14 15,0 0-15,-13-14-16,13 14 0,-13-13 15,14 13-15,-14-13 0,0 0 16,13 0-16,-13-1 0,13 1 0,-13 0 0,13 0 15,-13-1-15,0 1 0,13 0 16,-13 0-16,0-1 0,0 1 16,0 0-16,0 0 15,-13 26 1,13 0 0,-13-13-16,13 13 0,0 1 15,-13-1-15,13 0 16,13-13-1,0 13 1,0-13-16,1 0 31,-14 14-31,13-14 16,-13 13-16,0 0 16,0 0-16,0 1 15,-13-14-15,13 13 0,-14-13 16,14 13-16,-13-13 0,13 13 15</inkml:trace>
  <inkml:trace contextRef="#ctx0" brushRef="#br0" timeOffset="163215.01">24553 9181 0,'-39'53'31,"39"-40"-31,-14 0 0,14 1 0,-13-1 16,13 0-16,0 0 0,-13 1 0,13-1 15,0 0-15,0 0 0,0 0 16,13-13 0,0 0-16,1 0 0,-1 0 15,-13-13-15,13 13 16,0 0-16,1 0 0,-1 0 15,-13 13-15,13-13 16,-13 14-16,13-14 16,0 0-16,14 0 15,-14 0-15,0 0 0,14 0 16,-14-14-16,14 14 0</inkml:trace>
</inkml:ink>
</file>

<file path=ppt/ink/ink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4.452"/>
    </inkml:context>
    <inkml:brush xml:id="br0">
      <inkml:brushProperty name="width" value="0.025" units="cm"/>
      <inkml:brushProperty name="height" value="0.025" units="cm"/>
      <inkml:brushProperty name="ignorePressure" value="1"/>
    </inkml:brush>
  </inkml:definitions>
  <inkml:trace contextRef="#ctx0" brushRef="#br0">0 0,'4'0,"4"0,7 0,1 0</inkml:trace>
</inkml:ink>
</file>

<file path=ppt/ink/ink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4.788"/>
    </inkml:context>
    <inkml:brush xml:id="br0">
      <inkml:brushProperty name="width" value="0.025" units="cm"/>
      <inkml:brushProperty name="height" value="0.025" units="cm"/>
      <inkml:brushProperty name="ignorePressure" value="1"/>
    </inkml:brush>
  </inkml:definitions>
  <inkml:trace contextRef="#ctx0" brushRef="#br0">0 1,'7'0,"8"0,6 0,2 0,0 0,0 0,-1 0,0 0,-2 0,0 0,-4 0</inkml:trace>
</inkml:ink>
</file>

<file path=ppt/ink/ink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6.638"/>
    </inkml:context>
    <inkml:brush xml:id="br0">
      <inkml:brushProperty name="width" value="0.025" units="cm"/>
      <inkml:brushProperty name="height" value="0.025" units="cm"/>
      <inkml:brushProperty name="ignorePressure" value="1"/>
    </inkml:brush>
  </inkml:definitions>
  <inkml:trace contextRef="#ctx0" brushRef="#br0">0 59,'0'-4,"0"-3,4-2,4 2,4 1,3 2,2-2,2 1,1 0,1 2,-5 1</inkml:trace>
</inkml:ink>
</file>

<file path=ppt/ink/ink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8.614"/>
    </inkml:context>
    <inkml:brush xml:id="br0">
      <inkml:brushProperty name="width" value="0.025" units="cm"/>
      <inkml:brushProperty name="height" value="0.025" units="cm"/>
      <inkml:brushProperty name="ignorePressure" value="1"/>
    </inkml:brush>
  </inkml:definitions>
  <inkml:trace contextRef="#ctx0" brushRef="#br0">398 0,'-182'165,"62"-61,85-77,28-23,0 1,1 0,-1 0,1 1,0 0,0 0,-6 8,12-13,0-1,-1 1,1 0,-1 0,1-1,0 1,0 0,-1 0,1 0,0 0,0-1,0 1,0 0,0 0,0 0,0 0,0 0,0-1,0 1,1 0,-1 0,0 0,1-1,-1 1,0 0,1 0,-1-1,2 2,23 14,36-1,87-5,-30-3,79 1,-179-8</inkml:trace>
</inkml:ink>
</file>

<file path=ppt/ink/ink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9.232"/>
    </inkml:context>
    <inkml:brush xml:id="br0">
      <inkml:brushProperty name="width" value="0.025" units="cm"/>
      <inkml:brushProperty name="height" value="0.025" units="cm"/>
      <inkml:brushProperty name="ignorePressure" value="1"/>
    </inkml:brush>
  </inkml:definitions>
  <inkml:trace contextRef="#ctx0" brushRef="#br0">214 1,'-115'309,"59"-142,43-131,-14 59,25-81</inkml:trace>
</inkml:ink>
</file>

<file path=ppt/ink/ink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0.362"/>
    </inkml:context>
    <inkml:brush xml:id="br0">
      <inkml:brushProperty name="width" value="0.025" units="cm"/>
      <inkml:brushProperty name="height" value="0.025" units="cm"/>
      <inkml:brushProperty name="ignorePressure" value="1"/>
    </inkml:brush>
  </inkml:definitions>
  <inkml:trace contextRef="#ctx0" brushRef="#br0">1 235,'277'-20,"-77"2,712-37,199-11,259 31,-1114 25,3 0,263 11,-442-12,-6 1,-57 10</inkml:trace>
</inkml:ink>
</file>

<file path=ppt/ink/ink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2.830"/>
    </inkml:context>
    <inkml:brush xml:id="br0">
      <inkml:brushProperty name="width" value="0.025" units="cm"/>
      <inkml:brushProperty name="height" value="0.025" units="cm"/>
      <inkml:brushProperty name="ignorePressure" value="1"/>
    </inkml:brush>
  </inkml:definitions>
  <inkml:trace contextRef="#ctx0" brushRef="#br0">131 1,'-8'2,"1"1,0 0,0 1,0-1,0 2,1-1,0 1,0-1,0 2,-7 7,8-7,0 0,0 0,0 0,1 1,0 0,1 0,-1 0,1 0,1 0,-1 1,1-1,0 1,0 11,1-16,1 1,0-1,0 0,0 0,1 0,-1 0,1 0,-1 0,1 0,0 0,0 0,1 0,-1 0,0 0,1-1,0 1,0 0,0-1,0 0,0 1,0-1,0 0,1 0,-1 0,1 0,0-1,-1 1,1-1,0 0,0 1,0-1,0-1,0 1,0 0,6 0,-3 0,0-1,-1 0,1 0,0 0,0-1,0 0,-1 0,1 0,0-1,-1 1,1-1,-1-1,0 1,8-6,-11 7,0-1,1 1,-1-1,-1 0,1 0,0 0,0 0,-1 0,1 0,-1 0,0 0,1-1,-1 1,0-1,0 1,-1-1,1 1,-1-1,1 1,-1-1,0 0,0 1,0-1,0 1,0-1,0 0,-1 1,1-1,-1 1,0-1,0 1,0-1,0 1,-2-3,1 2,0 0,0 0,-1 0,1 0,-1 0,1 1,-1-1,0 1,0 0,0 0,0 0,-1 0,1 1,-1-1,1 1,-1 0,1 0,-1 0,-5-1,-8 0</inkml:trace>
</inkml:ink>
</file>

<file path=ppt/ink/ink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3.681"/>
    </inkml:context>
    <inkml:brush xml:id="br0">
      <inkml:brushProperty name="width" value="0.025" units="cm"/>
      <inkml:brushProperty name="height" value="0.025" units="cm"/>
      <inkml:brushProperty name="ignorePressure" value="1"/>
    </inkml:brush>
  </inkml:definitions>
  <inkml:trace contextRef="#ctx0" brushRef="#br0">8 0,'-3'0,"-2"0</inkml:trace>
</inkml:ink>
</file>

<file path=ppt/ink/ink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4.560"/>
    </inkml:context>
    <inkml:brush xml:id="br0">
      <inkml:brushProperty name="width" value="0.025" units="cm"/>
      <inkml:brushProperty name="height" value="0.025" units="cm"/>
      <inkml:brushProperty name="ignorePressure" value="1"/>
    </inkml:brush>
  </inkml:definitions>
  <inkml:trace contextRef="#ctx0" brushRef="#br0">131 2,'0'-1,"1"1,-1 0,0 0,0 0,1 0,-1 0,0 0,1 0,-1 0,0 0,1 0,-1 0,0 0,1 0,-1 0,0 0,0 0,1 0,-1 0,0 0,1 0,-1 0,0 1,0-1,1 0,-1 0,0 0,0 0,1 1,-1-1,0 0,0 0,0 1,1-1,-1 0,0 0,0 1,0-1,0 0,0 0,0 1,1-1,-1 0,0 1,0-1,0 1,-12 12,-22 10,27-19,-1 0,1 1,0-1,1 2,-1-1,1 1,-7 7,13-11,-1-1,0 0,0 1,1-1,-1 0,1 1,-1-1,1 1,-1-1,1 0,0 1,0-1,0 1,0-1,0 1,0-1,0 1,1 2,0-2,0 1,0-1,0 1,1-1,0 0,-1 0,1 0,0 1,0-2,0 1,0 0,0 0,4 2,17 10,25 18,-45-31,-1 1,0 0,0 0,1 0,-1 0,-1 1,1-1,0 1,-1-1,1 1,-1-1,1 1,-1 0,1 4,-2-5,0 0,-1 0,1 0,-1 0,1 0,-1 0,0 0,1-1,-1 1,0 0,0 0,0-1,-1 1,1 0,0-1,-1 1,1-1,-1 0,1 1,-1-1,0 0,1 0,-1 0,0 0,0 0,0-1,0 1,0 0,0-1,0 0,-2 1,-9 2,0 0,-1 0,-15 0,6-2,2-1</inkml:trace>
</inkml:ink>
</file>

<file path=ppt/ink/ink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5.377"/>
    </inkml:context>
    <inkml:brush xml:id="br0">
      <inkml:brushProperty name="width" value="0.025" units="cm"/>
      <inkml:brushProperty name="height" value="0.025" units="cm"/>
      <inkml:brushProperty name="ignorePressure" value="1"/>
    </inkml:brush>
  </inkml:definitions>
  <inkml:trace contextRef="#ctx0" brushRef="#br0">0 21,'10'0,"7"0,3 0,-1-3,-1-1,0-1,0 2,1 0,3 2,1 0,-3 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338" y="0"/>
            <a:ext cx="3038475" cy="466725"/>
          </a:xfrm>
          <a:prstGeom prst="rect">
            <a:avLst/>
          </a:prstGeom>
        </p:spPr>
        <p:txBody>
          <a:bodyPr vert="horz" lIns="91440" tIns="45720" rIns="91440" bIns="45720" rtlCol="0"/>
          <a:lstStyle>
            <a:lvl1pPr algn="r">
              <a:defRPr sz="1200"/>
            </a:lvl1pPr>
          </a:lstStyle>
          <a:p>
            <a:fld id="{B8FF0985-4DD9-4444-90FD-F3D97D2F778D}" type="datetimeFigureOut">
              <a:rPr lang="en-US" smtClean="0"/>
              <a:t>4/2/2022</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73575"/>
            <a:ext cx="5607050" cy="366077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338" y="8829675"/>
            <a:ext cx="3038475" cy="466725"/>
          </a:xfrm>
          <a:prstGeom prst="rect">
            <a:avLst/>
          </a:prstGeom>
        </p:spPr>
        <p:txBody>
          <a:bodyPr vert="horz" lIns="91440" tIns="45720" rIns="91440" bIns="45720" rtlCol="0" anchor="b"/>
          <a:lstStyle>
            <a:lvl1pPr algn="r">
              <a:defRPr sz="1200"/>
            </a:lvl1pPr>
          </a:lstStyle>
          <a:p>
            <a:fld id="{156871FE-075C-493B-85AE-CB41313C4FA9}" type="slidenum">
              <a:rPr lang="en-US" smtClean="0"/>
              <a:t>‹#›</a:t>
            </a:fld>
            <a:endParaRPr lang="en-US"/>
          </a:p>
        </p:txBody>
      </p:sp>
      <p:sp>
        <p:nvSpPr>
          <p:cNvPr id="8" name="fl" descr="                              Dell - Internal Use - Confidential&#10;"/>
          <p:cNvSpPr txBox="1"/>
          <p:nvPr/>
        </p:nvSpPr>
        <p:spPr>
          <a:xfrm>
            <a:off x="0" y="8737600"/>
            <a:ext cx="7010400" cy="592470"/>
          </a:xfrm>
          <a:prstGeom prst="rect">
            <a:avLst/>
          </a:prstGeom>
          <a:noFill/>
        </p:spPr>
        <p:txBody>
          <a:bodyPr vert="horz" rtlCol="0">
            <a:spAutoFit/>
          </a:bodyPr>
          <a:lstStyle/>
          <a:p>
            <a:pPr algn="l"/>
            <a:r>
              <a:rPr lang="en-US" sz="850" b="1" i="0" u="none" baseline="0">
                <a:solidFill>
                  <a:srgbClr val="7F7F7F"/>
                </a:solidFill>
                <a:latin typeface="museo sans for dell"/>
              </a:rPr>
              <a:t>                              Dell - Internal Use - Confidential</a:t>
            </a:r>
          </a:p>
          <a:p>
            <a:endParaRPr lang="en-US"/>
          </a:p>
        </p:txBody>
      </p:sp>
    </p:spTree>
    <p:extLst>
      <p:ext uri="{BB962C8B-B14F-4D97-AF65-F5344CB8AC3E}">
        <p14:creationId xmlns:p14="http://schemas.microsoft.com/office/powerpoint/2010/main" val="11874371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036790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835441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2</a:t>
            </a:fld>
            <a:endParaRPr lang="en-US"/>
          </a:p>
        </p:txBody>
      </p:sp>
    </p:spTree>
    <p:extLst>
      <p:ext uri="{BB962C8B-B14F-4D97-AF65-F5344CB8AC3E}">
        <p14:creationId xmlns:p14="http://schemas.microsoft.com/office/powerpoint/2010/main" val="30461654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5</a:t>
            </a:fld>
            <a:endParaRPr lang="en-US"/>
          </a:p>
        </p:txBody>
      </p:sp>
    </p:spTree>
    <p:extLst>
      <p:ext uri="{BB962C8B-B14F-4D97-AF65-F5344CB8AC3E}">
        <p14:creationId xmlns:p14="http://schemas.microsoft.com/office/powerpoint/2010/main" val="16505246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22</a:t>
            </a:fld>
            <a:endParaRPr lang="en-US"/>
          </a:p>
        </p:txBody>
      </p:sp>
    </p:spTree>
    <p:extLst>
      <p:ext uri="{BB962C8B-B14F-4D97-AF65-F5344CB8AC3E}">
        <p14:creationId xmlns:p14="http://schemas.microsoft.com/office/powerpoint/2010/main" val="32837316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076086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974116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591847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130</a:t>
            </a:fld>
            <a:endParaRPr lang="en-US"/>
          </a:p>
        </p:txBody>
      </p:sp>
    </p:spTree>
    <p:extLst>
      <p:ext uri="{BB962C8B-B14F-4D97-AF65-F5344CB8AC3E}">
        <p14:creationId xmlns:p14="http://schemas.microsoft.com/office/powerpoint/2010/main" val="16525461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186</a:t>
            </a:fld>
            <a:endParaRPr lang="en-US"/>
          </a:p>
        </p:txBody>
      </p:sp>
    </p:spTree>
    <p:extLst>
      <p:ext uri="{BB962C8B-B14F-4D97-AF65-F5344CB8AC3E}">
        <p14:creationId xmlns:p14="http://schemas.microsoft.com/office/powerpoint/2010/main" val="14240926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rIns="0"/>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4319" y="1280160"/>
            <a:ext cx="7955279" cy="3200400"/>
          </a:xfrm>
          <a:prstGeom prst="rect">
            <a:avLst/>
          </a:prstGeom>
        </p:spPr>
        <p:txBody>
          <a:bodyPr wrap="square" lIns="0" tIns="0" rIns="0" bIns="0">
            <a:normAutofit/>
          </a:bodyPr>
          <a:lstStyle>
            <a:lvl1pPr marL="0" indent="0">
              <a:lnSpc>
                <a:spcPct val="100000"/>
              </a:lnSpc>
              <a:spcBef>
                <a:spcPts val="1200"/>
              </a:spcBef>
              <a:spcAft>
                <a:spcPts val="0"/>
              </a:spcAft>
              <a:buClr>
                <a:srgbClr val="AAAAAA"/>
              </a:buClr>
              <a:buFont typeface="Arial" pitchFamily="34" charset="0"/>
              <a:buNone/>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p:txBody>
      </p:sp>
    </p:spTree>
    <p:extLst>
      <p:ext uri="{BB962C8B-B14F-4D97-AF65-F5344CB8AC3E}">
        <p14:creationId xmlns:p14="http://schemas.microsoft.com/office/powerpoint/2010/main" val="2175678912"/>
      </p:ext>
    </p:extLst>
  </p:cSld>
  <p:clrMapOvr>
    <a:masterClrMapping/>
  </p:clrMapOvr>
  <p:transition spd="med">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rIns="0"/>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4320"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078062111"/>
      </p:ext>
    </p:extLst>
  </p:cSld>
  <p:clrMapOvr>
    <a:masterClrMapping/>
  </p:clrMapOvr>
  <p:transition spd="med">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274319" y="1097280"/>
            <a:ext cx="7955280" cy="238842"/>
          </a:xfrm>
          <a:prstGeom prst="rect">
            <a:avLst/>
          </a:prstGeom>
        </p:spPr>
        <p:txBody>
          <a:bodyPr lIns="0" tIns="0" rIns="0" bIns="0"/>
          <a:lstStyle>
            <a:lvl1pPr>
              <a:defRPr lang="en-US" b="1" dirty="0">
                <a:latin typeface="Arial" panose="020B0604020202020204" pitchFamily="34" charset="0"/>
                <a:cs typeface="Arial" panose="020B0604020202020204" pitchFamily="34" charset="0"/>
              </a:defRPr>
            </a:lvl1pPr>
          </a:lstStyle>
          <a:p>
            <a:pPr marL="0" lvl="0" indent="0">
              <a:buNone/>
            </a:pPr>
            <a:r>
              <a:rPr lang="en-US" dirty="0"/>
              <a:t>Subhead</a:t>
            </a:r>
          </a:p>
        </p:txBody>
      </p:sp>
      <p:sp>
        <p:nvSpPr>
          <p:cNvPr id="2" name="Title 1"/>
          <p:cNvSpPr>
            <a:spLocks noGrp="1"/>
          </p:cNvSpPr>
          <p:nvPr>
            <p:ph type="title" hasCustomPrompt="1"/>
          </p:nvPr>
        </p:nvSpPr>
        <p:spPr>
          <a:xfrm>
            <a:off x="274319" y="271885"/>
            <a:ext cx="7955280" cy="640080"/>
          </a:xfrm>
          <a:prstGeom prst="rect">
            <a:avLst/>
          </a:prstGeom>
        </p:spPr>
        <p:txBody>
          <a:bodyPr lIns="0" rIns="0">
            <a:normAutofit/>
          </a:bodyPr>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page title </a:t>
            </a:r>
          </a:p>
        </p:txBody>
      </p:sp>
      <p:sp>
        <p:nvSpPr>
          <p:cNvPr id="6" name="Content Placeholder 2"/>
          <p:cNvSpPr>
            <a:spLocks noGrp="1"/>
          </p:cNvSpPr>
          <p:nvPr>
            <p:ph sz="half" idx="1" hasCustomPrompt="1"/>
          </p:nvPr>
        </p:nvSpPr>
        <p:spPr>
          <a:xfrm>
            <a:off x="274320" y="1554480"/>
            <a:ext cx="7955280" cy="301752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254111004"/>
      </p:ext>
    </p:extLst>
  </p:cSld>
  <p:clrMapOvr>
    <a:masterClrMapping/>
  </p:clrMapOvr>
  <p:transition spd="med">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rIns="0"/>
          <a:lstStyle>
            <a:lvl1pPr>
              <a:defRPr>
                <a:solidFill>
                  <a:srgbClr val="007DB8"/>
                </a:solidFill>
                <a:latin typeface="Arial" panose="020B0604020202020204" pitchFamily="34" charset="0"/>
                <a:cs typeface="Arial" panose="020B0604020202020204" pitchFamily="34" charset="0"/>
              </a:defRPr>
            </a:lvl1pPr>
          </a:lstStyle>
          <a:p>
            <a:r>
              <a:rPr lang="en-US" dirty="0"/>
              <a:t>Click to edit content page title </a:t>
            </a:r>
          </a:p>
        </p:txBody>
      </p:sp>
      <p:sp>
        <p:nvSpPr>
          <p:cNvPr id="6" name="Content Placeholder 2"/>
          <p:cNvSpPr>
            <a:spLocks noGrp="1"/>
          </p:cNvSpPr>
          <p:nvPr>
            <p:ph sz="half" idx="13" hasCustomPrompt="1"/>
          </p:nvPr>
        </p:nvSpPr>
        <p:spPr>
          <a:xfrm>
            <a:off x="274320" y="1280160"/>
            <a:ext cx="384048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cs typeface="Arial" panose="020B0604020202020204" pitchFamily="34"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
        <p:nvSpPr>
          <p:cNvPr id="7" name="Content Placeholder 2"/>
          <p:cNvSpPr>
            <a:spLocks noGrp="1"/>
          </p:cNvSpPr>
          <p:nvPr>
            <p:ph sz="half" idx="14" hasCustomPrompt="1"/>
          </p:nvPr>
        </p:nvSpPr>
        <p:spPr>
          <a:xfrm>
            <a:off x="4389120" y="1280160"/>
            <a:ext cx="384048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cs typeface="Arial" panose="020B0604020202020204" pitchFamily="34"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024378676"/>
      </p:ext>
    </p:extLst>
  </p:cSld>
  <p:clrMapOvr>
    <a:masterClrMapping/>
  </p:clrMapOvr>
  <p:transition spd="med">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0" y="271463"/>
            <a:ext cx="4295219" cy="640080"/>
          </a:xfrm>
          <a:prstGeom prst="rect">
            <a:avLst/>
          </a:prstGeom>
        </p:spPr>
        <p:txBody>
          <a:bodyPr lIns="0" rIns="0"/>
          <a:lstStyle>
            <a:lvl1pPr>
              <a:defRPr>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
        <p:nvSpPr>
          <p:cNvPr id="8" name="Content Placeholder 2"/>
          <p:cNvSpPr>
            <a:spLocks noGrp="1"/>
          </p:cNvSpPr>
          <p:nvPr>
            <p:ph sz="half" idx="13" hasCustomPrompt="1"/>
          </p:nvPr>
        </p:nvSpPr>
        <p:spPr>
          <a:xfrm>
            <a:off x="274320" y="1280160"/>
            <a:ext cx="428386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cs typeface="Arial" panose="020B0604020202020204" pitchFamily="34" charset="0"/>
              </a:defRPr>
            </a:lvl3pPr>
            <a:lvl4pPr>
              <a:defRPr sz="10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424754075"/>
      </p:ext>
    </p:extLst>
  </p:cSld>
  <p:clrMapOvr>
    <a:masterClrMapping/>
  </p:clrMapOvr>
  <p:transition spd="med">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6"/>
            <a:ext cx="4865304" cy="486332"/>
          </a:xfrm>
          <a:prstGeom prst="rect">
            <a:avLst/>
          </a:prstGeom>
        </p:spPr>
        <p:txBody>
          <a:bodyPr lIns="0" rIns="0"/>
          <a:lstStyle>
            <a:lvl1pPr>
              <a:defRPr baseline="0">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3050" y="1280160"/>
            <a:ext cx="4297680"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rgbClr val="000000"/>
                </a:solidFill>
                <a:latin typeface="Arial" panose="020B0604020202020204" pitchFamily="34" charset="0"/>
                <a:cs typeface="Arial" panose="020B0604020202020204" pitchFamily="34"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a:p>
            <a:pPr lvl="3"/>
            <a:r>
              <a:rPr lang="en-US" dirty="0"/>
              <a:t>Fourth level</a:t>
            </a:r>
          </a:p>
        </p:txBody>
      </p:sp>
      <p:sp>
        <p:nvSpPr>
          <p:cNvPr id="5" name="Text Placeholder 7"/>
          <p:cNvSpPr>
            <a:spLocks noGrp="1"/>
          </p:cNvSpPr>
          <p:nvPr>
            <p:ph type="body" sz="quarter" idx="10" hasCustomPrompt="1"/>
          </p:nvPr>
        </p:nvSpPr>
        <p:spPr>
          <a:xfrm>
            <a:off x="273050" y="819150"/>
            <a:ext cx="4297680" cy="238842"/>
          </a:xfrm>
          <a:prstGeom prst="rect">
            <a:avLst/>
          </a:prstGeom>
        </p:spPr>
        <p:txBody>
          <a:bodyPr lIns="0" tIns="0" rIns="0" bIns="0"/>
          <a:lstStyle>
            <a:lvl1pPr marL="0" indent="0">
              <a:buNone/>
              <a:defRPr b="1">
                <a:solidFill>
                  <a:srgbClr val="000000"/>
                </a:solidFill>
                <a:latin typeface="Arial" panose="020B0604020202020204" pitchFamily="34" charset="0"/>
                <a:cs typeface="Arial" panose="020B0604020202020204" pitchFamily="34" charset="0"/>
              </a:defRPr>
            </a:lvl1pPr>
          </a:lstStyle>
          <a:p>
            <a:pPr lvl="0"/>
            <a:r>
              <a:rPr lang="en-US" dirty="0"/>
              <a:t>Subhead</a:t>
            </a:r>
          </a:p>
        </p:txBody>
      </p:sp>
    </p:spTree>
    <p:extLst>
      <p:ext uri="{BB962C8B-B14F-4D97-AF65-F5344CB8AC3E}">
        <p14:creationId xmlns:p14="http://schemas.microsoft.com/office/powerpoint/2010/main" val="2462848660"/>
      </p:ext>
    </p:extLst>
  </p:cSld>
  <p:clrMapOvr>
    <a:masterClrMapping/>
  </p:clrMapOvr>
  <p:transition spd="med">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664797"/>
          </a:xfrm>
          <a:prstGeom prst="rect">
            <a:avLst/>
          </a:prstGeom>
        </p:spPr>
        <p:txBody>
          <a:bodyPr lIns="0" rIns="0"/>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a:t>
            </a:r>
            <a:br>
              <a:rPr lang="en-US" dirty="0"/>
            </a:br>
            <a:r>
              <a:rPr lang="en-US" dirty="0"/>
              <a:t>page title</a:t>
            </a:r>
          </a:p>
        </p:txBody>
      </p:sp>
      <p:sp>
        <p:nvSpPr>
          <p:cNvPr id="6" name="Content Placeholder 2"/>
          <p:cNvSpPr>
            <a:spLocks noGrp="1"/>
          </p:cNvSpPr>
          <p:nvPr>
            <p:ph sz="half" idx="1" hasCustomPrompt="1"/>
          </p:nvPr>
        </p:nvSpPr>
        <p:spPr>
          <a:xfrm>
            <a:off x="274320" y="1554480"/>
            <a:ext cx="4297680" cy="301752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
        <p:nvSpPr>
          <p:cNvPr id="5" name="Text Placeholder 7"/>
          <p:cNvSpPr>
            <a:spLocks noGrp="1"/>
          </p:cNvSpPr>
          <p:nvPr>
            <p:ph type="body" sz="quarter" idx="10" hasCustomPrompt="1"/>
          </p:nvPr>
        </p:nvSpPr>
        <p:spPr>
          <a:xfrm>
            <a:off x="274320" y="1113348"/>
            <a:ext cx="4297680" cy="238842"/>
          </a:xfrm>
          <a:prstGeom prst="rect">
            <a:avLst/>
          </a:prstGeom>
        </p:spPr>
        <p:txBody>
          <a:bodyPr lIns="0" rIns="0"/>
          <a:lstStyle>
            <a:lvl1pPr marL="0" indent="0">
              <a:buNone/>
              <a:defRPr b="1">
                <a:solidFill>
                  <a:srgbClr val="000000"/>
                </a:solidFill>
                <a:latin typeface="Arial" panose="020B0604020202020204" pitchFamily="34" charset="0"/>
                <a:cs typeface="Arial" panose="020B0604020202020204" pitchFamily="34" charset="0"/>
              </a:defRPr>
            </a:lvl1pPr>
          </a:lstStyle>
          <a:p>
            <a:pPr lvl="0"/>
            <a:r>
              <a:rPr lang="en-US" dirty="0"/>
              <a:t>Subhead</a:t>
            </a:r>
          </a:p>
        </p:txBody>
      </p:sp>
    </p:spTree>
    <p:extLst>
      <p:ext uri="{BB962C8B-B14F-4D97-AF65-F5344CB8AC3E}">
        <p14:creationId xmlns:p14="http://schemas.microsoft.com/office/powerpoint/2010/main" val="78229640"/>
      </p:ext>
    </p:extLst>
  </p:cSld>
  <p:clrMapOvr>
    <a:masterClrMapping/>
  </p:clrMapOvr>
  <p:transition spd="med">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0" rIns="0"/>
          <a:lstStyle>
            <a:lvl1pPr>
              <a:defRPr>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775402808"/>
      </p:ext>
    </p:extLst>
  </p:cSld>
  <p:clrMapOvr>
    <a:masterClrMapping/>
  </p:clrMapOvr>
  <p:transition spd="med">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2"/>
            <a:ext cx="8229600" cy="637794"/>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478809198"/>
      </p:ext>
    </p:extLst>
  </p:cSld>
  <p:clrMapOvr>
    <a:masterClrMapping/>
  </p:clrMapOvr>
  <p:transition spd="med">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476"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4/2/2022</a:t>
            </a:fld>
            <a:endParaRPr lang="en-US" sz="900" dirty="0">
              <a:solidFill>
                <a:schemeClr val="bg2">
                  <a:lumMod val="50000"/>
                  <a:lumOff val="50000"/>
                </a:schemeClr>
              </a:solidFill>
              <a:latin typeface="+mn-lt"/>
            </a:endParaRPr>
          </a:p>
        </p:txBody>
      </p:sp>
      <p:sp>
        <p:nvSpPr>
          <p:cNvPr id="13" name="TextBox 12" hidden="1"/>
          <p:cNvSpPr txBox="1"/>
          <p:nvPr/>
        </p:nvSpPr>
        <p:spPr>
          <a:xfrm>
            <a:off x="1895476"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4/2/2022</a:t>
            </a:fld>
            <a:endParaRPr lang="en-US" sz="900" dirty="0">
              <a:solidFill>
                <a:schemeClr val="bg2">
                  <a:lumMod val="50000"/>
                  <a:lumOff val="50000"/>
                </a:schemeClr>
              </a:solidFill>
              <a:latin typeface="+mn-lt"/>
            </a:endParaRPr>
          </a:p>
        </p:txBody>
      </p:sp>
      <p:sp>
        <p:nvSpPr>
          <p:cNvPr id="22" name="TextBox 21"/>
          <p:cNvSpPr txBox="1"/>
          <p:nvPr/>
        </p:nvSpPr>
        <p:spPr>
          <a:xfrm>
            <a:off x="295274" y="4832722"/>
            <a:ext cx="0" cy="119905"/>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endParaRPr lang="en-US" sz="850" kern="1200" dirty="0" err="1">
              <a:solidFill>
                <a:schemeClr val="bg2">
                  <a:lumMod val="50000"/>
                  <a:lumOff val="50000"/>
                </a:schemeClr>
              </a:solidFill>
              <a:latin typeface="+mn-lt"/>
              <a:ea typeface="+mn-ea"/>
              <a:cs typeface="+mn-cs"/>
            </a:endParaRPr>
          </a:p>
        </p:txBody>
      </p:sp>
      <p:sp>
        <p:nvSpPr>
          <p:cNvPr id="24" name="TextBox 23"/>
          <p:cNvSpPr txBox="1"/>
          <p:nvPr/>
        </p:nvSpPr>
        <p:spPr>
          <a:xfrm>
            <a:off x="295274" y="4832722"/>
            <a:ext cx="0" cy="119905"/>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endParaRPr lang="en-US" sz="850" kern="1200" dirty="0" err="1">
              <a:solidFill>
                <a:schemeClr val="bg2">
                  <a:lumMod val="50000"/>
                  <a:lumOff val="50000"/>
                </a:schemeClr>
              </a:solidFill>
              <a:latin typeface="+mn-lt"/>
              <a:ea typeface="+mn-ea"/>
              <a:cs typeface="+mn-cs"/>
            </a:endParaRPr>
          </a:p>
        </p:txBody>
      </p:sp>
      <p:sp>
        <p:nvSpPr>
          <p:cNvPr id="25" name="TextBox 24"/>
          <p:cNvSpPr txBox="1"/>
          <p:nvPr/>
        </p:nvSpPr>
        <p:spPr>
          <a:xfrm>
            <a:off x="8733880" y="4951976"/>
            <a:ext cx="141064" cy="119905"/>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fld id="{58EC7406-F4CC-4ABF-902E-2AF4E70E5C0F}" type="slidenum">
              <a:rPr lang="en-US" sz="850" b="0" kern="1200" smtClean="0">
                <a:solidFill>
                  <a:schemeClr val="bg2">
                    <a:lumMod val="50000"/>
                    <a:lumOff val="50000"/>
                  </a:schemeClr>
                </a:solidFill>
                <a:latin typeface="+mn-lt"/>
                <a:ea typeface="+mn-ea"/>
                <a:cs typeface="+mn-cs"/>
              </a:rPr>
              <a:pPr algn="r" rtl="0" fontAlgn="base">
                <a:lnSpc>
                  <a:spcPct val="90000"/>
                </a:lnSpc>
                <a:spcBef>
                  <a:spcPct val="0"/>
                </a:spcBef>
                <a:spcAft>
                  <a:spcPct val="0"/>
                </a:spcAft>
                <a:buClr>
                  <a:schemeClr val="bg1"/>
                </a:buClr>
              </a:pPr>
              <a:t>‹#›</a:t>
            </a:fld>
            <a:endParaRPr lang="en-US" sz="850" b="0" kern="1200" dirty="0" err="1">
              <a:solidFill>
                <a:schemeClr val="bg2">
                  <a:lumMod val="50000"/>
                  <a:lumOff val="50000"/>
                </a:schemeClr>
              </a:solidFill>
              <a:latin typeface="+mn-lt"/>
              <a:ea typeface="+mn-ea"/>
              <a:cs typeface="+mn-cs"/>
            </a:endParaRPr>
          </a:p>
        </p:txBody>
      </p:sp>
      <p:sp>
        <p:nvSpPr>
          <p:cNvPr id="2" name="MSIPCMContentMarking" descr="{&quot;HashCode&quot;:-1912962988,&quot;Placement&quot;:&quot;Footer&quot;}">
            <a:extLst>
              <a:ext uri="{FF2B5EF4-FFF2-40B4-BE49-F238E27FC236}">
                <a16:creationId xmlns:a16="http://schemas.microsoft.com/office/drawing/2014/main" id="{F328E8F9-C379-4B42-A39A-E2B6F2E173A0}"/>
              </a:ext>
            </a:extLst>
          </p:cNvPr>
          <p:cNvSpPr txBox="1"/>
          <p:nvPr userDrawn="1"/>
        </p:nvSpPr>
        <p:spPr>
          <a:xfrm>
            <a:off x="-71846" y="4769553"/>
            <a:ext cx="1185008" cy="161583"/>
          </a:xfrm>
          <a:prstGeom prst="rect">
            <a:avLst/>
          </a:prstGeom>
          <a:noFill/>
        </p:spPr>
        <p:txBody>
          <a:bodyPr vert="horz" wrap="square" lIns="0" tIns="0" rIns="0" bIns="0" rtlCol="0" anchor="ctr" anchorCtr="1">
            <a:spAutoFit/>
          </a:bodyPr>
          <a:lstStyle/>
          <a:p>
            <a:pPr algn="l">
              <a:spcBef>
                <a:spcPts val="0"/>
              </a:spcBef>
              <a:spcAft>
                <a:spcPts val="0"/>
              </a:spcAft>
              <a:buClr>
                <a:schemeClr val="bg1"/>
              </a:buClr>
            </a:pPr>
            <a:r>
              <a:rPr lang="en-US" sz="1050" dirty="0">
                <a:solidFill>
                  <a:srgbClr val="7F7F7F"/>
                </a:solidFill>
                <a:latin typeface="Calibri" panose="020F0502020204030204" pitchFamily="34" charset="0"/>
              </a:rPr>
              <a:t>Trainer : Arun</a:t>
            </a:r>
            <a:endParaRPr lang="en-US" sz="700" dirty="0">
              <a:solidFill>
                <a:srgbClr val="7F7F7F"/>
              </a:solidFill>
              <a:latin typeface="Calibri" panose="020F0502020204030204" pitchFamily="34" charset="0"/>
            </a:endParaRPr>
          </a:p>
        </p:txBody>
      </p:sp>
      <p:sp>
        <p:nvSpPr>
          <p:cNvPr id="10" name="MSIPCMContentMarking" descr="{&quot;HashCode&quot;:-1912962988,&quot;Placement&quot;:&quot;Footer&quot;}">
            <a:extLst>
              <a:ext uri="{FF2B5EF4-FFF2-40B4-BE49-F238E27FC236}">
                <a16:creationId xmlns:a16="http://schemas.microsoft.com/office/drawing/2014/main" id="{D04AD605-86D5-49BD-9594-34302F56EB58}"/>
              </a:ext>
            </a:extLst>
          </p:cNvPr>
          <p:cNvSpPr txBox="1"/>
          <p:nvPr userDrawn="1"/>
        </p:nvSpPr>
        <p:spPr>
          <a:xfrm>
            <a:off x="-1" y="4931136"/>
            <a:ext cx="1665509" cy="161583"/>
          </a:xfrm>
          <a:prstGeom prst="rect">
            <a:avLst/>
          </a:prstGeom>
          <a:noFill/>
        </p:spPr>
        <p:txBody>
          <a:bodyPr vert="horz" wrap="square" lIns="0" tIns="0" rIns="0" bIns="0" rtlCol="0" anchor="ctr" anchorCtr="1">
            <a:spAutoFit/>
          </a:bodyPr>
          <a:lstStyle/>
          <a:p>
            <a:pPr algn="l">
              <a:spcBef>
                <a:spcPts val="0"/>
              </a:spcBef>
              <a:spcAft>
                <a:spcPts val="0"/>
              </a:spcAft>
              <a:buClr>
                <a:schemeClr val="bg1"/>
              </a:buClr>
            </a:pPr>
            <a:r>
              <a:rPr lang="en-US" sz="1050" dirty="0">
                <a:solidFill>
                  <a:srgbClr val="7F7F7F"/>
                </a:solidFill>
                <a:latin typeface="Calibri" panose="020F0502020204030204" pitchFamily="34" charset="0"/>
              </a:rPr>
              <a:t>Statistics for Data Science</a:t>
            </a:r>
            <a:endParaRPr lang="en-US" sz="7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2209482782"/>
      </p:ext>
    </p:extLst>
  </p:cSld>
  <p:clrMap bg1="dk2" tx1="lt1" bg2="dk1" tx2="lt2" accent1="accent1" accent2="accent2" accent3="accent3" accent4="accent4" accent5="accent5" accent6="accent6" hlink="hlink" folHlink="folHlink"/>
  <p:sldLayoutIdLst>
    <p:sldLayoutId id="2147484367" r:id="rId1"/>
    <p:sldLayoutId id="2147484244" r:id="rId2"/>
    <p:sldLayoutId id="2147484245" r:id="rId3"/>
    <p:sldLayoutId id="2147484246" r:id="rId4"/>
    <p:sldLayoutId id="2147484247" r:id="rId5"/>
    <p:sldLayoutId id="2147484460" r:id="rId6"/>
    <p:sldLayoutId id="2147484249" r:id="rId7"/>
    <p:sldLayoutId id="2147484250" r:id="rId8"/>
    <p:sldLayoutId id="2147484463" r:id="rId9"/>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84">
          <p15:clr>
            <a:srgbClr val="F26B43"/>
          </p15:clr>
        </p15:guide>
        <p15:guide id="2" pos="288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tags" Target="../tags/tag2.xml"/><Relationship Id="rId7" Type="http://schemas.openxmlformats.org/officeDocument/2006/relationships/image" Target="../media/image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9.xml"/><Relationship Id="rId9" Type="http://schemas.openxmlformats.org/officeDocument/2006/relationships/hyperlink" Target="https://scherlund.blogspot.com/2018/01/ai-and-machine-learning-give-new.html"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3" Type="http://schemas.openxmlformats.org/officeDocument/2006/relationships/customXml" Target="../ink/ink171.xml"/><Relationship Id="rId2" Type="http://schemas.openxmlformats.org/officeDocument/2006/relationships/image" Target="../media/image206.png"/><Relationship Id="rId1" Type="http://schemas.openxmlformats.org/officeDocument/2006/relationships/slideLayout" Target="../slideLayouts/slideLayout9.xml"/><Relationship Id="rId4" Type="http://schemas.openxmlformats.org/officeDocument/2006/relationships/image" Target="../media/image207.png"/></Relationships>
</file>

<file path=ppt/slides/_rels/slide101.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customXml" Target="../ink/ink172.xml"/><Relationship Id="rId1" Type="http://schemas.openxmlformats.org/officeDocument/2006/relationships/slideLayout" Target="../slideLayouts/slideLayout9.xml"/></Relationships>
</file>

<file path=ppt/slides/_rels/slide102.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image" Target="../media/image207.emf"/><Relationship Id="rId1" Type="http://schemas.openxmlformats.org/officeDocument/2006/relationships/slideLayout" Target="../slideLayouts/slideLayout9.xml"/><Relationship Id="rId6" Type="http://schemas.openxmlformats.org/officeDocument/2006/relationships/image" Target="../media/image212.png"/><Relationship Id="rId5" Type="http://schemas.openxmlformats.org/officeDocument/2006/relationships/customXml" Target="../ink/ink173.xml"/><Relationship Id="rId4" Type="http://schemas.openxmlformats.org/officeDocument/2006/relationships/image" Target="../media/image210.png"/></Relationships>
</file>

<file path=ppt/slides/_rels/slide103.xml.rels><?xml version="1.0" encoding="UTF-8" standalone="yes"?>
<Relationships xmlns="http://schemas.openxmlformats.org/package/2006/relationships"><Relationship Id="rId3" Type="http://schemas.openxmlformats.org/officeDocument/2006/relationships/customXml" Target="../ink/ink174.xml"/><Relationship Id="rId2" Type="http://schemas.openxmlformats.org/officeDocument/2006/relationships/image" Target="../media/image211.png"/><Relationship Id="rId1" Type="http://schemas.openxmlformats.org/officeDocument/2006/relationships/slideLayout" Target="../slideLayouts/slideLayout9.xml"/><Relationship Id="rId4" Type="http://schemas.openxmlformats.org/officeDocument/2006/relationships/image" Target="../media/image214.png"/></Relationships>
</file>

<file path=ppt/slides/_rels/slide104.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image" Target="../media/image211.png"/><Relationship Id="rId1" Type="http://schemas.openxmlformats.org/officeDocument/2006/relationships/slideLayout" Target="../slideLayouts/slideLayout9.xml"/><Relationship Id="rId5" Type="http://schemas.openxmlformats.org/officeDocument/2006/relationships/image" Target="../media/image216.png"/><Relationship Id="rId4" Type="http://schemas.openxmlformats.org/officeDocument/2006/relationships/customXml" Target="../ink/ink175.xml"/></Relationships>
</file>

<file path=ppt/slides/_rels/slide105.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hyperlink" Target="https://www.mathsisfun.com/data/bar-graphs.html" TargetMode="External"/><Relationship Id="rId1" Type="http://schemas.openxmlformats.org/officeDocument/2006/relationships/slideLayout" Target="../slideLayouts/slideLayout9.xml"/><Relationship Id="rId6" Type="http://schemas.openxmlformats.org/officeDocument/2006/relationships/image" Target="../media/image219.png"/><Relationship Id="rId5" Type="http://schemas.openxmlformats.org/officeDocument/2006/relationships/customXml" Target="../ink/ink176.xml"/><Relationship Id="rId4" Type="http://schemas.openxmlformats.org/officeDocument/2006/relationships/image" Target="../media/image217.png"/></Relationships>
</file>

<file path=ppt/slides/_rels/slide106.xml.rels><?xml version="1.0" encoding="UTF-8" standalone="yes"?>
<Relationships xmlns="http://schemas.openxmlformats.org/package/2006/relationships"><Relationship Id="rId3" Type="http://schemas.openxmlformats.org/officeDocument/2006/relationships/customXml" Target="../ink/ink177.xml"/><Relationship Id="rId2" Type="http://schemas.openxmlformats.org/officeDocument/2006/relationships/image" Target="../media/image217.png"/><Relationship Id="rId1" Type="http://schemas.openxmlformats.org/officeDocument/2006/relationships/slideLayout" Target="../slideLayouts/slideLayout9.xml"/><Relationship Id="rId4" Type="http://schemas.openxmlformats.org/officeDocument/2006/relationships/image" Target="../media/image220.png"/></Relationships>
</file>

<file path=ppt/slides/_rels/slide107.xml.rels><?xml version="1.0" encoding="UTF-8" standalone="yes"?>
<Relationships xmlns="http://schemas.openxmlformats.org/package/2006/relationships"><Relationship Id="rId3" Type="http://schemas.openxmlformats.org/officeDocument/2006/relationships/image" Target="../media/image219.emf"/><Relationship Id="rId7" Type="http://schemas.openxmlformats.org/officeDocument/2006/relationships/image" Target="../media/image223.png"/><Relationship Id="rId2" Type="http://schemas.openxmlformats.org/officeDocument/2006/relationships/image" Target="../media/image218.png"/><Relationship Id="rId1" Type="http://schemas.openxmlformats.org/officeDocument/2006/relationships/slideLayout" Target="../slideLayouts/slideLayout5.xml"/><Relationship Id="rId6" Type="http://schemas.openxmlformats.org/officeDocument/2006/relationships/customXml" Target="../ink/ink178.xml"/><Relationship Id="rId5" Type="http://schemas.openxmlformats.org/officeDocument/2006/relationships/hyperlink" Target="https://www.mathsisfun.com/data/bar-graphs.html" TargetMode="External"/><Relationship Id="rId4" Type="http://schemas.openxmlformats.org/officeDocument/2006/relationships/hyperlink" Target="https://www.mathsisfun.com/data/data-discrete-continuous.html" TargetMode="External"/></Relationships>
</file>

<file path=ppt/slides/_rels/slide108.xml.rels><?xml version="1.0" encoding="UTF-8" standalone="yes"?>
<Relationships xmlns="http://schemas.openxmlformats.org/package/2006/relationships"><Relationship Id="rId3" Type="http://schemas.openxmlformats.org/officeDocument/2006/relationships/customXml" Target="../ink/ink179.xml"/><Relationship Id="rId2" Type="http://schemas.openxmlformats.org/officeDocument/2006/relationships/image" Target="../media/image221.png"/><Relationship Id="rId1" Type="http://schemas.openxmlformats.org/officeDocument/2006/relationships/slideLayout" Target="../slideLayouts/slideLayout5.xml"/><Relationship Id="rId4" Type="http://schemas.openxmlformats.org/officeDocument/2006/relationships/image" Target="../media/image225.png"/></Relationships>
</file>

<file path=ppt/slides/_rels/slide109.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image" Target="../media/image222.png"/><Relationship Id="rId1" Type="http://schemas.openxmlformats.org/officeDocument/2006/relationships/slideLayout" Target="../slideLayouts/slideLayout5.xml"/><Relationship Id="rId6" Type="http://schemas.openxmlformats.org/officeDocument/2006/relationships/image" Target="../media/image229.png"/><Relationship Id="rId5" Type="http://schemas.openxmlformats.org/officeDocument/2006/relationships/customXml" Target="../ink/ink180.xml"/><Relationship Id="rId4" Type="http://schemas.openxmlformats.org/officeDocument/2006/relationships/image" Target="../media/image226.png"/></Relationships>
</file>

<file path=ppt/slides/_rels/slide11.xml.rels><?xml version="1.0" encoding="UTF-8" standalone="yes"?>
<Relationships xmlns="http://schemas.openxmlformats.org/package/2006/relationships"><Relationship Id="rId3" Type="http://schemas.openxmlformats.org/officeDocument/2006/relationships/hyperlink" Target="http://www.collectedny.org/careerposts/assessing-job-offers/" TargetMode="External"/><Relationship Id="rId2" Type="http://schemas.openxmlformats.org/officeDocument/2006/relationships/image" Target="../media/image12.jpg"/><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hyperlink" Target="https://www.pexels.com/photo/university-entrance-arch-247823/" TargetMode="External"/><Relationship Id="rId4" Type="http://schemas.openxmlformats.org/officeDocument/2006/relationships/image" Target="../media/image13.jpeg"/></Relationships>
</file>

<file path=ppt/slides/_rels/slide110.xml.rels><?xml version="1.0" encoding="UTF-8" standalone="yes"?>
<Relationships xmlns="http://schemas.openxmlformats.org/package/2006/relationships"><Relationship Id="rId3" Type="http://schemas.openxmlformats.org/officeDocument/2006/relationships/customXml" Target="../ink/ink181.xml"/><Relationship Id="rId2" Type="http://schemas.openxmlformats.org/officeDocument/2006/relationships/image" Target="../media/image227.png"/><Relationship Id="rId1" Type="http://schemas.openxmlformats.org/officeDocument/2006/relationships/slideLayout" Target="../slideLayouts/slideLayout5.xml"/><Relationship Id="rId4" Type="http://schemas.openxmlformats.org/officeDocument/2006/relationships/image" Target="../media/image231.png"/></Relationships>
</file>

<file path=ppt/slides/_rels/slide111.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image" Target="../media/image228.png"/><Relationship Id="rId1" Type="http://schemas.openxmlformats.org/officeDocument/2006/relationships/slideLayout" Target="../slideLayouts/slideLayout5.xml"/><Relationship Id="rId6" Type="http://schemas.openxmlformats.org/officeDocument/2006/relationships/image" Target="../media/image235.png"/><Relationship Id="rId5" Type="http://schemas.openxmlformats.org/officeDocument/2006/relationships/customXml" Target="../ink/ink182.xml"/><Relationship Id="rId4" Type="http://schemas.openxmlformats.org/officeDocument/2006/relationships/image" Target="../media/image232.png"/></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7.xml.rels><?xml version="1.0" encoding="UTF-8" standalone="yes"?>
<Relationships xmlns="http://schemas.openxmlformats.org/package/2006/relationships"><Relationship Id="rId3" Type="http://schemas.openxmlformats.org/officeDocument/2006/relationships/hyperlink" Target="https://www.mathsisfun.com/data/standard-normal-distribution.html" TargetMode="External"/><Relationship Id="rId2" Type="http://schemas.openxmlformats.org/officeDocument/2006/relationships/image" Target="../media/image233.png"/><Relationship Id="rId1" Type="http://schemas.openxmlformats.org/officeDocument/2006/relationships/slideLayout" Target="../slideLayouts/slideLayout5.xml"/><Relationship Id="rId5" Type="http://schemas.openxmlformats.org/officeDocument/2006/relationships/image" Target="../media/image234.png"/><Relationship Id="rId4" Type="http://schemas.openxmlformats.org/officeDocument/2006/relationships/customXml" Target="../ink/ink183.xml"/></Relationships>
</file>

<file path=ppt/slides/_rels/slide118.xml.rels><?xml version="1.0" encoding="UTF-8" standalone="yes"?>
<Relationships xmlns="http://schemas.openxmlformats.org/package/2006/relationships"><Relationship Id="rId3" Type="http://schemas.openxmlformats.org/officeDocument/2006/relationships/customXml" Target="../ink/ink184.xml"/><Relationship Id="rId2" Type="http://schemas.openxmlformats.org/officeDocument/2006/relationships/image" Target="../media/image236.png"/><Relationship Id="rId1" Type="http://schemas.openxmlformats.org/officeDocument/2006/relationships/slideLayout" Target="../slideLayouts/slideLayout5.xml"/><Relationship Id="rId4" Type="http://schemas.openxmlformats.org/officeDocument/2006/relationships/image" Target="../media/image237.png"/></Relationships>
</file>

<file path=ppt/slides/_rels/slide119.xml.rels><?xml version="1.0" encoding="UTF-8" standalone="yes"?>
<Relationships xmlns="http://schemas.openxmlformats.org/package/2006/relationships"><Relationship Id="rId3" Type="http://schemas.openxmlformats.org/officeDocument/2006/relationships/customXml" Target="../ink/ink185.xml"/><Relationship Id="rId2" Type="http://schemas.openxmlformats.org/officeDocument/2006/relationships/image" Target="../media/image238.png"/><Relationship Id="rId1" Type="http://schemas.openxmlformats.org/officeDocument/2006/relationships/slideLayout" Target="../slideLayouts/slideLayout5.xml"/><Relationship Id="rId4" Type="http://schemas.openxmlformats.org/officeDocument/2006/relationships/image" Target="../media/image239.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3" Type="http://schemas.openxmlformats.org/officeDocument/2006/relationships/customXml" Target="../ink/ink186.xml"/><Relationship Id="rId2" Type="http://schemas.openxmlformats.org/officeDocument/2006/relationships/image" Target="../media/image240.png"/><Relationship Id="rId1" Type="http://schemas.openxmlformats.org/officeDocument/2006/relationships/slideLayout" Target="../slideLayouts/slideLayout5.xml"/><Relationship Id="rId4" Type="http://schemas.openxmlformats.org/officeDocument/2006/relationships/image" Target="../media/image241.png"/></Relationships>
</file>

<file path=ppt/slides/_rels/slide121.xml.rels><?xml version="1.0" encoding="UTF-8" standalone="yes"?>
<Relationships xmlns="http://schemas.openxmlformats.org/package/2006/relationships"><Relationship Id="rId3" Type="http://schemas.openxmlformats.org/officeDocument/2006/relationships/customXml" Target="../ink/ink187.xml"/><Relationship Id="rId2" Type="http://schemas.openxmlformats.org/officeDocument/2006/relationships/image" Target="../media/image242.png"/><Relationship Id="rId1" Type="http://schemas.openxmlformats.org/officeDocument/2006/relationships/slideLayout" Target="../slideLayouts/slideLayout5.xml"/><Relationship Id="rId4" Type="http://schemas.openxmlformats.org/officeDocument/2006/relationships/image" Target="../media/image243.png"/></Relationships>
</file>

<file path=ppt/slides/_rels/slide122.xml.rels><?xml version="1.0" encoding="UTF-8" standalone="yes"?>
<Relationships xmlns="http://schemas.openxmlformats.org/package/2006/relationships"><Relationship Id="rId3" Type="http://schemas.openxmlformats.org/officeDocument/2006/relationships/customXml" Target="../ink/ink188.xml"/><Relationship Id="rId2" Type="http://schemas.openxmlformats.org/officeDocument/2006/relationships/image" Target="../media/image244.png"/><Relationship Id="rId1" Type="http://schemas.openxmlformats.org/officeDocument/2006/relationships/slideLayout" Target="../slideLayouts/slideLayout5.xml"/><Relationship Id="rId4" Type="http://schemas.openxmlformats.org/officeDocument/2006/relationships/image" Target="../media/image245.png"/></Relationships>
</file>

<file path=ppt/slides/_rels/slide123.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customXml" Target="../ink/ink189.xml"/><Relationship Id="rId1" Type="http://schemas.openxmlformats.org/officeDocument/2006/relationships/slideLayout" Target="../slideLayouts/slideLayout5.xml"/></Relationships>
</file>

<file path=ppt/slides/_rels/slide124.xml.rels><?xml version="1.0" encoding="UTF-8" standalone="yes"?>
<Relationships xmlns="http://schemas.openxmlformats.org/package/2006/relationships"><Relationship Id="rId3" Type="http://schemas.openxmlformats.org/officeDocument/2006/relationships/hyperlink" Target="https://pxhere.com/en/photo/1098814" TargetMode="External"/><Relationship Id="rId2" Type="http://schemas.openxmlformats.org/officeDocument/2006/relationships/image" Target="../media/image247.jpeg"/><Relationship Id="rId1" Type="http://schemas.openxmlformats.org/officeDocument/2006/relationships/slideLayout" Target="../slideLayouts/slideLayout5.xml"/><Relationship Id="rId5" Type="http://schemas.openxmlformats.org/officeDocument/2006/relationships/image" Target="../media/image248.png"/><Relationship Id="rId4" Type="http://schemas.openxmlformats.org/officeDocument/2006/relationships/customXml" Target="../ink/ink190.xml"/></Relationships>
</file>

<file path=ppt/slides/_rels/slide125.xml.rels><?xml version="1.0" encoding="UTF-8" standalone="yes"?>
<Relationships xmlns="http://schemas.openxmlformats.org/package/2006/relationships"><Relationship Id="rId3" Type="http://schemas.openxmlformats.org/officeDocument/2006/relationships/image" Target="../media/image249.png"/><Relationship Id="rId2" Type="http://schemas.openxmlformats.org/officeDocument/2006/relationships/customXml" Target="../ink/ink191.xml"/><Relationship Id="rId1" Type="http://schemas.openxmlformats.org/officeDocument/2006/relationships/slideLayout" Target="../slideLayouts/slideLayout5.xml"/></Relationships>
</file>

<file path=ppt/slides/_rels/slide126.xml.rels><?xml version="1.0" encoding="UTF-8" standalone="yes"?>
<Relationships xmlns="http://schemas.openxmlformats.org/package/2006/relationships"><Relationship Id="rId8" Type="http://schemas.openxmlformats.org/officeDocument/2006/relationships/customXml" Target="../ink/ink195.xml"/><Relationship Id="rId3" Type="http://schemas.openxmlformats.org/officeDocument/2006/relationships/image" Target="../media/image1870.png"/><Relationship Id="rId7" Type="http://schemas.openxmlformats.org/officeDocument/2006/relationships/image" Target="../media/image1890.png"/><Relationship Id="rId2" Type="http://schemas.openxmlformats.org/officeDocument/2006/relationships/customXml" Target="../ink/ink192.xml"/><Relationship Id="rId1" Type="http://schemas.openxmlformats.org/officeDocument/2006/relationships/slideLayout" Target="../slideLayouts/slideLayout5.xml"/><Relationship Id="rId6" Type="http://schemas.openxmlformats.org/officeDocument/2006/relationships/customXml" Target="../ink/ink194.xml"/><Relationship Id="rId5" Type="http://schemas.openxmlformats.org/officeDocument/2006/relationships/image" Target="../media/image1880.png"/><Relationship Id="rId4" Type="http://schemas.openxmlformats.org/officeDocument/2006/relationships/customXml" Target="../ink/ink193.xml"/><Relationship Id="rId9" Type="http://schemas.openxmlformats.org/officeDocument/2006/relationships/image" Target="../media/image250.png"/></Relationships>
</file>

<file path=ppt/slides/_rels/slide127.xml.rels><?xml version="1.0" encoding="UTF-8" standalone="yes"?>
<Relationships xmlns="http://schemas.openxmlformats.org/package/2006/relationships"><Relationship Id="rId26" Type="http://schemas.openxmlformats.org/officeDocument/2006/relationships/image" Target="../media/image2020.png"/><Relationship Id="rId117" Type="http://schemas.openxmlformats.org/officeDocument/2006/relationships/image" Target="../media/image252.png"/><Relationship Id="rId21" Type="http://schemas.openxmlformats.org/officeDocument/2006/relationships/customXml" Target="../ink/ink205.xml"/><Relationship Id="rId42" Type="http://schemas.openxmlformats.org/officeDocument/2006/relationships/image" Target="../media/image2100.png"/><Relationship Id="rId47" Type="http://schemas.openxmlformats.org/officeDocument/2006/relationships/customXml" Target="../ink/ink218.xml"/><Relationship Id="rId63" Type="http://schemas.openxmlformats.org/officeDocument/2006/relationships/image" Target="../media/image2200.png"/><Relationship Id="rId68" Type="http://schemas.openxmlformats.org/officeDocument/2006/relationships/customXml" Target="../ink/ink229.xml"/><Relationship Id="rId84" Type="http://schemas.openxmlformats.org/officeDocument/2006/relationships/customXml" Target="../ink/ink237.xml"/><Relationship Id="rId89" Type="http://schemas.openxmlformats.org/officeDocument/2006/relationships/image" Target="../media/image2330.png"/><Relationship Id="rId112" Type="http://schemas.openxmlformats.org/officeDocument/2006/relationships/customXml" Target="../ink/ink251.xml"/><Relationship Id="rId16" Type="http://schemas.openxmlformats.org/officeDocument/2006/relationships/image" Target="../media/image1970.png"/><Relationship Id="rId107" Type="http://schemas.openxmlformats.org/officeDocument/2006/relationships/image" Target="../media/image2420.png"/><Relationship Id="rId11" Type="http://schemas.openxmlformats.org/officeDocument/2006/relationships/customXml" Target="../ink/ink200.xml"/><Relationship Id="rId32" Type="http://schemas.openxmlformats.org/officeDocument/2006/relationships/image" Target="../media/image2050.png"/><Relationship Id="rId37" Type="http://schemas.openxmlformats.org/officeDocument/2006/relationships/customXml" Target="../ink/ink213.xml"/><Relationship Id="rId53" Type="http://schemas.openxmlformats.org/officeDocument/2006/relationships/customXml" Target="../ink/ink221.xml"/><Relationship Id="rId58" Type="http://schemas.openxmlformats.org/officeDocument/2006/relationships/customXml" Target="../ink/ink224.xml"/><Relationship Id="rId74" Type="http://schemas.openxmlformats.org/officeDocument/2006/relationships/customXml" Target="../ink/ink232.xml"/><Relationship Id="rId79" Type="http://schemas.openxmlformats.org/officeDocument/2006/relationships/image" Target="../media/image2280.png"/><Relationship Id="rId102" Type="http://schemas.openxmlformats.org/officeDocument/2006/relationships/customXml" Target="../ink/ink246.xml"/><Relationship Id="rId5" Type="http://schemas.openxmlformats.org/officeDocument/2006/relationships/customXml" Target="../ink/ink197.xml"/><Relationship Id="rId90" Type="http://schemas.openxmlformats.org/officeDocument/2006/relationships/customXml" Target="../ink/ink240.xml"/><Relationship Id="rId95" Type="http://schemas.openxmlformats.org/officeDocument/2006/relationships/image" Target="../media/image2360.png"/><Relationship Id="rId22" Type="http://schemas.openxmlformats.org/officeDocument/2006/relationships/image" Target="../media/image2000.png"/><Relationship Id="rId27" Type="http://schemas.openxmlformats.org/officeDocument/2006/relationships/customXml" Target="../ink/ink208.xml"/><Relationship Id="rId43" Type="http://schemas.openxmlformats.org/officeDocument/2006/relationships/customXml" Target="../ink/ink216.xml"/><Relationship Id="rId48" Type="http://schemas.openxmlformats.org/officeDocument/2006/relationships/image" Target="../media/image2130.png"/><Relationship Id="rId64" Type="http://schemas.openxmlformats.org/officeDocument/2006/relationships/customXml" Target="../ink/ink227.xml"/><Relationship Id="rId69" Type="http://schemas.openxmlformats.org/officeDocument/2006/relationships/image" Target="../media/image2230.png"/><Relationship Id="rId113" Type="http://schemas.openxmlformats.org/officeDocument/2006/relationships/image" Target="../media/image2450.png"/><Relationship Id="rId80" Type="http://schemas.openxmlformats.org/officeDocument/2006/relationships/customXml" Target="../ink/ink235.xml"/><Relationship Id="rId85" Type="http://schemas.openxmlformats.org/officeDocument/2006/relationships/image" Target="../media/image2310.png"/><Relationship Id="rId12" Type="http://schemas.openxmlformats.org/officeDocument/2006/relationships/image" Target="../media/image1950.png"/><Relationship Id="rId17" Type="http://schemas.openxmlformats.org/officeDocument/2006/relationships/customXml" Target="../ink/ink203.xml"/><Relationship Id="rId33" Type="http://schemas.openxmlformats.org/officeDocument/2006/relationships/customXml" Target="../ink/ink211.xml"/><Relationship Id="rId38" Type="http://schemas.openxmlformats.org/officeDocument/2006/relationships/image" Target="../media/image2080.png"/><Relationship Id="rId59" Type="http://schemas.openxmlformats.org/officeDocument/2006/relationships/image" Target="../media/image2180.png"/><Relationship Id="rId103" Type="http://schemas.openxmlformats.org/officeDocument/2006/relationships/image" Target="../media/image2400.png"/><Relationship Id="rId108" Type="http://schemas.openxmlformats.org/officeDocument/2006/relationships/customXml" Target="../ink/ink249.xml"/><Relationship Id="rId54" Type="http://schemas.openxmlformats.org/officeDocument/2006/relationships/customXml" Target="../ink/ink222.xml"/><Relationship Id="rId70" Type="http://schemas.openxmlformats.org/officeDocument/2006/relationships/customXml" Target="../ink/ink230.xml"/><Relationship Id="rId75" Type="http://schemas.openxmlformats.org/officeDocument/2006/relationships/image" Target="../media/image2260.png"/><Relationship Id="rId91" Type="http://schemas.openxmlformats.org/officeDocument/2006/relationships/image" Target="../media/image2340.png"/><Relationship Id="rId96" Type="http://schemas.openxmlformats.org/officeDocument/2006/relationships/customXml" Target="../ink/ink243.xml"/><Relationship Id="rId1" Type="http://schemas.openxmlformats.org/officeDocument/2006/relationships/slideLayout" Target="../slideLayouts/slideLayout5.xml"/><Relationship Id="rId6" Type="http://schemas.openxmlformats.org/officeDocument/2006/relationships/image" Target="../media/image1920.png"/><Relationship Id="rId23" Type="http://schemas.openxmlformats.org/officeDocument/2006/relationships/customXml" Target="../ink/ink206.xml"/><Relationship Id="rId28" Type="http://schemas.openxmlformats.org/officeDocument/2006/relationships/image" Target="../media/image2030.png"/><Relationship Id="rId49" Type="http://schemas.openxmlformats.org/officeDocument/2006/relationships/customXml" Target="../ink/ink219.xml"/><Relationship Id="rId114" Type="http://schemas.openxmlformats.org/officeDocument/2006/relationships/customXml" Target="../ink/ink252.xml"/><Relationship Id="rId10" Type="http://schemas.openxmlformats.org/officeDocument/2006/relationships/image" Target="../media/image1940.png"/><Relationship Id="rId31" Type="http://schemas.openxmlformats.org/officeDocument/2006/relationships/customXml" Target="../ink/ink210.xml"/><Relationship Id="rId44" Type="http://schemas.openxmlformats.org/officeDocument/2006/relationships/image" Target="../media/image2110.png"/><Relationship Id="rId52" Type="http://schemas.openxmlformats.org/officeDocument/2006/relationships/image" Target="../media/image2150.png"/><Relationship Id="rId60" Type="http://schemas.openxmlformats.org/officeDocument/2006/relationships/customXml" Target="../ink/ink225.xml"/><Relationship Id="rId65" Type="http://schemas.openxmlformats.org/officeDocument/2006/relationships/image" Target="../media/image2210.png"/><Relationship Id="rId73" Type="http://schemas.openxmlformats.org/officeDocument/2006/relationships/image" Target="../media/image2250.png"/><Relationship Id="rId78" Type="http://schemas.openxmlformats.org/officeDocument/2006/relationships/customXml" Target="../ink/ink234.xml"/><Relationship Id="rId81" Type="http://schemas.openxmlformats.org/officeDocument/2006/relationships/image" Target="../media/image2290.png"/><Relationship Id="rId86" Type="http://schemas.openxmlformats.org/officeDocument/2006/relationships/customXml" Target="../ink/ink238.xml"/><Relationship Id="rId94" Type="http://schemas.openxmlformats.org/officeDocument/2006/relationships/customXml" Target="../ink/ink242.xml"/><Relationship Id="rId99" Type="http://schemas.openxmlformats.org/officeDocument/2006/relationships/image" Target="../media/image2380.png"/><Relationship Id="rId101" Type="http://schemas.openxmlformats.org/officeDocument/2006/relationships/image" Target="../media/image2390.png"/><Relationship Id="rId4" Type="http://schemas.openxmlformats.org/officeDocument/2006/relationships/image" Target="../media/image1910.png"/><Relationship Id="rId9" Type="http://schemas.openxmlformats.org/officeDocument/2006/relationships/customXml" Target="../ink/ink199.xml"/><Relationship Id="rId13" Type="http://schemas.openxmlformats.org/officeDocument/2006/relationships/customXml" Target="../ink/ink201.xml"/><Relationship Id="rId18" Type="http://schemas.openxmlformats.org/officeDocument/2006/relationships/image" Target="../media/image1980.png"/><Relationship Id="rId39" Type="http://schemas.openxmlformats.org/officeDocument/2006/relationships/customXml" Target="../ink/ink214.xml"/><Relationship Id="rId109" Type="http://schemas.openxmlformats.org/officeDocument/2006/relationships/image" Target="../media/image2430.png"/><Relationship Id="rId34" Type="http://schemas.openxmlformats.org/officeDocument/2006/relationships/image" Target="../media/image2060.png"/><Relationship Id="rId50" Type="http://schemas.openxmlformats.org/officeDocument/2006/relationships/image" Target="../media/image2140.png"/><Relationship Id="rId55" Type="http://schemas.openxmlformats.org/officeDocument/2006/relationships/image" Target="../media/image2160.png"/><Relationship Id="rId76" Type="http://schemas.openxmlformats.org/officeDocument/2006/relationships/customXml" Target="../ink/ink233.xml"/><Relationship Id="rId97" Type="http://schemas.openxmlformats.org/officeDocument/2006/relationships/image" Target="../media/image2370.png"/><Relationship Id="rId104" Type="http://schemas.openxmlformats.org/officeDocument/2006/relationships/customXml" Target="../ink/ink247.xml"/><Relationship Id="rId7" Type="http://schemas.openxmlformats.org/officeDocument/2006/relationships/customXml" Target="../ink/ink198.xml"/><Relationship Id="rId71" Type="http://schemas.openxmlformats.org/officeDocument/2006/relationships/image" Target="../media/image2240.png"/><Relationship Id="rId92" Type="http://schemas.openxmlformats.org/officeDocument/2006/relationships/customXml" Target="../ink/ink241.xml"/><Relationship Id="rId2" Type="http://schemas.openxmlformats.org/officeDocument/2006/relationships/image" Target="../media/image251.png"/><Relationship Id="rId29" Type="http://schemas.openxmlformats.org/officeDocument/2006/relationships/customXml" Target="../ink/ink209.xml"/><Relationship Id="rId24" Type="http://schemas.openxmlformats.org/officeDocument/2006/relationships/image" Target="../media/image2010.png"/><Relationship Id="rId40" Type="http://schemas.openxmlformats.org/officeDocument/2006/relationships/image" Target="../media/image2090.png"/><Relationship Id="rId45" Type="http://schemas.openxmlformats.org/officeDocument/2006/relationships/customXml" Target="../ink/ink217.xml"/><Relationship Id="rId66" Type="http://schemas.openxmlformats.org/officeDocument/2006/relationships/customXml" Target="../ink/ink228.xml"/><Relationship Id="rId87" Type="http://schemas.openxmlformats.org/officeDocument/2006/relationships/image" Target="../media/image2320.png"/><Relationship Id="rId110" Type="http://schemas.openxmlformats.org/officeDocument/2006/relationships/customXml" Target="../ink/ink250.xml"/><Relationship Id="rId115" Type="http://schemas.openxmlformats.org/officeDocument/2006/relationships/image" Target="../media/image2460.png"/><Relationship Id="rId61" Type="http://schemas.openxmlformats.org/officeDocument/2006/relationships/image" Target="../media/image2190.png"/><Relationship Id="rId82" Type="http://schemas.openxmlformats.org/officeDocument/2006/relationships/customXml" Target="../ink/ink236.xml"/><Relationship Id="rId19" Type="http://schemas.openxmlformats.org/officeDocument/2006/relationships/customXml" Target="../ink/ink204.xml"/><Relationship Id="rId14" Type="http://schemas.openxmlformats.org/officeDocument/2006/relationships/image" Target="../media/image1960.png"/><Relationship Id="rId30" Type="http://schemas.openxmlformats.org/officeDocument/2006/relationships/image" Target="../media/image2040.png"/><Relationship Id="rId35" Type="http://schemas.openxmlformats.org/officeDocument/2006/relationships/customXml" Target="../ink/ink212.xml"/><Relationship Id="rId56" Type="http://schemas.openxmlformats.org/officeDocument/2006/relationships/customXml" Target="../ink/ink223.xml"/><Relationship Id="rId77" Type="http://schemas.openxmlformats.org/officeDocument/2006/relationships/image" Target="../media/image2270.png"/><Relationship Id="rId100" Type="http://schemas.openxmlformats.org/officeDocument/2006/relationships/customXml" Target="../ink/ink245.xml"/><Relationship Id="rId105" Type="http://schemas.openxmlformats.org/officeDocument/2006/relationships/image" Target="../media/image2410.png"/><Relationship Id="rId8" Type="http://schemas.openxmlformats.org/officeDocument/2006/relationships/image" Target="../media/image1930.png"/><Relationship Id="rId51" Type="http://schemas.openxmlformats.org/officeDocument/2006/relationships/customXml" Target="../ink/ink220.xml"/><Relationship Id="rId72" Type="http://schemas.openxmlformats.org/officeDocument/2006/relationships/customXml" Target="../ink/ink231.xml"/><Relationship Id="rId93" Type="http://schemas.openxmlformats.org/officeDocument/2006/relationships/image" Target="../media/image2350.png"/><Relationship Id="rId98" Type="http://schemas.openxmlformats.org/officeDocument/2006/relationships/customXml" Target="../ink/ink244.xml"/><Relationship Id="rId3" Type="http://schemas.openxmlformats.org/officeDocument/2006/relationships/customXml" Target="../ink/ink196.xml"/><Relationship Id="rId25" Type="http://schemas.openxmlformats.org/officeDocument/2006/relationships/customXml" Target="../ink/ink207.xml"/><Relationship Id="rId46" Type="http://schemas.openxmlformats.org/officeDocument/2006/relationships/image" Target="../media/image2120.png"/><Relationship Id="rId67" Type="http://schemas.openxmlformats.org/officeDocument/2006/relationships/image" Target="../media/image2220.png"/><Relationship Id="rId116" Type="http://schemas.openxmlformats.org/officeDocument/2006/relationships/customXml" Target="../ink/ink253.xml"/><Relationship Id="rId20" Type="http://schemas.openxmlformats.org/officeDocument/2006/relationships/image" Target="../media/image1990.png"/><Relationship Id="rId41" Type="http://schemas.openxmlformats.org/officeDocument/2006/relationships/customXml" Target="../ink/ink215.xml"/><Relationship Id="rId62" Type="http://schemas.openxmlformats.org/officeDocument/2006/relationships/customXml" Target="../ink/ink226.xml"/><Relationship Id="rId83" Type="http://schemas.openxmlformats.org/officeDocument/2006/relationships/image" Target="../media/image2300.png"/><Relationship Id="rId88" Type="http://schemas.openxmlformats.org/officeDocument/2006/relationships/customXml" Target="../ink/ink239.xml"/><Relationship Id="rId111" Type="http://schemas.openxmlformats.org/officeDocument/2006/relationships/image" Target="../media/image2440.png"/><Relationship Id="rId15" Type="http://schemas.openxmlformats.org/officeDocument/2006/relationships/customXml" Target="../ink/ink202.xml"/><Relationship Id="rId36" Type="http://schemas.openxmlformats.org/officeDocument/2006/relationships/image" Target="../media/image2070.png"/><Relationship Id="rId57" Type="http://schemas.openxmlformats.org/officeDocument/2006/relationships/image" Target="../media/image2170.png"/><Relationship Id="rId106" Type="http://schemas.openxmlformats.org/officeDocument/2006/relationships/customXml" Target="../ink/ink248.xml"/></Relationships>
</file>

<file path=ppt/slides/_rels/slide128.xml.rels><?xml version="1.0" encoding="UTF-8" standalone="yes"?>
<Relationships xmlns="http://schemas.openxmlformats.org/package/2006/relationships"><Relationship Id="rId13" Type="http://schemas.openxmlformats.org/officeDocument/2006/relationships/customXml" Target="../ink/ink259.xml"/><Relationship Id="rId18" Type="http://schemas.openxmlformats.org/officeDocument/2006/relationships/image" Target="../media/image2510.png"/><Relationship Id="rId26" Type="http://schemas.openxmlformats.org/officeDocument/2006/relationships/image" Target="../media/image255.png"/><Relationship Id="rId21" Type="http://schemas.openxmlformats.org/officeDocument/2006/relationships/customXml" Target="../ink/ink263.xml"/><Relationship Id="rId34" Type="http://schemas.openxmlformats.org/officeDocument/2006/relationships/image" Target="../media/image259.png"/><Relationship Id="rId7" Type="http://schemas.openxmlformats.org/officeDocument/2006/relationships/image" Target="../media/image1890.png"/><Relationship Id="rId12" Type="http://schemas.openxmlformats.org/officeDocument/2006/relationships/image" Target="../media/image2480.png"/><Relationship Id="rId17" Type="http://schemas.openxmlformats.org/officeDocument/2006/relationships/customXml" Target="../ink/ink261.xml"/><Relationship Id="rId25" Type="http://schemas.openxmlformats.org/officeDocument/2006/relationships/customXml" Target="../ink/ink265.xml"/><Relationship Id="rId33" Type="http://schemas.openxmlformats.org/officeDocument/2006/relationships/customXml" Target="../ink/ink269.xml"/><Relationship Id="rId38" Type="http://schemas.openxmlformats.org/officeDocument/2006/relationships/image" Target="../media/image260.png"/><Relationship Id="rId2" Type="http://schemas.openxmlformats.org/officeDocument/2006/relationships/customXml" Target="../ink/ink254.xml"/><Relationship Id="rId16" Type="http://schemas.openxmlformats.org/officeDocument/2006/relationships/image" Target="../media/image2500.png"/><Relationship Id="rId20" Type="http://schemas.openxmlformats.org/officeDocument/2006/relationships/image" Target="../media/image2520.png"/><Relationship Id="rId29" Type="http://schemas.openxmlformats.org/officeDocument/2006/relationships/customXml" Target="../ink/ink267.xml"/><Relationship Id="rId1" Type="http://schemas.openxmlformats.org/officeDocument/2006/relationships/slideLayout" Target="../slideLayouts/slideLayout5.xml"/><Relationship Id="rId6" Type="http://schemas.openxmlformats.org/officeDocument/2006/relationships/customXml" Target="../ink/ink256.xml"/><Relationship Id="rId11" Type="http://schemas.openxmlformats.org/officeDocument/2006/relationships/customXml" Target="../ink/ink258.xml"/><Relationship Id="rId24" Type="http://schemas.openxmlformats.org/officeDocument/2006/relationships/image" Target="../media/image254.png"/><Relationship Id="rId32" Type="http://schemas.openxmlformats.org/officeDocument/2006/relationships/image" Target="../media/image258.png"/><Relationship Id="rId37" Type="http://schemas.openxmlformats.org/officeDocument/2006/relationships/customXml" Target="../ink/ink271.xml"/><Relationship Id="rId5" Type="http://schemas.openxmlformats.org/officeDocument/2006/relationships/image" Target="../media/image1880.png"/><Relationship Id="rId15" Type="http://schemas.openxmlformats.org/officeDocument/2006/relationships/customXml" Target="../ink/ink260.xml"/><Relationship Id="rId23" Type="http://schemas.openxmlformats.org/officeDocument/2006/relationships/customXml" Target="../ink/ink264.xml"/><Relationship Id="rId28" Type="http://schemas.openxmlformats.org/officeDocument/2006/relationships/image" Target="../media/image256.png"/><Relationship Id="rId36" Type="http://schemas.openxmlformats.org/officeDocument/2006/relationships/image" Target="../media/image2030.png"/><Relationship Id="rId10" Type="http://schemas.openxmlformats.org/officeDocument/2006/relationships/image" Target="../media/image247.png"/><Relationship Id="rId19" Type="http://schemas.openxmlformats.org/officeDocument/2006/relationships/customXml" Target="../ink/ink262.xml"/><Relationship Id="rId31" Type="http://schemas.openxmlformats.org/officeDocument/2006/relationships/customXml" Target="../ink/ink268.xml"/><Relationship Id="rId4" Type="http://schemas.openxmlformats.org/officeDocument/2006/relationships/customXml" Target="../ink/ink255.xml"/><Relationship Id="rId9" Type="http://schemas.openxmlformats.org/officeDocument/2006/relationships/customXml" Target="../ink/ink257.xml"/><Relationship Id="rId14" Type="http://schemas.openxmlformats.org/officeDocument/2006/relationships/image" Target="../media/image2490.png"/><Relationship Id="rId22" Type="http://schemas.openxmlformats.org/officeDocument/2006/relationships/image" Target="../media/image253.png"/><Relationship Id="rId27" Type="http://schemas.openxmlformats.org/officeDocument/2006/relationships/customXml" Target="../ink/ink266.xml"/><Relationship Id="rId30" Type="http://schemas.openxmlformats.org/officeDocument/2006/relationships/image" Target="../media/image257.png"/><Relationship Id="rId35" Type="http://schemas.openxmlformats.org/officeDocument/2006/relationships/customXml" Target="../ink/ink270.xml"/><Relationship Id="rId8" Type="http://schemas.openxmlformats.org/officeDocument/2006/relationships/image" Target="../media/image251.png"/><Relationship Id="rId3" Type="http://schemas.openxmlformats.org/officeDocument/2006/relationships/image" Target="../media/image1870.png"/></Relationships>
</file>

<file path=ppt/slides/_rels/slide129.xml.rels><?xml version="1.0" encoding="UTF-8" standalone="yes"?>
<Relationships xmlns="http://schemas.openxmlformats.org/package/2006/relationships"><Relationship Id="rId3" Type="http://schemas.openxmlformats.org/officeDocument/2006/relationships/image" Target="../media/image261.png"/><Relationship Id="rId2" Type="http://schemas.openxmlformats.org/officeDocument/2006/relationships/customXml" Target="../ink/ink27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3" Type="http://schemas.openxmlformats.org/officeDocument/2006/relationships/image" Target="../media/image262.jpe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263.png"/><Relationship Id="rId5" Type="http://schemas.openxmlformats.org/officeDocument/2006/relationships/customXml" Target="../ink/ink273.xml"/><Relationship Id="rId4" Type="http://schemas.openxmlformats.org/officeDocument/2006/relationships/hyperlink" Target="https://www.flickr.com/photos/icma/3635981474" TargetMode="External"/></Relationships>
</file>

<file path=ppt/slides/_rels/slide131.xml.rels><?xml version="1.0" encoding="UTF-8" standalone="yes"?>
<Relationships xmlns="http://schemas.openxmlformats.org/package/2006/relationships"><Relationship Id="rId3" Type="http://schemas.openxmlformats.org/officeDocument/2006/relationships/hyperlink" Target="https://pxhere.com/en/photo/1600703" TargetMode="External"/><Relationship Id="rId2" Type="http://schemas.openxmlformats.org/officeDocument/2006/relationships/image" Target="../media/image264.jpeg"/><Relationship Id="rId1" Type="http://schemas.openxmlformats.org/officeDocument/2006/relationships/slideLayout" Target="../slideLayouts/slideLayout5.xml"/><Relationship Id="rId6" Type="http://schemas.openxmlformats.org/officeDocument/2006/relationships/image" Target="../media/image266.png"/><Relationship Id="rId5" Type="http://schemas.openxmlformats.org/officeDocument/2006/relationships/customXml" Target="../ink/ink274.xml"/><Relationship Id="rId4" Type="http://schemas.openxmlformats.org/officeDocument/2006/relationships/image" Target="../media/image265.png"/></Relationships>
</file>

<file path=ppt/slides/_rels/slide132.xml.rels><?xml version="1.0" encoding="UTF-8" standalone="yes"?>
<Relationships xmlns="http://schemas.openxmlformats.org/package/2006/relationships"><Relationship Id="rId3" Type="http://schemas.openxmlformats.org/officeDocument/2006/relationships/hyperlink" Target="https://www.flickr.com/photos/101440531@N06/47077435382" TargetMode="External"/><Relationship Id="rId7" Type="http://schemas.openxmlformats.org/officeDocument/2006/relationships/image" Target="../media/image269.png"/><Relationship Id="rId2" Type="http://schemas.openxmlformats.org/officeDocument/2006/relationships/image" Target="../media/image267.jpeg"/><Relationship Id="rId1" Type="http://schemas.openxmlformats.org/officeDocument/2006/relationships/slideLayout" Target="../slideLayouts/slideLayout5.xml"/><Relationship Id="rId6" Type="http://schemas.openxmlformats.org/officeDocument/2006/relationships/customXml" Target="../ink/ink275.xml"/><Relationship Id="rId5" Type="http://schemas.openxmlformats.org/officeDocument/2006/relationships/hyperlink" Target="http://www.flickr.com/photos/axis/20393969/" TargetMode="External"/><Relationship Id="rId4" Type="http://schemas.openxmlformats.org/officeDocument/2006/relationships/image" Target="../media/image268.jpg"/></Relationships>
</file>

<file path=ppt/slides/_rels/slide133.xml.rels><?xml version="1.0" encoding="UTF-8" standalone="yes"?>
<Relationships xmlns="http://schemas.openxmlformats.org/package/2006/relationships"><Relationship Id="rId3" Type="http://schemas.openxmlformats.org/officeDocument/2006/relationships/customXml" Target="../ink/ink276.xml"/><Relationship Id="rId2" Type="http://schemas.openxmlformats.org/officeDocument/2006/relationships/image" Target="../media/image270.png"/><Relationship Id="rId1" Type="http://schemas.openxmlformats.org/officeDocument/2006/relationships/slideLayout" Target="../slideLayouts/slideLayout5.xml"/><Relationship Id="rId4" Type="http://schemas.openxmlformats.org/officeDocument/2006/relationships/image" Target="../media/image271.png"/></Relationships>
</file>

<file path=ppt/slides/_rels/slide134.xml.rels><?xml version="1.0" encoding="UTF-8" standalone="yes"?>
<Relationships xmlns="http://schemas.openxmlformats.org/package/2006/relationships"><Relationship Id="rId3" Type="http://schemas.openxmlformats.org/officeDocument/2006/relationships/hyperlink" Target="https://pxhere.com/en/photo/1600703" TargetMode="External"/><Relationship Id="rId2" Type="http://schemas.openxmlformats.org/officeDocument/2006/relationships/image" Target="../media/image264.jpeg"/><Relationship Id="rId1" Type="http://schemas.openxmlformats.org/officeDocument/2006/relationships/slideLayout" Target="../slideLayouts/slideLayout5.xml"/><Relationship Id="rId5" Type="http://schemas.openxmlformats.org/officeDocument/2006/relationships/image" Target="../media/image272.png"/><Relationship Id="rId4" Type="http://schemas.openxmlformats.org/officeDocument/2006/relationships/customXml" Target="../ink/ink277.xml"/></Relationships>
</file>

<file path=ppt/slides/_rels/slide135.xml.rels><?xml version="1.0" encoding="UTF-8" standalone="yes"?>
<Relationships xmlns="http://schemas.openxmlformats.org/package/2006/relationships"><Relationship Id="rId3" Type="http://schemas.openxmlformats.org/officeDocument/2006/relationships/hyperlink" Target="https://pxhere.com/en/photo/1600703" TargetMode="External"/><Relationship Id="rId2" Type="http://schemas.openxmlformats.org/officeDocument/2006/relationships/image" Target="../media/image264.jpeg"/><Relationship Id="rId1" Type="http://schemas.openxmlformats.org/officeDocument/2006/relationships/slideLayout" Target="../slideLayouts/slideLayout5.xml"/><Relationship Id="rId5" Type="http://schemas.openxmlformats.org/officeDocument/2006/relationships/image" Target="../media/image273.png"/><Relationship Id="rId4" Type="http://schemas.openxmlformats.org/officeDocument/2006/relationships/customXml" Target="../ink/ink278.xml"/></Relationships>
</file>

<file path=ppt/slides/_rels/slide136.xml.rels><?xml version="1.0" encoding="UTF-8" standalone="yes"?>
<Relationships xmlns="http://schemas.openxmlformats.org/package/2006/relationships"><Relationship Id="rId3" Type="http://schemas.openxmlformats.org/officeDocument/2006/relationships/customXml" Target="../ink/ink279.xml"/><Relationship Id="rId2" Type="http://schemas.openxmlformats.org/officeDocument/2006/relationships/image" Target="../media/image274.png"/><Relationship Id="rId1" Type="http://schemas.openxmlformats.org/officeDocument/2006/relationships/slideLayout" Target="../slideLayouts/slideLayout5.xml"/><Relationship Id="rId4" Type="http://schemas.openxmlformats.org/officeDocument/2006/relationships/image" Target="../media/image275.png"/></Relationships>
</file>

<file path=ppt/slides/_rels/slide137.xml.rels><?xml version="1.0" encoding="UTF-8" standalone="yes"?>
<Relationships xmlns="http://schemas.openxmlformats.org/package/2006/relationships"><Relationship Id="rId3" Type="http://schemas.openxmlformats.org/officeDocument/2006/relationships/customXml" Target="../ink/ink280.xml"/><Relationship Id="rId2" Type="http://schemas.openxmlformats.org/officeDocument/2006/relationships/image" Target="../media/image276.png"/><Relationship Id="rId1" Type="http://schemas.openxmlformats.org/officeDocument/2006/relationships/slideLayout" Target="../slideLayouts/slideLayout5.xml"/><Relationship Id="rId4" Type="http://schemas.openxmlformats.org/officeDocument/2006/relationships/image" Target="../media/image277.png"/></Relationships>
</file>

<file path=ppt/slides/_rels/slide138.xml.rels><?xml version="1.0" encoding="UTF-8" standalone="yes"?>
<Relationships xmlns="http://schemas.openxmlformats.org/package/2006/relationships"><Relationship Id="rId3" Type="http://schemas.openxmlformats.org/officeDocument/2006/relationships/image" Target="../media/image278.png"/><Relationship Id="rId2" Type="http://schemas.openxmlformats.org/officeDocument/2006/relationships/customXml" Target="../ink/ink281.xml"/><Relationship Id="rId1" Type="http://schemas.openxmlformats.org/officeDocument/2006/relationships/slideLayout" Target="../slideLayouts/slideLayout5.xml"/></Relationships>
</file>

<file path=ppt/slides/_rels/slide139.xml.rels><?xml version="1.0" encoding="UTF-8" standalone="yes"?>
<Relationships xmlns="http://schemas.openxmlformats.org/package/2006/relationships"><Relationship Id="rId3" Type="http://schemas.openxmlformats.org/officeDocument/2006/relationships/image" Target="../media/image280.png"/><Relationship Id="rId2" Type="http://schemas.openxmlformats.org/officeDocument/2006/relationships/image" Target="../media/image279.png"/><Relationship Id="rId1" Type="http://schemas.openxmlformats.org/officeDocument/2006/relationships/slideLayout" Target="../slideLayouts/slideLayout5.xml"/><Relationship Id="rId5" Type="http://schemas.openxmlformats.org/officeDocument/2006/relationships/image" Target="../media/image281.png"/><Relationship Id="rId4" Type="http://schemas.openxmlformats.org/officeDocument/2006/relationships/customXml" Target="../ink/ink28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3" Type="http://schemas.openxmlformats.org/officeDocument/2006/relationships/image" Target="../media/image282.png"/><Relationship Id="rId2" Type="http://schemas.openxmlformats.org/officeDocument/2006/relationships/customXml" Target="../ink/ink283.xml"/><Relationship Id="rId1" Type="http://schemas.openxmlformats.org/officeDocument/2006/relationships/slideLayout" Target="../slideLayouts/slideLayout5.xml"/></Relationships>
</file>

<file path=ppt/slides/_rels/slide141.xml.rels><?xml version="1.0" encoding="UTF-8" standalone="yes"?>
<Relationships xmlns="http://schemas.openxmlformats.org/package/2006/relationships"><Relationship Id="rId8" Type="http://schemas.openxmlformats.org/officeDocument/2006/relationships/customXml" Target="../ink/ink284.xml"/><Relationship Id="rId3" Type="http://schemas.openxmlformats.org/officeDocument/2006/relationships/hyperlink" Target="https://www.publicdomainpictures.net/view-image.php?image=209475&amp;picture=jaguar-car" TargetMode="External"/><Relationship Id="rId7" Type="http://schemas.openxmlformats.org/officeDocument/2006/relationships/hyperlink" Target="https://owl.excelsior.edu/educator-resources/owl-across-disciplines/owl-across-the-disciplines-grammar-and-usage/" TargetMode="External"/><Relationship Id="rId2" Type="http://schemas.openxmlformats.org/officeDocument/2006/relationships/image" Target="../media/image283.jpeg"/><Relationship Id="rId1" Type="http://schemas.openxmlformats.org/officeDocument/2006/relationships/slideLayout" Target="../slideLayouts/slideLayout5.xml"/><Relationship Id="rId6" Type="http://schemas.openxmlformats.org/officeDocument/2006/relationships/image" Target="../media/image285.jpeg"/><Relationship Id="rId5" Type="http://schemas.openxmlformats.org/officeDocument/2006/relationships/hyperlink" Target="https://www.publicdomainpictures.net/view-image.php?image=204352&amp;picture=red-honda-car" TargetMode="External"/><Relationship Id="rId4" Type="http://schemas.openxmlformats.org/officeDocument/2006/relationships/image" Target="../media/image284.jpeg"/><Relationship Id="rId9" Type="http://schemas.openxmlformats.org/officeDocument/2006/relationships/image" Target="../media/image286.png"/></Relationships>
</file>

<file path=ppt/slides/_rels/slide142.xml.rels><?xml version="1.0" encoding="UTF-8" standalone="yes"?>
<Relationships xmlns="http://schemas.openxmlformats.org/package/2006/relationships"><Relationship Id="rId3" Type="http://schemas.openxmlformats.org/officeDocument/2006/relationships/customXml" Target="../ink/ink285.xml"/><Relationship Id="rId2" Type="http://schemas.openxmlformats.org/officeDocument/2006/relationships/image" Target="../media/image287.png"/><Relationship Id="rId1" Type="http://schemas.openxmlformats.org/officeDocument/2006/relationships/slideLayout" Target="../slideLayouts/slideLayout5.xml"/><Relationship Id="rId4" Type="http://schemas.openxmlformats.org/officeDocument/2006/relationships/image" Target="../media/image288.png"/></Relationships>
</file>

<file path=ppt/slides/_rels/slide143.xml.rels><?xml version="1.0" encoding="UTF-8" standalone="yes"?>
<Relationships xmlns="http://schemas.openxmlformats.org/package/2006/relationships"><Relationship Id="rId3" Type="http://schemas.openxmlformats.org/officeDocument/2006/relationships/image" Target="../media/image289.png"/><Relationship Id="rId2" Type="http://schemas.openxmlformats.org/officeDocument/2006/relationships/customXml" Target="../ink/ink286.xml"/><Relationship Id="rId1" Type="http://schemas.openxmlformats.org/officeDocument/2006/relationships/slideLayout" Target="../slideLayouts/slideLayout5.xml"/></Relationships>
</file>

<file path=ppt/slides/_rels/slide144.xml.rels><?xml version="1.0" encoding="UTF-8" standalone="yes"?>
<Relationships xmlns="http://schemas.openxmlformats.org/package/2006/relationships"><Relationship Id="rId3" Type="http://schemas.openxmlformats.org/officeDocument/2006/relationships/customXml" Target="../ink/ink287.xml"/><Relationship Id="rId2" Type="http://schemas.openxmlformats.org/officeDocument/2006/relationships/image" Target="../media/image290.png"/><Relationship Id="rId1" Type="http://schemas.openxmlformats.org/officeDocument/2006/relationships/slideLayout" Target="../slideLayouts/slideLayout5.xml"/><Relationship Id="rId4" Type="http://schemas.openxmlformats.org/officeDocument/2006/relationships/image" Target="../media/image291.png"/></Relationships>
</file>

<file path=ppt/slides/_rels/slide145.xml.rels><?xml version="1.0" encoding="UTF-8" standalone="yes"?>
<Relationships xmlns="http://schemas.openxmlformats.org/package/2006/relationships"><Relationship Id="rId3" Type="http://schemas.openxmlformats.org/officeDocument/2006/relationships/image" Target="../media/image292.png"/><Relationship Id="rId2" Type="http://schemas.openxmlformats.org/officeDocument/2006/relationships/customXml" Target="../ink/ink288.xml"/><Relationship Id="rId1" Type="http://schemas.openxmlformats.org/officeDocument/2006/relationships/slideLayout" Target="../slideLayouts/slideLayout5.xml"/></Relationships>
</file>

<file path=ppt/slides/_rels/slide146.xml.rels><?xml version="1.0" encoding="UTF-8" standalone="yes"?>
<Relationships xmlns="http://schemas.openxmlformats.org/package/2006/relationships"><Relationship Id="rId3" Type="http://schemas.openxmlformats.org/officeDocument/2006/relationships/customXml" Target="../ink/ink289.xml"/><Relationship Id="rId2" Type="http://schemas.openxmlformats.org/officeDocument/2006/relationships/image" Target="../media/image293.png"/><Relationship Id="rId1" Type="http://schemas.openxmlformats.org/officeDocument/2006/relationships/slideLayout" Target="../slideLayouts/slideLayout5.xml"/><Relationship Id="rId4" Type="http://schemas.openxmlformats.org/officeDocument/2006/relationships/image" Target="../media/image294.png"/></Relationships>
</file>

<file path=ppt/slides/_rels/slide147.xml.rels><?xml version="1.0" encoding="UTF-8" standalone="yes"?>
<Relationships xmlns="http://schemas.openxmlformats.org/package/2006/relationships"><Relationship Id="rId3" Type="http://schemas.openxmlformats.org/officeDocument/2006/relationships/image" Target="../media/image295.png"/><Relationship Id="rId2" Type="http://schemas.openxmlformats.org/officeDocument/2006/relationships/customXml" Target="../ink/ink290.xml"/><Relationship Id="rId1" Type="http://schemas.openxmlformats.org/officeDocument/2006/relationships/slideLayout" Target="../slideLayouts/slideLayout5.xml"/></Relationships>
</file>

<file path=ppt/slides/_rels/slide148.xml.rels><?xml version="1.0" encoding="UTF-8" standalone="yes"?>
<Relationships xmlns="http://schemas.openxmlformats.org/package/2006/relationships"><Relationship Id="rId3" Type="http://schemas.openxmlformats.org/officeDocument/2006/relationships/image" Target="../media/image296.png"/><Relationship Id="rId2" Type="http://schemas.openxmlformats.org/officeDocument/2006/relationships/customXml" Target="../ink/ink291.xml"/><Relationship Id="rId1" Type="http://schemas.openxmlformats.org/officeDocument/2006/relationships/slideLayout" Target="../slideLayouts/slideLayout5.xml"/></Relationships>
</file>

<file path=ppt/slides/_rels/slide149.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image" Target="../media/image297.png"/><Relationship Id="rId1" Type="http://schemas.openxmlformats.org/officeDocument/2006/relationships/slideLayout" Target="../slideLayouts/slideLayout5.xml"/><Relationship Id="rId5" Type="http://schemas.openxmlformats.org/officeDocument/2006/relationships/image" Target="../media/image299.png"/><Relationship Id="rId4" Type="http://schemas.openxmlformats.org/officeDocument/2006/relationships/customXml" Target="../ink/ink29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0.xml.rels><?xml version="1.0" encoding="UTF-8" standalone="yes"?>
<Relationships xmlns="http://schemas.openxmlformats.org/package/2006/relationships"><Relationship Id="rId3" Type="http://schemas.openxmlformats.org/officeDocument/2006/relationships/customXml" Target="../ink/ink293.xml"/><Relationship Id="rId2" Type="http://schemas.openxmlformats.org/officeDocument/2006/relationships/image" Target="../media/image300.png"/><Relationship Id="rId1" Type="http://schemas.openxmlformats.org/officeDocument/2006/relationships/slideLayout" Target="../slideLayouts/slideLayout5.xml"/><Relationship Id="rId4" Type="http://schemas.openxmlformats.org/officeDocument/2006/relationships/image" Target="../media/image301.png"/></Relationships>
</file>

<file path=ppt/slides/_rels/slide151.xml.rels><?xml version="1.0" encoding="UTF-8" standalone="yes"?>
<Relationships xmlns="http://schemas.openxmlformats.org/package/2006/relationships"><Relationship Id="rId3" Type="http://schemas.openxmlformats.org/officeDocument/2006/relationships/image" Target="../media/image300.png"/><Relationship Id="rId2" Type="http://schemas.openxmlformats.org/officeDocument/2006/relationships/image" Target="../media/image302.png"/><Relationship Id="rId1" Type="http://schemas.openxmlformats.org/officeDocument/2006/relationships/slideLayout" Target="../slideLayouts/slideLayout5.xml"/><Relationship Id="rId6" Type="http://schemas.openxmlformats.org/officeDocument/2006/relationships/image" Target="../media/image304.png"/><Relationship Id="rId5" Type="http://schemas.openxmlformats.org/officeDocument/2006/relationships/customXml" Target="../ink/ink294.xml"/><Relationship Id="rId4" Type="http://schemas.openxmlformats.org/officeDocument/2006/relationships/image" Target="../media/image303.png"/></Relationships>
</file>

<file path=ppt/slides/_rels/slide152.xml.rels><?xml version="1.0" encoding="UTF-8" standalone="yes"?>
<Relationships xmlns="http://schemas.openxmlformats.org/package/2006/relationships"><Relationship Id="rId3" Type="http://schemas.openxmlformats.org/officeDocument/2006/relationships/image" Target="../media/image305.png"/><Relationship Id="rId2" Type="http://schemas.openxmlformats.org/officeDocument/2006/relationships/customXml" Target="../ink/ink295.xml"/><Relationship Id="rId1" Type="http://schemas.openxmlformats.org/officeDocument/2006/relationships/slideLayout" Target="../slideLayouts/slideLayout5.xml"/></Relationships>
</file>

<file path=ppt/slides/_rels/slide153.xml.rels><?xml version="1.0" encoding="UTF-8" standalone="yes"?>
<Relationships xmlns="http://schemas.openxmlformats.org/package/2006/relationships"><Relationship Id="rId3" Type="http://schemas.openxmlformats.org/officeDocument/2006/relationships/image" Target="../media/image306.png"/><Relationship Id="rId2" Type="http://schemas.openxmlformats.org/officeDocument/2006/relationships/customXml" Target="../ink/ink296.xml"/><Relationship Id="rId1" Type="http://schemas.openxmlformats.org/officeDocument/2006/relationships/slideLayout" Target="../slideLayouts/slideLayout5.xml"/></Relationships>
</file>

<file path=ppt/slides/_rels/slide154.xml.rels><?xml version="1.0" encoding="UTF-8" standalone="yes"?>
<Relationships xmlns="http://schemas.openxmlformats.org/package/2006/relationships"><Relationship Id="rId3" Type="http://schemas.openxmlformats.org/officeDocument/2006/relationships/customXml" Target="../ink/ink297.xml"/><Relationship Id="rId2" Type="http://schemas.openxmlformats.org/officeDocument/2006/relationships/image" Target="../media/image307.png"/><Relationship Id="rId1" Type="http://schemas.openxmlformats.org/officeDocument/2006/relationships/slideLayout" Target="../slideLayouts/slideLayout5.xml"/><Relationship Id="rId4" Type="http://schemas.openxmlformats.org/officeDocument/2006/relationships/image" Target="../media/image308.png"/></Relationships>
</file>

<file path=ppt/slides/_rels/slide155.xml.rels><?xml version="1.0" encoding="UTF-8" standalone="yes"?>
<Relationships xmlns="http://schemas.openxmlformats.org/package/2006/relationships"><Relationship Id="rId3" Type="http://schemas.openxmlformats.org/officeDocument/2006/relationships/image" Target="../media/image309.png"/><Relationship Id="rId2" Type="http://schemas.openxmlformats.org/officeDocument/2006/relationships/customXml" Target="../ink/ink298.xml"/><Relationship Id="rId1" Type="http://schemas.openxmlformats.org/officeDocument/2006/relationships/slideLayout" Target="../slideLayouts/slideLayout5.xml"/></Relationships>
</file>

<file path=ppt/slides/_rels/slide156.xml.rels><?xml version="1.0" encoding="UTF-8" standalone="yes"?>
<Relationships xmlns="http://schemas.openxmlformats.org/package/2006/relationships"><Relationship Id="rId3" Type="http://schemas.openxmlformats.org/officeDocument/2006/relationships/image" Target="../media/image312.png"/><Relationship Id="rId2" Type="http://schemas.openxmlformats.org/officeDocument/2006/relationships/image" Target="../media/image311.png"/><Relationship Id="rId1" Type="http://schemas.openxmlformats.org/officeDocument/2006/relationships/slideLayout" Target="../slideLayouts/slideLayout5.xml"/><Relationship Id="rId5" Type="http://schemas.openxmlformats.org/officeDocument/2006/relationships/image" Target="../media/image313.png"/><Relationship Id="rId4" Type="http://schemas.openxmlformats.org/officeDocument/2006/relationships/customXml" Target="../ink/ink299.xml"/></Relationships>
</file>

<file path=ppt/slides/_rels/slide157.xml.rels><?xml version="1.0" encoding="UTF-8" standalone="yes"?>
<Relationships xmlns="http://schemas.openxmlformats.org/package/2006/relationships"><Relationship Id="rId3" Type="http://schemas.openxmlformats.org/officeDocument/2006/relationships/image" Target="../media/image314.png"/><Relationship Id="rId2" Type="http://schemas.openxmlformats.org/officeDocument/2006/relationships/customXml" Target="../ink/ink300.xml"/><Relationship Id="rId1" Type="http://schemas.openxmlformats.org/officeDocument/2006/relationships/slideLayout" Target="../slideLayouts/slideLayout5.xml"/></Relationships>
</file>

<file path=ppt/slides/_rels/slide158.xml.rels><?xml version="1.0" encoding="UTF-8" standalone="yes"?>
<Relationships xmlns="http://schemas.openxmlformats.org/package/2006/relationships"><Relationship Id="rId3" Type="http://schemas.openxmlformats.org/officeDocument/2006/relationships/image" Target="../media/image315.png"/><Relationship Id="rId2" Type="http://schemas.openxmlformats.org/officeDocument/2006/relationships/customXml" Target="../ink/ink301.xml"/><Relationship Id="rId1" Type="http://schemas.openxmlformats.org/officeDocument/2006/relationships/slideLayout" Target="../slideLayouts/slideLayout5.xml"/></Relationships>
</file>

<file path=ppt/slides/_rels/slide159.xml.rels><?xml version="1.0" encoding="UTF-8" standalone="yes"?>
<Relationships xmlns="http://schemas.openxmlformats.org/package/2006/relationships"><Relationship Id="rId3" Type="http://schemas.openxmlformats.org/officeDocument/2006/relationships/hyperlink" Target="https://www.pexels.com/photo/orange-tabby-cat-laying-on-brown-sofa-33492/" TargetMode="External"/><Relationship Id="rId2" Type="http://schemas.openxmlformats.org/officeDocument/2006/relationships/image" Target="../media/image316.jpeg"/><Relationship Id="rId1" Type="http://schemas.openxmlformats.org/officeDocument/2006/relationships/slideLayout" Target="../slideLayouts/slideLayout5.xml"/><Relationship Id="rId6" Type="http://schemas.openxmlformats.org/officeDocument/2006/relationships/image" Target="../media/image318.png"/><Relationship Id="rId5" Type="http://schemas.openxmlformats.org/officeDocument/2006/relationships/customXml" Target="../ink/ink302.xml"/><Relationship Id="rId4" Type="http://schemas.openxmlformats.org/officeDocument/2006/relationships/image" Target="../media/image317.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0.xml.rels><?xml version="1.0" encoding="UTF-8" standalone="yes"?>
<Relationships xmlns="http://schemas.openxmlformats.org/package/2006/relationships"><Relationship Id="rId3" Type="http://schemas.openxmlformats.org/officeDocument/2006/relationships/image" Target="../media/image319.png"/><Relationship Id="rId2" Type="http://schemas.openxmlformats.org/officeDocument/2006/relationships/customXml" Target="../ink/ink303.xml"/><Relationship Id="rId1" Type="http://schemas.openxmlformats.org/officeDocument/2006/relationships/slideLayout" Target="../slideLayouts/slideLayout5.xml"/></Relationships>
</file>

<file path=ppt/slides/_rels/slide161.xml.rels><?xml version="1.0" encoding="UTF-8" standalone="yes"?>
<Relationships xmlns="http://schemas.openxmlformats.org/package/2006/relationships"><Relationship Id="rId3" Type="http://schemas.openxmlformats.org/officeDocument/2006/relationships/customXml" Target="../ink/ink304.xml"/><Relationship Id="rId2" Type="http://schemas.openxmlformats.org/officeDocument/2006/relationships/image" Target="../media/image321.png"/><Relationship Id="rId1" Type="http://schemas.openxmlformats.org/officeDocument/2006/relationships/slideLayout" Target="../slideLayouts/slideLayout5.xml"/><Relationship Id="rId4" Type="http://schemas.openxmlformats.org/officeDocument/2006/relationships/image" Target="../media/image322.png"/></Relationships>
</file>

<file path=ppt/slides/_rels/slide162.xml.rels><?xml version="1.0" encoding="UTF-8" standalone="yes"?>
<Relationships xmlns="http://schemas.openxmlformats.org/package/2006/relationships"><Relationship Id="rId3" Type="http://schemas.openxmlformats.org/officeDocument/2006/relationships/customXml" Target="../ink/ink305.xml"/><Relationship Id="rId2" Type="http://schemas.openxmlformats.org/officeDocument/2006/relationships/image" Target="../media/image323.png"/><Relationship Id="rId1" Type="http://schemas.openxmlformats.org/officeDocument/2006/relationships/slideLayout" Target="../slideLayouts/slideLayout5.xml"/><Relationship Id="rId4" Type="http://schemas.openxmlformats.org/officeDocument/2006/relationships/image" Target="../media/image324.png"/></Relationships>
</file>

<file path=ppt/slides/_rels/slide163.xml.rels><?xml version="1.0" encoding="UTF-8" standalone="yes"?>
<Relationships xmlns="http://schemas.openxmlformats.org/package/2006/relationships"><Relationship Id="rId3" Type="http://schemas.openxmlformats.org/officeDocument/2006/relationships/customXml" Target="../ink/ink306.xml"/><Relationship Id="rId2" Type="http://schemas.openxmlformats.org/officeDocument/2006/relationships/image" Target="../media/image325.png"/><Relationship Id="rId1" Type="http://schemas.openxmlformats.org/officeDocument/2006/relationships/slideLayout" Target="../slideLayouts/slideLayout5.xml"/><Relationship Id="rId4" Type="http://schemas.openxmlformats.org/officeDocument/2006/relationships/image" Target="../media/image326.png"/></Relationships>
</file>

<file path=ppt/slides/_rels/slide164.xml.rels><?xml version="1.0" encoding="UTF-8" standalone="yes"?>
<Relationships xmlns="http://schemas.openxmlformats.org/package/2006/relationships"><Relationship Id="rId3" Type="http://schemas.openxmlformats.org/officeDocument/2006/relationships/image" Target="../media/image327.png"/><Relationship Id="rId2" Type="http://schemas.openxmlformats.org/officeDocument/2006/relationships/customXml" Target="../ink/ink307.xml"/><Relationship Id="rId1" Type="http://schemas.openxmlformats.org/officeDocument/2006/relationships/slideLayout" Target="../slideLayouts/slideLayout5.xml"/></Relationships>
</file>

<file path=ppt/slides/_rels/slide165.xml.rels><?xml version="1.0" encoding="UTF-8" standalone="yes"?>
<Relationships xmlns="http://schemas.openxmlformats.org/package/2006/relationships"><Relationship Id="rId3" Type="http://schemas.openxmlformats.org/officeDocument/2006/relationships/image" Target="../media/image328.png"/><Relationship Id="rId2" Type="http://schemas.openxmlformats.org/officeDocument/2006/relationships/customXml" Target="../ink/ink308.xml"/><Relationship Id="rId1" Type="http://schemas.openxmlformats.org/officeDocument/2006/relationships/slideLayout" Target="../slideLayouts/slideLayout5.xml"/></Relationships>
</file>

<file path=ppt/slides/_rels/slide166.xml.rels><?xml version="1.0" encoding="UTF-8" standalone="yes"?>
<Relationships xmlns="http://schemas.openxmlformats.org/package/2006/relationships"><Relationship Id="rId3" Type="http://schemas.openxmlformats.org/officeDocument/2006/relationships/customXml" Target="../ink/ink309.xml"/><Relationship Id="rId2" Type="http://schemas.openxmlformats.org/officeDocument/2006/relationships/image" Target="../media/image329.png"/><Relationship Id="rId1" Type="http://schemas.openxmlformats.org/officeDocument/2006/relationships/slideLayout" Target="../slideLayouts/slideLayout5.xml"/><Relationship Id="rId4" Type="http://schemas.openxmlformats.org/officeDocument/2006/relationships/image" Target="../media/image331.png"/></Relationships>
</file>

<file path=ppt/slides/_rels/slide167.xml.rels><?xml version="1.0" encoding="UTF-8" standalone="yes"?>
<Relationships xmlns="http://schemas.openxmlformats.org/package/2006/relationships"><Relationship Id="rId3" Type="http://schemas.openxmlformats.org/officeDocument/2006/relationships/customXml" Target="../ink/ink310.xml"/><Relationship Id="rId2" Type="http://schemas.openxmlformats.org/officeDocument/2006/relationships/image" Target="../media/image332.png"/><Relationship Id="rId1" Type="http://schemas.openxmlformats.org/officeDocument/2006/relationships/slideLayout" Target="../slideLayouts/slideLayout2.xml"/><Relationship Id="rId4" Type="http://schemas.openxmlformats.org/officeDocument/2006/relationships/image" Target="../media/image333.png"/></Relationships>
</file>

<file path=ppt/slides/_rels/slide168.xml.rels><?xml version="1.0" encoding="UTF-8" standalone="yes"?>
<Relationships xmlns="http://schemas.openxmlformats.org/package/2006/relationships"><Relationship Id="rId3" Type="http://schemas.openxmlformats.org/officeDocument/2006/relationships/customXml" Target="../ink/ink311.xml"/><Relationship Id="rId2" Type="http://schemas.openxmlformats.org/officeDocument/2006/relationships/image" Target="../media/image334.png"/><Relationship Id="rId1" Type="http://schemas.openxmlformats.org/officeDocument/2006/relationships/slideLayout" Target="../slideLayouts/slideLayout2.xml"/><Relationship Id="rId4" Type="http://schemas.openxmlformats.org/officeDocument/2006/relationships/image" Target="../media/image335.png"/></Relationships>
</file>

<file path=ppt/slides/_rels/slide169.xml.rels><?xml version="1.0" encoding="UTF-8" standalone="yes"?>
<Relationships xmlns="http://schemas.openxmlformats.org/package/2006/relationships"><Relationship Id="rId3" Type="http://schemas.openxmlformats.org/officeDocument/2006/relationships/customXml" Target="../ink/ink312.xml"/><Relationship Id="rId2" Type="http://schemas.openxmlformats.org/officeDocument/2006/relationships/image" Target="../media/image336.png"/><Relationship Id="rId1" Type="http://schemas.openxmlformats.org/officeDocument/2006/relationships/slideLayout" Target="../slideLayouts/slideLayout2.xml"/><Relationship Id="rId4" Type="http://schemas.openxmlformats.org/officeDocument/2006/relationships/image" Target="../media/image337.png"/></Relationships>
</file>

<file path=ppt/slides/_rels/slide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70.xml.rels><?xml version="1.0" encoding="UTF-8" standalone="yes"?>
<Relationships xmlns="http://schemas.openxmlformats.org/package/2006/relationships"><Relationship Id="rId3" Type="http://schemas.openxmlformats.org/officeDocument/2006/relationships/image" Target="../media/image338.png"/><Relationship Id="rId2" Type="http://schemas.openxmlformats.org/officeDocument/2006/relationships/customXml" Target="../ink/ink313.xml"/><Relationship Id="rId1" Type="http://schemas.openxmlformats.org/officeDocument/2006/relationships/slideLayout" Target="../slideLayouts/slideLayout5.xml"/></Relationships>
</file>

<file path=ppt/slides/_rels/slide171.xml.rels><?xml version="1.0" encoding="UTF-8" standalone="yes"?>
<Relationships xmlns="http://schemas.openxmlformats.org/package/2006/relationships"><Relationship Id="rId3" Type="http://schemas.openxmlformats.org/officeDocument/2006/relationships/customXml" Target="../ink/ink314.xml"/><Relationship Id="rId2" Type="http://schemas.openxmlformats.org/officeDocument/2006/relationships/image" Target="../media/image339.png"/><Relationship Id="rId1" Type="http://schemas.openxmlformats.org/officeDocument/2006/relationships/slideLayout" Target="../slideLayouts/slideLayout5.xml"/><Relationship Id="rId4" Type="http://schemas.openxmlformats.org/officeDocument/2006/relationships/image" Target="../media/image341.png"/></Relationships>
</file>

<file path=ppt/slides/_rels/slide172.xml.rels><?xml version="1.0" encoding="UTF-8" standalone="yes"?>
<Relationships xmlns="http://schemas.openxmlformats.org/package/2006/relationships"><Relationship Id="rId3" Type="http://schemas.openxmlformats.org/officeDocument/2006/relationships/image" Target="../media/image343.png"/><Relationship Id="rId2" Type="http://schemas.openxmlformats.org/officeDocument/2006/relationships/image" Target="../media/image342.png"/><Relationship Id="rId1" Type="http://schemas.openxmlformats.org/officeDocument/2006/relationships/slideLayout" Target="../slideLayouts/slideLayout5.xml"/><Relationship Id="rId5" Type="http://schemas.openxmlformats.org/officeDocument/2006/relationships/image" Target="../media/image344.png"/><Relationship Id="rId4" Type="http://schemas.openxmlformats.org/officeDocument/2006/relationships/customXml" Target="../ink/ink315.xml"/></Relationships>
</file>

<file path=ppt/slides/_rels/slide173.xml.rels><?xml version="1.0" encoding="UTF-8" standalone="yes"?>
<Relationships xmlns="http://schemas.openxmlformats.org/package/2006/relationships"><Relationship Id="rId3" Type="http://schemas.openxmlformats.org/officeDocument/2006/relationships/customXml" Target="../ink/ink316.xml"/><Relationship Id="rId2" Type="http://schemas.openxmlformats.org/officeDocument/2006/relationships/image" Target="../media/image345.png"/><Relationship Id="rId1" Type="http://schemas.openxmlformats.org/officeDocument/2006/relationships/slideLayout" Target="../slideLayouts/slideLayout5.xml"/><Relationship Id="rId4" Type="http://schemas.openxmlformats.org/officeDocument/2006/relationships/image" Target="../media/image346.png"/></Relationships>
</file>

<file path=ppt/slides/_rels/slide174.xml.rels><?xml version="1.0" encoding="UTF-8" standalone="yes"?>
<Relationships xmlns="http://schemas.openxmlformats.org/package/2006/relationships"><Relationship Id="rId3" Type="http://schemas.openxmlformats.org/officeDocument/2006/relationships/customXml" Target="../ink/ink317.xml"/><Relationship Id="rId2" Type="http://schemas.openxmlformats.org/officeDocument/2006/relationships/hyperlink" Target="https://www.mathsisfun.com/algebra/introduction.html" TargetMode="External"/><Relationship Id="rId1" Type="http://schemas.openxmlformats.org/officeDocument/2006/relationships/slideLayout" Target="../slideLayouts/slideLayout5.xml"/><Relationship Id="rId4" Type="http://schemas.openxmlformats.org/officeDocument/2006/relationships/image" Target="../media/image347.png"/></Relationships>
</file>

<file path=ppt/slides/_rels/slide175.xml.rels><?xml version="1.0" encoding="UTF-8" standalone="yes"?>
<Relationships xmlns="http://schemas.openxmlformats.org/package/2006/relationships"><Relationship Id="rId3" Type="http://schemas.openxmlformats.org/officeDocument/2006/relationships/hyperlink" Target="https://pxhere.com/en/photo/1600703" TargetMode="External"/><Relationship Id="rId2" Type="http://schemas.openxmlformats.org/officeDocument/2006/relationships/image" Target="../media/image348.jpeg"/><Relationship Id="rId1" Type="http://schemas.openxmlformats.org/officeDocument/2006/relationships/slideLayout" Target="../slideLayouts/slideLayout5.xml"/><Relationship Id="rId5" Type="http://schemas.openxmlformats.org/officeDocument/2006/relationships/image" Target="../media/image349.png"/><Relationship Id="rId4" Type="http://schemas.openxmlformats.org/officeDocument/2006/relationships/customXml" Target="../ink/ink318.xml"/></Relationships>
</file>

<file path=ppt/slides/_rels/slide176.xml.rels><?xml version="1.0" encoding="UTF-8" standalone="yes"?>
<Relationships xmlns="http://schemas.openxmlformats.org/package/2006/relationships"><Relationship Id="rId3" Type="http://schemas.openxmlformats.org/officeDocument/2006/relationships/hyperlink" Target="https://pxhere.com/en/photo/1600703" TargetMode="External"/><Relationship Id="rId2" Type="http://schemas.openxmlformats.org/officeDocument/2006/relationships/image" Target="../media/image350.jpeg"/><Relationship Id="rId1" Type="http://schemas.openxmlformats.org/officeDocument/2006/relationships/slideLayout" Target="../slideLayouts/slideLayout5.xml"/><Relationship Id="rId5" Type="http://schemas.openxmlformats.org/officeDocument/2006/relationships/image" Target="../media/image351.png"/><Relationship Id="rId4" Type="http://schemas.openxmlformats.org/officeDocument/2006/relationships/customXml" Target="../ink/ink319.xml"/></Relationships>
</file>

<file path=ppt/slides/_rels/slide177.xml.rels><?xml version="1.0" encoding="UTF-8" standalone="yes"?>
<Relationships xmlns="http://schemas.openxmlformats.org/package/2006/relationships"><Relationship Id="rId3" Type="http://schemas.openxmlformats.org/officeDocument/2006/relationships/customXml" Target="../ink/ink320.xml"/><Relationship Id="rId2" Type="http://schemas.openxmlformats.org/officeDocument/2006/relationships/image" Target="../media/image352.png"/><Relationship Id="rId1" Type="http://schemas.openxmlformats.org/officeDocument/2006/relationships/slideLayout" Target="../slideLayouts/slideLayout5.xml"/><Relationship Id="rId4" Type="http://schemas.openxmlformats.org/officeDocument/2006/relationships/image" Target="../media/image353.png"/></Relationships>
</file>

<file path=ppt/slides/_rels/slide178.xml.rels><?xml version="1.0" encoding="UTF-8" standalone="yes"?>
<Relationships xmlns="http://schemas.openxmlformats.org/package/2006/relationships"><Relationship Id="rId3" Type="http://schemas.openxmlformats.org/officeDocument/2006/relationships/image" Target="../media/image354.png"/><Relationship Id="rId2" Type="http://schemas.openxmlformats.org/officeDocument/2006/relationships/customXml" Target="../ink/ink321.xml"/><Relationship Id="rId1" Type="http://schemas.openxmlformats.org/officeDocument/2006/relationships/slideLayout" Target="../slideLayouts/slideLayout5.xml"/></Relationships>
</file>

<file path=ppt/slides/_rels/slide179.xml.rels><?xml version="1.0" encoding="UTF-8" standalone="yes"?>
<Relationships xmlns="http://schemas.openxmlformats.org/package/2006/relationships"><Relationship Id="rId3" Type="http://schemas.openxmlformats.org/officeDocument/2006/relationships/image" Target="../media/image355.png"/><Relationship Id="rId2" Type="http://schemas.openxmlformats.org/officeDocument/2006/relationships/customXml" Target="../ink/ink322.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180.xml.rels><?xml version="1.0" encoding="UTF-8" standalone="yes"?>
<Relationships xmlns="http://schemas.openxmlformats.org/package/2006/relationships"><Relationship Id="rId3" Type="http://schemas.openxmlformats.org/officeDocument/2006/relationships/hyperlink" Target="https://www.mathsisfun.com/data/standard-deviation.html" TargetMode="External"/><Relationship Id="rId2" Type="http://schemas.openxmlformats.org/officeDocument/2006/relationships/hyperlink" Target="https://www.mathsisfun.com/mean.html" TargetMode="External"/><Relationship Id="rId1" Type="http://schemas.openxmlformats.org/officeDocument/2006/relationships/slideLayout" Target="../slideLayouts/slideLayout5.xml"/><Relationship Id="rId5" Type="http://schemas.openxmlformats.org/officeDocument/2006/relationships/image" Target="../media/image356.png"/><Relationship Id="rId4" Type="http://schemas.openxmlformats.org/officeDocument/2006/relationships/customXml" Target="../ink/ink323.xml"/></Relationships>
</file>

<file path=ppt/slides/_rels/slide181.xml.rels><?xml version="1.0" encoding="UTF-8" standalone="yes"?>
<Relationships xmlns="http://schemas.openxmlformats.org/package/2006/relationships"><Relationship Id="rId3" Type="http://schemas.openxmlformats.org/officeDocument/2006/relationships/customXml" Target="../ink/ink324.xml"/><Relationship Id="rId2" Type="http://schemas.openxmlformats.org/officeDocument/2006/relationships/hyperlink" Target="https://www.mathsisfun.com/data/standard-deviation.html" TargetMode="External"/><Relationship Id="rId1" Type="http://schemas.openxmlformats.org/officeDocument/2006/relationships/slideLayout" Target="../slideLayouts/slideLayout5.xml"/><Relationship Id="rId4" Type="http://schemas.openxmlformats.org/officeDocument/2006/relationships/image" Target="../media/image357.png"/></Relationships>
</file>

<file path=ppt/slides/_rels/slide182.xml.rels><?xml version="1.0" encoding="UTF-8" standalone="yes"?>
<Relationships xmlns="http://schemas.openxmlformats.org/package/2006/relationships"><Relationship Id="rId3" Type="http://schemas.openxmlformats.org/officeDocument/2006/relationships/customXml" Target="../ink/ink325.xml"/><Relationship Id="rId2" Type="http://schemas.openxmlformats.org/officeDocument/2006/relationships/image" Target="../media/image358.png"/><Relationship Id="rId1" Type="http://schemas.openxmlformats.org/officeDocument/2006/relationships/slideLayout" Target="../slideLayouts/slideLayout5.xml"/><Relationship Id="rId4" Type="http://schemas.openxmlformats.org/officeDocument/2006/relationships/image" Target="../media/image359.png"/></Relationships>
</file>

<file path=ppt/slides/_rels/slide183.xml.rels><?xml version="1.0" encoding="UTF-8" standalone="yes"?>
<Relationships xmlns="http://schemas.openxmlformats.org/package/2006/relationships"><Relationship Id="rId3" Type="http://schemas.openxmlformats.org/officeDocument/2006/relationships/customXml" Target="../ink/ink326.xml"/><Relationship Id="rId2" Type="http://schemas.openxmlformats.org/officeDocument/2006/relationships/image" Target="../media/image361.png"/><Relationship Id="rId1" Type="http://schemas.openxmlformats.org/officeDocument/2006/relationships/slideLayout" Target="../slideLayouts/slideLayout5.xml"/><Relationship Id="rId4" Type="http://schemas.openxmlformats.org/officeDocument/2006/relationships/image" Target="../media/image362.png"/></Relationships>
</file>

<file path=ppt/slides/_rels/slide184.xml.rels><?xml version="1.0" encoding="UTF-8" standalone="yes"?>
<Relationships xmlns="http://schemas.openxmlformats.org/package/2006/relationships"><Relationship Id="rId3" Type="http://schemas.openxmlformats.org/officeDocument/2006/relationships/image" Target="../media/image363.png"/><Relationship Id="rId2" Type="http://schemas.openxmlformats.org/officeDocument/2006/relationships/customXml" Target="../ink/ink327.xml"/><Relationship Id="rId1" Type="http://schemas.openxmlformats.org/officeDocument/2006/relationships/slideLayout" Target="../slideLayouts/slideLayout5.xml"/></Relationships>
</file>

<file path=ppt/slides/_rels/slide185.xml.rels><?xml version="1.0" encoding="UTF-8" standalone="yes"?>
<Relationships xmlns="http://schemas.openxmlformats.org/package/2006/relationships"><Relationship Id="rId3" Type="http://schemas.openxmlformats.org/officeDocument/2006/relationships/customXml" Target="../ink/ink328.xml"/><Relationship Id="rId2" Type="http://schemas.openxmlformats.org/officeDocument/2006/relationships/image" Target="../media/image364.png"/><Relationship Id="rId1" Type="http://schemas.openxmlformats.org/officeDocument/2006/relationships/slideLayout" Target="../slideLayouts/slideLayout5.xml"/><Relationship Id="rId4" Type="http://schemas.openxmlformats.org/officeDocument/2006/relationships/image" Target="../media/image365.png"/></Relationships>
</file>

<file path=ppt/slides/_rels/slide186.xml.rels><?xml version="1.0" encoding="UTF-8" standalone="yes"?>
<Relationships xmlns="http://schemas.openxmlformats.org/package/2006/relationships"><Relationship Id="rId3" Type="http://schemas.openxmlformats.org/officeDocument/2006/relationships/image" Target="../media/image366.jpeg"/><Relationship Id="rId7" Type="http://schemas.openxmlformats.org/officeDocument/2006/relationships/image" Target="../media/image368.pn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customXml" Target="../ink/ink329.xml"/><Relationship Id="rId5" Type="http://schemas.openxmlformats.org/officeDocument/2006/relationships/image" Target="../media/image367.png"/><Relationship Id="rId4" Type="http://schemas.openxmlformats.org/officeDocument/2006/relationships/hyperlink" Target="https://www.pexels.com/photo/green-apple-lot-693794/" TargetMode="External"/></Relationships>
</file>

<file path=ppt/slides/_rels/slide187.xml.rels><?xml version="1.0" encoding="UTF-8" standalone="yes"?>
<Relationships xmlns="http://schemas.openxmlformats.org/package/2006/relationships"><Relationship Id="rId3" Type="http://schemas.openxmlformats.org/officeDocument/2006/relationships/image" Target="../media/image369.png"/><Relationship Id="rId2" Type="http://schemas.openxmlformats.org/officeDocument/2006/relationships/customXml" Target="../ink/ink330.xml"/><Relationship Id="rId1" Type="http://schemas.openxmlformats.org/officeDocument/2006/relationships/slideLayout" Target="../slideLayouts/slideLayout5.xml"/></Relationships>
</file>

<file path=ppt/slides/_rels/slide188.xml.rels><?xml version="1.0" encoding="UTF-8" standalone="yes"?>
<Relationships xmlns="http://schemas.openxmlformats.org/package/2006/relationships"><Relationship Id="rId3" Type="http://schemas.openxmlformats.org/officeDocument/2006/relationships/customXml" Target="../ink/ink331.xml"/><Relationship Id="rId2" Type="http://schemas.openxmlformats.org/officeDocument/2006/relationships/image" Target="../media/image371.png"/><Relationship Id="rId1" Type="http://schemas.openxmlformats.org/officeDocument/2006/relationships/slideLayout" Target="../slideLayouts/slideLayout5.xml"/><Relationship Id="rId4" Type="http://schemas.openxmlformats.org/officeDocument/2006/relationships/image" Target="../media/image372.png"/></Relationships>
</file>

<file path=ppt/slides/_rels/slide189.xml.rels><?xml version="1.0" encoding="UTF-8" standalone="yes"?>
<Relationships xmlns="http://schemas.openxmlformats.org/package/2006/relationships"><Relationship Id="rId3" Type="http://schemas.openxmlformats.org/officeDocument/2006/relationships/customXml" Target="../ink/ink332.xml"/><Relationship Id="rId2" Type="http://schemas.openxmlformats.org/officeDocument/2006/relationships/image" Target="../media/image371.png"/><Relationship Id="rId1" Type="http://schemas.openxmlformats.org/officeDocument/2006/relationships/slideLayout" Target="../slideLayouts/slideLayout5.xml"/><Relationship Id="rId4" Type="http://schemas.openxmlformats.org/officeDocument/2006/relationships/image" Target="../media/image373.png"/></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19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1.xml.rels><?xml version="1.0" encoding="UTF-8" standalone="yes"?>
<Relationships xmlns="http://schemas.openxmlformats.org/package/2006/relationships"><Relationship Id="rId2" Type="http://schemas.openxmlformats.org/officeDocument/2006/relationships/image" Target="../media/image374.png"/><Relationship Id="rId1" Type="http://schemas.openxmlformats.org/officeDocument/2006/relationships/slideLayout" Target="../slideLayouts/slideLayout5.xml"/></Relationships>
</file>

<file path=ppt/slides/_rels/slide192.xml.rels><?xml version="1.0" encoding="UTF-8" standalone="yes"?>
<Relationships xmlns="http://schemas.openxmlformats.org/package/2006/relationships"><Relationship Id="rId3" Type="http://schemas.openxmlformats.org/officeDocument/2006/relationships/hyperlink" Target="https://incoglilo.blogspot.com/2011/08/toss-coin-to-make-important-decision.html" TargetMode="External"/><Relationship Id="rId2" Type="http://schemas.openxmlformats.org/officeDocument/2006/relationships/image" Target="../media/image375.jpg"/><Relationship Id="rId1" Type="http://schemas.openxmlformats.org/officeDocument/2006/relationships/slideLayout" Target="../slideLayouts/slideLayout5.xml"/></Relationships>
</file>

<file path=ppt/slides/_rels/slide193.xml.rels><?xml version="1.0" encoding="UTF-8" standalone="yes"?>
<Relationships xmlns="http://schemas.openxmlformats.org/package/2006/relationships"><Relationship Id="rId3" Type="http://schemas.openxmlformats.org/officeDocument/2006/relationships/hyperlink" Target="https://www.flickr.com/photos/icma/3635981474" TargetMode="External"/><Relationship Id="rId2" Type="http://schemas.openxmlformats.org/officeDocument/2006/relationships/image" Target="../media/image376.jpg"/><Relationship Id="rId1" Type="http://schemas.openxmlformats.org/officeDocument/2006/relationships/slideLayout" Target="../slideLayouts/slideLayout5.xml"/></Relationships>
</file>

<file path=ppt/slides/_rels/slide19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0.xml"/><Relationship Id="rId7" Type="http://schemas.openxmlformats.org/officeDocument/2006/relationships/hyperlink" Target="https://www.actuaries.digital/2018/10/31/what-makes-a-good-data-scientist-actuaries-podcast/" TargetMode="Externa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36.jpg"/><Relationship Id="rId5" Type="http://schemas.openxmlformats.org/officeDocument/2006/relationships/notesSlide" Target="../notesSlides/notesSlide10.xml"/><Relationship Id="rId4" Type="http://schemas.openxmlformats.org/officeDocument/2006/relationships/slideLayout" Target="../slideLayouts/slideLayout9.xml"/><Relationship Id="rId9" Type="http://schemas.openxmlformats.org/officeDocument/2006/relationships/image" Target="../media/image1.emf"/></Relationships>
</file>

<file path=ppt/slides/_rels/slide19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7.xml.rels><?xml version="1.0" encoding="UTF-8" standalone="yes"?>
<Relationships xmlns="http://schemas.openxmlformats.org/package/2006/relationships"><Relationship Id="rId2" Type="http://schemas.openxmlformats.org/officeDocument/2006/relationships/image" Target="../media/image377.png"/><Relationship Id="rId1" Type="http://schemas.openxmlformats.org/officeDocument/2006/relationships/slideLayout" Target="../slideLayouts/slideLayout5.xml"/></Relationships>
</file>

<file path=ppt/slides/_rels/slide19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9.xml.rels><?xml version="1.0" encoding="UTF-8" standalone="yes"?>
<Relationships xmlns="http://schemas.openxmlformats.org/package/2006/relationships"><Relationship Id="rId2" Type="http://schemas.openxmlformats.org/officeDocument/2006/relationships/image" Target="../media/image378.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0.xml.rels><?xml version="1.0" encoding="UTF-8" standalone="yes"?>
<Relationships xmlns="http://schemas.openxmlformats.org/package/2006/relationships"><Relationship Id="rId2" Type="http://schemas.openxmlformats.org/officeDocument/2006/relationships/image" Target="../media/image379.png"/><Relationship Id="rId1" Type="http://schemas.openxmlformats.org/officeDocument/2006/relationships/slideLayout" Target="../slideLayouts/slideLayout5.xml"/></Relationships>
</file>

<file path=ppt/slides/_rels/slide20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2.xml.rels><?xml version="1.0" encoding="UTF-8" standalone="yes"?>
<Relationships xmlns="http://schemas.openxmlformats.org/package/2006/relationships"><Relationship Id="rId3" Type="http://schemas.openxmlformats.org/officeDocument/2006/relationships/image" Target="../media/image382.png"/><Relationship Id="rId2" Type="http://schemas.openxmlformats.org/officeDocument/2006/relationships/image" Target="../media/image381.png"/><Relationship Id="rId1" Type="http://schemas.openxmlformats.org/officeDocument/2006/relationships/slideLayout" Target="../slideLayouts/slideLayout5.xml"/><Relationship Id="rId4" Type="http://schemas.openxmlformats.org/officeDocument/2006/relationships/image" Target="../media/image383.png"/></Relationships>
</file>

<file path=ppt/slides/_rels/slide203.xml.rels><?xml version="1.0" encoding="UTF-8" standalone="yes"?>
<Relationships xmlns="http://schemas.openxmlformats.org/package/2006/relationships"><Relationship Id="rId2" Type="http://schemas.openxmlformats.org/officeDocument/2006/relationships/image" Target="../media/image384.png"/><Relationship Id="rId1" Type="http://schemas.openxmlformats.org/officeDocument/2006/relationships/slideLayout" Target="../slideLayouts/slideLayout5.xml"/></Relationships>
</file>

<file path=ppt/slides/_rels/slide204.xml.rels><?xml version="1.0" encoding="UTF-8" standalone="yes"?>
<Relationships xmlns="http://schemas.openxmlformats.org/package/2006/relationships"><Relationship Id="rId3" Type="http://schemas.openxmlformats.org/officeDocument/2006/relationships/image" Target="../media/image386.png"/><Relationship Id="rId2" Type="http://schemas.openxmlformats.org/officeDocument/2006/relationships/image" Target="../media/image385.png"/><Relationship Id="rId1" Type="http://schemas.openxmlformats.org/officeDocument/2006/relationships/slideLayout" Target="../slideLayouts/slideLayout5.xml"/></Relationships>
</file>

<file path=ppt/slides/_rels/slide20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8.xml.rels><?xml version="1.0" encoding="UTF-8" standalone="yes"?>
<Relationships xmlns="http://schemas.openxmlformats.org/package/2006/relationships"><Relationship Id="rId2" Type="http://schemas.openxmlformats.org/officeDocument/2006/relationships/image" Target="../media/image387.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19.png"/></Relationships>
</file>

<file path=ppt/slides/_rels/slide23.xml.rels><?xml version="1.0" encoding="UTF-8" standalone="yes"?>
<Relationships xmlns="http://schemas.openxmlformats.org/package/2006/relationships"><Relationship Id="rId3" Type="http://schemas.openxmlformats.org/officeDocument/2006/relationships/customXml" Target="../ink/ink2.xml"/><Relationship Id="rId2" Type="http://schemas.openxmlformats.org/officeDocument/2006/relationships/image" Target="../media/image20.png"/><Relationship Id="rId1" Type="http://schemas.openxmlformats.org/officeDocument/2006/relationships/slideLayout" Target="../slideLayouts/slideLayout4.xml"/><Relationship Id="rId4" Type="http://schemas.openxmlformats.org/officeDocument/2006/relationships/image" Target="../media/image21.png"/></Relationships>
</file>

<file path=ppt/slides/_rels/slide24.xml.rels><?xml version="1.0" encoding="UTF-8" standalone="yes"?>
<Relationships xmlns="http://schemas.openxmlformats.org/package/2006/relationships"><Relationship Id="rId3" Type="http://schemas.openxmlformats.org/officeDocument/2006/relationships/customXml" Target="../ink/ink3.xml"/><Relationship Id="rId2" Type="http://schemas.openxmlformats.org/officeDocument/2006/relationships/image" Target="../media/image22.png"/><Relationship Id="rId1" Type="http://schemas.openxmlformats.org/officeDocument/2006/relationships/slideLayout" Target="../slideLayouts/slideLayout4.xml"/><Relationship Id="rId4" Type="http://schemas.openxmlformats.org/officeDocument/2006/relationships/image" Target="../media/image23.png"/></Relationships>
</file>

<file path=ppt/slides/_rels/slide25.xml.rels><?xml version="1.0" encoding="UTF-8" standalone="yes"?>
<Relationships xmlns="http://schemas.openxmlformats.org/package/2006/relationships"><Relationship Id="rId3" Type="http://schemas.openxmlformats.org/officeDocument/2006/relationships/customXml" Target="../ink/ink4.xml"/><Relationship Id="rId2" Type="http://schemas.openxmlformats.org/officeDocument/2006/relationships/image" Target="../media/image22.png"/><Relationship Id="rId1" Type="http://schemas.openxmlformats.org/officeDocument/2006/relationships/slideLayout" Target="../slideLayouts/slideLayout4.xml"/><Relationship Id="rId4" Type="http://schemas.openxmlformats.org/officeDocument/2006/relationships/image" Target="../media/image24.png"/></Relationships>
</file>

<file path=ppt/slides/_rels/slide26.xml.rels><?xml version="1.0" encoding="UTF-8" standalone="yes"?>
<Relationships xmlns="http://schemas.openxmlformats.org/package/2006/relationships"><Relationship Id="rId3" Type="http://schemas.openxmlformats.org/officeDocument/2006/relationships/hyperlink" Target="http://capitalcurrent.ca/opioid-overdoses-dwarf-covid-19/" TargetMode="External"/><Relationship Id="rId2" Type="http://schemas.openxmlformats.org/officeDocument/2006/relationships/image" Target="../media/image23.jpg"/><Relationship Id="rId1" Type="http://schemas.openxmlformats.org/officeDocument/2006/relationships/slideLayout" Target="../slideLayouts/slideLayout4.xml"/><Relationship Id="rId6" Type="http://schemas.openxmlformats.org/officeDocument/2006/relationships/image" Target="../media/image26.png"/><Relationship Id="rId5" Type="http://schemas.openxmlformats.org/officeDocument/2006/relationships/customXml" Target="../ink/ink5.xml"/><Relationship Id="rId4" Type="http://schemas.openxmlformats.org/officeDocument/2006/relationships/hyperlink" Target="https://creativecommons.org/licenses/by-nc-nd/3.0/"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customXml" Target="../ink/ink6.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customXml" Target="../ink/ink7.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customXml" Target="../ink/ink8.xml"/><Relationship Id="rId2" Type="http://schemas.openxmlformats.org/officeDocument/2006/relationships/image" Target="../media/image25.png"/><Relationship Id="rId1" Type="http://schemas.openxmlformats.org/officeDocument/2006/relationships/slideLayout" Target="../slideLayouts/slideLayout4.xml"/><Relationship Id="rId4" Type="http://schemas.openxmlformats.org/officeDocument/2006/relationships/image" Target="../media/image30.png"/></Relationships>
</file>

<file path=ppt/slides/_rels/slide3.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hyperlink" Target="https://www.peakpx.com/1988/weather-forecast" TargetMode="External"/><Relationship Id="rId7" Type="http://schemas.openxmlformats.org/officeDocument/2006/relationships/hyperlink" Target="https://www.quoteinspector.com/free-images/" TargetMode="External"/><Relationship Id="rId2" Type="http://schemas.openxmlformats.org/officeDocument/2006/relationships/image" Target="../media/image4.jpeg"/><Relationship Id="rId1" Type="http://schemas.openxmlformats.org/officeDocument/2006/relationships/slideLayout" Target="../slideLayouts/slideLayout2.xml"/><Relationship Id="rId6" Type="http://schemas.openxmlformats.org/officeDocument/2006/relationships/image" Target="../media/image6.jpeg"/><Relationship Id="rId11" Type="http://schemas.openxmlformats.org/officeDocument/2006/relationships/hyperlink" Target="https://www.flickr.com/photos/brusselsairport/38822732482" TargetMode="External"/><Relationship Id="rId5" Type="http://schemas.openxmlformats.org/officeDocument/2006/relationships/hyperlink" Target="https://journalistsresource.org/tag/election-beat-2020/" TargetMode="External"/><Relationship Id="rId10" Type="http://schemas.openxmlformats.org/officeDocument/2006/relationships/image" Target="../media/image8.jpeg"/><Relationship Id="rId4" Type="http://schemas.openxmlformats.org/officeDocument/2006/relationships/image" Target="../media/image5.png"/><Relationship Id="rId9" Type="http://schemas.openxmlformats.org/officeDocument/2006/relationships/hyperlink" Target="http://dangerouslee.biz/insurance-agency-seo/"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9.png"/><Relationship Id="rId1" Type="http://schemas.openxmlformats.org/officeDocument/2006/relationships/slideLayout" Target="../slideLayouts/slideLayout4.xml"/><Relationship Id="rId5" Type="http://schemas.openxmlformats.org/officeDocument/2006/relationships/image" Target="../media/image33.png"/><Relationship Id="rId4" Type="http://schemas.openxmlformats.org/officeDocument/2006/relationships/customXml" Target="../ink/ink9.xml"/></Relationships>
</file>

<file path=ppt/slides/_rels/slide3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customXml" Target="../ink/ink10.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customXml" Target="../ink/ink11.xml"/><Relationship Id="rId2" Type="http://schemas.openxmlformats.org/officeDocument/2006/relationships/image" Target="../media/image32.png"/><Relationship Id="rId1" Type="http://schemas.openxmlformats.org/officeDocument/2006/relationships/slideLayout" Target="../slideLayouts/slideLayout4.xml"/><Relationship Id="rId4" Type="http://schemas.openxmlformats.org/officeDocument/2006/relationships/image" Target="../media/image36.png"/></Relationships>
</file>

<file path=ppt/slides/_rels/slide33.xml.rels><?xml version="1.0" encoding="UTF-8" standalone="yes"?>
<Relationships xmlns="http://schemas.openxmlformats.org/package/2006/relationships"><Relationship Id="rId3" Type="http://schemas.openxmlformats.org/officeDocument/2006/relationships/hyperlink" Target="https://blog.scielo.org/en/2015/03/27/peer-review-modalities-pros-and-cons/" TargetMode="External"/><Relationship Id="rId2" Type="http://schemas.openxmlformats.org/officeDocument/2006/relationships/image" Target="../media/image35.png"/><Relationship Id="rId1" Type="http://schemas.openxmlformats.org/officeDocument/2006/relationships/slideLayout" Target="../slideLayouts/slideLayout4.xml"/><Relationship Id="rId5" Type="http://schemas.openxmlformats.org/officeDocument/2006/relationships/image" Target="../media/image38.png"/><Relationship Id="rId4" Type="http://schemas.openxmlformats.org/officeDocument/2006/relationships/customXml" Target="../ink/ink1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4.xml"/><Relationship Id="rId7" Type="http://schemas.openxmlformats.org/officeDocument/2006/relationships/hyperlink" Target="https://www.actuaries.digital/2018/10/31/what-makes-a-good-data-scientist-actuaries-podcast/" TargetMode="Externa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6.jpg"/><Relationship Id="rId11" Type="http://schemas.openxmlformats.org/officeDocument/2006/relationships/image" Target="../media/image40.png"/><Relationship Id="rId5" Type="http://schemas.openxmlformats.org/officeDocument/2006/relationships/notesSlide" Target="../notesSlides/notesSlide5.xml"/><Relationship Id="rId10" Type="http://schemas.openxmlformats.org/officeDocument/2006/relationships/customXml" Target="../ink/ink13.xml"/><Relationship Id="rId4" Type="http://schemas.openxmlformats.org/officeDocument/2006/relationships/slideLayout" Target="../slideLayouts/slideLayout9.xml"/><Relationship Id="rId9" Type="http://schemas.openxmlformats.org/officeDocument/2006/relationships/image" Target="../media/image1.emf"/></Relationships>
</file>

<file path=ppt/slides/_rels/slide36.xml.rels><?xml version="1.0" encoding="UTF-8" standalone="yes"?>
<Relationships xmlns="http://schemas.openxmlformats.org/package/2006/relationships"><Relationship Id="rId8" Type="http://schemas.openxmlformats.org/officeDocument/2006/relationships/image" Target="../media/image37.jpg"/><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1.bin"/><Relationship Id="rId11" Type="http://schemas.openxmlformats.org/officeDocument/2006/relationships/image" Target="../media/image42.png"/><Relationship Id="rId5" Type="http://schemas.openxmlformats.org/officeDocument/2006/relationships/notesSlide" Target="../notesSlides/notesSlide6.xml"/><Relationship Id="rId10" Type="http://schemas.openxmlformats.org/officeDocument/2006/relationships/customXml" Target="../ink/ink14.xml"/><Relationship Id="rId4" Type="http://schemas.openxmlformats.org/officeDocument/2006/relationships/slideLayout" Target="../slideLayouts/slideLayout9.xml"/><Relationship Id="rId9" Type="http://schemas.openxmlformats.org/officeDocument/2006/relationships/hyperlink" Target="https://www.actuaries.digital/2020/08/06/a-data-scientists-guide-to-data-architecture/"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customXml" Target="../ink/ink15.xm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customXml" Target="../ink/ink16.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3" Type="http://schemas.openxmlformats.org/officeDocument/2006/relationships/hyperlink" Target="https://www.publicdomainpictures.net/view-image.php?image=176108&amp;picture=fast-sport-car" TargetMode="External"/><Relationship Id="rId2" Type="http://schemas.openxmlformats.org/officeDocument/2006/relationships/image" Target="../media/image38.jpe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hyperlink" Target="https://www.flickr.com/photos/emptyjames/4768555013" TargetMode="External"/><Relationship Id="rId2" Type="http://schemas.openxmlformats.org/officeDocument/2006/relationships/image" Target="../media/image39.jpeg"/><Relationship Id="rId1" Type="http://schemas.openxmlformats.org/officeDocument/2006/relationships/slideLayout" Target="../slideLayouts/slideLayout3.xml"/><Relationship Id="rId5" Type="http://schemas.openxmlformats.org/officeDocument/2006/relationships/image" Target="../media/image47.png"/><Relationship Id="rId4" Type="http://schemas.openxmlformats.org/officeDocument/2006/relationships/customXml" Target="../ink/ink17.xml"/></Relationships>
</file>

<file path=ppt/slides/_rels/slide41.xml.rels><?xml version="1.0" encoding="UTF-8" standalone="yes"?>
<Relationships xmlns="http://schemas.openxmlformats.org/package/2006/relationships"><Relationship Id="rId3" Type="http://schemas.openxmlformats.org/officeDocument/2006/relationships/hyperlink" Target="https://www.pexels.com/photo/disco-disco-ball-discotheque-glamour-party-2123340/" TargetMode="External"/><Relationship Id="rId2" Type="http://schemas.openxmlformats.org/officeDocument/2006/relationships/image" Target="../media/image40.jpeg"/><Relationship Id="rId1" Type="http://schemas.openxmlformats.org/officeDocument/2006/relationships/slideLayout" Target="../slideLayouts/slideLayout3.xml"/><Relationship Id="rId5" Type="http://schemas.openxmlformats.org/officeDocument/2006/relationships/image" Target="../media/image49.png"/><Relationship Id="rId4" Type="http://schemas.openxmlformats.org/officeDocument/2006/relationships/customXml" Target="../ink/ink18.xml"/></Relationships>
</file>

<file path=ppt/slides/_rels/slide4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customXml" Target="../ink/ink19.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hyperlink" Target="https://www.pexels.com/photo/disco-disco-ball-discotheque-glamour-party-2123340/" TargetMode="External"/><Relationship Id="rId2" Type="http://schemas.openxmlformats.org/officeDocument/2006/relationships/image" Target="../media/image40.jpeg"/><Relationship Id="rId1" Type="http://schemas.openxmlformats.org/officeDocument/2006/relationships/slideLayout" Target="../slideLayouts/slideLayout3.xml"/><Relationship Id="rId5" Type="http://schemas.openxmlformats.org/officeDocument/2006/relationships/image" Target="../media/image51.png"/><Relationship Id="rId4" Type="http://schemas.openxmlformats.org/officeDocument/2006/relationships/customXml" Target="../ink/ink20.xml"/></Relationships>
</file>

<file path=ppt/slides/_rels/slide4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customXml" Target="../ink/ink21.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customXml" Target="../ink/ink22.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hyperlink" Target="http://www.publicdomainpictures.net/view-image.php?image=120577&amp;picture=forklift-truck-loading-up" TargetMode="External"/><Relationship Id="rId2" Type="http://schemas.openxmlformats.org/officeDocument/2006/relationships/image" Target="../media/image41.jpeg"/><Relationship Id="rId1" Type="http://schemas.openxmlformats.org/officeDocument/2006/relationships/slideLayout" Target="../slideLayouts/slideLayout3.xml"/><Relationship Id="rId5" Type="http://schemas.openxmlformats.org/officeDocument/2006/relationships/image" Target="../media/image55.png"/><Relationship Id="rId4" Type="http://schemas.openxmlformats.org/officeDocument/2006/relationships/customXml" Target="../ink/ink23.xml"/></Relationships>
</file>

<file path=ppt/slides/_rels/slide4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customXml" Target="../ink/ink24.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6" Type="http://schemas.openxmlformats.org/officeDocument/2006/relationships/image" Target="../media/image420.png"/><Relationship Id="rId21" Type="http://schemas.openxmlformats.org/officeDocument/2006/relationships/customXml" Target="../ink/ink34.xml"/><Relationship Id="rId42" Type="http://schemas.openxmlformats.org/officeDocument/2006/relationships/image" Target="../media/image500.png"/><Relationship Id="rId47" Type="http://schemas.openxmlformats.org/officeDocument/2006/relationships/customXml" Target="../ink/ink47.xml"/><Relationship Id="rId63" Type="http://schemas.openxmlformats.org/officeDocument/2006/relationships/customXml" Target="../ink/ink55.xml"/><Relationship Id="rId68" Type="http://schemas.openxmlformats.org/officeDocument/2006/relationships/image" Target="../media/image63.png"/><Relationship Id="rId16" Type="http://schemas.openxmlformats.org/officeDocument/2006/relationships/image" Target="../media/image370.png"/><Relationship Id="rId11" Type="http://schemas.openxmlformats.org/officeDocument/2006/relationships/customXml" Target="../ink/ink29.xml"/><Relationship Id="rId24" Type="http://schemas.openxmlformats.org/officeDocument/2006/relationships/image" Target="../media/image41.png"/><Relationship Id="rId32" Type="http://schemas.openxmlformats.org/officeDocument/2006/relationships/image" Target="../media/image450.png"/><Relationship Id="rId37" Type="http://schemas.openxmlformats.org/officeDocument/2006/relationships/customXml" Target="../ink/ink42.xml"/><Relationship Id="rId40" Type="http://schemas.openxmlformats.org/officeDocument/2006/relationships/image" Target="../media/image490.png"/><Relationship Id="rId45" Type="http://schemas.openxmlformats.org/officeDocument/2006/relationships/customXml" Target="../ink/ink46.xml"/><Relationship Id="rId53" Type="http://schemas.openxmlformats.org/officeDocument/2006/relationships/customXml" Target="../ink/ink50.xml"/><Relationship Id="rId58" Type="http://schemas.openxmlformats.org/officeDocument/2006/relationships/image" Target="../media/image58.png"/><Relationship Id="rId66" Type="http://schemas.openxmlformats.org/officeDocument/2006/relationships/image" Target="../media/image62.png"/><Relationship Id="rId74" Type="http://schemas.openxmlformats.org/officeDocument/2006/relationships/image" Target="../media/image66.png"/><Relationship Id="rId5" Type="http://schemas.openxmlformats.org/officeDocument/2006/relationships/customXml" Target="../ink/ink26.xml"/><Relationship Id="rId61" Type="http://schemas.openxmlformats.org/officeDocument/2006/relationships/customXml" Target="../ink/ink54.xml"/><Relationship Id="rId19" Type="http://schemas.openxmlformats.org/officeDocument/2006/relationships/customXml" Target="../ink/ink33.xml"/><Relationship Id="rId14" Type="http://schemas.openxmlformats.org/officeDocument/2006/relationships/image" Target="../media/image360.png"/><Relationship Id="rId22" Type="http://schemas.openxmlformats.org/officeDocument/2006/relationships/image" Target="../media/image400.png"/><Relationship Id="rId27" Type="http://schemas.openxmlformats.org/officeDocument/2006/relationships/customXml" Target="../ink/ink37.xml"/><Relationship Id="rId30" Type="http://schemas.openxmlformats.org/officeDocument/2006/relationships/image" Target="../media/image440.png"/><Relationship Id="rId35" Type="http://schemas.openxmlformats.org/officeDocument/2006/relationships/customXml" Target="../ink/ink41.xml"/><Relationship Id="rId43" Type="http://schemas.openxmlformats.org/officeDocument/2006/relationships/customXml" Target="../ink/ink45.xml"/><Relationship Id="rId48" Type="http://schemas.openxmlformats.org/officeDocument/2006/relationships/image" Target="../media/image530.png"/><Relationship Id="rId56" Type="http://schemas.openxmlformats.org/officeDocument/2006/relationships/image" Target="../media/image570.png"/><Relationship Id="rId64" Type="http://schemas.openxmlformats.org/officeDocument/2006/relationships/image" Target="../media/image61.png"/><Relationship Id="rId69" Type="http://schemas.openxmlformats.org/officeDocument/2006/relationships/customXml" Target="../ink/ink58.xml"/><Relationship Id="rId77" Type="http://schemas.openxmlformats.org/officeDocument/2006/relationships/customXml" Target="../ink/ink62.xml"/><Relationship Id="rId8" Type="http://schemas.openxmlformats.org/officeDocument/2006/relationships/image" Target="../media/image330.png"/><Relationship Id="rId51" Type="http://schemas.openxmlformats.org/officeDocument/2006/relationships/customXml" Target="../ink/ink49.xml"/><Relationship Id="rId72" Type="http://schemas.openxmlformats.org/officeDocument/2006/relationships/image" Target="../media/image65.png"/><Relationship Id="rId3" Type="http://schemas.openxmlformats.org/officeDocument/2006/relationships/customXml" Target="../ink/ink25.xml"/><Relationship Id="rId12" Type="http://schemas.openxmlformats.org/officeDocument/2006/relationships/image" Target="../media/image350.png"/><Relationship Id="rId17" Type="http://schemas.openxmlformats.org/officeDocument/2006/relationships/customXml" Target="../ink/ink32.xml"/><Relationship Id="rId25" Type="http://schemas.openxmlformats.org/officeDocument/2006/relationships/customXml" Target="../ink/ink36.xml"/><Relationship Id="rId33" Type="http://schemas.openxmlformats.org/officeDocument/2006/relationships/customXml" Target="../ink/ink40.xml"/><Relationship Id="rId38" Type="http://schemas.openxmlformats.org/officeDocument/2006/relationships/image" Target="../media/image48.png"/><Relationship Id="rId46" Type="http://schemas.openxmlformats.org/officeDocument/2006/relationships/image" Target="../media/image520.png"/><Relationship Id="rId59" Type="http://schemas.openxmlformats.org/officeDocument/2006/relationships/customXml" Target="../ink/ink53.xml"/><Relationship Id="rId67" Type="http://schemas.openxmlformats.org/officeDocument/2006/relationships/customXml" Target="../ink/ink57.xml"/><Relationship Id="rId20" Type="http://schemas.openxmlformats.org/officeDocument/2006/relationships/image" Target="../media/image39.png"/><Relationship Id="rId41" Type="http://schemas.openxmlformats.org/officeDocument/2006/relationships/customXml" Target="../ink/ink44.xml"/><Relationship Id="rId54" Type="http://schemas.openxmlformats.org/officeDocument/2006/relationships/image" Target="../media/image560.png"/><Relationship Id="rId62" Type="http://schemas.openxmlformats.org/officeDocument/2006/relationships/image" Target="../media/image60.png"/><Relationship Id="rId70" Type="http://schemas.openxmlformats.org/officeDocument/2006/relationships/image" Target="../media/image64.png"/><Relationship Id="rId75" Type="http://schemas.openxmlformats.org/officeDocument/2006/relationships/customXml" Target="../ink/ink61.xml"/><Relationship Id="rId1" Type="http://schemas.openxmlformats.org/officeDocument/2006/relationships/slideLayout" Target="../slideLayouts/slideLayout3.xml"/><Relationship Id="rId6" Type="http://schemas.openxmlformats.org/officeDocument/2006/relationships/image" Target="../media/image320.png"/><Relationship Id="rId15" Type="http://schemas.openxmlformats.org/officeDocument/2006/relationships/customXml" Target="../ink/ink31.xml"/><Relationship Id="rId23" Type="http://schemas.openxmlformats.org/officeDocument/2006/relationships/customXml" Target="../ink/ink35.xml"/><Relationship Id="rId28" Type="http://schemas.openxmlformats.org/officeDocument/2006/relationships/image" Target="../media/image430.png"/><Relationship Id="rId36" Type="http://schemas.openxmlformats.org/officeDocument/2006/relationships/image" Target="../media/image470.png"/><Relationship Id="rId49" Type="http://schemas.openxmlformats.org/officeDocument/2006/relationships/customXml" Target="../ink/ink48.xml"/><Relationship Id="rId57" Type="http://schemas.openxmlformats.org/officeDocument/2006/relationships/customXml" Target="../ink/ink52.xml"/><Relationship Id="rId10" Type="http://schemas.openxmlformats.org/officeDocument/2006/relationships/image" Target="../media/image340.png"/><Relationship Id="rId31" Type="http://schemas.openxmlformats.org/officeDocument/2006/relationships/customXml" Target="../ink/ink39.xml"/><Relationship Id="rId44" Type="http://schemas.openxmlformats.org/officeDocument/2006/relationships/image" Target="../media/image510.png"/><Relationship Id="rId52" Type="http://schemas.openxmlformats.org/officeDocument/2006/relationships/image" Target="../media/image550.png"/><Relationship Id="rId60" Type="http://schemas.openxmlformats.org/officeDocument/2006/relationships/image" Target="../media/image59.png"/><Relationship Id="rId65" Type="http://schemas.openxmlformats.org/officeDocument/2006/relationships/customXml" Target="../ink/ink56.xml"/><Relationship Id="rId73" Type="http://schemas.openxmlformats.org/officeDocument/2006/relationships/customXml" Target="../ink/ink60.xml"/><Relationship Id="rId78" Type="http://schemas.openxmlformats.org/officeDocument/2006/relationships/image" Target="../media/image68.png"/><Relationship Id="rId4" Type="http://schemas.openxmlformats.org/officeDocument/2006/relationships/image" Target="../media/image310.png"/><Relationship Id="rId9" Type="http://schemas.openxmlformats.org/officeDocument/2006/relationships/customXml" Target="../ink/ink28.xml"/><Relationship Id="rId13" Type="http://schemas.openxmlformats.org/officeDocument/2006/relationships/customXml" Target="../ink/ink30.xml"/><Relationship Id="rId18" Type="http://schemas.openxmlformats.org/officeDocument/2006/relationships/image" Target="../media/image380.png"/><Relationship Id="rId39" Type="http://schemas.openxmlformats.org/officeDocument/2006/relationships/customXml" Target="../ink/ink43.xml"/><Relationship Id="rId34" Type="http://schemas.openxmlformats.org/officeDocument/2006/relationships/image" Target="../media/image46.png"/><Relationship Id="rId50" Type="http://schemas.openxmlformats.org/officeDocument/2006/relationships/image" Target="../media/image54.png"/><Relationship Id="rId55" Type="http://schemas.openxmlformats.org/officeDocument/2006/relationships/customXml" Target="../ink/ink51.xml"/><Relationship Id="rId76" Type="http://schemas.openxmlformats.org/officeDocument/2006/relationships/image" Target="../media/image67.png"/><Relationship Id="rId7" Type="http://schemas.openxmlformats.org/officeDocument/2006/relationships/customXml" Target="../ink/ink27.xml"/><Relationship Id="rId71" Type="http://schemas.openxmlformats.org/officeDocument/2006/relationships/customXml" Target="../ink/ink59.xml"/><Relationship Id="rId2" Type="http://schemas.openxmlformats.org/officeDocument/2006/relationships/image" Target="../media/image45.png"/><Relationship Id="rId29" Type="http://schemas.openxmlformats.org/officeDocument/2006/relationships/customXml" Target="../ink/ink38.xml"/></Relationships>
</file>

<file path=ppt/slides/_rels/slide49.xml.rels><?xml version="1.0" encoding="UTF-8" standalone="yes"?>
<Relationships xmlns="http://schemas.openxmlformats.org/package/2006/relationships"><Relationship Id="rId3" Type="http://schemas.openxmlformats.org/officeDocument/2006/relationships/customXml" Target="../ink/ink63.xml"/><Relationship Id="rId2" Type="http://schemas.openxmlformats.org/officeDocument/2006/relationships/image" Target="../media/image57.png"/><Relationship Id="rId1" Type="http://schemas.openxmlformats.org/officeDocument/2006/relationships/slideLayout" Target="../slideLayouts/slideLayout3.xml"/><Relationship Id="rId4" Type="http://schemas.openxmlformats.org/officeDocument/2006/relationships/image" Target="../media/image70.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hyperlink" Target="http://www.bettertechtips.com/bestbuy/dell-lightweight-laptop/" TargetMode="External"/><Relationship Id="rId2" Type="http://schemas.openxmlformats.org/officeDocument/2006/relationships/image" Target="../media/image58.jpeg"/><Relationship Id="rId1" Type="http://schemas.openxmlformats.org/officeDocument/2006/relationships/slideLayout" Target="../slideLayouts/slideLayout3.xml"/><Relationship Id="rId6" Type="http://schemas.openxmlformats.org/officeDocument/2006/relationships/image" Target="../media/image73.png"/><Relationship Id="rId5" Type="http://schemas.openxmlformats.org/officeDocument/2006/relationships/customXml" Target="../ink/ink64.xml"/><Relationship Id="rId4" Type="http://schemas.openxmlformats.org/officeDocument/2006/relationships/image" Target="../media/image69.png"/></Relationships>
</file>

<file path=ppt/slides/_rels/slide51.xml.rels><?xml version="1.0" encoding="UTF-8" standalone="yes"?>
<Relationships xmlns="http://schemas.openxmlformats.org/package/2006/relationships"><Relationship Id="rId26" Type="http://schemas.openxmlformats.org/officeDocument/2006/relationships/customXml" Target="../ink/ink77.xml"/><Relationship Id="rId21" Type="http://schemas.openxmlformats.org/officeDocument/2006/relationships/image" Target="../media/image80.png"/><Relationship Id="rId42" Type="http://schemas.openxmlformats.org/officeDocument/2006/relationships/customXml" Target="../ink/ink85.xml"/><Relationship Id="rId47" Type="http://schemas.openxmlformats.org/officeDocument/2006/relationships/image" Target="../media/image93.png"/><Relationship Id="rId63" Type="http://schemas.openxmlformats.org/officeDocument/2006/relationships/image" Target="../media/image101.png"/><Relationship Id="rId68" Type="http://schemas.openxmlformats.org/officeDocument/2006/relationships/customXml" Target="../ink/ink98.xml"/><Relationship Id="rId84" Type="http://schemas.openxmlformats.org/officeDocument/2006/relationships/customXml" Target="../ink/ink107.xml"/><Relationship Id="rId89" Type="http://schemas.openxmlformats.org/officeDocument/2006/relationships/image" Target="../media/image113.png"/><Relationship Id="rId112" Type="http://schemas.openxmlformats.org/officeDocument/2006/relationships/image" Target="../media/image124.png"/><Relationship Id="rId16" Type="http://schemas.openxmlformats.org/officeDocument/2006/relationships/customXml" Target="../ink/ink72.xml"/><Relationship Id="rId107" Type="http://schemas.openxmlformats.org/officeDocument/2006/relationships/customXml" Target="../ink/ink119.xml"/><Relationship Id="rId11" Type="http://schemas.openxmlformats.org/officeDocument/2006/relationships/image" Target="../media/image75.png"/><Relationship Id="rId32" Type="http://schemas.openxmlformats.org/officeDocument/2006/relationships/customXml" Target="../ink/ink80.xml"/><Relationship Id="rId37" Type="http://schemas.openxmlformats.org/officeDocument/2006/relationships/image" Target="../media/image88.png"/><Relationship Id="rId53" Type="http://schemas.openxmlformats.org/officeDocument/2006/relationships/image" Target="../media/image96.png"/><Relationship Id="rId58" Type="http://schemas.openxmlformats.org/officeDocument/2006/relationships/customXml" Target="../ink/ink93.xml"/><Relationship Id="rId74" Type="http://schemas.openxmlformats.org/officeDocument/2006/relationships/customXml" Target="../ink/ink101.xml"/><Relationship Id="rId79" Type="http://schemas.openxmlformats.org/officeDocument/2006/relationships/customXml" Target="../ink/ink104.xml"/><Relationship Id="rId102" Type="http://schemas.openxmlformats.org/officeDocument/2006/relationships/customXml" Target="../ink/ink116.xml"/><Relationship Id="rId5" Type="http://schemas.openxmlformats.org/officeDocument/2006/relationships/image" Target="../media/image720.png"/><Relationship Id="rId90" Type="http://schemas.openxmlformats.org/officeDocument/2006/relationships/customXml" Target="../ink/ink110.xml"/><Relationship Id="rId95" Type="http://schemas.openxmlformats.org/officeDocument/2006/relationships/image" Target="../media/image116.png"/><Relationship Id="rId22" Type="http://schemas.openxmlformats.org/officeDocument/2006/relationships/customXml" Target="../ink/ink75.xml"/><Relationship Id="rId27" Type="http://schemas.openxmlformats.org/officeDocument/2006/relationships/image" Target="../media/image83.png"/><Relationship Id="rId43" Type="http://schemas.openxmlformats.org/officeDocument/2006/relationships/image" Target="../media/image91.png"/><Relationship Id="rId48" Type="http://schemas.openxmlformats.org/officeDocument/2006/relationships/customXml" Target="../ink/ink88.xml"/><Relationship Id="rId64" Type="http://schemas.openxmlformats.org/officeDocument/2006/relationships/customXml" Target="../ink/ink96.xml"/><Relationship Id="rId69" Type="http://schemas.openxmlformats.org/officeDocument/2006/relationships/image" Target="../media/image104.png"/><Relationship Id="rId113" Type="http://schemas.openxmlformats.org/officeDocument/2006/relationships/customXml" Target="../ink/ink122.xml"/><Relationship Id="rId80" Type="http://schemas.openxmlformats.org/officeDocument/2006/relationships/image" Target="../media/image109.png"/><Relationship Id="rId85" Type="http://schemas.openxmlformats.org/officeDocument/2006/relationships/image" Target="../media/image111.png"/><Relationship Id="rId12" Type="http://schemas.openxmlformats.org/officeDocument/2006/relationships/customXml" Target="../ink/ink70.xml"/><Relationship Id="rId17" Type="http://schemas.openxmlformats.org/officeDocument/2006/relationships/image" Target="../media/image78.png"/><Relationship Id="rId33" Type="http://schemas.openxmlformats.org/officeDocument/2006/relationships/image" Target="../media/image86.png"/><Relationship Id="rId38" Type="http://schemas.openxmlformats.org/officeDocument/2006/relationships/customXml" Target="../ink/ink83.xml"/><Relationship Id="rId59" Type="http://schemas.openxmlformats.org/officeDocument/2006/relationships/image" Target="../media/image99.png"/><Relationship Id="rId103" Type="http://schemas.openxmlformats.org/officeDocument/2006/relationships/customXml" Target="../ink/ink117.xml"/><Relationship Id="rId108" Type="http://schemas.openxmlformats.org/officeDocument/2006/relationships/image" Target="../media/image122.png"/><Relationship Id="rId54" Type="http://schemas.openxmlformats.org/officeDocument/2006/relationships/customXml" Target="../ink/ink91.xml"/><Relationship Id="rId70" Type="http://schemas.openxmlformats.org/officeDocument/2006/relationships/customXml" Target="../ink/ink99.xml"/><Relationship Id="rId75" Type="http://schemas.openxmlformats.org/officeDocument/2006/relationships/image" Target="../media/image107.png"/><Relationship Id="rId91" Type="http://schemas.openxmlformats.org/officeDocument/2006/relationships/image" Target="../media/image114.png"/><Relationship Id="rId96" Type="http://schemas.openxmlformats.org/officeDocument/2006/relationships/customXml" Target="../ink/ink113.xml"/><Relationship Id="rId1" Type="http://schemas.openxmlformats.org/officeDocument/2006/relationships/slideLayout" Target="../slideLayouts/slideLayout3.xml"/><Relationship Id="rId6" Type="http://schemas.openxmlformats.org/officeDocument/2006/relationships/customXml" Target="../ink/ink67.xml"/><Relationship Id="rId15" Type="http://schemas.openxmlformats.org/officeDocument/2006/relationships/image" Target="../media/image77.png"/><Relationship Id="rId23" Type="http://schemas.openxmlformats.org/officeDocument/2006/relationships/image" Target="../media/image81.png"/><Relationship Id="rId28" Type="http://schemas.openxmlformats.org/officeDocument/2006/relationships/customXml" Target="../ink/ink78.xml"/><Relationship Id="rId36" Type="http://schemas.openxmlformats.org/officeDocument/2006/relationships/customXml" Target="../ink/ink82.xml"/><Relationship Id="rId49" Type="http://schemas.openxmlformats.org/officeDocument/2006/relationships/image" Target="../media/image94.png"/><Relationship Id="rId57" Type="http://schemas.openxmlformats.org/officeDocument/2006/relationships/image" Target="../media/image98.png"/><Relationship Id="rId106" Type="http://schemas.openxmlformats.org/officeDocument/2006/relationships/image" Target="../media/image121.png"/><Relationship Id="rId114" Type="http://schemas.openxmlformats.org/officeDocument/2006/relationships/image" Target="../media/image125.png"/><Relationship Id="rId10" Type="http://schemas.openxmlformats.org/officeDocument/2006/relationships/customXml" Target="../ink/ink69.xml"/><Relationship Id="rId31" Type="http://schemas.openxmlformats.org/officeDocument/2006/relationships/image" Target="../media/image85.png"/><Relationship Id="rId44" Type="http://schemas.openxmlformats.org/officeDocument/2006/relationships/customXml" Target="../ink/ink86.xml"/><Relationship Id="rId52" Type="http://schemas.openxmlformats.org/officeDocument/2006/relationships/customXml" Target="../ink/ink90.xml"/><Relationship Id="rId60" Type="http://schemas.openxmlformats.org/officeDocument/2006/relationships/customXml" Target="../ink/ink94.xml"/><Relationship Id="rId65" Type="http://schemas.openxmlformats.org/officeDocument/2006/relationships/image" Target="../media/image102.png"/><Relationship Id="rId73" Type="http://schemas.openxmlformats.org/officeDocument/2006/relationships/image" Target="../media/image106.png"/><Relationship Id="rId78" Type="http://schemas.openxmlformats.org/officeDocument/2006/relationships/customXml" Target="../ink/ink103.xml"/><Relationship Id="rId81" Type="http://schemas.openxmlformats.org/officeDocument/2006/relationships/customXml" Target="../ink/ink105.xml"/><Relationship Id="rId86" Type="http://schemas.openxmlformats.org/officeDocument/2006/relationships/customXml" Target="../ink/ink108.xml"/><Relationship Id="rId94" Type="http://schemas.openxmlformats.org/officeDocument/2006/relationships/customXml" Target="../ink/ink112.xml"/><Relationship Id="rId99" Type="http://schemas.openxmlformats.org/officeDocument/2006/relationships/image" Target="../media/image118.png"/><Relationship Id="rId101" Type="http://schemas.openxmlformats.org/officeDocument/2006/relationships/image" Target="../media/image119.png"/><Relationship Id="rId4" Type="http://schemas.openxmlformats.org/officeDocument/2006/relationships/customXml" Target="../ink/ink66.xml"/><Relationship Id="rId9" Type="http://schemas.openxmlformats.org/officeDocument/2006/relationships/image" Target="../media/image74.png"/><Relationship Id="rId13" Type="http://schemas.openxmlformats.org/officeDocument/2006/relationships/image" Target="../media/image76.png"/><Relationship Id="rId18" Type="http://schemas.openxmlformats.org/officeDocument/2006/relationships/customXml" Target="../ink/ink73.xml"/><Relationship Id="rId39" Type="http://schemas.openxmlformats.org/officeDocument/2006/relationships/image" Target="../media/image89.png"/><Relationship Id="rId109" Type="http://schemas.openxmlformats.org/officeDocument/2006/relationships/customXml" Target="../ink/ink120.xml"/><Relationship Id="rId34" Type="http://schemas.openxmlformats.org/officeDocument/2006/relationships/customXml" Target="../ink/ink81.xml"/><Relationship Id="rId50" Type="http://schemas.openxmlformats.org/officeDocument/2006/relationships/customXml" Target="../ink/ink89.xml"/><Relationship Id="rId55" Type="http://schemas.openxmlformats.org/officeDocument/2006/relationships/image" Target="../media/image97.png"/><Relationship Id="rId76" Type="http://schemas.openxmlformats.org/officeDocument/2006/relationships/customXml" Target="../ink/ink102.xml"/><Relationship Id="rId97" Type="http://schemas.openxmlformats.org/officeDocument/2006/relationships/image" Target="../media/image117.png"/><Relationship Id="rId104" Type="http://schemas.openxmlformats.org/officeDocument/2006/relationships/image" Target="../media/image120.png"/><Relationship Id="rId7" Type="http://schemas.openxmlformats.org/officeDocument/2006/relationships/image" Target="../media/image730.png"/><Relationship Id="rId71" Type="http://schemas.openxmlformats.org/officeDocument/2006/relationships/image" Target="../media/image105.png"/><Relationship Id="rId92" Type="http://schemas.openxmlformats.org/officeDocument/2006/relationships/customXml" Target="../ink/ink111.xml"/><Relationship Id="rId2" Type="http://schemas.openxmlformats.org/officeDocument/2006/relationships/customXml" Target="../ink/ink65.xml"/><Relationship Id="rId29" Type="http://schemas.openxmlformats.org/officeDocument/2006/relationships/image" Target="../media/image84.png"/><Relationship Id="rId24" Type="http://schemas.openxmlformats.org/officeDocument/2006/relationships/customXml" Target="../ink/ink76.xml"/><Relationship Id="rId40" Type="http://schemas.openxmlformats.org/officeDocument/2006/relationships/customXml" Target="../ink/ink84.xml"/><Relationship Id="rId45" Type="http://schemas.openxmlformats.org/officeDocument/2006/relationships/image" Target="../media/image92.png"/><Relationship Id="rId66" Type="http://schemas.openxmlformats.org/officeDocument/2006/relationships/customXml" Target="../ink/ink97.xml"/><Relationship Id="rId87" Type="http://schemas.openxmlformats.org/officeDocument/2006/relationships/image" Target="../media/image112.png"/><Relationship Id="rId110" Type="http://schemas.openxmlformats.org/officeDocument/2006/relationships/image" Target="../media/image123.png"/><Relationship Id="rId61" Type="http://schemas.openxmlformats.org/officeDocument/2006/relationships/image" Target="../media/image100.png"/><Relationship Id="rId82" Type="http://schemas.openxmlformats.org/officeDocument/2006/relationships/image" Target="../media/image110.png"/><Relationship Id="rId19" Type="http://schemas.openxmlformats.org/officeDocument/2006/relationships/image" Target="../media/image79.png"/><Relationship Id="rId14" Type="http://schemas.openxmlformats.org/officeDocument/2006/relationships/customXml" Target="../ink/ink71.xml"/><Relationship Id="rId30" Type="http://schemas.openxmlformats.org/officeDocument/2006/relationships/customXml" Target="../ink/ink79.xml"/><Relationship Id="rId35" Type="http://schemas.openxmlformats.org/officeDocument/2006/relationships/image" Target="../media/image87.png"/><Relationship Id="rId56" Type="http://schemas.openxmlformats.org/officeDocument/2006/relationships/customXml" Target="../ink/ink92.xml"/><Relationship Id="rId77" Type="http://schemas.openxmlformats.org/officeDocument/2006/relationships/image" Target="../media/image108.png"/><Relationship Id="rId100" Type="http://schemas.openxmlformats.org/officeDocument/2006/relationships/customXml" Target="../ink/ink115.xml"/><Relationship Id="rId105" Type="http://schemas.openxmlformats.org/officeDocument/2006/relationships/customXml" Target="../ink/ink118.xml"/><Relationship Id="rId8" Type="http://schemas.openxmlformats.org/officeDocument/2006/relationships/customXml" Target="../ink/ink68.xml"/><Relationship Id="rId51" Type="http://schemas.openxmlformats.org/officeDocument/2006/relationships/image" Target="../media/image95.png"/><Relationship Id="rId72" Type="http://schemas.openxmlformats.org/officeDocument/2006/relationships/customXml" Target="../ink/ink100.xml"/><Relationship Id="rId93" Type="http://schemas.openxmlformats.org/officeDocument/2006/relationships/image" Target="../media/image115.png"/><Relationship Id="rId98" Type="http://schemas.openxmlformats.org/officeDocument/2006/relationships/customXml" Target="../ink/ink114.xml"/><Relationship Id="rId3" Type="http://schemas.openxmlformats.org/officeDocument/2006/relationships/image" Target="../media/image71.png"/><Relationship Id="rId25" Type="http://schemas.openxmlformats.org/officeDocument/2006/relationships/image" Target="../media/image82.png"/><Relationship Id="rId46" Type="http://schemas.openxmlformats.org/officeDocument/2006/relationships/customXml" Target="../ink/ink87.xml"/><Relationship Id="rId67" Type="http://schemas.openxmlformats.org/officeDocument/2006/relationships/image" Target="../media/image103.png"/><Relationship Id="rId20" Type="http://schemas.openxmlformats.org/officeDocument/2006/relationships/customXml" Target="../ink/ink74.xml"/><Relationship Id="rId41" Type="http://schemas.openxmlformats.org/officeDocument/2006/relationships/image" Target="../media/image90.png"/><Relationship Id="rId62" Type="http://schemas.openxmlformats.org/officeDocument/2006/relationships/customXml" Target="../ink/ink95.xml"/><Relationship Id="rId83" Type="http://schemas.openxmlformats.org/officeDocument/2006/relationships/customXml" Target="../ink/ink106.xml"/><Relationship Id="rId88" Type="http://schemas.openxmlformats.org/officeDocument/2006/relationships/customXml" Target="../ink/ink109.xml"/><Relationship Id="rId111" Type="http://schemas.openxmlformats.org/officeDocument/2006/relationships/customXml" Target="../ink/ink121.xml"/></Relationships>
</file>

<file path=ppt/slides/_rels/slide52.xml.rels><?xml version="1.0" encoding="UTF-8" standalone="yes"?>
<Relationships xmlns="http://schemas.openxmlformats.org/package/2006/relationships"><Relationship Id="rId3" Type="http://schemas.openxmlformats.org/officeDocument/2006/relationships/customXml" Target="../ink/ink123.xml"/><Relationship Id="rId2" Type="http://schemas.openxmlformats.org/officeDocument/2006/relationships/image" Target="../media/image72.png"/><Relationship Id="rId1" Type="http://schemas.openxmlformats.org/officeDocument/2006/relationships/slideLayout" Target="../slideLayouts/slideLayout3.xml"/><Relationship Id="rId4" Type="http://schemas.openxmlformats.org/officeDocument/2006/relationships/image" Target="../media/image127.png"/></Relationships>
</file>

<file path=ppt/slides/_rels/slide53.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customXml" Target="../ink/ink124.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customXml" Target="../ink/ink125.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3" Type="http://schemas.openxmlformats.org/officeDocument/2006/relationships/customXml" Target="../ink/ink126.xml"/><Relationship Id="rId2" Type="http://schemas.openxmlformats.org/officeDocument/2006/relationships/image" Target="../media/image126.png"/><Relationship Id="rId1" Type="http://schemas.openxmlformats.org/officeDocument/2006/relationships/slideLayout" Target="../slideLayouts/slideLayout3.xml"/><Relationship Id="rId4" Type="http://schemas.openxmlformats.org/officeDocument/2006/relationships/image" Target="../media/image131.png"/></Relationships>
</file>

<file path=ppt/slides/_rels/slide56.xml.rels><?xml version="1.0" encoding="UTF-8" standalone="yes"?>
<Relationships xmlns="http://schemas.openxmlformats.org/package/2006/relationships"><Relationship Id="rId3" Type="http://schemas.openxmlformats.org/officeDocument/2006/relationships/image" Target="../media/image130.png"/><Relationship Id="rId7" Type="http://schemas.openxmlformats.org/officeDocument/2006/relationships/image" Target="../media/image132.png"/><Relationship Id="rId2" Type="http://schemas.openxmlformats.org/officeDocument/2006/relationships/image" Target="../media/image126.png"/><Relationship Id="rId1" Type="http://schemas.openxmlformats.org/officeDocument/2006/relationships/slideLayout" Target="../slideLayouts/slideLayout3.xml"/><Relationship Id="rId6" Type="http://schemas.openxmlformats.org/officeDocument/2006/relationships/customXml" Target="../ink/ink128.xml"/><Relationship Id="rId5" Type="http://schemas.openxmlformats.org/officeDocument/2006/relationships/image" Target="../media/image133.png"/><Relationship Id="rId4" Type="http://schemas.openxmlformats.org/officeDocument/2006/relationships/customXml" Target="../ink/ink127.xml"/></Relationships>
</file>

<file path=ppt/slides/_rels/slide57.xml.rels><?xml version="1.0" encoding="UTF-8" standalone="yes"?>
<Relationships xmlns="http://schemas.openxmlformats.org/package/2006/relationships"><Relationship Id="rId3" Type="http://schemas.openxmlformats.org/officeDocument/2006/relationships/customXml" Target="../ink/ink129.xml"/><Relationship Id="rId2" Type="http://schemas.openxmlformats.org/officeDocument/2006/relationships/image" Target="../media/image134.png"/><Relationship Id="rId1" Type="http://schemas.openxmlformats.org/officeDocument/2006/relationships/slideLayout" Target="../slideLayouts/slideLayout3.xml"/><Relationship Id="rId4" Type="http://schemas.openxmlformats.org/officeDocument/2006/relationships/image" Target="../media/image135.png"/></Relationships>
</file>

<file path=ppt/slides/_rels/slide58.xml.rels><?xml version="1.0" encoding="UTF-8" standalone="yes"?>
<Relationships xmlns="http://schemas.openxmlformats.org/package/2006/relationships"><Relationship Id="rId3" Type="http://schemas.openxmlformats.org/officeDocument/2006/relationships/image" Target="../media/image136.png"/><Relationship Id="rId7" Type="http://schemas.openxmlformats.org/officeDocument/2006/relationships/image" Target="../media/image138.png"/><Relationship Id="rId2" Type="http://schemas.openxmlformats.org/officeDocument/2006/relationships/hyperlink" Target="https://www.mathsisfun.com/mean.html" TargetMode="External"/><Relationship Id="rId1" Type="http://schemas.openxmlformats.org/officeDocument/2006/relationships/slideLayout" Target="../slideLayouts/slideLayout3.xml"/><Relationship Id="rId6" Type="http://schemas.openxmlformats.org/officeDocument/2006/relationships/customXml" Target="../ink/ink131.xml"/><Relationship Id="rId5" Type="http://schemas.openxmlformats.org/officeDocument/2006/relationships/image" Target="../media/image137.png"/><Relationship Id="rId4" Type="http://schemas.openxmlformats.org/officeDocument/2006/relationships/customXml" Target="../ink/ink130.xml"/></Relationships>
</file>

<file path=ppt/slides/_rels/slide59.xml.rels><?xml version="1.0" encoding="UTF-8" standalone="yes"?>
<Relationships xmlns="http://schemas.openxmlformats.org/package/2006/relationships"><Relationship Id="rId8" Type="http://schemas.openxmlformats.org/officeDocument/2006/relationships/image" Target="../media/image141.png"/><Relationship Id="rId3" Type="http://schemas.openxmlformats.org/officeDocument/2006/relationships/image" Target="../media/image140.jpeg"/><Relationship Id="rId7" Type="http://schemas.openxmlformats.org/officeDocument/2006/relationships/customXml" Target="../ink/ink133.xml"/><Relationship Id="rId2" Type="http://schemas.openxmlformats.org/officeDocument/2006/relationships/image" Target="../media/image139.png"/><Relationship Id="rId1" Type="http://schemas.openxmlformats.org/officeDocument/2006/relationships/slideLayout" Target="../slideLayouts/slideLayout3.xml"/><Relationship Id="rId6" Type="http://schemas.openxmlformats.org/officeDocument/2006/relationships/image" Target="../media/image140.png"/><Relationship Id="rId5" Type="http://schemas.openxmlformats.org/officeDocument/2006/relationships/customXml" Target="../ink/ink132.xml"/><Relationship Id="rId4" Type="http://schemas.openxmlformats.org/officeDocument/2006/relationships/hyperlink" Target="http://intersection4learning.blogspot.com/2012/01/wonder-wednesday-most-important.html"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www.thebluediamondgallery.com/handwriting/s/statistics.html" TargetMode="External"/><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hyperlink" Target="https://www.pexels.com/photo/black-dslr-camera-mounted-on-black-tripod-212372/" TargetMode="External"/><Relationship Id="rId2" Type="http://schemas.openxmlformats.org/officeDocument/2006/relationships/image" Target="../media/image141.jpeg"/><Relationship Id="rId1" Type="http://schemas.openxmlformats.org/officeDocument/2006/relationships/slideLayout" Target="../slideLayouts/slideLayout3.xml"/><Relationship Id="rId5" Type="http://schemas.openxmlformats.org/officeDocument/2006/relationships/image" Target="../media/image142.png"/><Relationship Id="rId4" Type="http://schemas.openxmlformats.org/officeDocument/2006/relationships/customXml" Target="../ink/ink134.xml"/></Relationships>
</file>

<file path=ppt/slides/_rels/slide61.xml.rels><?xml version="1.0" encoding="UTF-8" standalone="yes"?>
<Relationships xmlns="http://schemas.openxmlformats.org/package/2006/relationships"><Relationship Id="rId3" Type="http://schemas.openxmlformats.org/officeDocument/2006/relationships/hyperlink" Target="http://priyankas-point.blogspot.com/2009_06_14_archive.html" TargetMode="External"/><Relationship Id="rId7" Type="http://schemas.openxmlformats.org/officeDocument/2006/relationships/image" Target="../media/image145.png"/><Relationship Id="rId2" Type="http://schemas.openxmlformats.org/officeDocument/2006/relationships/image" Target="../media/image142.jpeg"/><Relationship Id="rId1" Type="http://schemas.openxmlformats.org/officeDocument/2006/relationships/slideLayout" Target="../slideLayouts/slideLayout3.xml"/><Relationship Id="rId6" Type="http://schemas.openxmlformats.org/officeDocument/2006/relationships/customXml" Target="../ink/ink136.xml"/><Relationship Id="rId5" Type="http://schemas.openxmlformats.org/officeDocument/2006/relationships/image" Target="../media/image144.png"/><Relationship Id="rId4" Type="http://schemas.openxmlformats.org/officeDocument/2006/relationships/customXml" Target="../ink/ink135.xml"/></Relationships>
</file>

<file path=ppt/slides/_rels/slide62.xml.rels><?xml version="1.0" encoding="UTF-8" standalone="yes"?>
<Relationships xmlns="http://schemas.openxmlformats.org/package/2006/relationships"><Relationship Id="rId3" Type="http://schemas.openxmlformats.org/officeDocument/2006/relationships/hyperlink" Target="http://intersection4learning.blogspot.com/2012/01/wonder-wednesday-most-important.html" TargetMode="External"/><Relationship Id="rId2" Type="http://schemas.openxmlformats.org/officeDocument/2006/relationships/image" Target="../media/image143.jpeg"/><Relationship Id="rId1" Type="http://schemas.openxmlformats.org/officeDocument/2006/relationships/slideLayout" Target="../slideLayouts/slideLayout3.xml"/><Relationship Id="rId6" Type="http://schemas.openxmlformats.org/officeDocument/2006/relationships/image" Target="../media/image148.png"/><Relationship Id="rId5" Type="http://schemas.openxmlformats.org/officeDocument/2006/relationships/customXml" Target="../ink/ink137.xml"/><Relationship Id="rId4" Type="http://schemas.openxmlformats.org/officeDocument/2006/relationships/image" Target="../media/image146.png"/></Relationships>
</file>

<file path=ppt/slides/_rels/slide63.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customXml" Target="../ink/ink138.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3" Type="http://schemas.openxmlformats.org/officeDocument/2006/relationships/customXml" Target="../ink/ink139.xml"/><Relationship Id="rId2" Type="http://schemas.openxmlformats.org/officeDocument/2006/relationships/image" Target="../media/image147.png"/><Relationship Id="rId1" Type="http://schemas.openxmlformats.org/officeDocument/2006/relationships/slideLayout" Target="../slideLayouts/slideLayout3.xml"/><Relationship Id="rId4" Type="http://schemas.openxmlformats.org/officeDocument/2006/relationships/image" Target="../media/image151.png"/></Relationships>
</file>

<file path=ppt/slides/_rels/slide65.xml.rels><?xml version="1.0" encoding="UTF-8" standalone="yes"?>
<Relationships xmlns="http://schemas.openxmlformats.org/package/2006/relationships"><Relationship Id="rId3" Type="http://schemas.openxmlformats.org/officeDocument/2006/relationships/customXml" Target="../ink/ink140.xml"/><Relationship Id="rId2" Type="http://schemas.openxmlformats.org/officeDocument/2006/relationships/image" Target="../media/image150.png"/><Relationship Id="rId1" Type="http://schemas.openxmlformats.org/officeDocument/2006/relationships/slideLayout" Target="../slideLayouts/slideLayout3.xml"/><Relationship Id="rId4" Type="http://schemas.openxmlformats.org/officeDocument/2006/relationships/image" Target="../media/image153.png"/></Relationships>
</file>

<file path=ppt/slides/_rels/slide66.xml.rels><?xml version="1.0" encoding="UTF-8" standalone="yes"?>
<Relationships xmlns="http://schemas.openxmlformats.org/package/2006/relationships"><Relationship Id="rId8" Type="http://schemas.openxmlformats.org/officeDocument/2006/relationships/image" Target="../media/image37.jpg"/><Relationship Id="rId3" Type="http://schemas.openxmlformats.org/officeDocument/2006/relationships/tags" Target="../tags/tag8.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2.bin"/><Relationship Id="rId11" Type="http://schemas.openxmlformats.org/officeDocument/2006/relationships/image" Target="../media/image154.png"/><Relationship Id="rId5" Type="http://schemas.openxmlformats.org/officeDocument/2006/relationships/notesSlide" Target="../notesSlides/notesSlide7.xml"/><Relationship Id="rId10" Type="http://schemas.openxmlformats.org/officeDocument/2006/relationships/customXml" Target="../ink/ink141.xml"/><Relationship Id="rId4" Type="http://schemas.openxmlformats.org/officeDocument/2006/relationships/slideLayout" Target="../slideLayouts/slideLayout9.xml"/><Relationship Id="rId9" Type="http://schemas.openxmlformats.org/officeDocument/2006/relationships/hyperlink" Target="https://www.actuaries.digital/2020/08/06/a-data-scientists-guide-to-data-architecture/" TargetMode="External"/></Relationships>
</file>

<file path=ppt/slides/_rels/slide67.xml.rels><?xml version="1.0" encoding="UTF-8" standalone="yes"?>
<Relationships xmlns="http://schemas.openxmlformats.org/package/2006/relationships"><Relationship Id="rId3" Type="http://schemas.openxmlformats.org/officeDocument/2006/relationships/hyperlink" Target="https://www.scribbr.com/statistics/interquartile-range/" TargetMode="External"/><Relationship Id="rId7" Type="http://schemas.openxmlformats.org/officeDocument/2006/relationships/image" Target="../media/image155.png"/><Relationship Id="rId2" Type="http://schemas.openxmlformats.org/officeDocument/2006/relationships/hyperlink" Target="https://www.scribbr.com/statistics/range/" TargetMode="External"/><Relationship Id="rId1" Type="http://schemas.openxmlformats.org/officeDocument/2006/relationships/slideLayout" Target="../slideLayouts/slideLayout9.xml"/><Relationship Id="rId6" Type="http://schemas.openxmlformats.org/officeDocument/2006/relationships/customXml" Target="../ink/ink142.xml"/><Relationship Id="rId5" Type="http://schemas.openxmlformats.org/officeDocument/2006/relationships/hyperlink" Target="https://www.scribbr.com/statistics/variance/" TargetMode="External"/><Relationship Id="rId4" Type="http://schemas.openxmlformats.org/officeDocument/2006/relationships/hyperlink" Target="https://www.scribbr.com/statistics/standard-deviation/" TargetMode="External"/></Relationships>
</file>

<file path=ppt/slides/_rels/slide68.xml.rels><?xml version="1.0" encoding="UTF-8" standalone="yes"?>
<Relationships xmlns="http://schemas.openxmlformats.org/package/2006/relationships"><Relationship Id="rId3" Type="http://schemas.openxmlformats.org/officeDocument/2006/relationships/hyperlink" Target="https://www.scribbr.com/methodology/simple-random-sampling/" TargetMode="External"/><Relationship Id="rId2" Type="http://schemas.openxmlformats.org/officeDocument/2006/relationships/image" Target="../media/image152.png"/><Relationship Id="rId1" Type="http://schemas.openxmlformats.org/officeDocument/2006/relationships/slideLayout" Target="../slideLayouts/slideLayout9.xml"/><Relationship Id="rId6" Type="http://schemas.openxmlformats.org/officeDocument/2006/relationships/image" Target="../media/image157.png"/><Relationship Id="rId5" Type="http://schemas.openxmlformats.org/officeDocument/2006/relationships/customXml" Target="../ink/ink143.xml"/><Relationship Id="rId4" Type="http://schemas.openxmlformats.org/officeDocument/2006/relationships/hyperlink" Target="https://www.scribbr.com/statistics/normal-distribution/" TargetMode="External"/></Relationships>
</file>

<file path=ppt/slides/_rels/slide69.xml.rels><?xml version="1.0" encoding="UTF-8" standalone="yes"?>
<Relationships xmlns="http://schemas.openxmlformats.org/package/2006/relationships"><Relationship Id="rId3" Type="http://schemas.openxmlformats.org/officeDocument/2006/relationships/customXml" Target="../ink/ink144.xml"/><Relationship Id="rId2" Type="http://schemas.openxmlformats.org/officeDocument/2006/relationships/hyperlink" Target="https://www.scribbr.com/statistics/range/" TargetMode="External"/><Relationship Id="rId1" Type="http://schemas.openxmlformats.org/officeDocument/2006/relationships/slideLayout" Target="../slideLayouts/slideLayout9.xml"/><Relationship Id="rId4" Type="http://schemas.openxmlformats.org/officeDocument/2006/relationships/image" Target="../media/image158.png"/></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customXml" Target="../ink/ink145.xml"/><Relationship Id="rId2" Type="http://schemas.openxmlformats.org/officeDocument/2006/relationships/hyperlink" Target="https://www.scribbr.com/statistics/outliers/" TargetMode="External"/><Relationship Id="rId1" Type="http://schemas.openxmlformats.org/officeDocument/2006/relationships/slideLayout" Target="../slideLayouts/slideLayout9.xml"/><Relationship Id="rId4" Type="http://schemas.openxmlformats.org/officeDocument/2006/relationships/image" Target="../media/image159.png"/></Relationships>
</file>

<file path=ppt/slides/_rels/slide71.xml.rels><?xml version="1.0" encoding="UTF-8" standalone="yes"?>
<Relationships xmlns="http://schemas.openxmlformats.org/package/2006/relationships"><Relationship Id="rId3" Type="http://schemas.openxmlformats.org/officeDocument/2006/relationships/hyperlink" Target="https://pixabay.com/en/question-mark-question-response-1019983/" TargetMode="External"/><Relationship Id="rId2" Type="http://schemas.openxmlformats.org/officeDocument/2006/relationships/image" Target="../media/image153.jpg"/><Relationship Id="rId1" Type="http://schemas.openxmlformats.org/officeDocument/2006/relationships/slideLayout" Target="../slideLayouts/slideLayout9.xml"/><Relationship Id="rId5" Type="http://schemas.openxmlformats.org/officeDocument/2006/relationships/image" Target="../media/image161.png"/><Relationship Id="rId4" Type="http://schemas.openxmlformats.org/officeDocument/2006/relationships/customXml" Target="../ink/ink146.xml"/></Relationships>
</file>

<file path=ppt/slides/_rels/slide72.xml.rels><?xml version="1.0" encoding="UTF-8" standalone="yes"?>
<Relationships xmlns="http://schemas.openxmlformats.org/package/2006/relationships"><Relationship Id="rId3" Type="http://schemas.openxmlformats.org/officeDocument/2006/relationships/customXml" Target="../ink/ink147.xml"/><Relationship Id="rId2" Type="http://schemas.openxmlformats.org/officeDocument/2006/relationships/image" Target="../media/image156.png"/><Relationship Id="rId1" Type="http://schemas.openxmlformats.org/officeDocument/2006/relationships/slideLayout" Target="../slideLayouts/slideLayout9.xml"/><Relationship Id="rId4" Type="http://schemas.openxmlformats.org/officeDocument/2006/relationships/image" Target="../media/image163.png"/></Relationships>
</file>

<file path=ppt/slides/_rels/slide73.xml.rels><?xml version="1.0" encoding="UTF-8" standalone="yes"?>
<Relationships xmlns="http://schemas.openxmlformats.org/package/2006/relationships"><Relationship Id="rId3" Type="http://schemas.openxmlformats.org/officeDocument/2006/relationships/customXml" Target="../ink/ink148.xml"/><Relationship Id="rId2" Type="http://schemas.openxmlformats.org/officeDocument/2006/relationships/image" Target="../media/image160.png"/><Relationship Id="rId1" Type="http://schemas.openxmlformats.org/officeDocument/2006/relationships/slideLayout" Target="../slideLayouts/slideLayout9.xml"/><Relationship Id="rId4" Type="http://schemas.openxmlformats.org/officeDocument/2006/relationships/image" Target="../media/image165.png"/></Relationships>
</file>

<file path=ppt/slides/_rels/slide74.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customXml" Target="../ink/ink149.xml"/><Relationship Id="rId1" Type="http://schemas.openxmlformats.org/officeDocument/2006/relationships/slideLayout" Target="../slideLayouts/slideLayout9.xml"/></Relationships>
</file>

<file path=ppt/slides/_rels/slide75.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hyperlink" Target="https://www.scribbr.com/statistics/interquartile-range/" TargetMode="External"/><Relationship Id="rId1" Type="http://schemas.openxmlformats.org/officeDocument/2006/relationships/slideLayout" Target="../slideLayouts/slideLayout9.xml"/><Relationship Id="rId5" Type="http://schemas.openxmlformats.org/officeDocument/2006/relationships/image" Target="../media/image168.png"/><Relationship Id="rId4" Type="http://schemas.openxmlformats.org/officeDocument/2006/relationships/customXml" Target="../ink/ink150.xml"/></Relationships>
</file>

<file path=ppt/slides/_rels/slide76.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customXml" Target="../ink/ink151.xml"/><Relationship Id="rId1" Type="http://schemas.openxmlformats.org/officeDocument/2006/relationships/slideLayout" Target="../slideLayouts/slideLayout9.xml"/></Relationships>
</file>

<file path=ppt/slides/_rels/slide77.xml.rels><?xml version="1.0" encoding="UTF-8" standalone="yes"?>
<Relationships xmlns="http://schemas.openxmlformats.org/package/2006/relationships"><Relationship Id="rId2" Type="http://schemas.openxmlformats.org/officeDocument/2006/relationships/image" Target="../media/image164.png"/><Relationship Id="rId1" Type="http://schemas.openxmlformats.org/officeDocument/2006/relationships/slideLayout" Target="../slideLayouts/slideLayout9.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9.xml.rels><?xml version="1.0" encoding="UTF-8" standalone="yes"?>
<Relationships xmlns="http://schemas.openxmlformats.org/package/2006/relationships"><Relationship Id="rId3" Type="http://schemas.openxmlformats.org/officeDocument/2006/relationships/customXml" Target="../ink/ink152.xml"/><Relationship Id="rId2" Type="http://schemas.openxmlformats.org/officeDocument/2006/relationships/image" Target="../media/image167.png"/><Relationship Id="rId1" Type="http://schemas.openxmlformats.org/officeDocument/2006/relationships/slideLayout" Target="../slideLayouts/slideLayout9.xml"/><Relationship Id="rId4" Type="http://schemas.openxmlformats.org/officeDocument/2006/relationships/image" Target="../media/image172.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customXml" Target="../ink/ink153.xml"/><Relationship Id="rId2" Type="http://schemas.openxmlformats.org/officeDocument/2006/relationships/image" Target="../media/image170.png"/><Relationship Id="rId1" Type="http://schemas.openxmlformats.org/officeDocument/2006/relationships/slideLayout" Target="../slideLayouts/slideLayout9.xml"/><Relationship Id="rId4" Type="http://schemas.openxmlformats.org/officeDocument/2006/relationships/image" Target="../media/image174.png"/></Relationships>
</file>

<file path=ppt/slides/_rels/slide81.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customXml" Target="../ink/ink154.xml"/><Relationship Id="rId1" Type="http://schemas.openxmlformats.org/officeDocument/2006/relationships/slideLayout" Target="../slideLayouts/slideLayout9.xml"/></Relationships>
</file>

<file path=ppt/slides/_rels/slide82.xml.rels><?xml version="1.0" encoding="UTF-8" standalone="yes"?>
<Relationships xmlns="http://schemas.openxmlformats.org/package/2006/relationships"><Relationship Id="rId3" Type="http://schemas.openxmlformats.org/officeDocument/2006/relationships/customXml" Target="../ink/ink155.xml"/><Relationship Id="rId2" Type="http://schemas.openxmlformats.org/officeDocument/2006/relationships/hyperlink" Target="https://www.mathsisfun.com/mean.html" TargetMode="External"/><Relationship Id="rId1" Type="http://schemas.openxmlformats.org/officeDocument/2006/relationships/slideLayout" Target="../slideLayouts/slideLayout9.xml"/><Relationship Id="rId4" Type="http://schemas.openxmlformats.org/officeDocument/2006/relationships/image" Target="../media/image176.png"/></Relationships>
</file>

<file path=ppt/slides/_rels/slide83.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image" Target="../media/image171.png"/><Relationship Id="rId1" Type="http://schemas.openxmlformats.org/officeDocument/2006/relationships/slideLayout" Target="../slideLayouts/slideLayout9.xml"/><Relationship Id="rId5" Type="http://schemas.openxmlformats.org/officeDocument/2006/relationships/image" Target="../media/image179.png"/><Relationship Id="rId4" Type="http://schemas.openxmlformats.org/officeDocument/2006/relationships/customXml" Target="../ink/ink156.xml"/></Relationships>
</file>

<file path=ppt/slides/_rels/slide84.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customXml" Target="../ink/ink157.xml"/><Relationship Id="rId1" Type="http://schemas.openxmlformats.org/officeDocument/2006/relationships/slideLayout" Target="../slideLayouts/slideLayout9.xml"/></Relationships>
</file>

<file path=ppt/slides/_rels/slide85.xml.rels><?xml version="1.0" encoding="UTF-8" standalone="yes"?>
<Relationships xmlns="http://schemas.openxmlformats.org/package/2006/relationships"><Relationship Id="rId3" Type="http://schemas.openxmlformats.org/officeDocument/2006/relationships/hyperlink" Target="https://www.mathsisfun.com/numbers/absolute-value.html" TargetMode="External"/><Relationship Id="rId2" Type="http://schemas.openxmlformats.org/officeDocument/2006/relationships/hyperlink" Target="https://www.mathsisfun.com/algebra/sigma-notation.html" TargetMode="External"/><Relationship Id="rId1" Type="http://schemas.openxmlformats.org/officeDocument/2006/relationships/slideLayout" Target="../slideLayouts/slideLayout9.xml"/><Relationship Id="rId6" Type="http://schemas.openxmlformats.org/officeDocument/2006/relationships/image" Target="../media/image182.png"/><Relationship Id="rId5" Type="http://schemas.openxmlformats.org/officeDocument/2006/relationships/customXml" Target="../ink/ink158.xml"/><Relationship Id="rId4" Type="http://schemas.openxmlformats.org/officeDocument/2006/relationships/image" Target="../media/image177.png"/></Relationships>
</file>

<file path=ppt/slides/_rels/slide86.xml.rels><?xml version="1.0" encoding="UTF-8" standalone="yes"?>
<Relationships xmlns="http://schemas.openxmlformats.org/package/2006/relationships"><Relationship Id="rId3" Type="http://schemas.openxmlformats.org/officeDocument/2006/relationships/customXml" Target="../ink/ink159.xml"/><Relationship Id="rId2" Type="http://schemas.openxmlformats.org/officeDocument/2006/relationships/image" Target="../media/image178.png"/><Relationship Id="rId1" Type="http://schemas.openxmlformats.org/officeDocument/2006/relationships/slideLayout" Target="../slideLayouts/slideLayout9.xml"/><Relationship Id="rId4" Type="http://schemas.openxmlformats.org/officeDocument/2006/relationships/image" Target="../media/image184.png"/></Relationships>
</file>

<file path=ppt/slides/_rels/slide87.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image" Target="../media/image181.png"/><Relationship Id="rId1" Type="http://schemas.openxmlformats.org/officeDocument/2006/relationships/slideLayout" Target="../slideLayouts/slideLayout9.xml"/><Relationship Id="rId5" Type="http://schemas.openxmlformats.org/officeDocument/2006/relationships/image" Target="../media/image187.png"/><Relationship Id="rId4" Type="http://schemas.openxmlformats.org/officeDocument/2006/relationships/customXml" Target="../ink/ink160.xml"/></Relationships>
</file>

<file path=ppt/slides/_rels/slide88.xml.rels><?xml version="1.0" encoding="UTF-8" standalone="yes"?>
<Relationships xmlns="http://schemas.openxmlformats.org/package/2006/relationships"><Relationship Id="rId3" Type="http://schemas.openxmlformats.org/officeDocument/2006/relationships/customXml" Target="../ink/ink161.xml"/><Relationship Id="rId2" Type="http://schemas.openxmlformats.org/officeDocument/2006/relationships/image" Target="../media/image185.png"/><Relationship Id="rId1" Type="http://schemas.openxmlformats.org/officeDocument/2006/relationships/slideLayout" Target="../slideLayouts/slideLayout9.xml"/><Relationship Id="rId4" Type="http://schemas.openxmlformats.org/officeDocument/2006/relationships/image" Target="../media/image189.png"/></Relationships>
</file>

<file path=ppt/slides/_rels/slide89.xml.rels><?xml version="1.0" encoding="UTF-8" standalone="yes"?>
<Relationships xmlns="http://schemas.openxmlformats.org/package/2006/relationships"><Relationship Id="rId3" Type="http://schemas.openxmlformats.org/officeDocument/2006/relationships/customXml" Target="../ink/ink162.xml"/><Relationship Id="rId2" Type="http://schemas.openxmlformats.org/officeDocument/2006/relationships/image" Target="../media/image181.png"/><Relationship Id="rId1" Type="http://schemas.openxmlformats.org/officeDocument/2006/relationships/slideLayout" Target="../slideLayouts/slideLayout9.xml"/><Relationship Id="rId4" Type="http://schemas.openxmlformats.org/officeDocument/2006/relationships/image" Target="../media/image190.png"/></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hyperlink" Target="https://www.mathsisfun.com/data/standard-deviation.html#WhySquare" TargetMode="External"/><Relationship Id="rId2" Type="http://schemas.openxmlformats.org/officeDocument/2006/relationships/hyperlink" Target="https://www.mathsisfun.com/mean.html" TargetMode="External"/><Relationship Id="rId1" Type="http://schemas.openxmlformats.org/officeDocument/2006/relationships/slideLayout" Target="../slideLayouts/slideLayout9.xml"/><Relationship Id="rId5" Type="http://schemas.openxmlformats.org/officeDocument/2006/relationships/image" Target="../media/image191.png"/><Relationship Id="rId4" Type="http://schemas.openxmlformats.org/officeDocument/2006/relationships/customXml" Target="../ink/ink163.xml"/></Relationships>
</file>

<file path=ppt/slides/_rels/slide91.xml.rels><?xml version="1.0" encoding="UTF-8" standalone="yes"?>
<Relationships xmlns="http://schemas.openxmlformats.org/package/2006/relationships"><Relationship Id="rId3" Type="http://schemas.openxmlformats.org/officeDocument/2006/relationships/customXml" Target="../ink/ink164.xml"/><Relationship Id="rId2" Type="http://schemas.openxmlformats.org/officeDocument/2006/relationships/image" Target="../media/image186.png"/><Relationship Id="rId1" Type="http://schemas.openxmlformats.org/officeDocument/2006/relationships/slideLayout" Target="../slideLayouts/slideLayout9.xml"/><Relationship Id="rId4" Type="http://schemas.openxmlformats.org/officeDocument/2006/relationships/image" Target="../media/image193.png"/></Relationships>
</file>

<file path=ppt/slides/_rels/slide92.xml.rels><?xml version="1.0" encoding="UTF-8" standalone="yes"?>
<Relationships xmlns="http://schemas.openxmlformats.org/package/2006/relationships"><Relationship Id="rId3" Type="http://schemas.openxmlformats.org/officeDocument/2006/relationships/customXml" Target="../ink/ink165.xml"/><Relationship Id="rId2" Type="http://schemas.openxmlformats.org/officeDocument/2006/relationships/image" Target="../media/image188.png"/><Relationship Id="rId1" Type="http://schemas.openxmlformats.org/officeDocument/2006/relationships/slideLayout" Target="../slideLayouts/slideLayout9.xml"/><Relationship Id="rId4" Type="http://schemas.openxmlformats.org/officeDocument/2006/relationships/image" Target="../media/image195.png"/></Relationships>
</file>

<file path=ppt/slides/_rels/slide93.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image" Target="../media/image192.png"/><Relationship Id="rId1" Type="http://schemas.openxmlformats.org/officeDocument/2006/relationships/slideLayout" Target="../slideLayouts/slideLayout9.xml"/><Relationship Id="rId5" Type="http://schemas.openxmlformats.org/officeDocument/2006/relationships/image" Target="../media/image198.png"/><Relationship Id="rId4" Type="http://schemas.openxmlformats.org/officeDocument/2006/relationships/customXml" Target="../ink/ink166.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6.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image" Target="../media/image196.png"/><Relationship Id="rId1" Type="http://schemas.openxmlformats.org/officeDocument/2006/relationships/slideLayout" Target="../slideLayouts/slideLayout9.xml"/><Relationship Id="rId5" Type="http://schemas.openxmlformats.org/officeDocument/2006/relationships/image" Target="../media/image199.png"/><Relationship Id="rId4" Type="http://schemas.openxmlformats.org/officeDocument/2006/relationships/customXml" Target="../ink/ink167.xml"/></Relationships>
</file>

<file path=ppt/slides/_rels/slide97.xml.rels><?xml version="1.0" encoding="UTF-8" standalone="yes"?>
<Relationships xmlns="http://schemas.openxmlformats.org/package/2006/relationships"><Relationship Id="rId3" Type="http://schemas.openxmlformats.org/officeDocument/2006/relationships/hyperlink" Target="https://www.mathsisfun.com/data/mean-deviation.html" TargetMode="External"/><Relationship Id="rId7" Type="http://schemas.openxmlformats.org/officeDocument/2006/relationships/image" Target="../media/image202.png"/><Relationship Id="rId2" Type="http://schemas.openxmlformats.org/officeDocument/2006/relationships/hyperlink" Target="https://www.mathsisfun.com/numbers/absolute-value.html" TargetMode="External"/><Relationship Id="rId1" Type="http://schemas.openxmlformats.org/officeDocument/2006/relationships/slideLayout" Target="../slideLayouts/slideLayout9.xml"/><Relationship Id="rId6" Type="http://schemas.openxmlformats.org/officeDocument/2006/relationships/customXml" Target="../ink/ink168.xml"/><Relationship Id="rId5" Type="http://schemas.openxmlformats.org/officeDocument/2006/relationships/image" Target="../media/image201.png"/><Relationship Id="rId4" Type="http://schemas.openxmlformats.org/officeDocument/2006/relationships/image" Target="../media/image200.png"/></Relationships>
</file>

<file path=ppt/slides/_rels/slide98.xml.rels><?xml version="1.0" encoding="UTF-8" standalone="yes"?>
<Relationships xmlns="http://schemas.openxmlformats.org/package/2006/relationships"><Relationship Id="rId3" Type="http://schemas.openxmlformats.org/officeDocument/2006/relationships/customXml" Target="../ink/ink169.xml"/><Relationship Id="rId2" Type="http://schemas.openxmlformats.org/officeDocument/2006/relationships/image" Target="../media/image203.png"/><Relationship Id="rId1" Type="http://schemas.openxmlformats.org/officeDocument/2006/relationships/slideLayout" Target="../slideLayouts/slideLayout9.xml"/><Relationship Id="rId4" Type="http://schemas.openxmlformats.org/officeDocument/2006/relationships/image" Target="../media/image204.png"/></Relationships>
</file>

<file path=ppt/slides/_rels/slide99.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customXml" Target="../ink/ink170.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1246" name="think-cell Slide" r:id="rId6" imgW="529" imgH="530" progId="TCLayout.ActiveDocument.1">
                  <p:embed/>
                </p:oleObj>
              </mc:Choice>
              <mc:Fallback>
                <p:oleObj name="think-cell Slide" r:id="rId6"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7"/>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sp>
        <p:nvSpPr>
          <p:cNvPr id="33" name="Title 32">
            <a:extLst>
              <a:ext uri="{FF2B5EF4-FFF2-40B4-BE49-F238E27FC236}">
                <a16:creationId xmlns:a16="http://schemas.microsoft.com/office/drawing/2014/main" id="{2F9043AA-1BB2-49E3-B702-D663491C3B65}"/>
              </a:ext>
            </a:extLst>
          </p:cNvPr>
          <p:cNvSpPr>
            <a:spLocks noGrp="1"/>
          </p:cNvSpPr>
          <p:nvPr>
            <p:ph type="title"/>
          </p:nvPr>
        </p:nvSpPr>
        <p:spPr>
          <a:xfrm>
            <a:off x="81419" y="1053978"/>
            <a:ext cx="2868459" cy="3035543"/>
          </a:xfrm>
        </p:spPr>
        <p:txBody>
          <a:bodyPr/>
          <a:lstStyle/>
          <a:p>
            <a:r>
              <a:rPr lang="en-US" sz="4800" dirty="0"/>
              <a:t>Statistics for </a:t>
            </a:r>
            <a:br>
              <a:rPr lang="en-US" sz="4800" dirty="0"/>
            </a:br>
            <a:r>
              <a:rPr lang="en-US" sz="4800" dirty="0">
                <a:solidFill>
                  <a:schemeClr val="tx2">
                    <a:lumMod val="50000"/>
                  </a:schemeClr>
                </a:solidFill>
              </a:rPr>
              <a:t>Data Science</a:t>
            </a:r>
            <a:br>
              <a:rPr lang="en-US" dirty="0"/>
            </a:br>
            <a:br>
              <a:rPr lang="en-US" dirty="0"/>
            </a:br>
            <a:r>
              <a:rPr lang="en-US" dirty="0"/>
              <a:t> </a:t>
            </a:r>
          </a:p>
        </p:txBody>
      </p:sp>
      <p:pic>
        <p:nvPicPr>
          <p:cNvPr id="44" name="Picture 43" descr="Background pattern&#10;&#10;Description automatically generated">
            <a:extLst>
              <a:ext uri="{FF2B5EF4-FFF2-40B4-BE49-F238E27FC236}">
                <a16:creationId xmlns:a16="http://schemas.microsoft.com/office/drawing/2014/main" id="{4BA223F5-9515-4D0A-940B-6C002E1DC056}"/>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3181610" y="-1"/>
            <a:ext cx="5962389" cy="5143500"/>
          </a:xfrm>
          <a:prstGeom prst="rect">
            <a:avLst/>
          </a:prstGeom>
        </p:spPr>
      </p:pic>
    </p:spTree>
    <p:extLst>
      <p:ext uri="{BB962C8B-B14F-4D97-AF65-F5344CB8AC3E}">
        <p14:creationId xmlns:p14="http://schemas.microsoft.com/office/powerpoint/2010/main" val="1576393387"/>
      </p:ext>
    </p:extLst>
  </p:cSld>
  <p:clrMapOvr>
    <a:masterClrMapping/>
  </p:clrMapOvr>
  <p:transition spd="med">
    <p:wipe dir="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C56C2-D94D-4575-AA79-7E8CC92AC285}"/>
              </a:ext>
            </a:extLst>
          </p:cNvPr>
          <p:cNvSpPr>
            <a:spLocks noGrp="1"/>
          </p:cNvSpPr>
          <p:nvPr>
            <p:ph type="title"/>
          </p:nvPr>
        </p:nvSpPr>
        <p:spPr/>
        <p:txBody>
          <a:bodyPr/>
          <a:lstStyle/>
          <a:p>
            <a:r>
              <a:rPr lang="en-US" dirty="0"/>
              <a:t>Worksheet</a:t>
            </a:r>
          </a:p>
        </p:txBody>
      </p:sp>
      <p:sp>
        <p:nvSpPr>
          <p:cNvPr id="3" name="Content Placeholder 2">
            <a:extLst>
              <a:ext uri="{FF2B5EF4-FFF2-40B4-BE49-F238E27FC236}">
                <a16:creationId xmlns:a16="http://schemas.microsoft.com/office/drawing/2014/main" id="{47DC157F-4699-416A-8E12-DE763F809B22}"/>
              </a:ext>
            </a:extLst>
          </p:cNvPr>
          <p:cNvSpPr>
            <a:spLocks noGrp="1"/>
          </p:cNvSpPr>
          <p:nvPr>
            <p:ph sz="half" idx="1"/>
          </p:nvPr>
        </p:nvSpPr>
        <p:spPr/>
        <p:txBody>
          <a:bodyPr/>
          <a:lstStyle/>
          <a:p>
            <a:endParaRPr lang="en-US" dirty="0"/>
          </a:p>
        </p:txBody>
      </p:sp>
    </p:spTree>
    <p:extLst>
      <p:ext uri="{BB962C8B-B14F-4D97-AF65-F5344CB8AC3E}">
        <p14:creationId xmlns:p14="http://schemas.microsoft.com/office/powerpoint/2010/main" val="2425927352"/>
      </p:ext>
    </p:extLst>
  </p:cSld>
  <p:clrMapOvr>
    <a:masterClrMapping/>
  </p:clrMapOvr>
  <p:transition spd="med">
    <p:wipe dir="r"/>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372BBF-B8CB-4B04-883C-EAE35BBFAAEE}"/>
              </a:ext>
            </a:extLst>
          </p:cNvPr>
          <p:cNvSpPr>
            <a:spLocks noGrp="1"/>
          </p:cNvSpPr>
          <p:nvPr>
            <p:ph type="title"/>
          </p:nvPr>
        </p:nvSpPr>
        <p:spPr>
          <a:xfrm>
            <a:off x="0" y="0"/>
            <a:ext cx="8229600" cy="637794"/>
          </a:xfrm>
        </p:spPr>
        <p:txBody>
          <a:bodyPr/>
          <a:lstStyle/>
          <a:p>
            <a:r>
              <a:rPr lang="en-US" dirty="0"/>
              <a:t>Range of Standard Deviation/ Empirical Formula</a:t>
            </a:r>
          </a:p>
        </p:txBody>
      </p:sp>
      <p:sp>
        <p:nvSpPr>
          <p:cNvPr id="3" name="TextBox 2">
            <a:extLst>
              <a:ext uri="{FF2B5EF4-FFF2-40B4-BE49-F238E27FC236}">
                <a16:creationId xmlns:a16="http://schemas.microsoft.com/office/drawing/2014/main" id="{3DA067BC-3687-477F-9DC3-3BDF694F3DCD}"/>
              </a:ext>
            </a:extLst>
          </p:cNvPr>
          <p:cNvSpPr txBox="1"/>
          <p:nvPr/>
        </p:nvSpPr>
        <p:spPr>
          <a:xfrm>
            <a:off x="0" y="855069"/>
            <a:ext cx="8348262" cy="261610"/>
          </a:xfrm>
          <a:prstGeom prst="rect">
            <a:avLst/>
          </a:prstGeom>
          <a:noFill/>
        </p:spPr>
        <p:txBody>
          <a:bodyPr wrap="square" rtlCol="0">
            <a:spAutoFit/>
          </a:bodyPr>
          <a:lstStyle/>
          <a:p>
            <a:pPr>
              <a:spcBef>
                <a:spcPts val="0"/>
              </a:spcBef>
              <a:spcAft>
                <a:spcPts val="0"/>
              </a:spcAft>
              <a:buClr>
                <a:schemeClr val="bg1"/>
              </a:buClr>
            </a:pPr>
            <a:r>
              <a:rPr lang="en-US" sz="1100" b="0" i="0" dirty="0">
                <a:solidFill>
                  <a:schemeClr val="bg2">
                    <a:lumMod val="50000"/>
                    <a:lumOff val="50000"/>
                  </a:schemeClr>
                </a:solidFill>
                <a:effectLst/>
                <a:latin typeface="Verdana" panose="020B0604030504040204" pitchFamily="34" charset="0"/>
              </a:rPr>
              <a:t>We can expect about 68% of values to be within plus-or-minus 1 standard deviation.</a:t>
            </a:r>
            <a:endParaRPr lang="en-US" sz="1400" dirty="0">
              <a:solidFill>
                <a:schemeClr val="bg2">
                  <a:lumMod val="50000"/>
                  <a:lumOff val="50000"/>
                </a:schemeClr>
              </a:solidFill>
              <a:latin typeface="+mn-lt"/>
            </a:endParaRPr>
          </a:p>
        </p:txBody>
      </p:sp>
      <p:pic>
        <p:nvPicPr>
          <p:cNvPr id="5" name="Picture 4">
            <a:extLst>
              <a:ext uri="{FF2B5EF4-FFF2-40B4-BE49-F238E27FC236}">
                <a16:creationId xmlns:a16="http://schemas.microsoft.com/office/drawing/2014/main" id="{79A5D72F-9407-40CB-B562-4DDFB8CB5986}"/>
              </a:ext>
            </a:extLst>
          </p:cNvPr>
          <p:cNvPicPr>
            <a:picLocks noChangeAspect="1"/>
          </p:cNvPicPr>
          <p:nvPr/>
        </p:nvPicPr>
        <p:blipFill>
          <a:blip r:embed="rId2"/>
          <a:stretch>
            <a:fillRect/>
          </a:stretch>
        </p:blipFill>
        <p:spPr>
          <a:xfrm>
            <a:off x="235035" y="1641788"/>
            <a:ext cx="4748795" cy="2515838"/>
          </a:xfrm>
          <a:prstGeom prst="rect">
            <a:avLst/>
          </a:prstGeom>
        </p:spPr>
      </p:pic>
      <p:sp>
        <p:nvSpPr>
          <p:cNvPr id="6" name="TextBox 5">
            <a:extLst>
              <a:ext uri="{FF2B5EF4-FFF2-40B4-BE49-F238E27FC236}">
                <a16:creationId xmlns:a16="http://schemas.microsoft.com/office/drawing/2014/main" id="{7A1F70E6-13D8-4A77-9FAF-ACD6F5789C79}"/>
              </a:ext>
            </a:extLst>
          </p:cNvPr>
          <p:cNvSpPr txBox="1"/>
          <p:nvPr/>
        </p:nvSpPr>
        <p:spPr>
          <a:xfrm>
            <a:off x="5060612" y="1354894"/>
            <a:ext cx="3925135" cy="3077766"/>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Verdana" panose="020B0604030504040204" pitchFamily="34" charset="0"/>
              </a:rPr>
              <a:t>Following the empirical rule:.</a:t>
            </a:r>
          </a:p>
          <a:p>
            <a:pPr>
              <a:spcBef>
                <a:spcPts val="0"/>
              </a:spcBef>
              <a:spcAft>
                <a:spcPts val="0"/>
              </a:spcAft>
              <a:buClr>
                <a:schemeClr val="bg1"/>
              </a:buClr>
            </a:pPr>
            <a:endParaRPr lang="en-US" sz="1800" dirty="0">
              <a:solidFill>
                <a:schemeClr val="bg2">
                  <a:lumMod val="50000"/>
                  <a:lumOff val="50000"/>
                </a:schemeClr>
              </a:solidFill>
              <a:latin typeface="Verdana" panose="020B0604030504040204" pitchFamily="34" charset="0"/>
            </a:endParaRPr>
          </a:p>
          <a:p>
            <a:pPr marL="285750" indent="-285750">
              <a:spcBef>
                <a:spcPts val="0"/>
              </a:spcBef>
              <a:spcAft>
                <a:spcPts val="0"/>
              </a:spcAft>
              <a:buClr>
                <a:schemeClr val="bg1"/>
              </a:buClr>
              <a:buFont typeface="Wingdings" panose="05000000000000000000" pitchFamily="2" charset="2"/>
              <a:buChar char="q"/>
            </a:pPr>
            <a:r>
              <a:rPr lang="en-US" sz="1800" dirty="0">
                <a:solidFill>
                  <a:schemeClr val="bg2">
                    <a:lumMod val="50000"/>
                    <a:lumOff val="50000"/>
                  </a:schemeClr>
                </a:solidFill>
                <a:latin typeface="Verdana" panose="020B0604030504040204" pitchFamily="34" charset="0"/>
              </a:rPr>
              <a:t>Around 68% of scores are between 40 and 60</a:t>
            </a:r>
          </a:p>
          <a:p>
            <a:pPr>
              <a:spcBef>
                <a:spcPts val="0"/>
              </a:spcBef>
              <a:spcAft>
                <a:spcPts val="0"/>
              </a:spcAft>
              <a:buClr>
                <a:schemeClr val="bg1"/>
              </a:buClr>
            </a:pPr>
            <a:endParaRPr lang="en-US" sz="1800" dirty="0">
              <a:solidFill>
                <a:schemeClr val="bg2">
                  <a:lumMod val="50000"/>
                  <a:lumOff val="50000"/>
                </a:schemeClr>
              </a:solidFill>
              <a:latin typeface="Verdana" panose="020B0604030504040204" pitchFamily="34" charset="0"/>
            </a:endParaRPr>
          </a:p>
          <a:p>
            <a:pPr marL="285750" indent="-285750">
              <a:spcBef>
                <a:spcPts val="0"/>
              </a:spcBef>
              <a:spcAft>
                <a:spcPts val="0"/>
              </a:spcAft>
              <a:buClr>
                <a:schemeClr val="bg1"/>
              </a:buClr>
              <a:buFont typeface="Wingdings" panose="05000000000000000000" pitchFamily="2" charset="2"/>
              <a:buChar char="q"/>
            </a:pPr>
            <a:r>
              <a:rPr lang="en-US" sz="1800" dirty="0">
                <a:solidFill>
                  <a:schemeClr val="bg2">
                    <a:lumMod val="50000"/>
                    <a:lumOff val="50000"/>
                  </a:schemeClr>
                </a:solidFill>
                <a:latin typeface="Verdana" panose="020B0604030504040204" pitchFamily="34" charset="0"/>
              </a:rPr>
              <a:t>Around 95% of scores are between 30 and 70</a:t>
            </a:r>
          </a:p>
          <a:p>
            <a:pPr>
              <a:spcBef>
                <a:spcPts val="0"/>
              </a:spcBef>
              <a:spcAft>
                <a:spcPts val="0"/>
              </a:spcAft>
              <a:buClr>
                <a:schemeClr val="bg1"/>
              </a:buClr>
            </a:pPr>
            <a:endParaRPr lang="en-US" sz="1800" dirty="0">
              <a:solidFill>
                <a:schemeClr val="bg2">
                  <a:lumMod val="50000"/>
                  <a:lumOff val="50000"/>
                </a:schemeClr>
              </a:solidFill>
              <a:latin typeface="Verdana" panose="020B0604030504040204" pitchFamily="34" charset="0"/>
            </a:endParaRPr>
          </a:p>
          <a:p>
            <a:pPr marL="285750" indent="-285750">
              <a:spcBef>
                <a:spcPts val="0"/>
              </a:spcBef>
              <a:spcAft>
                <a:spcPts val="0"/>
              </a:spcAft>
              <a:buClr>
                <a:schemeClr val="bg1"/>
              </a:buClr>
              <a:buFont typeface="Wingdings" panose="05000000000000000000" pitchFamily="2" charset="2"/>
              <a:buChar char="q"/>
            </a:pPr>
            <a:r>
              <a:rPr lang="en-US" sz="1800" dirty="0">
                <a:solidFill>
                  <a:schemeClr val="bg2">
                    <a:lumMod val="50000"/>
                    <a:lumOff val="50000"/>
                  </a:schemeClr>
                </a:solidFill>
                <a:latin typeface="Verdana" panose="020B0604030504040204" pitchFamily="34" charset="0"/>
              </a:rPr>
              <a:t>Around 99.7% of scores are between 20 and 80.</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1466A9CC-022F-4323-A745-8A20AFAA7961}"/>
                  </a:ext>
                </a:extLst>
              </p14:cNvPr>
              <p14:cNvContentPartPr/>
              <p14:nvPr/>
            </p14:nvContentPartPr>
            <p14:xfrm>
              <a:off x="181080" y="438120"/>
              <a:ext cx="8048880" cy="4677120"/>
            </p14:xfrm>
          </p:contentPart>
        </mc:Choice>
        <mc:Fallback xmlns="">
          <p:pic>
            <p:nvPicPr>
              <p:cNvPr id="4" name="Ink 3">
                <a:extLst>
                  <a:ext uri="{FF2B5EF4-FFF2-40B4-BE49-F238E27FC236}">
                    <a16:creationId xmlns:a16="http://schemas.microsoft.com/office/drawing/2014/main" id="{1466A9CC-022F-4323-A745-8A20AFAA7961}"/>
                  </a:ext>
                </a:extLst>
              </p:cNvPr>
              <p:cNvPicPr/>
              <p:nvPr/>
            </p:nvPicPr>
            <p:blipFill>
              <a:blip r:embed="rId4"/>
              <a:stretch>
                <a:fillRect/>
              </a:stretch>
            </p:blipFill>
            <p:spPr>
              <a:xfrm>
                <a:off x="171720" y="428760"/>
                <a:ext cx="8067600" cy="4695840"/>
              </a:xfrm>
              <a:prstGeom prst="rect">
                <a:avLst/>
              </a:prstGeom>
            </p:spPr>
          </p:pic>
        </mc:Fallback>
      </mc:AlternateContent>
    </p:spTree>
    <p:extLst>
      <p:ext uri="{BB962C8B-B14F-4D97-AF65-F5344CB8AC3E}">
        <p14:creationId xmlns:p14="http://schemas.microsoft.com/office/powerpoint/2010/main" val="3825623888"/>
      </p:ext>
    </p:extLst>
  </p:cSld>
  <p:clrMapOvr>
    <a:masterClrMapping/>
  </p:clrMapOvr>
  <p:transition spd="med">
    <p:wipe dir="r"/>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A15513-4618-43CC-A58D-6EBBB5D6C779}"/>
              </a:ext>
            </a:extLst>
          </p:cNvPr>
          <p:cNvSpPr>
            <a:spLocks noGrp="1"/>
          </p:cNvSpPr>
          <p:nvPr>
            <p:ph type="title"/>
          </p:nvPr>
        </p:nvSpPr>
        <p:spPr>
          <a:xfrm>
            <a:off x="0" y="0"/>
            <a:ext cx="8229600" cy="637794"/>
          </a:xfrm>
        </p:spPr>
        <p:txBody>
          <a:bodyPr/>
          <a:lstStyle/>
          <a:p>
            <a:r>
              <a:rPr lang="en-US" dirty="0"/>
              <a:t>Coefficient of Variance (CV)</a:t>
            </a:r>
          </a:p>
        </p:txBody>
      </p:sp>
      <p:sp>
        <p:nvSpPr>
          <p:cNvPr id="3" name="TextBox 2">
            <a:extLst>
              <a:ext uri="{FF2B5EF4-FFF2-40B4-BE49-F238E27FC236}">
                <a16:creationId xmlns:a16="http://schemas.microsoft.com/office/drawing/2014/main" id="{513FCA3B-E05B-4E7A-A5F2-9F78E18C22D3}"/>
              </a:ext>
            </a:extLst>
          </p:cNvPr>
          <p:cNvSpPr txBox="1"/>
          <p:nvPr/>
        </p:nvSpPr>
        <p:spPr>
          <a:xfrm>
            <a:off x="76782" y="502571"/>
            <a:ext cx="8836873" cy="4139595"/>
          </a:xfrm>
          <a:prstGeom prst="rect">
            <a:avLst/>
          </a:prstGeom>
          <a:noFill/>
        </p:spPr>
        <p:txBody>
          <a:bodyPr wrap="square" rtlCol="0">
            <a:spAutoFit/>
          </a:bodyPr>
          <a:lstStyle/>
          <a:p>
            <a:pPr marL="171450" indent="-171450">
              <a:spcBef>
                <a:spcPts val="0"/>
              </a:spcBef>
              <a:spcAft>
                <a:spcPts val="0"/>
              </a:spcAft>
              <a:buClr>
                <a:schemeClr val="bg1"/>
              </a:buClr>
              <a:buFont typeface="Arial" panose="020B0604020202020204" pitchFamily="34" charset="0"/>
              <a:buChar char="•"/>
            </a:pPr>
            <a:r>
              <a:rPr lang="en-US" sz="1800" dirty="0">
                <a:solidFill>
                  <a:schemeClr val="bg2">
                    <a:lumMod val="50000"/>
                    <a:lumOff val="50000"/>
                  </a:schemeClr>
                </a:solidFill>
                <a:latin typeface="Verdana" panose="020B0604030504040204" pitchFamily="34" charset="0"/>
              </a:rPr>
              <a:t>Also known as relative standard deviation (RSD), the coefficient of variation (CV) is a standardized measure of dispersion. </a:t>
            </a:r>
          </a:p>
          <a:p>
            <a:pPr marL="171450" indent="-171450">
              <a:spcBef>
                <a:spcPts val="0"/>
              </a:spcBef>
              <a:spcAft>
                <a:spcPts val="0"/>
              </a:spcAft>
              <a:buClr>
                <a:schemeClr val="bg1"/>
              </a:buClr>
              <a:buFont typeface="Arial" panose="020B0604020202020204" pitchFamily="34" charset="0"/>
              <a:buChar char="•"/>
            </a:pPr>
            <a:r>
              <a:rPr lang="en-US" sz="1800" dirty="0">
                <a:solidFill>
                  <a:schemeClr val="bg2">
                    <a:lumMod val="50000"/>
                    <a:lumOff val="50000"/>
                  </a:schemeClr>
                </a:solidFill>
                <a:latin typeface="Verdana" panose="020B0604030504040204" pitchFamily="34" charset="0"/>
              </a:rPr>
              <a:t>It tells you how variable your data is relative to the mean. It can only be used with ratio levels of measurement because it is a fraction. The coefficient of variation (CV) is the standard deviation divided by the mean.</a:t>
            </a:r>
          </a:p>
          <a:p>
            <a:pPr marL="171450" indent="-171450">
              <a:spcBef>
                <a:spcPts val="0"/>
              </a:spcBef>
              <a:spcAft>
                <a:spcPts val="0"/>
              </a:spcAft>
              <a:buClr>
                <a:schemeClr val="bg1"/>
              </a:buClr>
              <a:buFont typeface="Arial" panose="020B0604020202020204" pitchFamily="34" charset="0"/>
              <a:buChar char="•"/>
            </a:pPr>
            <a:endParaRPr lang="en-US" sz="1800" dirty="0">
              <a:solidFill>
                <a:schemeClr val="bg2">
                  <a:lumMod val="50000"/>
                  <a:lumOff val="50000"/>
                </a:schemeClr>
              </a:solidFill>
              <a:latin typeface="Verdana" panose="020B0604030504040204" pitchFamily="34" charset="0"/>
            </a:endParaRPr>
          </a:p>
          <a:p>
            <a:pPr marL="171450" indent="-171450">
              <a:spcBef>
                <a:spcPts val="0"/>
              </a:spcBef>
              <a:spcAft>
                <a:spcPts val="0"/>
              </a:spcAft>
              <a:buClr>
                <a:schemeClr val="bg1"/>
              </a:buClr>
              <a:buFont typeface="Arial" panose="020B0604020202020204" pitchFamily="34" charset="0"/>
              <a:buChar char="•"/>
            </a:pPr>
            <a:endParaRPr lang="en-US" sz="1800" dirty="0">
              <a:solidFill>
                <a:schemeClr val="bg2">
                  <a:lumMod val="50000"/>
                  <a:lumOff val="50000"/>
                </a:schemeClr>
              </a:solidFill>
              <a:latin typeface="Verdana" panose="020B0604030504040204" pitchFamily="34" charset="0"/>
            </a:endParaRPr>
          </a:p>
          <a:p>
            <a:pPr algn="ctr"/>
            <a:r>
              <a:rPr lang="en-US" sz="1800" dirty="0">
                <a:solidFill>
                  <a:schemeClr val="accent1"/>
                </a:solidFill>
                <a:latin typeface="Verdana" panose="020B0604030504040204" pitchFamily="34" charset="0"/>
              </a:rPr>
              <a:t>CV = SD/Mean</a:t>
            </a:r>
          </a:p>
          <a:p>
            <a:pPr algn="ctr"/>
            <a:endParaRPr lang="en-US" sz="1800" dirty="0">
              <a:solidFill>
                <a:schemeClr val="accent1"/>
              </a:solidFill>
              <a:latin typeface="Verdana" panose="020B0604030504040204" pitchFamily="34" charset="0"/>
            </a:endParaRPr>
          </a:p>
          <a:p>
            <a:pPr algn="ctr"/>
            <a:r>
              <a:rPr lang="en-US" sz="1800" dirty="0">
                <a:solidFill>
                  <a:schemeClr val="accent1"/>
                </a:solidFill>
                <a:latin typeface="Verdana" panose="020B0604030504040204" pitchFamily="34" charset="0"/>
              </a:rPr>
              <a:t>CV = 36.9/13.34 = 0.36</a:t>
            </a:r>
          </a:p>
          <a:p>
            <a:pPr algn="ctr"/>
            <a:endParaRPr lang="en-US" sz="1800" dirty="0">
              <a:solidFill>
                <a:schemeClr val="bg2">
                  <a:lumMod val="50000"/>
                  <a:lumOff val="50000"/>
                </a:schemeClr>
              </a:solidFill>
              <a:latin typeface="Verdana" panose="020B0604030504040204" pitchFamily="34" charset="0"/>
            </a:endParaRPr>
          </a:p>
          <a:p>
            <a:pPr algn="l"/>
            <a:r>
              <a:rPr lang="en-US" sz="1800" dirty="0">
                <a:solidFill>
                  <a:schemeClr val="bg2">
                    <a:lumMod val="50000"/>
                    <a:lumOff val="50000"/>
                  </a:schemeClr>
                </a:solidFill>
                <a:latin typeface="Verdana" panose="020B0604030504040204" pitchFamily="34" charset="0"/>
              </a:rPr>
              <a:t>The coefficient of variation is 0.36 or 36%. This tells you that your data has a large spread because the standard deviation is 36% of the mean</a:t>
            </a:r>
          </a:p>
          <a:p>
            <a:pPr marL="171450" indent="-171450">
              <a:spcBef>
                <a:spcPts val="0"/>
              </a:spcBef>
              <a:spcAft>
                <a:spcPts val="0"/>
              </a:spcAft>
              <a:buClr>
                <a:schemeClr val="bg1"/>
              </a:buClr>
              <a:buFont typeface="Arial" panose="020B0604020202020204" pitchFamily="34" charset="0"/>
              <a:buChar char="•"/>
            </a:pPr>
            <a:endParaRPr lang="en-US" sz="1100" dirty="0">
              <a:solidFill>
                <a:schemeClr val="bg2">
                  <a:lumMod val="50000"/>
                  <a:lumOff val="50000"/>
                </a:schemeClr>
              </a:solidFill>
              <a:latin typeface="Verdana" panose="020B0604030504040204" pitchFamily="34" charset="0"/>
            </a:endParaRPr>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97DC7C9A-57B3-424C-82CF-1BC29B0E6783}"/>
                  </a:ext>
                </a:extLst>
              </p14:cNvPr>
              <p14:cNvContentPartPr/>
              <p14:nvPr/>
            </p14:nvContentPartPr>
            <p14:xfrm>
              <a:off x="1128600" y="828720"/>
              <a:ext cx="5972760" cy="3686400"/>
            </p14:xfrm>
          </p:contentPart>
        </mc:Choice>
        <mc:Fallback xmlns="">
          <p:pic>
            <p:nvPicPr>
              <p:cNvPr id="4" name="Ink 3">
                <a:extLst>
                  <a:ext uri="{FF2B5EF4-FFF2-40B4-BE49-F238E27FC236}">
                    <a16:creationId xmlns:a16="http://schemas.microsoft.com/office/drawing/2014/main" id="{97DC7C9A-57B3-424C-82CF-1BC29B0E6783}"/>
                  </a:ext>
                </a:extLst>
              </p:cNvPr>
              <p:cNvPicPr/>
              <p:nvPr/>
            </p:nvPicPr>
            <p:blipFill>
              <a:blip r:embed="rId3"/>
              <a:stretch>
                <a:fillRect/>
              </a:stretch>
            </p:blipFill>
            <p:spPr>
              <a:xfrm>
                <a:off x="1119240" y="819360"/>
                <a:ext cx="5991480" cy="3705120"/>
              </a:xfrm>
              <a:prstGeom prst="rect">
                <a:avLst/>
              </a:prstGeom>
            </p:spPr>
          </p:pic>
        </mc:Fallback>
      </mc:AlternateContent>
    </p:spTree>
    <p:extLst>
      <p:ext uri="{BB962C8B-B14F-4D97-AF65-F5344CB8AC3E}">
        <p14:creationId xmlns:p14="http://schemas.microsoft.com/office/powerpoint/2010/main" val="3643765442"/>
      </p:ext>
    </p:extLst>
  </p:cSld>
  <p:clrMapOvr>
    <a:masterClrMapping/>
  </p:clrMapOvr>
  <p:transition spd="med">
    <p:wipe dir="r"/>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4FE915-C6F8-4B84-BF0E-CC4886DA14AD}"/>
              </a:ext>
            </a:extLst>
          </p:cNvPr>
          <p:cNvSpPr>
            <a:spLocks noGrp="1"/>
          </p:cNvSpPr>
          <p:nvPr>
            <p:ph type="title"/>
          </p:nvPr>
        </p:nvSpPr>
        <p:spPr>
          <a:xfrm>
            <a:off x="0" y="0"/>
            <a:ext cx="9144000" cy="637794"/>
          </a:xfrm>
        </p:spPr>
        <p:txBody>
          <a:bodyPr/>
          <a:lstStyle/>
          <a:p>
            <a:r>
              <a:rPr lang="en-US" dirty="0"/>
              <a:t>Example : </a:t>
            </a:r>
            <a:br>
              <a:rPr lang="en-US" dirty="0"/>
            </a:br>
            <a:br>
              <a:rPr lang="en-US" dirty="0"/>
            </a:br>
            <a:r>
              <a:rPr lang="en-US" sz="1200" b="0" i="0" dirty="0">
                <a:solidFill>
                  <a:srgbClr val="777777"/>
                </a:solidFill>
                <a:effectLst/>
                <a:latin typeface="pt sans" panose="020B0503020203020204" pitchFamily="34" charset="0"/>
              </a:rPr>
              <a:t>The CV is particularly useful when you want to compare results from two different surveys or tests that have different measures or values. For example, if you are comparing the results from two tests that have different scoring </a:t>
            </a:r>
            <a:r>
              <a:rPr lang="en-US" sz="1200" dirty="0">
                <a:solidFill>
                  <a:srgbClr val="777777"/>
                </a:solidFill>
                <a:latin typeface="pt sans" panose="020B0503020203020204" pitchFamily="34" charset="0"/>
              </a:rPr>
              <a:t>mechanisms. </a:t>
            </a:r>
          </a:p>
        </p:txBody>
      </p:sp>
      <p:graphicFrame>
        <p:nvGraphicFramePr>
          <p:cNvPr id="4" name="Table 4">
            <a:extLst>
              <a:ext uri="{FF2B5EF4-FFF2-40B4-BE49-F238E27FC236}">
                <a16:creationId xmlns:a16="http://schemas.microsoft.com/office/drawing/2014/main" id="{82BE1733-3C10-42E3-A691-1E95C43C85BB}"/>
              </a:ext>
            </a:extLst>
          </p:cNvPr>
          <p:cNvGraphicFramePr>
            <a:graphicFrameLocks noGrp="1"/>
          </p:cNvGraphicFramePr>
          <p:nvPr/>
        </p:nvGraphicFramePr>
        <p:xfrm>
          <a:off x="2900788" y="1544260"/>
          <a:ext cx="6096000" cy="185420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3954299871"/>
                    </a:ext>
                  </a:extLst>
                </a:gridCol>
                <a:gridCol w="2032000">
                  <a:extLst>
                    <a:ext uri="{9D8B030D-6E8A-4147-A177-3AD203B41FA5}">
                      <a16:colId xmlns:a16="http://schemas.microsoft.com/office/drawing/2014/main" val="1596437874"/>
                    </a:ext>
                  </a:extLst>
                </a:gridCol>
                <a:gridCol w="2032000">
                  <a:extLst>
                    <a:ext uri="{9D8B030D-6E8A-4147-A177-3AD203B41FA5}">
                      <a16:colId xmlns:a16="http://schemas.microsoft.com/office/drawing/2014/main" val="4240368581"/>
                    </a:ext>
                  </a:extLst>
                </a:gridCol>
              </a:tblGrid>
              <a:tr h="370840">
                <a:tc>
                  <a:txBody>
                    <a:bodyPr/>
                    <a:lstStyle/>
                    <a:p>
                      <a:endParaRPr lang="en-US">
                        <a:solidFill>
                          <a:schemeClr val="tx2"/>
                        </a:solidFill>
                      </a:endParaRPr>
                    </a:p>
                  </a:txBody>
                  <a:tcPr/>
                </a:tc>
                <a:tc>
                  <a:txBody>
                    <a:bodyPr/>
                    <a:lstStyle/>
                    <a:p>
                      <a:r>
                        <a:rPr lang="en-US" dirty="0">
                          <a:solidFill>
                            <a:schemeClr val="tx2"/>
                          </a:solidFill>
                        </a:rPr>
                        <a:t>SGD </a:t>
                      </a:r>
                    </a:p>
                  </a:txBody>
                  <a:tcPr/>
                </a:tc>
                <a:tc>
                  <a:txBody>
                    <a:bodyPr/>
                    <a:lstStyle/>
                    <a:p>
                      <a:r>
                        <a:rPr lang="en-US" dirty="0">
                          <a:solidFill>
                            <a:schemeClr val="tx2"/>
                          </a:solidFill>
                        </a:rPr>
                        <a:t>MY Ringgit</a:t>
                      </a:r>
                    </a:p>
                  </a:txBody>
                  <a:tcPr/>
                </a:tc>
                <a:extLst>
                  <a:ext uri="{0D108BD9-81ED-4DB2-BD59-A6C34878D82A}">
                    <a16:rowId xmlns:a16="http://schemas.microsoft.com/office/drawing/2014/main" val="1887661748"/>
                  </a:ext>
                </a:extLst>
              </a:tr>
              <a:tr h="370840">
                <a:tc>
                  <a:txBody>
                    <a:bodyPr/>
                    <a:lstStyle/>
                    <a:p>
                      <a:r>
                        <a:rPr lang="en-US" dirty="0"/>
                        <a:t>Mean</a:t>
                      </a:r>
                    </a:p>
                  </a:txBody>
                  <a:tcPr/>
                </a:tc>
                <a:tc>
                  <a:txBody>
                    <a:bodyPr/>
                    <a:lstStyle/>
                    <a:p>
                      <a:endParaRPr lang="en-US" dirty="0"/>
                    </a:p>
                  </a:txBody>
                  <a:tcPr/>
                </a:tc>
                <a:tc>
                  <a:txBody>
                    <a:bodyPr/>
                    <a:lstStyle/>
                    <a:p>
                      <a:endParaRPr lang="en-US"/>
                    </a:p>
                  </a:txBody>
                  <a:tcPr/>
                </a:tc>
                <a:extLst>
                  <a:ext uri="{0D108BD9-81ED-4DB2-BD59-A6C34878D82A}">
                    <a16:rowId xmlns:a16="http://schemas.microsoft.com/office/drawing/2014/main" val="321239270"/>
                  </a:ext>
                </a:extLst>
              </a:tr>
              <a:tr h="370840">
                <a:tc>
                  <a:txBody>
                    <a:bodyPr/>
                    <a:lstStyle/>
                    <a:p>
                      <a:r>
                        <a:rPr lang="en-US" dirty="0"/>
                        <a:t>Sample Variance</a:t>
                      </a:r>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502728200"/>
                  </a:ext>
                </a:extLst>
              </a:tr>
              <a:tr h="370840">
                <a:tc>
                  <a:txBody>
                    <a:bodyPr/>
                    <a:lstStyle/>
                    <a:p>
                      <a:r>
                        <a:rPr lang="en-US" dirty="0"/>
                        <a:t>Sample SD</a:t>
                      </a:r>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3041960276"/>
                  </a:ext>
                </a:extLst>
              </a:tr>
              <a:tr h="370840">
                <a:tc>
                  <a:txBody>
                    <a:bodyPr/>
                    <a:lstStyle/>
                    <a:p>
                      <a:r>
                        <a:rPr lang="en-US" dirty="0"/>
                        <a:t>Sample CV</a:t>
                      </a:r>
                    </a:p>
                  </a:txBody>
                  <a:tcPr/>
                </a:tc>
                <a:tc>
                  <a:txBody>
                    <a:bodyPr/>
                    <a:lstStyle/>
                    <a:p>
                      <a:endParaRPr lang="en-US"/>
                    </a:p>
                  </a:txBody>
                  <a:tcPr/>
                </a:tc>
                <a:tc>
                  <a:txBody>
                    <a:bodyPr/>
                    <a:lstStyle/>
                    <a:p>
                      <a:endParaRPr lang="en-US" dirty="0"/>
                    </a:p>
                  </a:txBody>
                  <a:tcPr/>
                </a:tc>
                <a:extLst>
                  <a:ext uri="{0D108BD9-81ED-4DB2-BD59-A6C34878D82A}">
                    <a16:rowId xmlns:a16="http://schemas.microsoft.com/office/drawing/2014/main" val="939018461"/>
                  </a:ext>
                </a:extLst>
              </a:tr>
            </a:tbl>
          </a:graphicData>
        </a:graphic>
      </p:graphicFrame>
      <p:pic>
        <p:nvPicPr>
          <p:cNvPr id="6" name="Picture 5">
            <a:extLst>
              <a:ext uri="{FF2B5EF4-FFF2-40B4-BE49-F238E27FC236}">
                <a16:creationId xmlns:a16="http://schemas.microsoft.com/office/drawing/2014/main" id="{A319A54D-F911-4807-9AAD-7170EAF02AE0}"/>
              </a:ext>
            </a:extLst>
          </p:cNvPr>
          <p:cNvPicPr>
            <a:picLocks noChangeAspect="1"/>
          </p:cNvPicPr>
          <p:nvPr/>
        </p:nvPicPr>
        <p:blipFill>
          <a:blip r:embed="rId2"/>
          <a:stretch>
            <a:fillRect/>
          </a:stretch>
        </p:blipFill>
        <p:spPr>
          <a:xfrm>
            <a:off x="147212" y="1544260"/>
            <a:ext cx="2198119" cy="2433090"/>
          </a:xfrm>
          <a:prstGeom prst="rect">
            <a:avLst/>
          </a:prstGeom>
        </p:spPr>
      </p:pic>
      <p:pic>
        <p:nvPicPr>
          <p:cNvPr id="8" name="Picture 7">
            <a:extLst>
              <a:ext uri="{FF2B5EF4-FFF2-40B4-BE49-F238E27FC236}">
                <a16:creationId xmlns:a16="http://schemas.microsoft.com/office/drawing/2014/main" id="{F2244643-DE6F-479F-98B8-7DC4A272C509}"/>
              </a:ext>
            </a:extLst>
          </p:cNvPr>
          <p:cNvPicPr>
            <a:picLocks noChangeAspect="1"/>
          </p:cNvPicPr>
          <p:nvPr/>
        </p:nvPicPr>
        <p:blipFill>
          <a:blip r:embed="rId3"/>
          <a:stretch>
            <a:fillRect/>
          </a:stretch>
        </p:blipFill>
        <p:spPr>
          <a:xfrm>
            <a:off x="2848339" y="3656263"/>
            <a:ext cx="2400300" cy="1162050"/>
          </a:xfrm>
          <a:prstGeom prst="rect">
            <a:avLst/>
          </a:prstGeom>
        </p:spPr>
      </p:pic>
      <p:pic>
        <p:nvPicPr>
          <p:cNvPr id="10" name="Picture 9">
            <a:extLst>
              <a:ext uri="{FF2B5EF4-FFF2-40B4-BE49-F238E27FC236}">
                <a16:creationId xmlns:a16="http://schemas.microsoft.com/office/drawing/2014/main" id="{68ED49FD-3088-4EE4-BA72-E57EC13DB468}"/>
              </a:ext>
            </a:extLst>
          </p:cNvPr>
          <p:cNvPicPr>
            <a:picLocks noChangeAspect="1"/>
          </p:cNvPicPr>
          <p:nvPr/>
        </p:nvPicPr>
        <p:blipFill>
          <a:blip r:embed="rId4"/>
          <a:stretch>
            <a:fillRect/>
          </a:stretch>
        </p:blipFill>
        <p:spPr>
          <a:xfrm>
            <a:off x="5705475" y="3920327"/>
            <a:ext cx="2524125" cy="466725"/>
          </a:xfrm>
          <a:prstGeom prst="rect">
            <a:avLst/>
          </a:prstGeom>
        </p:spPr>
      </p:pic>
      <mc:AlternateContent xmlns:mc="http://schemas.openxmlformats.org/markup-compatibility/2006" xmlns:p14="http://schemas.microsoft.com/office/powerpoint/2010/main">
        <mc:Choice Requires="p14">
          <p:contentPart p14:bwMode="auto" r:id="rId5">
            <p14:nvContentPartPr>
              <p14:cNvPr id="3" name="Ink 2">
                <a:extLst>
                  <a:ext uri="{FF2B5EF4-FFF2-40B4-BE49-F238E27FC236}">
                    <a16:creationId xmlns:a16="http://schemas.microsoft.com/office/drawing/2014/main" id="{8E0B4B5B-4CFA-4860-A2EB-0EE5BE90FE49}"/>
                  </a:ext>
                </a:extLst>
              </p14:cNvPr>
              <p14:cNvContentPartPr/>
              <p14:nvPr/>
            </p14:nvContentPartPr>
            <p14:xfrm>
              <a:off x="438120" y="1319040"/>
              <a:ext cx="5477400" cy="1972080"/>
            </p14:xfrm>
          </p:contentPart>
        </mc:Choice>
        <mc:Fallback xmlns="">
          <p:pic>
            <p:nvPicPr>
              <p:cNvPr id="3" name="Ink 2">
                <a:extLst>
                  <a:ext uri="{FF2B5EF4-FFF2-40B4-BE49-F238E27FC236}">
                    <a16:creationId xmlns:a16="http://schemas.microsoft.com/office/drawing/2014/main" id="{8E0B4B5B-4CFA-4860-A2EB-0EE5BE90FE49}"/>
                  </a:ext>
                </a:extLst>
              </p:cNvPr>
              <p:cNvPicPr/>
              <p:nvPr/>
            </p:nvPicPr>
            <p:blipFill>
              <a:blip r:embed="rId6"/>
              <a:stretch>
                <a:fillRect/>
              </a:stretch>
            </p:blipFill>
            <p:spPr>
              <a:xfrm>
                <a:off x="428760" y="1309680"/>
                <a:ext cx="5496120" cy="1990800"/>
              </a:xfrm>
              <a:prstGeom prst="rect">
                <a:avLst/>
              </a:prstGeom>
            </p:spPr>
          </p:pic>
        </mc:Fallback>
      </mc:AlternateContent>
    </p:spTree>
    <p:extLst>
      <p:ext uri="{BB962C8B-B14F-4D97-AF65-F5344CB8AC3E}">
        <p14:creationId xmlns:p14="http://schemas.microsoft.com/office/powerpoint/2010/main" val="2749778074"/>
      </p:ext>
    </p:extLst>
  </p:cSld>
  <p:clrMapOvr>
    <a:masterClrMapping/>
  </p:clrMapOvr>
  <p:transition spd="med">
    <p:wipe dir="r"/>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D35B5-573E-45F2-AA11-938D7EC027C1}"/>
              </a:ext>
            </a:extLst>
          </p:cNvPr>
          <p:cNvSpPr>
            <a:spLocks noGrp="1"/>
          </p:cNvSpPr>
          <p:nvPr>
            <p:ph type="title"/>
          </p:nvPr>
        </p:nvSpPr>
        <p:spPr>
          <a:xfrm>
            <a:off x="0" y="0"/>
            <a:ext cx="8229600" cy="637794"/>
          </a:xfrm>
        </p:spPr>
        <p:txBody>
          <a:bodyPr/>
          <a:lstStyle/>
          <a:p>
            <a:r>
              <a:rPr lang="en-US" dirty="0"/>
              <a:t>Standard Scores – Z score</a:t>
            </a:r>
          </a:p>
        </p:txBody>
      </p:sp>
      <p:sp>
        <p:nvSpPr>
          <p:cNvPr id="3" name="TextBox 2">
            <a:extLst>
              <a:ext uri="{FF2B5EF4-FFF2-40B4-BE49-F238E27FC236}">
                <a16:creationId xmlns:a16="http://schemas.microsoft.com/office/drawing/2014/main" id="{D9CF5642-1192-46E0-B3A4-1166F1C7D7CE}"/>
              </a:ext>
            </a:extLst>
          </p:cNvPr>
          <p:cNvSpPr txBox="1"/>
          <p:nvPr/>
        </p:nvSpPr>
        <p:spPr>
          <a:xfrm>
            <a:off x="328067" y="935340"/>
            <a:ext cx="7412922" cy="2246769"/>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The number of Standard Deviations from the mean is also called the “standard Score”. “ Sigma” or “z-score”. </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Ex : In the same school one of your friend is 1.8m tall</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You can see on the bell curve that 1.85m is 3 standard deviations from the mean of 1.4, so</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Your friend’s height has “z-score” of 3.0</a:t>
            </a:r>
          </a:p>
          <a:p>
            <a:pPr>
              <a:spcBef>
                <a:spcPts val="0"/>
              </a:spcBef>
              <a:spcAft>
                <a:spcPts val="0"/>
              </a:spcAft>
              <a:buClr>
                <a:schemeClr val="bg1"/>
              </a:buClr>
            </a:pPr>
            <a:endParaRPr lang="en-US" sz="1400" dirty="0">
              <a:solidFill>
                <a:schemeClr val="bg2"/>
              </a:solidFill>
              <a:latin typeface="+mn-lt"/>
            </a:endParaRPr>
          </a:p>
        </p:txBody>
      </p:sp>
      <p:pic>
        <p:nvPicPr>
          <p:cNvPr id="7" name="Picture 6">
            <a:extLst>
              <a:ext uri="{FF2B5EF4-FFF2-40B4-BE49-F238E27FC236}">
                <a16:creationId xmlns:a16="http://schemas.microsoft.com/office/drawing/2014/main" id="{FFC91F7C-8051-454D-8388-96BF6F8C1ED9}"/>
              </a:ext>
            </a:extLst>
          </p:cNvPr>
          <p:cNvPicPr>
            <a:picLocks noChangeAspect="1"/>
          </p:cNvPicPr>
          <p:nvPr/>
        </p:nvPicPr>
        <p:blipFill>
          <a:blip r:embed="rId2"/>
          <a:stretch>
            <a:fillRect/>
          </a:stretch>
        </p:blipFill>
        <p:spPr>
          <a:xfrm>
            <a:off x="4955257" y="2664340"/>
            <a:ext cx="3714750" cy="2095500"/>
          </a:xfrm>
          <a:prstGeom prst="rect">
            <a:avLst/>
          </a:prstGeom>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61EB0A85-57F0-4269-96B2-9B5403916641}"/>
                  </a:ext>
                </a:extLst>
              </p14:cNvPr>
              <p14:cNvContentPartPr/>
              <p14:nvPr/>
            </p14:nvContentPartPr>
            <p14:xfrm>
              <a:off x="2033640" y="4680"/>
              <a:ext cx="7077240" cy="5024880"/>
            </p14:xfrm>
          </p:contentPart>
        </mc:Choice>
        <mc:Fallback xmlns="">
          <p:pic>
            <p:nvPicPr>
              <p:cNvPr id="4" name="Ink 3">
                <a:extLst>
                  <a:ext uri="{FF2B5EF4-FFF2-40B4-BE49-F238E27FC236}">
                    <a16:creationId xmlns:a16="http://schemas.microsoft.com/office/drawing/2014/main" id="{61EB0A85-57F0-4269-96B2-9B5403916641}"/>
                  </a:ext>
                </a:extLst>
              </p:cNvPr>
              <p:cNvPicPr/>
              <p:nvPr/>
            </p:nvPicPr>
            <p:blipFill>
              <a:blip r:embed="rId4"/>
              <a:stretch>
                <a:fillRect/>
              </a:stretch>
            </p:blipFill>
            <p:spPr>
              <a:xfrm>
                <a:off x="2024280" y="-4680"/>
                <a:ext cx="7095960" cy="5043600"/>
              </a:xfrm>
              <a:prstGeom prst="rect">
                <a:avLst/>
              </a:prstGeom>
            </p:spPr>
          </p:pic>
        </mc:Fallback>
      </mc:AlternateContent>
    </p:spTree>
    <p:extLst>
      <p:ext uri="{BB962C8B-B14F-4D97-AF65-F5344CB8AC3E}">
        <p14:creationId xmlns:p14="http://schemas.microsoft.com/office/powerpoint/2010/main" val="4159058822"/>
      </p:ext>
    </p:extLst>
  </p:cSld>
  <p:clrMapOvr>
    <a:masterClrMapping/>
  </p:clrMapOvr>
  <p:transition spd="med">
    <p:wipe dir="r"/>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77C354-71C7-4691-9AF7-C0B53DAD6904}"/>
              </a:ext>
            </a:extLst>
          </p:cNvPr>
          <p:cNvSpPr>
            <a:spLocks noGrp="1"/>
          </p:cNvSpPr>
          <p:nvPr>
            <p:ph type="title"/>
          </p:nvPr>
        </p:nvSpPr>
        <p:spPr>
          <a:xfrm>
            <a:off x="0" y="0"/>
            <a:ext cx="8229600" cy="637794"/>
          </a:xfrm>
        </p:spPr>
        <p:txBody>
          <a:bodyPr/>
          <a:lstStyle/>
          <a:p>
            <a:r>
              <a:rPr lang="en-US" dirty="0"/>
              <a:t>Standard Scores – Z score</a:t>
            </a:r>
          </a:p>
        </p:txBody>
      </p:sp>
      <p:sp>
        <p:nvSpPr>
          <p:cNvPr id="3" name="TextBox 2">
            <a:extLst>
              <a:ext uri="{FF2B5EF4-FFF2-40B4-BE49-F238E27FC236}">
                <a16:creationId xmlns:a16="http://schemas.microsoft.com/office/drawing/2014/main" id="{02017ADE-8590-473B-AC66-8F77B39B00FF}"/>
              </a:ext>
            </a:extLst>
          </p:cNvPr>
          <p:cNvSpPr txBox="1"/>
          <p:nvPr/>
        </p:nvSpPr>
        <p:spPr>
          <a:xfrm>
            <a:off x="209405" y="893460"/>
            <a:ext cx="5137392" cy="1384995"/>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It is also possible to calculate how many standard deviations 1.85 is from the mean</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How far is 1.85 from the mean ? </a:t>
            </a:r>
          </a:p>
          <a:p>
            <a:pPr marL="742950" lvl="1"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It is 1.85 – 1.4 = 0.45m from the mean</a:t>
            </a:r>
          </a:p>
          <a:p>
            <a:pPr lvl="1">
              <a:spcBef>
                <a:spcPts val="0"/>
              </a:spcBef>
              <a:spcAft>
                <a:spcPts val="0"/>
              </a:spcAft>
              <a:buClr>
                <a:schemeClr val="bg1"/>
              </a:buClr>
            </a:pPr>
            <a:endParaRPr lang="en-US" sz="1400" dirty="0">
              <a:solidFill>
                <a:schemeClr val="bg2"/>
              </a:solidFill>
              <a:latin typeface="+mn-lt"/>
            </a:endParaRPr>
          </a:p>
        </p:txBody>
      </p:sp>
      <p:sp>
        <p:nvSpPr>
          <p:cNvPr id="4" name="TextBox 3">
            <a:extLst>
              <a:ext uri="{FF2B5EF4-FFF2-40B4-BE49-F238E27FC236}">
                <a16:creationId xmlns:a16="http://schemas.microsoft.com/office/drawing/2014/main" id="{1C340921-A93E-418E-8C7D-652A415018A5}"/>
              </a:ext>
            </a:extLst>
          </p:cNvPr>
          <p:cNvSpPr txBox="1"/>
          <p:nvPr/>
        </p:nvSpPr>
        <p:spPr>
          <a:xfrm>
            <a:off x="209405" y="2429093"/>
            <a:ext cx="3357453" cy="954107"/>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How many standard deviation is that ? The SD is 0.15m so it is </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endParaRPr lang="en-US" sz="1400" dirty="0" err="1">
              <a:solidFill>
                <a:schemeClr val="bg2"/>
              </a:solidFill>
              <a:latin typeface="+mn-lt"/>
            </a:endParaRPr>
          </a:p>
        </p:txBody>
      </p:sp>
      <p:pic>
        <p:nvPicPr>
          <p:cNvPr id="6" name="Picture 5">
            <a:extLst>
              <a:ext uri="{FF2B5EF4-FFF2-40B4-BE49-F238E27FC236}">
                <a16:creationId xmlns:a16="http://schemas.microsoft.com/office/drawing/2014/main" id="{D95996C3-DB60-464B-ADA7-6360632584BC}"/>
              </a:ext>
            </a:extLst>
          </p:cNvPr>
          <p:cNvPicPr>
            <a:picLocks noChangeAspect="1"/>
          </p:cNvPicPr>
          <p:nvPr/>
        </p:nvPicPr>
        <p:blipFill>
          <a:blip r:embed="rId2"/>
          <a:stretch>
            <a:fillRect/>
          </a:stretch>
        </p:blipFill>
        <p:spPr>
          <a:xfrm>
            <a:off x="4759809" y="1585957"/>
            <a:ext cx="3714750" cy="2095500"/>
          </a:xfrm>
          <a:prstGeom prst="rect">
            <a:avLst/>
          </a:prstGeom>
        </p:spPr>
      </p:pic>
      <p:pic>
        <p:nvPicPr>
          <p:cNvPr id="7" name="Picture 6">
            <a:extLst>
              <a:ext uri="{FF2B5EF4-FFF2-40B4-BE49-F238E27FC236}">
                <a16:creationId xmlns:a16="http://schemas.microsoft.com/office/drawing/2014/main" id="{0B67CD34-7C4A-4AE7-9950-691B1C0CD442}"/>
              </a:ext>
            </a:extLst>
          </p:cNvPr>
          <p:cNvPicPr>
            <a:picLocks noChangeAspect="1"/>
          </p:cNvPicPr>
          <p:nvPr/>
        </p:nvPicPr>
        <p:blipFill>
          <a:blip r:embed="rId3"/>
          <a:stretch>
            <a:fillRect/>
          </a:stretch>
        </p:blipFill>
        <p:spPr>
          <a:xfrm>
            <a:off x="537581" y="2977872"/>
            <a:ext cx="1716681" cy="810655"/>
          </a:xfrm>
          <a:prstGeom prst="rect">
            <a:avLst/>
          </a:prstGeom>
        </p:spPr>
      </p:pic>
      <p:sp>
        <p:nvSpPr>
          <p:cNvPr id="8" name="TextBox 7">
            <a:extLst>
              <a:ext uri="{FF2B5EF4-FFF2-40B4-BE49-F238E27FC236}">
                <a16:creationId xmlns:a16="http://schemas.microsoft.com/office/drawing/2014/main" id="{D4454898-1E55-476F-BF21-5748303D9A9E}"/>
              </a:ext>
            </a:extLst>
          </p:cNvPr>
          <p:cNvSpPr txBox="1"/>
          <p:nvPr/>
        </p:nvSpPr>
        <p:spPr>
          <a:xfrm>
            <a:off x="1305288" y="3931979"/>
            <a:ext cx="2945625"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Z is “z score” (standard Score)</a:t>
            </a:r>
          </a:p>
          <a:p>
            <a:pPr>
              <a:spcBef>
                <a:spcPts val="0"/>
              </a:spcBef>
              <a:spcAft>
                <a:spcPts val="0"/>
              </a:spcAft>
              <a:buClr>
                <a:schemeClr val="bg1"/>
              </a:buClr>
            </a:pPr>
            <a:r>
              <a:rPr lang="en-US" sz="1400" dirty="0">
                <a:solidFill>
                  <a:schemeClr val="bg2"/>
                </a:solidFill>
                <a:latin typeface="+mn-lt"/>
              </a:rPr>
              <a:t>X is the Value to be standardized </a:t>
            </a:r>
          </a:p>
          <a:p>
            <a:pPr>
              <a:spcBef>
                <a:spcPts val="0"/>
              </a:spcBef>
              <a:spcAft>
                <a:spcPts val="0"/>
              </a:spcAft>
              <a:buClr>
                <a:schemeClr val="bg1"/>
              </a:buClr>
            </a:pPr>
            <a:r>
              <a:rPr lang="en-US" sz="1400" dirty="0">
                <a:solidFill>
                  <a:schemeClr val="bg2"/>
                </a:solidFill>
                <a:latin typeface="+mn-lt"/>
              </a:rPr>
              <a:t>µ is the mean</a:t>
            </a:r>
          </a:p>
          <a:p>
            <a:pPr>
              <a:spcBef>
                <a:spcPts val="0"/>
              </a:spcBef>
              <a:spcAft>
                <a:spcPts val="0"/>
              </a:spcAft>
              <a:buClr>
                <a:schemeClr val="bg1"/>
              </a:buClr>
            </a:pPr>
            <a:r>
              <a:rPr lang="en-US" sz="1400" dirty="0">
                <a:solidFill>
                  <a:schemeClr val="bg2"/>
                </a:solidFill>
                <a:latin typeface="+mn-lt"/>
              </a:rPr>
              <a:t>σ is the SD</a:t>
            </a:r>
          </a:p>
        </p:txBody>
      </p:sp>
      <mc:AlternateContent xmlns:mc="http://schemas.openxmlformats.org/markup-compatibility/2006" xmlns:p14="http://schemas.microsoft.com/office/powerpoint/2010/main">
        <mc:Choice Requires="p14">
          <p:contentPart p14:bwMode="auto" r:id="rId4">
            <p14:nvContentPartPr>
              <p14:cNvPr id="5" name="Ink 4">
                <a:extLst>
                  <a:ext uri="{FF2B5EF4-FFF2-40B4-BE49-F238E27FC236}">
                    <a16:creationId xmlns:a16="http://schemas.microsoft.com/office/drawing/2014/main" id="{D5CD9231-AAFA-4E84-B13C-A7A892A213FD}"/>
                  </a:ext>
                </a:extLst>
              </p14:cNvPr>
              <p14:cNvContentPartPr/>
              <p14:nvPr/>
            </p14:nvContentPartPr>
            <p14:xfrm>
              <a:off x="480960" y="514440"/>
              <a:ext cx="8368200" cy="4624560"/>
            </p14:xfrm>
          </p:contentPart>
        </mc:Choice>
        <mc:Fallback xmlns="">
          <p:pic>
            <p:nvPicPr>
              <p:cNvPr id="5" name="Ink 4">
                <a:extLst>
                  <a:ext uri="{FF2B5EF4-FFF2-40B4-BE49-F238E27FC236}">
                    <a16:creationId xmlns:a16="http://schemas.microsoft.com/office/drawing/2014/main" id="{D5CD9231-AAFA-4E84-B13C-A7A892A213FD}"/>
                  </a:ext>
                </a:extLst>
              </p:cNvPr>
              <p:cNvPicPr/>
              <p:nvPr/>
            </p:nvPicPr>
            <p:blipFill>
              <a:blip r:embed="rId5"/>
              <a:stretch>
                <a:fillRect/>
              </a:stretch>
            </p:blipFill>
            <p:spPr>
              <a:xfrm>
                <a:off x="471600" y="505080"/>
                <a:ext cx="8386920" cy="4643280"/>
              </a:xfrm>
              <a:prstGeom prst="rect">
                <a:avLst/>
              </a:prstGeom>
            </p:spPr>
          </p:pic>
        </mc:Fallback>
      </mc:AlternateContent>
    </p:spTree>
    <p:extLst>
      <p:ext uri="{BB962C8B-B14F-4D97-AF65-F5344CB8AC3E}">
        <p14:creationId xmlns:p14="http://schemas.microsoft.com/office/powerpoint/2010/main" val="2272793103"/>
      </p:ext>
    </p:extLst>
  </p:cSld>
  <p:clrMapOvr>
    <a:masterClrMapping/>
  </p:clrMapOvr>
  <p:transition spd="med">
    <p:wipe dir="r"/>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395229-5250-4E90-BFE7-38424398256E}"/>
              </a:ext>
            </a:extLst>
          </p:cNvPr>
          <p:cNvSpPr>
            <a:spLocks noGrp="1"/>
          </p:cNvSpPr>
          <p:nvPr>
            <p:ph type="title"/>
          </p:nvPr>
        </p:nvSpPr>
        <p:spPr>
          <a:xfrm>
            <a:off x="0" y="0"/>
            <a:ext cx="8229600" cy="637794"/>
          </a:xfrm>
        </p:spPr>
        <p:txBody>
          <a:bodyPr/>
          <a:lstStyle/>
          <a:p>
            <a:r>
              <a:rPr lang="en-US" dirty="0"/>
              <a:t>Histograms</a:t>
            </a:r>
          </a:p>
        </p:txBody>
      </p:sp>
      <p:sp>
        <p:nvSpPr>
          <p:cNvPr id="3" name="TextBox 2">
            <a:extLst>
              <a:ext uri="{FF2B5EF4-FFF2-40B4-BE49-F238E27FC236}">
                <a16:creationId xmlns:a16="http://schemas.microsoft.com/office/drawing/2014/main" id="{02CA0D85-203F-4043-BAA0-B836164FA90E}"/>
              </a:ext>
            </a:extLst>
          </p:cNvPr>
          <p:cNvSpPr txBox="1"/>
          <p:nvPr/>
        </p:nvSpPr>
        <p:spPr>
          <a:xfrm>
            <a:off x="97722" y="567762"/>
            <a:ext cx="6875451" cy="3985706"/>
          </a:xfrm>
          <a:prstGeom prst="rect">
            <a:avLst/>
          </a:prstGeom>
          <a:noFill/>
        </p:spPr>
        <p:txBody>
          <a:bodyPr wrap="square" rtlCol="0">
            <a:spAutoFit/>
          </a:bodyPr>
          <a:lstStyle/>
          <a:p>
            <a:pPr algn="l"/>
            <a:r>
              <a:rPr lang="en-US" sz="1100" b="0" i="0" dirty="0">
                <a:solidFill>
                  <a:schemeClr val="bg2">
                    <a:lumMod val="50000"/>
                    <a:lumOff val="50000"/>
                  </a:schemeClr>
                </a:solidFill>
                <a:effectLst/>
                <a:latin typeface="Verdana" panose="020B0604030504040204" pitchFamily="34" charset="0"/>
              </a:rPr>
              <a:t>It is like a </a:t>
            </a:r>
            <a:r>
              <a:rPr lang="en-US" sz="1100" b="0" i="0" dirty="0">
                <a:solidFill>
                  <a:schemeClr val="bg2">
                    <a:lumMod val="50000"/>
                    <a:lumOff val="50000"/>
                  </a:schemeClr>
                </a:solidFill>
                <a:effectLst/>
                <a:latin typeface="Verdana" panose="020B0604030504040204" pitchFamily="34" charset="0"/>
                <a:hlinkClick r:id="rId2">
                  <a:extLst>
                    <a:ext uri="{A12FA001-AC4F-418D-AE19-62706E023703}">
                      <ahyp:hlinkClr xmlns:ahyp="http://schemas.microsoft.com/office/drawing/2018/hyperlinkcolor" val="tx"/>
                    </a:ext>
                  </a:extLst>
                </a:hlinkClick>
              </a:rPr>
              <a:t>Bar Chart</a:t>
            </a:r>
            <a:r>
              <a:rPr lang="en-US" sz="1100" b="0" i="0" dirty="0">
                <a:solidFill>
                  <a:schemeClr val="bg2">
                    <a:lumMod val="50000"/>
                    <a:lumOff val="50000"/>
                  </a:schemeClr>
                </a:solidFill>
                <a:effectLst/>
                <a:latin typeface="Verdana" panose="020B0604030504040204" pitchFamily="34" charset="0"/>
              </a:rPr>
              <a:t>, but a histogram groups numbers into </a:t>
            </a:r>
            <a:r>
              <a:rPr lang="en-US" sz="1100" b="1" i="0" dirty="0">
                <a:solidFill>
                  <a:schemeClr val="bg2">
                    <a:lumMod val="50000"/>
                    <a:lumOff val="50000"/>
                  </a:schemeClr>
                </a:solidFill>
                <a:effectLst/>
                <a:latin typeface="Verdana" panose="020B0604030504040204" pitchFamily="34" charset="0"/>
              </a:rPr>
              <a:t>ranges </a:t>
            </a:r>
            <a:r>
              <a:rPr lang="en-US" sz="1100" b="0" i="0" dirty="0">
                <a:solidFill>
                  <a:schemeClr val="bg2">
                    <a:lumMod val="50000"/>
                    <a:lumOff val="50000"/>
                  </a:schemeClr>
                </a:solidFill>
                <a:effectLst/>
                <a:latin typeface="Verdana" panose="020B0604030504040204" pitchFamily="34" charset="0"/>
              </a:rPr>
              <a:t>.</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The height of each bar shows how many fall into each range.</a:t>
            </a:r>
          </a:p>
          <a:p>
            <a:pPr algn="l"/>
            <a:r>
              <a:rPr lang="en-US" sz="1100" b="0" i="0" dirty="0">
                <a:solidFill>
                  <a:schemeClr val="bg2">
                    <a:lumMod val="50000"/>
                    <a:lumOff val="50000"/>
                  </a:schemeClr>
                </a:solidFill>
                <a:effectLst/>
                <a:latin typeface="Verdana" panose="020B0604030504040204" pitchFamily="34" charset="0"/>
              </a:rPr>
              <a:t>And you decide what ranges to use!</a:t>
            </a:r>
          </a:p>
          <a:p>
            <a:pPr algn="l"/>
            <a:endParaRPr lang="en-US" sz="1100" b="1" dirty="0">
              <a:solidFill>
                <a:schemeClr val="bg2">
                  <a:lumMod val="50000"/>
                  <a:lumOff val="50000"/>
                </a:schemeClr>
              </a:solidFill>
              <a:latin typeface="Verdana" panose="020B0604030504040204" pitchFamily="34" charset="0"/>
            </a:endParaRPr>
          </a:p>
          <a:p>
            <a:pPr algn="l"/>
            <a:endParaRPr lang="en-US" sz="1100" b="1" i="0" dirty="0">
              <a:solidFill>
                <a:schemeClr val="bg2">
                  <a:lumMod val="50000"/>
                  <a:lumOff val="50000"/>
                </a:schemeClr>
              </a:solidFill>
              <a:effectLst/>
              <a:latin typeface="Verdana" panose="020B0604030504040204" pitchFamily="34" charset="0"/>
            </a:endParaRPr>
          </a:p>
          <a:p>
            <a:pPr algn="l"/>
            <a:r>
              <a:rPr lang="en-US" sz="1100" b="1" i="0" dirty="0">
                <a:solidFill>
                  <a:schemeClr val="bg2">
                    <a:lumMod val="50000"/>
                    <a:lumOff val="50000"/>
                  </a:schemeClr>
                </a:solidFill>
                <a:effectLst/>
                <a:latin typeface="Verdana" panose="020B0604030504040204" pitchFamily="34" charset="0"/>
              </a:rPr>
              <a:t>Ex: </a:t>
            </a:r>
          </a:p>
          <a:p>
            <a:pPr algn="l"/>
            <a:endParaRPr lang="en-US" sz="1100" b="1" dirty="0">
              <a:solidFill>
                <a:schemeClr val="bg2">
                  <a:lumMod val="50000"/>
                  <a:lumOff val="50000"/>
                </a:schemeClr>
              </a:solidFill>
              <a:latin typeface="Verdana" panose="020B0604030504040204" pitchFamily="34" charset="0"/>
            </a:endParaRPr>
          </a:p>
          <a:p>
            <a:pPr algn="l"/>
            <a:r>
              <a:rPr lang="en-US" sz="1400" b="0" i="0" dirty="0">
                <a:solidFill>
                  <a:schemeClr val="bg2">
                    <a:lumMod val="50000"/>
                    <a:lumOff val="50000"/>
                  </a:schemeClr>
                </a:solidFill>
                <a:effectLst/>
                <a:latin typeface="Verdana" panose="020B0604030504040204" pitchFamily="34" charset="0"/>
              </a:rPr>
              <a:t>The heights vary from 100 cm to 340 cm</a:t>
            </a:r>
          </a:p>
          <a:p>
            <a:pPr algn="l"/>
            <a:r>
              <a:rPr lang="en-US" sz="1400" b="0" i="0" dirty="0">
                <a:solidFill>
                  <a:schemeClr val="bg2">
                    <a:lumMod val="50000"/>
                    <a:lumOff val="50000"/>
                  </a:schemeClr>
                </a:solidFill>
                <a:effectLst/>
                <a:latin typeface="Verdana" panose="020B0604030504040204" pitchFamily="34" charset="0"/>
              </a:rPr>
              <a:t>You decide to put the results into groups of 50 cm:</a:t>
            </a:r>
          </a:p>
          <a:p>
            <a:pPr algn="l"/>
            <a:endParaRPr lang="en-US" sz="1400" b="0" i="0" dirty="0">
              <a:solidFill>
                <a:schemeClr val="bg2">
                  <a:lumMod val="50000"/>
                  <a:lumOff val="50000"/>
                </a:schemeClr>
              </a:solidFill>
              <a:effectLst/>
              <a:latin typeface="Verdana" panose="020B0604030504040204" pitchFamily="34" charset="0"/>
            </a:endParaRPr>
          </a:p>
          <a:p>
            <a:pPr marL="171450" indent="-171450" algn="l">
              <a:buFont typeface="Arial" panose="020B0604020202020204" pitchFamily="34" charset="0"/>
              <a:buChar char="•"/>
            </a:pPr>
            <a:r>
              <a:rPr lang="en-US" sz="1400" b="0" i="0" dirty="0">
                <a:solidFill>
                  <a:schemeClr val="bg2">
                    <a:lumMod val="50000"/>
                    <a:lumOff val="50000"/>
                  </a:schemeClr>
                </a:solidFill>
                <a:effectLst/>
                <a:latin typeface="Verdana" panose="020B0604030504040204" pitchFamily="34" charset="0"/>
              </a:rPr>
              <a:t>The </a:t>
            </a:r>
            <a:r>
              <a:rPr lang="en-US" sz="1400" b="1" i="0" dirty="0">
                <a:solidFill>
                  <a:schemeClr val="bg2">
                    <a:lumMod val="50000"/>
                    <a:lumOff val="50000"/>
                  </a:schemeClr>
                </a:solidFill>
                <a:effectLst/>
                <a:latin typeface="Verdana" panose="020B0604030504040204" pitchFamily="34" charset="0"/>
              </a:rPr>
              <a:t>100 to just below 150 cm</a:t>
            </a:r>
            <a:r>
              <a:rPr lang="en-US" sz="1400" b="0" i="0" dirty="0">
                <a:solidFill>
                  <a:schemeClr val="bg2">
                    <a:lumMod val="50000"/>
                    <a:lumOff val="50000"/>
                  </a:schemeClr>
                </a:solidFill>
                <a:effectLst/>
                <a:latin typeface="Verdana" panose="020B0604030504040204" pitchFamily="34" charset="0"/>
              </a:rPr>
              <a:t> range,</a:t>
            </a:r>
          </a:p>
          <a:p>
            <a:pPr marL="171450" indent="-171450" algn="l">
              <a:buFont typeface="Arial" panose="020B0604020202020204" pitchFamily="34" charset="0"/>
              <a:buChar char="•"/>
            </a:pPr>
            <a:r>
              <a:rPr lang="en-US" sz="1400" b="0" i="0" dirty="0">
                <a:solidFill>
                  <a:schemeClr val="bg2">
                    <a:lumMod val="50000"/>
                    <a:lumOff val="50000"/>
                  </a:schemeClr>
                </a:solidFill>
                <a:effectLst/>
                <a:latin typeface="Verdana" panose="020B0604030504040204" pitchFamily="34" charset="0"/>
              </a:rPr>
              <a:t>The </a:t>
            </a:r>
            <a:r>
              <a:rPr lang="en-US" sz="1400" b="1" i="0" dirty="0">
                <a:solidFill>
                  <a:schemeClr val="bg2">
                    <a:lumMod val="50000"/>
                    <a:lumOff val="50000"/>
                  </a:schemeClr>
                </a:solidFill>
                <a:effectLst/>
                <a:latin typeface="Verdana" panose="020B0604030504040204" pitchFamily="34" charset="0"/>
              </a:rPr>
              <a:t>150 to just below 200 cm</a:t>
            </a:r>
            <a:r>
              <a:rPr lang="en-US" sz="1400" b="0" i="0" dirty="0">
                <a:solidFill>
                  <a:schemeClr val="bg2">
                    <a:lumMod val="50000"/>
                    <a:lumOff val="50000"/>
                  </a:schemeClr>
                </a:solidFill>
                <a:effectLst/>
                <a:latin typeface="Verdana" panose="020B0604030504040204" pitchFamily="34" charset="0"/>
              </a:rPr>
              <a:t> range,</a:t>
            </a:r>
          </a:p>
          <a:p>
            <a:pPr marL="171450" indent="-171450" algn="l">
              <a:buFont typeface="Arial" panose="020B0604020202020204" pitchFamily="34" charset="0"/>
              <a:buChar char="•"/>
            </a:pPr>
            <a:r>
              <a:rPr lang="en-US" sz="1400" b="0" i="0" dirty="0">
                <a:solidFill>
                  <a:schemeClr val="bg2">
                    <a:lumMod val="50000"/>
                    <a:lumOff val="50000"/>
                  </a:schemeClr>
                </a:solidFill>
                <a:effectLst/>
                <a:latin typeface="Verdana" panose="020B0604030504040204" pitchFamily="34" charset="0"/>
              </a:rPr>
              <a:t>etc...</a:t>
            </a:r>
          </a:p>
          <a:p>
            <a:pPr algn="l">
              <a:buFont typeface="Arial" panose="020B0604020202020204" pitchFamily="34" charset="0"/>
              <a:buChar char="•"/>
            </a:pPr>
            <a:endParaRPr lang="en-US" sz="1400" b="0" i="0" dirty="0">
              <a:solidFill>
                <a:schemeClr val="bg2">
                  <a:lumMod val="50000"/>
                  <a:lumOff val="50000"/>
                </a:schemeClr>
              </a:solidFill>
              <a:effectLst/>
              <a:latin typeface="Verdana" panose="020B0604030504040204" pitchFamily="34" charset="0"/>
            </a:endParaRPr>
          </a:p>
          <a:p>
            <a:pPr algn="l"/>
            <a:r>
              <a:rPr lang="en-US" sz="1400" b="0" i="0" dirty="0">
                <a:solidFill>
                  <a:schemeClr val="bg2">
                    <a:lumMod val="50000"/>
                    <a:lumOff val="50000"/>
                  </a:schemeClr>
                </a:solidFill>
                <a:effectLst/>
                <a:latin typeface="Verdana" panose="020B0604030504040204" pitchFamily="34" charset="0"/>
              </a:rPr>
              <a:t>So, a tree that is 260 cm tall is added to the "250-300" range.</a:t>
            </a:r>
          </a:p>
          <a:p>
            <a:pPr algn="l"/>
            <a:r>
              <a:rPr lang="en-US" sz="1400" b="0" i="0" dirty="0">
                <a:solidFill>
                  <a:schemeClr val="bg2">
                    <a:lumMod val="50000"/>
                    <a:lumOff val="50000"/>
                  </a:schemeClr>
                </a:solidFill>
                <a:effectLst/>
                <a:latin typeface="Verdana" panose="020B0604030504040204" pitchFamily="34" charset="0"/>
              </a:rPr>
              <a:t>And here is the result: </a:t>
            </a:r>
            <a:r>
              <a:rPr lang="en-US" sz="1400" dirty="0">
                <a:solidFill>
                  <a:schemeClr val="bg2">
                    <a:lumMod val="50000"/>
                    <a:lumOff val="50000"/>
                  </a:schemeClr>
                </a:solidFill>
                <a:latin typeface="Verdana" panose="020B0604030504040204" pitchFamily="34" charset="0"/>
              </a:rPr>
              <a:t>You can see (for example) that there are </a:t>
            </a:r>
            <a:r>
              <a:rPr lang="en-US" sz="1400" b="1" dirty="0">
                <a:solidFill>
                  <a:schemeClr val="bg2">
                    <a:lumMod val="50000"/>
                    <a:lumOff val="50000"/>
                  </a:schemeClr>
                </a:solidFill>
                <a:latin typeface="Verdana" panose="020B0604030504040204" pitchFamily="34" charset="0"/>
              </a:rPr>
              <a:t>30 trees </a:t>
            </a:r>
            <a:r>
              <a:rPr lang="en-US" sz="1400" dirty="0">
                <a:solidFill>
                  <a:schemeClr val="bg2">
                    <a:lumMod val="50000"/>
                    <a:lumOff val="50000"/>
                  </a:schemeClr>
                </a:solidFill>
                <a:latin typeface="Verdana" panose="020B0604030504040204" pitchFamily="34" charset="0"/>
              </a:rPr>
              <a:t>from 150 cm to just below 200 cm tall</a:t>
            </a:r>
          </a:p>
          <a:p>
            <a:pPr algn="l"/>
            <a:endParaRPr lang="en-US" sz="1100" b="1" i="0" dirty="0">
              <a:solidFill>
                <a:schemeClr val="bg2">
                  <a:lumMod val="50000"/>
                  <a:lumOff val="50000"/>
                </a:schemeClr>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4AB5BAB6-917D-48BD-A220-866ABDB030B4}"/>
              </a:ext>
            </a:extLst>
          </p:cNvPr>
          <p:cNvPicPr>
            <a:picLocks noChangeAspect="1"/>
          </p:cNvPicPr>
          <p:nvPr/>
        </p:nvPicPr>
        <p:blipFill>
          <a:blip r:embed="rId3"/>
          <a:stretch>
            <a:fillRect/>
          </a:stretch>
        </p:blipFill>
        <p:spPr>
          <a:xfrm>
            <a:off x="7189475" y="0"/>
            <a:ext cx="1644959" cy="1472812"/>
          </a:xfrm>
          <a:prstGeom prst="rect">
            <a:avLst/>
          </a:prstGeom>
        </p:spPr>
      </p:pic>
      <p:sp>
        <p:nvSpPr>
          <p:cNvPr id="6" name="TextBox 5">
            <a:extLst>
              <a:ext uri="{FF2B5EF4-FFF2-40B4-BE49-F238E27FC236}">
                <a16:creationId xmlns:a16="http://schemas.microsoft.com/office/drawing/2014/main" id="{B2C1368F-05C5-41F3-8C92-C3184D2F0C42}"/>
              </a:ext>
            </a:extLst>
          </p:cNvPr>
          <p:cNvSpPr txBox="1"/>
          <p:nvPr/>
        </p:nvSpPr>
        <p:spPr>
          <a:xfrm>
            <a:off x="97722" y="4167151"/>
            <a:ext cx="7824751" cy="276999"/>
          </a:xfrm>
          <a:prstGeom prst="rect">
            <a:avLst/>
          </a:prstGeom>
          <a:noFill/>
        </p:spPr>
        <p:txBody>
          <a:bodyPr wrap="square" rtlCol="0">
            <a:spAutoFit/>
          </a:bodyPr>
          <a:lstStyle/>
          <a:p>
            <a:pPr>
              <a:spcBef>
                <a:spcPts val="0"/>
              </a:spcBef>
              <a:spcAft>
                <a:spcPts val="0"/>
              </a:spcAft>
              <a:buClr>
                <a:schemeClr val="bg1"/>
              </a:buClr>
            </a:pPr>
            <a:r>
              <a:rPr lang="en-US" sz="1200" b="0" i="0" dirty="0">
                <a:solidFill>
                  <a:schemeClr val="bg2">
                    <a:lumMod val="50000"/>
                    <a:lumOff val="50000"/>
                  </a:schemeClr>
                </a:solidFill>
                <a:effectLst/>
                <a:latin typeface="Verdana" panose="020B0604030504040204" pitchFamily="34" charset="0"/>
              </a:rPr>
              <a:t>The range of each bar is also called the </a:t>
            </a:r>
            <a:r>
              <a:rPr lang="en-US" sz="1200" b="1" i="0" dirty="0">
                <a:solidFill>
                  <a:schemeClr val="bg2">
                    <a:lumMod val="50000"/>
                    <a:lumOff val="50000"/>
                  </a:schemeClr>
                </a:solidFill>
                <a:effectLst/>
                <a:latin typeface="Verdana" panose="020B0604030504040204" pitchFamily="34" charset="0"/>
              </a:rPr>
              <a:t>Class Interval</a:t>
            </a:r>
            <a:endParaRPr lang="en-US" sz="1600" dirty="0">
              <a:solidFill>
                <a:schemeClr val="bg2">
                  <a:lumMod val="50000"/>
                  <a:lumOff val="50000"/>
                </a:schemeClr>
              </a:solidFill>
              <a:latin typeface="+mn-lt"/>
            </a:endParaRPr>
          </a:p>
        </p:txBody>
      </p:sp>
      <p:pic>
        <p:nvPicPr>
          <p:cNvPr id="8" name="Picture 7">
            <a:extLst>
              <a:ext uri="{FF2B5EF4-FFF2-40B4-BE49-F238E27FC236}">
                <a16:creationId xmlns:a16="http://schemas.microsoft.com/office/drawing/2014/main" id="{333C77C3-B4B9-46DA-8353-DCB6A97BD6C3}"/>
              </a:ext>
            </a:extLst>
          </p:cNvPr>
          <p:cNvPicPr>
            <a:picLocks noChangeAspect="1"/>
          </p:cNvPicPr>
          <p:nvPr/>
        </p:nvPicPr>
        <p:blipFill>
          <a:blip r:embed="rId4"/>
          <a:stretch>
            <a:fillRect/>
          </a:stretch>
        </p:blipFill>
        <p:spPr>
          <a:xfrm>
            <a:off x="7098089" y="2023881"/>
            <a:ext cx="1827730" cy="1759361"/>
          </a:xfrm>
          <a:prstGeom prst="rect">
            <a:avLst/>
          </a:prstGeom>
        </p:spPr>
      </p:pic>
      <mc:AlternateContent xmlns:mc="http://schemas.openxmlformats.org/markup-compatibility/2006" xmlns:p14="http://schemas.microsoft.com/office/powerpoint/2010/main">
        <mc:Choice Requires="p14">
          <p:contentPart p14:bwMode="auto" r:id="rId5">
            <p14:nvContentPartPr>
              <p14:cNvPr id="4" name="Ink 3">
                <a:extLst>
                  <a:ext uri="{FF2B5EF4-FFF2-40B4-BE49-F238E27FC236}">
                    <a16:creationId xmlns:a16="http://schemas.microsoft.com/office/drawing/2014/main" id="{71DCE429-6C67-447E-B1FC-9FC8594097A0}"/>
                  </a:ext>
                </a:extLst>
              </p14:cNvPr>
              <p14:cNvContentPartPr/>
              <p14:nvPr/>
            </p14:nvContentPartPr>
            <p14:xfrm>
              <a:off x="790560" y="38160"/>
              <a:ext cx="8349120" cy="5038920"/>
            </p14:xfrm>
          </p:contentPart>
        </mc:Choice>
        <mc:Fallback xmlns="">
          <p:pic>
            <p:nvPicPr>
              <p:cNvPr id="4" name="Ink 3">
                <a:extLst>
                  <a:ext uri="{FF2B5EF4-FFF2-40B4-BE49-F238E27FC236}">
                    <a16:creationId xmlns:a16="http://schemas.microsoft.com/office/drawing/2014/main" id="{71DCE429-6C67-447E-B1FC-9FC8594097A0}"/>
                  </a:ext>
                </a:extLst>
              </p:cNvPr>
              <p:cNvPicPr/>
              <p:nvPr/>
            </p:nvPicPr>
            <p:blipFill>
              <a:blip r:embed="rId6"/>
              <a:stretch>
                <a:fillRect/>
              </a:stretch>
            </p:blipFill>
            <p:spPr>
              <a:xfrm>
                <a:off x="781200" y="28800"/>
                <a:ext cx="8367840" cy="5057640"/>
              </a:xfrm>
              <a:prstGeom prst="rect">
                <a:avLst/>
              </a:prstGeom>
            </p:spPr>
          </p:pic>
        </mc:Fallback>
      </mc:AlternateContent>
    </p:spTree>
    <p:extLst>
      <p:ext uri="{BB962C8B-B14F-4D97-AF65-F5344CB8AC3E}">
        <p14:creationId xmlns:p14="http://schemas.microsoft.com/office/powerpoint/2010/main" val="1076367964"/>
      </p:ext>
    </p:extLst>
  </p:cSld>
  <p:clrMapOvr>
    <a:masterClrMapping/>
  </p:clrMapOvr>
  <p:transition spd="med">
    <p:wipe dir="r"/>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AD516-EB32-4D6F-A996-A221CB731514}"/>
              </a:ext>
            </a:extLst>
          </p:cNvPr>
          <p:cNvSpPr>
            <a:spLocks noGrp="1"/>
          </p:cNvSpPr>
          <p:nvPr>
            <p:ph type="title"/>
          </p:nvPr>
        </p:nvSpPr>
        <p:spPr/>
        <p:txBody>
          <a:bodyPr/>
          <a:lstStyle/>
          <a:p>
            <a:r>
              <a:rPr lang="en-US" dirty="0"/>
              <a:t>Histograms</a:t>
            </a:r>
          </a:p>
        </p:txBody>
      </p:sp>
      <p:pic>
        <p:nvPicPr>
          <p:cNvPr id="3" name="Picture 2">
            <a:extLst>
              <a:ext uri="{FF2B5EF4-FFF2-40B4-BE49-F238E27FC236}">
                <a16:creationId xmlns:a16="http://schemas.microsoft.com/office/drawing/2014/main" id="{1B4DE7F2-4C3F-4932-B02E-677EDE091489}"/>
              </a:ext>
            </a:extLst>
          </p:cNvPr>
          <p:cNvPicPr>
            <a:picLocks noChangeAspect="1"/>
          </p:cNvPicPr>
          <p:nvPr/>
        </p:nvPicPr>
        <p:blipFill>
          <a:blip r:embed="rId2"/>
          <a:stretch>
            <a:fillRect/>
          </a:stretch>
        </p:blipFill>
        <p:spPr>
          <a:xfrm>
            <a:off x="7014327" y="1144382"/>
            <a:ext cx="1827730" cy="1759361"/>
          </a:xfrm>
          <a:prstGeom prst="rect">
            <a:avLst/>
          </a:prstGeom>
        </p:spPr>
      </p:pic>
      <p:sp>
        <p:nvSpPr>
          <p:cNvPr id="4" name="TextBox 3">
            <a:extLst>
              <a:ext uri="{FF2B5EF4-FFF2-40B4-BE49-F238E27FC236}">
                <a16:creationId xmlns:a16="http://schemas.microsoft.com/office/drawing/2014/main" id="{CA3E50D1-0830-44E2-884E-56D3C7A922DC}"/>
              </a:ext>
            </a:extLst>
          </p:cNvPr>
          <p:cNvSpPr txBox="1"/>
          <p:nvPr/>
        </p:nvSpPr>
        <p:spPr>
          <a:xfrm>
            <a:off x="174504" y="984202"/>
            <a:ext cx="6114614" cy="1969770"/>
          </a:xfrm>
          <a:prstGeom prst="rect">
            <a:avLst/>
          </a:prstGeom>
          <a:noFill/>
        </p:spPr>
        <p:txBody>
          <a:bodyPr wrap="square" rtlCol="0">
            <a:spAutoFit/>
          </a:bodyPr>
          <a:lstStyle/>
          <a:p>
            <a:pPr algn="l"/>
            <a:r>
              <a:rPr lang="en-US" sz="1800" b="0" i="0" dirty="0">
                <a:solidFill>
                  <a:schemeClr val="bg2">
                    <a:lumMod val="50000"/>
                    <a:lumOff val="50000"/>
                  </a:schemeClr>
                </a:solidFill>
                <a:effectLst/>
                <a:latin typeface="Verdana" panose="020B0604030504040204" pitchFamily="34" charset="0"/>
              </a:rPr>
              <a:t>So, a tree that is 260 cm tall is added to the "250-300" range.</a:t>
            </a:r>
          </a:p>
          <a:p>
            <a:pPr algn="l"/>
            <a:endParaRPr lang="en-US" sz="1800" b="0" i="0" dirty="0">
              <a:solidFill>
                <a:schemeClr val="bg2">
                  <a:lumMod val="50000"/>
                  <a:lumOff val="50000"/>
                </a:schemeClr>
              </a:solidFill>
              <a:effectLst/>
              <a:latin typeface="Verdana" panose="020B0604030504040204" pitchFamily="34" charset="0"/>
            </a:endParaRPr>
          </a:p>
          <a:p>
            <a:pPr algn="l"/>
            <a:r>
              <a:rPr lang="en-US" sz="1800" b="0" i="0" dirty="0">
                <a:solidFill>
                  <a:schemeClr val="bg2">
                    <a:lumMod val="50000"/>
                    <a:lumOff val="50000"/>
                  </a:schemeClr>
                </a:solidFill>
                <a:effectLst/>
                <a:latin typeface="Verdana" panose="020B0604030504040204" pitchFamily="34" charset="0"/>
              </a:rPr>
              <a:t>And here is the result: </a:t>
            </a:r>
            <a:r>
              <a:rPr lang="en-US" sz="1800" dirty="0">
                <a:solidFill>
                  <a:schemeClr val="bg2">
                    <a:lumMod val="50000"/>
                    <a:lumOff val="50000"/>
                  </a:schemeClr>
                </a:solidFill>
                <a:latin typeface="Verdana" panose="020B0604030504040204" pitchFamily="34" charset="0"/>
              </a:rPr>
              <a:t>You can see (for example) that there are </a:t>
            </a:r>
            <a:r>
              <a:rPr lang="en-US" sz="1800" b="1" dirty="0">
                <a:solidFill>
                  <a:schemeClr val="bg2">
                    <a:lumMod val="50000"/>
                    <a:lumOff val="50000"/>
                  </a:schemeClr>
                </a:solidFill>
                <a:latin typeface="Verdana" panose="020B0604030504040204" pitchFamily="34" charset="0"/>
              </a:rPr>
              <a:t>30 trees </a:t>
            </a:r>
            <a:r>
              <a:rPr lang="en-US" sz="1800" dirty="0">
                <a:solidFill>
                  <a:schemeClr val="bg2">
                    <a:lumMod val="50000"/>
                    <a:lumOff val="50000"/>
                  </a:schemeClr>
                </a:solidFill>
                <a:latin typeface="Verdana" panose="020B0604030504040204" pitchFamily="34" charset="0"/>
              </a:rPr>
              <a:t>from 150 cm to just below 200 cm tall</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xmlns:p14="http://schemas.microsoft.com/office/powerpoint/2010/main">
        <mc:Choice Requires="p14">
          <p:contentPart p14:bwMode="auto" r:id="rId3">
            <p14:nvContentPartPr>
              <p14:cNvPr id="5" name="Ink 4">
                <a:extLst>
                  <a:ext uri="{FF2B5EF4-FFF2-40B4-BE49-F238E27FC236}">
                    <a16:creationId xmlns:a16="http://schemas.microsoft.com/office/drawing/2014/main" id="{DCC7D375-C1C5-4F93-89EC-9A3CB3317CC7}"/>
                  </a:ext>
                </a:extLst>
              </p14:cNvPr>
              <p14:cNvContentPartPr/>
              <p14:nvPr/>
            </p14:nvContentPartPr>
            <p14:xfrm>
              <a:off x="2452680" y="1319040"/>
              <a:ext cx="5977440" cy="2048400"/>
            </p14:xfrm>
          </p:contentPart>
        </mc:Choice>
        <mc:Fallback xmlns="">
          <p:pic>
            <p:nvPicPr>
              <p:cNvPr id="5" name="Ink 4">
                <a:extLst>
                  <a:ext uri="{FF2B5EF4-FFF2-40B4-BE49-F238E27FC236}">
                    <a16:creationId xmlns:a16="http://schemas.microsoft.com/office/drawing/2014/main" id="{DCC7D375-C1C5-4F93-89EC-9A3CB3317CC7}"/>
                  </a:ext>
                </a:extLst>
              </p:cNvPr>
              <p:cNvPicPr/>
              <p:nvPr/>
            </p:nvPicPr>
            <p:blipFill>
              <a:blip r:embed="rId4"/>
              <a:stretch>
                <a:fillRect/>
              </a:stretch>
            </p:blipFill>
            <p:spPr>
              <a:xfrm>
                <a:off x="2443320" y="1309680"/>
                <a:ext cx="5996160" cy="2067120"/>
              </a:xfrm>
              <a:prstGeom prst="rect">
                <a:avLst/>
              </a:prstGeom>
            </p:spPr>
          </p:pic>
        </mc:Fallback>
      </mc:AlternateContent>
    </p:spTree>
    <p:extLst>
      <p:ext uri="{BB962C8B-B14F-4D97-AF65-F5344CB8AC3E}">
        <p14:creationId xmlns:p14="http://schemas.microsoft.com/office/powerpoint/2010/main" val="3098595869"/>
      </p:ext>
    </p:extLst>
  </p:cSld>
  <p:clrMapOvr>
    <a:masterClrMapping/>
  </p:clrMapOvr>
  <p:transition spd="med">
    <p:wipe dir="r"/>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A9319C-B967-4DBC-B577-C36D61D4087E}"/>
              </a:ext>
            </a:extLst>
          </p:cNvPr>
          <p:cNvSpPr>
            <a:spLocks noGrp="1"/>
          </p:cNvSpPr>
          <p:nvPr>
            <p:ph type="title"/>
          </p:nvPr>
        </p:nvSpPr>
        <p:spPr>
          <a:xfrm>
            <a:off x="0" y="0"/>
            <a:ext cx="7280299" cy="640080"/>
          </a:xfrm>
        </p:spPr>
        <p:txBody>
          <a:bodyPr>
            <a:normAutofit/>
          </a:bodyPr>
          <a:lstStyle/>
          <a:p>
            <a:r>
              <a:rPr lang="en-US" sz="2200" dirty="0"/>
              <a:t>Difference between Bar chart and Histogram?</a:t>
            </a:r>
            <a:br>
              <a:rPr lang="en-US" sz="1500" dirty="0"/>
            </a:br>
            <a:endParaRPr lang="en-US" sz="1500" dirty="0"/>
          </a:p>
        </p:txBody>
      </p:sp>
      <p:pic>
        <p:nvPicPr>
          <p:cNvPr id="4" name="Picture 3">
            <a:extLst>
              <a:ext uri="{FF2B5EF4-FFF2-40B4-BE49-F238E27FC236}">
                <a16:creationId xmlns:a16="http://schemas.microsoft.com/office/drawing/2014/main" id="{2C7EC81D-861C-48BD-A0A8-B2F91ABA3322}"/>
              </a:ext>
            </a:extLst>
          </p:cNvPr>
          <p:cNvPicPr>
            <a:picLocks noChangeAspect="1"/>
          </p:cNvPicPr>
          <p:nvPr/>
        </p:nvPicPr>
        <p:blipFill>
          <a:blip r:embed="rId2"/>
          <a:stretch>
            <a:fillRect/>
          </a:stretch>
        </p:blipFill>
        <p:spPr>
          <a:xfrm>
            <a:off x="1307381" y="604652"/>
            <a:ext cx="3774169" cy="1537974"/>
          </a:xfrm>
          <a:prstGeom prst="rect">
            <a:avLst/>
          </a:prstGeom>
          <a:noFill/>
        </p:spPr>
      </p:pic>
      <p:pic>
        <p:nvPicPr>
          <p:cNvPr id="5" name="Picture 4">
            <a:extLst>
              <a:ext uri="{FF2B5EF4-FFF2-40B4-BE49-F238E27FC236}">
                <a16:creationId xmlns:a16="http://schemas.microsoft.com/office/drawing/2014/main" id="{AF69502C-67C4-4044-81C1-D6941ED26107}"/>
              </a:ext>
            </a:extLst>
          </p:cNvPr>
          <p:cNvPicPr>
            <a:picLocks noChangeAspect="1"/>
          </p:cNvPicPr>
          <p:nvPr/>
        </p:nvPicPr>
        <p:blipFill>
          <a:blip r:embed="rId3"/>
          <a:stretch>
            <a:fillRect/>
          </a:stretch>
        </p:blipFill>
        <p:spPr>
          <a:xfrm>
            <a:off x="583908" y="2304396"/>
            <a:ext cx="5321300" cy="2419350"/>
          </a:xfrm>
          <a:prstGeom prst="rect">
            <a:avLst/>
          </a:prstGeom>
        </p:spPr>
      </p:pic>
      <p:sp>
        <p:nvSpPr>
          <p:cNvPr id="6" name="TextBox 5">
            <a:extLst>
              <a:ext uri="{FF2B5EF4-FFF2-40B4-BE49-F238E27FC236}">
                <a16:creationId xmlns:a16="http://schemas.microsoft.com/office/drawing/2014/main" id="{20129627-80D3-4973-A282-9C67B56BC036}"/>
              </a:ext>
            </a:extLst>
          </p:cNvPr>
          <p:cNvSpPr txBox="1"/>
          <p:nvPr/>
        </p:nvSpPr>
        <p:spPr>
          <a:xfrm>
            <a:off x="5451499" y="565726"/>
            <a:ext cx="3471227" cy="1615827"/>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Histograms are a great way to show results of </a:t>
            </a:r>
            <a:r>
              <a:rPr lang="en-US" sz="1100" b="0" i="0" dirty="0">
                <a:solidFill>
                  <a:srgbClr val="333333"/>
                </a:solidFill>
                <a:effectLst/>
                <a:latin typeface="Verdana" panose="020B0604030504040204" pitchFamily="34" charset="0"/>
                <a:hlinkClick r:id="rId4"/>
              </a:rPr>
              <a:t>continuous data</a:t>
            </a:r>
            <a:r>
              <a:rPr lang="en-US" sz="1100" b="0" i="0" dirty="0">
                <a:solidFill>
                  <a:srgbClr val="333333"/>
                </a:solidFill>
                <a:effectLst/>
                <a:latin typeface="Verdana" panose="020B0604030504040204" pitchFamily="34" charset="0"/>
              </a:rPr>
              <a:t>, such as:</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weight</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height</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how much time</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etc.</a:t>
            </a:r>
          </a:p>
          <a:p>
            <a:pPr algn="l"/>
            <a:r>
              <a:rPr lang="en-US" sz="1100" b="0" i="0" dirty="0">
                <a:solidFill>
                  <a:srgbClr val="333333"/>
                </a:solidFill>
                <a:effectLst/>
                <a:latin typeface="Verdana" panose="020B0604030504040204" pitchFamily="34" charset="0"/>
              </a:rPr>
              <a:t>But when the data is in </a:t>
            </a:r>
            <a:r>
              <a:rPr lang="en-US" sz="1100" b="1" i="0" dirty="0">
                <a:solidFill>
                  <a:srgbClr val="333333"/>
                </a:solidFill>
                <a:effectLst/>
                <a:latin typeface="Verdana" panose="020B0604030504040204" pitchFamily="34" charset="0"/>
              </a:rPr>
              <a:t>categories</a:t>
            </a:r>
            <a:r>
              <a:rPr lang="en-US" sz="1100" b="0" i="0" dirty="0">
                <a:solidFill>
                  <a:srgbClr val="333333"/>
                </a:solidFill>
                <a:effectLst/>
                <a:latin typeface="Verdana" panose="020B0604030504040204" pitchFamily="34" charset="0"/>
              </a:rPr>
              <a:t> (such as Country or </a:t>
            </a:r>
            <a:r>
              <a:rPr lang="en-US" sz="1100" b="0" i="0" dirty="0" err="1">
                <a:solidFill>
                  <a:srgbClr val="333333"/>
                </a:solidFill>
                <a:effectLst/>
                <a:latin typeface="Verdana" panose="020B0604030504040204" pitchFamily="34" charset="0"/>
              </a:rPr>
              <a:t>Favourite</a:t>
            </a:r>
            <a:r>
              <a:rPr lang="en-US" sz="1100" b="0" i="0" dirty="0">
                <a:solidFill>
                  <a:srgbClr val="333333"/>
                </a:solidFill>
                <a:effectLst/>
                <a:latin typeface="Verdana" panose="020B0604030504040204" pitchFamily="34" charset="0"/>
              </a:rPr>
              <a:t> Movie), we should use a </a:t>
            </a:r>
            <a:r>
              <a:rPr lang="en-US" sz="1100" b="0" i="0" dirty="0">
                <a:solidFill>
                  <a:srgbClr val="333333"/>
                </a:solidFill>
                <a:effectLst/>
                <a:latin typeface="Verdana" panose="020B0604030504040204" pitchFamily="34" charset="0"/>
                <a:hlinkClick r:id="rId5"/>
              </a:rPr>
              <a:t>Bar Chart</a:t>
            </a:r>
            <a:r>
              <a:rPr lang="en-US" sz="1100" b="0" i="0" dirty="0">
                <a:solidFill>
                  <a:srgbClr val="333333"/>
                </a:solidFill>
                <a:effectLst/>
                <a:latin typeface="Verdana" panose="020B0604030504040204" pitchFamily="34" charset="0"/>
              </a:rPr>
              <a:t>.</a:t>
            </a:r>
          </a:p>
        </p:txBody>
      </p:sp>
      <mc:AlternateContent xmlns:mc="http://schemas.openxmlformats.org/markup-compatibility/2006" xmlns:p14="http://schemas.microsoft.com/office/powerpoint/2010/main">
        <mc:Choice Requires="p14">
          <p:contentPart p14:bwMode="auto" r:id="rId6">
            <p14:nvContentPartPr>
              <p14:cNvPr id="3" name="Ink 2">
                <a:extLst>
                  <a:ext uri="{FF2B5EF4-FFF2-40B4-BE49-F238E27FC236}">
                    <a16:creationId xmlns:a16="http://schemas.microsoft.com/office/drawing/2014/main" id="{AEC73E12-3243-480E-B30E-15A263C48EF7}"/>
                  </a:ext>
                </a:extLst>
              </p14:cNvPr>
              <p14:cNvContentPartPr/>
              <p14:nvPr/>
            </p14:nvContentPartPr>
            <p14:xfrm>
              <a:off x="195120" y="76320"/>
              <a:ext cx="8735040" cy="4448520"/>
            </p14:xfrm>
          </p:contentPart>
        </mc:Choice>
        <mc:Fallback xmlns="">
          <p:pic>
            <p:nvPicPr>
              <p:cNvPr id="3" name="Ink 2">
                <a:extLst>
                  <a:ext uri="{FF2B5EF4-FFF2-40B4-BE49-F238E27FC236}">
                    <a16:creationId xmlns:a16="http://schemas.microsoft.com/office/drawing/2014/main" id="{AEC73E12-3243-480E-B30E-15A263C48EF7}"/>
                  </a:ext>
                </a:extLst>
              </p:cNvPr>
              <p:cNvPicPr/>
              <p:nvPr/>
            </p:nvPicPr>
            <p:blipFill>
              <a:blip r:embed="rId7"/>
              <a:stretch>
                <a:fillRect/>
              </a:stretch>
            </p:blipFill>
            <p:spPr>
              <a:xfrm>
                <a:off x="185760" y="66960"/>
                <a:ext cx="8753760" cy="4467240"/>
              </a:xfrm>
              <a:prstGeom prst="rect">
                <a:avLst/>
              </a:prstGeom>
            </p:spPr>
          </p:pic>
        </mc:Fallback>
      </mc:AlternateContent>
    </p:spTree>
    <p:extLst>
      <p:ext uri="{BB962C8B-B14F-4D97-AF65-F5344CB8AC3E}">
        <p14:creationId xmlns:p14="http://schemas.microsoft.com/office/powerpoint/2010/main" val="209970773"/>
      </p:ext>
    </p:extLst>
  </p:cSld>
  <p:clrMapOvr>
    <a:masterClrMapping/>
  </p:clrMapOvr>
  <p:transition spd="med">
    <p:wipe dir="r"/>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FF00B5-B4A0-49F0-B8B8-411104EA6D5A}"/>
              </a:ext>
            </a:extLst>
          </p:cNvPr>
          <p:cNvSpPr>
            <a:spLocks noGrp="1"/>
          </p:cNvSpPr>
          <p:nvPr>
            <p:ph type="title"/>
          </p:nvPr>
        </p:nvSpPr>
        <p:spPr>
          <a:xfrm>
            <a:off x="0" y="22860"/>
            <a:ext cx="4295219" cy="640080"/>
          </a:xfrm>
        </p:spPr>
        <p:txBody>
          <a:bodyPr/>
          <a:lstStyle/>
          <a:p>
            <a:r>
              <a:rPr lang="en-US" dirty="0"/>
              <a:t>Frequency Histogram</a:t>
            </a:r>
          </a:p>
        </p:txBody>
      </p:sp>
      <p:sp>
        <p:nvSpPr>
          <p:cNvPr id="3" name="Content Placeholder 2">
            <a:extLst>
              <a:ext uri="{FF2B5EF4-FFF2-40B4-BE49-F238E27FC236}">
                <a16:creationId xmlns:a16="http://schemas.microsoft.com/office/drawing/2014/main" id="{DEEEA18E-63DE-4CC5-A149-9DD21D04AE4B}"/>
              </a:ext>
            </a:extLst>
          </p:cNvPr>
          <p:cNvSpPr>
            <a:spLocks noGrp="1"/>
          </p:cNvSpPr>
          <p:nvPr>
            <p:ph sz="half" idx="13"/>
          </p:nvPr>
        </p:nvSpPr>
        <p:spPr>
          <a:xfrm>
            <a:off x="162637" y="1021894"/>
            <a:ext cx="8122804" cy="3200400"/>
          </a:xfrm>
        </p:spPr>
        <p:txBody>
          <a:bodyPr/>
          <a:lstStyle/>
          <a:p>
            <a:r>
              <a:rPr lang="en-US" b="0" i="0" dirty="0">
                <a:solidFill>
                  <a:srgbClr val="333333"/>
                </a:solidFill>
                <a:effectLst/>
                <a:latin typeface="Verdana" panose="020B0604030504040204" pitchFamily="34" charset="0"/>
              </a:rPr>
              <a:t>A Frequency Histogram is a special graph that uses vertical columns to show frequencies (how many times each score occurs):</a:t>
            </a:r>
            <a:endParaRPr lang="en-US" dirty="0"/>
          </a:p>
        </p:txBody>
      </p:sp>
      <p:pic>
        <p:nvPicPr>
          <p:cNvPr id="5" name="Picture 4">
            <a:extLst>
              <a:ext uri="{FF2B5EF4-FFF2-40B4-BE49-F238E27FC236}">
                <a16:creationId xmlns:a16="http://schemas.microsoft.com/office/drawing/2014/main" id="{F805CE92-2871-4815-B6D7-19282192ABEA}"/>
              </a:ext>
            </a:extLst>
          </p:cNvPr>
          <p:cNvPicPr>
            <a:picLocks noChangeAspect="1"/>
          </p:cNvPicPr>
          <p:nvPr/>
        </p:nvPicPr>
        <p:blipFill>
          <a:blip r:embed="rId2"/>
          <a:stretch>
            <a:fillRect/>
          </a:stretch>
        </p:blipFill>
        <p:spPr>
          <a:xfrm>
            <a:off x="2096940" y="1756207"/>
            <a:ext cx="2198279" cy="2365399"/>
          </a:xfrm>
          <a:prstGeom prst="rect">
            <a:avLst/>
          </a:prstGeom>
        </p:spPr>
      </p:pic>
      <p:sp>
        <p:nvSpPr>
          <p:cNvPr id="6" name="TextBox 5">
            <a:extLst>
              <a:ext uri="{FF2B5EF4-FFF2-40B4-BE49-F238E27FC236}">
                <a16:creationId xmlns:a16="http://schemas.microsoft.com/office/drawing/2014/main" id="{9F19E738-DFF2-4014-8A2C-7A2B1FE43B4A}"/>
              </a:ext>
            </a:extLst>
          </p:cNvPr>
          <p:cNvSpPr txBox="1"/>
          <p:nvPr/>
        </p:nvSpPr>
        <p:spPr>
          <a:xfrm>
            <a:off x="5514321" y="2324391"/>
            <a:ext cx="3148048" cy="769441"/>
          </a:xfrm>
          <a:prstGeom prst="rect">
            <a:avLst/>
          </a:prstGeom>
          <a:noFill/>
        </p:spPr>
        <p:txBody>
          <a:bodyPr wrap="square" rtlCol="0">
            <a:spAutoFit/>
          </a:bodyPr>
          <a:lstStyle/>
          <a:p>
            <a:pPr>
              <a:spcBef>
                <a:spcPts val="0"/>
              </a:spcBef>
              <a:spcAft>
                <a:spcPts val="0"/>
              </a:spcAft>
              <a:buClr>
                <a:schemeClr val="bg1"/>
              </a:buClr>
            </a:pPr>
            <a:r>
              <a:rPr lang="en-US" sz="1100" b="0" i="0" dirty="0">
                <a:solidFill>
                  <a:srgbClr val="333333"/>
                </a:solidFill>
                <a:effectLst/>
                <a:latin typeface="Verdana" panose="020B0604030504040204" pitchFamily="34" charset="0"/>
              </a:rPr>
              <a:t>Here I have added up how often 1 occurs (2 times),</a:t>
            </a:r>
            <a:br>
              <a:rPr lang="en-US" sz="1100" dirty="0"/>
            </a:br>
            <a:r>
              <a:rPr lang="en-US" sz="1100" b="0" i="0" dirty="0">
                <a:solidFill>
                  <a:srgbClr val="333333"/>
                </a:solidFill>
                <a:effectLst/>
                <a:latin typeface="Verdana" panose="020B0604030504040204" pitchFamily="34" charset="0"/>
              </a:rPr>
              <a:t>how often 2 occurs (5 times), </a:t>
            </a:r>
            <a:r>
              <a:rPr lang="en-US" sz="1100" b="0" i="0" dirty="0" err="1">
                <a:solidFill>
                  <a:srgbClr val="333333"/>
                </a:solidFill>
                <a:effectLst/>
                <a:latin typeface="Verdana" panose="020B0604030504040204" pitchFamily="34" charset="0"/>
              </a:rPr>
              <a:t>etc</a:t>
            </a:r>
            <a:r>
              <a:rPr lang="en-US" sz="1100" b="0" i="0" dirty="0">
                <a:solidFill>
                  <a:srgbClr val="333333"/>
                </a:solidFill>
                <a:effectLst/>
                <a:latin typeface="Verdana" panose="020B0604030504040204" pitchFamily="34" charset="0"/>
              </a:rPr>
              <a:t>,</a:t>
            </a:r>
            <a:br>
              <a:rPr lang="en-US" sz="1100" dirty="0"/>
            </a:br>
            <a:r>
              <a:rPr lang="en-US" sz="1100" b="0" i="0" dirty="0">
                <a:solidFill>
                  <a:srgbClr val="333333"/>
                </a:solidFill>
                <a:effectLst/>
                <a:latin typeface="Verdana" panose="020B0604030504040204" pitchFamily="34" charset="0"/>
              </a:rPr>
              <a:t>and shown them as a histogram.</a:t>
            </a:r>
            <a:endParaRPr lang="en-US" sz="1400" dirty="0">
              <a:solidFill>
                <a:schemeClr val="bg2"/>
              </a:solidFill>
              <a:latin typeface="+mn-lt"/>
            </a:endParaRPr>
          </a:p>
        </p:txBody>
      </p:sp>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15B82009-1704-4E27-B158-42C893F3500C}"/>
                  </a:ext>
                </a:extLst>
              </p14:cNvPr>
              <p14:cNvContentPartPr/>
              <p14:nvPr/>
            </p14:nvContentPartPr>
            <p14:xfrm>
              <a:off x="590400" y="457200"/>
              <a:ext cx="5806080" cy="4586760"/>
            </p14:xfrm>
          </p:contentPart>
        </mc:Choice>
        <mc:Fallback xmlns="">
          <p:pic>
            <p:nvPicPr>
              <p:cNvPr id="4" name="Ink 3">
                <a:extLst>
                  <a:ext uri="{FF2B5EF4-FFF2-40B4-BE49-F238E27FC236}">
                    <a16:creationId xmlns:a16="http://schemas.microsoft.com/office/drawing/2014/main" id="{15B82009-1704-4E27-B158-42C893F3500C}"/>
                  </a:ext>
                </a:extLst>
              </p:cNvPr>
              <p:cNvPicPr/>
              <p:nvPr/>
            </p:nvPicPr>
            <p:blipFill>
              <a:blip r:embed="rId4"/>
              <a:stretch>
                <a:fillRect/>
              </a:stretch>
            </p:blipFill>
            <p:spPr>
              <a:xfrm>
                <a:off x="581040" y="447840"/>
                <a:ext cx="5824800" cy="4605480"/>
              </a:xfrm>
              <a:prstGeom prst="rect">
                <a:avLst/>
              </a:prstGeom>
            </p:spPr>
          </p:pic>
        </mc:Fallback>
      </mc:AlternateContent>
    </p:spTree>
    <p:extLst>
      <p:ext uri="{BB962C8B-B14F-4D97-AF65-F5344CB8AC3E}">
        <p14:creationId xmlns:p14="http://schemas.microsoft.com/office/powerpoint/2010/main" val="2761370973"/>
      </p:ext>
    </p:extLst>
  </p:cSld>
  <p:clrMapOvr>
    <a:masterClrMapping/>
  </p:clrMapOvr>
  <p:transition spd="med">
    <p:wipe dir="r"/>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CE449-810C-4947-8A30-C5C6A047DDE9}"/>
              </a:ext>
            </a:extLst>
          </p:cNvPr>
          <p:cNvSpPr>
            <a:spLocks noGrp="1"/>
          </p:cNvSpPr>
          <p:nvPr>
            <p:ph type="title"/>
          </p:nvPr>
        </p:nvSpPr>
        <p:spPr>
          <a:xfrm>
            <a:off x="0" y="0"/>
            <a:ext cx="8298577" cy="640080"/>
          </a:xfrm>
        </p:spPr>
        <p:txBody>
          <a:bodyPr/>
          <a:lstStyle/>
          <a:p>
            <a:r>
              <a:rPr lang="en-US" dirty="0"/>
              <a:t>Normal Distribution</a:t>
            </a:r>
          </a:p>
        </p:txBody>
      </p:sp>
      <p:sp>
        <p:nvSpPr>
          <p:cNvPr id="3" name="Content Placeholder 2">
            <a:extLst>
              <a:ext uri="{FF2B5EF4-FFF2-40B4-BE49-F238E27FC236}">
                <a16:creationId xmlns:a16="http://schemas.microsoft.com/office/drawing/2014/main" id="{2B48B4E7-A91E-41DB-854D-B66CBEEBA92C}"/>
              </a:ext>
            </a:extLst>
          </p:cNvPr>
          <p:cNvSpPr>
            <a:spLocks noGrp="1"/>
          </p:cNvSpPr>
          <p:nvPr>
            <p:ph sz="half" idx="13"/>
          </p:nvPr>
        </p:nvSpPr>
        <p:spPr>
          <a:xfrm>
            <a:off x="0" y="547244"/>
            <a:ext cx="9065124" cy="3200400"/>
          </a:xfrm>
        </p:spPr>
        <p:txBody>
          <a:bodyPr/>
          <a:lstStyle/>
          <a:p>
            <a:r>
              <a:rPr lang="en-US" b="0" i="0" dirty="0">
                <a:solidFill>
                  <a:schemeClr val="bg2">
                    <a:lumMod val="50000"/>
                    <a:lumOff val="50000"/>
                  </a:schemeClr>
                </a:solidFill>
                <a:effectLst/>
                <a:latin typeface="Verdana" panose="020B0604030504040204" pitchFamily="34" charset="0"/>
              </a:rPr>
              <a:t>Data can be "distributed" (spread out) in different ways.</a:t>
            </a:r>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0B486642-3923-4FF0-9B98-6FC95566A6AA}"/>
              </a:ext>
            </a:extLst>
          </p:cNvPr>
          <p:cNvPicPr>
            <a:picLocks noChangeAspect="1"/>
          </p:cNvPicPr>
          <p:nvPr/>
        </p:nvPicPr>
        <p:blipFill>
          <a:blip r:embed="rId2"/>
          <a:stretch>
            <a:fillRect/>
          </a:stretch>
        </p:blipFill>
        <p:spPr>
          <a:xfrm>
            <a:off x="1131584" y="911681"/>
            <a:ext cx="3440416" cy="1677083"/>
          </a:xfrm>
          <a:prstGeom prst="rect">
            <a:avLst/>
          </a:prstGeom>
        </p:spPr>
      </p:pic>
      <p:pic>
        <p:nvPicPr>
          <p:cNvPr id="7" name="Picture 6">
            <a:extLst>
              <a:ext uri="{FF2B5EF4-FFF2-40B4-BE49-F238E27FC236}">
                <a16:creationId xmlns:a16="http://schemas.microsoft.com/office/drawing/2014/main" id="{B8949DF2-72CB-4E05-BB91-D4723A9CD9FD}"/>
              </a:ext>
            </a:extLst>
          </p:cNvPr>
          <p:cNvPicPr>
            <a:picLocks noChangeAspect="1"/>
          </p:cNvPicPr>
          <p:nvPr/>
        </p:nvPicPr>
        <p:blipFill>
          <a:blip r:embed="rId3"/>
          <a:stretch>
            <a:fillRect/>
          </a:stretch>
        </p:blipFill>
        <p:spPr>
          <a:xfrm>
            <a:off x="4771115" y="1076325"/>
            <a:ext cx="1566863" cy="1495425"/>
          </a:xfrm>
          <a:prstGeom prst="rect">
            <a:avLst/>
          </a:prstGeom>
        </p:spPr>
      </p:pic>
      <p:pic>
        <p:nvPicPr>
          <p:cNvPr id="9" name="Picture 8">
            <a:extLst>
              <a:ext uri="{FF2B5EF4-FFF2-40B4-BE49-F238E27FC236}">
                <a16:creationId xmlns:a16="http://schemas.microsoft.com/office/drawing/2014/main" id="{31EBBA0A-2C14-4CC3-BC2F-11A65B17871E}"/>
              </a:ext>
            </a:extLst>
          </p:cNvPr>
          <p:cNvPicPr>
            <a:picLocks noChangeAspect="1"/>
          </p:cNvPicPr>
          <p:nvPr/>
        </p:nvPicPr>
        <p:blipFill>
          <a:blip r:embed="rId4"/>
          <a:stretch>
            <a:fillRect/>
          </a:stretch>
        </p:blipFill>
        <p:spPr>
          <a:xfrm>
            <a:off x="1986552" y="3242908"/>
            <a:ext cx="3440416" cy="1648533"/>
          </a:xfrm>
          <a:prstGeom prst="rect">
            <a:avLst/>
          </a:prstGeom>
        </p:spPr>
      </p:pic>
      <p:sp>
        <p:nvSpPr>
          <p:cNvPr id="10" name="TextBox 9">
            <a:extLst>
              <a:ext uri="{FF2B5EF4-FFF2-40B4-BE49-F238E27FC236}">
                <a16:creationId xmlns:a16="http://schemas.microsoft.com/office/drawing/2014/main" id="{E9F194E7-7F64-4C16-9487-1D5CACD12279}"/>
              </a:ext>
            </a:extLst>
          </p:cNvPr>
          <p:cNvSpPr txBox="1"/>
          <p:nvPr/>
        </p:nvSpPr>
        <p:spPr>
          <a:xfrm>
            <a:off x="0" y="2860365"/>
            <a:ext cx="2205728"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Normal Distribution : </a:t>
            </a:r>
          </a:p>
        </p:txBody>
      </p:sp>
      <mc:AlternateContent xmlns:mc="http://schemas.openxmlformats.org/markup-compatibility/2006" xmlns:p14="http://schemas.microsoft.com/office/powerpoint/2010/main">
        <mc:Choice Requires="p14">
          <p:contentPart p14:bwMode="auto" r:id="rId5">
            <p14:nvContentPartPr>
              <p14:cNvPr id="4" name="Ink 3">
                <a:extLst>
                  <a:ext uri="{FF2B5EF4-FFF2-40B4-BE49-F238E27FC236}">
                    <a16:creationId xmlns:a16="http://schemas.microsoft.com/office/drawing/2014/main" id="{5E2BD48E-4F65-4FD9-B855-B74D1EA18057}"/>
                  </a:ext>
                </a:extLst>
              </p14:cNvPr>
              <p14:cNvContentPartPr/>
              <p14:nvPr/>
            </p14:nvContentPartPr>
            <p14:xfrm>
              <a:off x="419040" y="423720"/>
              <a:ext cx="8415720" cy="4472640"/>
            </p14:xfrm>
          </p:contentPart>
        </mc:Choice>
        <mc:Fallback xmlns="">
          <p:pic>
            <p:nvPicPr>
              <p:cNvPr id="4" name="Ink 3">
                <a:extLst>
                  <a:ext uri="{FF2B5EF4-FFF2-40B4-BE49-F238E27FC236}">
                    <a16:creationId xmlns:a16="http://schemas.microsoft.com/office/drawing/2014/main" id="{5E2BD48E-4F65-4FD9-B855-B74D1EA18057}"/>
                  </a:ext>
                </a:extLst>
              </p:cNvPr>
              <p:cNvPicPr/>
              <p:nvPr/>
            </p:nvPicPr>
            <p:blipFill>
              <a:blip r:embed="rId6"/>
              <a:stretch>
                <a:fillRect/>
              </a:stretch>
            </p:blipFill>
            <p:spPr>
              <a:xfrm>
                <a:off x="409680" y="414360"/>
                <a:ext cx="8434440" cy="4491360"/>
              </a:xfrm>
              <a:prstGeom prst="rect">
                <a:avLst/>
              </a:prstGeom>
            </p:spPr>
          </p:pic>
        </mc:Fallback>
      </mc:AlternateContent>
    </p:spTree>
    <p:extLst>
      <p:ext uri="{BB962C8B-B14F-4D97-AF65-F5344CB8AC3E}">
        <p14:creationId xmlns:p14="http://schemas.microsoft.com/office/powerpoint/2010/main" val="2608275495"/>
      </p:ext>
    </p:extLst>
  </p:cSld>
  <p:clrMapOvr>
    <a:masterClrMapping/>
  </p:clrMapOvr>
  <p:transition spd="med">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AD2AC30-CBBF-43EB-AF23-963B8A7A6A13}"/>
              </a:ext>
            </a:extLst>
          </p:cNvPr>
          <p:cNvSpPr/>
          <p:nvPr/>
        </p:nvSpPr>
        <p:spPr>
          <a:xfrm>
            <a:off x="132621" y="1777656"/>
            <a:ext cx="7545547" cy="483913"/>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pic>
        <p:nvPicPr>
          <p:cNvPr id="7" name="Picture 6" descr="A hand holding a sign&#10;&#10;Description automatically generated with low confidence">
            <a:extLst>
              <a:ext uri="{FF2B5EF4-FFF2-40B4-BE49-F238E27FC236}">
                <a16:creationId xmlns:a16="http://schemas.microsoft.com/office/drawing/2014/main" id="{E7CF08A8-2253-494F-B061-34EC8A35B25D}"/>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1442633" y="3365844"/>
            <a:ext cx="2237462" cy="1491641"/>
          </a:xfrm>
          <a:prstGeom prst="rect">
            <a:avLst/>
          </a:prstGeom>
        </p:spPr>
      </p:pic>
      <p:sp>
        <p:nvSpPr>
          <p:cNvPr id="2" name="Title 1">
            <a:extLst>
              <a:ext uri="{FF2B5EF4-FFF2-40B4-BE49-F238E27FC236}">
                <a16:creationId xmlns:a16="http://schemas.microsoft.com/office/drawing/2014/main" id="{0346C8A9-0ABB-4118-8AEB-EBEA4B84D459}"/>
              </a:ext>
            </a:extLst>
          </p:cNvPr>
          <p:cNvSpPr>
            <a:spLocks noGrp="1"/>
          </p:cNvSpPr>
          <p:nvPr>
            <p:ph type="title"/>
          </p:nvPr>
        </p:nvSpPr>
        <p:spPr>
          <a:xfrm>
            <a:off x="80166" y="52681"/>
            <a:ext cx="7955280" cy="640080"/>
          </a:xfrm>
        </p:spPr>
        <p:txBody>
          <a:bodyPr/>
          <a:lstStyle/>
          <a:p>
            <a:r>
              <a:rPr lang="en-US" dirty="0"/>
              <a:t>Population &amp; Sample</a:t>
            </a:r>
          </a:p>
        </p:txBody>
      </p:sp>
      <p:sp>
        <p:nvSpPr>
          <p:cNvPr id="3" name="Content Placeholder 2">
            <a:extLst>
              <a:ext uri="{FF2B5EF4-FFF2-40B4-BE49-F238E27FC236}">
                <a16:creationId xmlns:a16="http://schemas.microsoft.com/office/drawing/2014/main" id="{ED8E31E5-95A7-4252-A308-0E980CDDFA19}"/>
              </a:ext>
            </a:extLst>
          </p:cNvPr>
          <p:cNvSpPr>
            <a:spLocks noGrp="1"/>
          </p:cNvSpPr>
          <p:nvPr>
            <p:ph sz="half" idx="1"/>
          </p:nvPr>
        </p:nvSpPr>
        <p:spPr>
          <a:xfrm>
            <a:off x="80166" y="692761"/>
            <a:ext cx="7924386" cy="3200400"/>
          </a:xfrm>
        </p:spPr>
        <p:txBody>
          <a:bodyPr/>
          <a:lstStyle/>
          <a:p>
            <a:r>
              <a:rPr lang="en-US" dirty="0">
                <a:solidFill>
                  <a:schemeClr val="bg2">
                    <a:lumMod val="50000"/>
                    <a:lumOff val="50000"/>
                  </a:schemeClr>
                </a:solidFill>
              </a:rPr>
              <a:t>A </a:t>
            </a:r>
            <a:r>
              <a:rPr lang="en-US" b="1" dirty="0">
                <a:solidFill>
                  <a:schemeClr val="bg1"/>
                </a:solidFill>
              </a:rPr>
              <a:t>population</a:t>
            </a:r>
            <a:r>
              <a:rPr lang="en-US" dirty="0">
                <a:solidFill>
                  <a:schemeClr val="bg2">
                    <a:lumMod val="50000"/>
                    <a:lumOff val="50000"/>
                  </a:schemeClr>
                </a:solidFill>
              </a:rPr>
              <a:t> is the collection of all items of interest to our study and is usually denoted with an uppercase N.. The numbers we've obtained when using a population are called parameters..</a:t>
            </a:r>
          </a:p>
          <a:p>
            <a:r>
              <a:rPr lang="en-US" dirty="0">
                <a:solidFill>
                  <a:schemeClr val="bg2">
                    <a:lumMod val="50000"/>
                    <a:lumOff val="50000"/>
                  </a:schemeClr>
                </a:solidFill>
              </a:rPr>
              <a:t>A </a:t>
            </a:r>
            <a:r>
              <a:rPr lang="en-US" b="1" dirty="0">
                <a:solidFill>
                  <a:schemeClr val="bg1"/>
                </a:solidFill>
              </a:rPr>
              <a:t>sample</a:t>
            </a:r>
            <a:r>
              <a:rPr lang="en-US" dirty="0">
                <a:solidFill>
                  <a:schemeClr val="bg2">
                    <a:lumMod val="50000"/>
                    <a:lumOff val="50000"/>
                  </a:schemeClr>
                </a:solidFill>
              </a:rPr>
              <a:t> is a subset of the population and is denoted with a lowercase n and the numbers we've obtained when working with the sample are called statistics.</a:t>
            </a:r>
          </a:p>
        </p:txBody>
      </p:sp>
      <p:pic>
        <p:nvPicPr>
          <p:cNvPr id="5" name="Picture 4" descr="A picture containing tree, outdoor, sky, grass&#10;&#10;Description automatically generated">
            <a:extLst>
              <a:ext uri="{FF2B5EF4-FFF2-40B4-BE49-F238E27FC236}">
                <a16:creationId xmlns:a16="http://schemas.microsoft.com/office/drawing/2014/main" id="{431BA9D4-D8FA-4E00-8D33-B168C9712A2F}"/>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373330" y="2571750"/>
            <a:ext cx="2138607" cy="1247197"/>
          </a:xfrm>
          <a:prstGeom prst="rect">
            <a:avLst/>
          </a:prstGeom>
        </p:spPr>
      </p:pic>
      <p:pic>
        <p:nvPicPr>
          <p:cNvPr id="10" name="Picture 9">
            <a:extLst>
              <a:ext uri="{FF2B5EF4-FFF2-40B4-BE49-F238E27FC236}">
                <a16:creationId xmlns:a16="http://schemas.microsoft.com/office/drawing/2014/main" id="{356CE689-21BC-4E4B-B48F-87112F3A0EA6}"/>
              </a:ext>
            </a:extLst>
          </p:cNvPr>
          <p:cNvPicPr>
            <a:picLocks noChangeAspect="1"/>
          </p:cNvPicPr>
          <p:nvPr/>
        </p:nvPicPr>
        <p:blipFill>
          <a:blip r:embed="rId6"/>
          <a:stretch>
            <a:fillRect/>
          </a:stretch>
        </p:blipFill>
        <p:spPr>
          <a:xfrm>
            <a:off x="4481048" y="2411832"/>
            <a:ext cx="4324457" cy="2378765"/>
          </a:xfrm>
          <a:prstGeom prst="rect">
            <a:avLst/>
          </a:prstGeom>
        </p:spPr>
      </p:pic>
      <p:sp>
        <p:nvSpPr>
          <p:cNvPr id="11" name="TextBox 10">
            <a:extLst>
              <a:ext uri="{FF2B5EF4-FFF2-40B4-BE49-F238E27FC236}">
                <a16:creationId xmlns:a16="http://schemas.microsoft.com/office/drawing/2014/main" id="{828B196D-C3C6-48AA-BBC5-176FE77028BF}"/>
              </a:ext>
            </a:extLst>
          </p:cNvPr>
          <p:cNvSpPr txBox="1"/>
          <p:nvPr/>
        </p:nvSpPr>
        <p:spPr>
          <a:xfrm>
            <a:off x="132622" y="1777656"/>
            <a:ext cx="7598002"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tx2"/>
                </a:solidFill>
                <a:latin typeface="Arial" panose="020B0604020202020204" pitchFamily="34" charset="0"/>
                <a:cs typeface="Arial" panose="020B0604020202020204" pitchFamily="34" charset="0"/>
              </a:rPr>
              <a:t>Example : Let's say we want to perform a survey of the job prospects of the students studying in the New York University, what is the population?</a:t>
            </a:r>
          </a:p>
          <a:p>
            <a:pPr>
              <a:spcBef>
                <a:spcPts val="0"/>
              </a:spcBef>
              <a:spcAft>
                <a:spcPts val="0"/>
              </a:spcAft>
              <a:buClr>
                <a:schemeClr val="bg1"/>
              </a:buClr>
            </a:pPr>
            <a:r>
              <a:rPr lang="en-US" sz="1400" dirty="0">
                <a:solidFill>
                  <a:schemeClr val="bg2"/>
                </a:solidFill>
                <a:latin typeface="+mn-lt"/>
              </a:rPr>
              <a:t> </a:t>
            </a:r>
          </a:p>
        </p:txBody>
      </p:sp>
    </p:spTree>
    <p:extLst>
      <p:ext uri="{BB962C8B-B14F-4D97-AF65-F5344CB8AC3E}">
        <p14:creationId xmlns:p14="http://schemas.microsoft.com/office/powerpoint/2010/main" val="1833670930"/>
      </p:ext>
    </p:extLst>
  </p:cSld>
  <p:clrMapOvr>
    <a:masterClrMapping/>
  </p:clrMapOvr>
  <p:transition spd="med">
    <p:wipe dir="r"/>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66639C-8CEC-428A-9B08-0BF1C8C1A8AE}"/>
              </a:ext>
            </a:extLst>
          </p:cNvPr>
          <p:cNvSpPr>
            <a:spLocks noGrp="1"/>
          </p:cNvSpPr>
          <p:nvPr>
            <p:ph type="title"/>
          </p:nvPr>
        </p:nvSpPr>
        <p:spPr>
          <a:xfrm>
            <a:off x="0" y="0"/>
            <a:ext cx="7782046" cy="640080"/>
          </a:xfrm>
        </p:spPr>
        <p:txBody>
          <a:bodyPr/>
          <a:lstStyle/>
          <a:p>
            <a:r>
              <a:rPr lang="en-US" dirty="0"/>
              <a:t>Normal Distribution - Continued</a:t>
            </a:r>
          </a:p>
        </p:txBody>
      </p:sp>
      <p:sp>
        <p:nvSpPr>
          <p:cNvPr id="3" name="Content Placeholder 2">
            <a:extLst>
              <a:ext uri="{FF2B5EF4-FFF2-40B4-BE49-F238E27FC236}">
                <a16:creationId xmlns:a16="http://schemas.microsoft.com/office/drawing/2014/main" id="{D6C06C03-2BE3-4DB4-AD24-8584747C8398}"/>
              </a:ext>
            </a:extLst>
          </p:cNvPr>
          <p:cNvSpPr>
            <a:spLocks noGrp="1"/>
          </p:cNvSpPr>
          <p:nvPr>
            <p:ph sz="half" idx="13"/>
          </p:nvPr>
        </p:nvSpPr>
        <p:spPr>
          <a:xfrm>
            <a:off x="57935" y="640080"/>
            <a:ext cx="7962260" cy="3200400"/>
          </a:xfrm>
        </p:spPr>
        <p:txBody>
          <a:bodyPr/>
          <a:lstStyle/>
          <a:p>
            <a:r>
              <a:rPr lang="en-US" b="0" i="0" dirty="0">
                <a:solidFill>
                  <a:srgbClr val="333333"/>
                </a:solidFill>
                <a:effectLst/>
                <a:latin typeface="Verdana" panose="020B0604030504040204" pitchFamily="34" charset="0"/>
              </a:rPr>
              <a:t>It is often called a "Bell Curve“ because it looks like a bell.</a:t>
            </a:r>
            <a:endParaRPr lang="en-US" dirty="0">
              <a:solidFill>
                <a:srgbClr val="333333"/>
              </a:solidFill>
              <a:latin typeface="Verdana" panose="020B0604030504040204" pitchFamily="34" charset="0"/>
            </a:endParaRPr>
          </a:p>
          <a:p>
            <a:pPr algn="l"/>
            <a:r>
              <a:rPr lang="en-US" b="0" i="0" dirty="0">
                <a:solidFill>
                  <a:srgbClr val="333333"/>
                </a:solidFill>
                <a:effectLst/>
                <a:latin typeface="Verdana" panose="020B0604030504040204" pitchFamily="34" charset="0"/>
              </a:rPr>
              <a:t>Many things closely follow a Normal Distribution:</a:t>
            </a:r>
          </a:p>
          <a:p>
            <a:pPr lvl="1">
              <a:buFont typeface="Arial" panose="020B0604020202020204" pitchFamily="34" charset="0"/>
              <a:buChar char="•"/>
            </a:pPr>
            <a:r>
              <a:rPr lang="en-US" b="0" i="0" dirty="0">
                <a:solidFill>
                  <a:srgbClr val="333333"/>
                </a:solidFill>
                <a:effectLst/>
                <a:latin typeface="Verdana" panose="020B0604030504040204" pitchFamily="34" charset="0"/>
              </a:rPr>
              <a:t>heights of people</a:t>
            </a:r>
          </a:p>
          <a:p>
            <a:pPr lvl="1">
              <a:buFont typeface="Arial" panose="020B0604020202020204" pitchFamily="34" charset="0"/>
              <a:buChar char="•"/>
            </a:pPr>
            <a:r>
              <a:rPr lang="en-US" b="0" i="0" dirty="0">
                <a:solidFill>
                  <a:srgbClr val="333333"/>
                </a:solidFill>
                <a:effectLst/>
                <a:latin typeface="Verdana" panose="020B0604030504040204" pitchFamily="34" charset="0"/>
              </a:rPr>
              <a:t>size of things produced by machines</a:t>
            </a:r>
          </a:p>
          <a:p>
            <a:pPr lvl="1">
              <a:buFont typeface="Arial" panose="020B0604020202020204" pitchFamily="34" charset="0"/>
              <a:buChar char="•"/>
            </a:pPr>
            <a:r>
              <a:rPr lang="en-US" b="0" i="0" dirty="0">
                <a:solidFill>
                  <a:srgbClr val="333333"/>
                </a:solidFill>
                <a:effectLst/>
                <a:latin typeface="Verdana" panose="020B0604030504040204" pitchFamily="34" charset="0"/>
              </a:rPr>
              <a:t>errors in measurements</a:t>
            </a:r>
          </a:p>
          <a:p>
            <a:pPr lvl="1">
              <a:buFont typeface="Arial" panose="020B0604020202020204" pitchFamily="34" charset="0"/>
              <a:buChar char="•"/>
            </a:pPr>
            <a:r>
              <a:rPr lang="en-US" b="0" i="0" dirty="0">
                <a:solidFill>
                  <a:srgbClr val="333333"/>
                </a:solidFill>
                <a:effectLst/>
                <a:latin typeface="Verdana" panose="020B0604030504040204" pitchFamily="34" charset="0"/>
              </a:rPr>
              <a:t>blood pressure</a:t>
            </a:r>
          </a:p>
          <a:p>
            <a:pPr lvl="1">
              <a:buFont typeface="Arial" panose="020B0604020202020204" pitchFamily="34" charset="0"/>
              <a:buChar char="•"/>
            </a:pPr>
            <a:r>
              <a:rPr lang="en-US" b="0" i="0" dirty="0">
                <a:solidFill>
                  <a:srgbClr val="333333"/>
                </a:solidFill>
                <a:effectLst/>
                <a:latin typeface="Verdana" panose="020B0604030504040204" pitchFamily="34" charset="0"/>
              </a:rPr>
              <a:t>marks on a test</a:t>
            </a:r>
          </a:p>
          <a:p>
            <a:endParaRPr lang="en-US" dirty="0"/>
          </a:p>
        </p:txBody>
      </p:sp>
      <p:pic>
        <p:nvPicPr>
          <p:cNvPr id="5" name="Picture 4">
            <a:extLst>
              <a:ext uri="{FF2B5EF4-FFF2-40B4-BE49-F238E27FC236}">
                <a16:creationId xmlns:a16="http://schemas.microsoft.com/office/drawing/2014/main" id="{323A7D53-51A0-43DB-B005-CF90D9BB7DFE}"/>
              </a:ext>
            </a:extLst>
          </p:cNvPr>
          <p:cNvPicPr>
            <a:picLocks noChangeAspect="1"/>
          </p:cNvPicPr>
          <p:nvPr/>
        </p:nvPicPr>
        <p:blipFill>
          <a:blip r:embed="rId2"/>
          <a:stretch>
            <a:fillRect/>
          </a:stretch>
        </p:blipFill>
        <p:spPr>
          <a:xfrm>
            <a:off x="1123805" y="2571750"/>
            <a:ext cx="5402732" cy="1931670"/>
          </a:xfrm>
          <a:prstGeom prst="rect">
            <a:avLst/>
          </a:prstGeom>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859818D2-8F7C-43F1-B171-35703189EB0F}"/>
                  </a:ext>
                </a:extLst>
              </p14:cNvPr>
              <p14:cNvContentPartPr/>
              <p14:nvPr/>
            </p14:nvContentPartPr>
            <p14:xfrm>
              <a:off x="428760" y="152280"/>
              <a:ext cx="7691760" cy="4644000"/>
            </p14:xfrm>
          </p:contentPart>
        </mc:Choice>
        <mc:Fallback xmlns="">
          <p:pic>
            <p:nvPicPr>
              <p:cNvPr id="4" name="Ink 3">
                <a:extLst>
                  <a:ext uri="{FF2B5EF4-FFF2-40B4-BE49-F238E27FC236}">
                    <a16:creationId xmlns:a16="http://schemas.microsoft.com/office/drawing/2014/main" id="{859818D2-8F7C-43F1-B171-35703189EB0F}"/>
                  </a:ext>
                </a:extLst>
              </p:cNvPr>
              <p:cNvPicPr/>
              <p:nvPr/>
            </p:nvPicPr>
            <p:blipFill>
              <a:blip r:embed="rId4"/>
              <a:stretch>
                <a:fillRect/>
              </a:stretch>
            </p:blipFill>
            <p:spPr>
              <a:xfrm>
                <a:off x="419400" y="142920"/>
                <a:ext cx="7710480" cy="4662720"/>
              </a:xfrm>
              <a:prstGeom prst="rect">
                <a:avLst/>
              </a:prstGeom>
            </p:spPr>
          </p:pic>
        </mc:Fallback>
      </mc:AlternateContent>
    </p:spTree>
    <p:extLst>
      <p:ext uri="{BB962C8B-B14F-4D97-AF65-F5344CB8AC3E}">
        <p14:creationId xmlns:p14="http://schemas.microsoft.com/office/powerpoint/2010/main" val="1274034444"/>
      </p:ext>
    </p:extLst>
  </p:cSld>
  <p:clrMapOvr>
    <a:masterClrMapping/>
  </p:clrMapOvr>
  <p:transition spd="med">
    <p:wipe dir="r"/>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76DBB-8ECF-4567-A38D-5A24476D6577}"/>
              </a:ext>
            </a:extLst>
          </p:cNvPr>
          <p:cNvSpPr>
            <a:spLocks noGrp="1"/>
          </p:cNvSpPr>
          <p:nvPr>
            <p:ph type="title"/>
          </p:nvPr>
        </p:nvSpPr>
        <p:spPr>
          <a:xfrm>
            <a:off x="0" y="22860"/>
            <a:ext cx="8598724" cy="640080"/>
          </a:xfrm>
        </p:spPr>
        <p:txBody>
          <a:bodyPr/>
          <a:lstStyle/>
          <a:p>
            <a:r>
              <a:rPr lang="en-US" dirty="0"/>
              <a:t>Correlation</a:t>
            </a:r>
          </a:p>
        </p:txBody>
      </p:sp>
      <p:sp>
        <p:nvSpPr>
          <p:cNvPr id="3" name="Content Placeholder 2">
            <a:extLst>
              <a:ext uri="{FF2B5EF4-FFF2-40B4-BE49-F238E27FC236}">
                <a16:creationId xmlns:a16="http://schemas.microsoft.com/office/drawing/2014/main" id="{B7539B1F-DF25-4AA4-977D-D1A34E8A7D99}"/>
              </a:ext>
            </a:extLst>
          </p:cNvPr>
          <p:cNvSpPr>
            <a:spLocks noGrp="1"/>
          </p:cNvSpPr>
          <p:nvPr>
            <p:ph sz="half" idx="13"/>
          </p:nvPr>
        </p:nvSpPr>
        <p:spPr>
          <a:xfrm>
            <a:off x="0" y="505363"/>
            <a:ext cx="8918541" cy="3200400"/>
          </a:xfrm>
        </p:spPr>
        <p:txBody>
          <a:bodyPr/>
          <a:lstStyle/>
          <a:p>
            <a:r>
              <a:rPr lang="en-US" b="0" i="0" dirty="0">
                <a:solidFill>
                  <a:schemeClr val="bg2">
                    <a:lumMod val="50000"/>
                    <a:lumOff val="50000"/>
                  </a:schemeClr>
                </a:solidFill>
                <a:effectLst/>
                <a:latin typeface="Verdana" panose="020B0604030504040204" pitchFamily="34" charset="0"/>
              </a:rPr>
              <a:t>When two sets of data are strongly linked together, we say they have a </a:t>
            </a:r>
            <a:r>
              <a:rPr lang="en-US" b="1" i="0" dirty="0">
                <a:solidFill>
                  <a:schemeClr val="bg2">
                    <a:lumMod val="50000"/>
                    <a:lumOff val="50000"/>
                  </a:schemeClr>
                </a:solidFill>
                <a:effectLst/>
                <a:latin typeface="Verdana" panose="020B0604030504040204" pitchFamily="34" charset="0"/>
              </a:rPr>
              <a:t>High Correlation</a:t>
            </a:r>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87DB1435-794D-4ED8-9D47-3925A9A143B1}"/>
              </a:ext>
            </a:extLst>
          </p:cNvPr>
          <p:cNvPicPr>
            <a:picLocks noChangeAspect="1"/>
          </p:cNvPicPr>
          <p:nvPr/>
        </p:nvPicPr>
        <p:blipFill>
          <a:blip r:embed="rId2"/>
          <a:stretch>
            <a:fillRect/>
          </a:stretch>
        </p:blipFill>
        <p:spPr>
          <a:xfrm>
            <a:off x="481667" y="794865"/>
            <a:ext cx="4467225" cy="2171700"/>
          </a:xfrm>
          <a:prstGeom prst="rect">
            <a:avLst/>
          </a:prstGeom>
        </p:spPr>
      </p:pic>
      <p:pic>
        <p:nvPicPr>
          <p:cNvPr id="7" name="Picture 6">
            <a:extLst>
              <a:ext uri="{FF2B5EF4-FFF2-40B4-BE49-F238E27FC236}">
                <a16:creationId xmlns:a16="http://schemas.microsoft.com/office/drawing/2014/main" id="{DE30AE90-61F3-4883-93FA-EA1B18A2BD3C}"/>
              </a:ext>
            </a:extLst>
          </p:cNvPr>
          <p:cNvPicPr>
            <a:picLocks noChangeAspect="1"/>
          </p:cNvPicPr>
          <p:nvPr/>
        </p:nvPicPr>
        <p:blipFill>
          <a:blip r:embed="rId3"/>
          <a:stretch>
            <a:fillRect/>
          </a:stretch>
        </p:blipFill>
        <p:spPr>
          <a:xfrm>
            <a:off x="5094349" y="794865"/>
            <a:ext cx="1524000" cy="2114550"/>
          </a:xfrm>
          <a:prstGeom prst="rect">
            <a:avLst/>
          </a:prstGeom>
        </p:spPr>
      </p:pic>
      <p:pic>
        <p:nvPicPr>
          <p:cNvPr id="9" name="Picture 8">
            <a:extLst>
              <a:ext uri="{FF2B5EF4-FFF2-40B4-BE49-F238E27FC236}">
                <a16:creationId xmlns:a16="http://schemas.microsoft.com/office/drawing/2014/main" id="{340E5063-21FB-4C74-8F96-B906EFD88A76}"/>
              </a:ext>
            </a:extLst>
          </p:cNvPr>
          <p:cNvPicPr>
            <a:picLocks noChangeAspect="1"/>
          </p:cNvPicPr>
          <p:nvPr/>
        </p:nvPicPr>
        <p:blipFill>
          <a:blip r:embed="rId4"/>
          <a:stretch>
            <a:fillRect/>
          </a:stretch>
        </p:blipFill>
        <p:spPr>
          <a:xfrm>
            <a:off x="1785465" y="3000375"/>
            <a:ext cx="3896379" cy="1992467"/>
          </a:xfrm>
          <a:prstGeom prst="rect">
            <a:avLst/>
          </a:prstGeom>
        </p:spPr>
      </p:pic>
      <mc:AlternateContent xmlns:mc="http://schemas.openxmlformats.org/markup-compatibility/2006" xmlns:p14="http://schemas.microsoft.com/office/powerpoint/2010/main">
        <mc:Choice Requires="p14">
          <p:contentPart p14:bwMode="auto" r:id="rId5">
            <p14:nvContentPartPr>
              <p14:cNvPr id="4" name="Ink 3">
                <a:extLst>
                  <a:ext uri="{FF2B5EF4-FFF2-40B4-BE49-F238E27FC236}">
                    <a16:creationId xmlns:a16="http://schemas.microsoft.com/office/drawing/2014/main" id="{EF19A288-430D-4486-B1EC-450F867573C0}"/>
                  </a:ext>
                </a:extLst>
              </p14:cNvPr>
              <p14:cNvContentPartPr/>
              <p14:nvPr/>
            </p14:nvContentPartPr>
            <p14:xfrm>
              <a:off x="0" y="0"/>
              <a:ext cx="8934840" cy="5139000"/>
            </p14:xfrm>
          </p:contentPart>
        </mc:Choice>
        <mc:Fallback xmlns="">
          <p:pic>
            <p:nvPicPr>
              <p:cNvPr id="4" name="Ink 3">
                <a:extLst>
                  <a:ext uri="{FF2B5EF4-FFF2-40B4-BE49-F238E27FC236}">
                    <a16:creationId xmlns:a16="http://schemas.microsoft.com/office/drawing/2014/main" id="{EF19A288-430D-4486-B1EC-450F867573C0}"/>
                  </a:ext>
                </a:extLst>
              </p:cNvPr>
              <p:cNvPicPr/>
              <p:nvPr/>
            </p:nvPicPr>
            <p:blipFill>
              <a:blip r:embed="rId6"/>
              <a:stretch>
                <a:fillRect/>
              </a:stretch>
            </p:blipFill>
            <p:spPr>
              <a:xfrm>
                <a:off x="-9360" y="-9360"/>
                <a:ext cx="8953560" cy="5157720"/>
              </a:xfrm>
              <a:prstGeom prst="rect">
                <a:avLst/>
              </a:prstGeom>
            </p:spPr>
          </p:pic>
        </mc:Fallback>
      </mc:AlternateContent>
    </p:spTree>
    <p:extLst>
      <p:ext uri="{BB962C8B-B14F-4D97-AF65-F5344CB8AC3E}">
        <p14:creationId xmlns:p14="http://schemas.microsoft.com/office/powerpoint/2010/main" val="3654578520"/>
      </p:ext>
    </p:extLst>
  </p:cSld>
  <p:clrMapOvr>
    <a:masterClrMapping/>
  </p:clrMapOvr>
  <p:transition spd="med">
    <p:wipe dir="r"/>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EB8EF-840C-4BAE-90C8-55442E57D1C8}"/>
              </a:ext>
            </a:extLst>
          </p:cNvPr>
          <p:cNvSpPr>
            <a:spLocks noGrp="1"/>
          </p:cNvSpPr>
          <p:nvPr>
            <p:ph type="title"/>
          </p:nvPr>
        </p:nvSpPr>
        <p:spPr>
          <a:xfrm>
            <a:off x="0" y="0"/>
            <a:ext cx="6351115" cy="640080"/>
          </a:xfrm>
        </p:spPr>
        <p:txBody>
          <a:bodyPr/>
          <a:lstStyle/>
          <a:p>
            <a:r>
              <a:rPr lang="en-US" dirty="0"/>
              <a:t>Correlation Coefficient</a:t>
            </a:r>
          </a:p>
        </p:txBody>
      </p:sp>
      <p:sp>
        <p:nvSpPr>
          <p:cNvPr id="3" name="Content Placeholder 2">
            <a:extLst>
              <a:ext uri="{FF2B5EF4-FFF2-40B4-BE49-F238E27FC236}">
                <a16:creationId xmlns:a16="http://schemas.microsoft.com/office/drawing/2014/main" id="{B7B7A0F1-C568-44EF-9828-F9D786C4428B}"/>
              </a:ext>
            </a:extLst>
          </p:cNvPr>
          <p:cNvSpPr>
            <a:spLocks noGrp="1"/>
          </p:cNvSpPr>
          <p:nvPr>
            <p:ph sz="half" idx="13"/>
          </p:nvPr>
        </p:nvSpPr>
        <p:spPr>
          <a:xfrm>
            <a:off x="148677" y="721748"/>
            <a:ext cx="7787756" cy="3200400"/>
          </a:xfrm>
        </p:spPr>
        <p:txBody>
          <a:bodyPr/>
          <a:lstStyle/>
          <a:p>
            <a:endParaRPr lang="en-US"/>
          </a:p>
        </p:txBody>
      </p:sp>
    </p:spTree>
    <p:extLst>
      <p:ext uri="{BB962C8B-B14F-4D97-AF65-F5344CB8AC3E}">
        <p14:creationId xmlns:p14="http://schemas.microsoft.com/office/powerpoint/2010/main" val="2423241985"/>
      </p:ext>
    </p:extLst>
  </p:cSld>
  <p:clrMapOvr>
    <a:masterClrMapping/>
  </p:clrMapOvr>
  <p:transition spd="med">
    <p:wipe dir="r"/>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47B85C-624C-45F4-9762-37B9DF7C8893}"/>
              </a:ext>
            </a:extLst>
          </p:cNvPr>
          <p:cNvSpPr>
            <a:spLocks noGrp="1"/>
          </p:cNvSpPr>
          <p:nvPr>
            <p:ph type="title"/>
          </p:nvPr>
        </p:nvSpPr>
        <p:spPr>
          <a:xfrm>
            <a:off x="0" y="22860"/>
            <a:ext cx="8535903" cy="640080"/>
          </a:xfrm>
        </p:spPr>
        <p:txBody>
          <a:bodyPr/>
          <a:lstStyle/>
          <a:p>
            <a:r>
              <a:rPr lang="en-US" dirty="0"/>
              <a:t>Correlation - continued</a:t>
            </a:r>
          </a:p>
        </p:txBody>
      </p:sp>
      <p:sp>
        <p:nvSpPr>
          <p:cNvPr id="3" name="Content Placeholder 2">
            <a:extLst>
              <a:ext uri="{FF2B5EF4-FFF2-40B4-BE49-F238E27FC236}">
                <a16:creationId xmlns:a16="http://schemas.microsoft.com/office/drawing/2014/main" id="{E1B18987-248B-423A-89C7-35FA1BCB556E}"/>
              </a:ext>
            </a:extLst>
          </p:cNvPr>
          <p:cNvSpPr>
            <a:spLocks noGrp="1"/>
          </p:cNvSpPr>
          <p:nvPr>
            <p:ph sz="half" idx="13"/>
          </p:nvPr>
        </p:nvSpPr>
        <p:spPr>
          <a:xfrm>
            <a:off x="63456" y="662940"/>
            <a:ext cx="8408990" cy="3200400"/>
          </a:xfrm>
        </p:spPr>
        <p:txBody>
          <a:bodyPr/>
          <a:lstStyle/>
          <a:p>
            <a:pPr marL="0" indent="0">
              <a:buNone/>
            </a:pPr>
            <a:r>
              <a:rPr lang="en-US" b="1" dirty="0">
                <a:solidFill>
                  <a:srgbClr val="FF0000"/>
                </a:solidFill>
                <a:effectLst/>
                <a:latin typeface="champ"/>
              </a:rPr>
              <a:t>Correlation Is Not Good at Curves</a:t>
            </a:r>
          </a:p>
          <a:p>
            <a:r>
              <a:rPr lang="en-US" b="1" dirty="0">
                <a:solidFill>
                  <a:schemeClr val="bg2">
                    <a:lumMod val="50000"/>
                    <a:lumOff val="50000"/>
                  </a:schemeClr>
                </a:solidFill>
              </a:rPr>
              <a:t>Ex: </a:t>
            </a:r>
            <a:r>
              <a:rPr lang="en-US" dirty="0">
                <a:solidFill>
                  <a:schemeClr val="bg2">
                    <a:lumMod val="50000"/>
                    <a:lumOff val="50000"/>
                  </a:schemeClr>
                </a:solidFill>
              </a:rPr>
              <a:t>Ice Cream shop keeps track of how much ice cream they sell versus the temperature on that day</a:t>
            </a:r>
          </a:p>
          <a:p>
            <a:r>
              <a:rPr lang="en-US" dirty="0">
                <a:solidFill>
                  <a:schemeClr val="bg2">
                    <a:lumMod val="50000"/>
                    <a:lumOff val="50000"/>
                  </a:schemeClr>
                </a:solidFill>
              </a:rPr>
              <a:t>The correlation calculation only works properly for straight line relationships</a:t>
            </a:r>
          </a:p>
          <a:p>
            <a:r>
              <a:rPr lang="en-US" b="1" dirty="0">
                <a:solidFill>
                  <a:schemeClr val="bg2">
                    <a:lumMod val="50000"/>
                    <a:lumOff val="50000"/>
                  </a:schemeClr>
                </a:solidFill>
              </a:rPr>
              <a:t>Ex: </a:t>
            </a:r>
            <a:r>
              <a:rPr lang="en-US" dirty="0">
                <a:solidFill>
                  <a:schemeClr val="bg2">
                    <a:lumMod val="50000"/>
                    <a:lumOff val="50000"/>
                  </a:schemeClr>
                </a:solidFill>
              </a:rPr>
              <a:t>there has been a heart wave! It gets so hot that people aren’t going to the shop, and sales start dropping</a:t>
            </a:r>
          </a:p>
        </p:txBody>
      </p:sp>
    </p:spTree>
    <p:extLst>
      <p:ext uri="{BB962C8B-B14F-4D97-AF65-F5344CB8AC3E}">
        <p14:creationId xmlns:p14="http://schemas.microsoft.com/office/powerpoint/2010/main" val="2055871581"/>
      </p:ext>
    </p:extLst>
  </p:cSld>
  <p:clrMapOvr>
    <a:masterClrMapping/>
  </p:clrMapOvr>
  <p:transition spd="med">
    <p:wipe dir="r"/>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DB2322-AFA8-42E4-8E76-348C567AB262}"/>
              </a:ext>
            </a:extLst>
          </p:cNvPr>
          <p:cNvSpPr>
            <a:spLocks noGrp="1"/>
          </p:cNvSpPr>
          <p:nvPr>
            <p:ph type="title"/>
          </p:nvPr>
        </p:nvSpPr>
        <p:spPr>
          <a:xfrm>
            <a:off x="0" y="0"/>
            <a:ext cx="8647585" cy="640080"/>
          </a:xfrm>
        </p:spPr>
        <p:txBody>
          <a:bodyPr/>
          <a:lstStyle/>
          <a:p>
            <a:r>
              <a:rPr lang="en-US" dirty="0"/>
              <a:t>Correlation is NOT Causation</a:t>
            </a:r>
          </a:p>
        </p:txBody>
      </p:sp>
      <p:sp>
        <p:nvSpPr>
          <p:cNvPr id="3" name="Content Placeholder 2">
            <a:extLst>
              <a:ext uri="{FF2B5EF4-FFF2-40B4-BE49-F238E27FC236}">
                <a16:creationId xmlns:a16="http://schemas.microsoft.com/office/drawing/2014/main" id="{910E7ECD-077C-4B0A-867E-43A7BDB6F0C6}"/>
              </a:ext>
            </a:extLst>
          </p:cNvPr>
          <p:cNvSpPr>
            <a:spLocks noGrp="1"/>
          </p:cNvSpPr>
          <p:nvPr>
            <p:ph sz="half" idx="13"/>
          </p:nvPr>
        </p:nvSpPr>
        <p:spPr>
          <a:xfrm>
            <a:off x="120757" y="728728"/>
            <a:ext cx="8647584" cy="3200400"/>
          </a:xfrm>
        </p:spPr>
        <p:txBody>
          <a:bodyPr/>
          <a:lstStyle/>
          <a:p>
            <a:pPr algn="l"/>
            <a:r>
              <a:rPr lang="en-US" b="0" i="0" dirty="0">
                <a:solidFill>
                  <a:schemeClr val="bg2">
                    <a:lumMod val="50000"/>
                    <a:lumOff val="50000"/>
                  </a:schemeClr>
                </a:solidFill>
                <a:effectLst/>
                <a:latin typeface="Verdana" panose="020B0604030504040204" pitchFamily="34" charset="0"/>
              </a:rPr>
              <a:t>A common saying is "Correlation Is Not Causation".</a:t>
            </a:r>
          </a:p>
          <a:p>
            <a:pPr algn="l"/>
            <a:r>
              <a:rPr lang="en-US" b="0" i="0" dirty="0">
                <a:solidFill>
                  <a:schemeClr val="bg2">
                    <a:lumMod val="50000"/>
                    <a:lumOff val="50000"/>
                  </a:schemeClr>
                </a:solidFill>
                <a:effectLst/>
                <a:latin typeface="Verdana" panose="020B0604030504040204" pitchFamily="34" charset="0"/>
              </a:rPr>
              <a:t>What it </a:t>
            </a:r>
            <a:r>
              <a:rPr lang="en-US" b="1" i="0" dirty="0">
                <a:solidFill>
                  <a:schemeClr val="bg2">
                    <a:lumMod val="50000"/>
                    <a:lumOff val="50000"/>
                  </a:schemeClr>
                </a:solidFill>
                <a:effectLst/>
                <a:latin typeface="Verdana" panose="020B0604030504040204" pitchFamily="34" charset="0"/>
              </a:rPr>
              <a:t>really</a:t>
            </a:r>
            <a:r>
              <a:rPr lang="en-US" b="0" i="0" dirty="0">
                <a:solidFill>
                  <a:schemeClr val="bg2">
                    <a:lumMod val="50000"/>
                    <a:lumOff val="50000"/>
                  </a:schemeClr>
                </a:solidFill>
                <a:effectLst/>
                <a:latin typeface="Verdana" panose="020B0604030504040204" pitchFamily="34" charset="0"/>
              </a:rPr>
              <a:t> means is that a correlation does </a:t>
            </a:r>
            <a:r>
              <a:rPr lang="en-US" b="1" i="0" dirty="0">
                <a:solidFill>
                  <a:schemeClr val="bg2">
                    <a:lumMod val="50000"/>
                    <a:lumOff val="50000"/>
                  </a:schemeClr>
                </a:solidFill>
                <a:effectLst/>
                <a:latin typeface="Verdana" panose="020B0604030504040204" pitchFamily="34" charset="0"/>
              </a:rPr>
              <a:t>not prove</a:t>
            </a:r>
            <a:r>
              <a:rPr lang="en-US" b="0" i="0" dirty="0">
                <a:solidFill>
                  <a:schemeClr val="bg2">
                    <a:lumMod val="50000"/>
                    <a:lumOff val="50000"/>
                  </a:schemeClr>
                </a:solidFill>
                <a:effectLst/>
                <a:latin typeface="Verdana" panose="020B0604030504040204" pitchFamily="34" charset="0"/>
              </a:rPr>
              <a:t> one thing causes the other:</a:t>
            </a:r>
          </a:p>
          <a:p>
            <a:pPr algn="l">
              <a:buFont typeface="Arial" panose="020B0604020202020204" pitchFamily="34" charset="0"/>
              <a:buChar char="•"/>
            </a:pPr>
            <a:r>
              <a:rPr lang="en-US" b="0" i="0" dirty="0">
                <a:solidFill>
                  <a:schemeClr val="bg2">
                    <a:lumMod val="50000"/>
                    <a:lumOff val="50000"/>
                  </a:schemeClr>
                </a:solidFill>
                <a:effectLst/>
                <a:latin typeface="Verdana" panose="020B0604030504040204" pitchFamily="34" charset="0"/>
              </a:rPr>
              <a:t>One thing </a:t>
            </a:r>
            <a:r>
              <a:rPr lang="en-US" b="1" i="0" dirty="0">
                <a:solidFill>
                  <a:schemeClr val="bg2">
                    <a:lumMod val="50000"/>
                    <a:lumOff val="50000"/>
                  </a:schemeClr>
                </a:solidFill>
                <a:effectLst/>
                <a:latin typeface="Verdana" panose="020B0604030504040204" pitchFamily="34" charset="0"/>
              </a:rPr>
              <a:t>might</a:t>
            </a:r>
            <a:r>
              <a:rPr lang="en-US" b="0" i="0" dirty="0">
                <a:solidFill>
                  <a:schemeClr val="bg2">
                    <a:lumMod val="50000"/>
                    <a:lumOff val="50000"/>
                  </a:schemeClr>
                </a:solidFill>
                <a:effectLst/>
                <a:latin typeface="Verdana" panose="020B0604030504040204" pitchFamily="34" charset="0"/>
              </a:rPr>
              <a:t> cause the other</a:t>
            </a:r>
          </a:p>
          <a:p>
            <a:pPr algn="l">
              <a:buFont typeface="Arial" panose="020B0604020202020204" pitchFamily="34" charset="0"/>
              <a:buChar char="•"/>
            </a:pPr>
            <a:r>
              <a:rPr lang="en-US" b="0" i="0" dirty="0">
                <a:solidFill>
                  <a:schemeClr val="bg2">
                    <a:lumMod val="50000"/>
                    <a:lumOff val="50000"/>
                  </a:schemeClr>
                </a:solidFill>
                <a:effectLst/>
                <a:latin typeface="Verdana" panose="020B0604030504040204" pitchFamily="34" charset="0"/>
              </a:rPr>
              <a:t>The other </a:t>
            </a:r>
            <a:r>
              <a:rPr lang="en-US" b="1" i="0" dirty="0">
                <a:solidFill>
                  <a:schemeClr val="bg2">
                    <a:lumMod val="50000"/>
                    <a:lumOff val="50000"/>
                  </a:schemeClr>
                </a:solidFill>
                <a:effectLst/>
                <a:latin typeface="Verdana" panose="020B0604030504040204" pitchFamily="34" charset="0"/>
              </a:rPr>
              <a:t>might</a:t>
            </a:r>
            <a:r>
              <a:rPr lang="en-US" b="0" i="0" dirty="0">
                <a:solidFill>
                  <a:schemeClr val="bg2">
                    <a:lumMod val="50000"/>
                    <a:lumOff val="50000"/>
                  </a:schemeClr>
                </a:solidFill>
                <a:effectLst/>
                <a:latin typeface="Verdana" panose="020B0604030504040204" pitchFamily="34" charset="0"/>
              </a:rPr>
              <a:t> cause the first to happen</a:t>
            </a:r>
          </a:p>
          <a:p>
            <a:pPr algn="l">
              <a:buFont typeface="Arial" panose="020B0604020202020204" pitchFamily="34" charset="0"/>
              <a:buChar char="•"/>
            </a:pPr>
            <a:r>
              <a:rPr lang="en-US" b="0" i="0" dirty="0">
                <a:solidFill>
                  <a:schemeClr val="bg2">
                    <a:lumMod val="50000"/>
                    <a:lumOff val="50000"/>
                  </a:schemeClr>
                </a:solidFill>
                <a:effectLst/>
                <a:latin typeface="Verdana" panose="020B0604030504040204" pitchFamily="34" charset="0"/>
              </a:rPr>
              <a:t>They may be linked by a different thing</a:t>
            </a:r>
          </a:p>
          <a:p>
            <a:pPr algn="l">
              <a:buFont typeface="Arial" panose="020B0604020202020204" pitchFamily="34" charset="0"/>
              <a:buChar char="•"/>
            </a:pPr>
            <a:r>
              <a:rPr lang="en-US" b="0" i="0" dirty="0">
                <a:solidFill>
                  <a:schemeClr val="bg2">
                    <a:lumMod val="50000"/>
                    <a:lumOff val="50000"/>
                  </a:schemeClr>
                </a:solidFill>
                <a:effectLst/>
                <a:latin typeface="Verdana" panose="020B0604030504040204" pitchFamily="34" charset="0"/>
              </a:rPr>
              <a:t>Or it could be random chance!</a:t>
            </a:r>
          </a:p>
          <a:p>
            <a:pPr algn="l"/>
            <a:r>
              <a:rPr lang="en-US" b="0" i="0" dirty="0">
                <a:solidFill>
                  <a:schemeClr val="bg2">
                    <a:lumMod val="50000"/>
                    <a:lumOff val="50000"/>
                  </a:schemeClr>
                </a:solidFill>
                <a:effectLst/>
                <a:latin typeface="Verdana" panose="020B0604030504040204" pitchFamily="34" charset="0"/>
              </a:rPr>
              <a:t>There can be many reasons the data has a good correlation.</a:t>
            </a:r>
          </a:p>
          <a:p>
            <a:endParaRPr lang="en-US" dirty="0"/>
          </a:p>
        </p:txBody>
      </p:sp>
    </p:spTree>
    <p:extLst>
      <p:ext uri="{BB962C8B-B14F-4D97-AF65-F5344CB8AC3E}">
        <p14:creationId xmlns:p14="http://schemas.microsoft.com/office/powerpoint/2010/main" val="2076917634"/>
      </p:ext>
    </p:extLst>
  </p:cSld>
  <p:clrMapOvr>
    <a:masterClrMapping/>
  </p:clrMapOvr>
  <p:transition spd="med">
    <p:wipe dir="r"/>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628B9C-5A0D-4151-ADA4-DBBD1CD8C76F}"/>
              </a:ext>
            </a:extLst>
          </p:cNvPr>
          <p:cNvSpPr>
            <a:spLocks noGrp="1"/>
          </p:cNvSpPr>
          <p:nvPr>
            <p:ph type="title"/>
          </p:nvPr>
        </p:nvSpPr>
        <p:spPr>
          <a:xfrm>
            <a:off x="0" y="22860"/>
            <a:ext cx="7063090" cy="640080"/>
          </a:xfrm>
        </p:spPr>
        <p:txBody>
          <a:bodyPr/>
          <a:lstStyle/>
          <a:p>
            <a:r>
              <a:rPr lang="en-US" dirty="0"/>
              <a:t>Correlation is NOT Causation</a:t>
            </a:r>
          </a:p>
        </p:txBody>
      </p:sp>
      <p:sp>
        <p:nvSpPr>
          <p:cNvPr id="3" name="Content Placeholder 2">
            <a:extLst>
              <a:ext uri="{FF2B5EF4-FFF2-40B4-BE49-F238E27FC236}">
                <a16:creationId xmlns:a16="http://schemas.microsoft.com/office/drawing/2014/main" id="{67945CBD-392E-471D-8A2A-A5126063986A}"/>
              </a:ext>
            </a:extLst>
          </p:cNvPr>
          <p:cNvSpPr>
            <a:spLocks noGrp="1"/>
          </p:cNvSpPr>
          <p:nvPr>
            <p:ph sz="half" idx="13"/>
          </p:nvPr>
        </p:nvSpPr>
        <p:spPr>
          <a:xfrm>
            <a:off x="50955" y="662940"/>
            <a:ext cx="8332208" cy="3200400"/>
          </a:xfrm>
        </p:spPr>
        <p:txBody>
          <a:bodyPr/>
          <a:lstStyle/>
          <a:p>
            <a:r>
              <a:rPr lang="en-US" dirty="0"/>
              <a:t>Ex : Sun glass vs Ice cream</a:t>
            </a:r>
          </a:p>
          <a:p>
            <a:endParaRPr lang="en-US" dirty="0"/>
          </a:p>
          <a:p>
            <a:endParaRPr lang="en-US" dirty="0"/>
          </a:p>
          <a:p>
            <a:endParaRPr lang="en-US" dirty="0"/>
          </a:p>
          <a:p>
            <a:endParaRPr lang="en-US" dirty="0"/>
          </a:p>
          <a:p>
            <a:endParaRPr lang="en-US" dirty="0"/>
          </a:p>
          <a:p>
            <a:r>
              <a:rPr lang="en-US" dirty="0"/>
              <a:t>Ex : </a:t>
            </a:r>
            <a:r>
              <a:rPr lang="en-US" b="0" i="0" dirty="0">
                <a:solidFill>
                  <a:srgbClr val="333333"/>
                </a:solidFill>
                <a:effectLst/>
                <a:latin typeface="Verdana" panose="020B0604030504040204" pitchFamily="34" charset="0"/>
              </a:rPr>
              <a:t>Poor suburbs are more likely to have high pollution.</a:t>
            </a:r>
          </a:p>
          <a:p>
            <a:endParaRPr lang="en-US" dirty="0"/>
          </a:p>
        </p:txBody>
      </p:sp>
    </p:spTree>
    <p:extLst>
      <p:ext uri="{BB962C8B-B14F-4D97-AF65-F5344CB8AC3E}">
        <p14:creationId xmlns:p14="http://schemas.microsoft.com/office/powerpoint/2010/main" val="1698398126"/>
      </p:ext>
    </p:extLst>
  </p:cSld>
  <p:clrMapOvr>
    <a:masterClrMapping/>
  </p:clrMapOvr>
  <p:transition spd="med">
    <p:wipe dir="r"/>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B2D5-35C4-4911-AD10-0C5D0D1708E4}"/>
              </a:ext>
            </a:extLst>
          </p:cNvPr>
          <p:cNvSpPr>
            <a:spLocks noGrp="1"/>
          </p:cNvSpPr>
          <p:nvPr>
            <p:ph type="title"/>
          </p:nvPr>
        </p:nvSpPr>
        <p:spPr>
          <a:xfrm>
            <a:off x="0" y="0"/>
            <a:ext cx="8068232" cy="640080"/>
          </a:xfrm>
        </p:spPr>
        <p:txBody>
          <a:bodyPr/>
          <a:lstStyle/>
          <a:p>
            <a:r>
              <a:rPr lang="en-US" dirty="0"/>
              <a:t>Correlation is NOT Causation </a:t>
            </a:r>
            <a:r>
              <a:rPr lang="en-US" dirty="0">
                <a:solidFill>
                  <a:schemeClr val="bg2">
                    <a:lumMod val="50000"/>
                    <a:lumOff val="50000"/>
                  </a:schemeClr>
                </a:solidFill>
              </a:rPr>
              <a:t>– </a:t>
            </a:r>
            <a:r>
              <a:rPr lang="en-US" i="1" dirty="0">
                <a:solidFill>
                  <a:schemeClr val="bg2">
                    <a:lumMod val="50000"/>
                    <a:lumOff val="50000"/>
                  </a:schemeClr>
                </a:solidFill>
              </a:rPr>
              <a:t>A real case</a:t>
            </a:r>
          </a:p>
        </p:txBody>
      </p:sp>
      <p:sp>
        <p:nvSpPr>
          <p:cNvPr id="3" name="Content Placeholder 2">
            <a:extLst>
              <a:ext uri="{FF2B5EF4-FFF2-40B4-BE49-F238E27FC236}">
                <a16:creationId xmlns:a16="http://schemas.microsoft.com/office/drawing/2014/main" id="{2E41632A-9F27-4921-A183-99DA3F674E36}"/>
              </a:ext>
            </a:extLst>
          </p:cNvPr>
          <p:cNvSpPr>
            <a:spLocks noGrp="1"/>
          </p:cNvSpPr>
          <p:nvPr>
            <p:ph sz="half" idx="13"/>
          </p:nvPr>
        </p:nvSpPr>
        <p:spPr>
          <a:xfrm>
            <a:off x="134716" y="910212"/>
            <a:ext cx="8004141" cy="3200400"/>
          </a:xfrm>
        </p:spPr>
        <p:txBody>
          <a:bodyPr/>
          <a:lstStyle/>
          <a:p>
            <a:r>
              <a:rPr lang="en-US" b="0" i="0" dirty="0">
                <a:solidFill>
                  <a:schemeClr val="bg2">
                    <a:lumMod val="50000"/>
                    <a:lumOff val="50000"/>
                  </a:schemeClr>
                </a:solidFill>
                <a:effectLst/>
                <a:latin typeface="Verdana" panose="020B0604030504040204" pitchFamily="34" charset="0"/>
              </a:rPr>
              <a:t>A few years ago, a survey of employees found a strong positive correlation between </a:t>
            </a:r>
            <a:r>
              <a:rPr lang="en-US" b="1" i="0" dirty="0">
                <a:solidFill>
                  <a:schemeClr val="bg2">
                    <a:lumMod val="50000"/>
                    <a:lumOff val="50000"/>
                  </a:schemeClr>
                </a:solidFill>
                <a:effectLst/>
                <a:latin typeface="Verdana" panose="020B0604030504040204" pitchFamily="34" charset="0"/>
              </a:rPr>
              <a:t>"Studying an external course"</a:t>
            </a:r>
            <a:r>
              <a:rPr lang="en-US" b="0" i="0" dirty="0">
                <a:solidFill>
                  <a:schemeClr val="bg2">
                    <a:lumMod val="50000"/>
                    <a:lumOff val="50000"/>
                  </a:schemeClr>
                </a:solidFill>
                <a:effectLst/>
                <a:latin typeface="Verdana" panose="020B0604030504040204" pitchFamily="34" charset="0"/>
              </a:rPr>
              <a:t> and </a:t>
            </a:r>
            <a:r>
              <a:rPr lang="en-US" b="1" i="0" dirty="0">
                <a:solidFill>
                  <a:schemeClr val="bg2">
                    <a:lumMod val="50000"/>
                    <a:lumOff val="50000"/>
                  </a:schemeClr>
                </a:solidFill>
                <a:effectLst/>
                <a:latin typeface="Verdana" panose="020B0604030504040204" pitchFamily="34" charset="0"/>
              </a:rPr>
              <a:t>Sick Days</a:t>
            </a:r>
            <a:r>
              <a:rPr lang="en-US" b="0" i="0" dirty="0">
                <a:solidFill>
                  <a:schemeClr val="bg2">
                    <a:lumMod val="50000"/>
                    <a:lumOff val="50000"/>
                  </a:schemeClr>
                </a:solidFill>
                <a:effectLst/>
                <a:latin typeface="Verdana" panose="020B0604030504040204" pitchFamily="34" charset="0"/>
              </a:rPr>
              <a:t>.</a:t>
            </a:r>
            <a:endParaRPr lang="en-US" dirty="0">
              <a:solidFill>
                <a:schemeClr val="bg2">
                  <a:lumMod val="50000"/>
                  <a:lumOff val="50000"/>
                </a:schemeClr>
              </a:solidFill>
            </a:endParaRPr>
          </a:p>
        </p:txBody>
      </p:sp>
    </p:spTree>
    <p:extLst>
      <p:ext uri="{BB962C8B-B14F-4D97-AF65-F5344CB8AC3E}">
        <p14:creationId xmlns:p14="http://schemas.microsoft.com/office/powerpoint/2010/main" val="3487960969"/>
      </p:ext>
    </p:extLst>
  </p:cSld>
  <p:clrMapOvr>
    <a:masterClrMapping/>
  </p:clrMapOvr>
  <p:transition spd="med">
    <p:wipe dir="r"/>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3BC7D1-6911-4452-AC10-251435381AA2}"/>
              </a:ext>
            </a:extLst>
          </p:cNvPr>
          <p:cNvSpPr>
            <a:spLocks noGrp="1"/>
          </p:cNvSpPr>
          <p:nvPr>
            <p:ph type="title"/>
          </p:nvPr>
        </p:nvSpPr>
        <p:spPr>
          <a:xfrm>
            <a:off x="0" y="0"/>
            <a:ext cx="8235756" cy="640080"/>
          </a:xfrm>
        </p:spPr>
        <p:txBody>
          <a:bodyPr/>
          <a:lstStyle/>
          <a:p>
            <a:r>
              <a:rPr lang="en-US" dirty="0"/>
              <a:t>Skewness</a:t>
            </a:r>
          </a:p>
        </p:txBody>
      </p:sp>
      <p:sp>
        <p:nvSpPr>
          <p:cNvPr id="3" name="Content Placeholder 2">
            <a:extLst>
              <a:ext uri="{FF2B5EF4-FFF2-40B4-BE49-F238E27FC236}">
                <a16:creationId xmlns:a16="http://schemas.microsoft.com/office/drawing/2014/main" id="{EC2A8539-18AA-48D9-93FE-B8AA17B05C34}"/>
              </a:ext>
            </a:extLst>
          </p:cNvPr>
          <p:cNvSpPr>
            <a:spLocks noGrp="1"/>
          </p:cNvSpPr>
          <p:nvPr>
            <p:ph sz="half" idx="13"/>
          </p:nvPr>
        </p:nvSpPr>
        <p:spPr>
          <a:xfrm>
            <a:off x="155658" y="498191"/>
            <a:ext cx="8311268" cy="3200400"/>
          </a:xfrm>
        </p:spPr>
        <p:txBody>
          <a:bodyPr/>
          <a:lstStyle/>
          <a:p>
            <a:r>
              <a:rPr lang="en-US" b="0" i="0" dirty="0">
                <a:solidFill>
                  <a:schemeClr val="bg2">
                    <a:lumMod val="50000"/>
                    <a:lumOff val="50000"/>
                  </a:schemeClr>
                </a:solidFill>
                <a:effectLst/>
                <a:latin typeface="Verdana" panose="020B0604030504040204" pitchFamily="34" charset="0"/>
              </a:rPr>
              <a:t>Data can be "skewed", meaning it tends to have a </a:t>
            </a:r>
            <a:r>
              <a:rPr lang="en-US" b="1" i="0" dirty="0">
                <a:solidFill>
                  <a:schemeClr val="bg2">
                    <a:lumMod val="50000"/>
                    <a:lumOff val="50000"/>
                  </a:schemeClr>
                </a:solidFill>
                <a:effectLst/>
                <a:latin typeface="Verdana" panose="020B0604030504040204" pitchFamily="34" charset="0"/>
              </a:rPr>
              <a:t>long tail</a:t>
            </a:r>
            <a:r>
              <a:rPr lang="en-US" b="0" i="0" dirty="0">
                <a:solidFill>
                  <a:schemeClr val="bg2">
                    <a:lumMod val="50000"/>
                    <a:lumOff val="50000"/>
                  </a:schemeClr>
                </a:solidFill>
                <a:effectLst/>
                <a:latin typeface="Verdana" panose="020B0604030504040204" pitchFamily="34" charset="0"/>
              </a:rPr>
              <a:t> on one side or the other:</a:t>
            </a:r>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8FBBD97A-BB9E-4561-B27E-EC40AECBB44A}"/>
              </a:ext>
            </a:extLst>
          </p:cNvPr>
          <p:cNvPicPr>
            <a:picLocks noChangeAspect="1"/>
          </p:cNvPicPr>
          <p:nvPr/>
        </p:nvPicPr>
        <p:blipFill>
          <a:blip r:embed="rId2"/>
          <a:stretch>
            <a:fillRect/>
          </a:stretch>
        </p:blipFill>
        <p:spPr>
          <a:xfrm>
            <a:off x="1981950" y="1102840"/>
            <a:ext cx="4495218" cy="1468910"/>
          </a:xfrm>
          <a:prstGeom prst="rect">
            <a:avLst/>
          </a:prstGeom>
        </p:spPr>
      </p:pic>
      <p:sp>
        <p:nvSpPr>
          <p:cNvPr id="6" name="TextBox 5">
            <a:extLst>
              <a:ext uri="{FF2B5EF4-FFF2-40B4-BE49-F238E27FC236}">
                <a16:creationId xmlns:a16="http://schemas.microsoft.com/office/drawing/2014/main" id="{4DDD0657-BEB3-45A9-9F5D-D0BE64ED2E00}"/>
              </a:ext>
            </a:extLst>
          </p:cNvPr>
          <p:cNvSpPr txBox="1"/>
          <p:nvPr/>
        </p:nvSpPr>
        <p:spPr>
          <a:xfrm>
            <a:off x="155658" y="3015426"/>
            <a:ext cx="8832684" cy="1446550"/>
          </a:xfrm>
          <a:prstGeom prst="rect">
            <a:avLst/>
          </a:prstGeom>
          <a:noFill/>
        </p:spPr>
        <p:txBody>
          <a:bodyPr wrap="square" rtlCol="0">
            <a:spAutoFit/>
          </a:bodyPr>
          <a:lstStyle/>
          <a:p>
            <a:pPr>
              <a:spcBef>
                <a:spcPts val="0"/>
              </a:spcBef>
              <a:spcAft>
                <a:spcPts val="0"/>
              </a:spcAft>
              <a:buClr>
                <a:schemeClr val="bg1"/>
              </a:buClr>
            </a:pPr>
            <a:r>
              <a:rPr lang="en-US" sz="1100" b="1" dirty="0">
                <a:solidFill>
                  <a:schemeClr val="bg2">
                    <a:lumMod val="50000"/>
                    <a:lumOff val="50000"/>
                  </a:schemeClr>
                </a:solidFill>
                <a:latin typeface="Verdana" panose="020B0604030504040204" pitchFamily="34" charset="0"/>
              </a:rPr>
              <a:t>Negative Skew : </a:t>
            </a:r>
            <a:r>
              <a:rPr lang="en-US" sz="1100" dirty="0">
                <a:solidFill>
                  <a:schemeClr val="bg2">
                    <a:lumMod val="50000"/>
                    <a:lumOff val="50000"/>
                  </a:schemeClr>
                </a:solidFill>
                <a:latin typeface="Verdana" panose="020B0604030504040204" pitchFamily="34" charset="0"/>
              </a:rPr>
              <a:t>Because the long "tail" is on the negative side of the peak. Some people say it is "skewed to the left" (the long tail is on the left-hand side) </a:t>
            </a:r>
            <a:r>
              <a:rPr lang="en-US" sz="1100" b="1" dirty="0">
                <a:solidFill>
                  <a:schemeClr val="bg2">
                    <a:lumMod val="50000"/>
                    <a:lumOff val="50000"/>
                  </a:schemeClr>
                </a:solidFill>
                <a:highlight>
                  <a:srgbClr val="FFFF00"/>
                </a:highlight>
                <a:latin typeface="Verdana" panose="020B0604030504040204" pitchFamily="34" charset="0"/>
              </a:rPr>
              <a:t>Mode &gt; Median &gt; mean</a:t>
            </a:r>
          </a:p>
          <a:p>
            <a:pPr>
              <a:spcBef>
                <a:spcPts val="0"/>
              </a:spcBef>
              <a:spcAft>
                <a:spcPts val="0"/>
              </a:spcAft>
              <a:buClr>
                <a:schemeClr val="bg1"/>
              </a:buClr>
            </a:pPr>
            <a:endParaRPr lang="en-US" sz="11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100" b="1" dirty="0">
                <a:solidFill>
                  <a:schemeClr val="bg2">
                    <a:lumMod val="50000"/>
                    <a:lumOff val="50000"/>
                  </a:schemeClr>
                </a:solidFill>
                <a:latin typeface="Verdana" panose="020B0604030504040204" pitchFamily="34" charset="0"/>
              </a:rPr>
              <a:t>Positive Skew : </a:t>
            </a:r>
            <a:r>
              <a:rPr lang="en-US" sz="1100" dirty="0">
                <a:solidFill>
                  <a:schemeClr val="bg2">
                    <a:lumMod val="50000"/>
                    <a:lumOff val="50000"/>
                  </a:schemeClr>
                </a:solidFill>
                <a:latin typeface="Verdana" panose="020B0604030504040204" pitchFamily="34" charset="0"/>
              </a:rPr>
              <a:t>And positive skew is when the long tail is on the positive side of the peak. Some people say it is "skewed to the right". </a:t>
            </a:r>
            <a:r>
              <a:rPr lang="en-US" sz="1100" b="1" dirty="0">
                <a:solidFill>
                  <a:schemeClr val="bg2">
                    <a:lumMod val="50000"/>
                    <a:lumOff val="50000"/>
                  </a:schemeClr>
                </a:solidFill>
                <a:highlight>
                  <a:srgbClr val="FFFF00"/>
                </a:highlight>
                <a:latin typeface="Verdana" panose="020B0604030504040204" pitchFamily="34" charset="0"/>
              </a:rPr>
              <a:t>Mean &gt; Median &gt; Mode</a:t>
            </a:r>
          </a:p>
          <a:p>
            <a:pPr>
              <a:spcBef>
                <a:spcPts val="0"/>
              </a:spcBef>
              <a:spcAft>
                <a:spcPts val="0"/>
              </a:spcAft>
              <a:buClr>
                <a:schemeClr val="bg1"/>
              </a:buClr>
            </a:pPr>
            <a:endParaRPr lang="en-US" sz="11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100" b="1" dirty="0">
                <a:solidFill>
                  <a:schemeClr val="bg2">
                    <a:lumMod val="50000"/>
                    <a:lumOff val="50000"/>
                  </a:schemeClr>
                </a:solidFill>
                <a:latin typeface="Verdana" panose="020B0604030504040204" pitchFamily="34" charset="0"/>
              </a:rPr>
              <a:t>No Skew/ Normal distribution : </a:t>
            </a:r>
            <a:r>
              <a:rPr lang="en-US" sz="1100" dirty="0">
                <a:solidFill>
                  <a:schemeClr val="bg2">
                    <a:lumMod val="50000"/>
                    <a:lumOff val="50000"/>
                  </a:schemeClr>
                </a:solidFill>
                <a:latin typeface="Verdana" panose="020B0604030504040204" pitchFamily="34" charset="0"/>
              </a:rPr>
              <a:t>A </a:t>
            </a:r>
            <a:r>
              <a:rPr lang="en-US" sz="1100" dirty="0">
                <a:solidFill>
                  <a:schemeClr val="bg2">
                    <a:lumMod val="50000"/>
                    <a:lumOff val="50000"/>
                  </a:schemeClr>
                </a:solidFill>
                <a:latin typeface="Verdana" panose="020B0604030504040204" pitchFamily="34" charset="0"/>
                <a:hlinkClick r:id="rId3">
                  <a:extLst>
                    <a:ext uri="{A12FA001-AC4F-418D-AE19-62706E023703}">
                      <ahyp:hlinkClr xmlns:ahyp="http://schemas.microsoft.com/office/drawing/2018/hyperlinkcolor" val="tx"/>
                    </a:ext>
                  </a:extLst>
                </a:hlinkClick>
              </a:rPr>
              <a:t>Normal Distribution</a:t>
            </a:r>
            <a:r>
              <a:rPr lang="en-US" sz="1100" dirty="0">
                <a:solidFill>
                  <a:schemeClr val="bg2">
                    <a:lumMod val="50000"/>
                    <a:lumOff val="50000"/>
                  </a:schemeClr>
                </a:solidFill>
                <a:latin typeface="Verdana" panose="020B0604030504040204" pitchFamily="34" charset="0"/>
              </a:rPr>
              <a:t> is not skewed. It is perfectly symmetrical. And the Mean is exactly at the peak.  </a:t>
            </a:r>
            <a:r>
              <a:rPr lang="en-US" sz="1100" b="1" dirty="0">
                <a:solidFill>
                  <a:schemeClr val="bg2">
                    <a:lumMod val="50000"/>
                    <a:lumOff val="50000"/>
                  </a:schemeClr>
                </a:solidFill>
                <a:highlight>
                  <a:srgbClr val="FFFF00"/>
                </a:highlight>
                <a:latin typeface="Verdana" panose="020B0604030504040204" pitchFamily="34" charset="0"/>
              </a:rPr>
              <a:t>Mean = Median = Mode</a:t>
            </a:r>
          </a:p>
        </p:txBody>
      </p:sp>
      <mc:AlternateContent xmlns:mc="http://schemas.openxmlformats.org/markup-compatibility/2006">
        <mc:Choice xmlns:p14="http://schemas.microsoft.com/office/powerpoint/2010/main" Requires="p14">
          <p:contentPart p14:bwMode="auto" r:id="rId4">
            <p14:nvContentPartPr>
              <p14:cNvPr id="4" name="Ink 3">
                <a:extLst>
                  <a:ext uri="{FF2B5EF4-FFF2-40B4-BE49-F238E27FC236}">
                    <a16:creationId xmlns:a16="http://schemas.microsoft.com/office/drawing/2014/main" id="{63755555-7A48-4898-A9FA-3AD51802CF70}"/>
                  </a:ext>
                </a:extLst>
              </p14:cNvPr>
              <p14:cNvContentPartPr/>
              <p14:nvPr/>
            </p14:nvContentPartPr>
            <p14:xfrm>
              <a:off x="961920" y="138240"/>
              <a:ext cx="7572960" cy="3314880"/>
            </p14:xfrm>
          </p:contentPart>
        </mc:Choice>
        <mc:Fallback>
          <p:pic>
            <p:nvPicPr>
              <p:cNvPr id="4" name="Ink 3">
                <a:extLst>
                  <a:ext uri="{FF2B5EF4-FFF2-40B4-BE49-F238E27FC236}">
                    <a16:creationId xmlns:a16="http://schemas.microsoft.com/office/drawing/2014/main" id="{63755555-7A48-4898-A9FA-3AD51802CF70}"/>
                  </a:ext>
                </a:extLst>
              </p:cNvPr>
              <p:cNvPicPr/>
              <p:nvPr/>
            </p:nvPicPr>
            <p:blipFill>
              <a:blip r:embed="rId5"/>
              <a:stretch>
                <a:fillRect/>
              </a:stretch>
            </p:blipFill>
            <p:spPr>
              <a:xfrm>
                <a:off x="952560" y="128880"/>
                <a:ext cx="7591680" cy="3333600"/>
              </a:xfrm>
              <a:prstGeom prst="rect">
                <a:avLst/>
              </a:prstGeom>
            </p:spPr>
          </p:pic>
        </mc:Fallback>
      </mc:AlternateContent>
    </p:spTree>
    <p:extLst>
      <p:ext uri="{BB962C8B-B14F-4D97-AF65-F5344CB8AC3E}">
        <p14:creationId xmlns:p14="http://schemas.microsoft.com/office/powerpoint/2010/main" val="633646377"/>
      </p:ext>
    </p:extLst>
  </p:cSld>
  <p:clrMapOvr>
    <a:masterClrMapping/>
  </p:clrMapOvr>
  <p:transition spd="med">
    <p:wipe dir="r"/>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E2DA9-FC9E-43CF-BAE3-A7A2B4DFF999}"/>
              </a:ext>
            </a:extLst>
          </p:cNvPr>
          <p:cNvSpPr>
            <a:spLocks noGrp="1"/>
          </p:cNvSpPr>
          <p:nvPr>
            <p:ph type="title"/>
          </p:nvPr>
        </p:nvSpPr>
        <p:spPr>
          <a:xfrm>
            <a:off x="0" y="0"/>
            <a:ext cx="4295219" cy="640080"/>
          </a:xfrm>
        </p:spPr>
        <p:txBody>
          <a:bodyPr/>
          <a:lstStyle/>
          <a:p>
            <a:r>
              <a:rPr lang="en-US" dirty="0"/>
              <a:t>Skewness</a:t>
            </a:r>
          </a:p>
        </p:txBody>
      </p:sp>
      <p:sp>
        <p:nvSpPr>
          <p:cNvPr id="3" name="Content Placeholder 2">
            <a:extLst>
              <a:ext uri="{FF2B5EF4-FFF2-40B4-BE49-F238E27FC236}">
                <a16:creationId xmlns:a16="http://schemas.microsoft.com/office/drawing/2014/main" id="{1A728B14-3F80-43DF-8D1E-D9AD7B3827AB}"/>
              </a:ext>
            </a:extLst>
          </p:cNvPr>
          <p:cNvSpPr>
            <a:spLocks noGrp="1"/>
          </p:cNvSpPr>
          <p:nvPr>
            <p:ph sz="half" idx="13"/>
          </p:nvPr>
        </p:nvSpPr>
        <p:spPr>
          <a:xfrm>
            <a:off x="97704" y="735708"/>
            <a:ext cx="8395030" cy="3200400"/>
          </a:xfrm>
        </p:spPr>
        <p:txBody>
          <a:bodyPr/>
          <a:lstStyle/>
          <a:p>
            <a:pPr marL="0" indent="0" algn="l">
              <a:buNone/>
            </a:pPr>
            <a:r>
              <a:rPr lang="en-US" sz="1800" b="1" i="1" dirty="0">
                <a:solidFill>
                  <a:schemeClr val="bg2">
                    <a:lumMod val="50000"/>
                    <a:lumOff val="50000"/>
                  </a:schemeClr>
                </a:solidFill>
                <a:effectLst/>
                <a:latin typeface="Lato" panose="020F0502020204030203" pitchFamily="34" charset="0"/>
              </a:rPr>
              <a:t>Rule of Thumb</a:t>
            </a:r>
            <a:endParaRPr lang="en-US" b="1" i="1" dirty="0">
              <a:solidFill>
                <a:schemeClr val="bg2">
                  <a:lumMod val="50000"/>
                  <a:lumOff val="50000"/>
                </a:schemeClr>
              </a:solidFill>
              <a:latin typeface="Lato" panose="020F0502020204030203" pitchFamily="34" charset="0"/>
            </a:endParaRPr>
          </a:p>
          <a:p>
            <a:pPr algn="l"/>
            <a:r>
              <a:rPr lang="en-US" b="1" i="1" dirty="0">
                <a:solidFill>
                  <a:schemeClr val="bg2">
                    <a:lumMod val="50000"/>
                    <a:lumOff val="50000"/>
                  </a:schemeClr>
                </a:solidFill>
                <a:effectLst/>
                <a:latin typeface="Lato" panose="020F0502020204030203" pitchFamily="34" charset="0"/>
              </a:rPr>
              <a:t>If the skewness is between -0.5 &amp; 0.5, the data are nearly symmetrical.</a:t>
            </a:r>
            <a:endParaRPr lang="en-US" b="0" i="0" dirty="0">
              <a:solidFill>
                <a:schemeClr val="bg2">
                  <a:lumMod val="50000"/>
                  <a:lumOff val="50000"/>
                </a:schemeClr>
              </a:solidFill>
              <a:effectLst/>
              <a:latin typeface="Lato" panose="020F0502020204030203" pitchFamily="34" charset="0"/>
            </a:endParaRPr>
          </a:p>
          <a:p>
            <a:pPr algn="l"/>
            <a:r>
              <a:rPr lang="en-US" b="1" i="1" dirty="0">
                <a:solidFill>
                  <a:schemeClr val="bg2">
                    <a:lumMod val="50000"/>
                    <a:lumOff val="50000"/>
                  </a:schemeClr>
                </a:solidFill>
                <a:effectLst/>
                <a:latin typeface="Lato" panose="020F0502020204030203" pitchFamily="34" charset="0"/>
              </a:rPr>
              <a:t>If the skewness is between -1 &amp; -0.5 (negative skewed) or between 0.5 &amp; 1(positive skewed), the data are slightly skewed.</a:t>
            </a:r>
            <a:endParaRPr lang="en-US" b="0" i="0" dirty="0">
              <a:solidFill>
                <a:schemeClr val="bg2">
                  <a:lumMod val="50000"/>
                  <a:lumOff val="50000"/>
                </a:schemeClr>
              </a:solidFill>
              <a:effectLst/>
              <a:latin typeface="Lato" panose="020F0502020204030203" pitchFamily="34" charset="0"/>
            </a:endParaRPr>
          </a:p>
          <a:p>
            <a:pPr algn="l"/>
            <a:r>
              <a:rPr lang="en-US" b="1" i="1" dirty="0">
                <a:solidFill>
                  <a:schemeClr val="bg2">
                    <a:lumMod val="50000"/>
                    <a:lumOff val="50000"/>
                  </a:schemeClr>
                </a:solidFill>
                <a:effectLst/>
                <a:latin typeface="Lato" panose="020F0502020204030203" pitchFamily="34" charset="0"/>
              </a:rPr>
              <a:t>If the skewness is lower than -1 (negative skewed) or greater than 1 (positive skewed), the data are extremely skewed.</a:t>
            </a:r>
            <a:endParaRPr lang="en-US" b="0" i="0" dirty="0">
              <a:solidFill>
                <a:schemeClr val="bg2">
                  <a:lumMod val="50000"/>
                  <a:lumOff val="50000"/>
                </a:schemeClr>
              </a:solidFill>
              <a:effectLst/>
              <a:latin typeface="Lato" panose="020F0502020204030203" pitchFamily="34" charset="0"/>
            </a:endParaRPr>
          </a:p>
          <a:p>
            <a:endParaRPr lang="en-US" dirty="0"/>
          </a:p>
        </p:txBody>
      </p:sp>
      <p:pic>
        <p:nvPicPr>
          <p:cNvPr id="5" name="Picture 4">
            <a:extLst>
              <a:ext uri="{FF2B5EF4-FFF2-40B4-BE49-F238E27FC236}">
                <a16:creationId xmlns:a16="http://schemas.microsoft.com/office/drawing/2014/main" id="{C3E07149-6BD1-4596-AA71-BFF198CA823C}"/>
              </a:ext>
            </a:extLst>
          </p:cNvPr>
          <p:cNvPicPr>
            <a:picLocks noChangeAspect="1"/>
          </p:cNvPicPr>
          <p:nvPr/>
        </p:nvPicPr>
        <p:blipFill>
          <a:blip r:embed="rId2"/>
          <a:stretch>
            <a:fillRect/>
          </a:stretch>
        </p:blipFill>
        <p:spPr>
          <a:xfrm>
            <a:off x="2351446" y="2635495"/>
            <a:ext cx="3979552" cy="2472024"/>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326B71ED-5B7E-4530-8E5C-2E17A6F0FB51}"/>
                  </a:ext>
                </a:extLst>
              </p14:cNvPr>
              <p14:cNvContentPartPr/>
              <p14:nvPr/>
            </p14:nvContentPartPr>
            <p14:xfrm>
              <a:off x="0" y="61920"/>
              <a:ext cx="9139680" cy="4767480"/>
            </p14:xfrm>
          </p:contentPart>
        </mc:Choice>
        <mc:Fallback>
          <p:pic>
            <p:nvPicPr>
              <p:cNvPr id="4" name="Ink 3">
                <a:extLst>
                  <a:ext uri="{FF2B5EF4-FFF2-40B4-BE49-F238E27FC236}">
                    <a16:creationId xmlns:a16="http://schemas.microsoft.com/office/drawing/2014/main" id="{326B71ED-5B7E-4530-8E5C-2E17A6F0FB51}"/>
                  </a:ext>
                </a:extLst>
              </p:cNvPr>
              <p:cNvPicPr/>
              <p:nvPr/>
            </p:nvPicPr>
            <p:blipFill>
              <a:blip r:embed="rId4"/>
              <a:stretch>
                <a:fillRect/>
              </a:stretch>
            </p:blipFill>
            <p:spPr>
              <a:xfrm>
                <a:off x="-9360" y="52560"/>
                <a:ext cx="9158400" cy="4786200"/>
              </a:xfrm>
              <a:prstGeom prst="rect">
                <a:avLst/>
              </a:prstGeom>
            </p:spPr>
          </p:pic>
        </mc:Fallback>
      </mc:AlternateContent>
    </p:spTree>
    <p:extLst>
      <p:ext uri="{BB962C8B-B14F-4D97-AF65-F5344CB8AC3E}">
        <p14:creationId xmlns:p14="http://schemas.microsoft.com/office/powerpoint/2010/main" val="2357723908"/>
      </p:ext>
    </p:extLst>
  </p:cSld>
  <p:clrMapOvr>
    <a:masterClrMapping/>
  </p:clrMapOvr>
  <p:transition spd="med">
    <p:wipe dir="r"/>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D36DAF-09E4-47BA-9652-085B74E6F8F5}"/>
              </a:ext>
            </a:extLst>
          </p:cNvPr>
          <p:cNvSpPr>
            <a:spLocks noGrp="1"/>
          </p:cNvSpPr>
          <p:nvPr>
            <p:ph type="title"/>
          </p:nvPr>
        </p:nvSpPr>
        <p:spPr>
          <a:xfrm>
            <a:off x="0" y="0"/>
            <a:ext cx="7698284" cy="640080"/>
          </a:xfrm>
        </p:spPr>
        <p:txBody>
          <a:bodyPr/>
          <a:lstStyle/>
          <a:p>
            <a:r>
              <a:rPr lang="en-US" dirty="0"/>
              <a:t>Kurtosis</a:t>
            </a:r>
          </a:p>
        </p:txBody>
      </p:sp>
      <p:sp>
        <p:nvSpPr>
          <p:cNvPr id="3" name="Content Placeholder 2">
            <a:extLst>
              <a:ext uri="{FF2B5EF4-FFF2-40B4-BE49-F238E27FC236}">
                <a16:creationId xmlns:a16="http://schemas.microsoft.com/office/drawing/2014/main" id="{DE4415F1-A054-4D2C-B846-68D88051A638}"/>
              </a:ext>
            </a:extLst>
          </p:cNvPr>
          <p:cNvSpPr>
            <a:spLocks noGrp="1"/>
          </p:cNvSpPr>
          <p:nvPr>
            <p:ph sz="half" idx="13"/>
          </p:nvPr>
        </p:nvSpPr>
        <p:spPr>
          <a:xfrm>
            <a:off x="0" y="640080"/>
            <a:ext cx="8806859" cy="3200400"/>
          </a:xfrm>
        </p:spPr>
        <p:txBody>
          <a:bodyPr/>
          <a:lstStyle/>
          <a:p>
            <a:r>
              <a:rPr lang="en-US" dirty="0"/>
              <a:t>Kurtosis is all about the tails of distribution. Kurtosis refers to the degree of presence of outliers in the distribution.</a:t>
            </a:r>
          </a:p>
          <a:p>
            <a:r>
              <a:rPr lang="en-US" dirty="0"/>
              <a:t>Kurtosis is a statistical measure, whether the data is heavy-tailed or light-tailed in a normal distribution</a:t>
            </a:r>
          </a:p>
        </p:txBody>
      </p:sp>
      <p:pic>
        <p:nvPicPr>
          <p:cNvPr id="5" name="Picture 4">
            <a:extLst>
              <a:ext uri="{FF2B5EF4-FFF2-40B4-BE49-F238E27FC236}">
                <a16:creationId xmlns:a16="http://schemas.microsoft.com/office/drawing/2014/main" id="{970CD22C-2AFE-44F1-8CF3-3589424ED694}"/>
              </a:ext>
            </a:extLst>
          </p:cNvPr>
          <p:cNvPicPr>
            <a:picLocks noChangeAspect="1"/>
          </p:cNvPicPr>
          <p:nvPr/>
        </p:nvPicPr>
        <p:blipFill>
          <a:blip r:embed="rId2"/>
          <a:stretch>
            <a:fillRect/>
          </a:stretch>
        </p:blipFill>
        <p:spPr>
          <a:xfrm>
            <a:off x="168664" y="2067179"/>
            <a:ext cx="4234765" cy="2055774"/>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1E46EDCF-B594-4C74-87AD-EDC0DD192E26}"/>
                  </a:ext>
                </a:extLst>
              </p14:cNvPr>
              <p14:cNvContentPartPr/>
              <p14:nvPr/>
            </p14:nvContentPartPr>
            <p14:xfrm>
              <a:off x="318960" y="1747800"/>
              <a:ext cx="3738960" cy="2781720"/>
            </p14:xfrm>
          </p:contentPart>
        </mc:Choice>
        <mc:Fallback>
          <p:pic>
            <p:nvPicPr>
              <p:cNvPr id="4" name="Ink 3">
                <a:extLst>
                  <a:ext uri="{FF2B5EF4-FFF2-40B4-BE49-F238E27FC236}">
                    <a16:creationId xmlns:a16="http://schemas.microsoft.com/office/drawing/2014/main" id="{1E46EDCF-B594-4C74-87AD-EDC0DD192E26}"/>
                  </a:ext>
                </a:extLst>
              </p:cNvPr>
              <p:cNvPicPr/>
              <p:nvPr/>
            </p:nvPicPr>
            <p:blipFill>
              <a:blip r:embed="rId4"/>
              <a:stretch>
                <a:fillRect/>
              </a:stretch>
            </p:blipFill>
            <p:spPr>
              <a:xfrm>
                <a:off x="309600" y="1738440"/>
                <a:ext cx="3757680" cy="2800440"/>
              </a:xfrm>
              <a:prstGeom prst="rect">
                <a:avLst/>
              </a:prstGeom>
            </p:spPr>
          </p:pic>
        </mc:Fallback>
      </mc:AlternateContent>
    </p:spTree>
    <p:extLst>
      <p:ext uri="{BB962C8B-B14F-4D97-AF65-F5344CB8AC3E}">
        <p14:creationId xmlns:p14="http://schemas.microsoft.com/office/powerpoint/2010/main" val="2555396937"/>
      </p:ext>
    </p:extLst>
  </p:cSld>
  <p:clrMapOvr>
    <a:masterClrMapping/>
  </p:clrMapOvr>
  <p:transition spd="med">
    <p:wipe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C56C2-D94D-4575-AA79-7E8CC92AC285}"/>
              </a:ext>
            </a:extLst>
          </p:cNvPr>
          <p:cNvSpPr>
            <a:spLocks noGrp="1"/>
          </p:cNvSpPr>
          <p:nvPr>
            <p:ph type="title"/>
          </p:nvPr>
        </p:nvSpPr>
        <p:spPr/>
        <p:txBody>
          <a:bodyPr/>
          <a:lstStyle/>
          <a:p>
            <a:r>
              <a:rPr lang="en-US" dirty="0"/>
              <a:t>Worksheet</a:t>
            </a:r>
          </a:p>
        </p:txBody>
      </p:sp>
      <p:sp>
        <p:nvSpPr>
          <p:cNvPr id="3" name="Content Placeholder 2">
            <a:extLst>
              <a:ext uri="{FF2B5EF4-FFF2-40B4-BE49-F238E27FC236}">
                <a16:creationId xmlns:a16="http://schemas.microsoft.com/office/drawing/2014/main" id="{47DC157F-4699-416A-8E12-DE763F809B22}"/>
              </a:ext>
            </a:extLst>
          </p:cNvPr>
          <p:cNvSpPr>
            <a:spLocks noGrp="1"/>
          </p:cNvSpPr>
          <p:nvPr>
            <p:ph sz="half" idx="1"/>
          </p:nvPr>
        </p:nvSpPr>
        <p:spPr/>
        <p:txBody>
          <a:bodyPr/>
          <a:lstStyle/>
          <a:p>
            <a:endParaRPr lang="en-US" dirty="0"/>
          </a:p>
        </p:txBody>
      </p:sp>
    </p:spTree>
    <p:extLst>
      <p:ext uri="{BB962C8B-B14F-4D97-AF65-F5344CB8AC3E}">
        <p14:creationId xmlns:p14="http://schemas.microsoft.com/office/powerpoint/2010/main" val="2922280354"/>
      </p:ext>
    </p:extLst>
  </p:cSld>
  <p:clrMapOvr>
    <a:masterClrMapping/>
  </p:clrMapOvr>
  <p:transition spd="med">
    <p:wipe dir="r"/>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CC892D-1961-44E5-A4AD-FA93118FA777}"/>
              </a:ext>
            </a:extLst>
          </p:cNvPr>
          <p:cNvSpPr>
            <a:spLocks noGrp="1"/>
          </p:cNvSpPr>
          <p:nvPr>
            <p:ph type="title"/>
          </p:nvPr>
        </p:nvSpPr>
        <p:spPr>
          <a:xfrm>
            <a:off x="0" y="22860"/>
            <a:ext cx="8431200" cy="640080"/>
          </a:xfrm>
        </p:spPr>
        <p:txBody>
          <a:bodyPr/>
          <a:lstStyle/>
          <a:p>
            <a:r>
              <a:rPr lang="en-US" dirty="0"/>
              <a:t>Kurtosis - </a:t>
            </a:r>
            <a:r>
              <a:rPr lang="en-US" dirty="0">
                <a:solidFill>
                  <a:schemeClr val="bg2">
                    <a:lumMod val="50000"/>
                    <a:lumOff val="50000"/>
                  </a:schemeClr>
                </a:solidFill>
              </a:rPr>
              <a:t>Leptokurtic (kurtosis &gt; 3)</a:t>
            </a:r>
          </a:p>
        </p:txBody>
      </p:sp>
      <p:sp>
        <p:nvSpPr>
          <p:cNvPr id="3" name="Content Placeholder 2">
            <a:extLst>
              <a:ext uri="{FF2B5EF4-FFF2-40B4-BE49-F238E27FC236}">
                <a16:creationId xmlns:a16="http://schemas.microsoft.com/office/drawing/2014/main" id="{CBF641C7-38B0-421A-8550-68564CC3C5F8}"/>
              </a:ext>
            </a:extLst>
          </p:cNvPr>
          <p:cNvSpPr>
            <a:spLocks noGrp="1"/>
          </p:cNvSpPr>
          <p:nvPr>
            <p:ph sz="half" idx="13"/>
          </p:nvPr>
        </p:nvSpPr>
        <p:spPr>
          <a:xfrm>
            <a:off x="0" y="791550"/>
            <a:ext cx="8869680" cy="890667"/>
          </a:xfrm>
        </p:spPr>
        <p:txBody>
          <a:bodyPr/>
          <a:lstStyle/>
          <a:p>
            <a:r>
              <a:rPr lang="en-US" b="0" i="0" dirty="0">
                <a:solidFill>
                  <a:schemeClr val="bg2">
                    <a:lumMod val="50000"/>
                    <a:lumOff val="50000"/>
                  </a:schemeClr>
                </a:solidFill>
                <a:effectLst/>
                <a:latin typeface="Lato" panose="020F0502020204030203" pitchFamily="34" charset="0"/>
              </a:rPr>
              <a:t>Leptokurtic is having very long and skinny tails, which means there are more chances of outliers. Positive values of kurtosis indicate that distribution is peaked and possesses thick tails. An extreme positive kurtosis indicates a distribution where more of the numbers are located in the tails of the distribution instead of around the mean.</a:t>
            </a:r>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A34C54AF-5930-4EB6-95C1-86BFA7B9F549}"/>
              </a:ext>
            </a:extLst>
          </p:cNvPr>
          <p:cNvPicPr>
            <a:picLocks noChangeAspect="1"/>
          </p:cNvPicPr>
          <p:nvPr/>
        </p:nvPicPr>
        <p:blipFill>
          <a:blip r:embed="rId2"/>
          <a:stretch>
            <a:fillRect/>
          </a:stretch>
        </p:blipFill>
        <p:spPr>
          <a:xfrm>
            <a:off x="1090902" y="2058516"/>
            <a:ext cx="3534349" cy="2805536"/>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D06745B6-496F-4547-AC95-71B6E8668F45}"/>
                  </a:ext>
                </a:extLst>
              </p14:cNvPr>
              <p14:cNvContentPartPr/>
              <p14:nvPr/>
            </p14:nvContentPartPr>
            <p14:xfrm>
              <a:off x="2028960" y="4680"/>
              <a:ext cx="6843960" cy="4191480"/>
            </p14:xfrm>
          </p:contentPart>
        </mc:Choice>
        <mc:Fallback>
          <p:pic>
            <p:nvPicPr>
              <p:cNvPr id="4" name="Ink 3">
                <a:extLst>
                  <a:ext uri="{FF2B5EF4-FFF2-40B4-BE49-F238E27FC236}">
                    <a16:creationId xmlns:a16="http://schemas.microsoft.com/office/drawing/2014/main" id="{D06745B6-496F-4547-AC95-71B6E8668F45}"/>
                  </a:ext>
                </a:extLst>
              </p:cNvPr>
              <p:cNvPicPr/>
              <p:nvPr/>
            </p:nvPicPr>
            <p:blipFill>
              <a:blip r:embed="rId4"/>
              <a:stretch>
                <a:fillRect/>
              </a:stretch>
            </p:blipFill>
            <p:spPr>
              <a:xfrm>
                <a:off x="2019600" y="-4680"/>
                <a:ext cx="6862680" cy="4210200"/>
              </a:xfrm>
              <a:prstGeom prst="rect">
                <a:avLst/>
              </a:prstGeom>
            </p:spPr>
          </p:pic>
        </mc:Fallback>
      </mc:AlternateContent>
    </p:spTree>
    <p:extLst>
      <p:ext uri="{BB962C8B-B14F-4D97-AF65-F5344CB8AC3E}">
        <p14:creationId xmlns:p14="http://schemas.microsoft.com/office/powerpoint/2010/main" val="3302442963"/>
      </p:ext>
    </p:extLst>
  </p:cSld>
  <p:clrMapOvr>
    <a:masterClrMapping/>
  </p:clrMapOvr>
  <p:transition spd="med">
    <p:wipe dir="r"/>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D1DC36-0840-4E35-B30B-224D7E91E11B}"/>
              </a:ext>
            </a:extLst>
          </p:cNvPr>
          <p:cNvSpPr>
            <a:spLocks noGrp="1"/>
          </p:cNvSpPr>
          <p:nvPr>
            <p:ph type="title"/>
          </p:nvPr>
        </p:nvSpPr>
        <p:spPr>
          <a:xfrm>
            <a:off x="0" y="0"/>
            <a:ext cx="8110113" cy="640080"/>
          </a:xfrm>
        </p:spPr>
        <p:txBody>
          <a:bodyPr/>
          <a:lstStyle/>
          <a:p>
            <a:r>
              <a:rPr lang="en-US" dirty="0"/>
              <a:t>Kurtosis - </a:t>
            </a:r>
            <a:r>
              <a:rPr lang="en-US" dirty="0">
                <a:solidFill>
                  <a:schemeClr val="bg2">
                    <a:lumMod val="50000"/>
                    <a:lumOff val="50000"/>
                  </a:schemeClr>
                </a:solidFill>
              </a:rPr>
              <a:t>Platykurtic (kurtosis &lt; 3)</a:t>
            </a:r>
          </a:p>
        </p:txBody>
      </p:sp>
      <p:sp>
        <p:nvSpPr>
          <p:cNvPr id="3" name="Content Placeholder 2">
            <a:extLst>
              <a:ext uri="{FF2B5EF4-FFF2-40B4-BE49-F238E27FC236}">
                <a16:creationId xmlns:a16="http://schemas.microsoft.com/office/drawing/2014/main" id="{C1A348E2-3B83-4682-B9AF-C9B580C0A291}"/>
              </a:ext>
            </a:extLst>
          </p:cNvPr>
          <p:cNvSpPr>
            <a:spLocks noGrp="1"/>
          </p:cNvSpPr>
          <p:nvPr>
            <p:ph sz="half" idx="13"/>
          </p:nvPr>
        </p:nvSpPr>
        <p:spPr>
          <a:xfrm>
            <a:off x="78875" y="640080"/>
            <a:ext cx="8548593" cy="3200400"/>
          </a:xfrm>
        </p:spPr>
        <p:txBody>
          <a:bodyPr/>
          <a:lstStyle/>
          <a:p>
            <a:r>
              <a:rPr lang="en-US" dirty="0">
                <a:solidFill>
                  <a:schemeClr val="bg2">
                    <a:lumMod val="50000"/>
                    <a:lumOff val="50000"/>
                  </a:schemeClr>
                </a:solidFill>
              </a:rPr>
              <a:t>Platykurtic having a lower tail and stretched around center tails means most of the data points are present in high proximity with mean. A platykurtic distribution is flatter (less peaked) when compared with the normal distribution.</a:t>
            </a:r>
          </a:p>
        </p:txBody>
      </p:sp>
      <p:pic>
        <p:nvPicPr>
          <p:cNvPr id="8" name="Picture 7">
            <a:extLst>
              <a:ext uri="{FF2B5EF4-FFF2-40B4-BE49-F238E27FC236}">
                <a16:creationId xmlns:a16="http://schemas.microsoft.com/office/drawing/2014/main" id="{58284D4D-EB37-494A-B483-7B1DFF69FA8B}"/>
              </a:ext>
            </a:extLst>
          </p:cNvPr>
          <p:cNvPicPr>
            <a:picLocks noChangeAspect="1"/>
          </p:cNvPicPr>
          <p:nvPr/>
        </p:nvPicPr>
        <p:blipFill>
          <a:blip r:embed="rId2"/>
          <a:stretch>
            <a:fillRect/>
          </a:stretch>
        </p:blipFill>
        <p:spPr>
          <a:xfrm>
            <a:off x="2094809" y="1640118"/>
            <a:ext cx="2371725" cy="2114550"/>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E88623EB-ADF1-4464-950C-4B8B05061B94}"/>
                  </a:ext>
                </a:extLst>
              </p14:cNvPr>
              <p14:cNvContentPartPr/>
              <p14:nvPr/>
            </p14:nvContentPartPr>
            <p14:xfrm>
              <a:off x="0" y="366840"/>
              <a:ext cx="7825320" cy="4557960"/>
            </p14:xfrm>
          </p:contentPart>
        </mc:Choice>
        <mc:Fallback>
          <p:pic>
            <p:nvPicPr>
              <p:cNvPr id="4" name="Ink 3">
                <a:extLst>
                  <a:ext uri="{FF2B5EF4-FFF2-40B4-BE49-F238E27FC236}">
                    <a16:creationId xmlns:a16="http://schemas.microsoft.com/office/drawing/2014/main" id="{E88623EB-ADF1-4464-950C-4B8B05061B94}"/>
                  </a:ext>
                </a:extLst>
              </p:cNvPr>
              <p:cNvPicPr/>
              <p:nvPr/>
            </p:nvPicPr>
            <p:blipFill>
              <a:blip r:embed="rId4"/>
              <a:stretch>
                <a:fillRect/>
              </a:stretch>
            </p:blipFill>
            <p:spPr>
              <a:xfrm>
                <a:off x="-9360" y="357480"/>
                <a:ext cx="7844040" cy="4576680"/>
              </a:xfrm>
              <a:prstGeom prst="rect">
                <a:avLst/>
              </a:prstGeom>
            </p:spPr>
          </p:pic>
        </mc:Fallback>
      </mc:AlternateContent>
    </p:spTree>
    <p:extLst>
      <p:ext uri="{BB962C8B-B14F-4D97-AF65-F5344CB8AC3E}">
        <p14:creationId xmlns:p14="http://schemas.microsoft.com/office/powerpoint/2010/main" val="3664753248"/>
      </p:ext>
    </p:extLst>
  </p:cSld>
  <p:clrMapOvr>
    <a:masterClrMapping/>
  </p:clrMapOvr>
  <p:transition spd="med">
    <p:wipe dir="r"/>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BD3B66-C560-43BB-929F-0BCAB624A02E}"/>
              </a:ext>
            </a:extLst>
          </p:cNvPr>
          <p:cNvSpPr>
            <a:spLocks noGrp="1"/>
          </p:cNvSpPr>
          <p:nvPr>
            <p:ph type="title"/>
          </p:nvPr>
        </p:nvSpPr>
        <p:spPr>
          <a:xfrm>
            <a:off x="0" y="22860"/>
            <a:ext cx="8507982" cy="640080"/>
          </a:xfrm>
        </p:spPr>
        <p:txBody>
          <a:bodyPr/>
          <a:lstStyle/>
          <a:p>
            <a:r>
              <a:rPr lang="en-US" dirty="0"/>
              <a:t>Kurtosis - </a:t>
            </a:r>
            <a:r>
              <a:rPr lang="en-US" dirty="0">
                <a:solidFill>
                  <a:schemeClr val="bg2">
                    <a:lumMod val="50000"/>
                    <a:lumOff val="50000"/>
                  </a:schemeClr>
                </a:solidFill>
              </a:rPr>
              <a:t>Mesokurtic (kurtosis = 3)</a:t>
            </a:r>
            <a:endParaRPr lang="en-US" dirty="0"/>
          </a:p>
        </p:txBody>
      </p:sp>
      <p:sp>
        <p:nvSpPr>
          <p:cNvPr id="3" name="Content Placeholder 2">
            <a:extLst>
              <a:ext uri="{FF2B5EF4-FFF2-40B4-BE49-F238E27FC236}">
                <a16:creationId xmlns:a16="http://schemas.microsoft.com/office/drawing/2014/main" id="{42AA9797-89B3-4E5D-9561-7929FC4FB959}"/>
              </a:ext>
            </a:extLst>
          </p:cNvPr>
          <p:cNvSpPr>
            <a:spLocks noGrp="1"/>
          </p:cNvSpPr>
          <p:nvPr>
            <p:ph sz="half" idx="13"/>
          </p:nvPr>
        </p:nvSpPr>
        <p:spPr>
          <a:xfrm>
            <a:off x="78875" y="868331"/>
            <a:ext cx="8507981" cy="3200400"/>
          </a:xfrm>
        </p:spPr>
        <p:txBody>
          <a:bodyPr/>
          <a:lstStyle/>
          <a:p>
            <a:r>
              <a:rPr lang="en-US" dirty="0">
                <a:solidFill>
                  <a:schemeClr val="bg2">
                    <a:lumMod val="50000"/>
                    <a:lumOff val="50000"/>
                  </a:schemeClr>
                </a:solidFill>
              </a:rPr>
              <a:t>Mesokurtic is the same as the normal distribution, which means kurtosis is near to 0. In Mesokurtic, distributions are moderate in breadth, and curves are a medium peaked height.</a:t>
            </a:r>
          </a:p>
        </p:txBody>
      </p:sp>
      <p:pic>
        <p:nvPicPr>
          <p:cNvPr id="5" name="Picture 4">
            <a:extLst>
              <a:ext uri="{FF2B5EF4-FFF2-40B4-BE49-F238E27FC236}">
                <a16:creationId xmlns:a16="http://schemas.microsoft.com/office/drawing/2014/main" id="{0246CFAA-AEB4-42F8-9CCF-6276C5303CE0}"/>
              </a:ext>
            </a:extLst>
          </p:cNvPr>
          <p:cNvPicPr>
            <a:picLocks noChangeAspect="1"/>
          </p:cNvPicPr>
          <p:nvPr/>
        </p:nvPicPr>
        <p:blipFill>
          <a:blip r:embed="rId2"/>
          <a:stretch>
            <a:fillRect/>
          </a:stretch>
        </p:blipFill>
        <p:spPr>
          <a:xfrm>
            <a:off x="2197876" y="1662723"/>
            <a:ext cx="3225703" cy="2482942"/>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ADB3DE61-38E7-4A4F-BE9F-08CE89912627}"/>
                  </a:ext>
                </a:extLst>
              </p14:cNvPr>
              <p14:cNvContentPartPr/>
              <p14:nvPr/>
            </p14:nvContentPartPr>
            <p14:xfrm>
              <a:off x="585720" y="123840"/>
              <a:ext cx="8425440" cy="4824720"/>
            </p14:xfrm>
          </p:contentPart>
        </mc:Choice>
        <mc:Fallback>
          <p:pic>
            <p:nvPicPr>
              <p:cNvPr id="4" name="Ink 3">
                <a:extLst>
                  <a:ext uri="{FF2B5EF4-FFF2-40B4-BE49-F238E27FC236}">
                    <a16:creationId xmlns:a16="http://schemas.microsoft.com/office/drawing/2014/main" id="{ADB3DE61-38E7-4A4F-BE9F-08CE89912627}"/>
                  </a:ext>
                </a:extLst>
              </p:cNvPr>
              <p:cNvPicPr/>
              <p:nvPr/>
            </p:nvPicPr>
            <p:blipFill>
              <a:blip r:embed="rId4"/>
              <a:stretch>
                <a:fillRect/>
              </a:stretch>
            </p:blipFill>
            <p:spPr>
              <a:xfrm>
                <a:off x="576360" y="114480"/>
                <a:ext cx="8444160" cy="4843440"/>
              </a:xfrm>
              <a:prstGeom prst="rect">
                <a:avLst/>
              </a:prstGeom>
            </p:spPr>
          </p:pic>
        </mc:Fallback>
      </mc:AlternateContent>
    </p:spTree>
    <p:extLst>
      <p:ext uri="{BB962C8B-B14F-4D97-AF65-F5344CB8AC3E}">
        <p14:creationId xmlns:p14="http://schemas.microsoft.com/office/powerpoint/2010/main" val="2343888370"/>
      </p:ext>
    </p:extLst>
  </p:cSld>
  <p:clrMapOvr>
    <a:masterClrMapping/>
  </p:clrMapOvr>
  <p:transition spd="med">
    <p:wipe dir="r"/>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461446-94EF-491C-91FC-F2F21BE21A13}"/>
              </a:ext>
            </a:extLst>
          </p:cNvPr>
          <p:cNvSpPr>
            <a:spLocks noGrp="1"/>
          </p:cNvSpPr>
          <p:nvPr>
            <p:ph type="title"/>
          </p:nvPr>
        </p:nvSpPr>
        <p:spPr>
          <a:xfrm>
            <a:off x="0" y="0"/>
            <a:ext cx="8570803" cy="640080"/>
          </a:xfrm>
        </p:spPr>
        <p:txBody>
          <a:bodyPr/>
          <a:lstStyle/>
          <a:p>
            <a:r>
              <a:rPr lang="en-US" dirty="0"/>
              <a:t>Skewness - Summary</a:t>
            </a:r>
          </a:p>
        </p:txBody>
      </p:sp>
      <p:sp>
        <p:nvSpPr>
          <p:cNvPr id="3" name="Content Placeholder 2">
            <a:extLst>
              <a:ext uri="{FF2B5EF4-FFF2-40B4-BE49-F238E27FC236}">
                <a16:creationId xmlns:a16="http://schemas.microsoft.com/office/drawing/2014/main" id="{949C8C3E-AC10-4C1C-B598-DEB08383D7C4}"/>
              </a:ext>
            </a:extLst>
          </p:cNvPr>
          <p:cNvSpPr>
            <a:spLocks noGrp="1"/>
          </p:cNvSpPr>
          <p:nvPr>
            <p:ph sz="half" idx="13"/>
          </p:nvPr>
        </p:nvSpPr>
        <p:spPr>
          <a:xfrm>
            <a:off x="137160" y="791549"/>
            <a:ext cx="8869680" cy="3200400"/>
          </a:xfrm>
        </p:spPr>
        <p:txBody>
          <a:bodyPr/>
          <a:lstStyle/>
          <a:p>
            <a:r>
              <a:rPr lang="en-US" b="0" i="0" dirty="0">
                <a:solidFill>
                  <a:schemeClr val="bg2">
                    <a:lumMod val="50000"/>
                    <a:lumOff val="50000"/>
                  </a:schemeClr>
                </a:solidFill>
                <a:effectLst/>
                <a:latin typeface="Lato" panose="020F0502020204030203" pitchFamily="34" charset="0"/>
              </a:rPr>
              <a:t>The skewness is a measure of symmetry or asymmetry of data distribution, and kurtosis measures whether data is heavy-tailed or light-tailed in a normal distribution. Data can be positive-skewed (data-pushed towards the right side) or negative-skewed (data-pushed towards the left side).</a:t>
            </a:r>
          </a:p>
          <a:p>
            <a:r>
              <a:rPr lang="en-US" dirty="0">
                <a:solidFill>
                  <a:schemeClr val="bg2">
                    <a:lumMod val="50000"/>
                    <a:lumOff val="50000"/>
                  </a:schemeClr>
                </a:solidFill>
              </a:rPr>
              <a:t>When data skewed, the tail region may behave as an outlier for the statistical model, and outliers unsympathetically affect the model’s performance especially regression-based models. Some statistical models are hardy to outliers like Tree-based models, but it will limit the possibility to try other models. So there is a necessity to transform the skewed data to close enough to a Normal distribution.</a:t>
            </a:r>
          </a:p>
          <a:p>
            <a:r>
              <a:rPr lang="en-US" dirty="0">
                <a:solidFill>
                  <a:schemeClr val="bg2">
                    <a:lumMod val="50000"/>
                    <a:lumOff val="50000"/>
                  </a:schemeClr>
                </a:solidFill>
              </a:rPr>
              <a:t>Excess kurtosis can be positive (Leptokurtic distribution), negative (Platykurtic distribution), or near to zero (Mesokurtic distribution). Leptokurtic distribution (kurtosis more than normal distribution).Mesokurtic distribution (kurtosis same as the normal distribution).Platykurtic distribution (kurtosis less than normal distribution).</a:t>
            </a: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B69DB91A-C47C-4B54-B138-4578C22169D1}"/>
                  </a:ext>
                </a:extLst>
              </p14:cNvPr>
              <p14:cNvContentPartPr/>
              <p14:nvPr/>
            </p14:nvContentPartPr>
            <p14:xfrm>
              <a:off x="252360" y="133200"/>
              <a:ext cx="8858520" cy="4624920"/>
            </p14:xfrm>
          </p:contentPart>
        </mc:Choice>
        <mc:Fallback>
          <p:pic>
            <p:nvPicPr>
              <p:cNvPr id="4" name="Ink 3">
                <a:extLst>
                  <a:ext uri="{FF2B5EF4-FFF2-40B4-BE49-F238E27FC236}">
                    <a16:creationId xmlns:a16="http://schemas.microsoft.com/office/drawing/2014/main" id="{B69DB91A-C47C-4B54-B138-4578C22169D1}"/>
                  </a:ext>
                </a:extLst>
              </p:cNvPr>
              <p:cNvPicPr/>
              <p:nvPr/>
            </p:nvPicPr>
            <p:blipFill>
              <a:blip r:embed="rId3"/>
              <a:stretch>
                <a:fillRect/>
              </a:stretch>
            </p:blipFill>
            <p:spPr>
              <a:xfrm>
                <a:off x="243000" y="123840"/>
                <a:ext cx="8877240" cy="4643640"/>
              </a:xfrm>
              <a:prstGeom prst="rect">
                <a:avLst/>
              </a:prstGeom>
            </p:spPr>
          </p:pic>
        </mc:Fallback>
      </mc:AlternateContent>
    </p:spTree>
    <p:extLst>
      <p:ext uri="{BB962C8B-B14F-4D97-AF65-F5344CB8AC3E}">
        <p14:creationId xmlns:p14="http://schemas.microsoft.com/office/powerpoint/2010/main" val="110353803"/>
      </p:ext>
    </p:extLst>
  </p:cSld>
  <p:clrMapOvr>
    <a:masterClrMapping/>
  </p:clrMapOvr>
  <p:transition spd="med">
    <p:wipe dir="r"/>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AB5E8E-0FC2-467C-ACC7-31AA2A7D23A1}"/>
              </a:ext>
            </a:extLst>
          </p:cNvPr>
          <p:cNvSpPr>
            <a:spLocks noGrp="1"/>
          </p:cNvSpPr>
          <p:nvPr>
            <p:ph type="title"/>
          </p:nvPr>
        </p:nvSpPr>
        <p:spPr>
          <a:xfrm>
            <a:off x="0" y="22860"/>
            <a:ext cx="4295219" cy="640080"/>
          </a:xfrm>
        </p:spPr>
        <p:txBody>
          <a:bodyPr/>
          <a:lstStyle/>
          <a:p>
            <a:r>
              <a:rPr lang="en-US" dirty="0"/>
              <a:t>Central Limit Theorem</a:t>
            </a:r>
          </a:p>
        </p:txBody>
      </p:sp>
      <p:sp>
        <p:nvSpPr>
          <p:cNvPr id="3" name="Content Placeholder 2">
            <a:extLst>
              <a:ext uri="{FF2B5EF4-FFF2-40B4-BE49-F238E27FC236}">
                <a16:creationId xmlns:a16="http://schemas.microsoft.com/office/drawing/2014/main" id="{1E42B404-3C93-4717-84A2-789D9E19B5A9}"/>
              </a:ext>
            </a:extLst>
          </p:cNvPr>
          <p:cNvSpPr>
            <a:spLocks noGrp="1"/>
          </p:cNvSpPr>
          <p:nvPr>
            <p:ph sz="half" idx="13"/>
          </p:nvPr>
        </p:nvSpPr>
        <p:spPr>
          <a:xfrm>
            <a:off x="148677" y="1116824"/>
            <a:ext cx="5756532" cy="1354150"/>
          </a:xfrm>
        </p:spPr>
        <p:txBody>
          <a:bodyPr/>
          <a:lstStyle/>
          <a:p>
            <a:r>
              <a:rPr lang="en-US" dirty="0"/>
              <a:t>Population of Used cars in a Secondhand Showroom</a:t>
            </a:r>
          </a:p>
        </p:txBody>
      </p:sp>
      <p:pic>
        <p:nvPicPr>
          <p:cNvPr id="5" name="Picture 4" descr="A picture containing text, outdoor, transport, car&#10;&#10;Description automatically generated">
            <a:extLst>
              <a:ext uri="{FF2B5EF4-FFF2-40B4-BE49-F238E27FC236}">
                <a16:creationId xmlns:a16="http://schemas.microsoft.com/office/drawing/2014/main" id="{91959E16-0A26-438F-B3C1-3AD51EC490F3}"/>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905209" y="990310"/>
            <a:ext cx="3039420" cy="3039420"/>
          </a:xfrm>
          <a:prstGeom prst="rect">
            <a:avLst/>
          </a:prstGeom>
        </p:spPr>
      </p:pic>
      <p:sp>
        <p:nvSpPr>
          <p:cNvPr id="6" name="TextBox 5">
            <a:extLst>
              <a:ext uri="{FF2B5EF4-FFF2-40B4-BE49-F238E27FC236}">
                <a16:creationId xmlns:a16="http://schemas.microsoft.com/office/drawing/2014/main" id="{851D58E5-1FCE-41F7-8B41-23CFC995BD7C}"/>
              </a:ext>
            </a:extLst>
          </p:cNvPr>
          <p:cNvSpPr txBox="1"/>
          <p:nvPr/>
        </p:nvSpPr>
        <p:spPr>
          <a:xfrm>
            <a:off x="328066" y="1758127"/>
            <a:ext cx="2959586"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ample #1 : $2617.23 </a:t>
            </a:r>
          </a:p>
        </p:txBody>
      </p:sp>
      <p:sp>
        <p:nvSpPr>
          <p:cNvPr id="7" name="TextBox 6">
            <a:extLst>
              <a:ext uri="{FF2B5EF4-FFF2-40B4-BE49-F238E27FC236}">
                <a16:creationId xmlns:a16="http://schemas.microsoft.com/office/drawing/2014/main" id="{85A983D6-527A-429C-B134-A010221CAEE0}"/>
              </a:ext>
            </a:extLst>
          </p:cNvPr>
          <p:cNvSpPr txBox="1"/>
          <p:nvPr/>
        </p:nvSpPr>
        <p:spPr>
          <a:xfrm>
            <a:off x="328066" y="2177983"/>
            <a:ext cx="2959586"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ample #2 : $3201.34</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Sample #3 : $2844.33 </a:t>
            </a:r>
          </a:p>
        </p:txBody>
      </p:sp>
      <p:sp>
        <p:nvSpPr>
          <p:cNvPr id="8" name="TextBox 7">
            <a:extLst>
              <a:ext uri="{FF2B5EF4-FFF2-40B4-BE49-F238E27FC236}">
                <a16:creationId xmlns:a16="http://schemas.microsoft.com/office/drawing/2014/main" id="{6517C1CF-0DF0-48F6-961F-48ECB36C5393}"/>
              </a:ext>
            </a:extLst>
          </p:cNvPr>
          <p:cNvSpPr txBox="1"/>
          <p:nvPr/>
        </p:nvSpPr>
        <p:spPr>
          <a:xfrm>
            <a:off x="148677" y="3304800"/>
            <a:ext cx="5236923" cy="646331"/>
          </a:xfrm>
          <a:prstGeom prst="rect">
            <a:avLst/>
          </a:prstGeom>
          <a:noFill/>
        </p:spPr>
        <p:txBody>
          <a:bodyPr wrap="square" rtlCol="0">
            <a:spAutoFit/>
          </a:bodyPr>
          <a:lstStyle/>
          <a:p>
            <a:pPr>
              <a:spcBef>
                <a:spcPts val="0"/>
              </a:spcBef>
              <a:spcAft>
                <a:spcPts val="0"/>
              </a:spcAft>
              <a:buClr>
                <a:schemeClr val="bg1"/>
              </a:buClr>
            </a:pPr>
            <a:r>
              <a:rPr lang="en-US" sz="1800" b="1" i="1" dirty="0">
                <a:solidFill>
                  <a:schemeClr val="bg2"/>
                </a:solidFill>
                <a:latin typeface="+mn-lt"/>
              </a:rPr>
              <a:t>Taking a single value, as we did in descriptive statistics is sub optimal </a:t>
            </a:r>
          </a:p>
        </p:txBody>
      </p:sp>
      <mc:AlternateContent xmlns:mc="http://schemas.openxmlformats.org/markup-compatibility/2006">
        <mc:Choice xmlns:p14="http://schemas.microsoft.com/office/powerpoint/2010/main" Requires="p14">
          <p:contentPart p14:bwMode="auto" r:id="rId4">
            <p14:nvContentPartPr>
              <p14:cNvPr id="4" name="Ink 3">
                <a:extLst>
                  <a:ext uri="{FF2B5EF4-FFF2-40B4-BE49-F238E27FC236}">
                    <a16:creationId xmlns:a16="http://schemas.microsoft.com/office/drawing/2014/main" id="{166ACB76-6549-4636-A6EB-BF68B52FC485}"/>
                  </a:ext>
                </a:extLst>
              </p14:cNvPr>
              <p14:cNvContentPartPr/>
              <p14:nvPr/>
            </p14:nvContentPartPr>
            <p14:xfrm>
              <a:off x="0" y="90360"/>
              <a:ext cx="8825400" cy="4510440"/>
            </p14:xfrm>
          </p:contentPart>
        </mc:Choice>
        <mc:Fallback>
          <p:pic>
            <p:nvPicPr>
              <p:cNvPr id="4" name="Ink 3">
                <a:extLst>
                  <a:ext uri="{FF2B5EF4-FFF2-40B4-BE49-F238E27FC236}">
                    <a16:creationId xmlns:a16="http://schemas.microsoft.com/office/drawing/2014/main" id="{166ACB76-6549-4636-A6EB-BF68B52FC485}"/>
                  </a:ext>
                </a:extLst>
              </p:cNvPr>
              <p:cNvPicPr/>
              <p:nvPr/>
            </p:nvPicPr>
            <p:blipFill>
              <a:blip r:embed="rId5"/>
              <a:stretch>
                <a:fillRect/>
              </a:stretch>
            </p:blipFill>
            <p:spPr>
              <a:xfrm>
                <a:off x="-9360" y="81000"/>
                <a:ext cx="8844120" cy="4529160"/>
              </a:xfrm>
              <a:prstGeom prst="rect">
                <a:avLst/>
              </a:prstGeom>
            </p:spPr>
          </p:pic>
        </mc:Fallback>
      </mc:AlternateContent>
    </p:spTree>
    <p:extLst>
      <p:ext uri="{BB962C8B-B14F-4D97-AF65-F5344CB8AC3E}">
        <p14:creationId xmlns:p14="http://schemas.microsoft.com/office/powerpoint/2010/main" val="4038918390"/>
      </p:ext>
    </p:extLst>
  </p:cSld>
  <p:clrMapOvr>
    <a:masterClrMapping/>
  </p:clrMapOvr>
  <p:transition spd="med">
    <p:wipe dir="r"/>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B45E7C5-1311-4947-B72A-F232CF1C1D4B}"/>
              </a:ext>
            </a:extLst>
          </p:cNvPr>
          <p:cNvSpPr>
            <a:spLocks noGrp="1"/>
          </p:cNvSpPr>
          <p:nvPr>
            <p:ph sz="half" idx="13"/>
          </p:nvPr>
        </p:nvSpPr>
        <p:spPr>
          <a:xfrm>
            <a:off x="274320" y="662940"/>
            <a:ext cx="2831848" cy="3817620"/>
          </a:xfrm>
        </p:spPr>
        <p:txBody>
          <a:bodyPr>
            <a:normAutofit fontScale="85000" lnSpcReduction="20000"/>
          </a:bodyPr>
          <a:lstStyle/>
          <a:p>
            <a:r>
              <a:rPr lang="en-US" dirty="0"/>
              <a:t>We can draw many, many samples </a:t>
            </a:r>
          </a:p>
          <a:p>
            <a:pPr marL="0" indent="0">
              <a:buNone/>
            </a:pPr>
            <a:r>
              <a:rPr lang="en-US" dirty="0"/>
              <a:t>$2521</a:t>
            </a:r>
          </a:p>
          <a:p>
            <a:pPr marL="0" indent="0">
              <a:buNone/>
            </a:pPr>
            <a:r>
              <a:rPr lang="en-US" dirty="0"/>
              <a:t>$2551</a:t>
            </a:r>
          </a:p>
          <a:p>
            <a:pPr marL="0" indent="0">
              <a:buNone/>
            </a:pPr>
            <a:r>
              <a:rPr lang="en-US" dirty="0"/>
              <a:t>$2568</a:t>
            </a:r>
          </a:p>
          <a:p>
            <a:pPr marL="0" indent="0">
              <a:buNone/>
            </a:pPr>
            <a:r>
              <a:rPr lang="en-US" dirty="0"/>
              <a:t>$2594</a:t>
            </a:r>
          </a:p>
          <a:p>
            <a:pPr marL="0" indent="0">
              <a:buNone/>
            </a:pPr>
            <a:r>
              <a:rPr lang="en-US" dirty="0"/>
              <a:t>$ 2617</a:t>
            </a:r>
          </a:p>
          <a:p>
            <a:pPr marL="0" indent="0">
              <a:buNone/>
            </a:pPr>
            <a:r>
              <a:rPr lang="en-US" dirty="0"/>
              <a:t>$ 2620</a:t>
            </a:r>
          </a:p>
          <a:p>
            <a:pPr marL="0" indent="0">
              <a:buNone/>
            </a:pPr>
            <a:r>
              <a:rPr lang="en-US" dirty="0"/>
              <a:t>$ 2623</a:t>
            </a:r>
          </a:p>
          <a:p>
            <a:pPr marL="0" indent="0">
              <a:buNone/>
            </a:pPr>
            <a:r>
              <a:rPr lang="en-US" dirty="0"/>
              <a:t>$ 2661</a:t>
            </a:r>
          </a:p>
          <a:p>
            <a:pPr marL="0" indent="0">
              <a:buNone/>
            </a:pPr>
            <a:r>
              <a:rPr lang="en-US" dirty="0"/>
              <a:t>$ 2685</a:t>
            </a:r>
          </a:p>
          <a:p>
            <a:pPr marL="0" indent="0">
              <a:buNone/>
            </a:pPr>
            <a:r>
              <a:rPr lang="en-US" dirty="0"/>
              <a:t>$ 2687</a:t>
            </a:r>
          </a:p>
          <a:p>
            <a:pPr marL="0" indent="0">
              <a:buNone/>
            </a:pPr>
            <a:r>
              <a:rPr lang="en-US" dirty="0"/>
              <a:t>$ 2711</a:t>
            </a:r>
          </a:p>
          <a:p>
            <a:pPr marL="0" indent="0">
              <a:buNone/>
            </a:pPr>
            <a:r>
              <a:rPr lang="en-US" dirty="0"/>
              <a:t>$ 2744</a:t>
            </a:r>
          </a:p>
        </p:txBody>
      </p:sp>
      <p:sp>
        <p:nvSpPr>
          <p:cNvPr id="4" name="Title 1">
            <a:extLst>
              <a:ext uri="{FF2B5EF4-FFF2-40B4-BE49-F238E27FC236}">
                <a16:creationId xmlns:a16="http://schemas.microsoft.com/office/drawing/2014/main" id="{489B247C-E2C1-4166-AA50-55CCE0E1B8EA}"/>
              </a:ext>
            </a:extLst>
          </p:cNvPr>
          <p:cNvSpPr>
            <a:spLocks noGrp="1"/>
          </p:cNvSpPr>
          <p:nvPr>
            <p:ph type="title"/>
          </p:nvPr>
        </p:nvSpPr>
        <p:spPr>
          <a:xfrm>
            <a:off x="0" y="22860"/>
            <a:ext cx="4295219" cy="640080"/>
          </a:xfrm>
        </p:spPr>
        <p:txBody>
          <a:bodyPr/>
          <a:lstStyle/>
          <a:p>
            <a:r>
              <a:rPr lang="en-US" dirty="0"/>
              <a:t>Central Limit Theorem</a:t>
            </a:r>
          </a:p>
        </p:txBody>
      </p:sp>
      <p:sp>
        <p:nvSpPr>
          <p:cNvPr id="6" name="TextBox 5">
            <a:extLst>
              <a:ext uri="{FF2B5EF4-FFF2-40B4-BE49-F238E27FC236}">
                <a16:creationId xmlns:a16="http://schemas.microsoft.com/office/drawing/2014/main" id="{936752CE-B540-442A-8A29-57A8B0CDDBCE}"/>
              </a:ext>
            </a:extLst>
          </p:cNvPr>
          <p:cNvSpPr txBox="1"/>
          <p:nvPr/>
        </p:nvSpPr>
        <p:spPr>
          <a:xfrm>
            <a:off x="3280673" y="914400"/>
            <a:ext cx="2757161" cy="3471720"/>
          </a:xfrm>
          <a:prstGeom prst="rect">
            <a:avLst/>
          </a:prstGeom>
          <a:noFill/>
        </p:spPr>
        <p:txBody>
          <a:bodyPr wrap="square" rtlCol="0">
            <a:spAutoFit/>
          </a:bodyPr>
          <a:lstStyle/>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748</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786</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804</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804</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843</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844</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844</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691</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3030</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3201</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3240</a:t>
            </a:r>
          </a:p>
          <a:p>
            <a:pPr>
              <a:spcBef>
                <a:spcPts val="0"/>
              </a:spcBef>
              <a:spcAft>
                <a:spcPts val="0"/>
              </a:spcAft>
              <a:buClr>
                <a:schemeClr val="bg1"/>
              </a:buClr>
            </a:pPr>
            <a:endParaRPr lang="en-US" sz="1400" dirty="0" err="1">
              <a:solidFill>
                <a:schemeClr val="bg2"/>
              </a:solidFill>
              <a:latin typeface="+mn-lt"/>
            </a:endParaRPr>
          </a:p>
        </p:txBody>
      </p:sp>
      <p:sp>
        <p:nvSpPr>
          <p:cNvPr id="7" name="TextBox 6">
            <a:extLst>
              <a:ext uri="{FF2B5EF4-FFF2-40B4-BE49-F238E27FC236}">
                <a16:creationId xmlns:a16="http://schemas.microsoft.com/office/drawing/2014/main" id="{1286DED4-90BF-4713-B38A-8856560A5254}"/>
              </a:ext>
            </a:extLst>
          </p:cNvPr>
          <p:cNvSpPr txBox="1"/>
          <p:nvPr/>
        </p:nvSpPr>
        <p:spPr>
          <a:xfrm>
            <a:off x="5297936" y="1221527"/>
            <a:ext cx="2708299"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Sampling Distribution</a:t>
            </a:r>
          </a:p>
        </p:txBody>
      </p:sp>
      <p:sp>
        <p:nvSpPr>
          <p:cNvPr id="8" name="TextBox 7">
            <a:extLst>
              <a:ext uri="{FF2B5EF4-FFF2-40B4-BE49-F238E27FC236}">
                <a16:creationId xmlns:a16="http://schemas.microsoft.com/office/drawing/2014/main" id="{E42D2C4B-4211-4231-8EC0-380586F19B71}"/>
              </a:ext>
            </a:extLst>
          </p:cNvPr>
          <p:cNvSpPr txBox="1"/>
          <p:nvPr/>
        </p:nvSpPr>
        <p:spPr>
          <a:xfrm>
            <a:off x="5318878" y="2167841"/>
            <a:ext cx="3406314"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ampling Distribution of the MEAN</a:t>
            </a:r>
          </a:p>
        </p:txBody>
      </p:sp>
      <p:sp>
        <p:nvSpPr>
          <p:cNvPr id="9" name="TextBox 8">
            <a:extLst>
              <a:ext uri="{FF2B5EF4-FFF2-40B4-BE49-F238E27FC236}">
                <a16:creationId xmlns:a16="http://schemas.microsoft.com/office/drawing/2014/main" id="{EEA44317-DB50-4076-8EE0-9C5D8519EFBF}"/>
              </a:ext>
            </a:extLst>
          </p:cNvPr>
          <p:cNvSpPr txBox="1"/>
          <p:nvPr/>
        </p:nvSpPr>
        <p:spPr>
          <a:xfrm>
            <a:off x="1537728" y="1598455"/>
            <a:ext cx="1054003" cy="1446550"/>
          </a:xfrm>
          <a:prstGeom prst="rect">
            <a:avLst/>
          </a:prstGeom>
          <a:noFill/>
        </p:spPr>
        <p:txBody>
          <a:bodyPr wrap="square" rtlCol="0">
            <a:spAutoFit/>
          </a:bodyPr>
          <a:lstStyle/>
          <a:p>
            <a:pPr>
              <a:spcBef>
                <a:spcPts val="0"/>
              </a:spcBef>
              <a:spcAft>
                <a:spcPts val="0"/>
              </a:spcAft>
              <a:buClr>
                <a:schemeClr val="bg1"/>
              </a:buClr>
            </a:pPr>
            <a:r>
              <a:rPr lang="en-US" sz="8800" dirty="0">
                <a:solidFill>
                  <a:schemeClr val="accent4"/>
                </a:solidFill>
                <a:latin typeface="+mn-lt"/>
              </a:rPr>
              <a:t>µ</a:t>
            </a:r>
          </a:p>
        </p:txBody>
      </p:sp>
      <p:sp>
        <p:nvSpPr>
          <p:cNvPr id="10" name="TextBox 9">
            <a:extLst>
              <a:ext uri="{FF2B5EF4-FFF2-40B4-BE49-F238E27FC236}">
                <a16:creationId xmlns:a16="http://schemas.microsoft.com/office/drawing/2014/main" id="{B52C6D56-86EB-414B-AB95-0E81E6A00153}"/>
              </a:ext>
            </a:extLst>
          </p:cNvPr>
          <p:cNvSpPr txBox="1"/>
          <p:nvPr/>
        </p:nvSpPr>
        <p:spPr>
          <a:xfrm>
            <a:off x="1280509" y="1598455"/>
            <a:ext cx="1568440" cy="461665"/>
          </a:xfrm>
          <a:prstGeom prst="rect">
            <a:avLst/>
          </a:prstGeom>
          <a:noFill/>
        </p:spPr>
        <p:txBody>
          <a:bodyPr wrap="square" rtlCol="0">
            <a:spAutoFit/>
          </a:bodyPr>
          <a:lstStyle/>
          <a:p>
            <a:pPr>
              <a:spcBef>
                <a:spcPts val="0"/>
              </a:spcBef>
              <a:spcAft>
                <a:spcPts val="0"/>
              </a:spcAft>
              <a:buClr>
                <a:schemeClr val="bg1"/>
              </a:buClr>
            </a:pPr>
            <a:r>
              <a:rPr lang="en-US" b="1" dirty="0">
                <a:solidFill>
                  <a:schemeClr val="bg2"/>
                </a:solidFill>
                <a:latin typeface="+mn-lt"/>
              </a:rPr>
              <a:t>~$ 2800</a:t>
            </a:r>
            <a:endParaRPr lang="en-US" sz="1400" b="1" dirty="0">
              <a:solidFill>
                <a:schemeClr val="bg2"/>
              </a:solidFill>
              <a:latin typeface="+mn-lt"/>
            </a:endParaRPr>
          </a:p>
        </p:txBody>
      </p:sp>
      <mc:AlternateContent xmlns:mc="http://schemas.openxmlformats.org/markup-compatibility/2006">
        <mc:Choice xmlns:p14="http://schemas.microsoft.com/office/powerpoint/2010/main" Requires="p14">
          <p:contentPart p14:bwMode="auto" r:id="rId2">
            <p14:nvContentPartPr>
              <p14:cNvPr id="2" name="Ink 1">
                <a:extLst>
                  <a:ext uri="{FF2B5EF4-FFF2-40B4-BE49-F238E27FC236}">
                    <a16:creationId xmlns:a16="http://schemas.microsoft.com/office/drawing/2014/main" id="{3C078EE8-7839-4931-9A1A-4045E86E73A1}"/>
                  </a:ext>
                </a:extLst>
              </p14:cNvPr>
              <p14:cNvContentPartPr/>
              <p14:nvPr/>
            </p14:nvContentPartPr>
            <p14:xfrm>
              <a:off x="4680" y="700200"/>
              <a:ext cx="8344440" cy="3872160"/>
            </p14:xfrm>
          </p:contentPart>
        </mc:Choice>
        <mc:Fallback>
          <p:pic>
            <p:nvPicPr>
              <p:cNvPr id="2" name="Ink 1">
                <a:extLst>
                  <a:ext uri="{FF2B5EF4-FFF2-40B4-BE49-F238E27FC236}">
                    <a16:creationId xmlns:a16="http://schemas.microsoft.com/office/drawing/2014/main" id="{3C078EE8-7839-4931-9A1A-4045E86E73A1}"/>
                  </a:ext>
                </a:extLst>
              </p:cNvPr>
              <p:cNvPicPr/>
              <p:nvPr/>
            </p:nvPicPr>
            <p:blipFill>
              <a:blip r:embed="rId3"/>
              <a:stretch>
                <a:fillRect/>
              </a:stretch>
            </p:blipFill>
            <p:spPr>
              <a:xfrm>
                <a:off x="-4680" y="690840"/>
                <a:ext cx="8363160" cy="3890880"/>
              </a:xfrm>
              <a:prstGeom prst="rect">
                <a:avLst/>
              </a:prstGeom>
            </p:spPr>
          </p:pic>
        </mc:Fallback>
      </mc:AlternateContent>
    </p:spTree>
    <p:extLst>
      <p:ext uri="{BB962C8B-B14F-4D97-AF65-F5344CB8AC3E}">
        <p14:creationId xmlns:p14="http://schemas.microsoft.com/office/powerpoint/2010/main" val="835954562"/>
      </p:ext>
    </p:extLst>
  </p:cSld>
  <p:clrMapOvr>
    <a:masterClrMapping/>
  </p:clrMapOvr>
  <p:transition spd="med">
    <p:wipe dir="r"/>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157D56-95C5-4D0C-A949-1A487B245503}"/>
              </a:ext>
            </a:extLst>
          </p:cNvPr>
          <p:cNvSpPr>
            <a:spLocks noGrp="1"/>
          </p:cNvSpPr>
          <p:nvPr>
            <p:ph type="title"/>
          </p:nvPr>
        </p:nvSpPr>
        <p:spPr>
          <a:xfrm>
            <a:off x="0" y="22860"/>
            <a:ext cx="4295219" cy="640080"/>
          </a:xfrm>
        </p:spPr>
        <p:txBody>
          <a:bodyPr/>
          <a:lstStyle/>
          <a:p>
            <a:r>
              <a:rPr lang="en-US" dirty="0"/>
              <a:t>Central Limit Theorem</a:t>
            </a:r>
          </a:p>
        </p:txBody>
      </p:sp>
      <p:sp>
        <p:nvSpPr>
          <p:cNvPr id="3" name="Content Placeholder 2">
            <a:extLst>
              <a:ext uri="{FF2B5EF4-FFF2-40B4-BE49-F238E27FC236}">
                <a16:creationId xmlns:a16="http://schemas.microsoft.com/office/drawing/2014/main" id="{B39ECE88-325C-4E0B-A7D7-FFA8F4710CDF}"/>
              </a:ext>
            </a:extLst>
          </p:cNvPr>
          <p:cNvSpPr>
            <a:spLocks noGrp="1"/>
          </p:cNvSpPr>
          <p:nvPr>
            <p:ph sz="half" idx="13"/>
          </p:nvPr>
        </p:nvSpPr>
        <p:spPr>
          <a:xfrm>
            <a:off x="332604" y="1415242"/>
            <a:ext cx="8478791" cy="1930711"/>
          </a:xfrm>
        </p:spPr>
        <p:txBody>
          <a:bodyPr>
            <a:normAutofit/>
          </a:bodyPr>
          <a:lstStyle/>
          <a:p>
            <a:pPr marL="0" indent="0">
              <a:buNone/>
            </a:pPr>
            <a:r>
              <a:rPr lang="en-US" sz="1800" b="1" dirty="0"/>
              <a:t>Distribution of Car Prices</a:t>
            </a:r>
          </a:p>
        </p:txBody>
      </p:sp>
      <p:grpSp>
        <p:nvGrpSpPr>
          <p:cNvPr id="12" name="Group 11">
            <a:extLst>
              <a:ext uri="{FF2B5EF4-FFF2-40B4-BE49-F238E27FC236}">
                <a16:creationId xmlns:a16="http://schemas.microsoft.com/office/drawing/2014/main" id="{BCF523DF-06F8-4B59-8DB3-E70C4ADA19D8}"/>
              </a:ext>
            </a:extLst>
          </p:cNvPr>
          <p:cNvGrpSpPr/>
          <p:nvPr/>
        </p:nvGrpSpPr>
        <p:grpSpPr>
          <a:xfrm>
            <a:off x="1004944" y="2178783"/>
            <a:ext cx="2478600" cy="1243080"/>
            <a:chOff x="669897" y="1521278"/>
            <a:chExt cx="2478600" cy="1243080"/>
          </a:xfrm>
        </p:grpSpPr>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6D113C73-2B8D-434A-9DC1-B0D7EDEADD9B}"/>
                    </a:ext>
                  </a:extLst>
                </p14:cNvPr>
                <p14:cNvContentPartPr/>
                <p14:nvPr/>
              </p14:nvContentPartPr>
              <p14:xfrm>
                <a:off x="836937" y="1521278"/>
                <a:ext cx="63720" cy="1243080"/>
              </p14:xfrm>
            </p:contentPart>
          </mc:Choice>
          <mc:Fallback xmlns="">
            <p:pic>
              <p:nvPicPr>
                <p:cNvPr id="4" name="Ink 3">
                  <a:extLst>
                    <a:ext uri="{FF2B5EF4-FFF2-40B4-BE49-F238E27FC236}">
                      <a16:creationId xmlns:a16="http://schemas.microsoft.com/office/drawing/2014/main" id="{6D113C73-2B8D-434A-9DC1-B0D7EDEADD9B}"/>
                    </a:ext>
                  </a:extLst>
                </p:cNvPr>
                <p:cNvPicPr/>
                <p:nvPr/>
              </p:nvPicPr>
              <p:blipFill>
                <a:blip r:embed="rId3"/>
                <a:stretch>
                  <a:fillRect/>
                </a:stretch>
              </p:blipFill>
              <p:spPr>
                <a:xfrm>
                  <a:off x="827937" y="1512638"/>
                  <a:ext cx="81360" cy="1260720"/>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5" name="Ink 4">
                  <a:extLst>
                    <a:ext uri="{FF2B5EF4-FFF2-40B4-BE49-F238E27FC236}">
                      <a16:creationId xmlns:a16="http://schemas.microsoft.com/office/drawing/2014/main" id="{0AE3159E-170F-4FE1-94E0-C7264AABDE24}"/>
                    </a:ext>
                  </a:extLst>
                </p14:cNvPr>
                <p14:cNvContentPartPr/>
                <p14:nvPr/>
              </p14:nvContentPartPr>
              <p14:xfrm>
                <a:off x="669897" y="2587598"/>
                <a:ext cx="1758600" cy="36720"/>
              </p14:xfrm>
            </p:contentPart>
          </mc:Choice>
          <mc:Fallback xmlns="">
            <p:pic>
              <p:nvPicPr>
                <p:cNvPr id="5" name="Ink 4">
                  <a:extLst>
                    <a:ext uri="{FF2B5EF4-FFF2-40B4-BE49-F238E27FC236}">
                      <a16:creationId xmlns:a16="http://schemas.microsoft.com/office/drawing/2014/main" id="{0AE3159E-170F-4FE1-94E0-C7264AABDE24}"/>
                    </a:ext>
                  </a:extLst>
                </p:cNvPr>
                <p:cNvPicPr/>
                <p:nvPr/>
              </p:nvPicPr>
              <p:blipFill>
                <a:blip r:embed="rId5"/>
                <a:stretch>
                  <a:fillRect/>
                </a:stretch>
              </p:blipFill>
              <p:spPr>
                <a:xfrm>
                  <a:off x="660897" y="2578598"/>
                  <a:ext cx="1776240" cy="5436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11" name="Ink 10">
                  <a:extLst>
                    <a:ext uri="{FF2B5EF4-FFF2-40B4-BE49-F238E27FC236}">
                      <a16:creationId xmlns:a16="http://schemas.microsoft.com/office/drawing/2014/main" id="{3EFB8835-00BE-4C34-83CE-6457FE475CBA}"/>
                    </a:ext>
                  </a:extLst>
                </p14:cNvPr>
                <p14:cNvContentPartPr/>
                <p14:nvPr/>
              </p14:nvContentPartPr>
              <p14:xfrm>
                <a:off x="921177" y="1540718"/>
                <a:ext cx="2227320" cy="839880"/>
              </p14:xfrm>
            </p:contentPart>
          </mc:Choice>
          <mc:Fallback xmlns="">
            <p:pic>
              <p:nvPicPr>
                <p:cNvPr id="11" name="Ink 10">
                  <a:extLst>
                    <a:ext uri="{FF2B5EF4-FFF2-40B4-BE49-F238E27FC236}">
                      <a16:creationId xmlns:a16="http://schemas.microsoft.com/office/drawing/2014/main" id="{3EFB8835-00BE-4C34-83CE-6457FE475CBA}"/>
                    </a:ext>
                  </a:extLst>
                </p:cNvPr>
                <p:cNvPicPr/>
                <p:nvPr/>
              </p:nvPicPr>
              <p:blipFill>
                <a:blip r:embed="rId7"/>
                <a:stretch>
                  <a:fillRect/>
                </a:stretch>
              </p:blipFill>
              <p:spPr>
                <a:xfrm>
                  <a:off x="912177" y="1531718"/>
                  <a:ext cx="2244960" cy="857520"/>
                </a:xfrm>
                <a:prstGeom prst="rect">
                  <a:avLst/>
                </a:prstGeom>
              </p:spPr>
            </p:pic>
          </mc:Fallback>
        </mc:AlternateContent>
      </p:grpSp>
      <p:sp>
        <p:nvSpPr>
          <p:cNvPr id="13" name="TextBox 12">
            <a:extLst>
              <a:ext uri="{FF2B5EF4-FFF2-40B4-BE49-F238E27FC236}">
                <a16:creationId xmlns:a16="http://schemas.microsoft.com/office/drawing/2014/main" id="{0D28BA63-1A90-4469-A39F-F78CD717646F}"/>
              </a:ext>
            </a:extLst>
          </p:cNvPr>
          <p:cNvSpPr txBox="1"/>
          <p:nvPr/>
        </p:nvSpPr>
        <p:spPr>
          <a:xfrm>
            <a:off x="4571999" y="2484935"/>
            <a:ext cx="2757160" cy="461665"/>
          </a:xfrm>
          <a:prstGeom prst="rect">
            <a:avLst/>
          </a:prstGeom>
          <a:noFill/>
        </p:spPr>
        <p:txBody>
          <a:bodyPr wrap="square" rtlCol="0">
            <a:spAutoFit/>
          </a:bodyPr>
          <a:lstStyle/>
          <a:p>
            <a:pPr>
              <a:spcBef>
                <a:spcPts val="0"/>
              </a:spcBef>
              <a:spcAft>
                <a:spcPts val="0"/>
              </a:spcAft>
              <a:buClr>
                <a:schemeClr val="bg1"/>
              </a:buClr>
            </a:pPr>
            <a:r>
              <a:rPr lang="en-US" b="1" dirty="0">
                <a:solidFill>
                  <a:schemeClr val="bg2"/>
                </a:solidFill>
                <a:latin typeface="+mn-lt"/>
              </a:rPr>
              <a:t>Right Skewed</a:t>
            </a:r>
          </a:p>
        </p:txBody>
      </p:sp>
      <mc:AlternateContent xmlns:mc="http://schemas.openxmlformats.org/markup-compatibility/2006">
        <mc:Choice xmlns:p14="http://schemas.microsoft.com/office/powerpoint/2010/main" Requires="p14">
          <p:contentPart p14:bwMode="auto" r:id="rId8">
            <p14:nvContentPartPr>
              <p14:cNvPr id="6" name="Ink 5">
                <a:extLst>
                  <a:ext uri="{FF2B5EF4-FFF2-40B4-BE49-F238E27FC236}">
                    <a16:creationId xmlns:a16="http://schemas.microsoft.com/office/drawing/2014/main" id="{1DF500F2-70F3-4847-B315-1637E35362D3}"/>
                  </a:ext>
                </a:extLst>
              </p14:cNvPr>
              <p14:cNvContentPartPr/>
              <p14:nvPr/>
            </p14:nvContentPartPr>
            <p14:xfrm>
              <a:off x="271440" y="1028880"/>
              <a:ext cx="8830080" cy="3648240"/>
            </p14:xfrm>
          </p:contentPart>
        </mc:Choice>
        <mc:Fallback>
          <p:pic>
            <p:nvPicPr>
              <p:cNvPr id="6" name="Ink 5">
                <a:extLst>
                  <a:ext uri="{FF2B5EF4-FFF2-40B4-BE49-F238E27FC236}">
                    <a16:creationId xmlns:a16="http://schemas.microsoft.com/office/drawing/2014/main" id="{1DF500F2-70F3-4847-B315-1637E35362D3}"/>
                  </a:ext>
                </a:extLst>
              </p:cNvPr>
              <p:cNvPicPr/>
              <p:nvPr/>
            </p:nvPicPr>
            <p:blipFill>
              <a:blip r:embed="rId9"/>
              <a:stretch>
                <a:fillRect/>
              </a:stretch>
            </p:blipFill>
            <p:spPr>
              <a:xfrm>
                <a:off x="262080" y="1019520"/>
                <a:ext cx="8848800" cy="3666960"/>
              </a:xfrm>
              <a:prstGeom prst="rect">
                <a:avLst/>
              </a:prstGeom>
            </p:spPr>
          </p:pic>
        </mc:Fallback>
      </mc:AlternateContent>
    </p:spTree>
    <p:extLst>
      <p:ext uri="{BB962C8B-B14F-4D97-AF65-F5344CB8AC3E}">
        <p14:creationId xmlns:p14="http://schemas.microsoft.com/office/powerpoint/2010/main" val="3240609061"/>
      </p:ext>
    </p:extLst>
  </p:cSld>
  <p:clrMapOvr>
    <a:masterClrMapping/>
  </p:clrMapOvr>
  <p:transition spd="med">
    <p:wipe dir="r"/>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26BCF2-946B-4D76-B942-09464C8F5A28}"/>
              </a:ext>
            </a:extLst>
          </p:cNvPr>
          <p:cNvSpPr>
            <a:spLocks noGrp="1"/>
          </p:cNvSpPr>
          <p:nvPr>
            <p:ph type="title"/>
          </p:nvPr>
        </p:nvSpPr>
        <p:spPr>
          <a:xfrm>
            <a:off x="0" y="0"/>
            <a:ext cx="6183591" cy="640080"/>
          </a:xfrm>
        </p:spPr>
        <p:txBody>
          <a:bodyPr/>
          <a:lstStyle/>
          <a:p>
            <a:r>
              <a:rPr lang="en-US" dirty="0"/>
              <a:t>Central Limit Theorem</a:t>
            </a:r>
          </a:p>
        </p:txBody>
      </p:sp>
      <p:pic>
        <p:nvPicPr>
          <p:cNvPr id="5" name="Picture 4">
            <a:extLst>
              <a:ext uri="{FF2B5EF4-FFF2-40B4-BE49-F238E27FC236}">
                <a16:creationId xmlns:a16="http://schemas.microsoft.com/office/drawing/2014/main" id="{38C663EE-8F58-49A3-868B-07019BA122D8}"/>
              </a:ext>
            </a:extLst>
          </p:cNvPr>
          <p:cNvPicPr>
            <a:picLocks noChangeAspect="1"/>
          </p:cNvPicPr>
          <p:nvPr/>
        </p:nvPicPr>
        <p:blipFill>
          <a:blip r:embed="rId2"/>
          <a:stretch>
            <a:fillRect/>
          </a:stretch>
        </p:blipFill>
        <p:spPr>
          <a:xfrm>
            <a:off x="931924" y="888548"/>
            <a:ext cx="7362825" cy="2838450"/>
          </a:xfrm>
          <a:prstGeom prst="rect">
            <a:avLst/>
          </a:prstGeom>
        </p:spPr>
      </p:pic>
      <p:grpSp>
        <p:nvGrpSpPr>
          <p:cNvPr id="9" name="Group 8">
            <a:extLst>
              <a:ext uri="{FF2B5EF4-FFF2-40B4-BE49-F238E27FC236}">
                <a16:creationId xmlns:a16="http://schemas.microsoft.com/office/drawing/2014/main" id="{88629BA1-AC80-43C2-B2AD-52ECC66571A9}"/>
              </a:ext>
            </a:extLst>
          </p:cNvPr>
          <p:cNvGrpSpPr/>
          <p:nvPr/>
        </p:nvGrpSpPr>
        <p:grpSpPr>
          <a:xfrm>
            <a:off x="4494897" y="1002518"/>
            <a:ext cx="446400" cy="225720"/>
            <a:chOff x="4494897" y="1002518"/>
            <a:chExt cx="446400" cy="225720"/>
          </a:xfrm>
        </p:grpSpPr>
        <mc:AlternateContent xmlns:mc="http://schemas.openxmlformats.org/markup-compatibility/2006" xmlns:p14="http://schemas.microsoft.com/office/powerpoint/2010/main">
          <mc:Choice Requires="p14">
            <p:contentPart p14:bwMode="auto" r:id="rId3">
              <p14:nvContentPartPr>
                <p14:cNvPr id="6" name="Ink 5">
                  <a:extLst>
                    <a:ext uri="{FF2B5EF4-FFF2-40B4-BE49-F238E27FC236}">
                      <a16:creationId xmlns:a16="http://schemas.microsoft.com/office/drawing/2014/main" id="{0C6F922E-A081-4A53-BFA0-BCE0D3D61496}"/>
                    </a:ext>
                  </a:extLst>
                </p14:cNvPr>
                <p14:cNvContentPartPr/>
                <p14:nvPr/>
              </p14:nvContentPartPr>
              <p14:xfrm>
                <a:off x="4494897" y="1002518"/>
                <a:ext cx="236880" cy="225720"/>
              </p14:xfrm>
            </p:contentPart>
          </mc:Choice>
          <mc:Fallback xmlns="">
            <p:pic>
              <p:nvPicPr>
                <p:cNvPr id="6" name="Ink 5">
                  <a:extLst>
                    <a:ext uri="{FF2B5EF4-FFF2-40B4-BE49-F238E27FC236}">
                      <a16:creationId xmlns:a16="http://schemas.microsoft.com/office/drawing/2014/main" id="{0C6F922E-A081-4A53-BFA0-BCE0D3D61496}"/>
                    </a:ext>
                  </a:extLst>
                </p:cNvPr>
                <p:cNvPicPr/>
                <p:nvPr/>
              </p:nvPicPr>
              <p:blipFill>
                <a:blip r:embed="rId4"/>
                <a:stretch>
                  <a:fillRect/>
                </a:stretch>
              </p:blipFill>
              <p:spPr>
                <a:xfrm>
                  <a:off x="4486257" y="993878"/>
                  <a:ext cx="254520" cy="24336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7" name="Ink 6">
                  <a:extLst>
                    <a:ext uri="{FF2B5EF4-FFF2-40B4-BE49-F238E27FC236}">
                      <a16:creationId xmlns:a16="http://schemas.microsoft.com/office/drawing/2014/main" id="{266B8148-6813-48A6-94F1-2AC9A3A53823}"/>
                    </a:ext>
                  </a:extLst>
                </p14:cNvPr>
                <p14:cNvContentPartPr/>
                <p14:nvPr/>
              </p14:nvContentPartPr>
              <p14:xfrm>
                <a:off x="4836897" y="1011158"/>
                <a:ext cx="90720" cy="21960"/>
              </p14:xfrm>
            </p:contentPart>
          </mc:Choice>
          <mc:Fallback xmlns="">
            <p:pic>
              <p:nvPicPr>
                <p:cNvPr id="7" name="Ink 6">
                  <a:extLst>
                    <a:ext uri="{FF2B5EF4-FFF2-40B4-BE49-F238E27FC236}">
                      <a16:creationId xmlns:a16="http://schemas.microsoft.com/office/drawing/2014/main" id="{266B8148-6813-48A6-94F1-2AC9A3A53823}"/>
                    </a:ext>
                  </a:extLst>
                </p:cNvPr>
                <p:cNvPicPr/>
                <p:nvPr/>
              </p:nvPicPr>
              <p:blipFill>
                <a:blip r:embed="rId6"/>
                <a:stretch>
                  <a:fillRect/>
                </a:stretch>
              </p:blipFill>
              <p:spPr>
                <a:xfrm>
                  <a:off x="4827897" y="1002158"/>
                  <a:ext cx="108360" cy="3960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8" name="Ink 7">
                  <a:extLst>
                    <a:ext uri="{FF2B5EF4-FFF2-40B4-BE49-F238E27FC236}">
                      <a16:creationId xmlns:a16="http://schemas.microsoft.com/office/drawing/2014/main" id="{B709F09D-A4B7-4EF5-A186-22BA8E308DAA}"/>
                    </a:ext>
                  </a:extLst>
                </p14:cNvPr>
                <p14:cNvContentPartPr/>
                <p14:nvPr/>
              </p14:nvContentPartPr>
              <p14:xfrm>
                <a:off x="4857777" y="1074878"/>
                <a:ext cx="83520" cy="20880"/>
              </p14:xfrm>
            </p:contentPart>
          </mc:Choice>
          <mc:Fallback xmlns="">
            <p:pic>
              <p:nvPicPr>
                <p:cNvPr id="8" name="Ink 7">
                  <a:extLst>
                    <a:ext uri="{FF2B5EF4-FFF2-40B4-BE49-F238E27FC236}">
                      <a16:creationId xmlns:a16="http://schemas.microsoft.com/office/drawing/2014/main" id="{B709F09D-A4B7-4EF5-A186-22BA8E308DAA}"/>
                    </a:ext>
                  </a:extLst>
                </p:cNvPr>
                <p:cNvPicPr/>
                <p:nvPr/>
              </p:nvPicPr>
              <p:blipFill>
                <a:blip r:embed="rId8"/>
                <a:stretch>
                  <a:fillRect/>
                </a:stretch>
              </p:blipFill>
              <p:spPr>
                <a:xfrm>
                  <a:off x="4849137" y="1065878"/>
                  <a:ext cx="101160" cy="38520"/>
                </a:xfrm>
                <a:prstGeom prst="rect">
                  <a:avLst/>
                </a:prstGeom>
              </p:spPr>
            </p:pic>
          </mc:Fallback>
        </mc:AlternateContent>
      </p:grpSp>
      <p:grpSp>
        <p:nvGrpSpPr>
          <p:cNvPr id="15" name="Group 14">
            <a:extLst>
              <a:ext uri="{FF2B5EF4-FFF2-40B4-BE49-F238E27FC236}">
                <a16:creationId xmlns:a16="http://schemas.microsoft.com/office/drawing/2014/main" id="{45DE6F01-9B6D-430D-942D-4D94F44CAAB1}"/>
              </a:ext>
            </a:extLst>
          </p:cNvPr>
          <p:cNvGrpSpPr/>
          <p:nvPr/>
        </p:nvGrpSpPr>
        <p:grpSpPr>
          <a:xfrm>
            <a:off x="5220657" y="782558"/>
            <a:ext cx="782640" cy="229320"/>
            <a:chOff x="5220657" y="782558"/>
            <a:chExt cx="782640" cy="229320"/>
          </a:xfrm>
        </p:grpSpPr>
        <mc:AlternateContent xmlns:mc="http://schemas.openxmlformats.org/markup-compatibility/2006" xmlns:p14="http://schemas.microsoft.com/office/powerpoint/2010/main">
          <mc:Choice Requires="p14">
            <p:contentPart p14:bwMode="auto" r:id="rId9">
              <p14:nvContentPartPr>
                <p14:cNvPr id="10" name="Ink 9">
                  <a:extLst>
                    <a:ext uri="{FF2B5EF4-FFF2-40B4-BE49-F238E27FC236}">
                      <a16:creationId xmlns:a16="http://schemas.microsoft.com/office/drawing/2014/main" id="{80F7496D-D19C-49CB-8BDB-209256FF51DE}"/>
                    </a:ext>
                  </a:extLst>
                </p14:cNvPr>
                <p14:cNvContentPartPr/>
                <p14:nvPr/>
              </p14:nvContentPartPr>
              <p14:xfrm>
                <a:off x="5220657" y="933038"/>
                <a:ext cx="154440" cy="78840"/>
              </p14:xfrm>
            </p:contentPart>
          </mc:Choice>
          <mc:Fallback xmlns="">
            <p:pic>
              <p:nvPicPr>
                <p:cNvPr id="10" name="Ink 9">
                  <a:extLst>
                    <a:ext uri="{FF2B5EF4-FFF2-40B4-BE49-F238E27FC236}">
                      <a16:creationId xmlns:a16="http://schemas.microsoft.com/office/drawing/2014/main" id="{80F7496D-D19C-49CB-8BDB-209256FF51DE}"/>
                    </a:ext>
                  </a:extLst>
                </p:cNvPr>
                <p:cNvPicPr/>
                <p:nvPr/>
              </p:nvPicPr>
              <p:blipFill>
                <a:blip r:embed="rId10"/>
                <a:stretch>
                  <a:fillRect/>
                </a:stretch>
              </p:blipFill>
              <p:spPr>
                <a:xfrm>
                  <a:off x="5212017" y="924398"/>
                  <a:ext cx="172080" cy="9648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1" name="Ink 10">
                  <a:extLst>
                    <a:ext uri="{FF2B5EF4-FFF2-40B4-BE49-F238E27FC236}">
                      <a16:creationId xmlns:a16="http://schemas.microsoft.com/office/drawing/2014/main" id="{2BF2182C-1498-4331-AE41-8404108C73A7}"/>
                    </a:ext>
                  </a:extLst>
                </p14:cNvPr>
                <p14:cNvContentPartPr/>
                <p14:nvPr/>
              </p14:nvContentPartPr>
              <p14:xfrm>
                <a:off x="5458257" y="864638"/>
                <a:ext cx="114120" cy="104760"/>
              </p14:xfrm>
            </p:contentPart>
          </mc:Choice>
          <mc:Fallback xmlns="">
            <p:pic>
              <p:nvPicPr>
                <p:cNvPr id="11" name="Ink 10">
                  <a:extLst>
                    <a:ext uri="{FF2B5EF4-FFF2-40B4-BE49-F238E27FC236}">
                      <a16:creationId xmlns:a16="http://schemas.microsoft.com/office/drawing/2014/main" id="{2BF2182C-1498-4331-AE41-8404108C73A7}"/>
                    </a:ext>
                  </a:extLst>
                </p:cNvPr>
                <p:cNvPicPr/>
                <p:nvPr/>
              </p:nvPicPr>
              <p:blipFill>
                <a:blip r:embed="rId12"/>
                <a:stretch>
                  <a:fillRect/>
                </a:stretch>
              </p:blipFill>
              <p:spPr>
                <a:xfrm>
                  <a:off x="5449257" y="855638"/>
                  <a:ext cx="131760" cy="12240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2" name="Ink 11">
                  <a:extLst>
                    <a:ext uri="{FF2B5EF4-FFF2-40B4-BE49-F238E27FC236}">
                      <a16:creationId xmlns:a16="http://schemas.microsoft.com/office/drawing/2014/main" id="{B6B183EF-78D5-4AC5-A4F9-29040B28AC31}"/>
                    </a:ext>
                  </a:extLst>
                </p14:cNvPr>
                <p14:cNvContentPartPr/>
                <p14:nvPr/>
              </p14:nvContentPartPr>
              <p14:xfrm>
                <a:off x="5607297" y="814238"/>
                <a:ext cx="90000" cy="121320"/>
              </p14:xfrm>
            </p:contentPart>
          </mc:Choice>
          <mc:Fallback xmlns="">
            <p:pic>
              <p:nvPicPr>
                <p:cNvPr id="12" name="Ink 11">
                  <a:extLst>
                    <a:ext uri="{FF2B5EF4-FFF2-40B4-BE49-F238E27FC236}">
                      <a16:creationId xmlns:a16="http://schemas.microsoft.com/office/drawing/2014/main" id="{B6B183EF-78D5-4AC5-A4F9-29040B28AC31}"/>
                    </a:ext>
                  </a:extLst>
                </p:cNvPr>
                <p:cNvPicPr/>
                <p:nvPr/>
              </p:nvPicPr>
              <p:blipFill>
                <a:blip r:embed="rId14"/>
                <a:stretch>
                  <a:fillRect/>
                </a:stretch>
              </p:blipFill>
              <p:spPr>
                <a:xfrm>
                  <a:off x="5598297" y="805238"/>
                  <a:ext cx="107640" cy="13896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13" name="Ink 12">
                  <a:extLst>
                    <a:ext uri="{FF2B5EF4-FFF2-40B4-BE49-F238E27FC236}">
                      <a16:creationId xmlns:a16="http://schemas.microsoft.com/office/drawing/2014/main" id="{A95CEDD0-517E-468A-B2D6-D3124148AA6A}"/>
                    </a:ext>
                  </a:extLst>
                </p14:cNvPr>
                <p14:cNvContentPartPr/>
                <p14:nvPr/>
              </p14:nvContentPartPr>
              <p14:xfrm>
                <a:off x="5730777" y="816398"/>
                <a:ext cx="84600" cy="93240"/>
              </p14:xfrm>
            </p:contentPart>
          </mc:Choice>
          <mc:Fallback xmlns="">
            <p:pic>
              <p:nvPicPr>
                <p:cNvPr id="13" name="Ink 12">
                  <a:extLst>
                    <a:ext uri="{FF2B5EF4-FFF2-40B4-BE49-F238E27FC236}">
                      <a16:creationId xmlns:a16="http://schemas.microsoft.com/office/drawing/2014/main" id="{A95CEDD0-517E-468A-B2D6-D3124148AA6A}"/>
                    </a:ext>
                  </a:extLst>
                </p:cNvPr>
                <p:cNvPicPr/>
                <p:nvPr/>
              </p:nvPicPr>
              <p:blipFill>
                <a:blip r:embed="rId16"/>
                <a:stretch>
                  <a:fillRect/>
                </a:stretch>
              </p:blipFill>
              <p:spPr>
                <a:xfrm>
                  <a:off x="5722137" y="807758"/>
                  <a:ext cx="102240" cy="11088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14" name="Ink 13">
                  <a:extLst>
                    <a:ext uri="{FF2B5EF4-FFF2-40B4-BE49-F238E27FC236}">
                      <a16:creationId xmlns:a16="http://schemas.microsoft.com/office/drawing/2014/main" id="{0CB74518-5A5C-465B-8267-97BFA5A162A2}"/>
                    </a:ext>
                  </a:extLst>
                </p14:cNvPr>
                <p14:cNvContentPartPr/>
                <p14:nvPr/>
              </p14:nvContentPartPr>
              <p14:xfrm>
                <a:off x="5876937" y="782558"/>
                <a:ext cx="126360" cy="77400"/>
              </p14:xfrm>
            </p:contentPart>
          </mc:Choice>
          <mc:Fallback xmlns="">
            <p:pic>
              <p:nvPicPr>
                <p:cNvPr id="14" name="Ink 13">
                  <a:extLst>
                    <a:ext uri="{FF2B5EF4-FFF2-40B4-BE49-F238E27FC236}">
                      <a16:creationId xmlns:a16="http://schemas.microsoft.com/office/drawing/2014/main" id="{0CB74518-5A5C-465B-8267-97BFA5A162A2}"/>
                    </a:ext>
                  </a:extLst>
                </p:cNvPr>
                <p:cNvPicPr/>
                <p:nvPr/>
              </p:nvPicPr>
              <p:blipFill>
                <a:blip r:embed="rId18"/>
                <a:stretch>
                  <a:fillRect/>
                </a:stretch>
              </p:blipFill>
              <p:spPr>
                <a:xfrm>
                  <a:off x="5868297" y="773558"/>
                  <a:ext cx="144000" cy="95040"/>
                </a:xfrm>
                <a:prstGeom prst="rect">
                  <a:avLst/>
                </a:prstGeom>
              </p:spPr>
            </p:pic>
          </mc:Fallback>
        </mc:AlternateContent>
      </p:grpSp>
      <p:grpSp>
        <p:nvGrpSpPr>
          <p:cNvPr id="25" name="Group 24">
            <a:extLst>
              <a:ext uri="{FF2B5EF4-FFF2-40B4-BE49-F238E27FC236}">
                <a16:creationId xmlns:a16="http://schemas.microsoft.com/office/drawing/2014/main" id="{EB167237-1F68-427C-98FD-BD56EBDB8BAE}"/>
              </a:ext>
            </a:extLst>
          </p:cNvPr>
          <p:cNvGrpSpPr/>
          <p:nvPr/>
        </p:nvGrpSpPr>
        <p:grpSpPr>
          <a:xfrm>
            <a:off x="871497" y="3739958"/>
            <a:ext cx="657360" cy="147240"/>
            <a:chOff x="871497" y="3739958"/>
            <a:chExt cx="657360" cy="147240"/>
          </a:xfrm>
        </p:grpSpPr>
        <mc:AlternateContent xmlns:mc="http://schemas.openxmlformats.org/markup-compatibility/2006" xmlns:p14="http://schemas.microsoft.com/office/powerpoint/2010/main">
          <mc:Choice Requires="p14">
            <p:contentPart p14:bwMode="auto" r:id="rId19">
              <p14:nvContentPartPr>
                <p14:cNvPr id="16" name="Ink 15">
                  <a:extLst>
                    <a:ext uri="{FF2B5EF4-FFF2-40B4-BE49-F238E27FC236}">
                      <a16:creationId xmlns:a16="http://schemas.microsoft.com/office/drawing/2014/main" id="{2854C8C6-64F8-428F-B2A7-895C8DA8688F}"/>
                    </a:ext>
                  </a:extLst>
                </p14:cNvPr>
                <p14:cNvContentPartPr/>
                <p14:nvPr/>
              </p14:nvContentPartPr>
              <p14:xfrm>
                <a:off x="871497" y="3739958"/>
                <a:ext cx="87840" cy="113400"/>
              </p14:xfrm>
            </p:contentPart>
          </mc:Choice>
          <mc:Fallback xmlns="">
            <p:pic>
              <p:nvPicPr>
                <p:cNvPr id="16" name="Ink 15">
                  <a:extLst>
                    <a:ext uri="{FF2B5EF4-FFF2-40B4-BE49-F238E27FC236}">
                      <a16:creationId xmlns:a16="http://schemas.microsoft.com/office/drawing/2014/main" id="{2854C8C6-64F8-428F-B2A7-895C8DA8688F}"/>
                    </a:ext>
                  </a:extLst>
                </p:cNvPr>
                <p:cNvPicPr/>
                <p:nvPr/>
              </p:nvPicPr>
              <p:blipFill>
                <a:blip r:embed="rId20"/>
                <a:stretch>
                  <a:fillRect/>
                </a:stretch>
              </p:blipFill>
              <p:spPr>
                <a:xfrm>
                  <a:off x="862857" y="3730958"/>
                  <a:ext cx="105480" cy="13104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17" name="Ink 16">
                  <a:extLst>
                    <a:ext uri="{FF2B5EF4-FFF2-40B4-BE49-F238E27FC236}">
                      <a16:creationId xmlns:a16="http://schemas.microsoft.com/office/drawing/2014/main" id="{F0A01810-D8AC-441E-ABD1-7E837EF8EAC1}"/>
                    </a:ext>
                  </a:extLst>
                </p14:cNvPr>
                <p14:cNvContentPartPr/>
                <p14:nvPr/>
              </p14:nvContentPartPr>
              <p14:xfrm>
                <a:off x="998937" y="3754358"/>
                <a:ext cx="65160" cy="99360"/>
              </p14:xfrm>
            </p:contentPart>
          </mc:Choice>
          <mc:Fallback xmlns="">
            <p:pic>
              <p:nvPicPr>
                <p:cNvPr id="17" name="Ink 16">
                  <a:extLst>
                    <a:ext uri="{FF2B5EF4-FFF2-40B4-BE49-F238E27FC236}">
                      <a16:creationId xmlns:a16="http://schemas.microsoft.com/office/drawing/2014/main" id="{F0A01810-D8AC-441E-ABD1-7E837EF8EAC1}"/>
                    </a:ext>
                  </a:extLst>
                </p:cNvPr>
                <p:cNvPicPr/>
                <p:nvPr/>
              </p:nvPicPr>
              <p:blipFill>
                <a:blip r:embed="rId22"/>
                <a:stretch>
                  <a:fillRect/>
                </a:stretch>
              </p:blipFill>
              <p:spPr>
                <a:xfrm>
                  <a:off x="989937" y="3745718"/>
                  <a:ext cx="82800" cy="11700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18" name="Ink 17">
                  <a:extLst>
                    <a:ext uri="{FF2B5EF4-FFF2-40B4-BE49-F238E27FC236}">
                      <a16:creationId xmlns:a16="http://schemas.microsoft.com/office/drawing/2014/main" id="{15CB8345-16CA-4F97-AFF3-65866029A4C5}"/>
                    </a:ext>
                  </a:extLst>
                </p14:cNvPr>
                <p14:cNvContentPartPr/>
                <p14:nvPr/>
              </p14:nvContentPartPr>
              <p14:xfrm>
                <a:off x="1082097" y="3761918"/>
                <a:ext cx="70200" cy="91440"/>
              </p14:xfrm>
            </p:contentPart>
          </mc:Choice>
          <mc:Fallback xmlns="">
            <p:pic>
              <p:nvPicPr>
                <p:cNvPr id="18" name="Ink 17">
                  <a:extLst>
                    <a:ext uri="{FF2B5EF4-FFF2-40B4-BE49-F238E27FC236}">
                      <a16:creationId xmlns:a16="http://schemas.microsoft.com/office/drawing/2014/main" id="{15CB8345-16CA-4F97-AFF3-65866029A4C5}"/>
                    </a:ext>
                  </a:extLst>
                </p:cNvPr>
                <p:cNvPicPr/>
                <p:nvPr/>
              </p:nvPicPr>
              <p:blipFill>
                <a:blip r:embed="rId24"/>
                <a:stretch>
                  <a:fillRect/>
                </a:stretch>
              </p:blipFill>
              <p:spPr>
                <a:xfrm>
                  <a:off x="1073457" y="3752918"/>
                  <a:ext cx="87840" cy="10908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19" name="Ink 18">
                  <a:extLst>
                    <a:ext uri="{FF2B5EF4-FFF2-40B4-BE49-F238E27FC236}">
                      <a16:creationId xmlns:a16="http://schemas.microsoft.com/office/drawing/2014/main" id="{F74A6F8D-2725-47CD-80FD-304BA15A52D1}"/>
                    </a:ext>
                  </a:extLst>
                </p14:cNvPr>
                <p14:cNvContentPartPr/>
                <p14:nvPr/>
              </p14:nvContentPartPr>
              <p14:xfrm>
                <a:off x="1221417" y="3775598"/>
                <a:ext cx="20880" cy="76320"/>
              </p14:xfrm>
            </p:contentPart>
          </mc:Choice>
          <mc:Fallback xmlns="">
            <p:pic>
              <p:nvPicPr>
                <p:cNvPr id="19" name="Ink 18">
                  <a:extLst>
                    <a:ext uri="{FF2B5EF4-FFF2-40B4-BE49-F238E27FC236}">
                      <a16:creationId xmlns:a16="http://schemas.microsoft.com/office/drawing/2014/main" id="{F74A6F8D-2725-47CD-80FD-304BA15A52D1}"/>
                    </a:ext>
                  </a:extLst>
                </p:cNvPr>
                <p:cNvPicPr/>
                <p:nvPr/>
              </p:nvPicPr>
              <p:blipFill>
                <a:blip r:embed="rId26"/>
                <a:stretch>
                  <a:fillRect/>
                </a:stretch>
              </p:blipFill>
              <p:spPr>
                <a:xfrm>
                  <a:off x="1212417" y="3766958"/>
                  <a:ext cx="38520" cy="93960"/>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20" name="Ink 19">
                  <a:extLst>
                    <a:ext uri="{FF2B5EF4-FFF2-40B4-BE49-F238E27FC236}">
                      <a16:creationId xmlns:a16="http://schemas.microsoft.com/office/drawing/2014/main" id="{CAABF79A-38F4-48BD-A99B-CD74A0BB9685}"/>
                    </a:ext>
                  </a:extLst>
                </p14:cNvPr>
                <p14:cNvContentPartPr/>
                <p14:nvPr/>
              </p14:nvContentPartPr>
              <p14:xfrm>
                <a:off x="1309257" y="3820598"/>
                <a:ext cx="3240" cy="4680"/>
              </p14:xfrm>
            </p:contentPart>
          </mc:Choice>
          <mc:Fallback xmlns="">
            <p:pic>
              <p:nvPicPr>
                <p:cNvPr id="20" name="Ink 19">
                  <a:extLst>
                    <a:ext uri="{FF2B5EF4-FFF2-40B4-BE49-F238E27FC236}">
                      <a16:creationId xmlns:a16="http://schemas.microsoft.com/office/drawing/2014/main" id="{CAABF79A-38F4-48BD-A99B-CD74A0BB9685}"/>
                    </a:ext>
                  </a:extLst>
                </p:cNvPr>
                <p:cNvPicPr/>
                <p:nvPr/>
              </p:nvPicPr>
              <p:blipFill>
                <a:blip r:embed="rId28"/>
                <a:stretch>
                  <a:fillRect/>
                </a:stretch>
              </p:blipFill>
              <p:spPr>
                <a:xfrm>
                  <a:off x="1300617" y="3811598"/>
                  <a:ext cx="20880" cy="22320"/>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21" name="Ink 20">
                  <a:extLst>
                    <a:ext uri="{FF2B5EF4-FFF2-40B4-BE49-F238E27FC236}">
                      <a16:creationId xmlns:a16="http://schemas.microsoft.com/office/drawing/2014/main" id="{2F808A1C-2C90-4214-A8C3-B7A338B68AEB}"/>
                    </a:ext>
                  </a:extLst>
                </p14:cNvPr>
                <p14:cNvContentPartPr/>
                <p14:nvPr/>
              </p14:nvContentPartPr>
              <p14:xfrm>
                <a:off x="1379817" y="3769118"/>
                <a:ext cx="57960" cy="78120"/>
              </p14:xfrm>
            </p:contentPart>
          </mc:Choice>
          <mc:Fallback xmlns="">
            <p:pic>
              <p:nvPicPr>
                <p:cNvPr id="21" name="Ink 20">
                  <a:extLst>
                    <a:ext uri="{FF2B5EF4-FFF2-40B4-BE49-F238E27FC236}">
                      <a16:creationId xmlns:a16="http://schemas.microsoft.com/office/drawing/2014/main" id="{2F808A1C-2C90-4214-A8C3-B7A338B68AEB}"/>
                    </a:ext>
                  </a:extLst>
                </p:cNvPr>
                <p:cNvPicPr/>
                <p:nvPr/>
              </p:nvPicPr>
              <p:blipFill>
                <a:blip r:embed="rId30"/>
                <a:stretch>
                  <a:fillRect/>
                </a:stretch>
              </p:blipFill>
              <p:spPr>
                <a:xfrm>
                  <a:off x="1371177" y="3760118"/>
                  <a:ext cx="75600" cy="95760"/>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22" name="Ink 21">
                  <a:extLst>
                    <a:ext uri="{FF2B5EF4-FFF2-40B4-BE49-F238E27FC236}">
                      <a16:creationId xmlns:a16="http://schemas.microsoft.com/office/drawing/2014/main" id="{EB3689F8-04CE-4502-924D-126F3F825817}"/>
                    </a:ext>
                  </a:extLst>
                </p14:cNvPr>
                <p14:cNvContentPartPr/>
                <p14:nvPr/>
              </p14:nvContentPartPr>
              <p14:xfrm>
                <a:off x="1396737" y="3789998"/>
                <a:ext cx="34560" cy="77400"/>
              </p14:xfrm>
            </p:contentPart>
          </mc:Choice>
          <mc:Fallback xmlns="">
            <p:pic>
              <p:nvPicPr>
                <p:cNvPr id="22" name="Ink 21">
                  <a:extLst>
                    <a:ext uri="{FF2B5EF4-FFF2-40B4-BE49-F238E27FC236}">
                      <a16:creationId xmlns:a16="http://schemas.microsoft.com/office/drawing/2014/main" id="{EB3689F8-04CE-4502-924D-126F3F825817}"/>
                    </a:ext>
                  </a:extLst>
                </p:cNvPr>
                <p:cNvPicPr/>
                <p:nvPr/>
              </p:nvPicPr>
              <p:blipFill>
                <a:blip r:embed="rId32"/>
                <a:stretch>
                  <a:fillRect/>
                </a:stretch>
              </p:blipFill>
              <p:spPr>
                <a:xfrm>
                  <a:off x="1387737" y="3780998"/>
                  <a:ext cx="52200" cy="95040"/>
                </a:xfrm>
                <a:prstGeom prst="rect">
                  <a:avLst/>
                </a:prstGeom>
              </p:spPr>
            </p:pic>
          </mc:Fallback>
        </mc:AlternateContent>
        <mc:AlternateContent xmlns:mc="http://schemas.openxmlformats.org/markup-compatibility/2006" xmlns:p14="http://schemas.microsoft.com/office/powerpoint/2010/main">
          <mc:Choice Requires="p14">
            <p:contentPart p14:bwMode="auto" r:id="rId33">
              <p14:nvContentPartPr>
                <p14:cNvPr id="23" name="Ink 22">
                  <a:extLst>
                    <a:ext uri="{FF2B5EF4-FFF2-40B4-BE49-F238E27FC236}">
                      <a16:creationId xmlns:a16="http://schemas.microsoft.com/office/drawing/2014/main" id="{CA3527CE-2D01-4684-AB65-845A36C6E455}"/>
                    </a:ext>
                  </a:extLst>
                </p14:cNvPr>
                <p14:cNvContentPartPr/>
                <p14:nvPr/>
              </p14:nvContentPartPr>
              <p14:xfrm>
                <a:off x="1487817" y="3775598"/>
                <a:ext cx="41040" cy="47880"/>
              </p14:xfrm>
            </p:contentPart>
          </mc:Choice>
          <mc:Fallback xmlns="">
            <p:pic>
              <p:nvPicPr>
                <p:cNvPr id="23" name="Ink 22">
                  <a:extLst>
                    <a:ext uri="{FF2B5EF4-FFF2-40B4-BE49-F238E27FC236}">
                      <a16:creationId xmlns:a16="http://schemas.microsoft.com/office/drawing/2014/main" id="{CA3527CE-2D01-4684-AB65-845A36C6E455}"/>
                    </a:ext>
                  </a:extLst>
                </p:cNvPr>
                <p:cNvPicPr/>
                <p:nvPr/>
              </p:nvPicPr>
              <p:blipFill>
                <a:blip r:embed="rId34"/>
                <a:stretch>
                  <a:fillRect/>
                </a:stretch>
              </p:blipFill>
              <p:spPr>
                <a:xfrm>
                  <a:off x="1478817" y="3766958"/>
                  <a:ext cx="58680" cy="65520"/>
                </a:xfrm>
                <a:prstGeom prst="rect">
                  <a:avLst/>
                </a:prstGeom>
              </p:spPr>
            </p:pic>
          </mc:Fallback>
        </mc:AlternateContent>
        <mc:AlternateContent xmlns:mc="http://schemas.openxmlformats.org/markup-compatibility/2006" xmlns:p14="http://schemas.microsoft.com/office/powerpoint/2010/main">
          <mc:Choice Requires="p14">
            <p:contentPart p14:bwMode="auto" r:id="rId35">
              <p14:nvContentPartPr>
                <p14:cNvPr id="24" name="Ink 23">
                  <a:extLst>
                    <a:ext uri="{FF2B5EF4-FFF2-40B4-BE49-F238E27FC236}">
                      <a16:creationId xmlns:a16="http://schemas.microsoft.com/office/drawing/2014/main" id="{32CD4FBE-2033-4D9B-BBCF-4B9267D82887}"/>
                    </a:ext>
                  </a:extLst>
                </p14:cNvPr>
                <p14:cNvContentPartPr/>
                <p14:nvPr/>
              </p14:nvContentPartPr>
              <p14:xfrm>
                <a:off x="1486737" y="3777398"/>
                <a:ext cx="27720" cy="109800"/>
              </p14:xfrm>
            </p:contentPart>
          </mc:Choice>
          <mc:Fallback xmlns="">
            <p:pic>
              <p:nvPicPr>
                <p:cNvPr id="24" name="Ink 23">
                  <a:extLst>
                    <a:ext uri="{FF2B5EF4-FFF2-40B4-BE49-F238E27FC236}">
                      <a16:creationId xmlns:a16="http://schemas.microsoft.com/office/drawing/2014/main" id="{32CD4FBE-2033-4D9B-BBCF-4B9267D82887}"/>
                    </a:ext>
                  </a:extLst>
                </p:cNvPr>
                <p:cNvPicPr/>
                <p:nvPr/>
              </p:nvPicPr>
              <p:blipFill>
                <a:blip r:embed="rId36"/>
                <a:stretch>
                  <a:fillRect/>
                </a:stretch>
              </p:blipFill>
              <p:spPr>
                <a:xfrm>
                  <a:off x="1478097" y="3768758"/>
                  <a:ext cx="45360" cy="127440"/>
                </a:xfrm>
                <a:prstGeom prst="rect">
                  <a:avLst/>
                </a:prstGeom>
              </p:spPr>
            </p:pic>
          </mc:Fallback>
        </mc:AlternateContent>
      </p:grpSp>
      <p:grpSp>
        <p:nvGrpSpPr>
          <p:cNvPr id="28" name="Group 27">
            <a:extLst>
              <a:ext uri="{FF2B5EF4-FFF2-40B4-BE49-F238E27FC236}">
                <a16:creationId xmlns:a16="http://schemas.microsoft.com/office/drawing/2014/main" id="{DE01CD0B-A892-4F17-86F8-47CCB68DF535}"/>
              </a:ext>
            </a:extLst>
          </p:cNvPr>
          <p:cNvGrpSpPr/>
          <p:nvPr/>
        </p:nvGrpSpPr>
        <p:grpSpPr>
          <a:xfrm>
            <a:off x="738297" y="3713318"/>
            <a:ext cx="78120" cy="204120"/>
            <a:chOff x="738297" y="3713318"/>
            <a:chExt cx="78120" cy="204120"/>
          </a:xfrm>
        </p:grpSpPr>
        <mc:AlternateContent xmlns:mc="http://schemas.openxmlformats.org/markup-compatibility/2006" xmlns:p14="http://schemas.microsoft.com/office/powerpoint/2010/main">
          <mc:Choice Requires="p14">
            <p:contentPart p14:bwMode="auto" r:id="rId37">
              <p14:nvContentPartPr>
                <p14:cNvPr id="26" name="Ink 25">
                  <a:extLst>
                    <a:ext uri="{FF2B5EF4-FFF2-40B4-BE49-F238E27FC236}">
                      <a16:creationId xmlns:a16="http://schemas.microsoft.com/office/drawing/2014/main" id="{CF1AAA03-0D2F-446A-971A-61796BC43002}"/>
                    </a:ext>
                  </a:extLst>
                </p14:cNvPr>
                <p14:cNvContentPartPr/>
                <p14:nvPr/>
              </p14:nvContentPartPr>
              <p14:xfrm>
                <a:off x="747657" y="3761918"/>
                <a:ext cx="68760" cy="89280"/>
              </p14:xfrm>
            </p:contentPart>
          </mc:Choice>
          <mc:Fallback xmlns="">
            <p:pic>
              <p:nvPicPr>
                <p:cNvPr id="26" name="Ink 25">
                  <a:extLst>
                    <a:ext uri="{FF2B5EF4-FFF2-40B4-BE49-F238E27FC236}">
                      <a16:creationId xmlns:a16="http://schemas.microsoft.com/office/drawing/2014/main" id="{CF1AAA03-0D2F-446A-971A-61796BC43002}"/>
                    </a:ext>
                  </a:extLst>
                </p:cNvPr>
                <p:cNvPicPr/>
                <p:nvPr/>
              </p:nvPicPr>
              <p:blipFill>
                <a:blip r:embed="rId38"/>
                <a:stretch>
                  <a:fillRect/>
                </a:stretch>
              </p:blipFill>
              <p:spPr>
                <a:xfrm>
                  <a:off x="739017" y="3752918"/>
                  <a:ext cx="86400" cy="106920"/>
                </a:xfrm>
                <a:prstGeom prst="rect">
                  <a:avLst/>
                </a:prstGeom>
              </p:spPr>
            </p:pic>
          </mc:Fallback>
        </mc:AlternateContent>
        <mc:AlternateContent xmlns:mc="http://schemas.openxmlformats.org/markup-compatibility/2006" xmlns:p14="http://schemas.microsoft.com/office/powerpoint/2010/main">
          <mc:Choice Requires="p14">
            <p:contentPart p14:bwMode="auto" r:id="rId39">
              <p14:nvContentPartPr>
                <p14:cNvPr id="27" name="Ink 26">
                  <a:extLst>
                    <a:ext uri="{FF2B5EF4-FFF2-40B4-BE49-F238E27FC236}">
                      <a16:creationId xmlns:a16="http://schemas.microsoft.com/office/drawing/2014/main" id="{4F8E0924-A70A-40AE-9FC2-06196E73BC19}"/>
                    </a:ext>
                  </a:extLst>
                </p14:cNvPr>
                <p14:cNvContentPartPr/>
                <p14:nvPr/>
              </p14:nvContentPartPr>
              <p14:xfrm>
                <a:off x="738297" y="3713318"/>
                <a:ext cx="43560" cy="204120"/>
              </p14:xfrm>
            </p:contentPart>
          </mc:Choice>
          <mc:Fallback xmlns="">
            <p:pic>
              <p:nvPicPr>
                <p:cNvPr id="27" name="Ink 26">
                  <a:extLst>
                    <a:ext uri="{FF2B5EF4-FFF2-40B4-BE49-F238E27FC236}">
                      <a16:creationId xmlns:a16="http://schemas.microsoft.com/office/drawing/2014/main" id="{4F8E0924-A70A-40AE-9FC2-06196E73BC19}"/>
                    </a:ext>
                  </a:extLst>
                </p:cNvPr>
                <p:cNvPicPr/>
                <p:nvPr/>
              </p:nvPicPr>
              <p:blipFill>
                <a:blip r:embed="rId40"/>
                <a:stretch>
                  <a:fillRect/>
                </a:stretch>
              </p:blipFill>
              <p:spPr>
                <a:xfrm>
                  <a:off x="729297" y="3704318"/>
                  <a:ext cx="61200" cy="221760"/>
                </a:xfrm>
                <a:prstGeom prst="rect">
                  <a:avLst/>
                </a:prstGeom>
              </p:spPr>
            </p:pic>
          </mc:Fallback>
        </mc:AlternateContent>
      </p:grpSp>
      <p:grpSp>
        <p:nvGrpSpPr>
          <p:cNvPr id="38" name="Group 37">
            <a:extLst>
              <a:ext uri="{FF2B5EF4-FFF2-40B4-BE49-F238E27FC236}">
                <a16:creationId xmlns:a16="http://schemas.microsoft.com/office/drawing/2014/main" id="{08DAA599-E224-45C6-940E-430E70231EA8}"/>
              </a:ext>
            </a:extLst>
          </p:cNvPr>
          <p:cNvGrpSpPr/>
          <p:nvPr/>
        </p:nvGrpSpPr>
        <p:grpSpPr>
          <a:xfrm>
            <a:off x="2302137" y="3719798"/>
            <a:ext cx="706320" cy="224280"/>
            <a:chOff x="2302137" y="3719798"/>
            <a:chExt cx="706320" cy="224280"/>
          </a:xfrm>
        </p:grpSpPr>
        <mc:AlternateContent xmlns:mc="http://schemas.openxmlformats.org/markup-compatibility/2006" xmlns:p14="http://schemas.microsoft.com/office/powerpoint/2010/main">
          <mc:Choice Requires="p14">
            <p:contentPart p14:bwMode="auto" r:id="rId41">
              <p14:nvContentPartPr>
                <p14:cNvPr id="29" name="Ink 28">
                  <a:extLst>
                    <a:ext uri="{FF2B5EF4-FFF2-40B4-BE49-F238E27FC236}">
                      <a16:creationId xmlns:a16="http://schemas.microsoft.com/office/drawing/2014/main" id="{4E010658-DF2F-47A4-9132-8BEE1C4CDC94}"/>
                    </a:ext>
                  </a:extLst>
                </p14:cNvPr>
                <p14:cNvContentPartPr/>
                <p14:nvPr/>
              </p14:nvContentPartPr>
              <p14:xfrm>
                <a:off x="2318337" y="3754358"/>
                <a:ext cx="104040" cy="84600"/>
              </p14:xfrm>
            </p:contentPart>
          </mc:Choice>
          <mc:Fallback xmlns="">
            <p:pic>
              <p:nvPicPr>
                <p:cNvPr id="29" name="Ink 28">
                  <a:extLst>
                    <a:ext uri="{FF2B5EF4-FFF2-40B4-BE49-F238E27FC236}">
                      <a16:creationId xmlns:a16="http://schemas.microsoft.com/office/drawing/2014/main" id="{4E010658-DF2F-47A4-9132-8BEE1C4CDC94}"/>
                    </a:ext>
                  </a:extLst>
                </p:cNvPr>
                <p:cNvPicPr/>
                <p:nvPr/>
              </p:nvPicPr>
              <p:blipFill>
                <a:blip r:embed="rId42"/>
                <a:stretch>
                  <a:fillRect/>
                </a:stretch>
              </p:blipFill>
              <p:spPr>
                <a:xfrm>
                  <a:off x="2309337" y="3745718"/>
                  <a:ext cx="121680" cy="102240"/>
                </a:xfrm>
                <a:prstGeom prst="rect">
                  <a:avLst/>
                </a:prstGeom>
              </p:spPr>
            </p:pic>
          </mc:Fallback>
        </mc:AlternateContent>
        <mc:AlternateContent xmlns:mc="http://schemas.openxmlformats.org/markup-compatibility/2006" xmlns:p14="http://schemas.microsoft.com/office/powerpoint/2010/main">
          <mc:Choice Requires="p14">
            <p:contentPart p14:bwMode="auto" r:id="rId43">
              <p14:nvContentPartPr>
                <p14:cNvPr id="30" name="Ink 29">
                  <a:extLst>
                    <a:ext uri="{FF2B5EF4-FFF2-40B4-BE49-F238E27FC236}">
                      <a16:creationId xmlns:a16="http://schemas.microsoft.com/office/drawing/2014/main" id="{8188ABE6-B443-4E69-8BB5-FD5F977B3EEF}"/>
                    </a:ext>
                  </a:extLst>
                </p14:cNvPr>
                <p14:cNvContentPartPr/>
                <p14:nvPr/>
              </p14:nvContentPartPr>
              <p14:xfrm>
                <a:off x="2302137" y="3719798"/>
                <a:ext cx="71280" cy="224280"/>
              </p14:xfrm>
            </p:contentPart>
          </mc:Choice>
          <mc:Fallback xmlns="">
            <p:pic>
              <p:nvPicPr>
                <p:cNvPr id="30" name="Ink 29">
                  <a:extLst>
                    <a:ext uri="{FF2B5EF4-FFF2-40B4-BE49-F238E27FC236}">
                      <a16:creationId xmlns:a16="http://schemas.microsoft.com/office/drawing/2014/main" id="{8188ABE6-B443-4E69-8BB5-FD5F977B3EEF}"/>
                    </a:ext>
                  </a:extLst>
                </p:cNvPr>
                <p:cNvPicPr/>
                <p:nvPr/>
              </p:nvPicPr>
              <p:blipFill>
                <a:blip r:embed="rId44"/>
                <a:stretch>
                  <a:fillRect/>
                </a:stretch>
              </p:blipFill>
              <p:spPr>
                <a:xfrm>
                  <a:off x="2293137" y="3711158"/>
                  <a:ext cx="88920" cy="241920"/>
                </a:xfrm>
                <a:prstGeom prst="rect">
                  <a:avLst/>
                </a:prstGeom>
              </p:spPr>
            </p:pic>
          </mc:Fallback>
        </mc:AlternateContent>
        <mc:AlternateContent xmlns:mc="http://schemas.openxmlformats.org/markup-compatibility/2006" xmlns:p14="http://schemas.microsoft.com/office/powerpoint/2010/main">
          <mc:Choice Requires="p14">
            <p:contentPart p14:bwMode="auto" r:id="rId45">
              <p14:nvContentPartPr>
                <p14:cNvPr id="31" name="Ink 30">
                  <a:extLst>
                    <a:ext uri="{FF2B5EF4-FFF2-40B4-BE49-F238E27FC236}">
                      <a16:creationId xmlns:a16="http://schemas.microsoft.com/office/drawing/2014/main" id="{47A1E986-8DA7-4066-A15D-B7CE2A61E4D8}"/>
                    </a:ext>
                  </a:extLst>
                </p14:cNvPr>
                <p14:cNvContentPartPr/>
                <p14:nvPr/>
              </p14:nvContentPartPr>
              <p14:xfrm>
                <a:off x="2459457" y="3754358"/>
                <a:ext cx="63720" cy="81720"/>
              </p14:xfrm>
            </p:contentPart>
          </mc:Choice>
          <mc:Fallback xmlns="">
            <p:pic>
              <p:nvPicPr>
                <p:cNvPr id="31" name="Ink 30">
                  <a:extLst>
                    <a:ext uri="{FF2B5EF4-FFF2-40B4-BE49-F238E27FC236}">
                      <a16:creationId xmlns:a16="http://schemas.microsoft.com/office/drawing/2014/main" id="{47A1E986-8DA7-4066-A15D-B7CE2A61E4D8}"/>
                    </a:ext>
                  </a:extLst>
                </p:cNvPr>
                <p:cNvPicPr/>
                <p:nvPr/>
              </p:nvPicPr>
              <p:blipFill>
                <a:blip r:embed="rId46"/>
                <a:stretch>
                  <a:fillRect/>
                </a:stretch>
              </p:blipFill>
              <p:spPr>
                <a:xfrm>
                  <a:off x="2450817" y="3745718"/>
                  <a:ext cx="81360" cy="99360"/>
                </a:xfrm>
                <a:prstGeom prst="rect">
                  <a:avLst/>
                </a:prstGeom>
              </p:spPr>
            </p:pic>
          </mc:Fallback>
        </mc:AlternateContent>
        <mc:AlternateContent xmlns:mc="http://schemas.openxmlformats.org/markup-compatibility/2006" xmlns:p14="http://schemas.microsoft.com/office/powerpoint/2010/main">
          <mc:Choice Requires="p14">
            <p:contentPart p14:bwMode="auto" r:id="rId47">
              <p14:nvContentPartPr>
                <p14:cNvPr id="32" name="Ink 31">
                  <a:extLst>
                    <a:ext uri="{FF2B5EF4-FFF2-40B4-BE49-F238E27FC236}">
                      <a16:creationId xmlns:a16="http://schemas.microsoft.com/office/drawing/2014/main" id="{21DD7CA3-940F-4C3C-AD44-AC59C377C5CF}"/>
                    </a:ext>
                  </a:extLst>
                </p14:cNvPr>
                <p14:cNvContentPartPr/>
                <p14:nvPr/>
              </p14:nvContentPartPr>
              <p14:xfrm>
                <a:off x="2589417" y="3740678"/>
                <a:ext cx="70560" cy="104400"/>
              </p14:xfrm>
            </p:contentPart>
          </mc:Choice>
          <mc:Fallback xmlns="">
            <p:pic>
              <p:nvPicPr>
                <p:cNvPr id="32" name="Ink 31">
                  <a:extLst>
                    <a:ext uri="{FF2B5EF4-FFF2-40B4-BE49-F238E27FC236}">
                      <a16:creationId xmlns:a16="http://schemas.microsoft.com/office/drawing/2014/main" id="{21DD7CA3-940F-4C3C-AD44-AC59C377C5CF}"/>
                    </a:ext>
                  </a:extLst>
                </p:cNvPr>
                <p:cNvPicPr/>
                <p:nvPr/>
              </p:nvPicPr>
              <p:blipFill>
                <a:blip r:embed="rId48"/>
                <a:stretch>
                  <a:fillRect/>
                </a:stretch>
              </p:blipFill>
              <p:spPr>
                <a:xfrm>
                  <a:off x="2580777" y="3731678"/>
                  <a:ext cx="88200" cy="122040"/>
                </a:xfrm>
                <a:prstGeom prst="rect">
                  <a:avLst/>
                </a:prstGeom>
              </p:spPr>
            </p:pic>
          </mc:Fallback>
        </mc:AlternateContent>
        <mc:AlternateContent xmlns:mc="http://schemas.openxmlformats.org/markup-compatibility/2006" xmlns:p14="http://schemas.microsoft.com/office/powerpoint/2010/main">
          <mc:Choice Requires="p14">
            <p:contentPart p14:bwMode="auto" r:id="rId49">
              <p14:nvContentPartPr>
                <p14:cNvPr id="33" name="Ink 32">
                  <a:extLst>
                    <a:ext uri="{FF2B5EF4-FFF2-40B4-BE49-F238E27FC236}">
                      <a16:creationId xmlns:a16="http://schemas.microsoft.com/office/drawing/2014/main" id="{269A00FB-4399-4704-ABB8-D77C5D28A32C}"/>
                    </a:ext>
                  </a:extLst>
                </p14:cNvPr>
                <p14:cNvContentPartPr/>
                <p14:nvPr/>
              </p14:nvContentPartPr>
              <p14:xfrm>
                <a:off x="2617137" y="3803678"/>
                <a:ext cx="55080" cy="360"/>
              </p14:xfrm>
            </p:contentPart>
          </mc:Choice>
          <mc:Fallback xmlns="">
            <p:pic>
              <p:nvPicPr>
                <p:cNvPr id="33" name="Ink 32">
                  <a:extLst>
                    <a:ext uri="{FF2B5EF4-FFF2-40B4-BE49-F238E27FC236}">
                      <a16:creationId xmlns:a16="http://schemas.microsoft.com/office/drawing/2014/main" id="{269A00FB-4399-4704-ABB8-D77C5D28A32C}"/>
                    </a:ext>
                  </a:extLst>
                </p:cNvPr>
                <p:cNvPicPr/>
                <p:nvPr/>
              </p:nvPicPr>
              <p:blipFill>
                <a:blip r:embed="rId50"/>
                <a:stretch>
                  <a:fillRect/>
                </a:stretch>
              </p:blipFill>
              <p:spPr>
                <a:xfrm>
                  <a:off x="2608497" y="3795038"/>
                  <a:ext cx="7272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51">
              <p14:nvContentPartPr>
                <p14:cNvPr id="34" name="Ink 33">
                  <a:extLst>
                    <a:ext uri="{FF2B5EF4-FFF2-40B4-BE49-F238E27FC236}">
                      <a16:creationId xmlns:a16="http://schemas.microsoft.com/office/drawing/2014/main" id="{36087166-214C-4B32-9BF2-0D9A53DC6D3A}"/>
                    </a:ext>
                  </a:extLst>
                </p14:cNvPr>
                <p14:cNvContentPartPr/>
                <p14:nvPr/>
              </p14:nvContentPartPr>
              <p14:xfrm>
                <a:off x="2751057" y="3754718"/>
                <a:ext cx="61920" cy="83880"/>
              </p14:xfrm>
            </p:contentPart>
          </mc:Choice>
          <mc:Fallback xmlns="">
            <p:pic>
              <p:nvPicPr>
                <p:cNvPr id="34" name="Ink 33">
                  <a:extLst>
                    <a:ext uri="{FF2B5EF4-FFF2-40B4-BE49-F238E27FC236}">
                      <a16:creationId xmlns:a16="http://schemas.microsoft.com/office/drawing/2014/main" id="{36087166-214C-4B32-9BF2-0D9A53DC6D3A}"/>
                    </a:ext>
                  </a:extLst>
                </p:cNvPr>
                <p:cNvPicPr/>
                <p:nvPr/>
              </p:nvPicPr>
              <p:blipFill>
                <a:blip r:embed="rId52"/>
                <a:stretch>
                  <a:fillRect/>
                </a:stretch>
              </p:blipFill>
              <p:spPr>
                <a:xfrm>
                  <a:off x="2742057" y="3746078"/>
                  <a:ext cx="79560" cy="101520"/>
                </a:xfrm>
                <a:prstGeom prst="rect">
                  <a:avLst/>
                </a:prstGeom>
              </p:spPr>
            </p:pic>
          </mc:Fallback>
        </mc:AlternateContent>
        <mc:AlternateContent xmlns:mc="http://schemas.openxmlformats.org/markup-compatibility/2006" xmlns:p14="http://schemas.microsoft.com/office/powerpoint/2010/main">
          <mc:Choice Requires="p14">
            <p:contentPart p14:bwMode="auto" r:id="rId53">
              <p14:nvContentPartPr>
                <p14:cNvPr id="35" name="Ink 34">
                  <a:extLst>
                    <a:ext uri="{FF2B5EF4-FFF2-40B4-BE49-F238E27FC236}">
                      <a16:creationId xmlns:a16="http://schemas.microsoft.com/office/drawing/2014/main" id="{1B0C57C6-2901-4384-9326-DC7C10841057}"/>
                    </a:ext>
                  </a:extLst>
                </p14:cNvPr>
                <p14:cNvContentPartPr/>
                <p14:nvPr/>
              </p14:nvContentPartPr>
              <p14:xfrm>
                <a:off x="2847537" y="3831758"/>
                <a:ext cx="360" cy="360"/>
              </p14:xfrm>
            </p:contentPart>
          </mc:Choice>
          <mc:Fallback xmlns="">
            <p:pic>
              <p:nvPicPr>
                <p:cNvPr id="35" name="Ink 34">
                  <a:extLst>
                    <a:ext uri="{FF2B5EF4-FFF2-40B4-BE49-F238E27FC236}">
                      <a16:creationId xmlns:a16="http://schemas.microsoft.com/office/drawing/2014/main" id="{1B0C57C6-2901-4384-9326-DC7C10841057}"/>
                    </a:ext>
                  </a:extLst>
                </p:cNvPr>
                <p:cNvPicPr/>
                <p:nvPr/>
              </p:nvPicPr>
              <p:blipFill>
                <a:blip r:embed="rId28"/>
                <a:stretch>
                  <a:fillRect/>
                </a:stretch>
              </p:blipFill>
              <p:spPr>
                <a:xfrm>
                  <a:off x="2838537" y="3823118"/>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54">
              <p14:nvContentPartPr>
                <p14:cNvPr id="36" name="Ink 35">
                  <a:extLst>
                    <a:ext uri="{FF2B5EF4-FFF2-40B4-BE49-F238E27FC236}">
                      <a16:creationId xmlns:a16="http://schemas.microsoft.com/office/drawing/2014/main" id="{E276AE82-905C-4DA3-B62D-8150BEACA652}"/>
                    </a:ext>
                  </a:extLst>
                </p14:cNvPr>
                <p14:cNvContentPartPr/>
                <p14:nvPr/>
              </p14:nvContentPartPr>
              <p14:xfrm>
                <a:off x="2884257" y="3768758"/>
                <a:ext cx="34920" cy="78480"/>
              </p14:xfrm>
            </p:contentPart>
          </mc:Choice>
          <mc:Fallback xmlns="">
            <p:pic>
              <p:nvPicPr>
                <p:cNvPr id="36" name="Ink 35">
                  <a:extLst>
                    <a:ext uri="{FF2B5EF4-FFF2-40B4-BE49-F238E27FC236}">
                      <a16:creationId xmlns:a16="http://schemas.microsoft.com/office/drawing/2014/main" id="{E276AE82-905C-4DA3-B62D-8150BEACA652}"/>
                    </a:ext>
                  </a:extLst>
                </p:cNvPr>
                <p:cNvPicPr/>
                <p:nvPr/>
              </p:nvPicPr>
              <p:blipFill>
                <a:blip r:embed="rId55"/>
                <a:stretch>
                  <a:fillRect/>
                </a:stretch>
              </p:blipFill>
              <p:spPr>
                <a:xfrm>
                  <a:off x="2875257" y="3760118"/>
                  <a:ext cx="52560" cy="96120"/>
                </a:xfrm>
                <a:prstGeom prst="rect">
                  <a:avLst/>
                </a:prstGeom>
              </p:spPr>
            </p:pic>
          </mc:Fallback>
        </mc:AlternateContent>
        <mc:AlternateContent xmlns:mc="http://schemas.openxmlformats.org/markup-compatibility/2006" xmlns:p14="http://schemas.microsoft.com/office/powerpoint/2010/main">
          <mc:Choice Requires="p14">
            <p:contentPart p14:bwMode="auto" r:id="rId56">
              <p14:nvContentPartPr>
                <p14:cNvPr id="37" name="Ink 36">
                  <a:extLst>
                    <a:ext uri="{FF2B5EF4-FFF2-40B4-BE49-F238E27FC236}">
                      <a16:creationId xmlns:a16="http://schemas.microsoft.com/office/drawing/2014/main" id="{6BF56829-DA29-4335-8AF0-BFD357231CEA}"/>
                    </a:ext>
                  </a:extLst>
                </p14:cNvPr>
                <p14:cNvContentPartPr/>
                <p14:nvPr/>
              </p14:nvContentPartPr>
              <p14:xfrm>
                <a:off x="2954817" y="3769118"/>
                <a:ext cx="53640" cy="63720"/>
              </p14:xfrm>
            </p:contentPart>
          </mc:Choice>
          <mc:Fallback xmlns="">
            <p:pic>
              <p:nvPicPr>
                <p:cNvPr id="37" name="Ink 36">
                  <a:extLst>
                    <a:ext uri="{FF2B5EF4-FFF2-40B4-BE49-F238E27FC236}">
                      <a16:creationId xmlns:a16="http://schemas.microsoft.com/office/drawing/2014/main" id="{6BF56829-DA29-4335-8AF0-BFD357231CEA}"/>
                    </a:ext>
                  </a:extLst>
                </p:cNvPr>
                <p:cNvPicPr/>
                <p:nvPr/>
              </p:nvPicPr>
              <p:blipFill>
                <a:blip r:embed="rId57"/>
                <a:stretch>
                  <a:fillRect/>
                </a:stretch>
              </p:blipFill>
              <p:spPr>
                <a:xfrm>
                  <a:off x="2946177" y="3760118"/>
                  <a:ext cx="71280" cy="81360"/>
                </a:xfrm>
                <a:prstGeom prst="rect">
                  <a:avLst/>
                </a:prstGeom>
              </p:spPr>
            </p:pic>
          </mc:Fallback>
        </mc:AlternateContent>
      </p:grpSp>
      <p:grpSp>
        <p:nvGrpSpPr>
          <p:cNvPr id="47" name="Group 46">
            <a:extLst>
              <a:ext uri="{FF2B5EF4-FFF2-40B4-BE49-F238E27FC236}">
                <a16:creationId xmlns:a16="http://schemas.microsoft.com/office/drawing/2014/main" id="{6600F404-00A8-43E3-838A-01D1B3291E3B}"/>
              </a:ext>
            </a:extLst>
          </p:cNvPr>
          <p:cNvGrpSpPr/>
          <p:nvPr/>
        </p:nvGrpSpPr>
        <p:grpSpPr>
          <a:xfrm>
            <a:off x="5005377" y="3723398"/>
            <a:ext cx="578880" cy="206640"/>
            <a:chOff x="5005377" y="3723398"/>
            <a:chExt cx="578880" cy="206640"/>
          </a:xfrm>
        </p:grpSpPr>
        <mc:AlternateContent xmlns:mc="http://schemas.openxmlformats.org/markup-compatibility/2006" xmlns:p14="http://schemas.microsoft.com/office/powerpoint/2010/main">
          <mc:Choice Requires="p14">
            <p:contentPart p14:bwMode="auto" r:id="rId58">
              <p14:nvContentPartPr>
                <p14:cNvPr id="39" name="Ink 38">
                  <a:extLst>
                    <a:ext uri="{FF2B5EF4-FFF2-40B4-BE49-F238E27FC236}">
                      <a16:creationId xmlns:a16="http://schemas.microsoft.com/office/drawing/2014/main" id="{3A41C3FA-BB5F-4B63-9BA4-52DFB19243B6}"/>
                    </a:ext>
                  </a:extLst>
                </p14:cNvPr>
                <p14:cNvContentPartPr/>
                <p14:nvPr/>
              </p14:nvContentPartPr>
              <p14:xfrm>
                <a:off x="5081337" y="3742118"/>
                <a:ext cx="132120" cy="75240"/>
              </p14:xfrm>
            </p:contentPart>
          </mc:Choice>
          <mc:Fallback xmlns="">
            <p:pic>
              <p:nvPicPr>
                <p:cNvPr id="39" name="Ink 38">
                  <a:extLst>
                    <a:ext uri="{FF2B5EF4-FFF2-40B4-BE49-F238E27FC236}">
                      <a16:creationId xmlns:a16="http://schemas.microsoft.com/office/drawing/2014/main" id="{3A41C3FA-BB5F-4B63-9BA4-52DFB19243B6}"/>
                    </a:ext>
                  </a:extLst>
                </p:cNvPr>
                <p:cNvPicPr/>
                <p:nvPr/>
              </p:nvPicPr>
              <p:blipFill>
                <a:blip r:embed="rId59"/>
                <a:stretch>
                  <a:fillRect/>
                </a:stretch>
              </p:blipFill>
              <p:spPr>
                <a:xfrm>
                  <a:off x="5072697" y="3733118"/>
                  <a:ext cx="149760" cy="92880"/>
                </a:xfrm>
                <a:prstGeom prst="rect">
                  <a:avLst/>
                </a:prstGeom>
              </p:spPr>
            </p:pic>
          </mc:Fallback>
        </mc:AlternateContent>
        <mc:AlternateContent xmlns:mc="http://schemas.openxmlformats.org/markup-compatibility/2006" xmlns:p14="http://schemas.microsoft.com/office/powerpoint/2010/main">
          <mc:Choice Requires="p14">
            <p:contentPart p14:bwMode="auto" r:id="rId60">
              <p14:nvContentPartPr>
                <p14:cNvPr id="40" name="Ink 39">
                  <a:extLst>
                    <a:ext uri="{FF2B5EF4-FFF2-40B4-BE49-F238E27FC236}">
                      <a16:creationId xmlns:a16="http://schemas.microsoft.com/office/drawing/2014/main" id="{C0F22371-391C-4262-918C-DF42F3C332DF}"/>
                    </a:ext>
                  </a:extLst>
                </p14:cNvPr>
                <p14:cNvContentPartPr/>
                <p14:nvPr/>
              </p14:nvContentPartPr>
              <p14:xfrm>
                <a:off x="5284377" y="3723398"/>
                <a:ext cx="65880" cy="70200"/>
              </p14:xfrm>
            </p:contentPart>
          </mc:Choice>
          <mc:Fallback xmlns="">
            <p:pic>
              <p:nvPicPr>
                <p:cNvPr id="40" name="Ink 39">
                  <a:extLst>
                    <a:ext uri="{FF2B5EF4-FFF2-40B4-BE49-F238E27FC236}">
                      <a16:creationId xmlns:a16="http://schemas.microsoft.com/office/drawing/2014/main" id="{C0F22371-391C-4262-918C-DF42F3C332DF}"/>
                    </a:ext>
                  </a:extLst>
                </p:cNvPr>
                <p:cNvPicPr/>
                <p:nvPr/>
              </p:nvPicPr>
              <p:blipFill>
                <a:blip r:embed="rId61"/>
                <a:stretch>
                  <a:fillRect/>
                </a:stretch>
              </p:blipFill>
              <p:spPr>
                <a:xfrm>
                  <a:off x="5275737" y="3714398"/>
                  <a:ext cx="83520" cy="87840"/>
                </a:xfrm>
                <a:prstGeom prst="rect">
                  <a:avLst/>
                </a:prstGeom>
              </p:spPr>
            </p:pic>
          </mc:Fallback>
        </mc:AlternateContent>
        <mc:AlternateContent xmlns:mc="http://schemas.openxmlformats.org/markup-compatibility/2006" xmlns:p14="http://schemas.microsoft.com/office/powerpoint/2010/main">
          <mc:Choice Requires="p14">
            <p:contentPart p14:bwMode="auto" r:id="rId62">
              <p14:nvContentPartPr>
                <p14:cNvPr id="41" name="Ink 40">
                  <a:extLst>
                    <a:ext uri="{FF2B5EF4-FFF2-40B4-BE49-F238E27FC236}">
                      <a16:creationId xmlns:a16="http://schemas.microsoft.com/office/drawing/2014/main" id="{94190B63-4B54-4147-86A0-65257F79D3E3}"/>
                    </a:ext>
                  </a:extLst>
                </p14:cNvPr>
                <p14:cNvContentPartPr/>
                <p14:nvPr/>
              </p14:nvContentPartPr>
              <p14:xfrm>
                <a:off x="5381937" y="3747878"/>
                <a:ext cx="103680" cy="64440"/>
              </p14:xfrm>
            </p:contentPart>
          </mc:Choice>
          <mc:Fallback xmlns="">
            <p:pic>
              <p:nvPicPr>
                <p:cNvPr id="41" name="Ink 40">
                  <a:extLst>
                    <a:ext uri="{FF2B5EF4-FFF2-40B4-BE49-F238E27FC236}">
                      <a16:creationId xmlns:a16="http://schemas.microsoft.com/office/drawing/2014/main" id="{94190B63-4B54-4147-86A0-65257F79D3E3}"/>
                    </a:ext>
                  </a:extLst>
                </p:cNvPr>
                <p:cNvPicPr/>
                <p:nvPr/>
              </p:nvPicPr>
              <p:blipFill>
                <a:blip r:embed="rId63"/>
                <a:stretch>
                  <a:fillRect/>
                </a:stretch>
              </p:blipFill>
              <p:spPr>
                <a:xfrm>
                  <a:off x="5373297" y="3739238"/>
                  <a:ext cx="121320" cy="82080"/>
                </a:xfrm>
                <a:prstGeom prst="rect">
                  <a:avLst/>
                </a:prstGeom>
              </p:spPr>
            </p:pic>
          </mc:Fallback>
        </mc:AlternateContent>
        <mc:AlternateContent xmlns:mc="http://schemas.openxmlformats.org/markup-compatibility/2006" xmlns:p14="http://schemas.microsoft.com/office/powerpoint/2010/main">
          <mc:Choice Requires="p14">
            <p:contentPart p14:bwMode="auto" r:id="rId64">
              <p14:nvContentPartPr>
                <p14:cNvPr id="42" name="Ink 41">
                  <a:extLst>
                    <a:ext uri="{FF2B5EF4-FFF2-40B4-BE49-F238E27FC236}">
                      <a16:creationId xmlns:a16="http://schemas.microsoft.com/office/drawing/2014/main" id="{BE73B064-3CDF-4E8C-83B8-4175A14353D5}"/>
                    </a:ext>
                  </a:extLst>
                </p14:cNvPr>
                <p14:cNvContentPartPr/>
                <p14:nvPr/>
              </p14:nvContentPartPr>
              <p14:xfrm>
                <a:off x="5413257" y="3747878"/>
                <a:ext cx="38520" cy="76320"/>
              </p14:xfrm>
            </p:contentPart>
          </mc:Choice>
          <mc:Fallback xmlns="">
            <p:pic>
              <p:nvPicPr>
                <p:cNvPr id="42" name="Ink 41">
                  <a:extLst>
                    <a:ext uri="{FF2B5EF4-FFF2-40B4-BE49-F238E27FC236}">
                      <a16:creationId xmlns:a16="http://schemas.microsoft.com/office/drawing/2014/main" id="{BE73B064-3CDF-4E8C-83B8-4175A14353D5}"/>
                    </a:ext>
                  </a:extLst>
                </p:cNvPr>
                <p:cNvPicPr/>
                <p:nvPr/>
              </p:nvPicPr>
              <p:blipFill>
                <a:blip r:embed="rId65"/>
                <a:stretch>
                  <a:fillRect/>
                </a:stretch>
              </p:blipFill>
              <p:spPr>
                <a:xfrm>
                  <a:off x="5404257" y="3739238"/>
                  <a:ext cx="56160" cy="93960"/>
                </a:xfrm>
                <a:prstGeom prst="rect">
                  <a:avLst/>
                </a:prstGeom>
              </p:spPr>
            </p:pic>
          </mc:Fallback>
        </mc:AlternateContent>
        <mc:AlternateContent xmlns:mc="http://schemas.openxmlformats.org/markup-compatibility/2006" xmlns:p14="http://schemas.microsoft.com/office/powerpoint/2010/main">
          <mc:Choice Requires="p14">
            <p:contentPart p14:bwMode="auto" r:id="rId66">
              <p14:nvContentPartPr>
                <p14:cNvPr id="43" name="Ink 42">
                  <a:extLst>
                    <a:ext uri="{FF2B5EF4-FFF2-40B4-BE49-F238E27FC236}">
                      <a16:creationId xmlns:a16="http://schemas.microsoft.com/office/drawing/2014/main" id="{BBE1ED31-2BC8-4433-A402-C46FAC25EDA7}"/>
                    </a:ext>
                  </a:extLst>
                </p14:cNvPr>
                <p14:cNvContentPartPr/>
                <p14:nvPr/>
              </p14:nvContentPartPr>
              <p14:xfrm>
                <a:off x="5514417" y="3789998"/>
                <a:ext cx="63000" cy="50400"/>
              </p14:xfrm>
            </p:contentPart>
          </mc:Choice>
          <mc:Fallback xmlns="">
            <p:pic>
              <p:nvPicPr>
                <p:cNvPr id="43" name="Ink 42">
                  <a:extLst>
                    <a:ext uri="{FF2B5EF4-FFF2-40B4-BE49-F238E27FC236}">
                      <a16:creationId xmlns:a16="http://schemas.microsoft.com/office/drawing/2014/main" id="{BBE1ED31-2BC8-4433-A402-C46FAC25EDA7}"/>
                    </a:ext>
                  </a:extLst>
                </p:cNvPr>
                <p:cNvPicPr/>
                <p:nvPr/>
              </p:nvPicPr>
              <p:blipFill>
                <a:blip r:embed="rId67"/>
                <a:stretch>
                  <a:fillRect/>
                </a:stretch>
              </p:blipFill>
              <p:spPr>
                <a:xfrm>
                  <a:off x="5505417" y="3780998"/>
                  <a:ext cx="80640" cy="68040"/>
                </a:xfrm>
                <a:prstGeom prst="rect">
                  <a:avLst/>
                </a:prstGeom>
              </p:spPr>
            </p:pic>
          </mc:Fallback>
        </mc:AlternateContent>
        <mc:AlternateContent xmlns:mc="http://schemas.openxmlformats.org/markup-compatibility/2006" xmlns:p14="http://schemas.microsoft.com/office/powerpoint/2010/main">
          <mc:Choice Requires="p14">
            <p:contentPart p14:bwMode="auto" r:id="rId68">
              <p14:nvContentPartPr>
                <p14:cNvPr id="44" name="Ink 43">
                  <a:extLst>
                    <a:ext uri="{FF2B5EF4-FFF2-40B4-BE49-F238E27FC236}">
                      <a16:creationId xmlns:a16="http://schemas.microsoft.com/office/drawing/2014/main" id="{5B703E1B-19B1-4888-ABE8-637D91767CDB}"/>
                    </a:ext>
                  </a:extLst>
                </p14:cNvPr>
                <p14:cNvContentPartPr/>
                <p14:nvPr/>
              </p14:nvContentPartPr>
              <p14:xfrm>
                <a:off x="5548617" y="3782798"/>
                <a:ext cx="35640" cy="97560"/>
              </p14:xfrm>
            </p:contentPart>
          </mc:Choice>
          <mc:Fallback xmlns="">
            <p:pic>
              <p:nvPicPr>
                <p:cNvPr id="44" name="Ink 43">
                  <a:extLst>
                    <a:ext uri="{FF2B5EF4-FFF2-40B4-BE49-F238E27FC236}">
                      <a16:creationId xmlns:a16="http://schemas.microsoft.com/office/drawing/2014/main" id="{5B703E1B-19B1-4888-ABE8-637D91767CDB}"/>
                    </a:ext>
                  </a:extLst>
                </p:cNvPr>
                <p:cNvPicPr/>
                <p:nvPr/>
              </p:nvPicPr>
              <p:blipFill>
                <a:blip r:embed="rId69"/>
                <a:stretch>
                  <a:fillRect/>
                </a:stretch>
              </p:blipFill>
              <p:spPr>
                <a:xfrm>
                  <a:off x="5539617" y="3774158"/>
                  <a:ext cx="53280" cy="115200"/>
                </a:xfrm>
                <a:prstGeom prst="rect">
                  <a:avLst/>
                </a:prstGeom>
              </p:spPr>
            </p:pic>
          </mc:Fallback>
        </mc:AlternateContent>
        <mc:AlternateContent xmlns:mc="http://schemas.openxmlformats.org/markup-compatibility/2006" xmlns:p14="http://schemas.microsoft.com/office/powerpoint/2010/main">
          <mc:Choice Requires="p14">
            <p:contentPart p14:bwMode="auto" r:id="rId70">
              <p14:nvContentPartPr>
                <p14:cNvPr id="45" name="Ink 44">
                  <a:extLst>
                    <a:ext uri="{FF2B5EF4-FFF2-40B4-BE49-F238E27FC236}">
                      <a16:creationId xmlns:a16="http://schemas.microsoft.com/office/drawing/2014/main" id="{EEC625EA-A709-4029-97BA-433033071599}"/>
                    </a:ext>
                  </a:extLst>
                </p14:cNvPr>
                <p14:cNvContentPartPr/>
                <p14:nvPr/>
              </p14:nvContentPartPr>
              <p14:xfrm>
                <a:off x="5027337" y="3754718"/>
                <a:ext cx="47520" cy="91800"/>
              </p14:xfrm>
            </p:contentPart>
          </mc:Choice>
          <mc:Fallback xmlns="">
            <p:pic>
              <p:nvPicPr>
                <p:cNvPr id="45" name="Ink 44">
                  <a:extLst>
                    <a:ext uri="{FF2B5EF4-FFF2-40B4-BE49-F238E27FC236}">
                      <a16:creationId xmlns:a16="http://schemas.microsoft.com/office/drawing/2014/main" id="{EEC625EA-A709-4029-97BA-433033071599}"/>
                    </a:ext>
                  </a:extLst>
                </p:cNvPr>
                <p:cNvPicPr/>
                <p:nvPr/>
              </p:nvPicPr>
              <p:blipFill>
                <a:blip r:embed="rId71"/>
                <a:stretch>
                  <a:fillRect/>
                </a:stretch>
              </p:blipFill>
              <p:spPr>
                <a:xfrm>
                  <a:off x="5018337" y="3746078"/>
                  <a:ext cx="65160" cy="109440"/>
                </a:xfrm>
                <a:prstGeom prst="rect">
                  <a:avLst/>
                </a:prstGeom>
              </p:spPr>
            </p:pic>
          </mc:Fallback>
        </mc:AlternateContent>
        <mc:AlternateContent xmlns:mc="http://schemas.openxmlformats.org/markup-compatibility/2006" xmlns:p14="http://schemas.microsoft.com/office/powerpoint/2010/main">
          <mc:Choice Requires="p14">
            <p:contentPart p14:bwMode="auto" r:id="rId72">
              <p14:nvContentPartPr>
                <p14:cNvPr id="46" name="Ink 45">
                  <a:extLst>
                    <a:ext uri="{FF2B5EF4-FFF2-40B4-BE49-F238E27FC236}">
                      <a16:creationId xmlns:a16="http://schemas.microsoft.com/office/drawing/2014/main" id="{6CE2A0C2-A56C-4337-A6CD-5D2BC8A65F24}"/>
                    </a:ext>
                  </a:extLst>
                </p14:cNvPr>
                <p14:cNvContentPartPr/>
                <p14:nvPr/>
              </p14:nvContentPartPr>
              <p14:xfrm>
                <a:off x="5005377" y="3761918"/>
                <a:ext cx="34560" cy="168120"/>
              </p14:xfrm>
            </p:contentPart>
          </mc:Choice>
          <mc:Fallback xmlns="">
            <p:pic>
              <p:nvPicPr>
                <p:cNvPr id="46" name="Ink 45">
                  <a:extLst>
                    <a:ext uri="{FF2B5EF4-FFF2-40B4-BE49-F238E27FC236}">
                      <a16:creationId xmlns:a16="http://schemas.microsoft.com/office/drawing/2014/main" id="{6CE2A0C2-A56C-4337-A6CD-5D2BC8A65F24}"/>
                    </a:ext>
                  </a:extLst>
                </p:cNvPr>
                <p:cNvPicPr/>
                <p:nvPr/>
              </p:nvPicPr>
              <p:blipFill>
                <a:blip r:embed="rId73"/>
                <a:stretch>
                  <a:fillRect/>
                </a:stretch>
              </p:blipFill>
              <p:spPr>
                <a:xfrm>
                  <a:off x="4996737" y="3752918"/>
                  <a:ext cx="52200" cy="185760"/>
                </a:xfrm>
                <a:prstGeom prst="rect">
                  <a:avLst/>
                </a:prstGeom>
              </p:spPr>
            </p:pic>
          </mc:Fallback>
        </mc:AlternateContent>
      </p:grpSp>
      <p:grpSp>
        <p:nvGrpSpPr>
          <p:cNvPr id="57" name="Group 56">
            <a:extLst>
              <a:ext uri="{FF2B5EF4-FFF2-40B4-BE49-F238E27FC236}">
                <a16:creationId xmlns:a16="http://schemas.microsoft.com/office/drawing/2014/main" id="{5470643E-A305-443E-AC9C-EA74C5487491}"/>
              </a:ext>
            </a:extLst>
          </p:cNvPr>
          <p:cNvGrpSpPr/>
          <p:nvPr/>
        </p:nvGrpSpPr>
        <p:grpSpPr>
          <a:xfrm>
            <a:off x="3654657" y="3713318"/>
            <a:ext cx="507600" cy="235080"/>
            <a:chOff x="3654657" y="3713318"/>
            <a:chExt cx="507600" cy="235080"/>
          </a:xfrm>
        </p:grpSpPr>
        <mc:AlternateContent xmlns:mc="http://schemas.openxmlformats.org/markup-compatibility/2006" xmlns:p14="http://schemas.microsoft.com/office/powerpoint/2010/main">
          <mc:Choice Requires="p14">
            <p:contentPart p14:bwMode="auto" r:id="rId74">
              <p14:nvContentPartPr>
                <p14:cNvPr id="48" name="Ink 47">
                  <a:extLst>
                    <a:ext uri="{FF2B5EF4-FFF2-40B4-BE49-F238E27FC236}">
                      <a16:creationId xmlns:a16="http://schemas.microsoft.com/office/drawing/2014/main" id="{FADE710D-6762-4660-ADA5-90C692B3F5AE}"/>
                    </a:ext>
                  </a:extLst>
                </p14:cNvPr>
                <p14:cNvContentPartPr/>
                <p14:nvPr/>
              </p14:nvContentPartPr>
              <p14:xfrm>
                <a:off x="3749697" y="3740678"/>
                <a:ext cx="67680" cy="74160"/>
              </p14:xfrm>
            </p:contentPart>
          </mc:Choice>
          <mc:Fallback xmlns="">
            <p:pic>
              <p:nvPicPr>
                <p:cNvPr id="48" name="Ink 47">
                  <a:extLst>
                    <a:ext uri="{FF2B5EF4-FFF2-40B4-BE49-F238E27FC236}">
                      <a16:creationId xmlns:a16="http://schemas.microsoft.com/office/drawing/2014/main" id="{FADE710D-6762-4660-ADA5-90C692B3F5AE}"/>
                    </a:ext>
                  </a:extLst>
                </p:cNvPr>
                <p:cNvPicPr/>
                <p:nvPr/>
              </p:nvPicPr>
              <p:blipFill>
                <a:blip r:embed="rId75"/>
                <a:stretch>
                  <a:fillRect/>
                </a:stretch>
              </p:blipFill>
              <p:spPr>
                <a:xfrm>
                  <a:off x="3741057" y="3732038"/>
                  <a:ext cx="85320" cy="91800"/>
                </a:xfrm>
                <a:prstGeom prst="rect">
                  <a:avLst/>
                </a:prstGeom>
              </p:spPr>
            </p:pic>
          </mc:Fallback>
        </mc:AlternateContent>
        <mc:AlternateContent xmlns:mc="http://schemas.openxmlformats.org/markup-compatibility/2006" xmlns:p14="http://schemas.microsoft.com/office/powerpoint/2010/main">
          <mc:Choice Requires="p14">
            <p:contentPart p14:bwMode="auto" r:id="rId76">
              <p14:nvContentPartPr>
                <p14:cNvPr id="49" name="Ink 48">
                  <a:extLst>
                    <a:ext uri="{FF2B5EF4-FFF2-40B4-BE49-F238E27FC236}">
                      <a16:creationId xmlns:a16="http://schemas.microsoft.com/office/drawing/2014/main" id="{6C6FDDF3-30D3-418F-8E75-A282463851F6}"/>
                    </a:ext>
                  </a:extLst>
                </p14:cNvPr>
                <p14:cNvContentPartPr/>
                <p14:nvPr/>
              </p14:nvContentPartPr>
              <p14:xfrm>
                <a:off x="3915657" y="3719798"/>
                <a:ext cx="29880" cy="89280"/>
              </p14:xfrm>
            </p:contentPart>
          </mc:Choice>
          <mc:Fallback xmlns="">
            <p:pic>
              <p:nvPicPr>
                <p:cNvPr id="49" name="Ink 48">
                  <a:extLst>
                    <a:ext uri="{FF2B5EF4-FFF2-40B4-BE49-F238E27FC236}">
                      <a16:creationId xmlns:a16="http://schemas.microsoft.com/office/drawing/2014/main" id="{6C6FDDF3-30D3-418F-8E75-A282463851F6}"/>
                    </a:ext>
                  </a:extLst>
                </p:cNvPr>
                <p:cNvPicPr/>
                <p:nvPr/>
              </p:nvPicPr>
              <p:blipFill>
                <a:blip r:embed="rId77"/>
                <a:stretch>
                  <a:fillRect/>
                </a:stretch>
              </p:blipFill>
              <p:spPr>
                <a:xfrm>
                  <a:off x="3906657" y="3710798"/>
                  <a:ext cx="47520" cy="106920"/>
                </a:xfrm>
                <a:prstGeom prst="rect">
                  <a:avLst/>
                </a:prstGeom>
              </p:spPr>
            </p:pic>
          </mc:Fallback>
        </mc:AlternateContent>
        <mc:AlternateContent xmlns:mc="http://schemas.openxmlformats.org/markup-compatibility/2006" xmlns:p14="http://schemas.microsoft.com/office/powerpoint/2010/main">
          <mc:Choice Requires="p14">
            <p:contentPart p14:bwMode="auto" r:id="rId78">
              <p14:nvContentPartPr>
                <p14:cNvPr id="50" name="Ink 49">
                  <a:extLst>
                    <a:ext uri="{FF2B5EF4-FFF2-40B4-BE49-F238E27FC236}">
                      <a16:creationId xmlns:a16="http://schemas.microsoft.com/office/drawing/2014/main" id="{F9780CE2-368E-4B55-9115-420D64EFAE8C}"/>
                    </a:ext>
                  </a:extLst>
                </p14:cNvPr>
                <p14:cNvContentPartPr/>
                <p14:nvPr/>
              </p14:nvContentPartPr>
              <p14:xfrm>
                <a:off x="3880737" y="3754358"/>
                <a:ext cx="118080" cy="21600"/>
              </p14:xfrm>
            </p:contentPart>
          </mc:Choice>
          <mc:Fallback xmlns="">
            <p:pic>
              <p:nvPicPr>
                <p:cNvPr id="50" name="Ink 49">
                  <a:extLst>
                    <a:ext uri="{FF2B5EF4-FFF2-40B4-BE49-F238E27FC236}">
                      <a16:creationId xmlns:a16="http://schemas.microsoft.com/office/drawing/2014/main" id="{F9780CE2-368E-4B55-9115-420D64EFAE8C}"/>
                    </a:ext>
                  </a:extLst>
                </p:cNvPr>
                <p:cNvPicPr/>
                <p:nvPr/>
              </p:nvPicPr>
              <p:blipFill>
                <a:blip r:embed="rId79"/>
                <a:stretch>
                  <a:fillRect/>
                </a:stretch>
              </p:blipFill>
              <p:spPr>
                <a:xfrm>
                  <a:off x="3872097" y="3745718"/>
                  <a:ext cx="135720" cy="39240"/>
                </a:xfrm>
                <a:prstGeom prst="rect">
                  <a:avLst/>
                </a:prstGeom>
              </p:spPr>
            </p:pic>
          </mc:Fallback>
        </mc:AlternateContent>
        <mc:AlternateContent xmlns:mc="http://schemas.openxmlformats.org/markup-compatibility/2006" xmlns:p14="http://schemas.microsoft.com/office/powerpoint/2010/main">
          <mc:Choice Requires="p14">
            <p:contentPart p14:bwMode="auto" r:id="rId80">
              <p14:nvContentPartPr>
                <p14:cNvPr id="51" name="Ink 50">
                  <a:extLst>
                    <a:ext uri="{FF2B5EF4-FFF2-40B4-BE49-F238E27FC236}">
                      <a16:creationId xmlns:a16="http://schemas.microsoft.com/office/drawing/2014/main" id="{04470E61-C6E3-4626-A297-7A83AC147616}"/>
                    </a:ext>
                  </a:extLst>
                </p14:cNvPr>
                <p14:cNvContentPartPr/>
                <p14:nvPr/>
              </p14:nvContentPartPr>
              <p14:xfrm>
                <a:off x="3993417" y="3734198"/>
                <a:ext cx="95400" cy="68400"/>
              </p14:xfrm>
            </p:contentPart>
          </mc:Choice>
          <mc:Fallback xmlns="">
            <p:pic>
              <p:nvPicPr>
                <p:cNvPr id="51" name="Ink 50">
                  <a:extLst>
                    <a:ext uri="{FF2B5EF4-FFF2-40B4-BE49-F238E27FC236}">
                      <a16:creationId xmlns:a16="http://schemas.microsoft.com/office/drawing/2014/main" id="{04470E61-C6E3-4626-A297-7A83AC147616}"/>
                    </a:ext>
                  </a:extLst>
                </p:cNvPr>
                <p:cNvPicPr/>
                <p:nvPr/>
              </p:nvPicPr>
              <p:blipFill>
                <a:blip r:embed="rId81"/>
                <a:stretch>
                  <a:fillRect/>
                </a:stretch>
              </p:blipFill>
              <p:spPr>
                <a:xfrm>
                  <a:off x="3984417" y="3725198"/>
                  <a:ext cx="113040" cy="86040"/>
                </a:xfrm>
                <a:prstGeom prst="rect">
                  <a:avLst/>
                </a:prstGeom>
              </p:spPr>
            </p:pic>
          </mc:Fallback>
        </mc:AlternateContent>
        <mc:AlternateContent xmlns:mc="http://schemas.openxmlformats.org/markup-compatibility/2006" xmlns:p14="http://schemas.microsoft.com/office/powerpoint/2010/main">
          <mc:Choice Requires="p14">
            <p:contentPart p14:bwMode="auto" r:id="rId82">
              <p14:nvContentPartPr>
                <p14:cNvPr id="53" name="Ink 52">
                  <a:extLst>
                    <a:ext uri="{FF2B5EF4-FFF2-40B4-BE49-F238E27FC236}">
                      <a16:creationId xmlns:a16="http://schemas.microsoft.com/office/drawing/2014/main" id="{351CEF47-160B-40DE-931B-857B772F755F}"/>
                    </a:ext>
                  </a:extLst>
                </p14:cNvPr>
                <p14:cNvContentPartPr/>
                <p14:nvPr/>
              </p14:nvContentPartPr>
              <p14:xfrm>
                <a:off x="4134537" y="3726998"/>
                <a:ext cx="27720" cy="51120"/>
              </p14:xfrm>
            </p:contentPart>
          </mc:Choice>
          <mc:Fallback xmlns="">
            <p:pic>
              <p:nvPicPr>
                <p:cNvPr id="53" name="Ink 52">
                  <a:extLst>
                    <a:ext uri="{FF2B5EF4-FFF2-40B4-BE49-F238E27FC236}">
                      <a16:creationId xmlns:a16="http://schemas.microsoft.com/office/drawing/2014/main" id="{351CEF47-160B-40DE-931B-857B772F755F}"/>
                    </a:ext>
                  </a:extLst>
                </p:cNvPr>
                <p:cNvPicPr/>
                <p:nvPr/>
              </p:nvPicPr>
              <p:blipFill>
                <a:blip r:embed="rId83"/>
                <a:stretch>
                  <a:fillRect/>
                </a:stretch>
              </p:blipFill>
              <p:spPr>
                <a:xfrm>
                  <a:off x="4125537" y="3718358"/>
                  <a:ext cx="45360" cy="68760"/>
                </a:xfrm>
                <a:prstGeom prst="rect">
                  <a:avLst/>
                </a:prstGeom>
              </p:spPr>
            </p:pic>
          </mc:Fallback>
        </mc:AlternateContent>
        <mc:AlternateContent xmlns:mc="http://schemas.openxmlformats.org/markup-compatibility/2006" xmlns:p14="http://schemas.microsoft.com/office/powerpoint/2010/main">
          <mc:Choice Requires="p14">
            <p:contentPart p14:bwMode="auto" r:id="rId84">
              <p14:nvContentPartPr>
                <p14:cNvPr id="54" name="Ink 53">
                  <a:extLst>
                    <a:ext uri="{FF2B5EF4-FFF2-40B4-BE49-F238E27FC236}">
                      <a16:creationId xmlns:a16="http://schemas.microsoft.com/office/drawing/2014/main" id="{C60DC7E9-2E8C-4DF3-B887-E875364519BE}"/>
                    </a:ext>
                  </a:extLst>
                </p14:cNvPr>
                <p14:cNvContentPartPr/>
                <p14:nvPr/>
              </p14:nvContentPartPr>
              <p14:xfrm>
                <a:off x="3658617" y="3719798"/>
                <a:ext cx="68760" cy="118440"/>
              </p14:xfrm>
            </p:contentPart>
          </mc:Choice>
          <mc:Fallback xmlns="">
            <p:pic>
              <p:nvPicPr>
                <p:cNvPr id="54" name="Ink 53">
                  <a:extLst>
                    <a:ext uri="{FF2B5EF4-FFF2-40B4-BE49-F238E27FC236}">
                      <a16:creationId xmlns:a16="http://schemas.microsoft.com/office/drawing/2014/main" id="{C60DC7E9-2E8C-4DF3-B887-E875364519BE}"/>
                    </a:ext>
                  </a:extLst>
                </p:cNvPr>
                <p:cNvPicPr/>
                <p:nvPr/>
              </p:nvPicPr>
              <p:blipFill>
                <a:blip r:embed="rId85"/>
                <a:stretch>
                  <a:fillRect/>
                </a:stretch>
              </p:blipFill>
              <p:spPr>
                <a:xfrm>
                  <a:off x="3649977" y="3711158"/>
                  <a:ext cx="86400" cy="136080"/>
                </a:xfrm>
                <a:prstGeom prst="rect">
                  <a:avLst/>
                </a:prstGeom>
              </p:spPr>
            </p:pic>
          </mc:Fallback>
        </mc:AlternateContent>
        <mc:AlternateContent xmlns:mc="http://schemas.openxmlformats.org/markup-compatibility/2006" xmlns:p14="http://schemas.microsoft.com/office/powerpoint/2010/main">
          <mc:Choice Requires="p14">
            <p:contentPart p14:bwMode="auto" r:id="rId86">
              <p14:nvContentPartPr>
                <p14:cNvPr id="55" name="Ink 54">
                  <a:extLst>
                    <a:ext uri="{FF2B5EF4-FFF2-40B4-BE49-F238E27FC236}">
                      <a16:creationId xmlns:a16="http://schemas.microsoft.com/office/drawing/2014/main" id="{0D2B3839-C4B6-42D7-9B9D-804C0EC70539}"/>
                    </a:ext>
                  </a:extLst>
                </p14:cNvPr>
                <p14:cNvContentPartPr/>
                <p14:nvPr/>
              </p14:nvContentPartPr>
              <p14:xfrm>
                <a:off x="3654657" y="3713318"/>
                <a:ext cx="30960" cy="235080"/>
              </p14:xfrm>
            </p:contentPart>
          </mc:Choice>
          <mc:Fallback xmlns="">
            <p:pic>
              <p:nvPicPr>
                <p:cNvPr id="55" name="Ink 54">
                  <a:extLst>
                    <a:ext uri="{FF2B5EF4-FFF2-40B4-BE49-F238E27FC236}">
                      <a16:creationId xmlns:a16="http://schemas.microsoft.com/office/drawing/2014/main" id="{0D2B3839-C4B6-42D7-9B9D-804C0EC70539}"/>
                    </a:ext>
                  </a:extLst>
                </p:cNvPr>
                <p:cNvPicPr/>
                <p:nvPr/>
              </p:nvPicPr>
              <p:blipFill>
                <a:blip r:embed="rId87"/>
                <a:stretch>
                  <a:fillRect/>
                </a:stretch>
              </p:blipFill>
              <p:spPr>
                <a:xfrm>
                  <a:off x="3645657" y="3704318"/>
                  <a:ext cx="48600" cy="252720"/>
                </a:xfrm>
                <a:prstGeom prst="rect">
                  <a:avLst/>
                </a:prstGeom>
              </p:spPr>
            </p:pic>
          </mc:Fallback>
        </mc:AlternateContent>
      </p:grpSp>
      <p:grpSp>
        <p:nvGrpSpPr>
          <p:cNvPr id="64" name="Group 63">
            <a:extLst>
              <a:ext uri="{FF2B5EF4-FFF2-40B4-BE49-F238E27FC236}">
                <a16:creationId xmlns:a16="http://schemas.microsoft.com/office/drawing/2014/main" id="{606CEB9E-1C28-407A-9EF0-200905BF4043}"/>
              </a:ext>
            </a:extLst>
          </p:cNvPr>
          <p:cNvGrpSpPr/>
          <p:nvPr/>
        </p:nvGrpSpPr>
        <p:grpSpPr>
          <a:xfrm>
            <a:off x="6550497" y="3698918"/>
            <a:ext cx="410040" cy="153720"/>
            <a:chOff x="6550497" y="3698918"/>
            <a:chExt cx="410040" cy="153720"/>
          </a:xfrm>
        </p:grpSpPr>
        <mc:AlternateContent xmlns:mc="http://schemas.openxmlformats.org/markup-compatibility/2006" xmlns:p14="http://schemas.microsoft.com/office/powerpoint/2010/main">
          <mc:Choice Requires="p14">
            <p:contentPart p14:bwMode="auto" r:id="rId88">
              <p14:nvContentPartPr>
                <p14:cNvPr id="58" name="Ink 57">
                  <a:extLst>
                    <a:ext uri="{FF2B5EF4-FFF2-40B4-BE49-F238E27FC236}">
                      <a16:creationId xmlns:a16="http://schemas.microsoft.com/office/drawing/2014/main" id="{208F2072-63A7-4F5D-82A0-645E80307FE9}"/>
                    </a:ext>
                  </a:extLst>
                </p14:cNvPr>
                <p14:cNvContentPartPr/>
                <p14:nvPr/>
              </p14:nvContentPartPr>
              <p14:xfrm>
                <a:off x="6550497" y="3734198"/>
                <a:ext cx="94680" cy="91080"/>
              </p14:xfrm>
            </p:contentPart>
          </mc:Choice>
          <mc:Fallback xmlns="">
            <p:pic>
              <p:nvPicPr>
                <p:cNvPr id="58" name="Ink 57">
                  <a:extLst>
                    <a:ext uri="{FF2B5EF4-FFF2-40B4-BE49-F238E27FC236}">
                      <a16:creationId xmlns:a16="http://schemas.microsoft.com/office/drawing/2014/main" id="{208F2072-63A7-4F5D-82A0-645E80307FE9}"/>
                    </a:ext>
                  </a:extLst>
                </p:cNvPr>
                <p:cNvPicPr/>
                <p:nvPr/>
              </p:nvPicPr>
              <p:blipFill>
                <a:blip r:embed="rId89"/>
                <a:stretch>
                  <a:fillRect/>
                </a:stretch>
              </p:blipFill>
              <p:spPr>
                <a:xfrm>
                  <a:off x="6541497" y="3725198"/>
                  <a:ext cx="112320" cy="108720"/>
                </a:xfrm>
                <a:prstGeom prst="rect">
                  <a:avLst/>
                </a:prstGeom>
              </p:spPr>
            </p:pic>
          </mc:Fallback>
        </mc:AlternateContent>
        <mc:AlternateContent xmlns:mc="http://schemas.openxmlformats.org/markup-compatibility/2006" xmlns:p14="http://schemas.microsoft.com/office/powerpoint/2010/main">
          <mc:Choice Requires="p14">
            <p:contentPart p14:bwMode="auto" r:id="rId90">
              <p14:nvContentPartPr>
                <p14:cNvPr id="59" name="Ink 58">
                  <a:extLst>
                    <a:ext uri="{FF2B5EF4-FFF2-40B4-BE49-F238E27FC236}">
                      <a16:creationId xmlns:a16="http://schemas.microsoft.com/office/drawing/2014/main" id="{5B4BE1F3-A29F-4C7C-BE8D-F3038390FFFC}"/>
                    </a:ext>
                  </a:extLst>
                </p14:cNvPr>
                <p14:cNvContentPartPr/>
                <p14:nvPr/>
              </p14:nvContentPartPr>
              <p14:xfrm>
                <a:off x="6565977" y="3698918"/>
                <a:ext cx="37440" cy="153720"/>
              </p14:xfrm>
            </p:contentPart>
          </mc:Choice>
          <mc:Fallback xmlns="">
            <p:pic>
              <p:nvPicPr>
                <p:cNvPr id="59" name="Ink 58">
                  <a:extLst>
                    <a:ext uri="{FF2B5EF4-FFF2-40B4-BE49-F238E27FC236}">
                      <a16:creationId xmlns:a16="http://schemas.microsoft.com/office/drawing/2014/main" id="{5B4BE1F3-A29F-4C7C-BE8D-F3038390FFFC}"/>
                    </a:ext>
                  </a:extLst>
                </p:cNvPr>
                <p:cNvPicPr/>
                <p:nvPr/>
              </p:nvPicPr>
              <p:blipFill>
                <a:blip r:embed="rId91"/>
                <a:stretch>
                  <a:fillRect/>
                </a:stretch>
              </p:blipFill>
              <p:spPr>
                <a:xfrm>
                  <a:off x="6557337" y="3690278"/>
                  <a:ext cx="55080" cy="171360"/>
                </a:xfrm>
                <a:prstGeom prst="rect">
                  <a:avLst/>
                </a:prstGeom>
              </p:spPr>
            </p:pic>
          </mc:Fallback>
        </mc:AlternateContent>
        <mc:AlternateContent xmlns:mc="http://schemas.openxmlformats.org/markup-compatibility/2006" xmlns:p14="http://schemas.microsoft.com/office/powerpoint/2010/main">
          <mc:Choice Requires="p14">
            <p:contentPart p14:bwMode="auto" r:id="rId92">
              <p14:nvContentPartPr>
                <p14:cNvPr id="60" name="Ink 59">
                  <a:extLst>
                    <a:ext uri="{FF2B5EF4-FFF2-40B4-BE49-F238E27FC236}">
                      <a16:creationId xmlns:a16="http://schemas.microsoft.com/office/drawing/2014/main" id="{5DB084F7-BBE7-4419-8FBD-86788921F420}"/>
                    </a:ext>
                  </a:extLst>
                </p14:cNvPr>
                <p14:cNvContentPartPr/>
                <p14:nvPr/>
              </p14:nvContentPartPr>
              <p14:xfrm>
                <a:off x="6695937" y="3754718"/>
                <a:ext cx="37440" cy="89640"/>
              </p14:xfrm>
            </p:contentPart>
          </mc:Choice>
          <mc:Fallback xmlns="">
            <p:pic>
              <p:nvPicPr>
                <p:cNvPr id="60" name="Ink 59">
                  <a:extLst>
                    <a:ext uri="{FF2B5EF4-FFF2-40B4-BE49-F238E27FC236}">
                      <a16:creationId xmlns:a16="http://schemas.microsoft.com/office/drawing/2014/main" id="{5DB084F7-BBE7-4419-8FBD-86788921F420}"/>
                    </a:ext>
                  </a:extLst>
                </p:cNvPr>
                <p:cNvPicPr/>
                <p:nvPr/>
              </p:nvPicPr>
              <p:blipFill>
                <a:blip r:embed="rId93"/>
                <a:stretch>
                  <a:fillRect/>
                </a:stretch>
              </p:blipFill>
              <p:spPr>
                <a:xfrm>
                  <a:off x="6686937" y="3745718"/>
                  <a:ext cx="55080" cy="107280"/>
                </a:xfrm>
                <a:prstGeom prst="rect">
                  <a:avLst/>
                </a:prstGeom>
              </p:spPr>
            </p:pic>
          </mc:Fallback>
        </mc:AlternateContent>
        <mc:AlternateContent xmlns:mc="http://schemas.openxmlformats.org/markup-compatibility/2006" xmlns:p14="http://schemas.microsoft.com/office/powerpoint/2010/main">
          <mc:Choice Requires="p14">
            <p:contentPart p14:bwMode="auto" r:id="rId94">
              <p14:nvContentPartPr>
                <p14:cNvPr id="61" name="Ink 60">
                  <a:extLst>
                    <a:ext uri="{FF2B5EF4-FFF2-40B4-BE49-F238E27FC236}">
                      <a16:creationId xmlns:a16="http://schemas.microsoft.com/office/drawing/2014/main" id="{CCE56DF8-3F9D-43DD-999D-8F887883D809}"/>
                    </a:ext>
                  </a:extLst>
                </p14:cNvPr>
                <p14:cNvContentPartPr/>
                <p14:nvPr/>
              </p14:nvContentPartPr>
              <p14:xfrm>
                <a:off x="6756417" y="3781718"/>
                <a:ext cx="47880" cy="29880"/>
              </p14:xfrm>
            </p:contentPart>
          </mc:Choice>
          <mc:Fallback xmlns="">
            <p:pic>
              <p:nvPicPr>
                <p:cNvPr id="61" name="Ink 60">
                  <a:extLst>
                    <a:ext uri="{FF2B5EF4-FFF2-40B4-BE49-F238E27FC236}">
                      <a16:creationId xmlns:a16="http://schemas.microsoft.com/office/drawing/2014/main" id="{CCE56DF8-3F9D-43DD-999D-8F887883D809}"/>
                    </a:ext>
                  </a:extLst>
                </p:cNvPr>
                <p:cNvPicPr/>
                <p:nvPr/>
              </p:nvPicPr>
              <p:blipFill>
                <a:blip r:embed="rId95"/>
                <a:stretch>
                  <a:fillRect/>
                </a:stretch>
              </p:blipFill>
              <p:spPr>
                <a:xfrm>
                  <a:off x="6747777" y="3773078"/>
                  <a:ext cx="65520" cy="47520"/>
                </a:xfrm>
                <a:prstGeom prst="rect">
                  <a:avLst/>
                </a:prstGeom>
              </p:spPr>
            </p:pic>
          </mc:Fallback>
        </mc:AlternateContent>
        <mc:AlternateContent xmlns:mc="http://schemas.openxmlformats.org/markup-compatibility/2006" xmlns:p14="http://schemas.microsoft.com/office/powerpoint/2010/main">
          <mc:Choice Requires="p14">
            <p:contentPart p14:bwMode="auto" r:id="rId96">
              <p14:nvContentPartPr>
                <p14:cNvPr id="62" name="Ink 61">
                  <a:extLst>
                    <a:ext uri="{FF2B5EF4-FFF2-40B4-BE49-F238E27FC236}">
                      <a16:creationId xmlns:a16="http://schemas.microsoft.com/office/drawing/2014/main" id="{18AB754C-5BCC-448D-89FE-C3CC9BF398C2}"/>
                    </a:ext>
                  </a:extLst>
                </p14:cNvPr>
                <p14:cNvContentPartPr/>
                <p14:nvPr/>
              </p14:nvContentPartPr>
              <p14:xfrm>
                <a:off x="6819417" y="3769118"/>
                <a:ext cx="46440" cy="28440"/>
              </p14:xfrm>
            </p:contentPart>
          </mc:Choice>
          <mc:Fallback xmlns="">
            <p:pic>
              <p:nvPicPr>
                <p:cNvPr id="62" name="Ink 61">
                  <a:extLst>
                    <a:ext uri="{FF2B5EF4-FFF2-40B4-BE49-F238E27FC236}">
                      <a16:creationId xmlns:a16="http://schemas.microsoft.com/office/drawing/2014/main" id="{18AB754C-5BCC-448D-89FE-C3CC9BF398C2}"/>
                    </a:ext>
                  </a:extLst>
                </p:cNvPr>
                <p:cNvPicPr/>
                <p:nvPr/>
              </p:nvPicPr>
              <p:blipFill>
                <a:blip r:embed="rId97"/>
                <a:stretch>
                  <a:fillRect/>
                </a:stretch>
              </p:blipFill>
              <p:spPr>
                <a:xfrm>
                  <a:off x="6810777" y="3760118"/>
                  <a:ext cx="64080" cy="46080"/>
                </a:xfrm>
                <a:prstGeom prst="rect">
                  <a:avLst/>
                </a:prstGeom>
              </p:spPr>
            </p:pic>
          </mc:Fallback>
        </mc:AlternateContent>
        <mc:AlternateContent xmlns:mc="http://schemas.openxmlformats.org/markup-compatibility/2006" xmlns:p14="http://schemas.microsoft.com/office/powerpoint/2010/main">
          <mc:Choice Requires="p14">
            <p:contentPart p14:bwMode="auto" r:id="rId98">
              <p14:nvContentPartPr>
                <p14:cNvPr id="63" name="Ink 62">
                  <a:extLst>
                    <a:ext uri="{FF2B5EF4-FFF2-40B4-BE49-F238E27FC236}">
                      <a16:creationId xmlns:a16="http://schemas.microsoft.com/office/drawing/2014/main" id="{F07B8CBA-2616-42C9-B8F2-769C93B7F732}"/>
                    </a:ext>
                  </a:extLst>
                </p14:cNvPr>
                <p14:cNvContentPartPr/>
                <p14:nvPr/>
              </p14:nvContentPartPr>
              <p14:xfrm>
                <a:off x="6896097" y="3763718"/>
                <a:ext cx="64440" cy="48240"/>
              </p14:xfrm>
            </p:contentPart>
          </mc:Choice>
          <mc:Fallback xmlns="">
            <p:pic>
              <p:nvPicPr>
                <p:cNvPr id="63" name="Ink 62">
                  <a:extLst>
                    <a:ext uri="{FF2B5EF4-FFF2-40B4-BE49-F238E27FC236}">
                      <a16:creationId xmlns:a16="http://schemas.microsoft.com/office/drawing/2014/main" id="{F07B8CBA-2616-42C9-B8F2-769C93B7F732}"/>
                    </a:ext>
                  </a:extLst>
                </p:cNvPr>
                <p:cNvPicPr/>
                <p:nvPr/>
              </p:nvPicPr>
              <p:blipFill>
                <a:blip r:embed="rId99"/>
                <a:stretch>
                  <a:fillRect/>
                </a:stretch>
              </p:blipFill>
              <p:spPr>
                <a:xfrm>
                  <a:off x="6887457" y="3754718"/>
                  <a:ext cx="82080" cy="65880"/>
                </a:xfrm>
                <a:prstGeom prst="rect">
                  <a:avLst/>
                </a:prstGeom>
              </p:spPr>
            </p:pic>
          </mc:Fallback>
        </mc:AlternateContent>
      </p:grpSp>
      <p:grpSp>
        <p:nvGrpSpPr>
          <p:cNvPr id="73" name="Group 72">
            <a:extLst>
              <a:ext uri="{FF2B5EF4-FFF2-40B4-BE49-F238E27FC236}">
                <a16:creationId xmlns:a16="http://schemas.microsoft.com/office/drawing/2014/main" id="{79AAFFCA-5BC6-43BD-970D-733DBFA3EB87}"/>
              </a:ext>
            </a:extLst>
          </p:cNvPr>
          <p:cNvGrpSpPr/>
          <p:nvPr/>
        </p:nvGrpSpPr>
        <p:grpSpPr>
          <a:xfrm>
            <a:off x="7769457" y="3754718"/>
            <a:ext cx="690840" cy="174960"/>
            <a:chOff x="7769457" y="3754718"/>
            <a:chExt cx="690840" cy="174960"/>
          </a:xfrm>
        </p:grpSpPr>
        <mc:AlternateContent xmlns:mc="http://schemas.openxmlformats.org/markup-compatibility/2006" xmlns:p14="http://schemas.microsoft.com/office/powerpoint/2010/main">
          <mc:Choice Requires="p14">
            <p:contentPart p14:bwMode="auto" r:id="rId100">
              <p14:nvContentPartPr>
                <p14:cNvPr id="65" name="Ink 64">
                  <a:extLst>
                    <a:ext uri="{FF2B5EF4-FFF2-40B4-BE49-F238E27FC236}">
                      <a16:creationId xmlns:a16="http://schemas.microsoft.com/office/drawing/2014/main" id="{FD7CB692-01BA-4F77-B23F-AF988BA308CD}"/>
                    </a:ext>
                  </a:extLst>
                </p14:cNvPr>
                <p14:cNvContentPartPr/>
                <p14:nvPr/>
              </p14:nvContentPartPr>
              <p14:xfrm>
                <a:off x="7769457" y="3779558"/>
                <a:ext cx="90360" cy="78480"/>
              </p14:xfrm>
            </p:contentPart>
          </mc:Choice>
          <mc:Fallback xmlns="">
            <p:pic>
              <p:nvPicPr>
                <p:cNvPr id="65" name="Ink 64">
                  <a:extLst>
                    <a:ext uri="{FF2B5EF4-FFF2-40B4-BE49-F238E27FC236}">
                      <a16:creationId xmlns:a16="http://schemas.microsoft.com/office/drawing/2014/main" id="{FD7CB692-01BA-4F77-B23F-AF988BA308CD}"/>
                    </a:ext>
                  </a:extLst>
                </p:cNvPr>
                <p:cNvPicPr/>
                <p:nvPr/>
              </p:nvPicPr>
              <p:blipFill>
                <a:blip r:embed="rId101"/>
                <a:stretch>
                  <a:fillRect/>
                </a:stretch>
              </p:blipFill>
              <p:spPr>
                <a:xfrm>
                  <a:off x="7760817" y="3770918"/>
                  <a:ext cx="108000" cy="96120"/>
                </a:xfrm>
                <a:prstGeom prst="rect">
                  <a:avLst/>
                </a:prstGeom>
              </p:spPr>
            </p:pic>
          </mc:Fallback>
        </mc:AlternateContent>
        <mc:AlternateContent xmlns:mc="http://schemas.openxmlformats.org/markup-compatibility/2006" xmlns:p14="http://schemas.microsoft.com/office/powerpoint/2010/main">
          <mc:Choice Requires="p14">
            <p:contentPart p14:bwMode="auto" r:id="rId102">
              <p14:nvContentPartPr>
                <p14:cNvPr id="66" name="Ink 65">
                  <a:extLst>
                    <a:ext uri="{FF2B5EF4-FFF2-40B4-BE49-F238E27FC236}">
                      <a16:creationId xmlns:a16="http://schemas.microsoft.com/office/drawing/2014/main" id="{AB56431A-043E-4F93-8F8A-081D0EA0FB39}"/>
                    </a:ext>
                  </a:extLst>
                </p14:cNvPr>
                <p14:cNvContentPartPr/>
                <p14:nvPr/>
              </p14:nvContentPartPr>
              <p14:xfrm>
                <a:off x="7776297" y="3754718"/>
                <a:ext cx="52560" cy="174960"/>
              </p14:xfrm>
            </p:contentPart>
          </mc:Choice>
          <mc:Fallback xmlns="">
            <p:pic>
              <p:nvPicPr>
                <p:cNvPr id="66" name="Ink 65">
                  <a:extLst>
                    <a:ext uri="{FF2B5EF4-FFF2-40B4-BE49-F238E27FC236}">
                      <a16:creationId xmlns:a16="http://schemas.microsoft.com/office/drawing/2014/main" id="{AB56431A-043E-4F93-8F8A-081D0EA0FB39}"/>
                    </a:ext>
                  </a:extLst>
                </p:cNvPr>
                <p:cNvPicPr/>
                <p:nvPr/>
              </p:nvPicPr>
              <p:blipFill>
                <a:blip r:embed="rId103"/>
                <a:stretch>
                  <a:fillRect/>
                </a:stretch>
              </p:blipFill>
              <p:spPr>
                <a:xfrm>
                  <a:off x="7767297" y="3746078"/>
                  <a:ext cx="70200" cy="192600"/>
                </a:xfrm>
                <a:prstGeom prst="rect">
                  <a:avLst/>
                </a:prstGeom>
              </p:spPr>
            </p:pic>
          </mc:Fallback>
        </mc:AlternateContent>
        <mc:AlternateContent xmlns:mc="http://schemas.openxmlformats.org/markup-compatibility/2006" xmlns:p14="http://schemas.microsoft.com/office/powerpoint/2010/main">
          <mc:Choice Requires="p14">
            <p:contentPart p14:bwMode="auto" r:id="rId104">
              <p14:nvContentPartPr>
                <p14:cNvPr id="67" name="Ink 66">
                  <a:extLst>
                    <a:ext uri="{FF2B5EF4-FFF2-40B4-BE49-F238E27FC236}">
                      <a16:creationId xmlns:a16="http://schemas.microsoft.com/office/drawing/2014/main" id="{195A4FC3-8675-498D-AC9A-E23D89EEDFDB}"/>
                    </a:ext>
                  </a:extLst>
                </p14:cNvPr>
                <p14:cNvContentPartPr/>
                <p14:nvPr/>
              </p14:nvContentPartPr>
              <p14:xfrm>
                <a:off x="7895097" y="3796478"/>
                <a:ext cx="79560" cy="101520"/>
              </p14:xfrm>
            </p:contentPart>
          </mc:Choice>
          <mc:Fallback xmlns="">
            <p:pic>
              <p:nvPicPr>
                <p:cNvPr id="67" name="Ink 66">
                  <a:extLst>
                    <a:ext uri="{FF2B5EF4-FFF2-40B4-BE49-F238E27FC236}">
                      <a16:creationId xmlns:a16="http://schemas.microsoft.com/office/drawing/2014/main" id="{195A4FC3-8675-498D-AC9A-E23D89EEDFDB}"/>
                    </a:ext>
                  </a:extLst>
                </p:cNvPr>
                <p:cNvPicPr/>
                <p:nvPr/>
              </p:nvPicPr>
              <p:blipFill>
                <a:blip r:embed="rId105"/>
                <a:stretch>
                  <a:fillRect/>
                </a:stretch>
              </p:blipFill>
              <p:spPr>
                <a:xfrm>
                  <a:off x="7886097" y="3787838"/>
                  <a:ext cx="97200" cy="119160"/>
                </a:xfrm>
                <a:prstGeom prst="rect">
                  <a:avLst/>
                </a:prstGeom>
              </p:spPr>
            </p:pic>
          </mc:Fallback>
        </mc:AlternateContent>
        <mc:AlternateContent xmlns:mc="http://schemas.openxmlformats.org/markup-compatibility/2006" xmlns:p14="http://schemas.microsoft.com/office/powerpoint/2010/main">
          <mc:Choice Requires="p14">
            <p:contentPart p14:bwMode="auto" r:id="rId106">
              <p14:nvContentPartPr>
                <p14:cNvPr id="68" name="Ink 67">
                  <a:extLst>
                    <a:ext uri="{FF2B5EF4-FFF2-40B4-BE49-F238E27FC236}">
                      <a16:creationId xmlns:a16="http://schemas.microsoft.com/office/drawing/2014/main" id="{3585F691-F964-4A47-BFC0-63E05A9593A6}"/>
                    </a:ext>
                  </a:extLst>
                </p14:cNvPr>
                <p14:cNvContentPartPr/>
                <p14:nvPr/>
              </p14:nvContentPartPr>
              <p14:xfrm>
                <a:off x="8007777" y="3775598"/>
                <a:ext cx="74520" cy="89640"/>
              </p14:xfrm>
            </p:contentPart>
          </mc:Choice>
          <mc:Fallback xmlns="">
            <p:pic>
              <p:nvPicPr>
                <p:cNvPr id="68" name="Ink 67">
                  <a:extLst>
                    <a:ext uri="{FF2B5EF4-FFF2-40B4-BE49-F238E27FC236}">
                      <a16:creationId xmlns:a16="http://schemas.microsoft.com/office/drawing/2014/main" id="{3585F691-F964-4A47-BFC0-63E05A9593A6}"/>
                    </a:ext>
                  </a:extLst>
                </p:cNvPr>
                <p:cNvPicPr/>
                <p:nvPr/>
              </p:nvPicPr>
              <p:blipFill>
                <a:blip r:embed="rId107"/>
                <a:stretch>
                  <a:fillRect/>
                </a:stretch>
              </p:blipFill>
              <p:spPr>
                <a:xfrm>
                  <a:off x="7998777" y="3766958"/>
                  <a:ext cx="92160" cy="107280"/>
                </a:xfrm>
                <a:prstGeom prst="rect">
                  <a:avLst/>
                </a:prstGeom>
              </p:spPr>
            </p:pic>
          </mc:Fallback>
        </mc:AlternateContent>
        <mc:AlternateContent xmlns:mc="http://schemas.openxmlformats.org/markup-compatibility/2006" xmlns:p14="http://schemas.microsoft.com/office/powerpoint/2010/main">
          <mc:Choice Requires="p14">
            <p:contentPart p14:bwMode="auto" r:id="rId108">
              <p14:nvContentPartPr>
                <p14:cNvPr id="69" name="Ink 68">
                  <a:extLst>
                    <a:ext uri="{FF2B5EF4-FFF2-40B4-BE49-F238E27FC236}">
                      <a16:creationId xmlns:a16="http://schemas.microsoft.com/office/drawing/2014/main" id="{4F05D166-A8A9-4399-9FC7-0DFA49A1667E}"/>
                    </a:ext>
                  </a:extLst>
                </p14:cNvPr>
                <p14:cNvContentPartPr/>
                <p14:nvPr/>
              </p14:nvContentPartPr>
              <p14:xfrm>
                <a:off x="8112537" y="3783518"/>
                <a:ext cx="47160" cy="52560"/>
              </p14:xfrm>
            </p:contentPart>
          </mc:Choice>
          <mc:Fallback xmlns="">
            <p:pic>
              <p:nvPicPr>
                <p:cNvPr id="69" name="Ink 68">
                  <a:extLst>
                    <a:ext uri="{FF2B5EF4-FFF2-40B4-BE49-F238E27FC236}">
                      <a16:creationId xmlns:a16="http://schemas.microsoft.com/office/drawing/2014/main" id="{4F05D166-A8A9-4399-9FC7-0DFA49A1667E}"/>
                    </a:ext>
                  </a:extLst>
                </p:cNvPr>
                <p:cNvPicPr/>
                <p:nvPr/>
              </p:nvPicPr>
              <p:blipFill>
                <a:blip r:embed="rId109"/>
                <a:stretch>
                  <a:fillRect/>
                </a:stretch>
              </p:blipFill>
              <p:spPr>
                <a:xfrm>
                  <a:off x="8103897" y="3774878"/>
                  <a:ext cx="64800" cy="70200"/>
                </a:xfrm>
                <a:prstGeom prst="rect">
                  <a:avLst/>
                </a:prstGeom>
              </p:spPr>
            </p:pic>
          </mc:Fallback>
        </mc:AlternateContent>
        <mc:AlternateContent xmlns:mc="http://schemas.openxmlformats.org/markup-compatibility/2006" xmlns:p14="http://schemas.microsoft.com/office/powerpoint/2010/main">
          <mc:Choice Requires="p14">
            <p:contentPart p14:bwMode="auto" r:id="rId110">
              <p14:nvContentPartPr>
                <p14:cNvPr id="70" name="Ink 69">
                  <a:extLst>
                    <a:ext uri="{FF2B5EF4-FFF2-40B4-BE49-F238E27FC236}">
                      <a16:creationId xmlns:a16="http://schemas.microsoft.com/office/drawing/2014/main" id="{FA3FD7A8-1B2F-49CF-BCAB-1C54C11825B5}"/>
                    </a:ext>
                  </a:extLst>
                </p14:cNvPr>
                <p14:cNvContentPartPr/>
                <p14:nvPr/>
              </p14:nvContentPartPr>
              <p14:xfrm>
                <a:off x="8201457" y="3782798"/>
                <a:ext cx="7920" cy="47880"/>
              </p14:xfrm>
            </p:contentPart>
          </mc:Choice>
          <mc:Fallback xmlns="">
            <p:pic>
              <p:nvPicPr>
                <p:cNvPr id="70" name="Ink 69">
                  <a:extLst>
                    <a:ext uri="{FF2B5EF4-FFF2-40B4-BE49-F238E27FC236}">
                      <a16:creationId xmlns:a16="http://schemas.microsoft.com/office/drawing/2014/main" id="{FA3FD7A8-1B2F-49CF-BCAB-1C54C11825B5}"/>
                    </a:ext>
                  </a:extLst>
                </p:cNvPr>
                <p:cNvPicPr/>
                <p:nvPr/>
              </p:nvPicPr>
              <p:blipFill>
                <a:blip r:embed="rId111"/>
                <a:stretch>
                  <a:fillRect/>
                </a:stretch>
              </p:blipFill>
              <p:spPr>
                <a:xfrm>
                  <a:off x="8192457" y="3774158"/>
                  <a:ext cx="25560" cy="65520"/>
                </a:xfrm>
                <a:prstGeom prst="rect">
                  <a:avLst/>
                </a:prstGeom>
              </p:spPr>
            </p:pic>
          </mc:Fallback>
        </mc:AlternateContent>
        <mc:AlternateContent xmlns:mc="http://schemas.openxmlformats.org/markup-compatibility/2006" xmlns:p14="http://schemas.microsoft.com/office/powerpoint/2010/main">
          <mc:Choice Requires="p14">
            <p:contentPart p14:bwMode="auto" r:id="rId112">
              <p14:nvContentPartPr>
                <p14:cNvPr id="71" name="Ink 70">
                  <a:extLst>
                    <a:ext uri="{FF2B5EF4-FFF2-40B4-BE49-F238E27FC236}">
                      <a16:creationId xmlns:a16="http://schemas.microsoft.com/office/drawing/2014/main" id="{234F326F-23BD-44B9-A92E-454DBF66E1B9}"/>
                    </a:ext>
                  </a:extLst>
                </p14:cNvPr>
                <p14:cNvContentPartPr/>
                <p14:nvPr/>
              </p14:nvContentPartPr>
              <p14:xfrm>
                <a:off x="8292177" y="3817718"/>
                <a:ext cx="51840" cy="7560"/>
              </p14:xfrm>
            </p:contentPart>
          </mc:Choice>
          <mc:Fallback xmlns="">
            <p:pic>
              <p:nvPicPr>
                <p:cNvPr id="71" name="Ink 70">
                  <a:extLst>
                    <a:ext uri="{FF2B5EF4-FFF2-40B4-BE49-F238E27FC236}">
                      <a16:creationId xmlns:a16="http://schemas.microsoft.com/office/drawing/2014/main" id="{234F326F-23BD-44B9-A92E-454DBF66E1B9}"/>
                    </a:ext>
                  </a:extLst>
                </p:cNvPr>
                <p:cNvPicPr/>
                <p:nvPr/>
              </p:nvPicPr>
              <p:blipFill>
                <a:blip r:embed="rId113"/>
                <a:stretch>
                  <a:fillRect/>
                </a:stretch>
              </p:blipFill>
              <p:spPr>
                <a:xfrm>
                  <a:off x="8283537" y="3808718"/>
                  <a:ext cx="69480" cy="25200"/>
                </a:xfrm>
                <a:prstGeom prst="rect">
                  <a:avLst/>
                </a:prstGeom>
              </p:spPr>
            </p:pic>
          </mc:Fallback>
        </mc:AlternateContent>
        <mc:AlternateContent xmlns:mc="http://schemas.openxmlformats.org/markup-compatibility/2006" xmlns:p14="http://schemas.microsoft.com/office/powerpoint/2010/main">
          <mc:Choice Requires="p14">
            <p:contentPart p14:bwMode="auto" r:id="rId114">
              <p14:nvContentPartPr>
                <p14:cNvPr id="72" name="Ink 71">
                  <a:extLst>
                    <a:ext uri="{FF2B5EF4-FFF2-40B4-BE49-F238E27FC236}">
                      <a16:creationId xmlns:a16="http://schemas.microsoft.com/office/drawing/2014/main" id="{A877D2CC-4F1F-41E6-A976-29A79B3958EE}"/>
                    </a:ext>
                  </a:extLst>
                </p14:cNvPr>
                <p14:cNvContentPartPr/>
                <p14:nvPr/>
              </p14:nvContentPartPr>
              <p14:xfrm>
                <a:off x="8452737" y="3817718"/>
                <a:ext cx="7560" cy="360"/>
              </p14:xfrm>
            </p:contentPart>
          </mc:Choice>
          <mc:Fallback xmlns="">
            <p:pic>
              <p:nvPicPr>
                <p:cNvPr id="72" name="Ink 71">
                  <a:extLst>
                    <a:ext uri="{FF2B5EF4-FFF2-40B4-BE49-F238E27FC236}">
                      <a16:creationId xmlns:a16="http://schemas.microsoft.com/office/drawing/2014/main" id="{A877D2CC-4F1F-41E6-A976-29A79B3958EE}"/>
                    </a:ext>
                  </a:extLst>
                </p:cNvPr>
                <p:cNvPicPr/>
                <p:nvPr/>
              </p:nvPicPr>
              <p:blipFill>
                <a:blip r:embed="rId115"/>
                <a:stretch>
                  <a:fillRect/>
                </a:stretch>
              </p:blipFill>
              <p:spPr>
                <a:xfrm>
                  <a:off x="8443737" y="3808718"/>
                  <a:ext cx="25200" cy="18000"/>
                </a:xfrm>
                <a:prstGeom prst="rect">
                  <a:avLst/>
                </a:prstGeom>
              </p:spPr>
            </p:pic>
          </mc:Fallback>
        </mc:AlternateContent>
      </p:grpSp>
      <p:sp>
        <p:nvSpPr>
          <p:cNvPr id="74" name="TextBox 73">
            <a:extLst>
              <a:ext uri="{FF2B5EF4-FFF2-40B4-BE49-F238E27FC236}">
                <a16:creationId xmlns:a16="http://schemas.microsoft.com/office/drawing/2014/main" id="{EABD5123-7F3E-4FD8-BE01-4D02616F6FBE}"/>
              </a:ext>
            </a:extLst>
          </p:cNvPr>
          <p:cNvSpPr txBox="1"/>
          <p:nvPr/>
        </p:nvSpPr>
        <p:spPr>
          <a:xfrm>
            <a:off x="161129" y="1195102"/>
            <a:ext cx="3588568" cy="646331"/>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bg2"/>
                </a:solidFill>
                <a:latin typeface="+mn-lt"/>
              </a:rPr>
              <a:t>Sampling Distribution of the MEAN</a:t>
            </a:r>
          </a:p>
        </p:txBody>
      </p:sp>
      <p:sp>
        <p:nvSpPr>
          <p:cNvPr id="75" name="TextBox 74">
            <a:extLst>
              <a:ext uri="{FF2B5EF4-FFF2-40B4-BE49-F238E27FC236}">
                <a16:creationId xmlns:a16="http://schemas.microsoft.com/office/drawing/2014/main" id="{981143FD-A90E-495D-BFC0-DC7E14C8A702}"/>
              </a:ext>
            </a:extLst>
          </p:cNvPr>
          <p:cNvSpPr txBox="1"/>
          <p:nvPr/>
        </p:nvSpPr>
        <p:spPr>
          <a:xfrm>
            <a:off x="6003297" y="1730768"/>
            <a:ext cx="3200807" cy="461665"/>
          </a:xfrm>
          <a:prstGeom prst="rect">
            <a:avLst/>
          </a:prstGeom>
          <a:noFill/>
        </p:spPr>
        <p:txBody>
          <a:bodyPr wrap="square" rtlCol="0">
            <a:spAutoFit/>
          </a:bodyPr>
          <a:lstStyle/>
          <a:p>
            <a:pPr>
              <a:spcBef>
                <a:spcPts val="0"/>
              </a:spcBef>
              <a:spcAft>
                <a:spcPts val="0"/>
              </a:spcAft>
              <a:buClr>
                <a:schemeClr val="bg1"/>
              </a:buClr>
            </a:pPr>
            <a:r>
              <a:rPr lang="en-US" b="1" dirty="0">
                <a:solidFill>
                  <a:schemeClr val="bg2"/>
                </a:solidFill>
                <a:latin typeface="+mn-lt"/>
              </a:rPr>
              <a:t>Normal Distribution</a:t>
            </a:r>
          </a:p>
        </p:txBody>
      </p:sp>
      <mc:AlternateContent xmlns:mc="http://schemas.openxmlformats.org/markup-compatibility/2006">
        <mc:Choice xmlns:p14="http://schemas.microsoft.com/office/powerpoint/2010/main" Requires="p14">
          <p:contentPart p14:bwMode="auto" r:id="rId116">
            <p14:nvContentPartPr>
              <p14:cNvPr id="3" name="Ink 2">
                <a:extLst>
                  <a:ext uri="{FF2B5EF4-FFF2-40B4-BE49-F238E27FC236}">
                    <a16:creationId xmlns:a16="http://schemas.microsoft.com/office/drawing/2014/main" id="{E316A8E3-3DAA-4001-AED5-0EA300D5A695}"/>
                  </a:ext>
                </a:extLst>
              </p14:cNvPr>
              <p14:cNvContentPartPr/>
              <p14:nvPr/>
            </p14:nvContentPartPr>
            <p14:xfrm>
              <a:off x="133200" y="380880"/>
              <a:ext cx="8949240" cy="4138920"/>
            </p14:xfrm>
          </p:contentPart>
        </mc:Choice>
        <mc:Fallback>
          <p:pic>
            <p:nvPicPr>
              <p:cNvPr id="3" name="Ink 2">
                <a:extLst>
                  <a:ext uri="{FF2B5EF4-FFF2-40B4-BE49-F238E27FC236}">
                    <a16:creationId xmlns:a16="http://schemas.microsoft.com/office/drawing/2014/main" id="{E316A8E3-3DAA-4001-AED5-0EA300D5A695}"/>
                  </a:ext>
                </a:extLst>
              </p:cNvPr>
              <p:cNvPicPr/>
              <p:nvPr/>
            </p:nvPicPr>
            <p:blipFill>
              <a:blip r:embed="rId117"/>
              <a:stretch>
                <a:fillRect/>
              </a:stretch>
            </p:blipFill>
            <p:spPr>
              <a:xfrm>
                <a:off x="123840" y="371520"/>
                <a:ext cx="8967960" cy="4157640"/>
              </a:xfrm>
              <a:prstGeom prst="rect">
                <a:avLst/>
              </a:prstGeom>
            </p:spPr>
          </p:pic>
        </mc:Fallback>
      </mc:AlternateContent>
    </p:spTree>
    <p:extLst>
      <p:ext uri="{BB962C8B-B14F-4D97-AF65-F5344CB8AC3E}">
        <p14:creationId xmlns:p14="http://schemas.microsoft.com/office/powerpoint/2010/main" val="30657556"/>
      </p:ext>
    </p:extLst>
  </p:cSld>
  <p:clrMapOvr>
    <a:masterClrMapping/>
  </p:clrMapOvr>
  <p:transition spd="med">
    <p:wipe dir="r"/>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25F4E2-C99F-4C9A-9438-DEDE4EC9CA88}"/>
              </a:ext>
            </a:extLst>
          </p:cNvPr>
          <p:cNvSpPr>
            <a:spLocks noGrp="1"/>
          </p:cNvSpPr>
          <p:nvPr>
            <p:ph type="title"/>
          </p:nvPr>
        </p:nvSpPr>
        <p:spPr>
          <a:xfrm>
            <a:off x="0" y="22860"/>
            <a:ext cx="4295219" cy="640080"/>
          </a:xfrm>
        </p:spPr>
        <p:txBody>
          <a:bodyPr/>
          <a:lstStyle/>
          <a:p>
            <a:r>
              <a:rPr lang="en-US" dirty="0"/>
              <a:t>Central Limit Theorem</a:t>
            </a:r>
          </a:p>
        </p:txBody>
      </p:sp>
      <p:grpSp>
        <p:nvGrpSpPr>
          <p:cNvPr id="4" name="Group 3">
            <a:extLst>
              <a:ext uri="{FF2B5EF4-FFF2-40B4-BE49-F238E27FC236}">
                <a16:creationId xmlns:a16="http://schemas.microsoft.com/office/drawing/2014/main" id="{69C0FA5D-35E2-4719-8F2D-F62EF0D5CB1E}"/>
              </a:ext>
            </a:extLst>
          </p:cNvPr>
          <p:cNvGrpSpPr/>
          <p:nvPr/>
        </p:nvGrpSpPr>
        <p:grpSpPr>
          <a:xfrm>
            <a:off x="711778" y="1655272"/>
            <a:ext cx="2478600" cy="1243080"/>
            <a:chOff x="669897" y="1521278"/>
            <a:chExt cx="2478600" cy="1243080"/>
          </a:xfrm>
        </p:grpSpPr>
        <mc:AlternateContent xmlns:mc="http://schemas.openxmlformats.org/markup-compatibility/2006" xmlns:p14="http://schemas.microsoft.com/office/powerpoint/2010/main">
          <mc:Choice Requires="p14">
            <p:contentPart p14:bwMode="auto" r:id="rId2">
              <p14:nvContentPartPr>
                <p14:cNvPr id="5" name="Ink 4">
                  <a:extLst>
                    <a:ext uri="{FF2B5EF4-FFF2-40B4-BE49-F238E27FC236}">
                      <a16:creationId xmlns:a16="http://schemas.microsoft.com/office/drawing/2014/main" id="{67DF212E-5039-4547-8E4D-9D6A04B647E4}"/>
                    </a:ext>
                  </a:extLst>
                </p14:cNvPr>
                <p14:cNvContentPartPr/>
                <p14:nvPr/>
              </p14:nvContentPartPr>
              <p14:xfrm>
                <a:off x="836937" y="1521278"/>
                <a:ext cx="63720" cy="1243080"/>
              </p14:xfrm>
            </p:contentPart>
          </mc:Choice>
          <mc:Fallback xmlns="">
            <p:pic>
              <p:nvPicPr>
                <p:cNvPr id="5" name="Ink 4">
                  <a:extLst>
                    <a:ext uri="{FF2B5EF4-FFF2-40B4-BE49-F238E27FC236}">
                      <a16:creationId xmlns:a16="http://schemas.microsoft.com/office/drawing/2014/main" id="{67DF212E-5039-4547-8E4D-9D6A04B647E4}"/>
                    </a:ext>
                  </a:extLst>
                </p:cNvPr>
                <p:cNvPicPr/>
                <p:nvPr/>
              </p:nvPicPr>
              <p:blipFill>
                <a:blip r:embed="rId3"/>
                <a:stretch>
                  <a:fillRect/>
                </a:stretch>
              </p:blipFill>
              <p:spPr>
                <a:xfrm>
                  <a:off x="827937" y="1512638"/>
                  <a:ext cx="81360" cy="1260720"/>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6" name="Ink 5">
                  <a:extLst>
                    <a:ext uri="{FF2B5EF4-FFF2-40B4-BE49-F238E27FC236}">
                      <a16:creationId xmlns:a16="http://schemas.microsoft.com/office/drawing/2014/main" id="{2806D210-4605-4E8C-B08C-617A3A419530}"/>
                    </a:ext>
                  </a:extLst>
                </p14:cNvPr>
                <p14:cNvContentPartPr/>
                <p14:nvPr/>
              </p14:nvContentPartPr>
              <p14:xfrm>
                <a:off x="669897" y="2587598"/>
                <a:ext cx="1758600" cy="36720"/>
              </p14:xfrm>
            </p:contentPart>
          </mc:Choice>
          <mc:Fallback xmlns="">
            <p:pic>
              <p:nvPicPr>
                <p:cNvPr id="6" name="Ink 5">
                  <a:extLst>
                    <a:ext uri="{FF2B5EF4-FFF2-40B4-BE49-F238E27FC236}">
                      <a16:creationId xmlns:a16="http://schemas.microsoft.com/office/drawing/2014/main" id="{2806D210-4605-4E8C-B08C-617A3A419530}"/>
                    </a:ext>
                  </a:extLst>
                </p:cNvPr>
                <p:cNvPicPr/>
                <p:nvPr/>
              </p:nvPicPr>
              <p:blipFill>
                <a:blip r:embed="rId5"/>
                <a:stretch>
                  <a:fillRect/>
                </a:stretch>
              </p:blipFill>
              <p:spPr>
                <a:xfrm>
                  <a:off x="660897" y="2578598"/>
                  <a:ext cx="1776240" cy="5436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7" name="Ink 6">
                  <a:extLst>
                    <a:ext uri="{FF2B5EF4-FFF2-40B4-BE49-F238E27FC236}">
                      <a16:creationId xmlns:a16="http://schemas.microsoft.com/office/drawing/2014/main" id="{8161947D-9A09-4FB8-804C-D15EDB8E0502}"/>
                    </a:ext>
                  </a:extLst>
                </p14:cNvPr>
                <p14:cNvContentPartPr/>
                <p14:nvPr/>
              </p14:nvContentPartPr>
              <p14:xfrm>
                <a:off x="921177" y="1540718"/>
                <a:ext cx="2227320" cy="839880"/>
              </p14:xfrm>
            </p:contentPart>
          </mc:Choice>
          <mc:Fallback xmlns="">
            <p:pic>
              <p:nvPicPr>
                <p:cNvPr id="7" name="Ink 6">
                  <a:extLst>
                    <a:ext uri="{FF2B5EF4-FFF2-40B4-BE49-F238E27FC236}">
                      <a16:creationId xmlns:a16="http://schemas.microsoft.com/office/drawing/2014/main" id="{8161947D-9A09-4FB8-804C-D15EDB8E0502}"/>
                    </a:ext>
                  </a:extLst>
                </p:cNvPr>
                <p:cNvPicPr/>
                <p:nvPr/>
              </p:nvPicPr>
              <p:blipFill>
                <a:blip r:embed="rId7"/>
                <a:stretch>
                  <a:fillRect/>
                </a:stretch>
              </p:blipFill>
              <p:spPr>
                <a:xfrm>
                  <a:off x="912177" y="1531718"/>
                  <a:ext cx="2244960" cy="857520"/>
                </a:xfrm>
                <a:prstGeom prst="rect">
                  <a:avLst/>
                </a:prstGeom>
              </p:spPr>
            </p:pic>
          </mc:Fallback>
        </mc:AlternateContent>
      </p:grpSp>
      <p:pic>
        <p:nvPicPr>
          <p:cNvPr id="8" name="Picture 7">
            <a:extLst>
              <a:ext uri="{FF2B5EF4-FFF2-40B4-BE49-F238E27FC236}">
                <a16:creationId xmlns:a16="http://schemas.microsoft.com/office/drawing/2014/main" id="{F8779B53-938C-4D0B-9920-8BDECC4AF6C2}"/>
              </a:ext>
            </a:extLst>
          </p:cNvPr>
          <p:cNvPicPr>
            <a:picLocks noChangeAspect="1"/>
          </p:cNvPicPr>
          <p:nvPr/>
        </p:nvPicPr>
        <p:blipFill>
          <a:blip r:embed="rId8"/>
          <a:stretch>
            <a:fillRect/>
          </a:stretch>
        </p:blipFill>
        <p:spPr>
          <a:xfrm>
            <a:off x="4418496" y="1320984"/>
            <a:ext cx="4013726" cy="1547336"/>
          </a:xfrm>
          <a:prstGeom prst="rect">
            <a:avLst/>
          </a:prstGeom>
        </p:spPr>
      </p:pic>
      <p:sp>
        <p:nvSpPr>
          <p:cNvPr id="9" name="TextBox 8">
            <a:extLst>
              <a:ext uri="{FF2B5EF4-FFF2-40B4-BE49-F238E27FC236}">
                <a16:creationId xmlns:a16="http://schemas.microsoft.com/office/drawing/2014/main" id="{CC24C145-5C49-4D83-81D7-EF607B9E9219}"/>
              </a:ext>
            </a:extLst>
          </p:cNvPr>
          <p:cNvSpPr txBox="1"/>
          <p:nvPr/>
        </p:nvSpPr>
        <p:spPr>
          <a:xfrm>
            <a:off x="279206" y="928273"/>
            <a:ext cx="3441215" cy="461665"/>
          </a:xfrm>
          <a:prstGeom prst="rect">
            <a:avLst/>
          </a:prstGeom>
          <a:noFill/>
        </p:spPr>
        <p:txBody>
          <a:bodyPr wrap="square" rtlCol="0">
            <a:spAutoFit/>
          </a:bodyPr>
          <a:lstStyle/>
          <a:p>
            <a:pPr>
              <a:spcBef>
                <a:spcPts val="0"/>
              </a:spcBef>
              <a:spcAft>
                <a:spcPts val="0"/>
              </a:spcAft>
              <a:buClr>
                <a:schemeClr val="bg1"/>
              </a:buClr>
            </a:pPr>
            <a:r>
              <a:rPr lang="en-US" b="1" dirty="0">
                <a:solidFill>
                  <a:schemeClr val="bg2"/>
                </a:solidFill>
                <a:latin typeface="+mn-lt"/>
              </a:rPr>
              <a:t>Original distribution </a:t>
            </a:r>
            <a:endParaRPr lang="en-US" sz="1400" b="1" dirty="0">
              <a:solidFill>
                <a:schemeClr val="bg2"/>
              </a:solidFill>
              <a:latin typeface="+mn-lt"/>
            </a:endParaRPr>
          </a:p>
        </p:txBody>
      </p:sp>
      <p:sp>
        <p:nvSpPr>
          <p:cNvPr id="10" name="TextBox 9">
            <a:extLst>
              <a:ext uri="{FF2B5EF4-FFF2-40B4-BE49-F238E27FC236}">
                <a16:creationId xmlns:a16="http://schemas.microsoft.com/office/drawing/2014/main" id="{8F5ED67B-8421-410F-935C-BE90D5E52911}"/>
              </a:ext>
            </a:extLst>
          </p:cNvPr>
          <p:cNvSpPr txBox="1"/>
          <p:nvPr/>
        </p:nvSpPr>
        <p:spPr>
          <a:xfrm>
            <a:off x="4948539" y="913351"/>
            <a:ext cx="3441215" cy="461665"/>
          </a:xfrm>
          <a:prstGeom prst="rect">
            <a:avLst/>
          </a:prstGeom>
          <a:noFill/>
        </p:spPr>
        <p:txBody>
          <a:bodyPr wrap="square" rtlCol="0">
            <a:spAutoFit/>
          </a:bodyPr>
          <a:lstStyle/>
          <a:p>
            <a:pPr>
              <a:spcBef>
                <a:spcPts val="0"/>
              </a:spcBef>
              <a:spcAft>
                <a:spcPts val="0"/>
              </a:spcAft>
              <a:buClr>
                <a:schemeClr val="bg1"/>
              </a:buClr>
            </a:pPr>
            <a:r>
              <a:rPr lang="en-US" b="1" dirty="0">
                <a:solidFill>
                  <a:schemeClr val="bg2"/>
                </a:solidFill>
                <a:latin typeface="+mn-lt"/>
              </a:rPr>
              <a:t>Sampling distribution </a:t>
            </a:r>
            <a:endParaRPr lang="en-US" sz="1400" b="1" dirty="0">
              <a:solidFill>
                <a:schemeClr val="bg2"/>
              </a:solidFill>
              <a:latin typeface="+mn-lt"/>
            </a:endParaRPr>
          </a:p>
        </p:txBody>
      </p:sp>
      <p:sp>
        <p:nvSpPr>
          <p:cNvPr id="11" name="TextBox 10">
            <a:extLst>
              <a:ext uri="{FF2B5EF4-FFF2-40B4-BE49-F238E27FC236}">
                <a16:creationId xmlns:a16="http://schemas.microsoft.com/office/drawing/2014/main" id="{6C91ED42-F6E8-4528-8E84-668D4C8B4008}"/>
              </a:ext>
            </a:extLst>
          </p:cNvPr>
          <p:cNvSpPr txBox="1"/>
          <p:nvPr/>
        </p:nvSpPr>
        <p:spPr>
          <a:xfrm>
            <a:off x="373438" y="3163686"/>
            <a:ext cx="6205356" cy="738664"/>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solidFill>
                <a:latin typeface="+mn-lt"/>
              </a:rPr>
              <a:t>No matter the underlying distribution, the sampling distribution approximates a normal distribution, and the mean of the sampling distribution will be same as the population mean</a:t>
            </a:r>
          </a:p>
        </p:txBody>
      </p:sp>
      <p:sp>
        <p:nvSpPr>
          <p:cNvPr id="12" name="Rectangle 11">
            <a:extLst>
              <a:ext uri="{FF2B5EF4-FFF2-40B4-BE49-F238E27FC236}">
                <a16:creationId xmlns:a16="http://schemas.microsoft.com/office/drawing/2014/main" id="{6725BC00-9303-484B-ABAB-A7945E85F11B}"/>
              </a:ext>
            </a:extLst>
          </p:cNvPr>
          <p:cNvSpPr/>
          <p:nvPr/>
        </p:nvSpPr>
        <p:spPr>
          <a:xfrm>
            <a:off x="184974" y="3218510"/>
            <a:ext cx="188464" cy="599508"/>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3" name="Rectangle 12">
            <a:extLst>
              <a:ext uri="{FF2B5EF4-FFF2-40B4-BE49-F238E27FC236}">
                <a16:creationId xmlns:a16="http://schemas.microsoft.com/office/drawing/2014/main" id="{E7772B37-3DD2-48A0-8E29-14FE716C0269}"/>
              </a:ext>
            </a:extLst>
          </p:cNvPr>
          <p:cNvSpPr/>
          <p:nvPr/>
        </p:nvSpPr>
        <p:spPr>
          <a:xfrm>
            <a:off x="6756788" y="3218510"/>
            <a:ext cx="1807859" cy="1547336"/>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1600" dirty="0">
                <a:solidFill>
                  <a:schemeClr val="tx2"/>
                </a:solidFill>
                <a:latin typeface="+mn-lt"/>
              </a:rPr>
              <a:t>Usually for CLT to be applied with need sample size of at least </a:t>
            </a:r>
            <a:r>
              <a:rPr lang="en-US" sz="1600" b="1" dirty="0">
                <a:solidFill>
                  <a:schemeClr val="tx2"/>
                </a:solidFill>
                <a:latin typeface="+mn-lt"/>
              </a:rPr>
              <a:t>30</a:t>
            </a:r>
            <a:r>
              <a:rPr lang="en-US" sz="1600" dirty="0">
                <a:solidFill>
                  <a:schemeClr val="tx2"/>
                </a:solidFill>
                <a:latin typeface="+mn-lt"/>
              </a:rPr>
              <a:t> observations</a:t>
            </a:r>
          </a:p>
        </p:txBody>
      </p:sp>
      <p:grpSp>
        <p:nvGrpSpPr>
          <p:cNvPr id="29" name="Group 28">
            <a:extLst>
              <a:ext uri="{FF2B5EF4-FFF2-40B4-BE49-F238E27FC236}">
                <a16:creationId xmlns:a16="http://schemas.microsoft.com/office/drawing/2014/main" id="{514CDB31-EDC9-4278-A60D-6B7938E9EDE0}"/>
              </a:ext>
            </a:extLst>
          </p:cNvPr>
          <p:cNvGrpSpPr/>
          <p:nvPr/>
        </p:nvGrpSpPr>
        <p:grpSpPr>
          <a:xfrm>
            <a:off x="7706097" y="1514275"/>
            <a:ext cx="1128600" cy="679320"/>
            <a:chOff x="7706097" y="1514275"/>
            <a:chExt cx="1128600" cy="679320"/>
          </a:xfrm>
        </p:grpSpPr>
        <mc:AlternateContent xmlns:mc="http://schemas.openxmlformats.org/markup-compatibility/2006" xmlns:p14="http://schemas.microsoft.com/office/powerpoint/2010/main">
          <mc:Choice Requires="p14">
            <p:contentPart p14:bwMode="auto" r:id="rId9">
              <p14:nvContentPartPr>
                <p14:cNvPr id="14" name="Ink 13">
                  <a:extLst>
                    <a:ext uri="{FF2B5EF4-FFF2-40B4-BE49-F238E27FC236}">
                      <a16:creationId xmlns:a16="http://schemas.microsoft.com/office/drawing/2014/main" id="{67B1361C-8F18-405F-B256-EE432185C2E4}"/>
                    </a:ext>
                  </a:extLst>
                </p14:cNvPr>
                <p14:cNvContentPartPr/>
                <p14:nvPr/>
              </p14:nvContentPartPr>
              <p14:xfrm>
                <a:off x="7706097" y="1710475"/>
                <a:ext cx="111960" cy="203400"/>
              </p14:xfrm>
            </p:contentPart>
          </mc:Choice>
          <mc:Fallback xmlns="">
            <p:pic>
              <p:nvPicPr>
                <p:cNvPr id="14" name="Ink 13">
                  <a:extLst>
                    <a:ext uri="{FF2B5EF4-FFF2-40B4-BE49-F238E27FC236}">
                      <a16:creationId xmlns:a16="http://schemas.microsoft.com/office/drawing/2014/main" id="{67B1361C-8F18-405F-B256-EE432185C2E4}"/>
                    </a:ext>
                  </a:extLst>
                </p:cNvPr>
                <p:cNvPicPr/>
                <p:nvPr/>
              </p:nvPicPr>
              <p:blipFill>
                <a:blip r:embed="rId10"/>
                <a:stretch>
                  <a:fillRect/>
                </a:stretch>
              </p:blipFill>
              <p:spPr>
                <a:xfrm>
                  <a:off x="7697097" y="1701835"/>
                  <a:ext cx="129600" cy="22104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5" name="Ink 14">
                  <a:extLst>
                    <a:ext uri="{FF2B5EF4-FFF2-40B4-BE49-F238E27FC236}">
                      <a16:creationId xmlns:a16="http://schemas.microsoft.com/office/drawing/2014/main" id="{F08825A2-E2F9-490A-B262-08CE2F5CAD07}"/>
                    </a:ext>
                  </a:extLst>
                </p14:cNvPr>
                <p14:cNvContentPartPr/>
                <p14:nvPr/>
              </p14:nvContentPartPr>
              <p14:xfrm>
                <a:off x="7859097" y="1576195"/>
                <a:ext cx="119520" cy="490680"/>
              </p14:xfrm>
            </p:contentPart>
          </mc:Choice>
          <mc:Fallback xmlns="">
            <p:pic>
              <p:nvPicPr>
                <p:cNvPr id="15" name="Ink 14">
                  <a:extLst>
                    <a:ext uri="{FF2B5EF4-FFF2-40B4-BE49-F238E27FC236}">
                      <a16:creationId xmlns:a16="http://schemas.microsoft.com/office/drawing/2014/main" id="{F08825A2-E2F9-490A-B262-08CE2F5CAD07}"/>
                    </a:ext>
                  </a:extLst>
                </p:cNvPr>
                <p:cNvPicPr/>
                <p:nvPr/>
              </p:nvPicPr>
              <p:blipFill>
                <a:blip r:embed="rId12"/>
                <a:stretch>
                  <a:fillRect/>
                </a:stretch>
              </p:blipFill>
              <p:spPr>
                <a:xfrm>
                  <a:off x="7850457" y="1567555"/>
                  <a:ext cx="137160" cy="50832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6" name="Ink 15">
                  <a:extLst>
                    <a:ext uri="{FF2B5EF4-FFF2-40B4-BE49-F238E27FC236}">
                      <a16:creationId xmlns:a16="http://schemas.microsoft.com/office/drawing/2014/main" id="{A751389F-F962-4641-86A5-48F83C3EFDCA}"/>
                    </a:ext>
                  </a:extLst>
                </p14:cNvPr>
                <p14:cNvContentPartPr/>
                <p14:nvPr/>
              </p14:nvContentPartPr>
              <p14:xfrm>
                <a:off x="7991937" y="1756915"/>
                <a:ext cx="147960" cy="148680"/>
              </p14:xfrm>
            </p:contentPart>
          </mc:Choice>
          <mc:Fallback xmlns="">
            <p:pic>
              <p:nvPicPr>
                <p:cNvPr id="16" name="Ink 15">
                  <a:extLst>
                    <a:ext uri="{FF2B5EF4-FFF2-40B4-BE49-F238E27FC236}">
                      <a16:creationId xmlns:a16="http://schemas.microsoft.com/office/drawing/2014/main" id="{A751389F-F962-4641-86A5-48F83C3EFDCA}"/>
                    </a:ext>
                  </a:extLst>
                </p:cNvPr>
                <p:cNvPicPr/>
                <p:nvPr/>
              </p:nvPicPr>
              <p:blipFill>
                <a:blip r:embed="rId14"/>
                <a:stretch>
                  <a:fillRect/>
                </a:stretch>
              </p:blipFill>
              <p:spPr>
                <a:xfrm>
                  <a:off x="7983297" y="1747915"/>
                  <a:ext cx="165600" cy="16632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18" name="Ink 17">
                  <a:extLst>
                    <a:ext uri="{FF2B5EF4-FFF2-40B4-BE49-F238E27FC236}">
                      <a16:creationId xmlns:a16="http://schemas.microsoft.com/office/drawing/2014/main" id="{175F7BB1-A7C1-46E6-ADEA-A9BE7FE84043}"/>
                    </a:ext>
                  </a:extLst>
                </p14:cNvPr>
                <p14:cNvContentPartPr/>
                <p14:nvPr/>
              </p14:nvContentPartPr>
              <p14:xfrm>
                <a:off x="8209737" y="1807315"/>
                <a:ext cx="20160" cy="84960"/>
              </p14:xfrm>
            </p:contentPart>
          </mc:Choice>
          <mc:Fallback xmlns="">
            <p:pic>
              <p:nvPicPr>
                <p:cNvPr id="18" name="Ink 17">
                  <a:extLst>
                    <a:ext uri="{FF2B5EF4-FFF2-40B4-BE49-F238E27FC236}">
                      <a16:creationId xmlns:a16="http://schemas.microsoft.com/office/drawing/2014/main" id="{175F7BB1-A7C1-46E6-ADEA-A9BE7FE84043}"/>
                    </a:ext>
                  </a:extLst>
                </p:cNvPr>
                <p:cNvPicPr/>
                <p:nvPr/>
              </p:nvPicPr>
              <p:blipFill>
                <a:blip r:embed="rId16"/>
                <a:stretch>
                  <a:fillRect/>
                </a:stretch>
              </p:blipFill>
              <p:spPr>
                <a:xfrm>
                  <a:off x="8200737" y="1798675"/>
                  <a:ext cx="37800" cy="10260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19" name="Ink 18">
                  <a:extLst>
                    <a:ext uri="{FF2B5EF4-FFF2-40B4-BE49-F238E27FC236}">
                      <a16:creationId xmlns:a16="http://schemas.microsoft.com/office/drawing/2014/main" id="{4CF6FB66-8AC4-4992-BBBD-150210516A4D}"/>
                    </a:ext>
                  </a:extLst>
                </p14:cNvPr>
                <p14:cNvContentPartPr/>
                <p14:nvPr/>
              </p14:nvContentPartPr>
              <p14:xfrm>
                <a:off x="8376057" y="1768435"/>
                <a:ext cx="187920" cy="50760"/>
              </p14:xfrm>
            </p:contentPart>
          </mc:Choice>
          <mc:Fallback xmlns="">
            <p:pic>
              <p:nvPicPr>
                <p:cNvPr id="19" name="Ink 18">
                  <a:extLst>
                    <a:ext uri="{FF2B5EF4-FFF2-40B4-BE49-F238E27FC236}">
                      <a16:creationId xmlns:a16="http://schemas.microsoft.com/office/drawing/2014/main" id="{4CF6FB66-8AC4-4992-BBBD-150210516A4D}"/>
                    </a:ext>
                  </a:extLst>
                </p:cNvPr>
                <p:cNvPicPr/>
                <p:nvPr/>
              </p:nvPicPr>
              <p:blipFill>
                <a:blip r:embed="rId18"/>
                <a:stretch>
                  <a:fillRect/>
                </a:stretch>
              </p:blipFill>
              <p:spPr>
                <a:xfrm>
                  <a:off x="8367417" y="1759795"/>
                  <a:ext cx="205560" cy="6840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20" name="Ink 19">
                  <a:extLst>
                    <a:ext uri="{FF2B5EF4-FFF2-40B4-BE49-F238E27FC236}">
                      <a16:creationId xmlns:a16="http://schemas.microsoft.com/office/drawing/2014/main" id="{4921B5F0-30BF-4B50-90E6-A3CF5FD604A5}"/>
                    </a:ext>
                  </a:extLst>
                </p14:cNvPr>
                <p14:cNvContentPartPr/>
                <p14:nvPr/>
              </p14:nvContentPartPr>
              <p14:xfrm>
                <a:off x="8585217" y="1661155"/>
                <a:ext cx="76320" cy="78120"/>
              </p14:xfrm>
            </p:contentPart>
          </mc:Choice>
          <mc:Fallback xmlns="">
            <p:pic>
              <p:nvPicPr>
                <p:cNvPr id="20" name="Ink 19">
                  <a:extLst>
                    <a:ext uri="{FF2B5EF4-FFF2-40B4-BE49-F238E27FC236}">
                      <a16:creationId xmlns:a16="http://schemas.microsoft.com/office/drawing/2014/main" id="{4921B5F0-30BF-4B50-90E6-A3CF5FD604A5}"/>
                    </a:ext>
                  </a:extLst>
                </p:cNvPr>
                <p:cNvPicPr/>
                <p:nvPr/>
              </p:nvPicPr>
              <p:blipFill>
                <a:blip r:embed="rId20"/>
                <a:stretch>
                  <a:fillRect/>
                </a:stretch>
              </p:blipFill>
              <p:spPr>
                <a:xfrm>
                  <a:off x="8576217" y="1652155"/>
                  <a:ext cx="93960" cy="9576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21" name="Ink 20">
                  <a:extLst>
                    <a:ext uri="{FF2B5EF4-FFF2-40B4-BE49-F238E27FC236}">
                      <a16:creationId xmlns:a16="http://schemas.microsoft.com/office/drawing/2014/main" id="{6F9ABCCC-C501-4B8E-A7CB-D400283D3D0B}"/>
                    </a:ext>
                  </a:extLst>
                </p14:cNvPr>
                <p14:cNvContentPartPr/>
                <p14:nvPr/>
              </p14:nvContentPartPr>
              <p14:xfrm>
                <a:off x="8390097" y="1877515"/>
                <a:ext cx="323280" cy="17640"/>
              </p14:xfrm>
            </p:contentPart>
          </mc:Choice>
          <mc:Fallback xmlns="">
            <p:pic>
              <p:nvPicPr>
                <p:cNvPr id="21" name="Ink 20">
                  <a:extLst>
                    <a:ext uri="{FF2B5EF4-FFF2-40B4-BE49-F238E27FC236}">
                      <a16:creationId xmlns:a16="http://schemas.microsoft.com/office/drawing/2014/main" id="{6F9ABCCC-C501-4B8E-A7CB-D400283D3D0B}"/>
                    </a:ext>
                  </a:extLst>
                </p:cNvPr>
                <p:cNvPicPr/>
                <p:nvPr/>
              </p:nvPicPr>
              <p:blipFill>
                <a:blip r:embed="rId22"/>
                <a:stretch>
                  <a:fillRect/>
                </a:stretch>
              </p:blipFill>
              <p:spPr>
                <a:xfrm>
                  <a:off x="8381097" y="1868515"/>
                  <a:ext cx="340920" cy="3528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24" name="Ink 23">
                  <a:extLst>
                    <a:ext uri="{FF2B5EF4-FFF2-40B4-BE49-F238E27FC236}">
                      <a16:creationId xmlns:a16="http://schemas.microsoft.com/office/drawing/2014/main" id="{3FFD77F7-F515-4ACD-B9EF-8FC78CC46E9B}"/>
                    </a:ext>
                  </a:extLst>
                </p14:cNvPr>
                <p14:cNvContentPartPr/>
                <p14:nvPr/>
              </p14:nvContentPartPr>
              <p14:xfrm>
                <a:off x="8686377" y="1514275"/>
                <a:ext cx="148320" cy="679320"/>
              </p14:xfrm>
            </p:contentPart>
          </mc:Choice>
          <mc:Fallback xmlns="">
            <p:pic>
              <p:nvPicPr>
                <p:cNvPr id="24" name="Ink 23">
                  <a:extLst>
                    <a:ext uri="{FF2B5EF4-FFF2-40B4-BE49-F238E27FC236}">
                      <a16:creationId xmlns:a16="http://schemas.microsoft.com/office/drawing/2014/main" id="{3FFD77F7-F515-4ACD-B9EF-8FC78CC46E9B}"/>
                    </a:ext>
                  </a:extLst>
                </p:cNvPr>
                <p:cNvPicPr/>
                <p:nvPr/>
              </p:nvPicPr>
              <p:blipFill>
                <a:blip r:embed="rId24"/>
                <a:stretch>
                  <a:fillRect/>
                </a:stretch>
              </p:blipFill>
              <p:spPr>
                <a:xfrm>
                  <a:off x="8677377" y="1505275"/>
                  <a:ext cx="165960" cy="69696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28" name="Ink 27">
                  <a:extLst>
                    <a:ext uri="{FF2B5EF4-FFF2-40B4-BE49-F238E27FC236}">
                      <a16:creationId xmlns:a16="http://schemas.microsoft.com/office/drawing/2014/main" id="{CBF6917F-DB44-4161-B42E-C858281ABBBB}"/>
                    </a:ext>
                  </a:extLst>
                </p14:cNvPr>
                <p14:cNvContentPartPr/>
                <p14:nvPr/>
              </p14:nvContentPartPr>
              <p14:xfrm>
                <a:off x="8476497" y="1968235"/>
                <a:ext cx="97560" cy="139680"/>
              </p14:xfrm>
            </p:contentPart>
          </mc:Choice>
          <mc:Fallback xmlns="">
            <p:pic>
              <p:nvPicPr>
                <p:cNvPr id="28" name="Ink 27">
                  <a:extLst>
                    <a:ext uri="{FF2B5EF4-FFF2-40B4-BE49-F238E27FC236}">
                      <a16:creationId xmlns:a16="http://schemas.microsoft.com/office/drawing/2014/main" id="{CBF6917F-DB44-4161-B42E-C858281ABBBB}"/>
                    </a:ext>
                  </a:extLst>
                </p:cNvPr>
                <p:cNvPicPr/>
                <p:nvPr/>
              </p:nvPicPr>
              <p:blipFill>
                <a:blip r:embed="rId26"/>
                <a:stretch>
                  <a:fillRect/>
                </a:stretch>
              </p:blipFill>
              <p:spPr>
                <a:xfrm>
                  <a:off x="8467497" y="1959235"/>
                  <a:ext cx="115200" cy="157320"/>
                </a:xfrm>
                <a:prstGeom prst="rect">
                  <a:avLst/>
                </a:prstGeom>
              </p:spPr>
            </p:pic>
          </mc:Fallback>
        </mc:AlternateContent>
      </p:grpSp>
      <p:grpSp>
        <p:nvGrpSpPr>
          <p:cNvPr id="35" name="Group 34">
            <a:extLst>
              <a:ext uri="{FF2B5EF4-FFF2-40B4-BE49-F238E27FC236}">
                <a16:creationId xmlns:a16="http://schemas.microsoft.com/office/drawing/2014/main" id="{11D89019-0806-462E-91FA-2CF2F2A6ABE4}"/>
              </a:ext>
            </a:extLst>
          </p:cNvPr>
          <p:cNvGrpSpPr/>
          <p:nvPr/>
        </p:nvGrpSpPr>
        <p:grpSpPr>
          <a:xfrm>
            <a:off x="104337" y="1856995"/>
            <a:ext cx="403920" cy="223200"/>
            <a:chOff x="104337" y="1856995"/>
            <a:chExt cx="403920" cy="223200"/>
          </a:xfrm>
        </p:grpSpPr>
        <mc:AlternateContent xmlns:mc="http://schemas.openxmlformats.org/markup-compatibility/2006" xmlns:p14="http://schemas.microsoft.com/office/powerpoint/2010/main">
          <mc:Choice Requires="p14">
            <p:contentPart p14:bwMode="auto" r:id="rId27">
              <p14:nvContentPartPr>
                <p14:cNvPr id="30" name="Ink 29">
                  <a:extLst>
                    <a:ext uri="{FF2B5EF4-FFF2-40B4-BE49-F238E27FC236}">
                      <a16:creationId xmlns:a16="http://schemas.microsoft.com/office/drawing/2014/main" id="{124E01D0-D2E8-4711-9DCC-F4E4A9C14678}"/>
                    </a:ext>
                  </a:extLst>
                </p14:cNvPr>
                <p14:cNvContentPartPr/>
                <p14:nvPr/>
              </p14:nvContentPartPr>
              <p14:xfrm>
                <a:off x="104337" y="1926475"/>
                <a:ext cx="145440" cy="153720"/>
              </p14:xfrm>
            </p:contentPart>
          </mc:Choice>
          <mc:Fallback xmlns="">
            <p:pic>
              <p:nvPicPr>
                <p:cNvPr id="30" name="Ink 29">
                  <a:extLst>
                    <a:ext uri="{FF2B5EF4-FFF2-40B4-BE49-F238E27FC236}">
                      <a16:creationId xmlns:a16="http://schemas.microsoft.com/office/drawing/2014/main" id="{124E01D0-D2E8-4711-9DCC-F4E4A9C14678}"/>
                    </a:ext>
                  </a:extLst>
                </p:cNvPr>
                <p:cNvPicPr/>
                <p:nvPr/>
              </p:nvPicPr>
              <p:blipFill>
                <a:blip r:embed="rId28"/>
                <a:stretch>
                  <a:fillRect/>
                </a:stretch>
              </p:blipFill>
              <p:spPr>
                <a:xfrm>
                  <a:off x="95697" y="1917475"/>
                  <a:ext cx="163080" cy="171360"/>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31" name="Ink 30">
                  <a:extLst>
                    <a:ext uri="{FF2B5EF4-FFF2-40B4-BE49-F238E27FC236}">
                      <a16:creationId xmlns:a16="http://schemas.microsoft.com/office/drawing/2014/main" id="{89177487-C6E1-40D1-B28D-BD61321D9761}"/>
                    </a:ext>
                  </a:extLst>
                </p14:cNvPr>
                <p14:cNvContentPartPr/>
                <p14:nvPr/>
              </p14:nvContentPartPr>
              <p14:xfrm>
                <a:off x="281097" y="1955635"/>
                <a:ext cx="137160" cy="56160"/>
              </p14:xfrm>
            </p:contentPart>
          </mc:Choice>
          <mc:Fallback xmlns="">
            <p:pic>
              <p:nvPicPr>
                <p:cNvPr id="31" name="Ink 30">
                  <a:extLst>
                    <a:ext uri="{FF2B5EF4-FFF2-40B4-BE49-F238E27FC236}">
                      <a16:creationId xmlns:a16="http://schemas.microsoft.com/office/drawing/2014/main" id="{89177487-C6E1-40D1-B28D-BD61321D9761}"/>
                    </a:ext>
                  </a:extLst>
                </p:cNvPr>
                <p:cNvPicPr/>
                <p:nvPr/>
              </p:nvPicPr>
              <p:blipFill>
                <a:blip r:embed="rId30"/>
                <a:stretch>
                  <a:fillRect/>
                </a:stretch>
              </p:blipFill>
              <p:spPr>
                <a:xfrm>
                  <a:off x="272457" y="1946995"/>
                  <a:ext cx="154800" cy="73800"/>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32" name="Ink 31">
                  <a:extLst>
                    <a:ext uri="{FF2B5EF4-FFF2-40B4-BE49-F238E27FC236}">
                      <a16:creationId xmlns:a16="http://schemas.microsoft.com/office/drawing/2014/main" id="{2FDA5ECC-EFB9-46D7-ADD4-C48D13149557}"/>
                    </a:ext>
                  </a:extLst>
                </p14:cNvPr>
                <p14:cNvContentPartPr/>
                <p14:nvPr/>
              </p14:nvContentPartPr>
              <p14:xfrm>
                <a:off x="404577" y="1856995"/>
                <a:ext cx="103680" cy="77760"/>
              </p14:xfrm>
            </p:contentPart>
          </mc:Choice>
          <mc:Fallback xmlns="">
            <p:pic>
              <p:nvPicPr>
                <p:cNvPr id="32" name="Ink 31">
                  <a:extLst>
                    <a:ext uri="{FF2B5EF4-FFF2-40B4-BE49-F238E27FC236}">
                      <a16:creationId xmlns:a16="http://schemas.microsoft.com/office/drawing/2014/main" id="{2FDA5ECC-EFB9-46D7-ADD4-C48D13149557}"/>
                    </a:ext>
                  </a:extLst>
                </p:cNvPr>
                <p:cNvPicPr/>
                <p:nvPr/>
              </p:nvPicPr>
              <p:blipFill>
                <a:blip r:embed="rId32"/>
                <a:stretch>
                  <a:fillRect/>
                </a:stretch>
              </p:blipFill>
              <p:spPr>
                <a:xfrm>
                  <a:off x="395937" y="1848355"/>
                  <a:ext cx="121320" cy="95400"/>
                </a:xfrm>
                <a:prstGeom prst="rect">
                  <a:avLst/>
                </a:prstGeom>
              </p:spPr>
            </p:pic>
          </mc:Fallback>
        </mc:AlternateContent>
        <mc:AlternateContent xmlns:mc="http://schemas.openxmlformats.org/markup-compatibility/2006" xmlns:p14="http://schemas.microsoft.com/office/powerpoint/2010/main">
          <mc:Choice Requires="p14">
            <p:contentPart p14:bwMode="auto" r:id="rId33">
              <p14:nvContentPartPr>
                <p14:cNvPr id="34" name="Ink 33">
                  <a:extLst>
                    <a:ext uri="{FF2B5EF4-FFF2-40B4-BE49-F238E27FC236}">
                      <a16:creationId xmlns:a16="http://schemas.microsoft.com/office/drawing/2014/main" id="{AFF3A8AC-157D-4B12-B887-5B24F08B28D7}"/>
                    </a:ext>
                  </a:extLst>
                </p14:cNvPr>
                <p14:cNvContentPartPr/>
                <p14:nvPr/>
              </p14:nvContentPartPr>
              <p14:xfrm>
                <a:off x="341937" y="1960315"/>
                <a:ext cx="10800" cy="15120"/>
              </p14:xfrm>
            </p:contentPart>
          </mc:Choice>
          <mc:Fallback xmlns="">
            <p:pic>
              <p:nvPicPr>
                <p:cNvPr id="34" name="Ink 33">
                  <a:extLst>
                    <a:ext uri="{FF2B5EF4-FFF2-40B4-BE49-F238E27FC236}">
                      <a16:creationId xmlns:a16="http://schemas.microsoft.com/office/drawing/2014/main" id="{AFF3A8AC-157D-4B12-B887-5B24F08B28D7}"/>
                    </a:ext>
                  </a:extLst>
                </p:cNvPr>
                <p:cNvPicPr/>
                <p:nvPr/>
              </p:nvPicPr>
              <p:blipFill>
                <a:blip r:embed="rId34"/>
                <a:stretch>
                  <a:fillRect/>
                </a:stretch>
              </p:blipFill>
              <p:spPr>
                <a:xfrm>
                  <a:off x="332937" y="1951675"/>
                  <a:ext cx="28440" cy="3276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35">
            <p14:nvContentPartPr>
              <p14:cNvPr id="36" name="Ink 35">
                <a:extLst>
                  <a:ext uri="{FF2B5EF4-FFF2-40B4-BE49-F238E27FC236}">
                    <a16:creationId xmlns:a16="http://schemas.microsoft.com/office/drawing/2014/main" id="{5837E66D-2498-4C3D-95B5-AB89EC23DC8D}"/>
                  </a:ext>
                </a:extLst>
              </p14:cNvPr>
              <p14:cNvContentPartPr/>
              <p14:nvPr/>
            </p14:nvContentPartPr>
            <p14:xfrm>
              <a:off x="-496143" y="1095595"/>
              <a:ext cx="360" cy="360"/>
            </p14:xfrm>
          </p:contentPart>
        </mc:Choice>
        <mc:Fallback xmlns="">
          <p:pic>
            <p:nvPicPr>
              <p:cNvPr id="36" name="Ink 35">
                <a:extLst>
                  <a:ext uri="{FF2B5EF4-FFF2-40B4-BE49-F238E27FC236}">
                    <a16:creationId xmlns:a16="http://schemas.microsoft.com/office/drawing/2014/main" id="{5837E66D-2498-4C3D-95B5-AB89EC23DC8D}"/>
                  </a:ext>
                </a:extLst>
              </p:cNvPr>
              <p:cNvPicPr/>
              <p:nvPr/>
            </p:nvPicPr>
            <p:blipFill>
              <a:blip r:embed="rId36"/>
              <a:stretch>
                <a:fillRect/>
              </a:stretch>
            </p:blipFill>
            <p:spPr>
              <a:xfrm>
                <a:off x="-504783" y="1086595"/>
                <a:ext cx="1800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37">
            <p14:nvContentPartPr>
              <p14:cNvPr id="3" name="Ink 2">
                <a:extLst>
                  <a:ext uri="{FF2B5EF4-FFF2-40B4-BE49-F238E27FC236}">
                    <a16:creationId xmlns:a16="http://schemas.microsoft.com/office/drawing/2014/main" id="{ACFA76D7-B827-472E-800D-6266CAF5CA41}"/>
                  </a:ext>
                </a:extLst>
              </p14:cNvPr>
              <p14:cNvContentPartPr/>
              <p14:nvPr/>
            </p14:nvContentPartPr>
            <p14:xfrm>
              <a:off x="361800" y="380880"/>
              <a:ext cx="8639640" cy="4339080"/>
            </p14:xfrm>
          </p:contentPart>
        </mc:Choice>
        <mc:Fallback>
          <p:pic>
            <p:nvPicPr>
              <p:cNvPr id="3" name="Ink 2">
                <a:extLst>
                  <a:ext uri="{FF2B5EF4-FFF2-40B4-BE49-F238E27FC236}">
                    <a16:creationId xmlns:a16="http://schemas.microsoft.com/office/drawing/2014/main" id="{ACFA76D7-B827-472E-800D-6266CAF5CA41}"/>
                  </a:ext>
                </a:extLst>
              </p:cNvPr>
              <p:cNvPicPr/>
              <p:nvPr/>
            </p:nvPicPr>
            <p:blipFill>
              <a:blip r:embed="rId38"/>
              <a:stretch>
                <a:fillRect/>
              </a:stretch>
            </p:blipFill>
            <p:spPr>
              <a:xfrm>
                <a:off x="352440" y="371520"/>
                <a:ext cx="8658360" cy="4357800"/>
              </a:xfrm>
              <a:prstGeom prst="rect">
                <a:avLst/>
              </a:prstGeom>
            </p:spPr>
          </p:pic>
        </mc:Fallback>
      </mc:AlternateContent>
    </p:spTree>
    <p:extLst>
      <p:ext uri="{BB962C8B-B14F-4D97-AF65-F5344CB8AC3E}">
        <p14:creationId xmlns:p14="http://schemas.microsoft.com/office/powerpoint/2010/main" val="3012613294"/>
      </p:ext>
    </p:extLst>
  </p:cSld>
  <p:clrMapOvr>
    <a:masterClrMapping/>
  </p:clrMapOvr>
  <p:transition spd="med">
    <p:wipe dir="r"/>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CAAB86-8B83-4388-9E31-E03CF8FFCD09}"/>
              </a:ext>
            </a:extLst>
          </p:cNvPr>
          <p:cNvSpPr>
            <a:spLocks noGrp="1"/>
          </p:cNvSpPr>
          <p:nvPr>
            <p:ph type="title"/>
          </p:nvPr>
        </p:nvSpPr>
        <p:spPr>
          <a:xfrm>
            <a:off x="0" y="0"/>
            <a:ext cx="4295219" cy="640080"/>
          </a:xfrm>
        </p:spPr>
        <p:txBody>
          <a:bodyPr/>
          <a:lstStyle/>
          <a:p>
            <a:r>
              <a:rPr lang="en-US" dirty="0"/>
              <a:t>Why CLT is important ? </a:t>
            </a:r>
          </a:p>
        </p:txBody>
      </p:sp>
      <p:sp>
        <p:nvSpPr>
          <p:cNvPr id="3" name="Content Placeholder 2">
            <a:extLst>
              <a:ext uri="{FF2B5EF4-FFF2-40B4-BE49-F238E27FC236}">
                <a16:creationId xmlns:a16="http://schemas.microsoft.com/office/drawing/2014/main" id="{08E511C3-797A-4799-81E2-1343734E3DF9}"/>
              </a:ext>
            </a:extLst>
          </p:cNvPr>
          <p:cNvSpPr>
            <a:spLocks noGrp="1"/>
          </p:cNvSpPr>
          <p:nvPr>
            <p:ph sz="half" idx="13"/>
          </p:nvPr>
        </p:nvSpPr>
        <p:spPr>
          <a:xfrm>
            <a:off x="162637" y="971550"/>
            <a:ext cx="7361967" cy="3200400"/>
          </a:xfrm>
        </p:spPr>
        <p:txBody>
          <a:bodyPr/>
          <a:lstStyle/>
          <a:p>
            <a:r>
              <a:rPr lang="en-US" dirty="0"/>
              <a:t>They approx. a wide variety of random variable</a:t>
            </a:r>
          </a:p>
          <a:p>
            <a:r>
              <a:rPr lang="en-US" dirty="0"/>
              <a:t>Distributions of sample with large enough sample sizes could be approximated to normal</a:t>
            </a:r>
          </a:p>
          <a:p>
            <a:r>
              <a:rPr lang="en-US" dirty="0"/>
              <a:t>All Computable statistics are elegant</a:t>
            </a:r>
          </a:p>
          <a:p>
            <a:r>
              <a:rPr lang="en-US" dirty="0"/>
              <a:t>Decision based on normal distribution insights have a good track record</a:t>
            </a:r>
          </a:p>
        </p:txBody>
      </p:sp>
      <p:sp>
        <p:nvSpPr>
          <p:cNvPr id="4" name="Rectangle 3">
            <a:extLst>
              <a:ext uri="{FF2B5EF4-FFF2-40B4-BE49-F238E27FC236}">
                <a16:creationId xmlns:a16="http://schemas.microsoft.com/office/drawing/2014/main" id="{F6AB9167-933D-4D18-BC21-28DC93BCCFFC}"/>
              </a:ext>
            </a:extLst>
          </p:cNvPr>
          <p:cNvSpPr/>
          <p:nvPr/>
        </p:nvSpPr>
        <p:spPr>
          <a:xfrm>
            <a:off x="823658" y="2645478"/>
            <a:ext cx="7056934" cy="1640336"/>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CLT allows us to perform test, solve problems and make inferences using the normal distribution, even when the population is not normally distributed</a:t>
            </a:r>
          </a:p>
        </p:txBody>
      </p:sp>
      <mc:AlternateContent xmlns:mc="http://schemas.openxmlformats.org/markup-compatibility/2006">
        <mc:Choice xmlns:p14="http://schemas.microsoft.com/office/powerpoint/2010/main" Requires="p14">
          <p:contentPart p14:bwMode="auto" r:id="rId2">
            <p14:nvContentPartPr>
              <p14:cNvPr id="5" name="Ink 4">
                <a:extLst>
                  <a:ext uri="{FF2B5EF4-FFF2-40B4-BE49-F238E27FC236}">
                    <a16:creationId xmlns:a16="http://schemas.microsoft.com/office/drawing/2014/main" id="{CD37B672-F99D-42D4-9D64-E5CB57C3B808}"/>
                  </a:ext>
                </a:extLst>
              </p14:cNvPr>
              <p14:cNvContentPartPr/>
              <p14:nvPr/>
            </p14:nvContentPartPr>
            <p14:xfrm>
              <a:off x="538200" y="181080"/>
              <a:ext cx="7467840" cy="3791160"/>
            </p14:xfrm>
          </p:contentPart>
        </mc:Choice>
        <mc:Fallback>
          <p:pic>
            <p:nvPicPr>
              <p:cNvPr id="5" name="Ink 4">
                <a:extLst>
                  <a:ext uri="{FF2B5EF4-FFF2-40B4-BE49-F238E27FC236}">
                    <a16:creationId xmlns:a16="http://schemas.microsoft.com/office/drawing/2014/main" id="{CD37B672-F99D-42D4-9D64-E5CB57C3B808}"/>
                  </a:ext>
                </a:extLst>
              </p:cNvPr>
              <p:cNvPicPr/>
              <p:nvPr/>
            </p:nvPicPr>
            <p:blipFill>
              <a:blip r:embed="rId3"/>
              <a:stretch>
                <a:fillRect/>
              </a:stretch>
            </p:blipFill>
            <p:spPr>
              <a:xfrm>
                <a:off x="528840" y="171720"/>
                <a:ext cx="7486560" cy="3809880"/>
              </a:xfrm>
              <a:prstGeom prst="rect">
                <a:avLst/>
              </a:prstGeom>
            </p:spPr>
          </p:pic>
        </mc:Fallback>
      </mc:AlternateContent>
    </p:spTree>
    <p:extLst>
      <p:ext uri="{BB962C8B-B14F-4D97-AF65-F5344CB8AC3E}">
        <p14:creationId xmlns:p14="http://schemas.microsoft.com/office/powerpoint/2010/main" val="4272512511"/>
      </p:ext>
    </p:extLst>
  </p:cSld>
  <p:clrMapOvr>
    <a:masterClrMapping/>
  </p:clrMapOvr>
  <p:transition spd="med">
    <p:wipe dir="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4B5D2-0728-491B-B188-E55DA3F71DBD}"/>
              </a:ext>
            </a:extLst>
          </p:cNvPr>
          <p:cNvSpPr>
            <a:spLocks noGrp="1"/>
          </p:cNvSpPr>
          <p:nvPr>
            <p:ph type="title"/>
          </p:nvPr>
        </p:nvSpPr>
        <p:spPr>
          <a:xfrm>
            <a:off x="80166" y="146626"/>
            <a:ext cx="8556530" cy="640080"/>
          </a:xfrm>
        </p:spPr>
        <p:txBody>
          <a:bodyPr/>
          <a:lstStyle/>
          <a:p>
            <a:r>
              <a:rPr lang="en-US" dirty="0"/>
              <a:t>Why Sample should be Random &amp; Representative? </a:t>
            </a:r>
          </a:p>
        </p:txBody>
      </p:sp>
      <p:sp>
        <p:nvSpPr>
          <p:cNvPr id="3" name="Content Placeholder 2">
            <a:extLst>
              <a:ext uri="{FF2B5EF4-FFF2-40B4-BE49-F238E27FC236}">
                <a16:creationId xmlns:a16="http://schemas.microsoft.com/office/drawing/2014/main" id="{FB513912-8764-42DB-B71C-BF2285B701A9}"/>
              </a:ext>
            </a:extLst>
          </p:cNvPr>
          <p:cNvSpPr>
            <a:spLocks noGrp="1"/>
          </p:cNvSpPr>
          <p:nvPr>
            <p:ph sz="half" idx="1"/>
          </p:nvPr>
        </p:nvSpPr>
        <p:spPr>
          <a:xfrm>
            <a:off x="186635" y="885589"/>
            <a:ext cx="8694317" cy="3780355"/>
          </a:xfrm>
        </p:spPr>
        <p:txBody>
          <a:bodyPr>
            <a:normAutofit/>
          </a:bodyPr>
          <a:lstStyle/>
          <a:p>
            <a:r>
              <a:rPr lang="en-US" sz="1800" dirty="0">
                <a:solidFill>
                  <a:schemeClr val="bg2">
                    <a:lumMod val="50000"/>
                    <a:lumOff val="50000"/>
                  </a:schemeClr>
                </a:solidFill>
              </a:rPr>
              <a:t>Sampling involves selecting units from a population of interest such that the sampling units </a:t>
            </a:r>
            <a:r>
              <a:rPr lang="en-US" sz="1800" b="1" dirty="0">
                <a:solidFill>
                  <a:schemeClr val="accent1"/>
                </a:solidFill>
              </a:rPr>
              <a:t>represent the whole population</a:t>
            </a:r>
            <a:r>
              <a:rPr lang="en-US" sz="1800" dirty="0">
                <a:solidFill>
                  <a:schemeClr val="bg2">
                    <a:lumMod val="50000"/>
                    <a:lumOff val="50000"/>
                  </a:schemeClr>
                </a:solidFill>
              </a:rPr>
              <a:t>. If sample is bias the resultant statistics can bias and will not be representative. </a:t>
            </a:r>
          </a:p>
          <a:p>
            <a:r>
              <a:rPr lang="en-US" sz="1800" dirty="0">
                <a:solidFill>
                  <a:schemeClr val="bg2">
                    <a:lumMod val="50000"/>
                    <a:lumOff val="50000"/>
                  </a:schemeClr>
                </a:solidFill>
              </a:rPr>
              <a:t>Random sampling is one such procedure that selects a sample of units from a population </a:t>
            </a:r>
            <a:r>
              <a:rPr lang="en-US" sz="1800" b="1" dirty="0">
                <a:solidFill>
                  <a:schemeClr val="accent1"/>
                </a:solidFill>
              </a:rPr>
              <a:t>by chance</a:t>
            </a:r>
            <a:r>
              <a:rPr lang="en-US" sz="1800" dirty="0">
                <a:solidFill>
                  <a:schemeClr val="bg2">
                    <a:lumMod val="50000"/>
                    <a:lumOff val="50000"/>
                  </a:schemeClr>
                </a:solidFill>
              </a:rPr>
              <a:t>, typically to </a:t>
            </a:r>
            <a:r>
              <a:rPr lang="en-US" sz="1800" b="1" dirty="0">
                <a:solidFill>
                  <a:schemeClr val="accent1"/>
                </a:solidFill>
              </a:rPr>
              <a:t>facilitate generalization </a:t>
            </a:r>
            <a:r>
              <a:rPr lang="en-US" sz="1800" dirty="0">
                <a:solidFill>
                  <a:schemeClr val="bg2">
                    <a:lumMod val="50000"/>
                    <a:lumOff val="50000"/>
                  </a:schemeClr>
                </a:solidFill>
              </a:rPr>
              <a:t>from the sample to the population. </a:t>
            </a:r>
          </a:p>
          <a:p>
            <a:r>
              <a:rPr lang="en-US" sz="1800" dirty="0">
                <a:solidFill>
                  <a:schemeClr val="bg2">
                    <a:lumMod val="50000"/>
                    <a:lumOff val="50000"/>
                  </a:schemeClr>
                </a:solidFill>
              </a:rPr>
              <a:t>Random sampling ensures that results obtained from your sample should approximate what would have been obtained </a:t>
            </a:r>
            <a:r>
              <a:rPr lang="en-US" sz="1800" b="1" dirty="0">
                <a:solidFill>
                  <a:schemeClr val="accent1"/>
                </a:solidFill>
              </a:rPr>
              <a:t>if the entire population had been measured</a:t>
            </a:r>
            <a:r>
              <a:rPr lang="en-US" sz="1800" dirty="0">
                <a:solidFill>
                  <a:schemeClr val="bg2">
                    <a:lumMod val="50000"/>
                    <a:lumOff val="50000"/>
                  </a:schemeClr>
                </a:solidFill>
              </a:rPr>
              <a:t>. The simplest random sample allows all the units in the population to have an </a:t>
            </a:r>
            <a:r>
              <a:rPr lang="en-US" sz="1800" b="1" dirty="0">
                <a:solidFill>
                  <a:schemeClr val="accent1"/>
                </a:solidFill>
              </a:rPr>
              <a:t>equal chance </a:t>
            </a:r>
            <a:r>
              <a:rPr lang="en-US" sz="1800" dirty="0">
                <a:solidFill>
                  <a:schemeClr val="bg2">
                    <a:lumMod val="50000"/>
                    <a:lumOff val="50000"/>
                  </a:schemeClr>
                </a:solidFill>
              </a:rPr>
              <a:t>of being selected. </a:t>
            </a:r>
            <a:r>
              <a:rPr lang="en-US" sz="1800" b="1" i="1" dirty="0">
                <a:solidFill>
                  <a:schemeClr val="bg2">
                    <a:lumMod val="50000"/>
                    <a:lumOff val="50000"/>
                  </a:schemeClr>
                </a:solidFill>
              </a:rPr>
              <a:t>Often in practice we rely on more complex sampling techniques.</a:t>
            </a:r>
          </a:p>
        </p:txBody>
      </p:sp>
    </p:spTree>
    <p:extLst>
      <p:ext uri="{BB962C8B-B14F-4D97-AF65-F5344CB8AC3E}">
        <p14:creationId xmlns:p14="http://schemas.microsoft.com/office/powerpoint/2010/main" val="3661297187"/>
      </p:ext>
    </p:extLst>
  </p:cSld>
  <p:clrMapOvr>
    <a:masterClrMapping/>
  </p:clrMapOvr>
  <p:transition spd="med">
    <p:wipe dir="r"/>
  </p:transition>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6D8AD-5CBA-47F4-B48F-371D8D233987}"/>
              </a:ext>
            </a:extLst>
          </p:cNvPr>
          <p:cNvSpPr>
            <a:spLocks noGrp="1"/>
          </p:cNvSpPr>
          <p:nvPr>
            <p:ph type="title"/>
          </p:nvPr>
        </p:nvSpPr>
        <p:spPr>
          <a:xfrm>
            <a:off x="0" y="22860"/>
            <a:ext cx="6931292" cy="640080"/>
          </a:xfrm>
        </p:spPr>
        <p:txBody>
          <a:bodyPr/>
          <a:lstStyle/>
          <a:p>
            <a:r>
              <a:rPr lang="en-US" dirty="0"/>
              <a:t>Probability</a:t>
            </a:r>
          </a:p>
        </p:txBody>
      </p:sp>
      <p:sp>
        <p:nvSpPr>
          <p:cNvPr id="3" name="Content Placeholder 2">
            <a:extLst>
              <a:ext uri="{FF2B5EF4-FFF2-40B4-BE49-F238E27FC236}">
                <a16:creationId xmlns:a16="http://schemas.microsoft.com/office/drawing/2014/main" id="{80C827C4-36EC-4BB1-B754-40EF4DA9490F}"/>
              </a:ext>
            </a:extLst>
          </p:cNvPr>
          <p:cNvSpPr>
            <a:spLocks noGrp="1"/>
          </p:cNvSpPr>
          <p:nvPr>
            <p:ph sz="half" idx="13"/>
          </p:nvPr>
        </p:nvSpPr>
        <p:spPr>
          <a:xfrm>
            <a:off x="0" y="650114"/>
            <a:ext cx="8960422" cy="3843272"/>
          </a:xfrm>
        </p:spPr>
        <p:txBody>
          <a:bodyPr/>
          <a:lstStyle/>
          <a:p>
            <a:r>
              <a:rPr lang="en-US" dirty="0">
                <a:solidFill>
                  <a:schemeClr val="bg2">
                    <a:lumMod val="50000"/>
                    <a:lumOff val="50000"/>
                  </a:schemeClr>
                </a:solidFill>
              </a:rPr>
              <a:t>How likely something is to happen.</a:t>
            </a:r>
          </a:p>
          <a:p>
            <a:r>
              <a:rPr lang="en-US" dirty="0">
                <a:solidFill>
                  <a:schemeClr val="bg2">
                    <a:lumMod val="50000"/>
                    <a:lumOff val="50000"/>
                  </a:schemeClr>
                </a:solidFill>
              </a:rPr>
              <a:t>Many events can't be predicted with total certainty. The best we can say is how likely they are to happen, using the idea of probability.</a:t>
            </a:r>
          </a:p>
          <a:p>
            <a:r>
              <a:rPr lang="en-US" b="1" dirty="0">
                <a:solidFill>
                  <a:schemeClr val="bg2">
                    <a:lumMod val="50000"/>
                    <a:lumOff val="50000"/>
                  </a:schemeClr>
                </a:solidFill>
              </a:rPr>
              <a:t>Tossing a Coin</a:t>
            </a:r>
          </a:p>
        </p:txBody>
      </p:sp>
      <p:pic>
        <p:nvPicPr>
          <p:cNvPr id="5" name="Picture 4" descr="A hand with a coin in the background&#10;&#10;Description automatically generated with low confidence">
            <a:extLst>
              <a:ext uri="{FF2B5EF4-FFF2-40B4-BE49-F238E27FC236}">
                <a16:creationId xmlns:a16="http://schemas.microsoft.com/office/drawing/2014/main" id="{3475738F-4AC8-441F-8555-75C1B04F0D49}"/>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816119" y="2304173"/>
            <a:ext cx="1515252" cy="1917946"/>
          </a:xfrm>
          <a:prstGeom prst="rect">
            <a:avLst/>
          </a:prstGeom>
        </p:spPr>
      </p:pic>
      <p:sp>
        <p:nvSpPr>
          <p:cNvPr id="7" name="TextBox 6">
            <a:extLst>
              <a:ext uri="{FF2B5EF4-FFF2-40B4-BE49-F238E27FC236}">
                <a16:creationId xmlns:a16="http://schemas.microsoft.com/office/drawing/2014/main" id="{92A89A0C-0BCE-4B1A-B37D-83F3C0C7CF08}"/>
              </a:ext>
            </a:extLst>
          </p:cNvPr>
          <p:cNvSpPr txBox="1"/>
          <p:nvPr/>
        </p:nvSpPr>
        <p:spPr>
          <a:xfrm>
            <a:off x="3147490" y="2945333"/>
            <a:ext cx="3420275" cy="523220"/>
          </a:xfrm>
          <a:prstGeom prst="rect">
            <a:avLst/>
          </a:prstGeom>
          <a:noFill/>
        </p:spPr>
        <p:txBody>
          <a:bodyPr wrap="square" rtlCol="0">
            <a:spAutoFit/>
          </a:bodyPr>
          <a:lstStyle/>
          <a:p>
            <a:pPr>
              <a:spcBef>
                <a:spcPts val="0"/>
              </a:spcBef>
              <a:spcAft>
                <a:spcPts val="0"/>
              </a:spcAft>
              <a:buClr>
                <a:schemeClr val="bg1"/>
              </a:buClr>
            </a:pPr>
            <a:r>
              <a:rPr lang="en-US" sz="2800" b="1" dirty="0">
                <a:solidFill>
                  <a:schemeClr val="bg2">
                    <a:lumMod val="50000"/>
                    <a:lumOff val="50000"/>
                  </a:schemeClr>
                </a:solidFill>
                <a:latin typeface="+mn-lt"/>
              </a:rPr>
              <a:t>Head or Tail ? </a:t>
            </a:r>
            <a:endParaRPr lang="en-US" sz="1400" b="1" dirty="0">
              <a:solidFill>
                <a:schemeClr val="bg2">
                  <a:lumMod val="50000"/>
                  <a:lumOff val="50000"/>
                </a:schemeClr>
              </a:solidFill>
              <a:latin typeface="+mn-lt"/>
            </a:endParaRPr>
          </a:p>
        </p:txBody>
      </p:sp>
      <mc:AlternateContent xmlns:mc="http://schemas.openxmlformats.org/markup-compatibility/2006">
        <mc:Choice xmlns:p14="http://schemas.microsoft.com/office/powerpoint/2010/main" Requires="p14">
          <p:contentPart p14:bwMode="auto" r:id="rId5">
            <p14:nvContentPartPr>
              <p14:cNvPr id="4" name="Ink 3">
                <a:extLst>
                  <a:ext uri="{FF2B5EF4-FFF2-40B4-BE49-F238E27FC236}">
                    <a16:creationId xmlns:a16="http://schemas.microsoft.com/office/drawing/2014/main" id="{3090CF5F-E05F-41BD-9570-B72EFEAB9699}"/>
                  </a:ext>
                </a:extLst>
              </p14:cNvPr>
              <p14:cNvContentPartPr/>
              <p14:nvPr/>
            </p14:nvContentPartPr>
            <p14:xfrm>
              <a:off x="157320" y="171360"/>
              <a:ext cx="8934480" cy="4696200"/>
            </p14:xfrm>
          </p:contentPart>
        </mc:Choice>
        <mc:Fallback>
          <p:pic>
            <p:nvPicPr>
              <p:cNvPr id="4" name="Ink 3">
                <a:extLst>
                  <a:ext uri="{FF2B5EF4-FFF2-40B4-BE49-F238E27FC236}">
                    <a16:creationId xmlns:a16="http://schemas.microsoft.com/office/drawing/2014/main" id="{3090CF5F-E05F-41BD-9570-B72EFEAB9699}"/>
                  </a:ext>
                </a:extLst>
              </p:cNvPr>
              <p:cNvPicPr/>
              <p:nvPr/>
            </p:nvPicPr>
            <p:blipFill>
              <a:blip r:embed="rId6"/>
              <a:stretch>
                <a:fillRect/>
              </a:stretch>
            </p:blipFill>
            <p:spPr>
              <a:xfrm>
                <a:off x="147960" y="162000"/>
                <a:ext cx="8953200" cy="4714920"/>
              </a:xfrm>
              <a:prstGeom prst="rect">
                <a:avLst/>
              </a:prstGeom>
            </p:spPr>
          </p:pic>
        </mc:Fallback>
      </mc:AlternateContent>
    </p:spTree>
    <p:extLst>
      <p:ext uri="{BB962C8B-B14F-4D97-AF65-F5344CB8AC3E}">
        <p14:creationId xmlns:p14="http://schemas.microsoft.com/office/powerpoint/2010/main" val="1367373909"/>
      </p:ext>
    </p:extLst>
  </p:cSld>
  <p:clrMapOvr>
    <a:masterClrMapping/>
  </p:clrMapOvr>
  <p:transition spd="med">
    <p:wipe dir="r"/>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30665-F41C-4D7C-A1F3-2F9ACDCFF020}"/>
              </a:ext>
            </a:extLst>
          </p:cNvPr>
          <p:cNvSpPr>
            <a:spLocks noGrp="1"/>
          </p:cNvSpPr>
          <p:nvPr>
            <p:ph type="title"/>
          </p:nvPr>
        </p:nvSpPr>
        <p:spPr>
          <a:xfrm>
            <a:off x="0" y="22860"/>
            <a:ext cx="4295219" cy="640080"/>
          </a:xfrm>
        </p:spPr>
        <p:txBody>
          <a:bodyPr/>
          <a:lstStyle/>
          <a:p>
            <a:r>
              <a:rPr lang="en-US" dirty="0"/>
              <a:t>Probability</a:t>
            </a:r>
          </a:p>
        </p:txBody>
      </p:sp>
      <p:sp>
        <p:nvSpPr>
          <p:cNvPr id="3" name="Content Placeholder 2">
            <a:extLst>
              <a:ext uri="{FF2B5EF4-FFF2-40B4-BE49-F238E27FC236}">
                <a16:creationId xmlns:a16="http://schemas.microsoft.com/office/drawing/2014/main" id="{24E31847-FB72-4A28-9F16-6E09BAC2AC14}"/>
              </a:ext>
            </a:extLst>
          </p:cNvPr>
          <p:cNvSpPr>
            <a:spLocks noGrp="1"/>
          </p:cNvSpPr>
          <p:nvPr>
            <p:ph sz="half" idx="13"/>
          </p:nvPr>
        </p:nvSpPr>
        <p:spPr>
          <a:xfrm>
            <a:off x="48843" y="742688"/>
            <a:ext cx="8492752" cy="3200400"/>
          </a:xfrm>
        </p:spPr>
        <p:txBody>
          <a:bodyPr/>
          <a:lstStyle/>
          <a:p>
            <a:r>
              <a:rPr lang="en-US" dirty="0"/>
              <a:t>Throwing Dice</a:t>
            </a:r>
          </a:p>
        </p:txBody>
      </p:sp>
      <p:pic>
        <p:nvPicPr>
          <p:cNvPr id="5" name="Picture 4" descr="A close up of a dice&#10;&#10;Description automatically generated with medium confidence">
            <a:extLst>
              <a:ext uri="{FF2B5EF4-FFF2-40B4-BE49-F238E27FC236}">
                <a16:creationId xmlns:a16="http://schemas.microsoft.com/office/drawing/2014/main" id="{AFBA4308-42D6-4B96-81B0-080B9E4373C8}"/>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02405" y="1201096"/>
            <a:ext cx="2634293" cy="1971115"/>
          </a:xfrm>
          <a:prstGeom prst="rect">
            <a:avLst/>
          </a:prstGeom>
        </p:spPr>
      </p:pic>
      <p:sp>
        <p:nvSpPr>
          <p:cNvPr id="6" name="TextBox 5">
            <a:extLst>
              <a:ext uri="{FF2B5EF4-FFF2-40B4-BE49-F238E27FC236}">
                <a16:creationId xmlns:a16="http://schemas.microsoft.com/office/drawing/2014/main" id="{7C40165F-EBB2-411F-9F49-049391ED8FC5}"/>
              </a:ext>
            </a:extLst>
          </p:cNvPr>
          <p:cNvSpPr txBox="1"/>
          <p:nvPr/>
        </p:nvSpPr>
        <p:spPr>
          <a:xfrm>
            <a:off x="48843" y="3535463"/>
            <a:ext cx="2634293" cy="338554"/>
          </a:xfrm>
          <a:prstGeom prst="rect">
            <a:avLst/>
          </a:prstGeom>
          <a:noFill/>
        </p:spPr>
        <p:txBody>
          <a:bodyPr wrap="square" rtlCol="0">
            <a:spAutoFit/>
          </a:bodyPr>
          <a:lstStyle/>
          <a:p>
            <a:pPr>
              <a:spcBef>
                <a:spcPts val="0"/>
              </a:spcBef>
              <a:spcAft>
                <a:spcPts val="0"/>
              </a:spcAft>
              <a:buClr>
                <a:schemeClr val="bg1"/>
              </a:buClr>
            </a:pPr>
            <a:r>
              <a:rPr lang="en-US" sz="1600" b="1" dirty="0">
                <a:solidFill>
                  <a:schemeClr val="bg2"/>
                </a:solidFill>
                <a:latin typeface="+mn-lt"/>
              </a:rPr>
              <a:t>Probability Formula </a:t>
            </a:r>
            <a:endParaRPr lang="en-US" sz="1400" b="1" dirty="0">
              <a:solidFill>
                <a:schemeClr val="bg2"/>
              </a:solidFill>
              <a:latin typeface="+mn-lt"/>
            </a:endParaRPr>
          </a:p>
        </p:txBody>
      </p:sp>
      <p:pic>
        <p:nvPicPr>
          <p:cNvPr id="8" name="Picture 7">
            <a:extLst>
              <a:ext uri="{FF2B5EF4-FFF2-40B4-BE49-F238E27FC236}">
                <a16:creationId xmlns:a16="http://schemas.microsoft.com/office/drawing/2014/main" id="{CEAD1E4D-C022-435E-BA29-C8D081FF1739}"/>
              </a:ext>
            </a:extLst>
          </p:cNvPr>
          <p:cNvPicPr>
            <a:picLocks noChangeAspect="1"/>
          </p:cNvPicPr>
          <p:nvPr/>
        </p:nvPicPr>
        <p:blipFill>
          <a:blip r:embed="rId4"/>
          <a:stretch>
            <a:fillRect/>
          </a:stretch>
        </p:blipFill>
        <p:spPr>
          <a:xfrm>
            <a:off x="494082" y="3874017"/>
            <a:ext cx="8601075" cy="885825"/>
          </a:xfrm>
          <a:prstGeom prst="rect">
            <a:avLst/>
          </a:prstGeom>
        </p:spPr>
      </p:pic>
      <mc:AlternateContent xmlns:mc="http://schemas.openxmlformats.org/markup-compatibility/2006">
        <mc:Choice xmlns:p14="http://schemas.microsoft.com/office/powerpoint/2010/main" Requires="p14">
          <p:contentPart p14:bwMode="auto" r:id="rId5">
            <p14:nvContentPartPr>
              <p14:cNvPr id="4" name="Ink 3">
                <a:extLst>
                  <a:ext uri="{FF2B5EF4-FFF2-40B4-BE49-F238E27FC236}">
                    <a16:creationId xmlns:a16="http://schemas.microsoft.com/office/drawing/2014/main" id="{D6669DA1-3114-4B21-AB27-FA34C65AB62F}"/>
                  </a:ext>
                </a:extLst>
              </p14:cNvPr>
              <p14:cNvContentPartPr/>
              <p14:nvPr/>
            </p14:nvContentPartPr>
            <p14:xfrm>
              <a:off x="2843280" y="157320"/>
              <a:ext cx="6044040" cy="4705560"/>
            </p14:xfrm>
          </p:contentPart>
        </mc:Choice>
        <mc:Fallback>
          <p:pic>
            <p:nvPicPr>
              <p:cNvPr id="4" name="Ink 3">
                <a:extLst>
                  <a:ext uri="{FF2B5EF4-FFF2-40B4-BE49-F238E27FC236}">
                    <a16:creationId xmlns:a16="http://schemas.microsoft.com/office/drawing/2014/main" id="{D6669DA1-3114-4B21-AB27-FA34C65AB62F}"/>
                  </a:ext>
                </a:extLst>
              </p:cNvPr>
              <p:cNvPicPr/>
              <p:nvPr/>
            </p:nvPicPr>
            <p:blipFill>
              <a:blip r:embed="rId6"/>
              <a:stretch>
                <a:fillRect/>
              </a:stretch>
            </p:blipFill>
            <p:spPr>
              <a:xfrm>
                <a:off x="2833920" y="147960"/>
                <a:ext cx="6062760" cy="4724280"/>
              </a:xfrm>
              <a:prstGeom prst="rect">
                <a:avLst/>
              </a:prstGeom>
            </p:spPr>
          </p:pic>
        </mc:Fallback>
      </mc:AlternateContent>
    </p:spTree>
    <p:extLst>
      <p:ext uri="{BB962C8B-B14F-4D97-AF65-F5344CB8AC3E}">
        <p14:creationId xmlns:p14="http://schemas.microsoft.com/office/powerpoint/2010/main" val="3091052118"/>
      </p:ext>
    </p:extLst>
  </p:cSld>
  <p:clrMapOvr>
    <a:masterClrMapping/>
  </p:clrMapOvr>
  <p:transition spd="med">
    <p:wipe dir="r"/>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8CE0D-4FDD-4402-BFC6-C4E1021E3033}"/>
              </a:ext>
            </a:extLst>
          </p:cNvPr>
          <p:cNvSpPr>
            <a:spLocks noGrp="1"/>
          </p:cNvSpPr>
          <p:nvPr>
            <p:ph type="title"/>
          </p:nvPr>
        </p:nvSpPr>
        <p:spPr>
          <a:xfrm>
            <a:off x="0" y="0"/>
            <a:ext cx="4295219" cy="640080"/>
          </a:xfrm>
        </p:spPr>
        <p:txBody>
          <a:bodyPr/>
          <a:lstStyle/>
          <a:p>
            <a:r>
              <a:rPr lang="en-US" dirty="0"/>
              <a:t>Probability Example</a:t>
            </a:r>
          </a:p>
        </p:txBody>
      </p:sp>
      <p:sp>
        <p:nvSpPr>
          <p:cNvPr id="3" name="Content Placeholder 2">
            <a:extLst>
              <a:ext uri="{FF2B5EF4-FFF2-40B4-BE49-F238E27FC236}">
                <a16:creationId xmlns:a16="http://schemas.microsoft.com/office/drawing/2014/main" id="{6A7FAF5B-4E17-4FA5-AF73-E751EC3EBBBA}"/>
              </a:ext>
            </a:extLst>
          </p:cNvPr>
          <p:cNvSpPr>
            <a:spLocks noGrp="1"/>
          </p:cNvSpPr>
          <p:nvPr>
            <p:ph sz="half" idx="13"/>
          </p:nvPr>
        </p:nvSpPr>
        <p:spPr>
          <a:xfrm>
            <a:off x="85856" y="640080"/>
            <a:ext cx="8157704" cy="3200400"/>
          </a:xfrm>
        </p:spPr>
        <p:txBody>
          <a:bodyPr/>
          <a:lstStyle/>
          <a:p>
            <a:r>
              <a:rPr lang="en-US" dirty="0"/>
              <a:t>Ex 1 : the chances of rolling a "4" with a die</a:t>
            </a:r>
          </a:p>
          <a:p>
            <a:endParaRPr lang="en-US" dirty="0"/>
          </a:p>
          <a:p>
            <a:endParaRPr lang="en-US" dirty="0"/>
          </a:p>
          <a:p>
            <a:r>
              <a:rPr lang="en-US" dirty="0"/>
              <a:t>Ex 2 : there are 5 marbles in a bag: 4 are blue, and 1 is red. What is the probability that a blue marble gets picked?</a:t>
            </a:r>
          </a:p>
        </p:txBody>
      </p:sp>
      <p:pic>
        <p:nvPicPr>
          <p:cNvPr id="7" name="Picture 6" descr="A picture containing indoor, floor, blue, close&#10;&#10;Description automatically generated">
            <a:extLst>
              <a:ext uri="{FF2B5EF4-FFF2-40B4-BE49-F238E27FC236}">
                <a16:creationId xmlns:a16="http://schemas.microsoft.com/office/drawing/2014/main" id="{EC87BBCD-760D-40AA-A681-7E2FD88DA110}"/>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150866" y="2397240"/>
            <a:ext cx="2163803" cy="1443240"/>
          </a:xfrm>
          <a:prstGeom prst="rect">
            <a:avLst/>
          </a:prstGeom>
        </p:spPr>
      </p:pic>
      <p:pic>
        <p:nvPicPr>
          <p:cNvPr id="10" name="Picture 9" descr="A picture containing red, cherry, vegetable&#10;&#10;Description automatically generated">
            <a:extLst>
              <a:ext uri="{FF2B5EF4-FFF2-40B4-BE49-F238E27FC236}">
                <a16:creationId xmlns:a16="http://schemas.microsoft.com/office/drawing/2014/main" id="{8C11656E-03F2-47CC-8B80-2E364003ED3A}"/>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1686150" y="2934718"/>
            <a:ext cx="1428750" cy="1428750"/>
          </a:xfrm>
          <a:prstGeom prst="rect">
            <a:avLst/>
          </a:prstGeom>
        </p:spPr>
      </p:pic>
      <mc:AlternateContent xmlns:mc="http://schemas.openxmlformats.org/markup-compatibility/2006">
        <mc:Choice xmlns:p14="http://schemas.microsoft.com/office/powerpoint/2010/main" Requires="p14">
          <p:contentPart p14:bwMode="auto" r:id="rId6">
            <p14:nvContentPartPr>
              <p14:cNvPr id="4" name="Ink 3">
                <a:extLst>
                  <a:ext uri="{FF2B5EF4-FFF2-40B4-BE49-F238E27FC236}">
                    <a16:creationId xmlns:a16="http://schemas.microsoft.com/office/drawing/2014/main" id="{7A406D94-2125-45C5-A9FE-0930EF187009}"/>
                  </a:ext>
                </a:extLst>
              </p14:cNvPr>
              <p14:cNvContentPartPr/>
              <p14:nvPr/>
            </p14:nvContentPartPr>
            <p14:xfrm>
              <a:off x="2581200" y="557280"/>
              <a:ext cx="6091560" cy="4272120"/>
            </p14:xfrm>
          </p:contentPart>
        </mc:Choice>
        <mc:Fallback>
          <p:pic>
            <p:nvPicPr>
              <p:cNvPr id="4" name="Ink 3">
                <a:extLst>
                  <a:ext uri="{FF2B5EF4-FFF2-40B4-BE49-F238E27FC236}">
                    <a16:creationId xmlns:a16="http://schemas.microsoft.com/office/drawing/2014/main" id="{7A406D94-2125-45C5-A9FE-0930EF187009}"/>
                  </a:ext>
                </a:extLst>
              </p:cNvPr>
              <p:cNvPicPr/>
              <p:nvPr/>
            </p:nvPicPr>
            <p:blipFill>
              <a:blip r:embed="rId7"/>
              <a:stretch>
                <a:fillRect/>
              </a:stretch>
            </p:blipFill>
            <p:spPr>
              <a:xfrm>
                <a:off x="2571840" y="547920"/>
                <a:ext cx="6110280" cy="4290840"/>
              </a:xfrm>
              <a:prstGeom prst="rect">
                <a:avLst/>
              </a:prstGeom>
            </p:spPr>
          </p:pic>
        </mc:Fallback>
      </mc:AlternateContent>
    </p:spTree>
    <p:extLst>
      <p:ext uri="{BB962C8B-B14F-4D97-AF65-F5344CB8AC3E}">
        <p14:creationId xmlns:p14="http://schemas.microsoft.com/office/powerpoint/2010/main" val="3429128477"/>
      </p:ext>
    </p:extLst>
  </p:cSld>
  <p:clrMapOvr>
    <a:masterClrMapping/>
  </p:clrMapOvr>
  <p:transition spd="med">
    <p:wipe dir="r"/>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1B5086-BB20-41DD-A145-1AF442DC95A9}"/>
              </a:ext>
            </a:extLst>
          </p:cNvPr>
          <p:cNvSpPr>
            <a:spLocks noGrp="1"/>
          </p:cNvSpPr>
          <p:nvPr>
            <p:ph type="title"/>
          </p:nvPr>
        </p:nvSpPr>
        <p:spPr>
          <a:xfrm>
            <a:off x="0" y="22860"/>
            <a:ext cx="4295219" cy="640080"/>
          </a:xfrm>
        </p:spPr>
        <p:txBody>
          <a:bodyPr/>
          <a:lstStyle/>
          <a:p>
            <a:r>
              <a:rPr lang="en-US" dirty="0"/>
              <a:t>Probability Line</a:t>
            </a:r>
          </a:p>
        </p:txBody>
      </p:sp>
      <p:pic>
        <p:nvPicPr>
          <p:cNvPr id="5" name="Content Placeholder 4">
            <a:extLst>
              <a:ext uri="{FF2B5EF4-FFF2-40B4-BE49-F238E27FC236}">
                <a16:creationId xmlns:a16="http://schemas.microsoft.com/office/drawing/2014/main" id="{ACB318F2-CE07-4621-BEC5-E2E661CF3436}"/>
              </a:ext>
            </a:extLst>
          </p:cNvPr>
          <p:cNvPicPr>
            <a:picLocks noGrp="1" noChangeAspect="1"/>
          </p:cNvPicPr>
          <p:nvPr>
            <p:ph sz="half" idx="13"/>
          </p:nvPr>
        </p:nvPicPr>
        <p:blipFill>
          <a:blip r:embed="rId2"/>
          <a:stretch>
            <a:fillRect/>
          </a:stretch>
        </p:blipFill>
        <p:spPr>
          <a:xfrm>
            <a:off x="1105452" y="2384342"/>
            <a:ext cx="5681518" cy="2208672"/>
          </a:xfrm>
        </p:spPr>
      </p:pic>
      <p:sp>
        <p:nvSpPr>
          <p:cNvPr id="7" name="TextBox 6">
            <a:extLst>
              <a:ext uri="{FF2B5EF4-FFF2-40B4-BE49-F238E27FC236}">
                <a16:creationId xmlns:a16="http://schemas.microsoft.com/office/drawing/2014/main" id="{05CF8509-6037-4CBA-8398-BA0579C00A57}"/>
              </a:ext>
            </a:extLst>
          </p:cNvPr>
          <p:cNvSpPr txBox="1"/>
          <p:nvPr/>
        </p:nvSpPr>
        <p:spPr>
          <a:xfrm>
            <a:off x="76782" y="662940"/>
            <a:ext cx="7859652" cy="1169551"/>
          </a:xfrm>
          <a:prstGeom prst="rect">
            <a:avLst/>
          </a:prstGeom>
          <a:noFill/>
        </p:spPr>
        <p:txBody>
          <a:bodyPr wrap="square" rtlCol="0">
            <a:spAutoFit/>
          </a:bodyPr>
          <a:lstStyle/>
          <a:p>
            <a:pPr marL="285750" indent="-285750">
              <a:spcBef>
                <a:spcPts val="0"/>
              </a:spcBef>
              <a:spcAft>
                <a:spcPts val="0"/>
              </a:spcAft>
              <a:buClr>
                <a:schemeClr val="bg1"/>
              </a:buClr>
              <a:buFont typeface="Arial" panose="020B0604020202020204" pitchFamily="34" charset="0"/>
              <a:buChar char="•"/>
            </a:pPr>
            <a:r>
              <a:rPr lang="en-US" sz="1400" dirty="0">
                <a:solidFill>
                  <a:schemeClr val="bg2">
                    <a:lumMod val="50000"/>
                    <a:lumOff val="50000"/>
                  </a:schemeClr>
                </a:solidFill>
              </a:rPr>
              <a:t>Probability is the chance that something will happen. It can be shown on a probability line</a:t>
            </a:r>
          </a:p>
          <a:p>
            <a:pPr>
              <a:spcBef>
                <a:spcPts val="0"/>
              </a:spcBef>
              <a:spcAft>
                <a:spcPts val="0"/>
              </a:spcAft>
              <a:buClr>
                <a:schemeClr val="bg1"/>
              </a:buClr>
            </a:pPr>
            <a:endParaRPr lang="en-US" sz="1400" dirty="0">
              <a:solidFill>
                <a:schemeClr val="bg2">
                  <a:lumMod val="50000"/>
                  <a:lumOff val="50000"/>
                </a:schemeClr>
              </a:solidFill>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lumMod val="50000"/>
                    <a:lumOff val="50000"/>
                  </a:schemeClr>
                </a:solidFill>
              </a:rPr>
              <a:t>Probability does not tell us exactly what will happen, it is just a guide</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lumMod val="50000"/>
                    <a:lumOff val="50000"/>
                  </a:schemeClr>
                </a:solidFill>
              </a:rPr>
              <a:t>Range of Probability : Between 0 and 1</a:t>
            </a:r>
          </a:p>
        </p:txBody>
      </p:sp>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1929A047-6F4E-4DDF-B431-B3699C6627D6}"/>
                  </a:ext>
                </a:extLst>
              </p14:cNvPr>
              <p14:cNvContentPartPr/>
              <p14:nvPr/>
            </p14:nvContentPartPr>
            <p14:xfrm>
              <a:off x="409680" y="281160"/>
              <a:ext cx="8682120" cy="4824720"/>
            </p14:xfrm>
          </p:contentPart>
        </mc:Choice>
        <mc:Fallback>
          <p:pic>
            <p:nvPicPr>
              <p:cNvPr id="3" name="Ink 2">
                <a:extLst>
                  <a:ext uri="{FF2B5EF4-FFF2-40B4-BE49-F238E27FC236}">
                    <a16:creationId xmlns:a16="http://schemas.microsoft.com/office/drawing/2014/main" id="{1929A047-6F4E-4DDF-B431-B3699C6627D6}"/>
                  </a:ext>
                </a:extLst>
              </p:cNvPr>
              <p:cNvPicPr/>
              <p:nvPr/>
            </p:nvPicPr>
            <p:blipFill>
              <a:blip r:embed="rId4"/>
              <a:stretch>
                <a:fillRect/>
              </a:stretch>
            </p:blipFill>
            <p:spPr>
              <a:xfrm>
                <a:off x="400320" y="271800"/>
                <a:ext cx="8700840" cy="4843440"/>
              </a:xfrm>
              <a:prstGeom prst="rect">
                <a:avLst/>
              </a:prstGeom>
            </p:spPr>
          </p:pic>
        </mc:Fallback>
      </mc:AlternateContent>
    </p:spTree>
    <p:extLst>
      <p:ext uri="{BB962C8B-B14F-4D97-AF65-F5344CB8AC3E}">
        <p14:creationId xmlns:p14="http://schemas.microsoft.com/office/powerpoint/2010/main" val="1473195285"/>
      </p:ext>
    </p:extLst>
  </p:cSld>
  <p:clrMapOvr>
    <a:masterClrMapping/>
  </p:clrMapOvr>
  <p:transition spd="med">
    <p:wipe dir="r"/>
  </p:transition>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33BAEC-C6AA-4DAE-9256-FBDECF1BF0EE}"/>
              </a:ext>
            </a:extLst>
          </p:cNvPr>
          <p:cNvSpPr>
            <a:spLocks noGrp="1"/>
          </p:cNvSpPr>
          <p:nvPr>
            <p:ph type="title"/>
          </p:nvPr>
        </p:nvSpPr>
        <p:spPr>
          <a:xfrm>
            <a:off x="0" y="22860"/>
            <a:ext cx="4295219" cy="640080"/>
          </a:xfrm>
        </p:spPr>
        <p:txBody>
          <a:bodyPr/>
          <a:lstStyle/>
          <a:p>
            <a:r>
              <a:rPr lang="en-US" dirty="0"/>
              <a:t>Probability - Words</a:t>
            </a:r>
          </a:p>
        </p:txBody>
      </p:sp>
      <p:sp>
        <p:nvSpPr>
          <p:cNvPr id="3" name="Content Placeholder 2">
            <a:extLst>
              <a:ext uri="{FF2B5EF4-FFF2-40B4-BE49-F238E27FC236}">
                <a16:creationId xmlns:a16="http://schemas.microsoft.com/office/drawing/2014/main" id="{FFAA7F65-22A8-4A3C-90D2-11A20B2B9B82}"/>
              </a:ext>
            </a:extLst>
          </p:cNvPr>
          <p:cNvSpPr>
            <a:spLocks noGrp="1"/>
          </p:cNvSpPr>
          <p:nvPr>
            <p:ph sz="half" idx="13"/>
          </p:nvPr>
        </p:nvSpPr>
        <p:spPr>
          <a:xfrm>
            <a:off x="160525" y="770609"/>
            <a:ext cx="8269387" cy="3200400"/>
          </a:xfrm>
        </p:spPr>
        <p:txBody>
          <a:bodyPr/>
          <a:lstStyle/>
          <a:p>
            <a:r>
              <a:rPr lang="en-US" b="1" dirty="0"/>
              <a:t>Experiment : </a:t>
            </a:r>
            <a:r>
              <a:rPr lang="en-US" b="0" i="0" dirty="0">
                <a:solidFill>
                  <a:srgbClr val="333333"/>
                </a:solidFill>
                <a:effectLst/>
                <a:latin typeface="Verdana" panose="020B0604030504040204" pitchFamily="34" charset="0"/>
              </a:rPr>
              <a:t>a repeatable procedure with a set of possible results.</a:t>
            </a:r>
          </a:p>
          <a:p>
            <a:r>
              <a:rPr lang="en-US" dirty="0">
                <a:solidFill>
                  <a:srgbClr val="333333"/>
                </a:solidFill>
                <a:latin typeface="Verdana" panose="020B0604030504040204" pitchFamily="34" charset="0"/>
              </a:rPr>
              <a:t>Ex : Throwing a dice</a:t>
            </a:r>
            <a:endParaRPr lang="en-US" dirty="0"/>
          </a:p>
        </p:txBody>
      </p:sp>
      <p:pic>
        <p:nvPicPr>
          <p:cNvPr id="4" name="Picture 3" descr="A close up of a dice&#10;&#10;Description automatically generated with medium confidence">
            <a:extLst>
              <a:ext uri="{FF2B5EF4-FFF2-40B4-BE49-F238E27FC236}">
                <a16:creationId xmlns:a16="http://schemas.microsoft.com/office/drawing/2014/main" id="{B4BB22FB-62A6-4A5D-81EC-A14BFEE56CC7}"/>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830462" y="2107563"/>
            <a:ext cx="2634293" cy="1971115"/>
          </a:xfrm>
          <a:prstGeom prst="rect">
            <a:avLst/>
          </a:prstGeom>
        </p:spPr>
      </p:pic>
      <mc:AlternateContent xmlns:mc="http://schemas.openxmlformats.org/markup-compatibility/2006">
        <mc:Choice xmlns:p14="http://schemas.microsoft.com/office/powerpoint/2010/main" Requires="p14">
          <p:contentPart p14:bwMode="auto" r:id="rId4">
            <p14:nvContentPartPr>
              <p14:cNvPr id="5" name="Ink 4">
                <a:extLst>
                  <a:ext uri="{FF2B5EF4-FFF2-40B4-BE49-F238E27FC236}">
                    <a16:creationId xmlns:a16="http://schemas.microsoft.com/office/drawing/2014/main" id="{FE76FBF5-C424-4E49-A75F-A8F55597F478}"/>
                  </a:ext>
                </a:extLst>
              </p14:cNvPr>
              <p14:cNvContentPartPr/>
              <p14:nvPr/>
            </p14:nvContentPartPr>
            <p14:xfrm>
              <a:off x="552600" y="633240"/>
              <a:ext cx="8425080" cy="4077360"/>
            </p14:xfrm>
          </p:contentPart>
        </mc:Choice>
        <mc:Fallback>
          <p:pic>
            <p:nvPicPr>
              <p:cNvPr id="5" name="Ink 4">
                <a:extLst>
                  <a:ext uri="{FF2B5EF4-FFF2-40B4-BE49-F238E27FC236}">
                    <a16:creationId xmlns:a16="http://schemas.microsoft.com/office/drawing/2014/main" id="{FE76FBF5-C424-4E49-A75F-A8F55597F478}"/>
                  </a:ext>
                </a:extLst>
              </p:cNvPr>
              <p:cNvPicPr/>
              <p:nvPr/>
            </p:nvPicPr>
            <p:blipFill>
              <a:blip r:embed="rId5"/>
              <a:stretch>
                <a:fillRect/>
              </a:stretch>
            </p:blipFill>
            <p:spPr>
              <a:xfrm>
                <a:off x="543240" y="623880"/>
                <a:ext cx="8443800" cy="4096080"/>
              </a:xfrm>
              <a:prstGeom prst="rect">
                <a:avLst/>
              </a:prstGeom>
            </p:spPr>
          </p:pic>
        </mc:Fallback>
      </mc:AlternateContent>
    </p:spTree>
    <p:extLst>
      <p:ext uri="{BB962C8B-B14F-4D97-AF65-F5344CB8AC3E}">
        <p14:creationId xmlns:p14="http://schemas.microsoft.com/office/powerpoint/2010/main" val="1315040994"/>
      </p:ext>
    </p:extLst>
  </p:cSld>
  <p:clrMapOvr>
    <a:masterClrMapping/>
  </p:clrMapOvr>
  <p:transition spd="med">
    <p:wipe dir="r"/>
  </p:transition>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965611-A63B-47E6-8CEF-CD66AE7C7D30}"/>
              </a:ext>
            </a:extLst>
          </p:cNvPr>
          <p:cNvSpPr>
            <a:spLocks noGrp="1"/>
          </p:cNvSpPr>
          <p:nvPr>
            <p:ph type="title"/>
          </p:nvPr>
        </p:nvSpPr>
        <p:spPr>
          <a:xfrm>
            <a:off x="0" y="22860"/>
            <a:ext cx="4295219" cy="640080"/>
          </a:xfrm>
        </p:spPr>
        <p:txBody>
          <a:bodyPr/>
          <a:lstStyle/>
          <a:p>
            <a:r>
              <a:rPr lang="en-US" dirty="0"/>
              <a:t>Probability - Words</a:t>
            </a:r>
          </a:p>
        </p:txBody>
      </p:sp>
      <p:sp>
        <p:nvSpPr>
          <p:cNvPr id="3" name="Content Placeholder 2">
            <a:extLst>
              <a:ext uri="{FF2B5EF4-FFF2-40B4-BE49-F238E27FC236}">
                <a16:creationId xmlns:a16="http://schemas.microsoft.com/office/drawing/2014/main" id="{6D34550C-3232-4CA6-BCC9-0C77271244F4}"/>
              </a:ext>
            </a:extLst>
          </p:cNvPr>
          <p:cNvSpPr>
            <a:spLocks noGrp="1"/>
          </p:cNvSpPr>
          <p:nvPr>
            <p:ph sz="half" idx="13"/>
          </p:nvPr>
        </p:nvSpPr>
        <p:spPr>
          <a:xfrm>
            <a:off x="78876" y="791549"/>
            <a:ext cx="7145582" cy="3200400"/>
          </a:xfrm>
        </p:spPr>
        <p:txBody>
          <a:bodyPr/>
          <a:lstStyle/>
          <a:p>
            <a:r>
              <a:rPr lang="en-US" b="1" dirty="0"/>
              <a:t>Outcome : </a:t>
            </a:r>
            <a:r>
              <a:rPr lang="en-US" b="0" i="0" dirty="0">
                <a:solidFill>
                  <a:srgbClr val="333333"/>
                </a:solidFill>
                <a:effectLst/>
                <a:latin typeface="Verdana" panose="020B0604030504040204" pitchFamily="34" charset="0"/>
              </a:rPr>
              <a:t>A possible result of an experiment.</a:t>
            </a:r>
          </a:p>
          <a:p>
            <a:r>
              <a:rPr lang="en-US" dirty="0">
                <a:solidFill>
                  <a:srgbClr val="333333"/>
                </a:solidFill>
                <a:latin typeface="Verdana" panose="020B0604030504040204" pitchFamily="34" charset="0"/>
              </a:rPr>
              <a:t>Ex : Getting a 6</a:t>
            </a:r>
            <a:endParaRPr lang="en-US" dirty="0"/>
          </a:p>
        </p:txBody>
      </p:sp>
      <p:pic>
        <p:nvPicPr>
          <p:cNvPr id="4" name="Picture 3" descr="A close up of a dice&#10;&#10;Description automatically generated with medium confidence">
            <a:extLst>
              <a:ext uri="{FF2B5EF4-FFF2-40B4-BE49-F238E27FC236}">
                <a16:creationId xmlns:a16="http://schemas.microsoft.com/office/drawing/2014/main" id="{F51748E5-DF80-48C6-9067-FE2BF74E9498}"/>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772410" y="1695734"/>
            <a:ext cx="2634293" cy="1971115"/>
          </a:xfrm>
          <a:prstGeom prst="rect">
            <a:avLst/>
          </a:prstGeom>
        </p:spPr>
      </p:pic>
      <mc:AlternateContent xmlns:mc="http://schemas.openxmlformats.org/markup-compatibility/2006">
        <mc:Choice xmlns:p14="http://schemas.microsoft.com/office/powerpoint/2010/main" Requires="p14">
          <p:contentPart p14:bwMode="auto" r:id="rId4">
            <p14:nvContentPartPr>
              <p14:cNvPr id="5" name="Ink 4">
                <a:extLst>
                  <a:ext uri="{FF2B5EF4-FFF2-40B4-BE49-F238E27FC236}">
                    <a16:creationId xmlns:a16="http://schemas.microsoft.com/office/drawing/2014/main" id="{3827231A-E059-4012-ACF0-52254A799339}"/>
                  </a:ext>
                </a:extLst>
              </p14:cNvPr>
              <p14:cNvContentPartPr/>
              <p14:nvPr/>
            </p14:nvContentPartPr>
            <p14:xfrm>
              <a:off x="1395360" y="762120"/>
              <a:ext cx="4496040" cy="2314800"/>
            </p14:xfrm>
          </p:contentPart>
        </mc:Choice>
        <mc:Fallback>
          <p:pic>
            <p:nvPicPr>
              <p:cNvPr id="5" name="Ink 4">
                <a:extLst>
                  <a:ext uri="{FF2B5EF4-FFF2-40B4-BE49-F238E27FC236}">
                    <a16:creationId xmlns:a16="http://schemas.microsoft.com/office/drawing/2014/main" id="{3827231A-E059-4012-ACF0-52254A799339}"/>
                  </a:ext>
                </a:extLst>
              </p:cNvPr>
              <p:cNvPicPr/>
              <p:nvPr/>
            </p:nvPicPr>
            <p:blipFill>
              <a:blip r:embed="rId5"/>
              <a:stretch>
                <a:fillRect/>
              </a:stretch>
            </p:blipFill>
            <p:spPr>
              <a:xfrm>
                <a:off x="1386000" y="752760"/>
                <a:ext cx="4514760" cy="2333520"/>
              </a:xfrm>
              <a:prstGeom prst="rect">
                <a:avLst/>
              </a:prstGeom>
            </p:spPr>
          </p:pic>
        </mc:Fallback>
      </mc:AlternateContent>
    </p:spTree>
    <p:extLst>
      <p:ext uri="{BB962C8B-B14F-4D97-AF65-F5344CB8AC3E}">
        <p14:creationId xmlns:p14="http://schemas.microsoft.com/office/powerpoint/2010/main" val="4073158111"/>
      </p:ext>
    </p:extLst>
  </p:cSld>
  <p:clrMapOvr>
    <a:masterClrMapping/>
  </p:clrMapOvr>
  <p:transition spd="med">
    <p:wipe dir="r"/>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4F1E7-9A94-4879-97D7-7A8013D8B905}"/>
              </a:ext>
            </a:extLst>
          </p:cNvPr>
          <p:cNvSpPr>
            <a:spLocks noGrp="1"/>
          </p:cNvSpPr>
          <p:nvPr>
            <p:ph type="title"/>
          </p:nvPr>
        </p:nvSpPr>
        <p:spPr>
          <a:xfrm>
            <a:off x="0" y="22860"/>
            <a:ext cx="4295219" cy="640080"/>
          </a:xfrm>
        </p:spPr>
        <p:txBody>
          <a:bodyPr/>
          <a:lstStyle/>
          <a:p>
            <a:r>
              <a:rPr lang="en-US" dirty="0"/>
              <a:t>Probability - Words</a:t>
            </a:r>
          </a:p>
        </p:txBody>
      </p:sp>
      <p:sp>
        <p:nvSpPr>
          <p:cNvPr id="3" name="Content Placeholder 2">
            <a:extLst>
              <a:ext uri="{FF2B5EF4-FFF2-40B4-BE49-F238E27FC236}">
                <a16:creationId xmlns:a16="http://schemas.microsoft.com/office/drawing/2014/main" id="{1A0EDEF0-1655-4751-97B5-A92270149DFC}"/>
              </a:ext>
            </a:extLst>
          </p:cNvPr>
          <p:cNvSpPr>
            <a:spLocks noGrp="1"/>
          </p:cNvSpPr>
          <p:nvPr>
            <p:ph sz="half" idx="13"/>
          </p:nvPr>
        </p:nvSpPr>
        <p:spPr>
          <a:xfrm>
            <a:off x="83744" y="749668"/>
            <a:ext cx="8422950" cy="3200400"/>
          </a:xfrm>
        </p:spPr>
        <p:txBody>
          <a:bodyPr/>
          <a:lstStyle/>
          <a:p>
            <a:r>
              <a:rPr lang="en-US" b="1" i="0" dirty="0">
                <a:solidFill>
                  <a:srgbClr val="333333"/>
                </a:solidFill>
                <a:effectLst/>
                <a:latin typeface="Verdana" panose="020B0604030504040204" pitchFamily="34" charset="0"/>
              </a:rPr>
              <a:t>Sample Space:</a:t>
            </a:r>
            <a:r>
              <a:rPr lang="en-US" b="0" i="0" dirty="0">
                <a:solidFill>
                  <a:srgbClr val="333333"/>
                </a:solidFill>
                <a:effectLst/>
                <a:latin typeface="Verdana" panose="020B0604030504040204" pitchFamily="34" charset="0"/>
              </a:rPr>
              <a:t> all the possible outcomes of an experiment.</a:t>
            </a:r>
          </a:p>
          <a:p>
            <a:r>
              <a:rPr lang="en-US" dirty="0">
                <a:solidFill>
                  <a:srgbClr val="333333"/>
                </a:solidFill>
                <a:latin typeface="Verdana" panose="020B0604030504040204" pitchFamily="34" charset="0"/>
              </a:rPr>
              <a:t>Ex : choosing a card from a deck</a:t>
            </a:r>
            <a:endParaRPr lang="en-US" dirty="0"/>
          </a:p>
        </p:txBody>
      </p:sp>
      <p:pic>
        <p:nvPicPr>
          <p:cNvPr id="7" name="Picture 6">
            <a:extLst>
              <a:ext uri="{FF2B5EF4-FFF2-40B4-BE49-F238E27FC236}">
                <a16:creationId xmlns:a16="http://schemas.microsoft.com/office/drawing/2014/main" id="{314346DD-1DA0-45D8-A3F2-C4703B7CFA47}"/>
              </a:ext>
            </a:extLst>
          </p:cNvPr>
          <p:cNvPicPr>
            <a:picLocks noChangeAspect="1"/>
          </p:cNvPicPr>
          <p:nvPr/>
        </p:nvPicPr>
        <p:blipFill>
          <a:blip r:embed="rId2"/>
          <a:stretch>
            <a:fillRect/>
          </a:stretch>
        </p:blipFill>
        <p:spPr>
          <a:xfrm>
            <a:off x="5479420" y="1453909"/>
            <a:ext cx="3490076" cy="2582887"/>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0BB76467-0FB5-4F19-A26E-6F3897ED116D}"/>
                  </a:ext>
                </a:extLst>
              </p14:cNvPr>
              <p14:cNvContentPartPr/>
              <p14:nvPr/>
            </p14:nvContentPartPr>
            <p14:xfrm>
              <a:off x="262080" y="604800"/>
              <a:ext cx="6215400" cy="3896280"/>
            </p14:xfrm>
          </p:contentPart>
        </mc:Choice>
        <mc:Fallback>
          <p:pic>
            <p:nvPicPr>
              <p:cNvPr id="4" name="Ink 3">
                <a:extLst>
                  <a:ext uri="{FF2B5EF4-FFF2-40B4-BE49-F238E27FC236}">
                    <a16:creationId xmlns:a16="http://schemas.microsoft.com/office/drawing/2014/main" id="{0BB76467-0FB5-4F19-A26E-6F3897ED116D}"/>
                  </a:ext>
                </a:extLst>
              </p:cNvPr>
              <p:cNvPicPr/>
              <p:nvPr/>
            </p:nvPicPr>
            <p:blipFill>
              <a:blip r:embed="rId4"/>
              <a:stretch>
                <a:fillRect/>
              </a:stretch>
            </p:blipFill>
            <p:spPr>
              <a:xfrm>
                <a:off x="252720" y="595440"/>
                <a:ext cx="6234120" cy="3915000"/>
              </a:xfrm>
              <a:prstGeom prst="rect">
                <a:avLst/>
              </a:prstGeom>
            </p:spPr>
          </p:pic>
        </mc:Fallback>
      </mc:AlternateContent>
    </p:spTree>
    <p:extLst>
      <p:ext uri="{BB962C8B-B14F-4D97-AF65-F5344CB8AC3E}">
        <p14:creationId xmlns:p14="http://schemas.microsoft.com/office/powerpoint/2010/main" val="2829562172"/>
      </p:ext>
    </p:extLst>
  </p:cSld>
  <p:clrMapOvr>
    <a:masterClrMapping/>
  </p:clrMapOvr>
  <p:transition spd="med">
    <p:wipe dir="r"/>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8137BA-BF16-422D-8941-6AE0A4714DB0}"/>
              </a:ext>
            </a:extLst>
          </p:cNvPr>
          <p:cNvSpPr>
            <a:spLocks noGrp="1"/>
          </p:cNvSpPr>
          <p:nvPr>
            <p:ph type="title"/>
          </p:nvPr>
        </p:nvSpPr>
        <p:spPr>
          <a:xfrm>
            <a:off x="0" y="0"/>
            <a:ext cx="4295219" cy="640080"/>
          </a:xfrm>
        </p:spPr>
        <p:txBody>
          <a:bodyPr/>
          <a:lstStyle/>
          <a:p>
            <a:r>
              <a:rPr lang="en-US" dirty="0"/>
              <a:t>Probability - Words</a:t>
            </a:r>
          </a:p>
        </p:txBody>
      </p:sp>
      <p:sp>
        <p:nvSpPr>
          <p:cNvPr id="3" name="Content Placeholder 2">
            <a:extLst>
              <a:ext uri="{FF2B5EF4-FFF2-40B4-BE49-F238E27FC236}">
                <a16:creationId xmlns:a16="http://schemas.microsoft.com/office/drawing/2014/main" id="{4C7E0A7D-2472-441B-B8F0-89DA756599F4}"/>
              </a:ext>
            </a:extLst>
          </p:cNvPr>
          <p:cNvSpPr>
            <a:spLocks noGrp="1"/>
          </p:cNvSpPr>
          <p:nvPr>
            <p:ph sz="half" idx="13"/>
          </p:nvPr>
        </p:nvSpPr>
        <p:spPr>
          <a:xfrm>
            <a:off x="64915" y="640080"/>
            <a:ext cx="8164685" cy="3200400"/>
          </a:xfrm>
        </p:spPr>
        <p:txBody>
          <a:bodyPr/>
          <a:lstStyle/>
          <a:p>
            <a:r>
              <a:rPr lang="en-US" b="1" i="0" dirty="0">
                <a:solidFill>
                  <a:srgbClr val="333333"/>
                </a:solidFill>
                <a:effectLst/>
                <a:latin typeface="Verdana" panose="020B0604030504040204" pitchFamily="34" charset="0"/>
              </a:rPr>
              <a:t>Sample Point:</a:t>
            </a:r>
            <a:r>
              <a:rPr lang="en-US" b="0" i="0" dirty="0">
                <a:solidFill>
                  <a:srgbClr val="333333"/>
                </a:solidFill>
                <a:effectLst/>
                <a:latin typeface="Verdana" panose="020B0604030504040204" pitchFamily="34" charset="0"/>
              </a:rPr>
              <a:t> just one of the possible outcomes</a:t>
            </a:r>
          </a:p>
          <a:p>
            <a:endParaRPr lang="en-US" b="0" i="0" dirty="0">
              <a:solidFill>
                <a:srgbClr val="333333"/>
              </a:solidFill>
              <a:effectLst/>
              <a:latin typeface="Verdana" panose="020B0604030504040204" pitchFamily="34" charset="0"/>
            </a:endParaRPr>
          </a:p>
          <a:p>
            <a:pPr marL="0" indent="0">
              <a:buNone/>
            </a:pPr>
            <a:r>
              <a:rPr lang="en-US" b="1" dirty="0">
                <a:solidFill>
                  <a:srgbClr val="333333"/>
                </a:solidFill>
                <a:latin typeface="Verdana" panose="020B0604030504040204" pitchFamily="34" charset="0"/>
              </a:rPr>
              <a:t>Ex : Deck of Cards</a:t>
            </a:r>
          </a:p>
          <a:p>
            <a:pPr lvl="1">
              <a:buFont typeface="Arial" panose="020B0604020202020204" pitchFamily="34" charset="0"/>
              <a:buChar char="•"/>
            </a:pPr>
            <a:r>
              <a:rPr lang="en-US" sz="1400" dirty="0">
                <a:solidFill>
                  <a:srgbClr val="333333"/>
                </a:solidFill>
                <a:latin typeface="Verdana" panose="020B0604030504040204" pitchFamily="34" charset="0"/>
              </a:rPr>
              <a:t>the 5 of Clubs is a sample point</a:t>
            </a:r>
          </a:p>
          <a:p>
            <a:pPr lvl="1">
              <a:buFont typeface="Arial" panose="020B0604020202020204" pitchFamily="34" charset="0"/>
              <a:buChar char="•"/>
            </a:pPr>
            <a:r>
              <a:rPr lang="en-US" sz="1400" dirty="0">
                <a:solidFill>
                  <a:srgbClr val="333333"/>
                </a:solidFill>
                <a:latin typeface="Verdana" panose="020B0604030504040204" pitchFamily="34" charset="0"/>
              </a:rPr>
              <a:t>the King of Hearts is a sample point</a:t>
            </a:r>
          </a:p>
          <a:p>
            <a:pPr lvl="1">
              <a:buFont typeface="Arial" panose="020B0604020202020204" pitchFamily="34" charset="0"/>
              <a:buChar char="•"/>
            </a:pPr>
            <a:r>
              <a:rPr lang="en-US" dirty="0">
                <a:solidFill>
                  <a:srgbClr val="333333"/>
                </a:solidFill>
                <a:latin typeface="Verdana" panose="020B0604030504040204" pitchFamily="34" charset="0"/>
              </a:rPr>
              <a:t>"King" is not a sample point. There are 4 Kings, so that is 4 different sample points.3</a:t>
            </a:r>
          </a:p>
          <a:p>
            <a:pPr marL="0" indent="0" algn="l">
              <a:buNone/>
            </a:pPr>
            <a:endParaRPr lang="en-US" dirty="0">
              <a:solidFill>
                <a:srgbClr val="333333"/>
              </a:solidFill>
              <a:latin typeface="Verdana" panose="020B0604030504040204" pitchFamily="34" charset="0"/>
            </a:endParaRPr>
          </a:p>
          <a:p>
            <a:pPr marL="0" indent="0">
              <a:buNone/>
            </a:pPr>
            <a:r>
              <a:rPr lang="en-US" b="1" dirty="0">
                <a:solidFill>
                  <a:srgbClr val="333333"/>
                </a:solidFill>
                <a:latin typeface="Verdana" panose="020B0604030504040204" pitchFamily="34" charset="0"/>
              </a:rPr>
              <a:t>Ex : Throwing a dice</a:t>
            </a:r>
          </a:p>
          <a:p>
            <a:pPr marL="0" indent="0">
              <a:buNone/>
            </a:pPr>
            <a:r>
              <a:rPr lang="en-US" dirty="0">
                <a:solidFill>
                  <a:srgbClr val="333333"/>
                </a:solidFill>
                <a:latin typeface="Verdana" panose="020B0604030504040204" pitchFamily="34" charset="0"/>
              </a:rPr>
              <a:t>There are 6 different sample points in the sample space.</a:t>
            </a:r>
          </a:p>
        </p:txBody>
      </p:sp>
      <p:pic>
        <p:nvPicPr>
          <p:cNvPr id="5" name="Picture 4">
            <a:extLst>
              <a:ext uri="{FF2B5EF4-FFF2-40B4-BE49-F238E27FC236}">
                <a16:creationId xmlns:a16="http://schemas.microsoft.com/office/drawing/2014/main" id="{590E487C-0915-4FFC-8400-CE05A8362E94}"/>
              </a:ext>
            </a:extLst>
          </p:cNvPr>
          <p:cNvPicPr>
            <a:picLocks noChangeAspect="1"/>
          </p:cNvPicPr>
          <p:nvPr/>
        </p:nvPicPr>
        <p:blipFill>
          <a:blip r:embed="rId2"/>
          <a:stretch>
            <a:fillRect/>
          </a:stretch>
        </p:blipFill>
        <p:spPr>
          <a:xfrm>
            <a:off x="2805621" y="3666527"/>
            <a:ext cx="2338752" cy="1143644"/>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A9C5E732-44FD-4C48-ACE9-EA5BE7B851F8}"/>
                  </a:ext>
                </a:extLst>
              </p14:cNvPr>
              <p14:cNvContentPartPr/>
              <p14:nvPr/>
            </p14:nvContentPartPr>
            <p14:xfrm>
              <a:off x="938160" y="219240"/>
              <a:ext cx="6825240" cy="4638960"/>
            </p14:xfrm>
          </p:contentPart>
        </mc:Choice>
        <mc:Fallback>
          <p:pic>
            <p:nvPicPr>
              <p:cNvPr id="4" name="Ink 3">
                <a:extLst>
                  <a:ext uri="{FF2B5EF4-FFF2-40B4-BE49-F238E27FC236}">
                    <a16:creationId xmlns:a16="http://schemas.microsoft.com/office/drawing/2014/main" id="{A9C5E732-44FD-4C48-ACE9-EA5BE7B851F8}"/>
                  </a:ext>
                </a:extLst>
              </p:cNvPr>
              <p:cNvPicPr/>
              <p:nvPr/>
            </p:nvPicPr>
            <p:blipFill>
              <a:blip r:embed="rId4"/>
              <a:stretch>
                <a:fillRect/>
              </a:stretch>
            </p:blipFill>
            <p:spPr>
              <a:xfrm>
                <a:off x="928800" y="209880"/>
                <a:ext cx="6843960" cy="4657680"/>
              </a:xfrm>
              <a:prstGeom prst="rect">
                <a:avLst/>
              </a:prstGeom>
            </p:spPr>
          </p:pic>
        </mc:Fallback>
      </mc:AlternateContent>
    </p:spTree>
    <p:extLst>
      <p:ext uri="{BB962C8B-B14F-4D97-AF65-F5344CB8AC3E}">
        <p14:creationId xmlns:p14="http://schemas.microsoft.com/office/powerpoint/2010/main" val="1035050059"/>
      </p:ext>
    </p:extLst>
  </p:cSld>
  <p:clrMapOvr>
    <a:masterClrMapping/>
  </p:clrMapOvr>
  <p:transition spd="med">
    <p:wipe dir="r"/>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8D5C09-F52C-461C-B60C-A89B0B1C7754}"/>
              </a:ext>
            </a:extLst>
          </p:cNvPr>
          <p:cNvSpPr>
            <a:spLocks noGrp="1"/>
          </p:cNvSpPr>
          <p:nvPr>
            <p:ph type="title"/>
          </p:nvPr>
        </p:nvSpPr>
        <p:spPr>
          <a:xfrm>
            <a:off x="0" y="0"/>
            <a:ext cx="4295219" cy="640080"/>
          </a:xfrm>
        </p:spPr>
        <p:txBody>
          <a:bodyPr/>
          <a:lstStyle/>
          <a:p>
            <a:r>
              <a:rPr lang="en-US" dirty="0"/>
              <a:t>Probability - Words</a:t>
            </a:r>
          </a:p>
        </p:txBody>
      </p:sp>
      <p:sp>
        <p:nvSpPr>
          <p:cNvPr id="3" name="Content Placeholder 2">
            <a:extLst>
              <a:ext uri="{FF2B5EF4-FFF2-40B4-BE49-F238E27FC236}">
                <a16:creationId xmlns:a16="http://schemas.microsoft.com/office/drawing/2014/main" id="{A6526305-67A1-4B4D-8A20-D0804E209C5F}"/>
              </a:ext>
            </a:extLst>
          </p:cNvPr>
          <p:cNvSpPr>
            <a:spLocks noGrp="1"/>
          </p:cNvSpPr>
          <p:nvPr>
            <p:ph sz="half" idx="13"/>
          </p:nvPr>
        </p:nvSpPr>
        <p:spPr>
          <a:xfrm>
            <a:off x="137160" y="798529"/>
            <a:ext cx="8869680" cy="3200400"/>
          </a:xfrm>
        </p:spPr>
        <p:txBody>
          <a:bodyPr>
            <a:normAutofit/>
          </a:bodyPr>
          <a:lstStyle/>
          <a:p>
            <a:r>
              <a:rPr lang="en-US" b="1" i="0" dirty="0">
                <a:solidFill>
                  <a:srgbClr val="333333"/>
                </a:solidFill>
                <a:effectLst/>
                <a:latin typeface="Verdana" panose="020B0604030504040204" pitchFamily="34" charset="0"/>
              </a:rPr>
              <a:t>Event:</a:t>
            </a:r>
            <a:r>
              <a:rPr lang="en-US" b="0" i="0" dirty="0">
                <a:solidFill>
                  <a:srgbClr val="333333"/>
                </a:solidFill>
                <a:effectLst/>
                <a:latin typeface="Verdana" panose="020B0604030504040204" pitchFamily="34" charset="0"/>
              </a:rPr>
              <a:t> one </a:t>
            </a:r>
            <a:r>
              <a:rPr lang="en-US" b="1" i="0" dirty="0">
                <a:solidFill>
                  <a:srgbClr val="333333"/>
                </a:solidFill>
                <a:effectLst/>
                <a:latin typeface="Verdana" panose="020B0604030504040204" pitchFamily="34" charset="0"/>
              </a:rPr>
              <a:t>or more</a:t>
            </a:r>
            <a:r>
              <a:rPr lang="en-US" b="0" i="0" dirty="0">
                <a:solidFill>
                  <a:srgbClr val="333333"/>
                </a:solidFill>
                <a:effectLst/>
                <a:latin typeface="Verdana" panose="020B0604030504040204" pitchFamily="34" charset="0"/>
              </a:rPr>
              <a:t> outcomes of an experiment</a:t>
            </a:r>
          </a:p>
          <a:p>
            <a:r>
              <a:rPr lang="en-US" dirty="0"/>
              <a:t>Example Events:</a:t>
            </a:r>
          </a:p>
          <a:p>
            <a:pPr lvl="1"/>
            <a:r>
              <a:rPr lang="en-US" dirty="0"/>
              <a:t>An event can be just one outcome:</a:t>
            </a: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B39F3FA9-A004-4004-AEC0-FFDCEFD0BBCD}"/>
                  </a:ext>
                </a:extLst>
              </p14:cNvPr>
              <p14:cNvContentPartPr/>
              <p14:nvPr/>
            </p14:nvContentPartPr>
            <p14:xfrm>
              <a:off x="1014480" y="938160"/>
              <a:ext cx="8125200" cy="3819960"/>
            </p14:xfrm>
          </p:contentPart>
        </mc:Choice>
        <mc:Fallback>
          <p:pic>
            <p:nvPicPr>
              <p:cNvPr id="4" name="Ink 3">
                <a:extLst>
                  <a:ext uri="{FF2B5EF4-FFF2-40B4-BE49-F238E27FC236}">
                    <a16:creationId xmlns:a16="http://schemas.microsoft.com/office/drawing/2014/main" id="{B39F3FA9-A004-4004-AEC0-FFDCEFD0BBCD}"/>
                  </a:ext>
                </a:extLst>
              </p:cNvPr>
              <p:cNvPicPr/>
              <p:nvPr/>
            </p:nvPicPr>
            <p:blipFill>
              <a:blip r:embed="rId3"/>
              <a:stretch>
                <a:fillRect/>
              </a:stretch>
            </p:blipFill>
            <p:spPr>
              <a:xfrm>
                <a:off x="1005120" y="928800"/>
                <a:ext cx="8143920" cy="3838680"/>
              </a:xfrm>
              <a:prstGeom prst="rect">
                <a:avLst/>
              </a:prstGeom>
            </p:spPr>
          </p:pic>
        </mc:Fallback>
      </mc:AlternateContent>
    </p:spTree>
    <p:extLst>
      <p:ext uri="{BB962C8B-B14F-4D97-AF65-F5344CB8AC3E}">
        <p14:creationId xmlns:p14="http://schemas.microsoft.com/office/powerpoint/2010/main" val="3707714688"/>
      </p:ext>
    </p:extLst>
  </p:cSld>
  <p:clrMapOvr>
    <a:masterClrMapping/>
  </p:clrMapOvr>
  <p:transition spd="med">
    <p:wipe dir="r"/>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EBF548-4820-4ED8-BE4E-E946B39FF719}"/>
              </a:ext>
            </a:extLst>
          </p:cNvPr>
          <p:cNvSpPr>
            <a:spLocks noGrp="1"/>
          </p:cNvSpPr>
          <p:nvPr>
            <p:ph type="title"/>
          </p:nvPr>
        </p:nvSpPr>
        <p:spPr>
          <a:xfrm>
            <a:off x="0" y="22860"/>
            <a:ext cx="6560519" cy="640080"/>
          </a:xfrm>
        </p:spPr>
        <p:txBody>
          <a:bodyPr/>
          <a:lstStyle/>
          <a:p>
            <a:r>
              <a:rPr lang="en-US" dirty="0"/>
              <a:t>Probability – </a:t>
            </a:r>
            <a:r>
              <a:rPr lang="en-US" dirty="0">
                <a:solidFill>
                  <a:schemeClr val="bg2">
                    <a:lumMod val="50000"/>
                    <a:lumOff val="50000"/>
                  </a:schemeClr>
                </a:solidFill>
              </a:rPr>
              <a:t>Let’s use the words</a:t>
            </a:r>
          </a:p>
        </p:txBody>
      </p:sp>
      <p:sp>
        <p:nvSpPr>
          <p:cNvPr id="3" name="Content Placeholder 2">
            <a:extLst>
              <a:ext uri="{FF2B5EF4-FFF2-40B4-BE49-F238E27FC236}">
                <a16:creationId xmlns:a16="http://schemas.microsoft.com/office/drawing/2014/main" id="{C2052F85-B5EB-40E8-BC7B-31955E33B4C8}"/>
              </a:ext>
            </a:extLst>
          </p:cNvPr>
          <p:cNvSpPr>
            <a:spLocks noGrp="1"/>
          </p:cNvSpPr>
          <p:nvPr>
            <p:ph sz="half" idx="13"/>
          </p:nvPr>
        </p:nvSpPr>
        <p:spPr>
          <a:xfrm>
            <a:off x="64915" y="826450"/>
            <a:ext cx="8590474" cy="1058191"/>
          </a:xfrm>
        </p:spPr>
        <p:txBody>
          <a:bodyPr/>
          <a:lstStyle/>
          <a:p>
            <a:r>
              <a:rPr lang="en-US" b="0" i="0" dirty="0">
                <a:solidFill>
                  <a:srgbClr val="333333"/>
                </a:solidFill>
                <a:effectLst/>
                <a:latin typeface="Verdana" panose="020B0604030504040204" pitchFamily="34" charset="0"/>
              </a:rPr>
              <a:t>Example: Alex wants to see how many times a "double" comes up when throwing 2 dice.</a:t>
            </a:r>
          </a:p>
          <a:p>
            <a:pPr algn="l"/>
            <a:r>
              <a:rPr lang="en-US" b="0" i="0" dirty="0">
                <a:solidFill>
                  <a:srgbClr val="333333"/>
                </a:solidFill>
                <a:effectLst/>
                <a:latin typeface="Verdana" panose="020B0604030504040204" pitchFamily="34" charset="0"/>
              </a:rPr>
              <a:t>The </a:t>
            </a:r>
            <a:r>
              <a:rPr lang="en-US" b="1" i="0" dirty="0">
                <a:solidFill>
                  <a:srgbClr val="333333"/>
                </a:solidFill>
                <a:effectLst/>
                <a:latin typeface="Verdana" panose="020B0604030504040204" pitchFamily="34" charset="0"/>
              </a:rPr>
              <a:t>Sample Space</a:t>
            </a:r>
            <a:r>
              <a:rPr lang="en-US" b="0" i="0" dirty="0">
                <a:solidFill>
                  <a:srgbClr val="333333"/>
                </a:solidFill>
                <a:effectLst/>
                <a:latin typeface="Verdana" panose="020B0604030504040204" pitchFamily="34" charset="0"/>
              </a:rPr>
              <a:t> is all possible </a:t>
            </a:r>
            <a:r>
              <a:rPr lang="en-US" b="1" i="0" dirty="0">
                <a:solidFill>
                  <a:srgbClr val="333333"/>
                </a:solidFill>
                <a:effectLst/>
                <a:latin typeface="Verdana" panose="020B0604030504040204" pitchFamily="34" charset="0"/>
              </a:rPr>
              <a:t>Outcomes</a:t>
            </a:r>
            <a:r>
              <a:rPr lang="en-US" b="0" i="0" dirty="0">
                <a:solidFill>
                  <a:srgbClr val="333333"/>
                </a:solidFill>
                <a:effectLst/>
                <a:latin typeface="Verdana" panose="020B0604030504040204" pitchFamily="34" charset="0"/>
              </a:rPr>
              <a:t> (36 Sample Points):</a:t>
            </a:r>
          </a:p>
          <a:p>
            <a:pPr algn="ctr"/>
            <a:r>
              <a:rPr lang="en-US" b="0" i="0" dirty="0">
                <a:solidFill>
                  <a:srgbClr val="333333"/>
                </a:solidFill>
                <a:effectLst/>
                <a:latin typeface="Verdana" panose="020B0604030504040204" pitchFamily="34" charset="0"/>
              </a:rPr>
              <a:t>{1,1} {1,2} {1,3} {1,4} ... {6,3} {6,4} {6,5} {6,6}</a:t>
            </a:r>
          </a:p>
          <a:p>
            <a:pPr marL="0" indent="0" algn="ctr">
              <a:buNone/>
            </a:pPr>
            <a:endParaRPr lang="en-US" dirty="0">
              <a:solidFill>
                <a:srgbClr val="333333"/>
              </a:solidFill>
              <a:latin typeface="Verdana" panose="020B0604030504040204" pitchFamily="34" charset="0"/>
            </a:endParaRPr>
          </a:p>
          <a:p>
            <a:pPr algn="ctr"/>
            <a:endParaRPr lang="en-US" b="0" i="0" dirty="0">
              <a:solidFill>
                <a:srgbClr val="333333"/>
              </a:solidFill>
              <a:effectLst/>
              <a:latin typeface="Verdana" panose="020B0604030504040204" pitchFamily="34" charset="0"/>
            </a:endParaRPr>
          </a:p>
          <a:p>
            <a:pPr algn="ctr"/>
            <a:endParaRPr lang="en-US" b="0" i="0" dirty="0">
              <a:solidFill>
                <a:srgbClr val="333333"/>
              </a:solidFill>
              <a:effectLst/>
              <a:latin typeface="Verdana" panose="020B0604030504040204" pitchFamily="34" charset="0"/>
            </a:endParaRPr>
          </a:p>
          <a:p>
            <a:endParaRPr lang="en-US" dirty="0"/>
          </a:p>
        </p:txBody>
      </p:sp>
      <p:pic>
        <p:nvPicPr>
          <p:cNvPr id="7" name="Picture 6">
            <a:extLst>
              <a:ext uri="{FF2B5EF4-FFF2-40B4-BE49-F238E27FC236}">
                <a16:creationId xmlns:a16="http://schemas.microsoft.com/office/drawing/2014/main" id="{010950B7-163A-4CF8-9365-717E34D03FB2}"/>
              </a:ext>
            </a:extLst>
          </p:cNvPr>
          <p:cNvPicPr>
            <a:picLocks noChangeAspect="1"/>
          </p:cNvPicPr>
          <p:nvPr/>
        </p:nvPicPr>
        <p:blipFill>
          <a:blip r:embed="rId2"/>
          <a:stretch>
            <a:fillRect/>
          </a:stretch>
        </p:blipFill>
        <p:spPr>
          <a:xfrm>
            <a:off x="6372551" y="1947324"/>
            <a:ext cx="2638825" cy="1561475"/>
          </a:xfrm>
          <a:prstGeom prst="rect">
            <a:avLst/>
          </a:prstGeom>
        </p:spPr>
      </p:pic>
      <p:sp>
        <p:nvSpPr>
          <p:cNvPr id="8" name="TextBox 7">
            <a:extLst>
              <a:ext uri="{FF2B5EF4-FFF2-40B4-BE49-F238E27FC236}">
                <a16:creationId xmlns:a16="http://schemas.microsoft.com/office/drawing/2014/main" id="{593CF9C8-9783-4446-A95B-D1798AE0AA9D}"/>
              </a:ext>
            </a:extLst>
          </p:cNvPr>
          <p:cNvSpPr txBox="1"/>
          <p:nvPr/>
        </p:nvSpPr>
        <p:spPr>
          <a:xfrm>
            <a:off x="104702" y="2038205"/>
            <a:ext cx="6170455" cy="892552"/>
          </a:xfrm>
          <a:prstGeom prst="rect">
            <a:avLst/>
          </a:prstGeom>
          <a:noFill/>
        </p:spPr>
        <p:txBody>
          <a:bodyPr wrap="square" rtlCol="0">
            <a:spAutoFit/>
          </a:bodyPr>
          <a:lstStyle/>
          <a:p>
            <a:pPr marL="228600" indent="-228600">
              <a:spcBef>
                <a:spcPts val="1200"/>
              </a:spcBef>
              <a:spcAft>
                <a:spcPts val="0"/>
              </a:spcAft>
              <a:buClr>
                <a:srgbClr val="AAAAAA"/>
              </a:buClr>
              <a:buFont typeface="Arial" pitchFamily="34" charset="0"/>
              <a:buChar char="•"/>
            </a:pPr>
            <a:r>
              <a:rPr lang="en-US" sz="1400" dirty="0">
                <a:solidFill>
                  <a:srgbClr val="333333"/>
                </a:solidFill>
                <a:latin typeface="Verdana" panose="020B0604030504040204" pitchFamily="34" charset="0"/>
                <a:cs typeface="Arial" panose="020B0604020202020204" pitchFamily="34" charset="0"/>
              </a:rPr>
              <a:t>The Event Alex is looking for is a "double", where both dice have the same number. It is made up of these 6 Sample Points:</a:t>
            </a:r>
          </a:p>
          <a:p>
            <a:pPr marL="1600200" lvl="3" indent="-228600">
              <a:spcBef>
                <a:spcPts val="1200"/>
              </a:spcBef>
              <a:spcAft>
                <a:spcPts val="0"/>
              </a:spcAft>
              <a:buClr>
                <a:srgbClr val="AAAAAA"/>
              </a:buClr>
              <a:buFont typeface="Arial" pitchFamily="34" charset="0"/>
              <a:buChar char="•"/>
            </a:pPr>
            <a:r>
              <a:rPr lang="en-US" sz="1400" dirty="0">
                <a:solidFill>
                  <a:srgbClr val="333333"/>
                </a:solidFill>
                <a:latin typeface="Verdana" panose="020B0604030504040204" pitchFamily="34" charset="0"/>
                <a:cs typeface="Arial" panose="020B0604020202020204" pitchFamily="34" charset="0"/>
              </a:rPr>
              <a:t>{1,1} {2,2} {3,3} {4,4} {5,5} and {6,6}</a:t>
            </a:r>
          </a:p>
        </p:txBody>
      </p:sp>
      <p:pic>
        <p:nvPicPr>
          <p:cNvPr id="10" name="Picture 9">
            <a:extLst>
              <a:ext uri="{FF2B5EF4-FFF2-40B4-BE49-F238E27FC236}">
                <a16:creationId xmlns:a16="http://schemas.microsoft.com/office/drawing/2014/main" id="{D27E8F84-1492-48D3-A72C-C55AB9766896}"/>
              </a:ext>
            </a:extLst>
          </p:cNvPr>
          <p:cNvPicPr>
            <a:picLocks noChangeAspect="1"/>
          </p:cNvPicPr>
          <p:nvPr/>
        </p:nvPicPr>
        <p:blipFill>
          <a:blip r:embed="rId3"/>
          <a:stretch>
            <a:fillRect/>
          </a:stretch>
        </p:blipFill>
        <p:spPr>
          <a:xfrm>
            <a:off x="3280818" y="3154478"/>
            <a:ext cx="1842614" cy="1923906"/>
          </a:xfrm>
          <a:prstGeom prst="rect">
            <a:avLst/>
          </a:prstGeom>
        </p:spPr>
      </p:pic>
      <p:sp>
        <p:nvSpPr>
          <p:cNvPr id="11" name="TextBox 10">
            <a:extLst>
              <a:ext uri="{FF2B5EF4-FFF2-40B4-BE49-F238E27FC236}">
                <a16:creationId xmlns:a16="http://schemas.microsoft.com/office/drawing/2014/main" id="{4997F32A-66F2-4762-AF10-F27AF77B4AF8}"/>
              </a:ext>
            </a:extLst>
          </p:cNvPr>
          <p:cNvSpPr txBox="1"/>
          <p:nvPr/>
        </p:nvSpPr>
        <p:spPr>
          <a:xfrm>
            <a:off x="132624" y="3441215"/>
            <a:ext cx="2554735"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hese are the results: </a:t>
            </a:r>
          </a:p>
        </p:txBody>
      </p:sp>
      <mc:AlternateContent xmlns:mc="http://schemas.openxmlformats.org/markup-compatibility/2006">
        <mc:Choice xmlns:p14="http://schemas.microsoft.com/office/powerpoint/2010/main" Requires="p14">
          <p:contentPart p14:bwMode="auto" r:id="rId4">
            <p14:nvContentPartPr>
              <p14:cNvPr id="4" name="Ink 3">
                <a:extLst>
                  <a:ext uri="{FF2B5EF4-FFF2-40B4-BE49-F238E27FC236}">
                    <a16:creationId xmlns:a16="http://schemas.microsoft.com/office/drawing/2014/main" id="{B1078C38-343C-41C9-A99A-9DDCA546A9C3}"/>
                  </a:ext>
                </a:extLst>
              </p14:cNvPr>
              <p14:cNvContentPartPr/>
              <p14:nvPr/>
            </p14:nvContentPartPr>
            <p14:xfrm>
              <a:off x="871560" y="262080"/>
              <a:ext cx="8268120" cy="4591440"/>
            </p14:xfrm>
          </p:contentPart>
        </mc:Choice>
        <mc:Fallback>
          <p:pic>
            <p:nvPicPr>
              <p:cNvPr id="4" name="Ink 3">
                <a:extLst>
                  <a:ext uri="{FF2B5EF4-FFF2-40B4-BE49-F238E27FC236}">
                    <a16:creationId xmlns:a16="http://schemas.microsoft.com/office/drawing/2014/main" id="{B1078C38-343C-41C9-A99A-9DDCA546A9C3}"/>
                  </a:ext>
                </a:extLst>
              </p:cNvPr>
              <p:cNvPicPr/>
              <p:nvPr/>
            </p:nvPicPr>
            <p:blipFill>
              <a:blip r:embed="rId5"/>
              <a:stretch>
                <a:fillRect/>
              </a:stretch>
            </p:blipFill>
            <p:spPr>
              <a:xfrm>
                <a:off x="862200" y="252720"/>
                <a:ext cx="8286840" cy="4610160"/>
              </a:xfrm>
              <a:prstGeom prst="rect">
                <a:avLst/>
              </a:prstGeom>
            </p:spPr>
          </p:pic>
        </mc:Fallback>
      </mc:AlternateContent>
    </p:spTree>
    <p:extLst>
      <p:ext uri="{BB962C8B-B14F-4D97-AF65-F5344CB8AC3E}">
        <p14:creationId xmlns:p14="http://schemas.microsoft.com/office/powerpoint/2010/main" val="1334183108"/>
      </p:ext>
    </p:extLst>
  </p:cSld>
  <p:clrMapOvr>
    <a:masterClrMapping/>
  </p:clrMapOvr>
  <p:transition spd="med">
    <p:wipe dir="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A5C4F0-02D4-4D34-9B21-249283527E45}"/>
              </a:ext>
            </a:extLst>
          </p:cNvPr>
          <p:cNvSpPr>
            <a:spLocks noGrp="1"/>
          </p:cNvSpPr>
          <p:nvPr>
            <p:ph type="title"/>
          </p:nvPr>
        </p:nvSpPr>
        <p:spPr>
          <a:xfrm>
            <a:off x="0" y="22860"/>
            <a:ext cx="7955280" cy="640080"/>
          </a:xfrm>
        </p:spPr>
        <p:txBody>
          <a:bodyPr/>
          <a:lstStyle/>
          <a:p>
            <a:r>
              <a:rPr lang="en-US" b="1" dirty="0">
                <a:solidFill>
                  <a:schemeClr val="accent1"/>
                </a:solidFill>
              </a:rPr>
              <a:t>Bias in sampling :</a:t>
            </a:r>
            <a:br>
              <a:rPr lang="en-US" b="1" dirty="0">
                <a:solidFill>
                  <a:schemeClr val="accent1"/>
                </a:solidFill>
              </a:rPr>
            </a:br>
            <a:endParaRPr lang="en-US" dirty="0"/>
          </a:p>
        </p:txBody>
      </p:sp>
      <p:sp>
        <p:nvSpPr>
          <p:cNvPr id="3" name="Content Placeholder 2">
            <a:extLst>
              <a:ext uri="{FF2B5EF4-FFF2-40B4-BE49-F238E27FC236}">
                <a16:creationId xmlns:a16="http://schemas.microsoft.com/office/drawing/2014/main" id="{AC6D725B-4977-4966-9898-81C64E843334}"/>
              </a:ext>
            </a:extLst>
          </p:cNvPr>
          <p:cNvSpPr>
            <a:spLocks noGrp="1"/>
          </p:cNvSpPr>
          <p:nvPr>
            <p:ph sz="half" idx="1"/>
          </p:nvPr>
        </p:nvSpPr>
        <p:spPr>
          <a:xfrm>
            <a:off x="30893" y="523337"/>
            <a:ext cx="8603555" cy="4096826"/>
          </a:xfrm>
        </p:spPr>
        <p:txBody>
          <a:bodyPr>
            <a:normAutofit/>
          </a:bodyPr>
          <a:lstStyle/>
          <a:p>
            <a:pPr marL="0" indent="0">
              <a:buNone/>
            </a:pPr>
            <a:r>
              <a:rPr lang="en-US" sz="1200" dirty="0">
                <a:solidFill>
                  <a:schemeClr val="bg2">
                    <a:lumMod val="50000"/>
                    <a:lumOff val="50000"/>
                  </a:schemeClr>
                </a:solidFill>
              </a:rPr>
              <a:t>There are five important potential sources of bias that should be considered when selecting a sample, irrespective of the method used. Sampling bias may be introduced when:</a:t>
            </a:r>
          </a:p>
          <a:p>
            <a:r>
              <a:rPr lang="en-US" sz="1200" dirty="0">
                <a:solidFill>
                  <a:schemeClr val="bg2">
                    <a:lumMod val="50000"/>
                    <a:lumOff val="50000"/>
                  </a:schemeClr>
                </a:solidFill>
              </a:rPr>
              <a:t>Any pre-agreed sampling rules are deviated from</a:t>
            </a:r>
          </a:p>
          <a:p>
            <a:r>
              <a:rPr lang="en-US" sz="1200" dirty="0">
                <a:solidFill>
                  <a:schemeClr val="bg2">
                    <a:lumMod val="50000"/>
                    <a:lumOff val="50000"/>
                  </a:schemeClr>
                </a:solidFill>
              </a:rPr>
              <a:t>People in hard-to-reach groups are omitted</a:t>
            </a:r>
          </a:p>
          <a:p>
            <a:r>
              <a:rPr lang="en-US" sz="1200" dirty="0">
                <a:solidFill>
                  <a:schemeClr val="bg2">
                    <a:lumMod val="50000"/>
                    <a:lumOff val="50000"/>
                  </a:schemeClr>
                </a:solidFill>
              </a:rPr>
              <a:t>Selected individuals are replaced with others, for example if they are difficult to contact</a:t>
            </a:r>
          </a:p>
          <a:p>
            <a:r>
              <a:rPr lang="en-US" sz="1200" dirty="0">
                <a:solidFill>
                  <a:schemeClr val="bg2">
                    <a:lumMod val="50000"/>
                    <a:lumOff val="50000"/>
                  </a:schemeClr>
                </a:solidFill>
              </a:rPr>
              <a:t>There are low response rates</a:t>
            </a:r>
          </a:p>
          <a:p>
            <a:r>
              <a:rPr lang="en-US" sz="1200" dirty="0">
                <a:solidFill>
                  <a:schemeClr val="bg2">
                    <a:lumMod val="50000"/>
                    <a:lumOff val="50000"/>
                  </a:schemeClr>
                </a:solidFill>
              </a:rPr>
              <a:t>An out-of-date list is used as the sample frame (for example, if it excludes people who have recently moved to an area)</a:t>
            </a:r>
          </a:p>
          <a:p>
            <a:pPr marL="0" indent="0">
              <a:buNone/>
            </a:pPr>
            <a:endParaRPr lang="en-US" sz="1200" dirty="0">
              <a:solidFill>
                <a:schemeClr val="bg2">
                  <a:lumMod val="50000"/>
                  <a:lumOff val="50000"/>
                </a:schemeClr>
              </a:solidFill>
            </a:endParaRPr>
          </a:p>
          <a:p>
            <a:pPr marL="0" indent="0">
              <a:buNone/>
            </a:pPr>
            <a:r>
              <a:rPr lang="en-US" sz="2000" b="1" dirty="0">
                <a:solidFill>
                  <a:schemeClr val="accent1"/>
                </a:solidFill>
              </a:rPr>
              <a:t>Types of Sampling : </a:t>
            </a:r>
          </a:p>
          <a:p>
            <a:pPr marL="0" indent="0">
              <a:buNone/>
            </a:pPr>
            <a:r>
              <a:rPr lang="en-US" sz="1200" b="1" dirty="0">
                <a:solidFill>
                  <a:schemeClr val="accent1"/>
                </a:solidFill>
              </a:rPr>
              <a:t>Probability sampling </a:t>
            </a:r>
            <a:r>
              <a:rPr lang="en-US" sz="1200" dirty="0">
                <a:solidFill>
                  <a:schemeClr val="bg2">
                    <a:lumMod val="50000"/>
                    <a:lumOff val="50000"/>
                  </a:schemeClr>
                </a:solidFill>
              </a:rPr>
              <a:t>involves random selection, allowing you to make strong statistical inferences about the whole group.</a:t>
            </a:r>
          </a:p>
          <a:p>
            <a:pPr marL="0" indent="0">
              <a:buNone/>
            </a:pPr>
            <a:r>
              <a:rPr lang="en-US" sz="1200" b="1" dirty="0">
                <a:solidFill>
                  <a:schemeClr val="accent1"/>
                </a:solidFill>
              </a:rPr>
              <a:t>Non-probability</a:t>
            </a:r>
            <a:r>
              <a:rPr lang="en-US" sz="1200" dirty="0">
                <a:solidFill>
                  <a:schemeClr val="bg2">
                    <a:lumMod val="50000"/>
                    <a:lumOff val="50000"/>
                  </a:schemeClr>
                </a:solidFill>
              </a:rPr>
              <a:t> sampling involves non-random selection based on convenience or other criteria, allowing you to easily collect data.</a:t>
            </a:r>
          </a:p>
          <a:p>
            <a:pPr marL="0" indent="0">
              <a:buNone/>
            </a:pPr>
            <a:endParaRPr lang="en-US" sz="1600" b="1" dirty="0">
              <a:solidFill>
                <a:schemeClr val="accent1"/>
              </a:solidFill>
            </a:endParaRPr>
          </a:p>
          <a:p>
            <a:endParaRPr lang="en-US" dirty="0"/>
          </a:p>
        </p:txBody>
      </p:sp>
    </p:spTree>
    <p:extLst>
      <p:ext uri="{BB962C8B-B14F-4D97-AF65-F5344CB8AC3E}">
        <p14:creationId xmlns:p14="http://schemas.microsoft.com/office/powerpoint/2010/main" val="3121719466"/>
      </p:ext>
    </p:extLst>
  </p:cSld>
  <p:clrMapOvr>
    <a:masterClrMapping/>
  </p:clrMapOvr>
  <p:transition spd="med">
    <p:wipe dir="r"/>
  </p:transition>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A20B3A-BFEF-46FE-BCFB-6C1E194FE7E2}"/>
              </a:ext>
            </a:extLst>
          </p:cNvPr>
          <p:cNvSpPr>
            <a:spLocks noGrp="1"/>
          </p:cNvSpPr>
          <p:nvPr>
            <p:ph type="title"/>
          </p:nvPr>
        </p:nvSpPr>
        <p:spPr>
          <a:xfrm>
            <a:off x="0" y="0"/>
            <a:ext cx="4295219" cy="640080"/>
          </a:xfrm>
        </p:spPr>
        <p:txBody>
          <a:bodyPr/>
          <a:lstStyle/>
          <a:p>
            <a:r>
              <a:rPr lang="en-US" dirty="0"/>
              <a:t>Basic Counting Principle</a:t>
            </a:r>
          </a:p>
        </p:txBody>
      </p:sp>
      <p:sp>
        <p:nvSpPr>
          <p:cNvPr id="3" name="Content Placeholder 2">
            <a:extLst>
              <a:ext uri="{FF2B5EF4-FFF2-40B4-BE49-F238E27FC236}">
                <a16:creationId xmlns:a16="http://schemas.microsoft.com/office/drawing/2014/main" id="{7E895A45-2B38-45B6-A1B0-4B6527B5A775}"/>
              </a:ext>
            </a:extLst>
          </p:cNvPr>
          <p:cNvSpPr>
            <a:spLocks noGrp="1"/>
          </p:cNvSpPr>
          <p:nvPr>
            <p:ph sz="half" idx="13"/>
          </p:nvPr>
        </p:nvSpPr>
        <p:spPr>
          <a:xfrm>
            <a:off x="97704" y="640080"/>
            <a:ext cx="8395030" cy="3200400"/>
          </a:xfrm>
        </p:spPr>
        <p:txBody>
          <a:bodyPr/>
          <a:lstStyle/>
          <a:p>
            <a:r>
              <a:rPr lang="en-US" dirty="0"/>
              <a:t>When there are </a:t>
            </a:r>
            <a:r>
              <a:rPr lang="en-US" b="1" dirty="0"/>
              <a:t>m</a:t>
            </a:r>
            <a:r>
              <a:rPr lang="en-US" dirty="0"/>
              <a:t> ways to do one thing, and </a:t>
            </a:r>
            <a:r>
              <a:rPr lang="en-US" b="1" dirty="0"/>
              <a:t>n</a:t>
            </a:r>
            <a:r>
              <a:rPr lang="en-US" dirty="0"/>
              <a:t> ways to do another, then there are </a:t>
            </a:r>
            <a:r>
              <a:rPr lang="en-US" b="1" dirty="0" err="1"/>
              <a:t>m×n</a:t>
            </a:r>
            <a:r>
              <a:rPr lang="en-US" dirty="0"/>
              <a:t> ways of doing both.</a:t>
            </a:r>
          </a:p>
          <a:p>
            <a:pPr algn="l"/>
            <a:r>
              <a:rPr lang="en-US" b="1" i="0" dirty="0">
                <a:solidFill>
                  <a:srgbClr val="333333"/>
                </a:solidFill>
                <a:effectLst/>
                <a:latin typeface="Verdana" panose="020B0604030504040204" pitchFamily="34" charset="0"/>
              </a:rPr>
              <a:t>Example: </a:t>
            </a:r>
            <a:r>
              <a:rPr lang="en-US" b="0" i="0" dirty="0">
                <a:solidFill>
                  <a:srgbClr val="333333"/>
                </a:solidFill>
                <a:effectLst/>
                <a:latin typeface="Verdana" panose="020B0604030504040204" pitchFamily="34" charset="0"/>
              </a:rPr>
              <a:t>you have </a:t>
            </a:r>
            <a:r>
              <a:rPr lang="en-US" b="1" i="0" dirty="0">
                <a:solidFill>
                  <a:srgbClr val="333333"/>
                </a:solidFill>
                <a:effectLst/>
                <a:latin typeface="Verdana" panose="020B0604030504040204" pitchFamily="34" charset="0"/>
              </a:rPr>
              <a:t>3</a:t>
            </a:r>
            <a:r>
              <a:rPr lang="en-US" b="0" i="0" dirty="0">
                <a:solidFill>
                  <a:srgbClr val="333333"/>
                </a:solidFill>
                <a:effectLst/>
                <a:latin typeface="Verdana" panose="020B0604030504040204" pitchFamily="34" charset="0"/>
              </a:rPr>
              <a:t> shirts and </a:t>
            </a:r>
            <a:r>
              <a:rPr lang="en-US" b="1" i="0" dirty="0">
                <a:solidFill>
                  <a:srgbClr val="333333"/>
                </a:solidFill>
                <a:effectLst/>
                <a:latin typeface="Verdana" panose="020B0604030504040204" pitchFamily="34" charset="0"/>
              </a:rPr>
              <a:t>4</a:t>
            </a:r>
            <a:r>
              <a:rPr lang="en-US" b="0" i="0" dirty="0">
                <a:solidFill>
                  <a:srgbClr val="333333"/>
                </a:solidFill>
                <a:effectLst/>
                <a:latin typeface="Verdana" panose="020B0604030504040204" pitchFamily="34" charset="0"/>
              </a:rPr>
              <a:t> pants.</a:t>
            </a:r>
          </a:p>
          <a:p>
            <a:pPr lvl="1"/>
            <a:r>
              <a:rPr lang="en-US" b="0" i="0" dirty="0">
                <a:solidFill>
                  <a:srgbClr val="333333"/>
                </a:solidFill>
                <a:effectLst/>
                <a:latin typeface="Verdana" panose="020B0604030504040204" pitchFamily="34" charset="0"/>
              </a:rPr>
              <a:t>That means </a:t>
            </a:r>
            <a:r>
              <a:rPr lang="en-US" b="1" i="0" dirty="0">
                <a:solidFill>
                  <a:srgbClr val="333333"/>
                </a:solidFill>
                <a:effectLst/>
                <a:latin typeface="Verdana" panose="020B0604030504040204" pitchFamily="34" charset="0"/>
              </a:rPr>
              <a:t>3×4=12</a:t>
            </a:r>
            <a:r>
              <a:rPr lang="en-US" b="0" i="0" dirty="0">
                <a:solidFill>
                  <a:srgbClr val="333333"/>
                </a:solidFill>
                <a:effectLst/>
                <a:latin typeface="Verdana" panose="020B0604030504040204" pitchFamily="34" charset="0"/>
              </a:rPr>
              <a:t> different outfits.</a:t>
            </a:r>
          </a:p>
          <a:p>
            <a:pPr marL="342900" lvl="1" indent="0">
              <a:buNone/>
            </a:pPr>
            <a:endParaRPr lang="en-US" dirty="0">
              <a:solidFill>
                <a:srgbClr val="333333"/>
              </a:solidFill>
              <a:latin typeface="Verdana" panose="020B0604030504040204" pitchFamily="34" charset="0"/>
            </a:endParaRPr>
          </a:p>
          <a:p>
            <a:pPr algn="l"/>
            <a:r>
              <a:rPr lang="en-US" b="1" i="0" dirty="0">
                <a:solidFill>
                  <a:srgbClr val="333333"/>
                </a:solidFill>
                <a:effectLst/>
                <a:latin typeface="Verdana" panose="020B0604030504040204" pitchFamily="34" charset="0"/>
              </a:rPr>
              <a:t>Example: </a:t>
            </a:r>
            <a:r>
              <a:rPr lang="en-US" b="0" i="0" dirty="0">
                <a:solidFill>
                  <a:srgbClr val="333333"/>
                </a:solidFill>
                <a:effectLst/>
                <a:latin typeface="Verdana" panose="020B0604030504040204" pitchFamily="34" charset="0"/>
              </a:rPr>
              <a:t>There are </a:t>
            </a:r>
            <a:r>
              <a:rPr lang="en-US" b="1" i="0" dirty="0">
                <a:solidFill>
                  <a:srgbClr val="333333"/>
                </a:solidFill>
                <a:effectLst/>
                <a:latin typeface="Verdana" panose="020B0604030504040204" pitchFamily="34" charset="0"/>
              </a:rPr>
              <a:t>6</a:t>
            </a:r>
            <a:r>
              <a:rPr lang="en-US" b="0" i="0" dirty="0">
                <a:solidFill>
                  <a:srgbClr val="333333"/>
                </a:solidFill>
                <a:effectLst/>
                <a:latin typeface="Verdana" panose="020B0604030504040204" pitchFamily="34" charset="0"/>
              </a:rPr>
              <a:t> flavors of ice-cream, and </a:t>
            </a:r>
            <a:r>
              <a:rPr lang="en-US" b="1" i="0" dirty="0">
                <a:solidFill>
                  <a:srgbClr val="333333"/>
                </a:solidFill>
                <a:effectLst/>
                <a:latin typeface="Verdana" panose="020B0604030504040204" pitchFamily="34" charset="0"/>
              </a:rPr>
              <a:t>3</a:t>
            </a:r>
            <a:r>
              <a:rPr lang="en-US" b="0" i="0" dirty="0">
                <a:solidFill>
                  <a:srgbClr val="333333"/>
                </a:solidFill>
                <a:effectLst/>
                <a:latin typeface="Verdana" panose="020B0604030504040204" pitchFamily="34" charset="0"/>
              </a:rPr>
              <a:t> different cones.</a:t>
            </a:r>
          </a:p>
          <a:p>
            <a:pPr lvl="1"/>
            <a:r>
              <a:rPr lang="en-US" b="0" i="0" dirty="0">
                <a:solidFill>
                  <a:srgbClr val="333333"/>
                </a:solidFill>
                <a:effectLst/>
                <a:latin typeface="Verdana" panose="020B0604030504040204" pitchFamily="34" charset="0"/>
              </a:rPr>
              <a:t>That means </a:t>
            </a:r>
            <a:r>
              <a:rPr lang="en-US" b="1" i="0" dirty="0">
                <a:solidFill>
                  <a:srgbClr val="333333"/>
                </a:solidFill>
                <a:effectLst/>
                <a:latin typeface="Verdana" panose="020B0604030504040204" pitchFamily="34" charset="0"/>
              </a:rPr>
              <a:t>6×3=18</a:t>
            </a:r>
            <a:r>
              <a:rPr lang="en-US" b="0" i="0" dirty="0">
                <a:solidFill>
                  <a:srgbClr val="333333"/>
                </a:solidFill>
                <a:effectLst/>
                <a:latin typeface="Verdana" panose="020B0604030504040204" pitchFamily="34" charset="0"/>
              </a:rPr>
              <a:t> different single-scoop ice-creams you could order.</a:t>
            </a:r>
          </a:p>
          <a:p>
            <a:pPr marL="342900" lvl="1" indent="0">
              <a:buNone/>
            </a:pPr>
            <a:endParaRPr lang="en-US" b="0" i="0" dirty="0">
              <a:solidFill>
                <a:srgbClr val="333333"/>
              </a:solidFill>
              <a:effectLst/>
              <a:latin typeface="Verdana" panose="020B0604030504040204" pitchFamily="34" charset="0"/>
            </a:endParaRPr>
          </a:p>
          <a:p>
            <a:endParaRPr lang="en-US" dirty="0"/>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6C6399C6-98E8-49F5-9668-1581B0266045}"/>
                  </a:ext>
                </a:extLst>
              </p14:cNvPr>
              <p14:cNvContentPartPr/>
              <p14:nvPr/>
            </p14:nvContentPartPr>
            <p14:xfrm>
              <a:off x="385920" y="604800"/>
              <a:ext cx="8072640" cy="3310200"/>
            </p14:xfrm>
          </p:contentPart>
        </mc:Choice>
        <mc:Fallback>
          <p:pic>
            <p:nvPicPr>
              <p:cNvPr id="4" name="Ink 3">
                <a:extLst>
                  <a:ext uri="{FF2B5EF4-FFF2-40B4-BE49-F238E27FC236}">
                    <a16:creationId xmlns:a16="http://schemas.microsoft.com/office/drawing/2014/main" id="{6C6399C6-98E8-49F5-9668-1581B0266045}"/>
                  </a:ext>
                </a:extLst>
              </p:cNvPr>
              <p:cNvPicPr/>
              <p:nvPr/>
            </p:nvPicPr>
            <p:blipFill>
              <a:blip r:embed="rId3"/>
              <a:stretch>
                <a:fillRect/>
              </a:stretch>
            </p:blipFill>
            <p:spPr>
              <a:xfrm>
                <a:off x="376560" y="595440"/>
                <a:ext cx="8091360" cy="3328920"/>
              </a:xfrm>
              <a:prstGeom prst="rect">
                <a:avLst/>
              </a:prstGeom>
            </p:spPr>
          </p:pic>
        </mc:Fallback>
      </mc:AlternateContent>
    </p:spTree>
    <p:extLst>
      <p:ext uri="{BB962C8B-B14F-4D97-AF65-F5344CB8AC3E}">
        <p14:creationId xmlns:p14="http://schemas.microsoft.com/office/powerpoint/2010/main" val="1347032845"/>
      </p:ext>
    </p:extLst>
  </p:cSld>
  <p:clrMapOvr>
    <a:masterClrMapping/>
  </p:clrMapOvr>
  <p:transition spd="med">
    <p:wipe dir="r"/>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14532B-185A-4357-BE52-28EBAB6F3121}"/>
              </a:ext>
            </a:extLst>
          </p:cNvPr>
          <p:cNvSpPr>
            <a:spLocks noGrp="1"/>
          </p:cNvSpPr>
          <p:nvPr>
            <p:ph type="title"/>
          </p:nvPr>
        </p:nvSpPr>
        <p:spPr>
          <a:xfrm>
            <a:off x="0" y="0"/>
            <a:ext cx="4295219" cy="640080"/>
          </a:xfrm>
        </p:spPr>
        <p:txBody>
          <a:bodyPr/>
          <a:lstStyle/>
          <a:p>
            <a:r>
              <a:rPr lang="en-US" dirty="0"/>
              <a:t>Basic Counting Principle</a:t>
            </a:r>
          </a:p>
        </p:txBody>
      </p:sp>
      <p:sp>
        <p:nvSpPr>
          <p:cNvPr id="3" name="Content Placeholder 2">
            <a:extLst>
              <a:ext uri="{FF2B5EF4-FFF2-40B4-BE49-F238E27FC236}">
                <a16:creationId xmlns:a16="http://schemas.microsoft.com/office/drawing/2014/main" id="{7FE24EE5-9E37-494F-9C2B-DFF91D177E34}"/>
              </a:ext>
            </a:extLst>
          </p:cNvPr>
          <p:cNvSpPr>
            <a:spLocks noGrp="1"/>
          </p:cNvSpPr>
          <p:nvPr>
            <p:ph sz="half" idx="13"/>
          </p:nvPr>
        </p:nvSpPr>
        <p:spPr>
          <a:xfrm>
            <a:off x="0" y="640080"/>
            <a:ext cx="9483933" cy="3200400"/>
          </a:xfrm>
        </p:spPr>
        <p:txBody>
          <a:bodyPr/>
          <a:lstStyle/>
          <a:p>
            <a:r>
              <a:rPr lang="en-US" b="0" i="0" dirty="0">
                <a:solidFill>
                  <a:srgbClr val="333333"/>
                </a:solidFill>
                <a:effectLst/>
                <a:latin typeface="Verdana" panose="020B0604030504040204" pitchFamily="34" charset="0"/>
              </a:rPr>
              <a:t>It also works when you have more than 2 choices:</a:t>
            </a:r>
          </a:p>
          <a:p>
            <a:r>
              <a:rPr lang="en-US" b="0" i="0" dirty="0">
                <a:solidFill>
                  <a:srgbClr val="333333"/>
                </a:solidFill>
                <a:effectLst/>
                <a:latin typeface="Verdana" panose="020B0604030504040204" pitchFamily="34" charset="0"/>
              </a:rPr>
              <a:t>Example: You are buying a new car.</a:t>
            </a:r>
          </a:p>
          <a:p>
            <a:pPr lvl="1"/>
            <a:r>
              <a:rPr lang="en-US" dirty="0">
                <a:solidFill>
                  <a:srgbClr val="333333"/>
                </a:solidFill>
                <a:latin typeface="Verdana" panose="020B0604030504040204" pitchFamily="34" charset="0"/>
              </a:rPr>
              <a:t>There are 2 body styles</a:t>
            </a:r>
          </a:p>
          <a:p>
            <a:pPr lvl="1"/>
            <a:r>
              <a:rPr lang="en-US" b="0" i="0" dirty="0">
                <a:solidFill>
                  <a:srgbClr val="333333"/>
                </a:solidFill>
                <a:effectLst/>
                <a:latin typeface="Verdana" panose="020B0604030504040204" pitchFamily="34" charset="0"/>
              </a:rPr>
              <a:t>There are 5 colors available</a:t>
            </a:r>
          </a:p>
          <a:p>
            <a:pPr lvl="1"/>
            <a:r>
              <a:rPr lang="en-US" dirty="0">
                <a:solidFill>
                  <a:srgbClr val="333333"/>
                </a:solidFill>
                <a:latin typeface="Verdana" panose="020B0604030504040204" pitchFamily="34" charset="0"/>
              </a:rPr>
              <a:t>There are 3 models : </a:t>
            </a:r>
          </a:p>
          <a:p>
            <a:pPr lvl="2"/>
            <a:r>
              <a:rPr lang="en-US" b="0" i="0" dirty="0">
                <a:solidFill>
                  <a:srgbClr val="333333"/>
                </a:solidFill>
                <a:effectLst/>
                <a:latin typeface="Verdana" panose="020B0604030504040204" pitchFamily="34" charset="0"/>
              </a:rPr>
              <a:t>GL (standard model),</a:t>
            </a:r>
          </a:p>
          <a:p>
            <a:pPr lvl="2"/>
            <a:r>
              <a:rPr lang="en-US" b="0" i="0" dirty="0">
                <a:solidFill>
                  <a:srgbClr val="333333"/>
                </a:solidFill>
                <a:effectLst/>
                <a:latin typeface="Verdana" panose="020B0604030504040204" pitchFamily="34" charset="0"/>
              </a:rPr>
              <a:t>SS (sports model with bigger engine)</a:t>
            </a:r>
          </a:p>
          <a:p>
            <a:pPr lvl="2"/>
            <a:r>
              <a:rPr lang="en-US" b="0" i="0" dirty="0">
                <a:solidFill>
                  <a:srgbClr val="333333"/>
                </a:solidFill>
                <a:effectLst/>
                <a:latin typeface="Verdana" panose="020B0604030504040204" pitchFamily="34" charset="0"/>
              </a:rPr>
              <a:t>SL (luxury model with leather seats)</a:t>
            </a:r>
          </a:p>
          <a:p>
            <a:pPr lvl="2"/>
            <a:endParaRPr lang="en-US" b="0" i="0" dirty="0">
              <a:solidFill>
                <a:srgbClr val="333333"/>
              </a:solidFill>
              <a:effectLst/>
              <a:latin typeface="Verdana" panose="020B0604030504040204" pitchFamily="34" charset="0"/>
            </a:endParaRPr>
          </a:p>
          <a:p>
            <a:r>
              <a:rPr lang="en-US" b="1" dirty="0"/>
              <a:t>How many total choices you have ? </a:t>
            </a:r>
          </a:p>
          <a:p>
            <a:pPr marL="0" indent="0">
              <a:buNone/>
            </a:pPr>
            <a:endParaRPr lang="en-US" dirty="0"/>
          </a:p>
        </p:txBody>
      </p:sp>
      <p:pic>
        <p:nvPicPr>
          <p:cNvPr id="5" name="Picture 4" descr="A red car parked on a road&#10;&#10;Description automatically generated with medium confidence">
            <a:extLst>
              <a:ext uri="{FF2B5EF4-FFF2-40B4-BE49-F238E27FC236}">
                <a16:creationId xmlns:a16="http://schemas.microsoft.com/office/drawing/2014/main" id="{19F1B0FC-CF74-40A2-BF51-6C0B862B6932}"/>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868238" y="0"/>
            <a:ext cx="2275761" cy="970241"/>
          </a:xfrm>
          <a:prstGeom prst="rect">
            <a:avLst/>
          </a:prstGeom>
        </p:spPr>
      </p:pic>
      <p:pic>
        <p:nvPicPr>
          <p:cNvPr id="7" name="Picture 6" descr="A red car parked on a road&#10;&#10;Description automatically generated with medium confidence">
            <a:extLst>
              <a:ext uri="{FF2B5EF4-FFF2-40B4-BE49-F238E27FC236}">
                <a16:creationId xmlns:a16="http://schemas.microsoft.com/office/drawing/2014/main" id="{5C777FBC-EC57-4116-9590-28C6560EB948}"/>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7208171" y="970241"/>
            <a:ext cx="1935829" cy="1451872"/>
          </a:xfrm>
          <a:prstGeom prst="rect">
            <a:avLst/>
          </a:prstGeom>
        </p:spPr>
      </p:pic>
      <p:pic>
        <p:nvPicPr>
          <p:cNvPr id="10" name="Picture 9">
            <a:extLst>
              <a:ext uri="{FF2B5EF4-FFF2-40B4-BE49-F238E27FC236}">
                <a16:creationId xmlns:a16="http://schemas.microsoft.com/office/drawing/2014/main" id="{380E2F7E-32C4-431E-B6FF-0AF97B2D0F87}"/>
              </a:ext>
            </a:extLst>
          </p:cNvPr>
          <p:cNvPicPr>
            <a:picLocks noChangeAspect="1"/>
          </p:cNvPicPr>
          <p:nvPr/>
        </p:nvPicPr>
        <p:blipFill>
          <a:blip r:embed="rId6" cstate="print">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3268674" y="2962944"/>
            <a:ext cx="1755072" cy="1755072"/>
          </a:xfrm>
          <a:prstGeom prst="rect">
            <a:avLst/>
          </a:prstGeom>
        </p:spPr>
      </p:pic>
      <mc:AlternateContent xmlns:mc="http://schemas.openxmlformats.org/markup-compatibility/2006">
        <mc:Choice xmlns:p14="http://schemas.microsoft.com/office/powerpoint/2010/main" Requires="p14">
          <p:contentPart p14:bwMode="auto" r:id="rId8">
            <p14:nvContentPartPr>
              <p14:cNvPr id="4" name="Ink 3">
                <a:extLst>
                  <a:ext uri="{FF2B5EF4-FFF2-40B4-BE49-F238E27FC236}">
                    <a16:creationId xmlns:a16="http://schemas.microsoft.com/office/drawing/2014/main" id="{75A26112-6025-4E94-B42F-10FA89F69A2D}"/>
                  </a:ext>
                </a:extLst>
              </p14:cNvPr>
              <p14:cNvContentPartPr/>
              <p14:nvPr/>
            </p14:nvContentPartPr>
            <p14:xfrm>
              <a:off x="342720" y="561960"/>
              <a:ext cx="7134840" cy="3019680"/>
            </p14:xfrm>
          </p:contentPart>
        </mc:Choice>
        <mc:Fallback>
          <p:pic>
            <p:nvPicPr>
              <p:cNvPr id="4" name="Ink 3">
                <a:extLst>
                  <a:ext uri="{FF2B5EF4-FFF2-40B4-BE49-F238E27FC236}">
                    <a16:creationId xmlns:a16="http://schemas.microsoft.com/office/drawing/2014/main" id="{75A26112-6025-4E94-B42F-10FA89F69A2D}"/>
                  </a:ext>
                </a:extLst>
              </p:cNvPr>
              <p:cNvPicPr/>
              <p:nvPr/>
            </p:nvPicPr>
            <p:blipFill>
              <a:blip r:embed="rId9"/>
              <a:stretch>
                <a:fillRect/>
              </a:stretch>
            </p:blipFill>
            <p:spPr>
              <a:xfrm>
                <a:off x="333360" y="552600"/>
                <a:ext cx="7153560" cy="3038400"/>
              </a:xfrm>
              <a:prstGeom prst="rect">
                <a:avLst/>
              </a:prstGeom>
            </p:spPr>
          </p:pic>
        </mc:Fallback>
      </mc:AlternateContent>
    </p:spTree>
    <p:extLst>
      <p:ext uri="{BB962C8B-B14F-4D97-AF65-F5344CB8AC3E}">
        <p14:creationId xmlns:p14="http://schemas.microsoft.com/office/powerpoint/2010/main" val="2033431723"/>
      </p:ext>
    </p:extLst>
  </p:cSld>
  <p:clrMapOvr>
    <a:masterClrMapping/>
  </p:clrMapOvr>
  <p:transition spd="med">
    <p:wipe dir="r"/>
  </p:transition>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838622-11D2-416A-A0DB-E3E9EFE6E75C}"/>
              </a:ext>
            </a:extLst>
          </p:cNvPr>
          <p:cNvSpPr>
            <a:spLocks noGrp="1"/>
          </p:cNvSpPr>
          <p:nvPr>
            <p:ph type="title"/>
          </p:nvPr>
        </p:nvSpPr>
        <p:spPr>
          <a:xfrm>
            <a:off x="0" y="22860"/>
            <a:ext cx="7230614" cy="640080"/>
          </a:xfrm>
        </p:spPr>
        <p:txBody>
          <a:bodyPr/>
          <a:lstStyle/>
          <a:p>
            <a:r>
              <a:rPr lang="en-US" dirty="0"/>
              <a:t>Basic Counting Principle – Ex continued</a:t>
            </a:r>
          </a:p>
        </p:txBody>
      </p:sp>
      <p:sp>
        <p:nvSpPr>
          <p:cNvPr id="3" name="Content Placeholder 2">
            <a:extLst>
              <a:ext uri="{FF2B5EF4-FFF2-40B4-BE49-F238E27FC236}">
                <a16:creationId xmlns:a16="http://schemas.microsoft.com/office/drawing/2014/main" id="{07E829D6-B167-49B9-8A62-F4EBDAFC55FF}"/>
              </a:ext>
            </a:extLst>
          </p:cNvPr>
          <p:cNvSpPr>
            <a:spLocks noGrp="1"/>
          </p:cNvSpPr>
          <p:nvPr>
            <p:ph sz="half" idx="13"/>
          </p:nvPr>
        </p:nvSpPr>
        <p:spPr>
          <a:xfrm>
            <a:off x="133670" y="2934669"/>
            <a:ext cx="8396077" cy="1633355"/>
          </a:xfrm>
        </p:spPr>
        <p:txBody>
          <a:bodyPr>
            <a:normAutofit/>
          </a:bodyPr>
          <a:lstStyle/>
          <a:p>
            <a:r>
              <a:rPr lang="en-US" dirty="0"/>
              <a:t>You can count the choices, or just do the simple calculation:</a:t>
            </a:r>
          </a:p>
          <a:p>
            <a:pPr marL="0" indent="0">
              <a:buNone/>
            </a:pPr>
            <a:endParaRPr lang="en-US" dirty="0"/>
          </a:p>
        </p:txBody>
      </p:sp>
      <p:pic>
        <p:nvPicPr>
          <p:cNvPr id="5" name="Picture 4">
            <a:extLst>
              <a:ext uri="{FF2B5EF4-FFF2-40B4-BE49-F238E27FC236}">
                <a16:creationId xmlns:a16="http://schemas.microsoft.com/office/drawing/2014/main" id="{8CBEB511-67A4-4D30-A170-5C33C7FD1431}"/>
              </a:ext>
            </a:extLst>
          </p:cNvPr>
          <p:cNvPicPr>
            <a:picLocks noChangeAspect="1"/>
          </p:cNvPicPr>
          <p:nvPr/>
        </p:nvPicPr>
        <p:blipFill>
          <a:blip r:embed="rId2"/>
          <a:stretch>
            <a:fillRect/>
          </a:stretch>
        </p:blipFill>
        <p:spPr>
          <a:xfrm>
            <a:off x="1033063" y="575476"/>
            <a:ext cx="6086693" cy="2155832"/>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5571BF3B-A5B0-4341-9B57-E047F90F6558}"/>
                  </a:ext>
                </a:extLst>
              </p14:cNvPr>
              <p14:cNvContentPartPr/>
              <p14:nvPr/>
            </p14:nvContentPartPr>
            <p14:xfrm>
              <a:off x="1762200" y="1185840"/>
              <a:ext cx="5963040" cy="2781720"/>
            </p14:xfrm>
          </p:contentPart>
        </mc:Choice>
        <mc:Fallback>
          <p:pic>
            <p:nvPicPr>
              <p:cNvPr id="4" name="Ink 3">
                <a:extLst>
                  <a:ext uri="{FF2B5EF4-FFF2-40B4-BE49-F238E27FC236}">
                    <a16:creationId xmlns:a16="http://schemas.microsoft.com/office/drawing/2014/main" id="{5571BF3B-A5B0-4341-9B57-E047F90F6558}"/>
                  </a:ext>
                </a:extLst>
              </p:cNvPr>
              <p:cNvPicPr/>
              <p:nvPr/>
            </p:nvPicPr>
            <p:blipFill>
              <a:blip r:embed="rId4"/>
              <a:stretch>
                <a:fillRect/>
              </a:stretch>
            </p:blipFill>
            <p:spPr>
              <a:xfrm>
                <a:off x="1752840" y="1176480"/>
                <a:ext cx="5981760" cy="2800440"/>
              </a:xfrm>
              <a:prstGeom prst="rect">
                <a:avLst/>
              </a:prstGeom>
            </p:spPr>
          </p:pic>
        </mc:Fallback>
      </mc:AlternateContent>
    </p:spTree>
    <p:extLst>
      <p:ext uri="{BB962C8B-B14F-4D97-AF65-F5344CB8AC3E}">
        <p14:creationId xmlns:p14="http://schemas.microsoft.com/office/powerpoint/2010/main" val="2074760393"/>
      </p:ext>
    </p:extLst>
  </p:cSld>
  <p:clrMapOvr>
    <a:masterClrMapping/>
  </p:clrMapOvr>
  <p:transition spd="med">
    <p:wipe dir="r"/>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44A364-C2E7-49F9-B5CC-663C189F5BEC}"/>
              </a:ext>
            </a:extLst>
          </p:cNvPr>
          <p:cNvSpPr>
            <a:spLocks noGrp="1"/>
          </p:cNvSpPr>
          <p:nvPr>
            <p:ph type="title"/>
          </p:nvPr>
        </p:nvSpPr>
        <p:spPr>
          <a:xfrm>
            <a:off x="0" y="0"/>
            <a:ext cx="6839726" cy="640080"/>
          </a:xfrm>
        </p:spPr>
        <p:txBody>
          <a:bodyPr/>
          <a:lstStyle/>
          <a:p>
            <a:r>
              <a:rPr lang="en-US" dirty="0"/>
              <a:t>Independent or Dependent </a:t>
            </a:r>
          </a:p>
        </p:txBody>
      </p:sp>
      <p:sp>
        <p:nvSpPr>
          <p:cNvPr id="3" name="Content Placeholder 2">
            <a:extLst>
              <a:ext uri="{FF2B5EF4-FFF2-40B4-BE49-F238E27FC236}">
                <a16:creationId xmlns:a16="http://schemas.microsoft.com/office/drawing/2014/main" id="{32BE9735-4EC7-4FA5-9C8E-FB6A20384A25}"/>
              </a:ext>
            </a:extLst>
          </p:cNvPr>
          <p:cNvSpPr>
            <a:spLocks noGrp="1"/>
          </p:cNvSpPr>
          <p:nvPr>
            <p:ph sz="half" idx="13"/>
          </p:nvPr>
        </p:nvSpPr>
        <p:spPr>
          <a:xfrm>
            <a:off x="0" y="640079"/>
            <a:ext cx="9144000" cy="3771377"/>
          </a:xfrm>
        </p:spPr>
        <p:txBody>
          <a:bodyPr>
            <a:normAutofit/>
          </a:bodyPr>
          <a:lstStyle/>
          <a:p>
            <a:pPr algn="l"/>
            <a:r>
              <a:rPr lang="en-US" sz="2000" b="0" i="0" dirty="0">
                <a:solidFill>
                  <a:srgbClr val="333333"/>
                </a:solidFill>
                <a:effectLst/>
                <a:latin typeface="Verdana" panose="020B0604030504040204" pitchFamily="34" charset="0"/>
              </a:rPr>
              <a:t>But it only works when all choices are </a:t>
            </a:r>
            <a:r>
              <a:rPr lang="en-US" sz="2000" b="1" i="0" dirty="0">
                <a:solidFill>
                  <a:srgbClr val="333333"/>
                </a:solidFill>
                <a:effectLst/>
                <a:latin typeface="Verdana" panose="020B0604030504040204" pitchFamily="34" charset="0"/>
              </a:rPr>
              <a:t>independent</a:t>
            </a:r>
            <a:r>
              <a:rPr lang="en-US" sz="2000" b="0" i="0" dirty="0">
                <a:solidFill>
                  <a:srgbClr val="333333"/>
                </a:solidFill>
                <a:effectLst/>
                <a:latin typeface="Verdana" panose="020B0604030504040204" pitchFamily="34" charset="0"/>
              </a:rPr>
              <a:t> of each other.</a:t>
            </a:r>
          </a:p>
          <a:p>
            <a:pPr algn="l"/>
            <a:r>
              <a:rPr lang="en-US" sz="2000" b="0" i="0" dirty="0">
                <a:solidFill>
                  <a:srgbClr val="333333"/>
                </a:solidFill>
                <a:effectLst/>
                <a:latin typeface="Verdana" panose="020B0604030504040204" pitchFamily="34" charset="0"/>
              </a:rPr>
              <a:t>If one choice affects another choice (i.e. </a:t>
            </a:r>
            <a:r>
              <a:rPr lang="en-US" sz="2000" b="1" i="0" dirty="0">
                <a:solidFill>
                  <a:srgbClr val="333333"/>
                </a:solidFill>
                <a:effectLst/>
                <a:latin typeface="Verdana" panose="020B0604030504040204" pitchFamily="34" charset="0"/>
              </a:rPr>
              <a:t>depends</a:t>
            </a:r>
            <a:r>
              <a:rPr lang="en-US" sz="2000" b="0" i="0" dirty="0">
                <a:solidFill>
                  <a:srgbClr val="333333"/>
                </a:solidFill>
                <a:effectLst/>
                <a:latin typeface="Verdana" panose="020B0604030504040204" pitchFamily="34" charset="0"/>
              </a:rPr>
              <a:t> on another choice), then a simple multiplication is not right.</a:t>
            </a:r>
          </a:p>
          <a:p>
            <a:pPr algn="l"/>
            <a:r>
              <a:rPr lang="en-US" sz="2000" dirty="0">
                <a:solidFill>
                  <a:srgbClr val="333333"/>
                </a:solidFill>
                <a:latin typeface="Verdana" panose="020B0604030504040204" pitchFamily="34" charset="0"/>
              </a:rPr>
              <a:t>Ex : you are buying a car, but the salesman says you can’t choose black for the hatchback.. </a:t>
            </a:r>
            <a:r>
              <a:rPr lang="en-US" sz="2000" b="1" i="1" dirty="0">
                <a:solidFill>
                  <a:srgbClr val="333333"/>
                </a:solidFill>
                <a:latin typeface="Verdana" panose="020B0604030504040204" pitchFamily="34" charset="0"/>
              </a:rPr>
              <a:t>Well then things change</a:t>
            </a:r>
            <a:endParaRPr lang="en-US" sz="2000" b="1" i="1" dirty="0">
              <a:solidFill>
                <a:srgbClr val="333333"/>
              </a:solidFill>
              <a:effectLst/>
              <a:latin typeface="Verdana" panose="020B0604030504040204" pitchFamily="34" charset="0"/>
            </a:endParaRPr>
          </a:p>
          <a:p>
            <a:endParaRPr lang="en-US" dirty="0"/>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62CE1306-EA6C-46CB-B2CD-B7EF1D663290}"/>
                  </a:ext>
                </a:extLst>
              </p14:cNvPr>
              <p14:cNvContentPartPr/>
              <p14:nvPr/>
            </p14:nvContentPartPr>
            <p14:xfrm>
              <a:off x="1309680" y="1000080"/>
              <a:ext cx="5586840" cy="1486440"/>
            </p14:xfrm>
          </p:contentPart>
        </mc:Choice>
        <mc:Fallback>
          <p:pic>
            <p:nvPicPr>
              <p:cNvPr id="4" name="Ink 3">
                <a:extLst>
                  <a:ext uri="{FF2B5EF4-FFF2-40B4-BE49-F238E27FC236}">
                    <a16:creationId xmlns:a16="http://schemas.microsoft.com/office/drawing/2014/main" id="{62CE1306-EA6C-46CB-B2CD-B7EF1D663290}"/>
                  </a:ext>
                </a:extLst>
              </p:cNvPr>
              <p:cNvPicPr/>
              <p:nvPr/>
            </p:nvPicPr>
            <p:blipFill>
              <a:blip r:embed="rId3"/>
              <a:stretch>
                <a:fillRect/>
              </a:stretch>
            </p:blipFill>
            <p:spPr>
              <a:xfrm>
                <a:off x="1300320" y="990720"/>
                <a:ext cx="5605560" cy="1505160"/>
              </a:xfrm>
              <a:prstGeom prst="rect">
                <a:avLst/>
              </a:prstGeom>
            </p:spPr>
          </p:pic>
        </mc:Fallback>
      </mc:AlternateContent>
    </p:spTree>
    <p:extLst>
      <p:ext uri="{BB962C8B-B14F-4D97-AF65-F5344CB8AC3E}">
        <p14:creationId xmlns:p14="http://schemas.microsoft.com/office/powerpoint/2010/main" val="2871754504"/>
      </p:ext>
    </p:extLst>
  </p:cSld>
  <p:clrMapOvr>
    <a:masterClrMapping/>
  </p:clrMapOvr>
  <p:transition spd="med">
    <p:wipe dir="r"/>
  </p:transition>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8C05D-BE8C-4546-B006-9B88F0538A05}"/>
              </a:ext>
            </a:extLst>
          </p:cNvPr>
          <p:cNvSpPr>
            <a:spLocks noGrp="1"/>
          </p:cNvSpPr>
          <p:nvPr>
            <p:ph type="title"/>
          </p:nvPr>
        </p:nvSpPr>
        <p:spPr>
          <a:xfrm>
            <a:off x="0" y="0"/>
            <a:ext cx="7929453" cy="640080"/>
          </a:xfrm>
        </p:spPr>
        <p:txBody>
          <a:bodyPr/>
          <a:lstStyle/>
          <a:p>
            <a:r>
              <a:rPr lang="en-US" dirty="0"/>
              <a:t>Independent or Dependent – Ex continued </a:t>
            </a:r>
          </a:p>
        </p:txBody>
      </p:sp>
      <p:pic>
        <p:nvPicPr>
          <p:cNvPr id="4" name="Content Placeholder 3">
            <a:extLst>
              <a:ext uri="{FF2B5EF4-FFF2-40B4-BE49-F238E27FC236}">
                <a16:creationId xmlns:a16="http://schemas.microsoft.com/office/drawing/2014/main" id="{8F32F106-4CD4-40E0-87E2-661C2067C569}"/>
              </a:ext>
            </a:extLst>
          </p:cNvPr>
          <p:cNvPicPr>
            <a:picLocks noGrp="1" noChangeAspect="1"/>
          </p:cNvPicPr>
          <p:nvPr>
            <p:ph sz="half" idx="13"/>
          </p:nvPr>
        </p:nvPicPr>
        <p:blipFill>
          <a:blip r:embed="rId2"/>
          <a:stretch>
            <a:fillRect/>
          </a:stretch>
        </p:blipFill>
        <p:spPr>
          <a:xfrm>
            <a:off x="1740470" y="572928"/>
            <a:ext cx="5923738" cy="2422742"/>
          </a:xfrm>
          <a:prstGeom prst="rect">
            <a:avLst/>
          </a:prstGeom>
        </p:spPr>
      </p:pic>
      <p:sp>
        <p:nvSpPr>
          <p:cNvPr id="5" name="TextBox 4">
            <a:extLst>
              <a:ext uri="{FF2B5EF4-FFF2-40B4-BE49-F238E27FC236}">
                <a16:creationId xmlns:a16="http://schemas.microsoft.com/office/drawing/2014/main" id="{80CAC565-AB32-4C61-99D3-866831E99BC3}"/>
              </a:ext>
            </a:extLst>
          </p:cNvPr>
          <p:cNvSpPr txBox="1"/>
          <p:nvPr/>
        </p:nvSpPr>
        <p:spPr>
          <a:xfrm>
            <a:off x="-83763" y="3266711"/>
            <a:ext cx="8013216" cy="830997"/>
          </a:xfrm>
          <a:prstGeom prst="rect">
            <a:avLst/>
          </a:prstGeom>
          <a:noFill/>
        </p:spPr>
        <p:txBody>
          <a:bodyPr wrap="square" rtlCol="0">
            <a:spAutoFit/>
          </a:bodyPr>
          <a:lstStyle/>
          <a:p>
            <a:pPr marL="171450" indent="-171450" algn="l">
              <a:buFont typeface="Arial" panose="020B0604020202020204" pitchFamily="34" charset="0"/>
              <a:buChar char="•"/>
            </a:pPr>
            <a:r>
              <a:rPr lang="en-US" sz="1600" b="0" i="0" dirty="0">
                <a:solidFill>
                  <a:srgbClr val="333333"/>
                </a:solidFill>
                <a:effectLst/>
                <a:latin typeface="Verdana" panose="020B0604030504040204" pitchFamily="34" charset="0"/>
              </a:rPr>
              <a:t>Because your choices are </a:t>
            </a:r>
            <a:r>
              <a:rPr lang="en-US" sz="1600" b="1" i="0" dirty="0">
                <a:solidFill>
                  <a:srgbClr val="333333"/>
                </a:solidFill>
                <a:effectLst/>
                <a:latin typeface="Verdana" panose="020B0604030504040204" pitchFamily="34" charset="0"/>
              </a:rPr>
              <a:t>not independent</a:t>
            </a:r>
            <a:r>
              <a:rPr lang="en-US" sz="1600" b="0" i="0" dirty="0">
                <a:solidFill>
                  <a:srgbClr val="333333"/>
                </a:solidFill>
                <a:effectLst/>
                <a:latin typeface="Verdana" panose="020B0604030504040204" pitchFamily="34" charset="0"/>
              </a:rPr>
              <a:t> of each other.</a:t>
            </a:r>
          </a:p>
          <a:p>
            <a:pPr marL="171450" indent="-171450" algn="l">
              <a:buFont typeface="Arial" panose="020B0604020202020204" pitchFamily="34" charset="0"/>
              <a:buChar char="•"/>
            </a:pPr>
            <a:endParaRPr lang="en-US" sz="1600" b="0" i="0" dirty="0">
              <a:solidFill>
                <a:srgbClr val="333333"/>
              </a:solidFill>
              <a:effectLst/>
              <a:latin typeface="Verdana" panose="020B0604030504040204" pitchFamily="34" charset="0"/>
            </a:endParaRPr>
          </a:p>
          <a:p>
            <a:pPr marL="171450" indent="-171450" algn="l">
              <a:buFont typeface="Arial" panose="020B0604020202020204" pitchFamily="34" charset="0"/>
              <a:buChar char="•"/>
            </a:pPr>
            <a:r>
              <a:rPr lang="en-US" sz="1600" b="0" i="0" dirty="0">
                <a:solidFill>
                  <a:srgbClr val="333333"/>
                </a:solidFill>
                <a:effectLst/>
                <a:latin typeface="Verdana" panose="020B0604030504040204" pitchFamily="34" charset="0"/>
              </a:rPr>
              <a:t>But you can still make your life easier with this calculation:</a:t>
            </a:r>
          </a:p>
        </p:txBody>
      </p:sp>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C69327B3-564D-4A27-8652-5C9854C4CBB2}"/>
                  </a:ext>
                </a:extLst>
              </p14:cNvPr>
              <p14:cNvContentPartPr/>
              <p14:nvPr/>
            </p14:nvContentPartPr>
            <p14:xfrm>
              <a:off x="1195560" y="1623960"/>
              <a:ext cx="6991560" cy="3381840"/>
            </p14:xfrm>
          </p:contentPart>
        </mc:Choice>
        <mc:Fallback>
          <p:pic>
            <p:nvPicPr>
              <p:cNvPr id="3" name="Ink 2">
                <a:extLst>
                  <a:ext uri="{FF2B5EF4-FFF2-40B4-BE49-F238E27FC236}">
                    <a16:creationId xmlns:a16="http://schemas.microsoft.com/office/drawing/2014/main" id="{C69327B3-564D-4A27-8652-5C9854C4CBB2}"/>
                  </a:ext>
                </a:extLst>
              </p:cNvPr>
              <p:cNvPicPr/>
              <p:nvPr/>
            </p:nvPicPr>
            <p:blipFill>
              <a:blip r:embed="rId4"/>
              <a:stretch>
                <a:fillRect/>
              </a:stretch>
            </p:blipFill>
            <p:spPr>
              <a:xfrm>
                <a:off x="1186200" y="1614600"/>
                <a:ext cx="7010280" cy="3400560"/>
              </a:xfrm>
              <a:prstGeom prst="rect">
                <a:avLst/>
              </a:prstGeom>
            </p:spPr>
          </p:pic>
        </mc:Fallback>
      </mc:AlternateContent>
    </p:spTree>
    <p:extLst>
      <p:ext uri="{BB962C8B-B14F-4D97-AF65-F5344CB8AC3E}">
        <p14:creationId xmlns:p14="http://schemas.microsoft.com/office/powerpoint/2010/main" val="2852821484"/>
      </p:ext>
    </p:extLst>
  </p:cSld>
  <p:clrMapOvr>
    <a:masterClrMapping/>
  </p:clrMapOvr>
  <p:transition spd="med">
    <p:wipe dir="r"/>
  </p:transition>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94589F-FA7B-4274-8300-F7E79507DCCA}"/>
              </a:ext>
            </a:extLst>
          </p:cNvPr>
          <p:cNvSpPr>
            <a:spLocks noGrp="1"/>
          </p:cNvSpPr>
          <p:nvPr>
            <p:ph type="title"/>
          </p:nvPr>
        </p:nvSpPr>
        <p:spPr>
          <a:xfrm>
            <a:off x="0" y="0"/>
            <a:ext cx="7998431" cy="640080"/>
          </a:xfrm>
        </p:spPr>
        <p:txBody>
          <a:bodyPr/>
          <a:lstStyle/>
          <a:p>
            <a:r>
              <a:rPr lang="en-US" dirty="0"/>
              <a:t>Mutually Exclusive Events</a:t>
            </a:r>
          </a:p>
        </p:txBody>
      </p:sp>
      <p:sp>
        <p:nvSpPr>
          <p:cNvPr id="3" name="Content Placeholder 2">
            <a:extLst>
              <a:ext uri="{FF2B5EF4-FFF2-40B4-BE49-F238E27FC236}">
                <a16:creationId xmlns:a16="http://schemas.microsoft.com/office/drawing/2014/main" id="{5702E1F5-822D-4D74-A37A-D6C43EA0C961}"/>
              </a:ext>
            </a:extLst>
          </p:cNvPr>
          <p:cNvSpPr>
            <a:spLocks noGrp="1"/>
          </p:cNvSpPr>
          <p:nvPr>
            <p:ph sz="half" idx="13"/>
          </p:nvPr>
        </p:nvSpPr>
        <p:spPr>
          <a:xfrm>
            <a:off x="0" y="826451"/>
            <a:ext cx="8869680" cy="3200400"/>
          </a:xfrm>
        </p:spPr>
        <p:txBody>
          <a:bodyPr/>
          <a:lstStyle/>
          <a:p>
            <a:r>
              <a:rPr lang="en-US" b="1" i="0" dirty="0">
                <a:solidFill>
                  <a:srgbClr val="333333"/>
                </a:solidFill>
                <a:effectLst/>
                <a:latin typeface="Verdana" panose="020B0604030504040204" pitchFamily="34" charset="0"/>
              </a:rPr>
              <a:t>Mutually Exclusive</a:t>
            </a:r>
            <a:r>
              <a:rPr lang="en-US" b="0" i="0" dirty="0">
                <a:solidFill>
                  <a:srgbClr val="333333"/>
                </a:solidFill>
                <a:effectLst/>
                <a:latin typeface="Verdana" panose="020B0604030504040204" pitchFamily="34" charset="0"/>
              </a:rPr>
              <a:t>: can't happen at the same time.</a:t>
            </a:r>
          </a:p>
          <a:p>
            <a:r>
              <a:rPr lang="en-US" dirty="0">
                <a:solidFill>
                  <a:srgbClr val="333333"/>
                </a:solidFill>
                <a:latin typeface="Verdana" panose="020B0604030504040204" pitchFamily="34" charset="0"/>
              </a:rPr>
              <a:t>Ex : </a:t>
            </a:r>
            <a:endParaRPr lang="en-US" dirty="0"/>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3D2843DC-397B-4582-87D1-79C3A90DE916}"/>
                  </a:ext>
                </a:extLst>
              </p14:cNvPr>
              <p14:cNvContentPartPr/>
              <p14:nvPr/>
            </p14:nvContentPartPr>
            <p14:xfrm>
              <a:off x="209520" y="438120"/>
              <a:ext cx="8563320" cy="4567680"/>
            </p14:xfrm>
          </p:contentPart>
        </mc:Choice>
        <mc:Fallback>
          <p:pic>
            <p:nvPicPr>
              <p:cNvPr id="4" name="Ink 3">
                <a:extLst>
                  <a:ext uri="{FF2B5EF4-FFF2-40B4-BE49-F238E27FC236}">
                    <a16:creationId xmlns:a16="http://schemas.microsoft.com/office/drawing/2014/main" id="{3D2843DC-397B-4582-87D1-79C3A90DE916}"/>
                  </a:ext>
                </a:extLst>
              </p:cNvPr>
              <p:cNvPicPr/>
              <p:nvPr/>
            </p:nvPicPr>
            <p:blipFill>
              <a:blip r:embed="rId3"/>
              <a:stretch>
                <a:fillRect/>
              </a:stretch>
            </p:blipFill>
            <p:spPr>
              <a:xfrm>
                <a:off x="200160" y="428760"/>
                <a:ext cx="8582040" cy="4586400"/>
              </a:xfrm>
              <a:prstGeom prst="rect">
                <a:avLst/>
              </a:prstGeom>
            </p:spPr>
          </p:pic>
        </mc:Fallback>
      </mc:AlternateContent>
    </p:spTree>
    <p:extLst>
      <p:ext uri="{BB962C8B-B14F-4D97-AF65-F5344CB8AC3E}">
        <p14:creationId xmlns:p14="http://schemas.microsoft.com/office/powerpoint/2010/main" val="755309856"/>
      </p:ext>
    </p:extLst>
  </p:cSld>
  <p:clrMapOvr>
    <a:masterClrMapping/>
  </p:clrMapOvr>
  <p:transition spd="med">
    <p:wipe dir="r"/>
  </p:transition>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6CF189-4C36-48C7-AAFE-3A8346E1656B}"/>
              </a:ext>
            </a:extLst>
          </p:cNvPr>
          <p:cNvSpPr>
            <a:spLocks noGrp="1"/>
          </p:cNvSpPr>
          <p:nvPr>
            <p:ph type="title"/>
          </p:nvPr>
        </p:nvSpPr>
        <p:spPr>
          <a:xfrm>
            <a:off x="0" y="0"/>
            <a:ext cx="4295219" cy="640080"/>
          </a:xfrm>
        </p:spPr>
        <p:txBody>
          <a:bodyPr/>
          <a:lstStyle/>
          <a:p>
            <a:r>
              <a:rPr lang="en-US" dirty="0"/>
              <a:t>Mutually Exclusive Events</a:t>
            </a:r>
          </a:p>
        </p:txBody>
      </p:sp>
      <p:sp>
        <p:nvSpPr>
          <p:cNvPr id="3" name="Content Placeholder 2">
            <a:extLst>
              <a:ext uri="{FF2B5EF4-FFF2-40B4-BE49-F238E27FC236}">
                <a16:creationId xmlns:a16="http://schemas.microsoft.com/office/drawing/2014/main" id="{369F0675-EE2E-43C4-B836-74C1DD2FB138}"/>
              </a:ext>
            </a:extLst>
          </p:cNvPr>
          <p:cNvSpPr>
            <a:spLocks noGrp="1"/>
          </p:cNvSpPr>
          <p:nvPr>
            <p:ph sz="half" idx="13"/>
          </p:nvPr>
        </p:nvSpPr>
        <p:spPr>
          <a:xfrm>
            <a:off x="0" y="791549"/>
            <a:ext cx="8255427" cy="3200400"/>
          </a:xfrm>
        </p:spPr>
        <p:txBody>
          <a:bodyPr/>
          <a:lstStyle/>
          <a:p>
            <a:r>
              <a:rPr lang="en-US" dirty="0"/>
              <a:t>What is not Mutually exclusive ? </a:t>
            </a:r>
          </a:p>
          <a:p>
            <a:pPr lvl="1"/>
            <a:r>
              <a:rPr lang="en-US" b="0" i="0" dirty="0">
                <a:solidFill>
                  <a:srgbClr val="333333"/>
                </a:solidFill>
                <a:effectLst/>
                <a:latin typeface="Verdana" panose="020B0604030504040204" pitchFamily="34" charset="0"/>
              </a:rPr>
              <a:t>Turning left and scratching your head can happen at the same time</a:t>
            </a:r>
          </a:p>
          <a:p>
            <a:pPr lvl="1"/>
            <a:r>
              <a:rPr lang="en-US" b="0" i="0" dirty="0">
                <a:solidFill>
                  <a:srgbClr val="333333"/>
                </a:solidFill>
                <a:effectLst/>
                <a:latin typeface="Verdana" panose="020B0604030504040204" pitchFamily="34" charset="0"/>
              </a:rPr>
              <a:t>Kings and Hearts, because we can have a King of Hearts!</a:t>
            </a:r>
          </a:p>
          <a:p>
            <a:pPr lvl="1"/>
            <a:endParaRPr lang="en-US" dirty="0"/>
          </a:p>
        </p:txBody>
      </p:sp>
      <p:pic>
        <p:nvPicPr>
          <p:cNvPr id="5" name="Picture 4">
            <a:extLst>
              <a:ext uri="{FF2B5EF4-FFF2-40B4-BE49-F238E27FC236}">
                <a16:creationId xmlns:a16="http://schemas.microsoft.com/office/drawing/2014/main" id="{8A5CA808-E866-4F37-AFB1-7B95B345E15B}"/>
              </a:ext>
            </a:extLst>
          </p:cNvPr>
          <p:cNvPicPr>
            <a:picLocks noChangeAspect="1"/>
          </p:cNvPicPr>
          <p:nvPr/>
        </p:nvPicPr>
        <p:blipFill>
          <a:blip r:embed="rId2"/>
          <a:stretch>
            <a:fillRect/>
          </a:stretch>
        </p:blipFill>
        <p:spPr>
          <a:xfrm>
            <a:off x="1301144" y="1639970"/>
            <a:ext cx="4983007" cy="2645844"/>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055F00A1-11E1-4A28-8DF4-965D0348C55F}"/>
                  </a:ext>
                </a:extLst>
              </p14:cNvPr>
              <p14:cNvContentPartPr/>
              <p14:nvPr/>
            </p14:nvContentPartPr>
            <p14:xfrm>
              <a:off x="700200" y="1228680"/>
              <a:ext cx="5991480" cy="3910320"/>
            </p14:xfrm>
          </p:contentPart>
        </mc:Choice>
        <mc:Fallback>
          <p:pic>
            <p:nvPicPr>
              <p:cNvPr id="4" name="Ink 3">
                <a:extLst>
                  <a:ext uri="{FF2B5EF4-FFF2-40B4-BE49-F238E27FC236}">
                    <a16:creationId xmlns:a16="http://schemas.microsoft.com/office/drawing/2014/main" id="{055F00A1-11E1-4A28-8DF4-965D0348C55F}"/>
                  </a:ext>
                </a:extLst>
              </p:cNvPr>
              <p:cNvPicPr/>
              <p:nvPr/>
            </p:nvPicPr>
            <p:blipFill>
              <a:blip r:embed="rId4"/>
              <a:stretch>
                <a:fillRect/>
              </a:stretch>
            </p:blipFill>
            <p:spPr>
              <a:xfrm>
                <a:off x="690840" y="1219320"/>
                <a:ext cx="6010200" cy="3929040"/>
              </a:xfrm>
              <a:prstGeom prst="rect">
                <a:avLst/>
              </a:prstGeom>
            </p:spPr>
          </p:pic>
        </mc:Fallback>
      </mc:AlternateContent>
    </p:spTree>
    <p:extLst>
      <p:ext uri="{BB962C8B-B14F-4D97-AF65-F5344CB8AC3E}">
        <p14:creationId xmlns:p14="http://schemas.microsoft.com/office/powerpoint/2010/main" val="383622476"/>
      </p:ext>
    </p:extLst>
  </p:cSld>
  <p:clrMapOvr>
    <a:masterClrMapping/>
  </p:clrMapOvr>
  <p:transition spd="med">
    <p:wipe dir="r"/>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5768DA-60F5-4EC8-9D65-49B195895AA4}"/>
              </a:ext>
            </a:extLst>
          </p:cNvPr>
          <p:cNvSpPr/>
          <p:nvPr/>
        </p:nvSpPr>
        <p:spPr>
          <a:xfrm>
            <a:off x="1563554" y="1486773"/>
            <a:ext cx="5940110" cy="963261"/>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2" name="Title 1">
            <a:extLst>
              <a:ext uri="{FF2B5EF4-FFF2-40B4-BE49-F238E27FC236}">
                <a16:creationId xmlns:a16="http://schemas.microsoft.com/office/drawing/2014/main" id="{4E0D191B-0B57-4455-A047-0BBF63CA3140}"/>
              </a:ext>
            </a:extLst>
          </p:cNvPr>
          <p:cNvSpPr>
            <a:spLocks noGrp="1"/>
          </p:cNvSpPr>
          <p:nvPr>
            <p:ph type="title"/>
          </p:nvPr>
        </p:nvSpPr>
        <p:spPr>
          <a:xfrm>
            <a:off x="0" y="0"/>
            <a:ext cx="4295219" cy="640080"/>
          </a:xfrm>
        </p:spPr>
        <p:txBody>
          <a:bodyPr/>
          <a:lstStyle/>
          <a:p>
            <a:r>
              <a:rPr lang="en-US" dirty="0"/>
              <a:t>Mutually Exclusive Events</a:t>
            </a:r>
          </a:p>
        </p:txBody>
      </p:sp>
      <p:sp>
        <p:nvSpPr>
          <p:cNvPr id="3" name="Content Placeholder 2">
            <a:extLst>
              <a:ext uri="{FF2B5EF4-FFF2-40B4-BE49-F238E27FC236}">
                <a16:creationId xmlns:a16="http://schemas.microsoft.com/office/drawing/2014/main" id="{2958DAA0-CB47-4F7F-962D-D941FFEDF517}"/>
              </a:ext>
            </a:extLst>
          </p:cNvPr>
          <p:cNvSpPr>
            <a:spLocks noGrp="1"/>
          </p:cNvSpPr>
          <p:nvPr>
            <p:ph sz="half" idx="13"/>
          </p:nvPr>
        </p:nvSpPr>
        <p:spPr>
          <a:xfrm>
            <a:off x="0" y="742688"/>
            <a:ext cx="8892715" cy="3200400"/>
          </a:xfrm>
        </p:spPr>
        <p:txBody>
          <a:bodyPr/>
          <a:lstStyle/>
          <a:p>
            <a:r>
              <a:rPr lang="en-US" b="0" i="0" dirty="0">
                <a:solidFill>
                  <a:srgbClr val="333333"/>
                </a:solidFill>
                <a:effectLst/>
                <a:latin typeface="Verdana" panose="020B0604030504040204" pitchFamily="34" charset="0"/>
              </a:rPr>
              <a:t>When two events (call them "A" and "B") are Mutually Exclusive it is </a:t>
            </a:r>
            <a:r>
              <a:rPr lang="en-US" b="1" i="0" dirty="0">
                <a:solidFill>
                  <a:srgbClr val="333333"/>
                </a:solidFill>
                <a:effectLst/>
                <a:latin typeface="Verdana" panose="020B0604030504040204" pitchFamily="34" charset="0"/>
              </a:rPr>
              <a:t>impossible</a:t>
            </a:r>
            <a:r>
              <a:rPr lang="en-US" b="0" i="0" dirty="0">
                <a:solidFill>
                  <a:srgbClr val="333333"/>
                </a:solidFill>
                <a:effectLst/>
                <a:latin typeface="Verdana" panose="020B0604030504040204" pitchFamily="34" charset="0"/>
              </a:rPr>
              <a:t> for them to happen together:</a:t>
            </a:r>
          </a:p>
          <a:p>
            <a:endParaRPr lang="en-US" b="0" i="0" dirty="0">
              <a:solidFill>
                <a:srgbClr val="333333"/>
              </a:solidFill>
              <a:effectLst/>
              <a:latin typeface="Verdana" panose="020B0604030504040204" pitchFamily="34" charset="0"/>
            </a:endParaRPr>
          </a:p>
          <a:p>
            <a:pPr marL="0" indent="0" algn="ctr">
              <a:buNone/>
            </a:pPr>
            <a:r>
              <a:rPr lang="en-US" b="1" i="0" dirty="0">
                <a:solidFill>
                  <a:schemeClr val="tx2"/>
                </a:solidFill>
                <a:effectLst/>
                <a:latin typeface="Verdana" panose="020B0604030504040204" pitchFamily="34" charset="0"/>
              </a:rPr>
              <a:t>P(A and B) = 0</a:t>
            </a:r>
            <a:endParaRPr lang="en-US" b="0" i="0" dirty="0">
              <a:solidFill>
                <a:schemeClr val="tx2"/>
              </a:solidFill>
              <a:effectLst/>
              <a:latin typeface="Verdana" panose="020B0604030504040204" pitchFamily="34" charset="0"/>
            </a:endParaRPr>
          </a:p>
          <a:p>
            <a:pPr marL="0" indent="0" algn="ctr">
              <a:buNone/>
            </a:pPr>
            <a:r>
              <a:rPr lang="en-US" b="0" i="1" dirty="0">
                <a:solidFill>
                  <a:schemeClr val="tx2"/>
                </a:solidFill>
                <a:effectLst/>
                <a:latin typeface="Verdana" panose="020B0604030504040204" pitchFamily="34" charset="0"/>
              </a:rPr>
              <a:t>"The probability of A and B together equals 0 (impossible)"</a:t>
            </a:r>
            <a:endParaRPr lang="en-US" b="0" i="0" dirty="0">
              <a:solidFill>
                <a:schemeClr val="tx2"/>
              </a:solidFill>
              <a:effectLst/>
              <a:latin typeface="Verdana" panose="020B0604030504040204" pitchFamily="34" charset="0"/>
            </a:endParaRPr>
          </a:p>
          <a:p>
            <a:endParaRPr lang="en-US" dirty="0">
              <a:solidFill>
                <a:srgbClr val="333333"/>
              </a:solidFill>
              <a:latin typeface="Verdana" panose="020B0604030504040204" pitchFamily="34" charset="0"/>
            </a:endParaRPr>
          </a:p>
          <a:p>
            <a:pPr marL="0" indent="0">
              <a:buNone/>
            </a:pPr>
            <a:endParaRPr lang="en-US" dirty="0"/>
          </a:p>
        </p:txBody>
      </p:sp>
      <p:sp>
        <p:nvSpPr>
          <p:cNvPr id="5" name="TextBox 4">
            <a:extLst>
              <a:ext uri="{FF2B5EF4-FFF2-40B4-BE49-F238E27FC236}">
                <a16:creationId xmlns:a16="http://schemas.microsoft.com/office/drawing/2014/main" id="{8097A869-7708-4C6B-968B-2EDC5E08F3C9}"/>
              </a:ext>
            </a:extLst>
          </p:cNvPr>
          <p:cNvSpPr txBox="1"/>
          <p:nvPr/>
        </p:nvSpPr>
        <p:spPr>
          <a:xfrm>
            <a:off x="251285" y="2611785"/>
            <a:ext cx="8439004" cy="1169551"/>
          </a:xfrm>
          <a:prstGeom prst="rect">
            <a:avLst/>
          </a:prstGeom>
          <a:noFill/>
        </p:spPr>
        <p:txBody>
          <a:bodyPr wrap="square" rtlCol="0">
            <a:spAutoFit/>
          </a:bodyPr>
          <a:lstStyle/>
          <a:p>
            <a:pPr algn="l"/>
            <a:r>
              <a:rPr lang="en-US" sz="1400" b="1" dirty="0">
                <a:solidFill>
                  <a:srgbClr val="333333"/>
                </a:solidFill>
                <a:latin typeface="Verdana" panose="020B0604030504040204" pitchFamily="34" charset="0"/>
                <a:cs typeface="Arial" panose="020B0604020202020204" pitchFamily="34" charset="0"/>
              </a:rPr>
              <a:t>Example: King AND Queen</a:t>
            </a:r>
          </a:p>
          <a:p>
            <a:pPr algn="l"/>
            <a:r>
              <a:rPr lang="en-US" sz="1400" dirty="0">
                <a:solidFill>
                  <a:srgbClr val="333333"/>
                </a:solidFill>
                <a:latin typeface="Verdana" panose="020B0604030504040204" pitchFamily="34" charset="0"/>
                <a:cs typeface="Arial" panose="020B0604020202020204" pitchFamily="34" charset="0"/>
              </a:rPr>
              <a:t>A card cannot be a King AND a Queen at the same time!</a:t>
            </a:r>
          </a:p>
          <a:p>
            <a:pPr algn="l"/>
            <a:endParaRPr lang="en-US" sz="1400" dirty="0">
              <a:solidFill>
                <a:srgbClr val="333333"/>
              </a:solidFill>
              <a:latin typeface="Verdana" panose="020B0604030504040204" pitchFamily="34" charset="0"/>
              <a:cs typeface="Arial" panose="020B0604020202020204" pitchFamily="34" charset="0"/>
            </a:endParaRPr>
          </a:p>
          <a:p>
            <a:pPr lvl="1">
              <a:buFont typeface="Arial" panose="020B0604020202020204" pitchFamily="34" charset="0"/>
              <a:buChar char="•"/>
            </a:pPr>
            <a:r>
              <a:rPr lang="en-US" sz="1400" dirty="0">
                <a:solidFill>
                  <a:srgbClr val="333333"/>
                </a:solidFill>
                <a:latin typeface="Verdana" panose="020B0604030504040204" pitchFamily="34" charset="0"/>
                <a:cs typeface="Arial" panose="020B0604020202020204" pitchFamily="34" charset="0"/>
              </a:rPr>
              <a:t>The probability of a King and a Queen is 0 (Impossible)</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mc:Choice xmlns:p14="http://schemas.microsoft.com/office/powerpoint/2010/main" Requires="p14">
          <p:contentPart p14:bwMode="auto" r:id="rId2">
            <p14:nvContentPartPr>
              <p14:cNvPr id="6" name="Ink 5">
                <a:extLst>
                  <a:ext uri="{FF2B5EF4-FFF2-40B4-BE49-F238E27FC236}">
                    <a16:creationId xmlns:a16="http://schemas.microsoft.com/office/drawing/2014/main" id="{4AAEDFBC-BAE5-44C3-99D1-69BFBDF511CE}"/>
                  </a:ext>
                </a:extLst>
              </p14:cNvPr>
              <p14:cNvContentPartPr/>
              <p14:nvPr/>
            </p14:nvContentPartPr>
            <p14:xfrm>
              <a:off x="3705120" y="676440"/>
              <a:ext cx="4229640" cy="3938760"/>
            </p14:xfrm>
          </p:contentPart>
        </mc:Choice>
        <mc:Fallback>
          <p:pic>
            <p:nvPicPr>
              <p:cNvPr id="6" name="Ink 5">
                <a:extLst>
                  <a:ext uri="{FF2B5EF4-FFF2-40B4-BE49-F238E27FC236}">
                    <a16:creationId xmlns:a16="http://schemas.microsoft.com/office/drawing/2014/main" id="{4AAEDFBC-BAE5-44C3-99D1-69BFBDF511CE}"/>
                  </a:ext>
                </a:extLst>
              </p:cNvPr>
              <p:cNvPicPr/>
              <p:nvPr/>
            </p:nvPicPr>
            <p:blipFill>
              <a:blip r:embed="rId3"/>
              <a:stretch>
                <a:fillRect/>
              </a:stretch>
            </p:blipFill>
            <p:spPr>
              <a:xfrm>
                <a:off x="3695760" y="667080"/>
                <a:ext cx="4248360" cy="3957480"/>
              </a:xfrm>
              <a:prstGeom prst="rect">
                <a:avLst/>
              </a:prstGeom>
            </p:spPr>
          </p:pic>
        </mc:Fallback>
      </mc:AlternateContent>
    </p:spTree>
    <p:extLst>
      <p:ext uri="{BB962C8B-B14F-4D97-AF65-F5344CB8AC3E}">
        <p14:creationId xmlns:p14="http://schemas.microsoft.com/office/powerpoint/2010/main" val="1511582162"/>
      </p:ext>
    </p:extLst>
  </p:cSld>
  <p:clrMapOvr>
    <a:masterClrMapping/>
  </p:clrMapOvr>
  <p:transition spd="med">
    <p:wipe dir="r"/>
  </p:transition>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9C344B-E63D-404F-831D-AAFAD851B968}"/>
              </a:ext>
            </a:extLst>
          </p:cNvPr>
          <p:cNvSpPr>
            <a:spLocks noGrp="1"/>
          </p:cNvSpPr>
          <p:nvPr>
            <p:ph type="title"/>
          </p:nvPr>
        </p:nvSpPr>
        <p:spPr>
          <a:xfrm>
            <a:off x="0" y="0"/>
            <a:ext cx="6944428" cy="640080"/>
          </a:xfrm>
        </p:spPr>
        <p:txBody>
          <a:bodyPr/>
          <a:lstStyle/>
          <a:p>
            <a:r>
              <a:rPr lang="en-US" dirty="0"/>
              <a:t>Mutually Exclusive Events</a:t>
            </a:r>
          </a:p>
        </p:txBody>
      </p:sp>
      <p:sp>
        <p:nvSpPr>
          <p:cNvPr id="4" name="TextBox 3">
            <a:extLst>
              <a:ext uri="{FF2B5EF4-FFF2-40B4-BE49-F238E27FC236}">
                <a16:creationId xmlns:a16="http://schemas.microsoft.com/office/drawing/2014/main" id="{DA48BC19-656E-4D18-88D1-31209889C88E}"/>
              </a:ext>
            </a:extLst>
          </p:cNvPr>
          <p:cNvSpPr txBox="1"/>
          <p:nvPr/>
        </p:nvSpPr>
        <p:spPr>
          <a:xfrm>
            <a:off x="83761" y="810906"/>
            <a:ext cx="8439004" cy="738664"/>
          </a:xfrm>
          <a:prstGeom prst="rect">
            <a:avLst/>
          </a:prstGeom>
          <a:noFill/>
        </p:spPr>
        <p:txBody>
          <a:bodyPr wrap="square" rtlCol="0">
            <a:spAutoFit/>
          </a:bodyPr>
          <a:lstStyle/>
          <a:p>
            <a:pPr algn="l"/>
            <a:r>
              <a:rPr lang="en-US" sz="1400" b="1" dirty="0">
                <a:solidFill>
                  <a:srgbClr val="333333"/>
                </a:solidFill>
                <a:latin typeface="Verdana" panose="020B0604030504040204" pitchFamily="34" charset="0"/>
                <a:cs typeface="Arial" panose="020B0604020202020204" pitchFamily="34" charset="0"/>
              </a:rPr>
              <a:t>Example: King OR Queen</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Find what's the probability of getting a king or Queen ? </a:t>
            </a:r>
          </a:p>
        </p:txBody>
      </p:sp>
      <mc:AlternateContent xmlns:mc="http://schemas.openxmlformats.org/markup-compatibility/2006">
        <mc:Choice xmlns:p14="http://schemas.microsoft.com/office/powerpoint/2010/main" Requires="p14">
          <p:contentPart p14:bwMode="auto" r:id="rId2">
            <p14:nvContentPartPr>
              <p14:cNvPr id="3" name="Ink 2">
                <a:extLst>
                  <a:ext uri="{FF2B5EF4-FFF2-40B4-BE49-F238E27FC236}">
                    <a16:creationId xmlns:a16="http://schemas.microsoft.com/office/drawing/2014/main" id="{AA2EB47F-7DC5-440A-A816-10BFB33DBD09}"/>
                  </a:ext>
                </a:extLst>
              </p14:cNvPr>
              <p14:cNvContentPartPr/>
              <p14:nvPr/>
            </p14:nvContentPartPr>
            <p14:xfrm>
              <a:off x="723960" y="76320"/>
              <a:ext cx="8048880" cy="3976920"/>
            </p14:xfrm>
          </p:contentPart>
        </mc:Choice>
        <mc:Fallback>
          <p:pic>
            <p:nvPicPr>
              <p:cNvPr id="3" name="Ink 2">
                <a:extLst>
                  <a:ext uri="{FF2B5EF4-FFF2-40B4-BE49-F238E27FC236}">
                    <a16:creationId xmlns:a16="http://schemas.microsoft.com/office/drawing/2014/main" id="{AA2EB47F-7DC5-440A-A816-10BFB33DBD09}"/>
                  </a:ext>
                </a:extLst>
              </p:cNvPr>
              <p:cNvPicPr/>
              <p:nvPr/>
            </p:nvPicPr>
            <p:blipFill>
              <a:blip r:embed="rId3"/>
              <a:stretch>
                <a:fillRect/>
              </a:stretch>
            </p:blipFill>
            <p:spPr>
              <a:xfrm>
                <a:off x="714600" y="66960"/>
                <a:ext cx="8067600" cy="3995640"/>
              </a:xfrm>
              <a:prstGeom prst="rect">
                <a:avLst/>
              </a:prstGeom>
            </p:spPr>
          </p:pic>
        </mc:Fallback>
      </mc:AlternateContent>
    </p:spTree>
    <p:extLst>
      <p:ext uri="{BB962C8B-B14F-4D97-AF65-F5344CB8AC3E}">
        <p14:creationId xmlns:p14="http://schemas.microsoft.com/office/powerpoint/2010/main" val="2084172098"/>
      </p:ext>
    </p:extLst>
  </p:cSld>
  <p:clrMapOvr>
    <a:masterClrMapping/>
  </p:clrMapOvr>
  <p:transition spd="med">
    <p:wipe dir="r"/>
  </p:transition>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183DEF-09FC-48BE-B29F-3608B56A38D7}"/>
              </a:ext>
            </a:extLst>
          </p:cNvPr>
          <p:cNvSpPr>
            <a:spLocks noGrp="1"/>
          </p:cNvSpPr>
          <p:nvPr>
            <p:ph type="title"/>
          </p:nvPr>
        </p:nvSpPr>
        <p:spPr>
          <a:xfrm>
            <a:off x="0" y="0"/>
            <a:ext cx="4295219" cy="640080"/>
          </a:xfrm>
        </p:spPr>
        <p:txBody>
          <a:bodyPr/>
          <a:lstStyle/>
          <a:p>
            <a:r>
              <a:rPr lang="en-US" dirty="0"/>
              <a:t>Mutually exclusive events</a:t>
            </a:r>
          </a:p>
        </p:txBody>
      </p:sp>
      <p:sp>
        <p:nvSpPr>
          <p:cNvPr id="3" name="Content Placeholder 2">
            <a:extLst>
              <a:ext uri="{FF2B5EF4-FFF2-40B4-BE49-F238E27FC236}">
                <a16:creationId xmlns:a16="http://schemas.microsoft.com/office/drawing/2014/main" id="{9782BCFC-7E33-441B-BF58-D27E3E2886DC}"/>
              </a:ext>
            </a:extLst>
          </p:cNvPr>
          <p:cNvSpPr>
            <a:spLocks noGrp="1"/>
          </p:cNvSpPr>
          <p:nvPr>
            <p:ph sz="half" idx="13"/>
          </p:nvPr>
        </p:nvSpPr>
        <p:spPr>
          <a:xfrm>
            <a:off x="24412" y="700807"/>
            <a:ext cx="8541613" cy="3200400"/>
          </a:xfrm>
        </p:spPr>
        <p:txBody>
          <a:bodyPr>
            <a:normAutofit/>
          </a:bodyPr>
          <a:lstStyle/>
          <a:p>
            <a:pPr marL="0" indent="0">
              <a:buNone/>
            </a:pPr>
            <a:r>
              <a:rPr lang="en-US" sz="1800" b="1" dirty="0"/>
              <a:t>When events are not Mutually exclusive – be careful in calculation !!</a:t>
            </a:r>
          </a:p>
        </p:txBody>
      </p:sp>
      <p:pic>
        <p:nvPicPr>
          <p:cNvPr id="5" name="Picture 4">
            <a:extLst>
              <a:ext uri="{FF2B5EF4-FFF2-40B4-BE49-F238E27FC236}">
                <a16:creationId xmlns:a16="http://schemas.microsoft.com/office/drawing/2014/main" id="{46583470-E112-4013-8A44-9FFF9E00480B}"/>
              </a:ext>
            </a:extLst>
          </p:cNvPr>
          <p:cNvPicPr>
            <a:picLocks noChangeAspect="1"/>
          </p:cNvPicPr>
          <p:nvPr/>
        </p:nvPicPr>
        <p:blipFill>
          <a:blip r:embed="rId2"/>
          <a:stretch>
            <a:fillRect/>
          </a:stretch>
        </p:blipFill>
        <p:spPr>
          <a:xfrm>
            <a:off x="2044167" y="1109226"/>
            <a:ext cx="2011302" cy="1612960"/>
          </a:xfrm>
          <a:prstGeom prst="rect">
            <a:avLst/>
          </a:prstGeom>
        </p:spPr>
      </p:pic>
      <p:sp>
        <p:nvSpPr>
          <p:cNvPr id="6" name="TextBox 5">
            <a:extLst>
              <a:ext uri="{FF2B5EF4-FFF2-40B4-BE49-F238E27FC236}">
                <a16:creationId xmlns:a16="http://schemas.microsoft.com/office/drawing/2014/main" id="{6A2B0CE2-96F0-4A88-9B6E-E65CB299A76B}"/>
              </a:ext>
            </a:extLst>
          </p:cNvPr>
          <p:cNvSpPr txBox="1"/>
          <p:nvPr/>
        </p:nvSpPr>
        <p:spPr>
          <a:xfrm>
            <a:off x="160544" y="1354150"/>
            <a:ext cx="1626375"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What is the probability of getting a </a:t>
            </a:r>
            <a:r>
              <a:rPr lang="en-US" sz="1400" b="1" dirty="0">
                <a:solidFill>
                  <a:schemeClr val="bg2"/>
                </a:solidFill>
                <a:latin typeface="+mn-lt"/>
              </a:rPr>
              <a:t>KING</a:t>
            </a:r>
            <a:r>
              <a:rPr lang="en-US" sz="1400" dirty="0">
                <a:solidFill>
                  <a:schemeClr val="bg2"/>
                </a:solidFill>
                <a:latin typeface="+mn-lt"/>
              </a:rPr>
              <a:t> or </a:t>
            </a:r>
            <a:r>
              <a:rPr lang="en-US" sz="1400" b="1" dirty="0">
                <a:solidFill>
                  <a:schemeClr val="bg2"/>
                </a:solidFill>
                <a:latin typeface="+mn-lt"/>
              </a:rPr>
              <a:t>Heart</a:t>
            </a:r>
            <a:r>
              <a:rPr lang="en-US" sz="1400" dirty="0">
                <a:solidFill>
                  <a:schemeClr val="bg2"/>
                </a:solidFill>
                <a:latin typeface="+mn-lt"/>
              </a:rPr>
              <a:t> ?</a:t>
            </a:r>
          </a:p>
        </p:txBody>
      </p:sp>
      <p:sp>
        <p:nvSpPr>
          <p:cNvPr id="7" name="TextBox 6">
            <a:extLst>
              <a:ext uri="{FF2B5EF4-FFF2-40B4-BE49-F238E27FC236}">
                <a16:creationId xmlns:a16="http://schemas.microsoft.com/office/drawing/2014/main" id="{9B5D54AC-3A31-4E91-934F-134C027A601E}"/>
              </a:ext>
            </a:extLst>
          </p:cNvPr>
          <p:cNvSpPr txBox="1"/>
          <p:nvPr/>
        </p:nvSpPr>
        <p:spPr>
          <a:xfrm>
            <a:off x="4523139" y="1354150"/>
            <a:ext cx="3811164" cy="1600438"/>
          </a:xfrm>
          <a:prstGeom prst="rect">
            <a:avLst/>
          </a:prstGeom>
          <a:noFill/>
        </p:spPr>
        <p:txBody>
          <a:bodyPr wrap="square" rtlCol="0">
            <a:spAutoFit/>
          </a:bodyPr>
          <a:lstStyle/>
          <a:p>
            <a:pPr algn="l"/>
            <a:r>
              <a:rPr lang="en-US" sz="1400" dirty="0">
                <a:solidFill>
                  <a:schemeClr val="bg2"/>
                </a:solidFill>
                <a:latin typeface="+mn-lt"/>
              </a:rPr>
              <a:t>But Hearts or Kings is:</a:t>
            </a:r>
          </a:p>
          <a:p>
            <a:pPr algn="l"/>
            <a:endParaRPr lang="en-US" sz="1400" dirty="0">
              <a:solidFill>
                <a:schemeClr val="bg2"/>
              </a:solidFill>
              <a:latin typeface="+mn-lt"/>
            </a:endParaRPr>
          </a:p>
          <a:p>
            <a:pPr algn="l">
              <a:buFont typeface="Arial" panose="020B0604020202020204" pitchFamily="34" charset="0"/>
              <a:buChar char="•"/>
            </a:pPr>
            <a:r>
              <a:rPr lang="en-US" sz="1400" dirty="0">
                <a:solidFill>
                  <a:schemeClr val="bg2"/>
                </a:solidFill>
                <a:latin typeface="+mn-lt"/>
              </a:rPr>
              <a:t>all the Hearts (13 of them)</a:t>
            </a:r>
          </a:p>
          <a:p>
            <a:pPr algn="l">
              <a:buFont typeface="Arial" panose="020B0604020202020204" pitchFamily="34" charset="0"/>
              <a:buChar char="•"/>
            </a:pPr>
            <a:r>
              <a:rPr lang="en-US" sz="1400" dirty="0">
                <a:solidFill>
                  <a:schemeClr val="bg2"/>
                </a:solidFill>
                <a:latin typeface="+mn-lt"/>
              </a:rPr>
              <a:t>all the Kings (4 of them)</a:t>
            </a:r>
          </a:p>
          <a:p>
            <a:pPr algn="l"/>
            <a:endParaRPr lang="en-US" sz="1400" b="1" dirty="0">
              <a:solidFill>
                <a:schemeClr val="bg2"/>
              </a:solidFill>
              <a:latin typeface="+mn-lt"/>
            </a:endParaRPr>
          </a:p>
          <a:p>
            <a:pPr algn="l"/>
            <a:r>
              <a:rPr lang="en-US" sz="1400" b="1" dirty="0">
                <a:solidFill>
                  <a:srgbClr val="FF0000"/>
                </a:solidFill>
                <a:latin typeface="+mn-lt"/>
              </a:rPr>
              <a:t>But that counts the King of Hearts twice!</a:t>
            </a:r>
          </a:p>
          <a:p>
            <a:pPr>
              <a:spcBef>
                <a:spcPts val="0"/>
              </a:spcBef>
              <a:spcAft>
                <a:spcPts val="0"/>
              </a:spcAft>
              <a:buClr>
                <a:schemeClr val="bg1"/>
              </a:buClr>
            </a:pPr>
            <a:endParaRPr lang="en-US" sz="1400" dirty="0" err="1">
              <a:solidFill>
                <a:schemeClr val="bg2"/>
              </a:solidFill>
              <a:latin typeface="+mn-lt"/>
            </a:endParaRPr>
          </a:p>
        </p:txBody>
      </p:sp>
      <p:pic>
        <p:nvPicPr>
          <p:cNvPr id="10" name="Picture 9">
            <a:extLst>
              <a:ext uri="{FF2B5EF4-FFF2-40B4-BE49-F238E27FC236}">
                <a16:creationId xmlns:a16="http://schemas.microsoft.com/office/drawing/2014/main" id="{2227465D-37BE-4E4D-B9A3-EF881800E713}"/>
              </a:ext>
            </a:extLst>
          </p:cNvPr>
          <p:cNvPicPr>
            <a:picLocks noChangeAspect="1"/>
          </p:cNvPicPr>
          <p:nvPr/>
        </p:nvPicPr>
        <p:blipFill>
          <a:blip r:embed="rId3"/>
          <a:stretch>
            <a:fillRect/>
          </a:stretch>
        </p:blipFill>
        <p:spPr>
          <a:xfrm>
            <a:off x="1556574" y="3375529"/>
            <a:ext cx="6303080" cy="1754328"/>
          </a:xfrm>
          <a:prstGeom prst="rect">
            <a:avLst/>
          </a:prstGeom>
        </p:spPr>
      </p:pic>
      <p:sp>
        <p:nvSpPr>
          <p:cNvPr id="11" name="TextBox 10">
            <a:extLst>
              <a:ext uri="{FF2B5EF4-FFF2-40B4-BE49-F238E27FC236}">
                <a16:creationId xmlns:a16="http://schemas.microsoft.com/office/drawing/2014/main" id="{A0696F8E-B303-413C-B330-19C3FDC60711}"/>
              </a:ext>
            </a:extLst>
          </p:cNvPr>
          <p:cNvSpPr txBox="1"/>
          <p:nvPr/>
        </p:nvSpPr>
        <p:spPr>
          <a:xfrm>
            <a:off x="160544" y="2835244"/>
            <a:ext cx="2966564"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So, the correct answer is ? </a:t>
            </a:r>
          </a:p>
        </p:txBody>
      </p:sp>
      <mc:AlternateContent xmlns:mc="http://schemas.openxmlformats.org/markup-compatibility/2006">
        <mc:Choice xmlns:p14="http://schemas.microsoft.com/office/powerpoint/2010/main" Requires="p14">
          <p:contentPart p14:bwMode="auto" r:id="rId4">
            <p14:nvContentPartPr>
              <p14:cNvPr id="4" name="Ink 3">
                <a:extLst>
                  <a:ext uri="{FF2B5EF4-FFF2-40B4-BE49-F238E27FC236}">
                    <a16:creationId xmlns:a16="http://schemas.microsoft.com/office/drawing/2014/main" id="{B630326D-B4F2-4FEE-AA4C-051B8ACE2EE7}"/>
                  </a:ext>
                </a:extLst>
              </p14:cNvPr>
              <p14:cNvContentPartPr/>
              <p14:nvPr/>
            </p14:nvContentPartPr>
            <p14:xfrm>
              <a:off x="318960" y="457200"/>
              <a:ext cx="8472960" cy="4267440"/>
            </p14:xfrm>
          </p:contentPart>
        </mc:Choice>
        <mc:Fallback>
          <p:pic>
            <p:nvPicPr>
              <p:cNvPr id="4" name="Ink 3">
                <a:extLst>
                  <a:ext uri="{FF2B5EF4-FFF2-40B4-BE49-F238E27FC236}">
                    <a16:creationId xmlns:a16="http://schemas.microsoft.com/office/drawing/2014/main" id="{B630326D-B4F2-4FEE-AA4C-051B8ACE2EE7}"/>
                  </a:ext>
                </a:extLst>
              </p:cNvPr>
              <p:cNvPicPr/>
              <p:nvPr/>
            </p:nvPicPr>
            <p:blipFill>
              <a:blip r:embed="rId5"/>
              <a:stretch>
                <a:fillRect/>
              </a:stretch>
            </p:blipFill>
            <p:spPr>
              <a:xfrm>
                <a:off x="309600" y="447840"/>
                <a:ext cx="8491680" cy="4286160"/>
              </a:xfrm>
              <a:prstGeom prst="rect">
                <a:avLst/>
              </a:prstGeom>
            </p:spPr>
          </p:pic>
        </mc:Fallback>
      </mc:AlternateContent>
    </p:spTree>
    <p:extLst>
      <p:ext uri="{BB962C8B-B14F-4D97-AF65-F5344CB8AC3E}">
        <p14:creationId xmlns:p14="http://schemas.microsoft.com/office/powerpoint/2010/main" val="4160957609"/>
      </p:ext>
    </p:extLst>
  </p:cSld>
  <p:clrMapOvr>
    <a:masterClrMapping/>
  </p:clrMapOvr>
  <p:transition spd="med">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FA937C-9F74-4776-9FBD-887D88497E3E}"/>
              </a:ext>
            </a:extLst>
          </p:cNvPr>
          <p:cNvSpPr>
            <a:spLocks noGrp="1"/>
          </p:cNvSpPr>
          <p:nvPr>
            <p:ph type="title"/>
          </p:nvPr>
        </p:nvSpPr>
        <p:spPr/>
        <p:txBody>
          <a:bodyPr/>
          <a:lstStyle/>
          <a:p>
            <a:r>
              <a:rPr lang="en-US" dirty="0"/>
              <a:t>Worksheet</a:t>
            </a:r>
          </a:p>
        </p:txBody>
      </p:sp>
    </p:spTree>
    <p:extLst>
      <p:ext uri="{BB962C8B-B14F-4D97-AF65-F5344CB8AC3E}">
        <p14:creationId xmlns:p14="http://schemas.microsoft.com/office/powerpoint/2010/main" val="2707576164"/>
      </p:ext>
    </p:extLst>
  </p:cSld>
  <p:clrMapOvr>
    <a:masterClrMapping/>
  </p:clrMapOvr>
  <p:transition spd="med">
    <p:wipe dir="r"/>
  </p:transition>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2BC964-5A13-49A2-AC32-BC58DBBB541B}"/>
              </a:ext>
            </a:extLst>
          </p:cNvPr>
          <p:cNvSpPr>
            <a:spLocks noGrp="1"/>
          </p:cNvSpPr>
          <p:nvPr>
            <p:ph type="title"/>
          </p:nvPr>
        </p:nvSpPr>
        <p:spPr>
          <a:xfrm>
            <a:off x="0" y="22860"/>
            <a:ext cx="8780208" cy="640080"/>
          </a:xfrm>
        </p:spPr>
        <p:txBody>
          <a:bodyPr/>
          <a:lstStyle/>
          <a:p>
            <a:r>
              <a:rPr lang="en-US" sz="2800" b="1" dirty="0"/>
              <a:t>When events are not Mutually exclusive – be careful in calculation !!</a:t>
            </a:r>
            <a:br>
              <a:rPr lang="en-US" sz="2800" b="1" dirty="0"/>
            </a:br>
            <a:endParaRPr lang="en-US" dirty="0"/>
          </a:p>
        </p:txBody>
      </p:sp>
      <p:sp>
        <p:nvSpPr>
          <p:cNvPr id="3" name="Content Placeholder 2">
            <a:extLst>
              <a:ext uri="{FF2B5EF4-FFF2-40B4-BE49-F238E27FC236}">
                <a16:creationId xmlns:a16="http://schemas.microsoft.com/office/drawing/2014/main" id="{FA234F7A-145E-467A-AEB8-D9C930FC3B5E}"/>
              </a:ext>
            </a:extLst>
          </p:cNvPr>
          <p:cNvSpPr>
            <a:spLocks noGrp="1"/>
          </p:cNvSpPr>
          <p:nvPr>
            <p:ph sz="half" idx="13"/>
          </p:nvPr>
        </p:nvSpPr>
        <p:spPr>
          <a:xfrm>
            <a:off x="71895" y="1042835"/>
            <a:ext cx="8402010" cy="3200400"/>
          </a:xfrm>
        </p:spPr>
        <p:txBody>
          <a:bodyPr/>
          <a:lstStyle/>
          <a:p>
            <a:r>
              <a:rPr lang="en-US" b="1" i="0" dirty="0">
                <a:solidFill>
                  <a:srgbClr val="296BC2"/>
                </a:solidFill>
                <a:effectLst/>
                <a:latin typeface="Verdana" panose="020B0604030504040204" pitchFamily="34" charset="0"/>
              </a:rPr>
              <a:t>P(A or B) = P(A) + P(B) − P(A and B)</a:t>
            </a:r>
          </a:p>
          <a:p>
            <a:r>
              <a:rPr lang="en-US" b="0" i="1" dirty="0">
                <a:solidFill>
                  <a:srgbClr val="333333"/>
                </a:solidFill>
                <a:effectLst/>
                <a:latin typeface="Verdana" panose="020B0604030504040204" pitchFamily="34" charset="0"/>
              </a:rPr>
              <a:t>"The probability of A </a:t>
            </a:r>
            <a:r>
              <a:rPr lang="en-US" b="1" i="1" dirty="0">
                <a:solidFill>
                  <a:srgbClr val="333333"/>
                </a:solidFill>
                <a:effectLst/>
                <a:latin typeface="Verdana" panose="020B0604030504040204" pitchFamily="34" charset="0"/>
              </a:rPr>
              <a:t>or</a:t>
            </a:r>
            <a:r>
              <a:rPr lang="en-US" b="0" i="1" dirty="0">
                <a:solidFill>
                  <a:srgbClr val="333333"/>
                </a:solidFill>
                <a:effectLst/>
                <a:latin typeface="Verdana" panose="020B0604030504040204" pitchFamily="34" charset="0"/>
              </a:rPr>
              <a:t> B equals the probability of A </a:t>
            </a:r>
            <a:r>
              <a:rPr lang="en-US" b="1" i="1" dirty="0">
                <a:solidFill>
                  <a:srgbClr val="333333"/>
                </a:solidFill>
                <a:effectLst/>
                <a:latin typeface="Verdana" panose="020B0604030504040204" pitchFamily="34" charset="0"/>
              </a:rPr>
              <a:t>plus</a:t>
            </a:r>
            <a:r>
              <a:rPr lang="en-US" b="0" i="1" dirty="0">
                <a:solidFill>
                  <a:srgbClr val="333333"/>
                </a:solidFill>
                <a:effectLst/>
                <a:latin typeface="Verdana" panose="020B0604030504040204" pitchFamily="34" charset="0"/>
              </a:rPr>
              <a:t> the probability of B</a:t>
            </a:r>
            <a:br>
              <a:rPr lang="en-US" b="0" i="1" dirty="0">
                <a:solidFill>
                  <a:srgbClr val="333333"/>
                </a:solidFill>
                <a:effectLst/>
                <a:latin typeface="Verdana" panose="020B0604030504040204" pitchFamily="34" charset="0"/>
              </a:rPr>
            </a:br>
            <a:r>
              <a:rPr lang="en-US" b="1" i="1" dirty="0">
                <a:solidFill>
                  <a:srgbClr val="333333"/>
                </a:solidFill>
                <a:effectLst/>
                <a:latin typeface="Verdana" panose="020B0604030504040204" pitchFamily="34" charset="0"/>
              </a:rPr>
              <a:t>minus</a:t>
            </a:r>
            <a:r>
              <a:rPr lang="en-US" b="0" i="1" dirty="0">
                <a:solidFill>
                  <a:srgbClr val="333333"/>
                </a:solidFill>
                <a:effectLst/>
                <a:latin typeface="Verdana" panose="020B0604030504040204" pitchFamily="34" charset="0"/>
              </a:rPr>
              <a:t> the probability of A </a:t>
            </a:r>
            <a:r>
              <a:rPr lang="en-US" b="1" i="1" dirty="0">
                <a:solidFill>
                  <a:srgbClr val="333333"/>
                </a:solidFill>
                <a:effectLst/>
                <a:latin typeface="Verdana" panose="020B0604030504040204" pitchFamily="34" charset="0"/>
              </a:rPr>
              <a:t>and</a:t>
            </a:r>
            <a:r>
              <a:rPr lang="en-US" b="0" i="1" dirty="0">
                <a:solidFill>
                  <a:srgbClr val="333333"/>
                </a:solidFill>
                <a:effectLst/>
                <a:latin typeface="Verdana" panose="020B0604030504040204" pitchFamily="34" charset="0"/>
              </a:rPr>
              <a:t> B“</a:t>
            </a:r>
          </a:p>
          <a:p>
            <a:r>
              <a:rPr lang="en-US" i="1" dirty="0">
                <a:solidFill>
                  <a:srgbClr val="333333"/>
                </a:solidFill>
                <a:latin typeface="Verdana" panose="020B0604030504040204" pitchFamily="34" charset="0"/>
              </a:rPr>
              <a:t>Ex : 16 people study French, 21 study Spanish and there are 30 altogether. Work out the probabilities!</a:t>
            </a:r>
          </a:p>
          <a:p>
            <a:r>
              <a:rPr lang="en-US" b="0" i="0" dirty="0">
                <a:solidFill>
                  <a:srgbClr val="333333"/>
                </a:solidFill>
                <a:effectLst/>
                <a:latin typeface="Verdana" panose="020B0604030504040204" pitchFamily="34" charset="0"/>
              </a:rPr>
              <a:t>This is definitely a case of </a:t>
            </a:r>
            <a:r>
              <a:rPr lang="en-US" b="1" i="0" dirty="0">
                <a:solidFill>
                  <a:srgbClr val="333333"/>
                </a:solidFill>
                <a:effectLst/>
                <a:latin typeface="Verdana" panose="020B0604030504040204" pitchFamily="34" charset="0"/>
              </a:rPr>
              <a:t>not</a:t>
            </a:r>
            <a:r>
              <a:rPr lang="en-US" b="0" i="0" dirty="0">
                <a:solidFill>
                  <a:srgbClr val="333333"/>
                </a:solidFill>
                <a:effectLst/>
                <a:latin typeface="Verdana" panose="020B0604030504040204" pitchFamily="34" charset="0"/>
              </a:rPr>
              <a:t> Mutually Exclusive (you can study French AND Spanish).</a:t>
            </a:r>
            <a:endParaRPr lang="en-US" b="0" i="1" dirty="0">
              <a:solidFill>
                <a:srgbClr val="333333"/>
              </a:solidFill>
              <a:effectLst/>
              <a:latin typeface="Verdana" panose="020B0604030504040204" pitchFamily="34" charset="0"/>
            </a:endParaRPr>
          </a:p>
          <a:p>
            <a:pPr algn="l"/>
            <a:r>
              <a:rPr lang="en-US" b="0" i="0" dirty="0">
                <a:solidFill>
                  <a:srgbClr val="333333"/>
                </a:solidFill>
                <a:effectLst/>
                <a:latin typeface="Verdana" panose="020B0604030504040204" pitchFamily="34" charset="0"/>
              </a:rPr>
              <a:t>Let's say </a:t>
            </a:r>
            <a:r>
              <a:rPr lang="en-US" b="1" i="0" dirty="0">
                <a:solidFill>
                  <a:srgbClr val="333333"/>
                </a:solidFill>
                <a:effectLst/>
                <a:latin typeface="Verdana" panose="020B0604030504040204" pitchFamily="34" charset="0"/>
              </a:rPr>
              <a:t>b</a:t>
            </a:r>
            <a:r>
              <a:rPr lang="en-US" b="0" i="0" dirty="0">
                <a:solidFill>
                  <a:srgbClr val="333333"/>
                </a:solidFill>
                <a:effectLst/>
                <a:latin typeface="Verdana" panose="020B0604030504040204" pitchFamily="34" charset="0"/>
              </a:rPr>
              <a:t> is how many study both languages:</a:t>
            </a:r>
          </a:p>
          <a:p>
            <a:pPr lvl="1">
              <a:buFont typeface="Arial" panose="020B0604020202020204" pitchFamily="34" charset="0"/>
              <a:buChar char="•"/>
            </a:pPr>
            <a:r>
              <a:rPr lang="en-US" b="0" i="0" dirty="0">
                <a:solidFill>
                  <a:srgbClr val="333333"/>
                </a:solidFill>
                <a:effectLst/>
                <a:latin typeface="Verdana" panose="020B0604030504040204" pitchFamily="34" charset="0"/>
              </a:rPr>
              <a:t>people studying French Only must be 16-b</a:t>
            </a:r>
          </a:p>
          <a:p>
            <a:pPr lvl="1">
              <a:buFont typeface="Arial" panose="020B0604020202020204" pitchFamily="34" charset="0"/>
              <a:buChar char="•"/>
            </a:pPr>
            <a:r>
              <a:rPr lang="en-US" b="0" i="0" dirty="0">
                <a:solidFill>
                  <a:srgbClr val="333333"/>
                </a:solidFill>
                <a:effectLst/>
                <a:latin typeface="Verdana" panose="020B0604030504040204" pitchFamily="34" charset="0"/>
              </a:rPr>
              <a:t>people studying Spanish Only must be 21-b</a:t>
            </a:r>
          </a:p>
          <a:p>
            <a:r>
              <a:rPr lang="en-US" b="1" i="0" dirty="0">
                <a:solidFill>
                  <a:srgbClr val="296BC2"/>
                </a:solidFill>
                <a:effectLst/>
                <a:latin typeface="Verdana" panose="020B0604030504040204" pitchFamily="34" charset="0"/>
              </a:rPr>
              <a:t>And we get : </a:t>
            </a:r>
          </a:p>
          <a:p>
            <a:endParaRPr lang="en-US" dirty="0"/>
          </a:p>
        </p:txBody>
      </p:sp>
      <p:pic>
        <p:nvPicPr>
          <p:cNvPr id="5" name="Picture 4">
            <a:extLst>
              <a:ext uri="{FF2B5EF4-FFF2-40B4-BE49-F238E27FC236}">
                <a16:creationId xmlns:a16="http://schemas.microsoft.com/office/drawing/2014/main" id="{09BDB48C-2C80-4EBF-A09F-0ED942636CAE}"/>
              </a:ext>
            </a:extLst>
          </p:cNvPr>
          <p:cNvPicPr>
            <a:picLocks noChangeAspect="1"/>
          </p:cNvPicPr>
          <p:nvPr/>
        </p:nvPicPr>
        <p:blipFill>
          <a:blip r:embed="rId2"/>
          <a:stretch>
            <a:fillRect/>
          </a:stretch>
        </p:blipFill>
        <p:spPr>
          <a:xfrm>
            <a:off x="4118072" y="3152775"/>
            <a:ext cx="4286250" cy="1990725"/>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8E407F55-5086-43FA-9F1B-EE8657E94BE8}"/>
                  </a:ext>
                </a:extLst>
              </p14:cNvPr>
              <p14:cNvContentPartPr/>
              <p14:nvPr/>
            </p14:nvContentPartPr>
            <p14:xfrm>
              <a:off x="604800" y="852480"/>
              <a:ext cx="7663320" cy="3786480"/>
            </p14:xfrm>
          </p:contentPart>
        </mc:Choice>
        <mc:Fallback>
          <p:pic>
            <p:nvPicPr>
              <p:cNvPr id="4" name="Ink 3">
                <a:extLst>
                  <a:ext uri="{FF2B5EF4-FFF2-40B4-BE49-F238E27FC236}">
                    <a16:creationId xmlns:a16="http://schemas.microsoft.com/office/drawing/2014/main" id="{8E407F55-5086-43FA-9F1B-EE8657E94BE8}"/>
                  </a:ext>
                </a:extLst>
              </p:cNvPr>
              <p:cNvPicPr/>
              <p:nvPr/>
            </p:nvPicPr>
            <p:blipFill>
              <a:blip r:embed="rId4"/>
              <a:stretch>
                <a:fillRect/>
              </a:stretch>
            </p:blipFill>
            <p:spPr>
              <a:xfrm>
                <a:off x="595440" y="843120"/>
                <a:ext cx="7682040" cy="3805200"/>
              </a:xfrm>
              <a:prstGeom prst="rect">
                <a:avLst/>
              </a:prstGeom>
            </p:spPr>
          </p:pic>
        </mc:Fallback>
      </mc:AlternateContent>
    </p:spTree>
    <p:extLst>
      <p:ext uri="{BB962C8B-B14F-4D97-AF65-F5344CB8AC3E}">
        <p14:creationId xmlns:p14="http://schemas.microsoft.com/office/powerpoint/2010/main" val="530449741"/>
      </p:ext>
    </p:extLst>
  </p:cSld>
  <p:clrMapOvr>
    <a:masterClrMapping/>
  </p:clrMapOvr>
  <p:transition spd="med">
    <p:wipe dir="r"/>
  </p:transition>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CFC882-A288-45FD-9593-6B2F8D5668BA}"/>
              </a:ext>
            </a:extLst>
          </p:cNvPr>
          <p:cNvSpPr>
            <a:spLocks noGrp="1"/>
          </p:cNvSpPr>
          <p:nvPr>
            <p:ph type="title"/>
          </p:nvPr>
        </p:nvSpPr>
        <p:spPr>
          <a:xfrm>
            <a:off x="0" y="0"/>
            <a:ext cx="8870950" cy="640080"/>
          </a:xfrm>
        </p:spPr>
        <p:txBody>
          <a:bodyPr/>
          <a:lstStyle/>
          <a:p>
            <a:r>
              <a:rPr lang="en-US" sz="2800" b="1" dirty="0"/>
              <a:t>When events are not Mutually exclusive – be careful in calculation !!</a:t>
            </a:r>
            <a:endParaRPr lang="en-US" dirty="0"/>
          </a:p>
        </p:txBody>
      </p:sp>
      <p:pic>
        <p:nvPicPr>
          <p:cNvPr id="5" name="Content Placeholder 4">
            <a:extLst>
              <a:ext uri="{FF2B5EF4-FFF2-40B4-BE49-F238E27FC236}">
                <a16:creationId xmlns:a16="http://schemas.microsoft.com/office/drawing/2014/main" id="{9518B9F0-73A4-45CF-AB04-F2591F776DA0}"/>
              </a:ext>
            </a:extLst>
          </p:cNvPr>
          <p:cNvPicPr>
            <a:picLocks noGrp="1" noChangeAspect="1"/>
          </p:cNvPicPr>
          <p:nvPr>
            <p:ph sz="half" idx="13"/>
          </p:nvPr>
        </p:nvPicPr>
        <p:blipFill>
          <a:blip r:embed="rId2"/>
          <a:stretch>
            <a:fillRect/>
          </a:stretch>
        </p:blipFill>
        <p:spPr>
          <a:xfrm>
            <a:off x="222202" y="1680156"/>
            <a:ext cx="4283075" cy="1673201"/>
          </a:xfrm>
        </p:spPr>
      </p:pic>
      <p:pic>
        <p:nvPicPr>
          <p:cNvPr id="6" name="Picture 5">
            <a:extLst>
              <a:ext uri="{FF2B5EF4-FFF2-40B4-BE49-F238E27FC236}">
                <a16:creationId xmlns:a16="http://schemas.microsoft.com/office/drawing/2014/main" id="{09BDB48C-2C80-4EBF-A09F-0ED942636CAE}"/>
              </a:ext>
            </a:extLst>
          </p:cNvPr>
          <p:cNvPicPr>
            <a:picLocks noChangeAspect="1"/>
          </p:cNvPicPr>
          <p:nvPr/>
        </p:nvPicPr>
        <p:blipFill>
          <a:blip r:embed="rId3"/>
          <a:stretch>
            <a:fillRect/>
          </a:stretch>
        </p:blipFill>
        <p:spPr>
          <a:xfrm>
            <a:off x="5319210" y="898548"/>
            <a:ext cx="3602588" cy="1673202"/>
          </a:xfrm>
          <a:prstGeom prst="rect">
            <a:avLst/>
          </a:prstGeom>
        </p:spPr>
      </p:pic>
      <p:pic>
        <p:nvPicPr>
          <p:cNvPr id="8" name="Picture 7">
            <a:extLst>
              <a:ext uri="{FF2B5EF4-FFF2-40B4-BE49-F238E27FC236}">
                <a16:creationId xmlns:a16="http://schemas.microsoft.com/office/drawing/2014/main" id="{642F7A70-E2DC-4B17-9983-FAE6C2260F81}"/>
              </a:ext>
            </a:extLst>
          </p:cNvPr>
          <p:cNvPicPr>
            <a:picLocks noChangeAspect="1"/>
          </p:cNvPicPr>
          <p:nvPr/>
        </p:nvPicPr>
        <p:blipFill>
          <a:blip r:embed="rId4"/>
          <a:stretch>
            <a:fillRect/>
          </a:stretch>
        </p:blipFill>
        <p:spPr>
          <a:xfrm>
            <a:off x="5319210" y="2830218"/>
            <a:ext cx="3327279" cy="2293699"/>
          </a:xfrm>
          <a:prstGeom prst="rect">
            <a:avLst/>
          </a:prstGeom>
        </p:spPr>
      </p:pic>
      <mc:AlternateContent xmlns:mc="http://schemas.openxmlformats.org/markup-compatibility/2006">
        <mc:Choice xmlns:p14="http://schemas.microsoft.com/office/powerpoint/2010/main" Requires="p14">
          <p:contentPart p14:bwMode="auto" r:id="rId5">
            <p14:nvContentPartPr>
              <p14:cNvPr id="3" name="Ink 2">
                <a:extLst>
                  <a:ext uri="{FF2B5EF4-FFF2-40B4-BE49-F238E27FC236}">
                    <a16:creationId xmlns:a16="http://schemas.microsoft.com/office/drawing/2014/main" id="{88868C9B-8329-4A42-AD28-57BD080E25A5}"/>
                  </a:ext>
                </a:extLst>
              </p14:cNvPr>
              <p14:cNvContentPartPr/>
              <p14:nvPr/>
            </p14:nvContentPartPr>
            <p14:xfrm>
              <a:off x="1233360" y="1738440"/>
              <a:ext cx="7715880" cy="3400560"/>
            </p14:xfrm>
          </p:contentPart>
        </mc:Choice>
        <mc:Fallback>
          <p:pic>
            <p:nvPicPr>
              <p:cNvPr id="3" name="Ink 2">
                <a:extLst>
                  <a:ext uri="{FF2B5EF4-FFF2-40B4-BE49-F238E27FC236}">
                    <a16:creationId xmlns:a16="http://schemas.microsoft.com/office/drawing/2014/main" id="{88868C9B-8329-4A42-AD28-57BD080E25A5}"/>
                  </a:ext>
                </a:extLst>
              </p:cNvPr>
              <p:cNvPicPr/>
              <p:nvPr/>
            </p:nvPicPr>
            <p:blipFill>
              <a:blip r:embed="rId6"/>
              <a:stretch>
                <a:fillRect/>
              </a:stretch>
            </p:blipFill>
            <p:spPr>
              <a:xfrm>
                <a:off x="1224000" y="1729080"/>
                <a:ext cx="7734600" cy="3419280"/>
              </a:xfrm>
              <a:prstGeom prst="rect">
                <a:avLst/>
              </a:prstGeom>
            </p:spPr>
          </p:pic>
        </mc:Fallback>
      </mc:AlternateContent>
    </p:spTree>
    <p:extLst>
      <p:ext uri="{BB962C8B-B14F-4D97-AF65-F5344CB8AC3E}">
        <p14:creationId xmlns:p14="http://schemas.microsoft.com/office/powerpoint/2010/main" val="1439727634"/>
      </p:ext>
    </p:extLst>
  </p:cSld>
  <p:clrMapOvr>
    <a:masterClrMapping/>
  </p:clrMapOvr>
  <p:transition spd="med">
    <p:wipe dir="r"/>
  </p:transition>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F58696-9149-47EB-8E43-B196679F66E4}"/>
              </a:ext>
            </a:extLst>
          </p:cNvPr>
          <p:cNvSpPr>
            <a:spLocks noGrp="1"/>
          </p:cNvSpPr>
          <p:nvPr>
            <p:ph type="title"/>
          </p:nvPr>
        </p:nvSpPr>
        <p:spPr>
          <a:xfrm>
            <a:off x="0" y="0"/>
            <a:ext cx="8403280" cy="640080"/>
          </a:xfrm>
        </p:spPr>
        <p:txBody>
          <a:bodyPr/>
          <a:lstStyle/>
          <a:p>
            <a:r>
              <a:rPr lang="en-US" dirty="0"/>
              <a:t>Conditional Probability </a:t>
            </a:r>
          </a:p>
        </p:txBody>
      </p:sp>
      <p:sp>
        <p:nvSpPr>
          <p:cNvPr id="3" name="Content Placeholder 2">
            <a:extLst>
              <a:ext uri="{FF2B5EF4-FFF2-40B4-BE49-F238E27FC236}">
                <a16:creationId xmlns:a16="http://schemas.microsoft.com/office/drawing/2014/main" id="{26AD090B-12C7-4967-A976-4F12D11DC926}"/>
              </a:ext>
            </a:extLst>
          </p:cNvPr>
          <p:cNvSpPr>
            <a:spLocks noGrp="1"/>
          </p:cNvSpPr>
          <p:nvPr>
            <p:ph sz="half" idx="13"/>
          </p:nvPr>
        </p:nvSpPr>
        <p:spPr>
          <a:xfrm>
            <a:off x="50955" y="755165"/>
            <a:ext cx="8403279" cy="3200400"/>
          </a:xfrm>
        </p:spPr>
        <p:txBody>
          <a:bodyPr>
            <a:normAutofit/>
          </a:bodyPr>
          <a:lstStyle/>
          <a:p>
            <a:pPr marL="0" indent="0">
              <a:buNone/>
            </a:pPr>
            <a:r>
              <a:rPr lang="en-US" dirty="0"/>
              <a:t>Conditional probability is defined as the likelihood of an event or outcome occurring, based on the occurrence of a previous event or outcome. </a:t>
            </a:r>
          </a:p>
          <a:p>
            <a:pPr marL="0" indent="0">
              <a:buNone/>
            </a:pPr>
            <a:r>
              <a:rPr lang="en-US" dirty="0"/>
              <a:t>Conditional probability is calculated by multiplying the probability of the preceding event by the updated probability of the succeeding, or conditional, event.</a:t>
            </a:r>
          </a:p>
          <a:p>
            <a:pPr marL="0" indent="0">
              <a:buNone/>
            </a:pPr>
            <a:r>
              <a:rPr lang="en-US" b="1" i="1" dirty="0"/>
              <a:t>For example 1:</a:t>
            </a:r>
          </a:p>
          <a:p>
            <a:r>
              <a:rPr lang="en-US" dirty="0"/>
              <a:t>Event A is that an individual applying for college will be accepted. There is an 80% chance that this individual will be accepted to college.</a:t>
            </a:r>
          </a:p>
          <a:p>
            <a:r>
              <a:rPr lang="en-US" dirty="0"/>
              <a:t>Event B is that this individual will be given dormitory housing. Dormitory housing will only be provided for 60% of all of the accepted students.</a:t>
            </a:r>
          </a:p>
          <a:p>
            <a:r>
              <a:rPr lang="en-US" dirty="0"/>
              <a:t>P (Accepted and dormitory housing) = P (Dormitory Housing | Accepted) P (Accepted) = (0.60)*(0.80) = 0.48.</a:t>
            </a: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268FB4B5-67F4-4376-9769-DED519CE30D2}"/>
                  </a:ext>
                </a:extLst>
              </p14:cNvPr>
              <p14:cNvContentPartPr/>
              <p14:nvPr/>
            </p14:nvContentPartPr>
            <p14:xfrm>
              <a:off x="185760" y="33480"/>
              <a:ext cx="8953920" cy="4781880"/>
            </p14:xfrm>
          </p:contentPart>
        </mc:Choice>
        <mc:Fallback>
          <p:pic>
            <p:nvPicPr>
              <p:cNvPr id="4" name="Ink 3">
                <a:extLst>
                  <a:ext uri="{FF2B5EF4-FFF2-40B4-BE49-F238E27FC236}">
                    <a16:creationId xmlns:a16="http://schemas.microsoft.com/office/drawing/2014/main" id="{268FB4B5-67F4-4376-9769-DED519CE30D2}"/>
                  </a:ext>
                </a:extLst>
              </p:cNvPr>
              <p:cNvPicPr/>
              <p:nvPr/>
            </p:nvPicPr>
            <p:blipFill>
              <a:blip r:embed="rId3"/>
              <a:stretch>
                <a:fillRect/>
              </a:stretch>
            </p:blipFill>
            <p:spPr>
              <a:xfrm>
                <a:off x="176400" y="24120"/>
                <a:ext cx="8972640" cy="4800600"/>
              </a:xfrm>
              <a:prstGeom prst="rect">
                <a:avLst/>
              </a:prstGeom>
            </p:spPr>
          </p:pic>
        </mc:Fallback>
      </mc:AlternateContent>
    </p:spTree>
    <p:extLst>
      <p:ext uri="{BB962C8B-B14F-4D97-AF65-F5344CB8AC3E}">
        <p14:creationId xmlns:p14="http://schemas.microsoft.com/office/powerpoint/2010/main" val="4208994390"/>
      </p:ext>
    </p:extLst>
  </p:cSld>
  <p:clrMapOvr>
    <a:masterClrMapping/>
  </p:clrMapOvr>
  <p:transition spd="med">
    <p:wipe dir="r"/>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2F9964-4109-42D4-96B6-0A1C7BEE0B40}"/>
              </a:ext>
            </a:extLst>
          </p:cNvPr>
          <p:cNvSpPr>
            <a:spLocks noGrp="1"/>
          </p:cNvSpPr>
          <p:nvPr>
            <p:ph type="title"/>
          </p:nvPr>
        </p:nvSpPr>
        <p:spPr>
          <a:xfrm>
            <a:off x="0" y="0"/>
            <a:ext cx="8480061" cy="640080"/>
          </a:xfrm>
        </p:spPr>
        <p:txBody>
          <a:bodyPr/>
          <a:lstStyle/>
          <a:p>
            <a:r>
              <a:rPr lang="en-US" dirty="0"/>
              <a:t>Conditional Probability – Example 2  </a:t>
            </a:r>
          </a:p>
        </p:txBody>
      </p:sp>
      <p:sp>
        <p:nvSpPr>
          <p:cNvPr id="3" name="Content Placeholder 2">
            <a:extLst>
              <a:ext uri="{FF2B5EF4-FFF2-40B4-BE49-F238E27FC236}">
                <a16:creationId xmlns:a16="http://schemas.microsoft.com/office/drawing/2014/main" id="{7DEBAB6C-F80A-4991-ADF3-C0346E2F5407}"/>
              </a:ext>
            </a:extLst>
          </p:cNvPr>
          <p:cNvSpPr>
            <a:spLocks noGrp="1"/>
          </p:cNvSpPr>
          <p:nvPr>
            <p:ph sz="half" idx="13"/>
          </p:nvPr>
        </p:nvSpPr>
        <p:spPr>
          <a:xfrm>
            <a:off x="169617" y="651510"/>
            <a:ext cx="7920379" cy="3840480"/>
          </a:xfrm>
        </p:spPr>
        <p:txBody>
          <a:bodyPr/>
          <a:lstStyle/>
          <a:p>
            <a:pPr algn="l"/>
            <a:r>
              <a:rPr lang="en-US" b="0" i="0" dirty="0">
                <a:solidFill>
                  <a:srgbClr val="333333"/>
                </a:solidFill>
                <a:effectLst/>
                <a:latin typeface="Verdana" panose="020B0604030504040204" pitchFamily="34" charset="0"/>
              </a:rPr>
              <a:t>Example: Drawing 2 Kings from a Deck</a:t>
            </a:r>
          </a:p>
          <a:p>
            <a:pPr algn="l"/>
            <a:r>
              <a:rPr lang="en-US" b="1" i="0" dirty="0">
                <a:solidFill>
                  <a:srgbClr val="333333"/>
                </a:solidFill>
                <a:effectLst/>
                <a:latin typeface="Verdana" panose="020B0604030504040204" pitchFamily="34" charset="0"/>
              </a:rPr>
              <a:t>Event A</a:t>
            </a:r>
            <a:r>
              <a:rPr lang="en-US" b="0" i="0" dirty="0">
                <a:solidFill>
                  <a:srgbClr val="333333"/>
                </a:solidFill>
                <a:effectLst/>
                <a:latin typeface="Verdana" panose="020B0604030504040204" pitchFamily="34" charset="0"/>
              </a:rPr>
              <a:t> is drawing a King first, and </a:t>
            </a:r>
            <a:r>
              <a:rPr lang="en-US" b="1" i="0" dirty="0">
                <a:solidFill>
                  <a:srgbClr val="333333"/>
                </a:solidFill>
                <a:effectLst/>
                <a:latin typeface="Verdana" panose="020B0604030504040204" pitchFamily="34" charset="0"/>
              </a:rPr>
              <a:t>Event B</a:t>
            </a:r>
            <a:r>
              <a:rPr lang="en-US" b="0" i="0" dirty="0">
                <a:solidFill>
                  <a:srgbClr val="333333"/>
                </a:solidFill>
                <a:effectLst/>
                <a:latin typeface="Verdana" panose="020B0604030504040204" pitchFamily="34" charset="0"/>
              </a:rPr>
              <a:t> is drawing a King second.</a:t>
            </a:r>
          </a:p>
          <a:p>
            <a:pPr algn="l"/>
            <a:r>
              <a:rPr lang="en-US" b="0" i="0" dirty="0">
                <a:solidFill>
                  <a:srgbClr val="333333"/>
                </a:solidFill>
                <a:effectLst/>
                <a:latin typeface="Verdana" panose="020B0604030504040204" pitchFamily="34" charset="0"/>
              </a:rPr>
              <a:t>For the first card the chance of drawing a King is 4 out of 52 (there are 4 Kings in a deck of 52 cards):</a:t>
            </a:r>
          </a:p>
          <a:p>
            <a:r>
              <a:rPr lang="en-US" dirty="0"/>
              <a:t>P(A)</a:t>
            </a:r>
          </a:p>
          <a:p>
            <a:endParaRPr lang="en-US" dirty="0"/>
          </a:p>
          <a:p>
            <a:r>
              <a:rPr lang="en-US" dirty="0"/>
              <a:t>P(B|A) </a:t>
            </a:r>
          </a:p>
          <a:p>
            <a:endParaRPr lang="en-US" dirty="0"/>
          </a:p>
          <a:p>
            <a:r>
              <a:rPr lang="en-US" dirty="0"/>
              <a:t>So P(A and B) = P(A) x P(B|A) = </a:t>
            </a:r>
          </a:p>
          <a:p>
            <a:endParaRPr lang="en-US" dirty="0"/>
          </a:p>
          <a:p>
            <a:r>
              <a:rPr lang="en-US" dirty="0"/>
              <a:t>So the chance of getting 2 kings is 1 in 221 or about 0.5%</a:t>
            </a: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8C1EB5A4-340E-4143-B10D-F1437680C9A7}"/>
                  </a:ext>
                </a:extLst>
              </p14:cNvPr>
              <p14:cNvContentPartPr/>
              <p14:nvPr/>
            </p14:nvContentPartPr>
            <p14:xfrm>
              <a:off x="299880" y="147600"/>
              <a:ext cx="8377920" cy="4224600"/>
            </p14:xfrm>
          </p:contentPart>
        </mc:Choice>
        <mc:Fallback>
          <p:pic>
            <p:nvPicPr>
              <p:cNvPr id="4" name="Ink 3">
                <a:extLst>
                  <a:ext uri="{FF2B5EF4-FFF2-40B4-BE49-F238E27FC236}">
                    <a16:creationId xmlns:a16="http://schemas.microsoft.com/office/drawing/2014/main" id="{8C1EB5A4-340E-4143-B10D-F1437680C9A7}"/>
                  </a:ext>
                </a:extLst>
              </p:cNvPr>
              <p:cNvPicPr/>
              <p:nvPr/>
            </p:nvPicPr>
            <p:blipFill>
              <a:blip r:embed="rId3"/>
              <a:stretch>
                <a:fillRect/>
              </a:stretch>
            </p:blipFill>
            <p:spPr>
              <a:xfrm>
                <a:off x="290520" y="138240"/>
                <a:ext cx="8396640" cy="4243320"/>
              </a:xfrm>
              <a:prstGeom prst="rect">
                <a:avLst/>
              </a:prstGeom>
            </p:spPr>
          </p:pic>
        </mc:Fallback>
      </mc:AlternateContent>
    </p:spTree>
    <p:extLst>
      <p:ext uri="{BB962C8B-B14F-4D97-AF65-F5344CB8AC3E}">
        <p14:creationId xmlns:p14="http://schemas.microsoft.com/office/powerpoint/2010/main" val="1225009534"/>
      </p:ext>
    </p:extLst>
  </p:cSld>
  <p:clrMapOvr>
    <a:masterClrMapping/>
  </p:clrMapOvr>
  <p:transition spd="med">
    <p:wipe dir="r"/>
  </p:transition>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11E3D1-25CE-4C5A-B60B-A6104E3A7DE8}"/>
              </a:ext>
            </a:extLst>
          </p:cNvPr>
          <p:cNvSpPr>
            <a:spLocks noGrp="1"/>
          </p:cNvSpPr>
          <p:nvPr>
            <p:ph type="title"/>
          </p:nvPr>
        </p:nvSpPr>
        <p:spPr>
          <a:xfrm>
            <a:off x="0" y="0"/>
            <a:ext cx="6986309" cy="640080"/>
          </a:xfrm>
        </p:spPr>
        <p:txBody>
          <a:bodyPr/>
          <a:lstStyle/>
          <a:p>
            <a:r>
              <a:rPr lang="en-US" dirty="0"/>
              <a:t>Conditional Probability</a:t>
            </a:r>
          </a:p>
        </p:txBody>
      </p:sp>
      <p:sp>
        <p:nvSpPr>
          <p:cNvPr id="3" name="Content Placeholder 2">
            <a:extLst>
              <a:ext uri="{FF2B5EF4-FFF2-40B4-BE49-F238E27FC236}">
                <a16:creationId xmlns:a16="http://schemas.microsoft.com/office/drawing/2014/main" id="{842FE6C6-F76D-482F-B871-FE650489DF41}"/>
              </a:ext>
            </a:extLst>
          </p:cNvPr>
          <p:cNvSpPr>
            <a:spLocks noGrp="1"/>
          </p:cNvSpPr>
          <p:nvPr>
            <p:ph sz="half" idx="13"/>
          </p:nvPr>
        </p:nvSpPr>
        <p:spPr>
          <a:xfrm>
            <a:off x="141697" y="554224"/>
            <a:ext cx="8213546" cy="2565904"/>
          </a:xfrm>
        </p:spPr>
        <p:txBody>
          <a:bodyPr/>
          <a:lstStyle/>
          <a:p>
            <a:r>
              <a:rPr lang="en-US" dirty="0"/>
              <a:t>Using Algebra, we can also "change the subject" of the formula, like this:</a:t>
            </a:r>
          </a:p>
          <a:p>
            <a:pPr marL="0" indent="0">
              <a:buNone/>
            </a:pPr>
            <a:endParaRPr lang="en-US" dirty="0"/>
          </a:p>
          <a:p>
            <a:r>
              <a:rPr lang="en-US" dirty="0"/>
              <a:t>Start with:	 	P(A and B) = P(A) x P(B|A)</a:t>
            </a:r>
          </a:p>
          <a:p>
            <a:r>
              <a:rPr lang="en-US" dirty="0"/>
              <a:t>Swap sides:	 	P(A) x P(B|A) = P(A and B)</a:t>
            </a:r>
          </a:p>
          <a:p>
            <a:r>
              <a:rPr lang="en-US" dirty="0"/>
              <a:t>Divide by P(A):	 	P(B|A) = P(A and B) / P(A)</a:t>
            </a:r>
          </a:p>
          <a:p>
            <a:r>
              <a:rPr lang="en-US" dirty="0"/>
              <a:t>And we have another useful formula:</a:t>
            </a:r>
          </a:p>
        </p:txBody>
      </p:sp>
      <p:pic>
        <p:nvPicPr>
          <p:cNvPr id="9" name="Picture 8">
            <a:extLst>
              <a:ext uri="{FF2B5EF4-FFF2-40B4-BE49-F238E27FC236}">
                <a16:creationId xmlns:a16="http://schemas.microsoft.com/office/drawing/2014/main" id="{EC2A5FF6-041D-40AF-B60C-369C1F090A28}"/>
              </a:ext>
            </a:extLst>
          </p:cNvPr>
          <p:cNvPicPr>
            <a:picLocks noChangeAspect="1"/>
          </p:cNvPicPr>
          <p:nvPr/>
        </p:nvPicPr>
        <p:blipFill>
          <a:blip r:embed="rId2"/>
          <a:stretch>
            <a:fillRect/>
          </a:stretch>
        </p:blipFill>
        <p:spPr>
          <a:xfrm>
            <a:off x="2112150" y="2992994"/>
            <a:ext cx="4514850" cy="1209675"/>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1E08E44D-A3E8-4E78-A61F-D891D6F638F3}"/>
                  </a:ext>
                </a:extLst>
              </p14:cNvPr>
              <p14:cNvContentPartPr/>
              <p14:nvPr/>
            </p14:nvContentPartPr>
            <p14:xfrm>
              <a:off x="547560" y="1504800"/>
              <a:ext cx="6267960" cy="2824560"/>
            </p14:xfrm>
          </p:contentPart>
        </mc:Choice>
        <mc:Fallback>
          <p:pic>
            <p:nvPicPr>
              <p:cNvPr id="4" name="Ink 3">
                <a:extLst>
                  <a:ext uri="{FF2B5EF4-FFF2-40B4-BE49-F238E27FC236}">
                    <a16:creationId xmlns:a16="http://schemas.microsoft.com/office/drawing/2014/main" id="{1E08E44D-A3E8-4E78-A61F-D891D6F638F3}"/>
                  </a:ext>
                </a:extLst>
              </p:cNvPr>
              <p:cNvPicPr/>
              <p:nvPr/>
            </p:nvPicPr>
            <p:blipFill>
              <a:blip r:embed="rId4"/>
              <a:stretch>
                <a:fillRect/>
              </a:stretch>
            </p:blipFill>
            <p:spPr>
              <a:xfrm>
                <a:off x="538200" y="1495440"/>
                <a:ext cx="6286680" cy="2843280"/>
              </a:xfrm>
              <a:prstGeom prst="rect">
                <a:avLst/>
              </a:prstGeom>
            </p:spPr>
          </p:pic>
        </mc:Fallback>
      </mc:AlternateContent>
    </p:spTree>
    <p:extLst>
      <p:ext uri="{BB962C8B-B14F-4D97-AF65-F5344CB8AC3E}">
        <p14:creationId xmlns:p14="http://schemas.microsoft.com/office/powerpoint/2010/main" val="3950949611"/>
      </p:ext>
    </p:extLst>
  </p:cSld>
  <p:clrMapOvr>
    <a:masterClrMapping/>
  </p:clrMapOvr>
  <p:transition spd="med">
    <p:wipe dir="r"/>
  </p:transition>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EF179B-85F5-4BD9-9E6D-1DFAEDA053DA}"/>
              </a:ext>
            </a:extLst>
          </p:cNvPr>
          <p:cNvSpPr>
            <a:spLocks noGrp="1"/>
          </p:cNvSpPr>
          <p:nvPr>
            <p:ph type="title"/>
          </p:nvPr>
        </p:nvSpPr>
        <p:spPr>
          <a:xfrm>
            <a:off x="0" y="22860"/>
            <a:ext cx="4295219" cy="640080"/>
          </a:xfrm>
        </p:spPr>
        <p:txBody>
          <a:bodyPr/>
          <a:lstStyle/>
          <a:p>
            <a:r>
              <a:rPr lang="en-US" dirty="0"/>
              <a:t>Conditional Probability</a:t>
            </a:r>
          </a:p>
        </p:txBody>
      </p:sp>
      <p:sp>
        <p:nvSpPr>
          <p:cNvPr id="3" name="Content Placeholder 2">
            <a:extLst>
              <a:ext uri="{FF2B5EF4-FFF2-40B4-BE49-F238E27FC236}">
                <a16:creationId xmlns:a16="http://schemas.microsoft.com/office/drawing/2014/main" id="{608194AB-29D1-44FC-B8C1-7D368129B071}"/>
              </a:ext>
            </a:extLst>
          </p:cNvPr>
          <p:cNvSpPr>
            <a:spLocks noGrp="1"/>
          </p:cNvSpPr>
          <p:nvPr>
            <p:ph sz="half" idx="13"/>
          </p:nvPr>
        </p:nvSpPr>
        <p:spPr>
          <a:xfrm>
            <a:off x="204517" y="889272"/>
            <a:ext cx="8534633" cy="3200400"/>
          </a:xfrm>
        </p:spPr>
        <p:txBody>
          <a:bodyPr/>
          <a:lstStyle/>
          <a:p>
            <a:pPr algn="l"/>
            <a:r>
              <a:rPr lang="en-US" b="0" i="0" dirty="0">
                <a:solidFill>
                  <a:srgbClr val="333333"/>
                </a:solidFill>
                <a:effectLst/>
                <a:latin typeface="Verdana" panose="020B0604030504040204" pitchFamily="34" charset="0"/>
              </a:rPr>
              <a:t>Example: Ice Cream</a:t>
            </a:r>
          </a:p>
          <a:p>
            <a:pPr algn="l"/>
            <a:r>
              <a:rPr lang="en-US" b="0" i="0" dirty="0">
                <a:solidFill>
                  <a:srgbClr val="333333"/>
                </a:solidFill>
                <a:effectLst/>
                <a:latin typeface="Verdana" panose="020B0604030504040204" pitchFamily="34" charset="0"/>
              </a:rPr>
              <a:t>70% of your friends like Chocolate, and 35% like Chocolate AND like Strawberry.</a:t>
            </a:r>
          </a:p>
          <a:p>
            <a:pPr algn="l"/>
            <a:r>
              <a:rPr lang="en-US" b="0" i="0" dirty="0">
                <a:solidFill>
                  <a:srgbClr val="333333"/>
                </a:solidFill>
                <a:effectLst/>
                <a:latin typeface="Verdana" panose="020B0604030504040204" pitchFamily="34" charset="0"/>
              </a:rPr>
              <a:t>What percent of those who like Chocolate also like Strawberry?</a:t>
            </a:r>
          </a:p>
          <a:p>
            <a:pPr algn="l"/>
            <a:r>
              <a:rPr lang="en-US" b="0" i="0" dirty="0">
                <a:effectLst/>
                <a:latin typeface="Verdana" panose="020B0604030504040204" pitchFamily="34" charset="0"/>
              </a:rPr>
              <a:t>P(</a:t>
            </a:r>
            <a:r>
              <a:rPr lang="en-US" b="0" i="0" dirty="0" err="1">
                <a:effectLst/>
                <a:latin typeface="Verdana" panose="020B0604030504040204" pitchFamily="34" charset="0"/>
              </a:rPr>
              <a:t>Strawberry|Chocolate</a:t>
            </a:r>
            <a:r>
              <a:rPr lang="en-US" b="0" i="0" dirty="0">
                <a:effectLst/>
                <a:latin typeface="Verdana" panose="020B0604030504040204" pitchFamily="34" charset="0"/>
              </a:rPr>
              <a:t>) = P(Chocolate and Strawberry) / P(Chocolate)</a:t>
            </a:r>
          </a:p>
          <a:p>
            <a:pPr algn="l"/>
            <a:endParaRPr lang="en-US" b="0" i="0" dirty="0">
              <a:solidFill>
                <a:srgbClr val="333333"/>
              </a:solidFill>
              <a:effectLst/>
              <a:latin typeface="Verdana" panose="020B0604030504040204" pitchFamily="34" charset="0"/>
            </a:endParaRPr>
          </a:p>
          <a:p>
            <a:pPr algn="l"/>
            <a:endParaRPr lang="en-US" dirty="0">
              <a:solidFill>
                <a:srgbClr val="333333"/>
              </a:solidFill>
              <a:latin typeface="Verdana" panose="020B0604030504040204" pitchFamily="34" charset="0"/>
            </a:endParaRPr>
          </a:p>
          <a:p>
            <a:endParaRPr lang="en-US" dirty="0"/>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2DF3FF67-F971-4301-9094-F3249407C998}"/>
                  </a:ext>
                </a:extLst>
              </p14:cNvPr>
              <p14:cNvContentPartPr/>
              <p14:nvPr/>
            </p14:nvContentPartPr>
            <p14:xfrm>
              <a:off x="409680" y="176040"/>
              <a:ext cx="7558200" cy="4153320"/>
            </p14:xfrm>
          </p:contentPart>
        </mc:Choice>
        <mc:Fallback>
          <p:pic>
            <p:nvPicPr>
              <p:cNvPr id="4" name="Ink 3">
                <a:extLst>
                  <a:ext uri="{FF2B5EF4-FFF2-40B4-BE49-F238E27FC236}">
                    <a16:creationId xmlns:a16="http://schemas.microsoft.com/office/drawing/2014/main" id="{2DF3FF67-F971-4301-9094-F3249407C998}"/>
                  </a:ext>
                </a:extLst>
              </p:cNvPr>
              <p:cNvPicPr/>
              <p:nvPr/>
            </p:nvPicPr>
            <p:blipFill>
              <a:blip r:embed="rId3"/>
              <a:stretch>
                <a:fillRect/>
              </a:stretch>
            </p:blipFill>
            <p:spPr>
              <a:xfrm>
                <a:off x="400320" y="166680"/>
                <a:ext cx="7576920" cy="4172040"/>
              </a:xfrm>
              <a:prstGeom prst="rect">
                <a:avLst/>
              </a:prstGeom>
            </p:spPr>
          </p:pic>
        </mc:Fallback>
      </mc:AlternateContent>
    </p:spTree>
    <p:extLst>
      <p:ext uri="{BB962C8B-B14F-4D97-AF65-F5344CB8AC3E}">
        <p14:creationId xmlns:p14="http://schemas.microsoft.com/office/powerpoint/2010/main" val="982626990"/>
      </p:ext>
    </p:extLst>
  </p:cSld>
  <p:clrMapOvr>
    <a:masterClrMapping/>
  </p:clrMapOvr>
  <p:transition spd="med">
    <p:wipe dir="r"/>
  </p:transition>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EF96E-90B7-46D2-AD75-2CC0774C8934}"/>
              </a:ext>
            </a:extLst>
          </p:cNvPr>
          <p:cNvSpPr>
            <a:spLocks noGrp="1"/>
          </p:cNvSpPr>
          <p:nvPr>
            <p:ph type="title"/>
          </p:nvPr>
        </p:nvSpPr>
        <p:spPr>
          <a:xfrm>
            <a:off x="0" y="22860"/>
            <a:ext cx="7175597" cy="640080"/>
          </a:xfrm>
        </p:spPr>
        <p:txBody>
          <a:bodyPr/>
          <a:lstStyle/>
          <a:p>
            <a:r>
              <a:rPr lang="en-US" dirty="0"/>
              <a:t>Confusion Matrix</a:t>
            </a:r>
          </a:p>
        </p:txBody>
      </p:sp>
      <p:pic>
        <p:nvPicPr>
          <p:cNvPr id="5" name="Content Placeholder 4">
            <a:extLst>
              <a:ext uri="{FF2B5EF4-FFF2-40B4-BE49-F238E27FC236}">
                <a16:creationId xmlns:a16="http://schemas.microsoft.com/office/drawing/2014/main" id="{9920DD8A-BA59-42B7-893A-BAF94EE63290}"/>
              </a:ext>
            </a:extLst>
          </p:cNvPr>
          <p:cNvPicPr>
            <a:picLocks noGrp="1" noChangeAspect="1"/>
          </p:cNvPicPr>
          <p:nvPr>
            <p:ph sz="half" idx="13"/>
          </p:nvPr>
        </p:nvPicPr>
        <p:blipFill>
          <a:blip r:embed="rId2"/>
          <a:stretch>
            <a:fillRect/>
          </a:stretch>
        </p:blipFill>
        <p:spPr>
          <a:xfrm>
            <a:off x="0" y="648872"/>
            <a:ext cx="3741464" cy="1922878"/>
          </a:xfrm>
        </p:spPr>
      </p:pic>
      <p:sp>
        <p:nvSpPr>
          <p:cNvPr id="6" name="TextBox 5">
            <a:extLst>
              <a:ext uri="{FF2B5EF4-FFF2-40B4-BE49-F238E27FC236}">
                <a16:creationId xmlns:a16="http://schemas.microsoft.com/office/drawing/2014/main" id="{2D500167-F1FB-4EED-92FC-77B5F19207F7}"/>
              </a:ext>
            </a:extLst>
          </p:cNvPr>
          <p:cNvSpPr txBox="1"/>
          <p:nvPr/>
        </p:nvSpPr>
        <p:spPr>
          <a:xfrm>
            <a:off x="3915864" y="662940"/>
            <a:ext cx="5109523" cy="861774"/>
          </a:xfrm>
          <a:prstGeom prst="rect">
            <a:avLst/>
          </a:prstGeom>
          <a:noFill/>
        </p:spPr>
        <p:txBody>
          <a:bodyPr wrap="square" rtlCol="0">
            <a:spAutoFit/>
          </a:bodyPr>
          <a:lstStyle/>
          <a:p>
            <a:pPr marL="171450" indent="-171450">
              <a:spcBef>
                <a:spcPts val="0"/>
              </a:spcBef>
              <a:spcAft>
                <a:spcPts val="0"/>
              </a:spcAft>
              <a:buClr>
                <a:schemeClr val="bg1"/>
              </a:buClr>
              <a:buFont typeface="Arial" panose="020B0604020202020204" pitchFamily="34" charset="0"/>
              <a:buChar char="•"/>
            </a:pPr>
            <a:r>
              <a:rPr lang="en-US" sz="1200" b="0" i="0" dirty="0">
                <a:solidFill>
                  <a:srgbClr val="444444"/>
                </a:solidFill>
                <a:effectLst/>
                <a:latin typeface="Open Sans" panose="020B0606030504020204" pitchFamily="34" charset="0"/>
              </a:rPr>
              <a:t>A confusion matrix is a table that is often used to </a:t>
            </a:r>
            <a:r>
              <a:rPr lang="en-US" sz="1200" b="1" i="0" dirty="0">
                <a:solidFill>
                  <a:srgbClr val="444444"/>
                </a:solidFill>
                <a:effectLst/>
                <a:latin typeface="Open Sans" panose="020B0606030504020204" pitchFamily="34" charset="0"/>
              </a:rPr>
              <a:t>describe the performance of a classification model</a:t>
            </a:r>
            <a:r>
              <a:rPr lang="en-US" sz="1200" b="0" i="0" dirty="0">
                <a:solidFill>
                  <a:srgbClr val="444444"/>
                </a:solidFill>
                <a:effectLst/>
                <a:latin typeface="Open Sans" panose="020B0606030504020204" pitchFamily="34" charset="0"/>
              </a:rPr>
              <a:t> (or "classifier") on a set of test data for which the true values are known.</a:t>
            </a:r>
          </a:p>
          <a:p>
            <a:pPr marL="171450" indent="-1714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p:txBody>
      </p:sp>
      <p:sp>
        <p:nvSpPr>
          <p:cNvPr id="7" name="TextBox 6">
            <a:extLst>
              <a:ext uri="{FF2B5EF4-FFF2-40B4-BE49-F238E27FC236}">
                <a16:creationId xmlns:a16="http://schemas.microsoft.com/office/drawing/2014/main" id="{D6E5CE8C-21A6-4A4C-BE62-D7D0F505810D}"/>
              </a:ext>
            </a:extLst>
          </p:cNvPr>
          <p:cNvSpPr txBox="1"/>
          <p:nvPr/>
        </p:nvSpPr>
        <p:spPr>
          <a:xfrm>
            <a:off x="3975196" y="1668256"/>
            <a:ext cx="4990861" cy="2893100"/>
          </a:xfrm>
          <a:prstGeom prst="rect">
            <a:avLst/>
          </a:prstGeom>
          <a:noFill/>
        </p:spPr>
        <p:txBody>
          <a:bodyPr wrap="square" rtlCol="0">
            <a:spAutoFit/>
          </a:bodyPr>
          <a:lstStyle/>
          <a:p>
            <a:pPr algn="l"/>
            <a:r>
              <a:rPr lang="en-US" sz="1200" b="0" i="0" dirty="0">
                <a:solidFill>
                  <a:srgbClr val="444444"/>
                </a:solidFill>
                <a:effectLst/>
                <a:latin typeface="Open Sans" panose="020B0606030504020204" pitchFamily="34" charset="0"/>
              </a:rPr>
              <a:t>Let's now define the most basic terms, which are whole numbers (not rates):</a:t>
            </a:r>
          </a:p>
          <a:p>
            <a:pPr algn="l"/>
            <a:endParaRPr lang="en-US" sz="1200" b="0" i="0" dirty="0">
              <a:solidFill>
                <a:srgbClr val="444444"/>
              </a:solidFill>
              <a:effectLst/>
              <a:latin typeface="Open Sans" panose="020B0606030504020204" pitchFamily="34" charset="0"/>
            </a:endParaRPr>
          </a:p>
          <a:p>
            <a:pPr algn="l">
              <a:buFont typeface="Arial" panose="020B0604020202020204" pitchFamily="34" charset="0"/>
              <a:buChar char="•"/>
            </a:pPr>
            <a:r>
              <a:rPr lang="en-US" sz="1200" b="1" i="0" dirty="0">
                <a:solidFill>
                  <a:srgbClr val="444444"/>
                </a:solidFill>
                <a:effectLst/>
                <a:latin typeface="Open Sans" panose="020B0606030504020204" pitchFamily="34" charset="0"/>
              </a:rPr>
              <a:t>true positives (TP):</a:t>
            </a:r>
            <a:r>
              <a:rPr lang="en-US" sz="1200" b="0" i="0" dirty="0">
                <a:solidFill>
                  <a:srgbClr val="444444"/>
                </a:solidFill>
                <a:effectLst/>
                <a:latin typeface="Open Sans" panose="020B0606030504020204" pitchFamily="34" charset="0"/>
              </a:rPr>
              <a:t> These are cases in which we predicted yes (they have the disease), and they do have the disease.</a:t>
            </a:r>
          </a:p>
          <a:p>
            <a:pPr algn="l"/>
            <a:endParaRPr lang="en-US" sz="1200" b="0" i="0" dirty="0">
              <a:solidFill>
                <a:srgbClr val="444444"/>
              </a:solidFill>
              <a:effectLst/>
              <a:latin typeface="Open Sans" panose="020B0606030504020204" pitchFamily="34" charset="0"/>
            </a:endParaRPr>
          </a:p>
          <a:p>
            <a:pPr algn="l">
              <a:buFont typeface="Arial" panose="020B0604020202020204" pitchFamily="34" charset="0"/>
              <a:buChar char="•"/>
            </a:pPr>
            <a:r>
              <a:rPr lang="en-US" sz="1200" b="1" i="0" dirty="0">
                <a:solidFill>
                  <a:srgbClr val="444444"/>
                </a:solidFill>
                <a:effectLst/>
                <a:latin typeface="Open Sans" panose="020B0606030504020204" pitchFamily="34" charset="0"/>
              </a:rPr>
              <a:t>true negatives (TN):</a:t>
            </a:r>
            <a:r>
              <a:rPr lang="en-US" sz="1200" b="0" i="0" dirty="0">
                <a:solidFill>
                  <a:srgbClr val="444444"/>
                </a:solidFill>
                <a:effectLst/>
                <a:latin typeface="Open Sans" panose="020B0606030504020204" pitchFamily="34" charset="0"/>
              </a:rPr>
              <a:t> We predicted no, and they don't have the disease.</a:t>
            </a:r>
          </a:p>
          <a:p>
            <a:pPr algn="l"/>
            <a:endParaRPr lang="en-US" sz="1200" b="0" i="0" dirty="0">
              <a:solidFill>
                <a:srgbClr val="444444"/>
              </a:solidFill>
              <a:effectLst/>
              <a:latin typeface="Open Sans" panose="020B0606030504020204" pitchFamily="34" charset="0"/>
            </a:endParaRPr>
          </a:p>
          <a:p>
            <a:pPr algn="l">
              <a:buFont typeface="Arial" panose="020B0604020202020204" pitchFamily="34" charset="0"/>
              <a:buChar char="•"/>
            </a:pPr>
            <a:r>
              <a:rPr lang="en-US" sz="1200" b="1" i="0" dirty="0">
                <a:solidFill>
                  <a:srgbClr val="444444"/>
                </a:solidFill>
                <a:effectLst/>
                <a:latin typeface="Open Sans" panose="020B0606030504020204" pitchFamily="34" charset="0"/>
              </a:rPr>
              <a:t>false positives (FP):</a:t>
            </a:r>
            <a:r>
              <a:rPr lang="en-US" sz="1200" b="0" i="0" dirty="0">
                <a:solidFill>
                  <a:srgbClr val="444444"/>
                </a:solidFill>
                <a:effectLst/>
                <a:latin typeface="Open Sans" panose="020B0606030504020204" pitchFamily="34" charset="0"/>
              </a:rPr>
              <a:t> We predicted yes, but they don't actually have the disease. (Also known as a "Type I error.")</a:t>
            </a:r>
          </a:p>
          <a:p>
            <a:pPr algn="l"/>
            <a:endParaRPr lang="en-US" sz="1200" b="0" i="0" dirty="0">
              <a:solidFill>
                <a:srgbClr val="444444"/>
              </a:solidFill>
              <a:effectLst/>
              <a:latin typeface="Open Sans" panose="020B0606030504020204" pitchFamily="34" charset="0"/>
            </a:endParaRPr>
          </a:p>
          <a:p>
            <a:pPr algn="l">
              <a:buFont typeface="Arial" panose="020B0604020202020204" pitchFamily="34" charset="0"/>
              <a:buChar char="•"/>
            </a:pPr>
            <a:r>
              <a:rPr lang="en-US" sz="1200" b="1" i="0" dirty="0">
                <a:solidFill>
                  <a:srgbClr val="444444"/>
                </a:solidFill>
                <a:effectLst/>
                <a:latin typeface="Open Sans" panose="020B0606030504020204" pitchFamily="34" charset="0"/>
              </a:rPr>
              <a:t>false negatives (FN):</a:t>
            </a:r>
            <a:r>
              <a:rPr lang="en-US" sz="1200" b="0" i="0" dirty="0">
                <a:solidFill>
                  <a:srgbClr val="444444"/>
                </a:solidFill>
                <a:effectLst/>
                <a:latin typeface="Open Sans" panose="020B0606030504020204" pitchFamily="34" charset="0"/>
              </a:rPr>
              <a:t> We predicted no, but they actually do have the disease. (Also known as a "Type II error.")</a:t>
            </a:r>
          </a:p>
          <a:p>
            <a:pPr>
              <a:spcBef>
                <a:spcPts val="0"/>
              </a:spcBef>
              <a:spcAft>
                <a:spcPts val="0"/>
              </a:spcAft>
              <a:buClr>
                <a:schemeClr val="bg1"/>
              </a:buClr>
            </a:pPr>
            <a:endParaRPr lang="en-US" sz="1400" dirty="0" err="1">
              <a:solidFill>
                <a:schemeClr val="bg2"/>
              </a:solidFill>
              <a:latin typeface="+mn-lt"/>
            </a:endParaRPr>
          </a:p>
        </p:txBody>
      </p:sp>
      <p:pic>
        <p:nvPicPr>
          <p:cNvPr id="9" name="Picture 8">
            <a:extLst>
              <a:ext uri="{FF2B5EF4-FFF2-40B4-BE49-F238E27FC236}">
                <a16:creationId xmlns:a16="http://schemas.microsoft.com/office/drawing/2014/main" id="{EC78D233-E406-4593-8D1F-864240CA86A8}"/>
              </a:ext>
            </a:extLst>
          </p:cNvPr>
          <p:cNvPicPr>
            <a:picLocks noChangeAspect="1"/>
          </p:cNvPicPr>
          <p:nvPr/>
        </p:nvPicPr>
        <p:blipFill>
          <a:blip r:embed="rId3"/>
          <a:stretch>
            <a:fillRect/>
          </a:stretch>
        </p:blipFill>
        <p:spPr>
          <a:xfrm>
            <a:off x="177942" y="2571749"/>
            <a:ext cx="3486637" cy="1774711"/>
          </a:xfrm>
          <a:prstGeom prst="rect">
            <a:avLst/>
          </a:prstGeom>
        </p:spPr>
      </p:pic>
      <mc:AlternateContent xmlns:mc="http://schemas.openxmlformats.org/markup-compatibility/2006">
        <mc:Choice xmlns:p14="http://schemas.microsoft.com/office/powerpoint/2010/main" Requires="p14">
          <p:contentPart p14:bwMode="auto" r:id="rId4">
            <p14:nvContentPartPr>
              <p14:cNvPr id="3" name="Ink 2">
                <a:extLst>
                  <a:ext uri="{FF2B5EF4-FFF2-40B4-BE49-F238E27FC236}">
                    <a16:creationId xmlns:a16="http://schemas.microsoft.com/office/drawing/2014/main" id="{A4134EA0-0225-4771-A15D-18AF58AB7A79}"/>
                  </a:ext>
                </a:extLst>
              </p14:cNvPr>
              <p14:cNvContentPartPr/>
              <p14:nvPr/>
            </p14:nvContentPartPr>
            <p14:xfrm>
              <a:off x="690480" y="100080"/>
              <a:ext cx="8253720" cy="4967640"/>
            </p14:xfrm>
          </p:contentPart>
        </mc:Choice>
        <mc:Fallback>
          <p:pic>
            <p:nvPicPr>
              <p:cNvPr id="3" name="Ink 2">
                <a:extLst>
                  <a:ext uri="{FF2B5EF4-FFF2-40B4-BE49-F238E27FC236}">
                    <a16:creationId xmlns:a16="http://schemas.microsoft.com/office/drawing/2014/main" id="{A4134EA0-0225-4771-A15D-18AF58AB7A79}"/>
                  </a:ext>
                </a:extLst>
              </p:cNvPr>
              <p:cNvPicPr/>
              <p:nvPr/>
            </p:nvPicPr>
            <p:blipFill>
              <a:blip r:embed="rId5"/>
              <a:stretch>
                <a:fillRect/>
              </a:stretch>
            </p:blipFill>
            <p:spPr>
              <a:xfrm>
                <a:off x="681120" y="90720"/>
                <a:ext cx="8272440" cy="4986360"/>
              </a:xfrm>
              <a:prstGeom prst="rect">
                <a:avLst/>
              </a:prstGeom>
            </p:spPr>
          </p:pic>
        </mc:Fallback>
      </mc:AlternateContent>
    </p:spTree>
    <p:extLst>
      <p:ext uri="{BB962C8B-B14F-4D97-AF65-F5344CB8AC3E}">
        <p14:creationId xmlns:p14="http://schemas.microsoft.com/office/powerpoint/2010/main" val="2910173245"/>
      </p:ext>
    </p:extLst>
  </p:cSld>
  <p:clrMapOvr>
    <a:masterClrMapping/>
  </p:clrMapOvr>
  <p:transition spd="med">
    <p:wipe dir="r"/>
  </p:transition>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260434-E852-455D-ACA9-15F50D092100}"/>
              </a:ext>
            </a:extLst>
          </p:cNvPr>
          <p:cNvSpPr>
            <a:spLocks noGrp="1"/>
          </p:cNvSpPr>
          <p:nvPr>
            <p:ph type="title"/>
          </p:nvPr>
        </p:nvSpPr>
        <p:spPr>
          <a:xfrm>
            <a:off x="0" y="0"/>
            <a:ext cx="4295219" cy="640080"/>
          </a:xfrm>
        </p:spPr>
        <p:txBody>
          <a:bodyPr/>
          <a:lstStyle/>
          <a:p>
            <a:r>
              <a:rPr lang="en-US" dirty="0"/>
              <a:t>Confusion Matrix</a:t>
            </a:r>
          </a:p>
        </p:txBody>
      </p:sp>
      <p:sp>
        <p:nvSpPr>
          <p:cNvPr id="3" name="Content Placeholder 2">
            <a:extLst>
              <a:ext uri="{FF2B5EF4-FFF2-40B4-BE49-F238E27FC236}">
                <a16:creationId xmlns:a16="http://schemas.microsoft.com/office/drawing/2014/main" id="{BAFDD8EE-05F2-465F-9896-1600B846F7B9}"/>
              </a:ext>
            </a:extLst>
          </p:cNvPr>
          <p:cNvSpPr>
            <a:spLocks noGrp="1"/>
          </p:cNvSpPr>
          <p:nvPr>
            <p:ph sz="half" idx="13"/>
          </p:nvPr>
        </p:nvSpPr>
        <p:spPr>
          <a:xfrm>
            <a:off x="97722" y="742688"/>
            <a:ext cx="8662369" cy="3200400"/>
          </a:xfrm>
        </p:spPr>
        <p:txBody>
          <a:bodyPr>
            <a:normAutofit fontScale="92500" lnSpcReduction="10000"/>
          </a:bodyPr>
          <a:lstStyle/>
          <a:p>
            <a:pPr marL="0" indent="0">
              <a:buNone/>
            </a:pPr>
            <a:r>
              <a:rPr lang="en-US" sz="1800" b="1" dirty="0"/>
              <a:t>Some examples of “False Positives”</a:t>
            </a:r>
          </a:p>
          <a:p>
            <a:pPr algn="l" fontAlgn="base">
              <a:buFont typeface="Arial" panose="020B0604020202020204" pitchFamily="34" charset="0"/>
              <a:buChar char="•"/>
            </a:pPr>
            <a:r>
              <a:rPr lang="en-US" sz="2400" b="0" i="0" dirty="0">
                <a:solidFill>
                  <a:srgbClr val="777777"/>
                </a:solidFill>
                <a:effectLst/>
                <a:latin typeface="inherit"/>
              </a:rPr>
              <a:t>A pregnancy test is positive, when in fact you aren’t pregnant.</a:t>
            </a:r>
          </a:p>
          <a:p>
            <a:pPr algn="l" fontAlgn="base">
              <a:buFont typeface="Arial" panose="020B0604020202020204" pitchFamily="34" charset="0"/>
              <a:buChar char="•"/>
            </a:pPr>
            <a:r>
              <a:rPr lang="en-US" sz="2400" b="0" i="0" dirty="0">
                <a:solidFill>
                  <a:srgbClr val="777777"/>
                </a:solidFill>
                <a:effectLst/>
                <a:latin typeface="inherit"/>
              </a:rPr>
              <a:t>A cancer screening test comes back positive, but you don’t have the disease.</a:t>
            </a:r>
          </a:p>
          <a:p>
            <a:pPr algn="l" fontAlgn="base">
              <a:buFont typeface="Arial" panose="020B0604020202020204" pitchFamily="34" charset="0"/>
              <a:buChar char="•"/>
            </a:pPr>
            <a:r>
              <a:rPr lang="en-US" sz="2400" b="0" i="0" dirty="0">
                <a:solidFill>
                  <a:srgbClr val="777777"/>
                </a:solidFill>
                <a:effectLst/>
                <a:latin typeface="inherit"/>
              </a:rPr>
              <a:t>A prenatal test comes back positive for Down’s Syndrome, when your fetus does not have the disorder.</a:t>
            </a:r>
          </a:p>
          <a:p>
            <a:pPr algn="l" fontAlgn="base">
              <a:buFont typeface="Arial" panose="020B0604020202020204" pitchFamily="34" charset="0"/>
              <a:buChar char="•"/>
            </a:pPr>
            <a:r>
              <a:rPr lang="en-US" sz="2400" b="0" i="0" dirty="0">
                <a:solidFill>
                  <a:srgbClr val="777777"/>
                </a:solidFill>
                <a:effectLst/>
                <a:latin typeface="inherit"/>
              </a:rPr>
              <a:t>Virus software on your computer incorrectly identifies a harmless program as a malicious one.</a:t>
            </a:r>
          </a:p>
          <a:p>
            <a:endParaRPr lang="en-US" dirty="0"/>
          </a:p>
          <a:p>
            <a:endParaRPr lang="en-US" dirty="0"/>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66F945A0-5583-40DE-A5E8-C7DD8476D56C}"/>
                  </a:ext>
                </a:extLst>
              </p14:cNvPr>
              <p14:cNvContentPartPr/>
              <p14:nvPr/>
            </p14:nvContentPartPr>
            <p14:xfrm>
              <a:off x="414360" y="971640"/>
              <a:ext cx="7996680" cy="3343680"/>
            </p14:xfrm>
          </p:contentPart>
        </mc:Choice>
        <mc:Fallback>
          <p:pic>
            <p:nvPicPr>
              <p:cNvPr id="4" name="Ink 3">
                <a:extLst>
                  <a:ext uri="{FF2B5EF4-FFF2-40B4-BE49-F238E27FC236}">
                    <a16:creationId xmlns:a16="http://schemas.microsoft.com/office/drawing/2014/main" id="{66F945A0-5583-40DE-A5E8-C7DD8476D56C}"/>
                  </a:ext>
                </a:extLst>
              </p:cNvPr>
              <p:cNvPicPr/>
              <p:nvPr/>
            </p:nvPicPr>
            <p:blipFill>
              <a:blip r:embed="rId3"/>
              <a:stretch>
                <a:fillRect/>
              </a:stretch>
            </p:blipFill>
            <p:spPr>
              <a:xfrm>
                <a:off x="405000" y="962280"/>
                <a:ext cx="8015400" cy="3362400"/>
              </a:xfrm>
              <a:prstGeom prst="rect">
                <a:avLst/>
              </a:prstGeom>
            </p:spPr>
          </p:pic>
        </mc:Fallback>
      </mc:AlternateContent>
    </p:spTree>
    <p:extLst>
      <p:ext uri="{BB962C8B-B14F-4D97-AF65-F5344CB8AC3E}">
        <p14:creationId xmlns:p14="http://schemas.microsoft.com/office/powerpoint/2010/main" val="3860074758"/>
      </p:ext>
    </p:extLst>
  </p:cSld>
  <p:clrMapOvr>
    <a:masterClrMapping/>
  </p:clrMapOvr>
  <p:transition spd="med">
    <p:wipe dir="r"/>
  </p:transition>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260434-E852-455D-ACA9-15F50D092100}"/>
              </a:ext>
            </a:extLst>
          </p:cNvPr>
          <p:cNvSpPr>
            <a:spLocks noGrp="1"/>
          </p:cNvSpPr>
          <p:nvPr>
            <p:ph type="title"/>
          </p:nvPr>
        </p:nvSpPr>
        <p:spPr>
          <a:xfrm>
            <a:off x="0" y="0"/>
            <a:ext cx="4295219" cy="640080"/>
          </a:xfrm>
        </p:spPr>
        <p:txBody>
          <a:bodyPr/>
          <a:lstStyle/>
          <a:p>
            <a:r>
              <a:rPr lang="en-US" dirty="0"/>
              <a:t>Confusion Matrix</a:t>
            </a:r>
          </a:p>
        </p:txBody>
      </p:sp>
      <p:sp>
        <p:nvSpPr>
          <p:cNvPr id="3" name="Content Placeholder 2">
            <a:extLst>
              <a:ext uri="{FF2B5EF4-FFF2-40B4-BE49-F238E27FC236}">
                <a16:creationId xmlns:a16="http://schemas.microsoft.com/office/drawing/2014/main" id="{BAFDD8EE-05F2-465F-9896-1600B846F7B9}"/>
              </a:ext>
            </a:extLst>
          </p:cNvPr>
          <p:cNvSpPr>
            <a:spLocks noGrp="1"/>
          </p:cNvSpPr>
          <p:nvPr>
            <p:ph sz="half" idx="13"/>
          </p:nvPr>
        </p:nvSpPr>
        <p:spPr>
          <a:xfrm>
            <a:off x="97722" y="742688"/>
            <a:ext cx="8662369" cy="3822332"/>
          </a:xfrm>
        </p:spPr>
        <p:txBody>
          <a:bodyPr>
            <a:normAutofit/>
          </a:bodyPr>
          <a:lstStyle/>
          <a:p>
            <a:pPr marL="0" indent="0">
              <a:buNone/>
            </a:pPr>
            <a:r>
              <a:rPr lang="en-US" sz="1800" b="1" dirty="0"/>
              <a:t>Some examples of “False Negatives”</a:t>
            </a:r>
          </a:p>
          <a:p>
            <a:pPr algn="l" fontAlgn="base">
              <a:buFont typeface="Arial" panose="020B0604020202020204" pitchFamily="34" charset="0"/>
              <a:buChar char="•"/>
            </a:pPr>
            <a:r>
              <a:rPr lang="en-US" sz="2000" b="0" i="0" dirty="0">
                <a:solidFill>
                  <a:srgbClr val="777777"/>
                </a:solidFill>
                <a:effectLst/>
                <a:latin typeface="inherit"/>
              </a:rPr>
              <a:t>In </a:t>
            </a:r>
            <a:r>
              <a:rPr lang="en-US" sz="2000" b="1" i="0" dirty="0">
                <a:solidFill>
                  <a:srgbClr val="777777"/>
                </a:solidFill>
                <a:effectLst/>
                <a:latin typeface="inherit"/>
              </a:rPr>
              <a:t>software testing</a:t>
            </a:r>
            <a:r>
              <a:rPr lang="en-US" sz="2000" b="0" i="0" dirty="0">
                <a:solidFill>
                  <a:srgbClr val="777777"/>
                </a:solidFill>
                <a:effectLst/>
                <a:latin typeface="inherit"/>
              </a:rPr>
              <a:t>, a false negative would mean that a test designed to catch something (i.e. a virus) has failed.</a:t>
            </a:r>
          </a:p>
          <a:p>
            <a:pPr algn="l" fontAlgn="base">
              <a:buFont typeface="Arial" panose="020B0604020202020204" pitchFamily="34" charset="0"/>
              <a:buChar char="•"/>
            </a:pPr>
            <a:r>
              <a:rPr lang="en-US" sz="2000" b="0" i="0" dirty="0">
                <a:solidFill>
                  <a:srgbClr val="777777"/>
                </a:solidFill>
                <a:effectLst/>
                <a:latin typeface="inherit"/>
              </a:rPr>
              <a:t>In the </a:t>
            </a:r>
            <a:r>
              <a:rPr lang="en-US" sz="2000" b="1" i="0" dirty="0">
                <a:solidFill>
                  <a:srgbClr val="777777"/>
                </a:solidFill>
                <a:effectLst/>
                <a:latin typeface="inherit"/>
              </a:rPr>
              <a:t>Justice System</a:t>
            </a:r>
            <a:r>
              <a:rPr lang="en-US" sz="2000" b="0" i="0" dirty="0">
                <a:solidFill>
                  <a:srgbClr val="777777"/>
                </a:solidFill>
                <a:effectLst/>
                <a:latin typeface="inherit"/>
              </a:rPr>
              <a:t>, a false negative occurs when a guilty suspect is found “Not Guilty” and allowed to walk free.</a:t>
            </a:r>
          </a:p>
          <a:p>
            <a:pPr marL="0" indent="0">
              <a:buNone/>
            </a:pPr>
            <a:endParaRPr lang="en-US" dirty="0"/>
          </a:p>
          <a:p>
            <a:endParaRPr lang="en-US" dirty="0"/>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BD9D8498-CD00-427C-AC53-2B0580CF8642}"/>
                  </a:ext>
                </a:extLst>
              </p14:cNvPr>
              <p14:cNvContentPartPr/>
              <p14:nvPr/>
            </p14:nvContentPartPr>
            <p14:xfrm>
              <a:off x="390600" y="1467000"/>
              <a:ext cx="8272800" cy="2109960"/>
            </p14:xfrm>
          </p:contentPart>
        </mc:Choice>
        <mc:Fallback>
          <p:pic>
            <p:nvPicPr>
              <p:cNvPr id="4" name="Ink 3">
                <a:extLst>
                  <a:ext uri="{FF2B5EF4-FFF2-40B4-BE49-F238E27FC236}">
                    <a16:creationId xmlns:a16="http://schemas.microsoft.com/office/drawing/2014/main" id="{BD9D8498-CD00-427C-AC53-2B0580CF8642}"/>
                  </a:ext>
                </a:extLst>
              </p:cNvPr>
              <p:cNvPicPr/>
              <p:nvPr/>
            </p:nvPicPr>
            <p:blipFill>
              <a:blip r:embed="rId3"/>
              <a:stretch>
                <a:fillRect/>
              </a:stretch>
            </p:blipFill>
            <p:spPr>
              <a:xfrm>
                <a:off x="381240" y="1457640"/>
                <a:ext cx="8291520" cy="2128680"/>
              </a:xfrm>
              <a:prstGeom prst="rect">
                <a:avLst/>
              </a:prstGeom>
            </p:spPr>
          </p:pic>
        </mc:Fallback>
      </mc:AlternateContent>
    </p:spTree>
    <p:extLst>
      <p:ext uri="{BB962C8B-B14F-4D97-AF65-F5344CB8AC3E}">
        <p14:creationId xmlns:p14="http://schemas.microsoft.com/office/powerpoint/2010/main" val="2405493443"/>
      </p:ext>
    </p:extLst>
  </p:cSld>
  <p:clrMapOvr>
    <a:masterClrMapping/>
  </p:clrMapOvr>
  <p:transition spd="med">
    <p:wipe dir="r"/>
  </p:transition>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E7488E-8B76-4070-9124-EB3B7EE8E2C7}"/>
              </a:ext>
            </a:extLst>
          </p:cNvPr>
          <p:cNvSpPr>
            <a:spLocks noGrp="1"/>
          </p:cNvSpPr>
          <p:nvPr>
            <p:ph type="title"/>
          </p:nvPr>
        </p:nvSpPr>
        <p:spPr>
          <a:xfrm>
            <a:off x="1" y="113029"/>
            <a:ext cx="8914791" cy="640080"/>
          </a:xfrm>
        </p:spPr>
        <p:txBody>
          <a:bodyPr/>
          <a:lstStyle/>
          <a:p>
            <a:r>
              <a:rPr lang="en-US" dirty="0"/>
              <a:t>Example : Allergy or Not ? </a:t>
            </a:r>
          </a:p>
        </p:txBody>
      </p:sp>
      <p:pic>
        <p:nvPicPr>
          <p:cNvPr id="5" name="Content Placeholder 4" descr="A cat lying on a blanket&#10;&#10;Description automatically generated with medium confidence">
            <a:extLst>
              <a:ext uri="{FF2B5EF4-FFF2-40B4-BE49-F238E27FC236}">
                <a16:creationId xmlns:a16="http://schemas.microsoft.com/office/drawing/2014/main" id="{E162F585-2F27-4E01-AB27-7C8FA2C2A2EA}"/>
              </a:ext>
            </a:extLst>
          </p:cNvPr>
          <p:cNvPicPr>
            <a:picLocks noGrp="1" noChangeAspect="1"/>
          </p:cNvPicPr>
          <p:nvPr>
            <p:ph sz="half" idx="13"/>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338456" y="851339"/>
            <a:ext cx="2576336" cy="2058116"/>
          </a:xfrm>
        </p:spPr>
      </p:pic>
      <p:sp>
        <p:nvSpPr>
          <p:cNvPr id="7" name="TextBox 6">
            <a:extLst>
              <a:ext uri="{FF2B5EF4-FFF2-40B4-BE49-F238E27FC236}">
                <a16:creationId xmlns:a16="http://schemas.microsoft.com/office/drawing/2014/main" id="{134A7D84-DB8B-4044-84C0-9D7670045B52}"/>
              </a:ext>
            </a:extLst>
          </p:cNvPr>
          <p:cNvSpPr txBox="1"/>
          <p:nvPr/>
        </p:nvSpPr>
        <p:spPr>
          <a:xfrm>
            <a:off x="305339" y="976599"/>
            <a:ext cx="5326085" cy="1661993"/>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Hunter says she is itchy. There is a test for Allergy to Cats, but this test is not always right:</a:t>
            </a:r>
          </a:p>
          <a:p>
            <a:pPr algn="l"/>
            <a:endParaRPr lang="en-US" sz="1100" b="0" i="0" dirty="0">
              <a:solidFill>
                <a:srgbClr val="333333"/>
              </a:solidFill>
              <a:effectLst/>
              <a:latin typeface="Verdana" panose="020B0604030504040204" pitchFamily="34" charset="0"/>
            </a:endParaRPr>
          </a:p>
          <a:p>
            <a:pPr marL="171450" indent="-171450" algn="l">
              <a:buFont typeface="Arial" panose="020B0604020202020204" pitchFamily="34" charset="0"/>
              <a:buChar char="•"/>
            </a:pPr>
            <a:r>
              <a:rPr lang="en-US" sz="1100" b="0" i="0" dirty="0">
                <a:solidFill>
                  <a:srgbClr val="333333"/>
                </a:solidFill>
                <a:effectLst/>
                <a:latin typeface="Verdana" panose="020B0604030504040204" pitchFamily="34" charset="0"/>
              </a:rPr>
              <a:t>For people that </a:t>
            </a:r>
            <a:r>
              <a:rPr lang="en-US" sz="1100" b="1" i="0" dirty="0">
                <a:solidFill>
                  <a:srgbClr val="333333"/>
                </a:solidFill>
                <a:effectLst/>
                <a:latin typeface="Verdana" panose="020B0604030504040204" pitchFamily="34" charset="0"/>
              </a:rPr>
              <a:t>really do</a:t>
            </a:r>
            <a:r>
              <a:rPr lang="en-US" sz="1100" b="0" i="0" dirty="0">
                <a:solidFill>
                  <a:srgbClr val="333333"/>
                </a:solidFill>
                <a:effectLst/>
                <a:latin typeface="Verdana" panose="020B0604030504040204" pitchFamily="34" charset="0"/>
              </a:rPr>
              <a:t> have the allergy, the test says "Yes" </a:t>
            </a:r>
            <a:r>
              <a:rPr lang="en-US" sz="1100" b="1" i="0" dirty="0">
                <a:solidFill>
                  <a:srgbClr val="333333"/>
                </a:solidFill>
                <a:effectLst/>
                <a:latin typeface="Verdana" panose="020B0604030504040204" pitchFamily="34" charset="0"/>
              </a:rPr>
              <a:t>80%</a:t>
            </a:r>
            <a:r>
              <a:rPr lang="en-US" sz="1100" b="0" i="0" dirty="0">
                <a:solidFill>
                  <a:srgbClr val="333333"/>
                </a:solidFill>
                <a:effectLst/>
                <a:latin typeface="Verdana" panose="020B0604030504040204" pitchFamily="34" charset="0"/>
              </a:rPr>
              <a:t> of the time</a:t>
            </a:r>
          </a:p>
          <a:p>
            <a:pPr marL="171450" indent="-171450" algn="l">
              <a:buFont typeface="Arial" panose="020B0604020202020204" pitchFamily="34" charset="0"/>
              <a:buChar char="•"/>
            </a:pPr>
            <a:endParaRPr lang="en-US" sz="1100" b="0" i="0" dirty="0">
              <a:solidFill>
                <a:srgbClr val="333333"/>
              </a:solidFill>
              <a:effectLst/>
              <a:latin typeface="Verdana" panose="020B0604030504040204" pitchFamily="34" charset="0"/>
            </a:endParaRPr>
          </a:p>
          <a:p>
            <a:pPr marL="171450" indent="-171450" algn="l">
              <a:buFont typeface="Arial" panose="020B0604020202020204" pitchFamily="34" charset="0"/>
              <a:buChar char="•"/>
            </a:pPr>
            <a:r>
              <a:rPr lang="en-US" sz="1100" b="0" i="0" dirty="0">
                <a:solidFill>
                  <a:srgbClr val="333333"/>
                </a:solidFill>
                <a:effectLst/>
                <a:latin typeface="Verdana" panose="020B0604030504040204" pitchFamily="34" charset="0"/>
              </a:rPr>
              <a:t>For people that </a:t>
            </a:r>
            <a:r>
              <a:rPr lang="en-US" sz="1100" b="1" i="0" dirty="0">
                <a:solidFill>
                  <a:srgbClr val="333333"/>
                </a:solidFill>
                <a:effectLst/>
                <a:latin typeface="Verdana" panose="020B0604030504040204" pitchFamily="34" charset="0"/>
              </a:rPr>
              <a:t>do not</a:t>
            </a:r>
            <a:r>
              <a:rPr lang="en-US" sz="1100" b="0" i="0" dirty="0">
                <a:solidFill>
                  <a:srgbClr val="333333"/>
                </a:solidFill>
                <a:effectLst/>
                <a:latin typeface="Verdana" panose="020B0604030504040204" pitchFamily="34" charset="0"/>
              </a:rPr>
              <a:t> have the allergy, the test says "Yes" </a:t>
            </a:r>
            <a:r>
              <a:rPr lang="en-US" sz="1100" b="1" i="0" dirty="0">
                <a:solidFill>
                  <a:srgbClr val="333333"/>
                </a:solidFill>
                <a:effectLst/>
                <a:latin typeface="Verdana" panose="020B0604030504040204" pitchFamily="34" charset="0"/>
              </a:rPr>
              <a:t>10%</a:t>
            </a:r>
            <a:r>
              <a:rPr lang="en-US" sz="1100" b="0" i="0" dirty="0">
                <a:solidFill>
                  <a:srgbClr val="333333"/>
                </a:solidFill>
                <a:effectLst/>
                <a:latin typeface="Verdana" panose="020B0604030504040204" pitchFamily="34" charset="0"/>
              </a:rPr>
              <a:t> of the time ("false positive")</a:t>
            </a:r>
          </a:p>
          <a:p>
            <a:pPr>
              <a:spcBef>
                <a:spcPts val="0"/>
              </a:spcBef>
              <a:spcAft>
                <a:spcPts val="0"/>
              </a:spcAft>
              <a:buClr>
                <a:schemeClr val="bg1"/>
              </a:buClr>
            </a:pPr>
            <a:endParaRPr lang="en-US" sz="1400" dirty="0" err="1">
              <a:solidFill>
                <a:schemeClr val="bg2"/>
              </a:solidFill>
              <a:latin typeface="+mn-lt"/>
            </a:endParaRPr>
          </a:p>
        </p:txBody>
      </p:sp>
      <p:pic>
        <p:nvPicPr>
          <p:cNvPr id="9" name="Picture 8">
            <a:extLst>
              <a:ext uri="{FF2B5EF4-FFF2-40B4-BE49-F238E27FC236}">
                <a16:creationId xmlns:a16="http://schemas.microsoft.com/office/drawing/2014/main" id="{5A985D4C-E60E-4201-8BBE-8E238B61E08B}"/>
              </a:ext>
            </a:extLst>
          </p:cNvPr>
          <p:cNvPicPr>
            <a:picLocks noChangeAspect="1"/>
          </p:cNvPicPr>
          <p:nvPr/>
        </p:nvPicPr>
        <p:blipFill>
          <a:blip r:embed="rId4"/>
          <a:stretch>
            <a:fillRect/>
          </a:stretch>
        </p:blipFill>
        <p:spPr>
          <a:xfrm>
            <a:off x="260524" y="2975111"/>
            <a:ext cx="5639236" cy="1324311"/>
          </a:xfrm>
          <a:prstGeom prst="rect">
            <a:avLst/>
          </a:prstGeom>
        </p:spPr>
      </p:pic>
      <p:sp>
        <p:nvSpPr>
          <p:cNvPr id="10" name="TextBox 9">
            <a:extLst>
              <a:ext uri="{FF2B5EF4-FFF2-40B4-BE49-F238E27FC236}">
                <a16:creationId xmlns:a16="http://schemas.microsoft.com/office/drawing/2014/main" id="{FBEFB2C8-1750-4B8C-8485-879C100EC5F9}"/>
              </a:ext>
            </a:extLst>
          </p:cNvPr>
          <p:cNvSpPr txBox="1"/>
          <p:nvPr/>
        </p:nvSpPr>
        <p:spPr>
          <a:xfrm>
            <a:off x="106183" y="2778650"/>
            <a:ext cx="2862198" cy="261610"/>
          </a:xfrm>
          <a:prstGeom prst="rect">
            <a:avLst/>
          </a:prstGeom>
          <a:noFill/>
        </p:spPr>
        <p:txBody>
          <a:bodyPr wrap="square" rtlCol="0">
            <a:spAutoFit/>
          </a:bodyPr>
          <a:lstStyle/>
          <a:p>
            <a:pPr>
              <a:spcBef>
                <a:spcPts val="0"/>
              </a:spcBef>
              <a:spcAft>
                <a:spcPts val="0"/>
              </a:spcAft>
              <a:buClr>
                <a:schemeClr val="bg1"/>
              </a:buClr>
            </a:pPr>
            <a:r>
              <a:rPr lang="en-US" sz="1100" b="1" i="1" dirty="0">
                <a:solidFill>
                  <a:srgbClr val="333333"/>
                </a:solidFill>
                <a:latin typeface="Verdana" panose="020B0604030504040204" pitchFamily="34" charset="0"/>
              </a:rPr>
              <a:t>Here is the table : </a:t>
            </a:r>
          </a:p>
        </p:txBody>
      </p:sp>
      <mc:AlternateContent xmlns:mc="http://schemas.openxmlformats.org/markup-compatibility/2006">
        <mc:Choice xmlns:p14="http://schemas.microsoft.com/office/powerpoint/2010/main" Requires="p14">
          <p:contentPart p14:bwMode="auto" r:id="rId5">
            <p14:nvContentPartPr>
              <p14:cNvPr id="3" name="Ink 2">
                <a:extLst>
                  <a:ext uri="{FF2B5EF4-FFF2-40B4-BE49-F238E27FC236}">
                    <a16:creationId xmlns:a16="http://schemas.microsoft.com/office/drawing/2014/main" id="{331A1D1C-46C4-413C-AD2D-BC08A63CDB82}"/>
                  </a:ext>
                </a:extLst>
              </p14:cNvPr>
              <p14:cNvContentPartPr/>
              <p14:nvPr/>
            </p14:nvContentPartPr>
            <p14:xfrm>
              <a:off x="81000" y="142920"/>
              <a:ext cx="8811000" cy="4401000"/>
            </p14:xfrm>
          </p:contentPart>
        </mc:Choice>
        <mc:Fallback>
          <p:pic>
            <p:nvPicPr>
              <p:cNvPr id="3" name="Ink 2">
                <a:extLst>
                  <a:ext uri="{FF2B5EF4-FFF2-40B4-BE49-F238E27FC236}">
                    <a16:creationId xmlns:a16="http://schemas.microsoft.com/office/drawing/2014/main" id="{331A1D1C-46C4-413C-AD2D-BC08A63CDB82}"/>
                  </a:ext>
                </a:extLst>
              </p:cNvPr>
              <p:cNvPicPr/>
              <p:nvPr/>
            </p:nvPicPr>
            <p:blipFill>
              <a:blip r:embed="rId6"/>
              <a:stretch>
                <a:fillRect/>
              </a:stretch>
            </p:blipFill>
            <p:spPr>
              <a:xfrm>
                <a:off x="71640" y="133560"/>
                <a:ext cx="8829720" cy="4419720"/>
              </a:xfrm>
              <a:prstGeom prst="rect">
                <a:avLst/>
              </a:prstGeom>
            </p:spPr>
          </p:pic>
        </mc:Fallback>
      </mc:AlternateContent>
    </p:spTree>
    <p:extLst>
      <p:ext uri="{BB962C8B-B14F-4D97-AF65-F5344CB8AC3E}">
        <p14:creationId xmlns:p14="http://schemas.microsoft.com/office/powerpoint/2010/main" val="3596897327"/>
      </p:ext>
    </p:extLst>
  </p:cSld>
  <p:clrMapOvr>
    <a:masterClrMapping/>
  </p:clrMapOvr>
  <p:transition spd="med">
    <p:wipe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BFD079F-47A3-45E3-A49E-72DE938F0F45}"/>
              </a:ext>
            </a:extLst>
          </p:cNvPr>
          <p:cNvSpPr>
            <a:spLocks noGrp="1"/>
          </p:cNvSpPr>
          <p:nvPr>
            <p:ph sz="half" idx="1"/>
          </p:nvPr>
        </p:nvSpPr>
        <p:spPr>
          <a:xfrm>
            <a:off x="174111" y="703961"/>
            <a:ext cx="8694316" cy="3774093"/>
          </a:xfrm>
        </p:spPr>
        <p:txBody>
          <a:bodyPr>
            <a:normAutofit/>
          </a:bodyPr>
          <a:lstStyle/>
          <a:p>
            <a:pPr marL="0" indent="0">
              <a:buNone/>
            </a:pPr>
            <a:r>
              <a:rPr lang="en-US" sz="4400" dirty="0">
                <a:solidFill>
                  <a:schemeClr val="bg2">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rPr>
              <a:t>A</a:t>
            </a:r>
            <a:r>
              <a:rPr lang="en-US" sz="44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fter understanding Population and Sample it opens the gate to understand what is </a:t>
            </a:r>
            <a:r>
              <a:rPr lang="en-US" sz="4400" b="1" i="1" dirty="0">
                <a:solidFill>
                  <a:schemeClr val="accent1"/>
                </a:solidFill>
                <a:latin typeface="Calibri" panose="020F0502020204030204" pitchFamily="34" charset="0"/>
                <a:ea typeface="DengXian" panose="02010600030101010101" pitchFamily="2" charset="-122"/>
                <a:cs typeface="Times New Roman" panose="02020603050405020304" pitchFamily="18" charset="0"/>
              </a:rPr>
              <a:t>I</a:t>
            </a:r>
            <a:r>
              <a:rPr lang="en-US" sz="4400" b="1" i="1" dirty="0">
                <a:solidFill>
                  <a:schemeClr val="accent1"/>
                </a:solidFill>
                <a:effectLst/>
                <a:latin typeface="Calibri" panose="020F0502020204030204" pitchFamily="34" charset="0"/>
                <a:ea typeface="DengXian" panose="02010600030101010101" pitchFamily="2" charset="-122"/>
                <a:cs typeface="Times New Roman" panose="02020603050405020304" pitchFamily="18" charset="0"/>
              </a:rPr>
              <a:t>nferential</a:t>
            </a:r>
            <a:r>
              <a:rPr lang="en-US" sz="44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 and </a:t>
            </a:r>
            <a:r>
              <a:rPr lang="en-US" sz="4400" b="1" i="1" dirty="0">
                <a:solidFill>
                  <a:schemeClr val="accent1"/>
                </a:solidFill>
                <a:latin typeface="Calibri" panose="020F0502020204030204" pitchFamily="34" charset="0"/>
                <a:ea typeface="DengXian" panose="02010600030101010101" pitchFamily="2" charset="-122"/>
                <a:cs typeface="Times New Roman" panose="02020603050405020304" pitchFamily="18" charset="0"/>
              </a:rPr>
              <a:t>D</a:t>
            </a:r>
            <a:r>
              <a:rPr lang="en-US" sz="4400" b="1" i="1" dirty="0">
                <a:solidFill>
                  <a:schemeClr val="accent1"/>
                </a:solidFill>
                <a:effectLst/>
                <a:latin typeface="Calibri" panose="020F0502020204030204" pitchFamily="34" charset="0"/>
                <a:ea typeface="DengXian" panose="02010600030101010101" pitchFamily="2" charset="-122"/>
                <a:cs typeface="Times New Roman" panose="02020603050405020304" pitchFamily="18" charset="0"/>
              </a:rPr>
              <a:t>escriptive</a:t>
            </a:r>
            <a:r>
              <a:rPr lang="en-US" sz="44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 statistics. </a:t>
            </a:r>
          </a:p>
          <a:p>
            <a:endParaRPr lang="en-US" dirty="0"/>
          </a:p>
        </p:txBody>
      </p:sp>
    </p:spTree>
    <p:extLst>
      <p:ext uri="{BB962C8B-B14F-4D97-AF65-F5344CB8AC3E}">
        <p14:creationId xmlns:p14="http://schemas.microsoft.com/office/powerpoint/2010/main" val="2499727815"/>
      </p:ext>
    </p:extLst>
  </p:cSld>
  <p:clrMapOvr>
    <a:masterClrMapping/>
  </p:clrMapOvr>
  <p:transition spd="med">
    <p:wipe dir="r"/>
  </p:transition>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F04040-41EE-4244-A027-A4BBE5A176EB}"/>
              </a:ext>
            </a:extLst>
          </p:cNvPr>
          <p:cNvSpPr>
            <a:spLocks noGrp="1"/>
          </p:cNvSpPr>
          <p:nvPr>
            <p:ph type="title"/>
          </p:nvPr>
        </p:nvSpPr>
        <p:spPr>
          <a:xfrm>
            <a:off x="0" y="256784"/>
            <a:ext cx="4295219" cy="640080"/>
          </a:xfrm>
        </p:spPr>
        <p:txBody>
          <a:bodyPr/>
          <a:lstStyle/>
          <a:p>
            <a:r>
              <a:rPr lang="en-US" dirty="0"/>
              <a:t>Question :  </a:t>
            </a:r>
          </a:p>
        </p:txBody>
      </p:sp>
      <p:sp>
        <p:nvSpPr>
          <p:cNvPr id="3" name="Content Placeholder 2">
            <a:extLst>
              <a:ext uri="{FF2B5EF4-FFF2-40B4-BE49-F238E27FC236}">
                <a16:creationId xmlns:a16="http://schemas.microsoft.com/office/drawing/2014/main" id="{CAF3CC83-1E6B-4293-B4C2-AC02D7CDEE08}"/>
              </a:ext>
            </a:extLst>
          </p:cNvPr>
          <p:cNvSpPr>
            <a:spLocks noGrp="1"/>
          </p:cNvSpPr>
          <p:nvPr>
            <p:ph sz="half" idx="13"/>
          </p:nvPr>
        </p:nvSpPr>
        <p:spPr>
          <a:xfrm>
            <a:off x="62630" y="797908"/>
            <a:ext cx="8807049" cy="3200400"/>
          </a:xfrm>
        </p:spPr>
        <p:txBody>
          <a:bodyPr/>
          <a:lstStyle/>
          <a:p>
            <a:endParaRPr lang="en-US" b="0" i="0" dirty="0">
              <a:solidFill>
                <a:schemeClr val="bg2">
                  <a:lumMod val="50000"/>
                  <a:lumOff val="50000"/>
                </a:schemeClr>
              </a:solidFill>
              <a:effectLst/>
              <a:latin typeface="Verdana" panose="020B0604030504040204" pitchFamily="34" charset="0"/>
            </a:endParaRPr>
          </a:p>
          <a:p>
            <a:pPr marL="0" indent="0">
              <a:buNone/>
            </a:pPr>
            <a:r>
              <a:rPr lang="en-US" sz="2000" b="0" i="0" dirty="0">
                <a:solidFill>
                  <a:schemeClr val="bg2">
                    <a:lumMod val="50000"/>
                    <a:lumOff val="50000"/>
                  </a:schemeClr>
                </a:solidFill>
                <a:effectLst/>
                <a:latin typeface="Verdana" panose="020B0604030504040204" pitchFamily="34" charset="0"/>
              </a:rPr>
              <a:t>If 1% of the population have the allergy, and </a:t>
            </a:r>
            <a:r>
              <a:rPr lang="en-US" sz="2000" b="1" i="0" dirty="0">
                <a:solidFill>
                  <a:schemeClr val="bg2">
                    <a:lumMod val="50000"/>
                    <a:lumOff val="50000"/>
                  </a:schemeClr>
                </a:solidFill>
                <a:effectLst/>
                <a:latin typeface="Verdana" panose="020B0604030504040204" pitchFamily="34" charset="0"/>
              </a:rPr>
              <a:t>Hunter's test says "Yes"</a:t>
            </a:r>
            <a:r>
              <a:rPr lang="en-US" sz="2000" b="0" i="0" dirty="0">
                <a:solidFill>
                  <a:schemeClr val="bg2">
                    <a:lumMod val="50000"/>
                    <a:lumOff val="50000"/>
                  </a:schemeClr>
                </a:solidFill>
                <a:effectLst/>
                <a:latin typeface="Verdana" panose="020B0604030504040204" pitchFamily="34" charset="0"/>
              </a:rPr>
              <a:t>, what are the chances that Hunter really has the allergy?</a:t>
            </a:r>
          </a:p>
          <a:p>
            <a:pPr marL="0" indent="0">
              <a:buNone/>
            </a:pPr>
            <a:endParaRPr lang="en-US" b="0" i="0" dirty="0">
              <a:solidFill>
                <a:schemeClr val="bg2">
                  <a:lumMod val="50000"/>
                  <a:lumOff val="50000"/>
                </a:schemeClr>
              </a:solidFill>
              <a:effectLst/>
              <a:latin typeface="Verdana" panose="020B0604030504040204" pitchFamily="34" charset="0"/>
            </a:endParaRPr>
          </a:p>
          <a:p>
            <a:r>
              <a:rPr lang="en-US" dirty="0">
                <a:solidFill>
                  <a:schemeClr val="bg2">
                    <a:lumMod val="50000"/>
                    <a:lumOff val="50000"/>
                  </a:schemeClr>
                </a:solidFill>
              </a:rPr>
              <a:t>There are three different ways to solve this:</a:t>
            </a:r>
          </a:p>
          <a:p>
            <a:pPr marL="0" indent="0">
              <a:buNone/>
            </a:pPr>
            <a:endParaRPr lang="en-US" dirty="0">
              <a:solidFill>
                <a:schemeClr val="bg2">
                  <a:lumMod val="50000"/>
                  <a:lumOff val="50000"/>
                </a:schemeClr>
              </a:solidFill>
            </a:endParaRPr>
          </a:p>
          <a:p>
            <a:pPr lvl="1"/>
            <a:r>
              <a:rPr lang="en-US" dirty="0">
                <a:solidFill>
                  <a:schemeClr val="bg2">
                    <a:lumMod val="50000"/>
                    <a:lumOff val="50000"/>
                  </a:schemeClr>
                </a:solidFill>
              </a:rPr>
              <a:t>"Imagine a 1000",</a:t>
            </a:r>
          </a:p>
          <a:p>
            <a:pPr marL="342900" lvl="1" indent="0">
              <a:buNone/>
            </a:pPr>
            <a:endParaRPr lang="en-US" dirty="0">
              <a:solidFill>
                <a:schemeClr val="bg2">
                  <a:lumMod val="50000"/>
                  <a:lumOff val="50000"/>
                </a:schemeClr>
              </a:solidFill>
            </a:endParaRPr>
          </a:p>
          <a:p>
            <a:pPr lvl="1"/>
            <a:r>
              <a:rPr lang="en-US" dirty="0">
                <a:solidFill>
                  <a:schemeClr val="bg2">
                    <a:lumMod val="50000"/>
                    <a:lumOff val="50000"/>
                  </a:schemeClr>
                </a:solidFill>
              </a:rPr>
              <a:t>"Tree Diagrams" </a:t>
            </a:r>
          </a:p>
          <a:p>
            <a:pPr marL="342900" lvl="1" indent="0">
              <a:buNone/>
            </a:pPr>
            <a:endParaRPr lang="en-US" dirty="0">
              <a:solidFill>
                <a:schemeClr val="bg2">
                  <a:lumMod val="50000"/>
                  <a:lumOff val="50000"/>
                </a:schemeClr>
              </a:solidFill>
            </a:endParaRPr>
          </a:p>
          <a:p>
            <a:pPr lvl="1"/>
            <a:r>
              <a:rPr lang="en-US" dirty="0">
                <a:solidFill>
                  <a:schemeClr val="bg2">
                    <a:lumMod val="50000"/>
                    <a:lumOff val="50000"/>
                  </a:schemeClr>
                </a:solidFill>
              </a:rPr>
              <a:t>"Bayes' Theorem",</a:t>
            </a: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4FDA2133-484A-4BDB-AF53-E98A9E8E1D34}"/>
                  </a:ext>
                </a:extLst>
              </p14:cNvPr>
              <p14:cNvContentPartPr/>
              <p14:nvPr/>
            </p14:nvContentPartPr>
            <p14:xfrm>
              <a:off x="299880" y="299880"/>
              <a:ext cx="7768080" cy="4239000"/>
            </p14:xfrm>
          </p:contentPart>
        </mc:Choice>
        <mc:Fallback>
          <p:pic>
            <p:nvPicPr>
              <p:cNvPr id="4" name="Ink 3">
                <a:extLst>
                  <a:ext uri="{FF2B5EF4-FFF2-40B4-BE49-F238E27FC236}">
                    <a16:creationId xmlns:a16="http://schemas.microsoft.com/office/drawing/2014/main" id="{4FDA2133-484A-4BDB-AF53-E98A9E8E1D34}"/>
                  </a:ext>
                </a:extLst>
              </p:cNvPr>
              <p:cNvPicPr/>
              <p:nvPr/>
            </p:nvPicPr>
            <p:blipFill>
              <a:blip r:embed="rId3"/>
              <a:stretch>
                <a:fillRect/>
              </a:stretch>
            </p:blipFill>
            <p:spPr>
              <a:xfrm>
                <a:off x="290520" y="290520"/>
                <a:ext cx="7786800" cy="4257720"/>
              </a:xfrm>
              <a:prstGeom prst="rect">
                <a:avLst/>
              </a:prstGeom>
            </p:spPr>
          </p:pic>
        </mc:Fallback>
      </mc:AlternateContent>
    </p:spTree>
    <p:extLst>
      <p:ext uri="{BB962C8B-B14F-4D97-AF65-F5344CB8AC3E}">
        <p14:creationId xmlns:p14="http://schemas.microsoft.com/office/powerpoint/2010/main" val="1190503812"/>
      </p:ext>
    </p:extLst>
  </p:cSld>
  <p:clrMapOvr>
    <a:masterClrMapping/>
  </p:clrMapOvr>
  <p:transition spd="med">
    <p:wipe dir="r"/>
  </p:transition>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015AEE-CB56-4AEE-87EC-192943000399}"/>
              </a:ext>
            </a:extLst>
          </p:cNvPr>
          <p:cNvSpPr>
            <a:spLocks noGrp="1"/>
          </p:cNvSpPr>
          <p:nvPr>
            <p:ph type="title"/>
          </p:nvPr>
        </p:nvSpPr>
        <p:spPr>
          <a:xfrm>
            <a:off x="0" y="0"/>
            <a:ext cx="7718555" cy="640080"/>
          </a:xfrm>
        </p:spPr>
        <p:txBody>
          <a:bodyPr/>
          <a:lstStyle/>
          <a:p>
            <a:r>
              <a:rPr lang="en-US" dirty="0"/>
              <a:t>Solution 1 : Imagine a thousand people</a:t>
            </a:r>
          </a:p>
        </p:txBody>
      </p:sp>
      <p:pic>
        <p:nvPicPr>
          <p:cNvPr id="5" name="Content Placeholder 4">
            <a:extLst>
              <a:ext uri="{FF2B5EF4-FFF2-40B4-BE49-F238E27FC236}">
                <a16:creationId xmlns:a16="http://schemas.microsoft.com/office/drawing/2014/main" id="{B8929DDE-659B-458B-B433-3A6D3FF33843}"/>
              </a:ext>
            </a:extLst>
          </p:cNvPr>
          <p:cNvPicPr>
            <a:picLocks noGrp="1" noChangeAspect="1"/>
          </p:cNvPicPr>
          <p:nvPr>
            <p:ph sz="half" idx="13"/>
          </p:nvPr>
        </p:nvPicPr>
        <p:blipFill>
          <a:blip r:embed="rId2"/>
          <a:stretch>
            <a:fillRect/>
          </a:stretch>
        </p:blipFill>
        <p:spPr>
          <a:xfrm>
            <a:off x="819019" y="635518"/>
            <a:ext cx="6502443" cy="1269288"/>
          </a:xfrm>
        </p:spPr>
      </p:pic>
      <p:sp>
        <p:nvSpPr>
          <p:cNvPr id="6" name="TextBox 5">
            <a:extLst>
              <a:ext uri="{FF2B5EF4-FFF2-40B4-BE49-F238E27FC236}">
                <a16:creationId xmlns:a16="http://schemas.microsoft.com/office/drawing/2014/main" id="{4C09B935-BFE9-4B1E-AABB-2C5E8905F073}"/>
              </a:ext>
            </a:extLst>
          </p:cNvPr>
          <p:cNvSpPr txBox="1"/>
          <p:nvPr/>
        </p:nvSpPr>
        <p:spPr>
          <a:xfrm>
            <a:off x="966779" y="2338157"/>
            <a:ext cx="7718555" cy="2169825"/>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So, 107 people get a "Yes" but only 8 of those really have the allergy:</a:t>
            </a:r>
          </a:p>
          <a:p>
            <a:pPr algn="l"/>
            <a:endParaRPr lang="en-US" sz="1100" b="0" i="0" dirty="0">
              <a:solidFill>
                <a:srgbClr val="333333"/>
              </a:solidFill>
              <a:effectLst/>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lgn="ctr"/>
            <a:r>
              <a:rPr lang="en-US" sz="1100" b="0" i="0" dirty="0">
                <a:effectLst/>
                <a:latin typeface="Verdana" panose="020B0604030504040204" pitchFamily="34" charset="0"/>
              </a:rPr>
              <a:t>8 / 107 = about 7%</a:t>
            </a:r>
          </a:p>
          <a:p>
            <a:pPr algn="ctr"/>
            <a:endParaRPr lang="en-US" sz="1100" b="0" i="0" dirty="0">
              <a:effectLst/>
              <a:latin typeface="Verdana" panose="020B0604030504040204" pitchFamily="34" charset="0"/>
            </a:endParaRPr>
          </a:p>
          <a:p>
            <a:pPr algn="ctr"/>
            <a:endParaRPr lang="en-US" sz="1100" b="0" i="0" dirty="0">
              <a:effectLst/>
              <a:latin typeface="Verdana" panose="020B0604030504040204" pitchFamily="34" charset="0"/>
            </a:endParaRPr>
          </a:p>
          <a:p>
            <a:pPr algn="l"/>
            <a:r>
              <a:rPr lang="en-US" sz="1100" b="0" i="0" dirty="0">
                <a:solidFill>
                  <a:srgbClr val="333333"/>
                </a:solidFill>
                <a:effectLst/>
                <a:latin typeface="Verdana" panose="020B0604030504040204" pitchFamily="34" charset="0"/>
              </a:rPr>
              <a:t>So, even though Hunter's test said "Yes", it is still only </a:t>
            </a:r>
            <a:r>
              <a:rPr lang="en-US" sz="1100" b="1" i="0" dirty="0">
                <a:solidFill>
                  <a:srgbClr val="333333"/>
                </a:solidFill>
                <a:effectLst/>
                <a:latin typeface="Verdana" panose="020B0604030504040204" pitchFamily="34" charset="0"/>
              </a:rPr>
              <a:t>7% likely</a:t>
            </a:r>
            <a:r>
              <a:rPr lang="en-US" sz="1100" b="0" i="0" dirty="0">
                <a:solidFill>
                  <a:srgbClr val="333333"/>
                </a:solidFill>
                <a:effectLst/>
                <a:latin typeface="Verdana" panose="020B0604030504040204" pitchFamily="34" charset="0"/>
              </a:rPr>
              <a:t> that Hunter has a Cat Allergy.</a:t>
            </a:r>
          </a:p>
          <a:p>
            <a:pPr algn="l"/>
            <a:endParaRPr lang="en-US" sz="1100" dirty="0">
              <a:solidFill>
                <a:srgbClr val="333333"/>
              </a:solidFill>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lgn="l"/>
            <a:r>
              <a:rPr lang="en-US" sz="1100" b="0" i="0" dirty="0">
                <a:solidFill>
                  <a:srgbClr val="333333"/>
                </a:solidFill>
                <a:effectLst/>
                <a:latin typeface="Verdana" panose="020B0604030504040204" pitchFamily="34" charset="0"/>
              </a:rPr>
              <a:t>Why so small? Well, the allergy is so rare that those who actually have it are greatly </a:t>
            </a:r>
            <a:r>
              <a:rPr lang="en-US" sz="1100" b="1" i="0" dirty="0">
                <a:solidFill>
                  <a:srgbClr val="333333"/>
                </a:solidFill>
                <a:effectLst/>
                <a:latin typeface="Verdana" panose="020B0604030504040204" pitchFamily="34" charset="0"/>
              </a:rPr>
              <a:t>outnumbered</a:t>
            </a:r>
            <a:r>
              <a:rPr lang="en-US" sz="1100" b="0" i="0" dirty="0">
                <a:solidFill>
                  <a:srgbClr val="333333"/>
                </a:solidFill>
                <a:effectLst/>
                <a:latin typeface="Verdana" panose="020B0604030504040204" pitchFamily="34" charset="0"/>
              </a:rPr>
              <a:t> by those with a false positive.</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869AA0FB-CE1F-45C2-B2F1-88E32FD129B7}"/>
                  </a:ext>
                </a:extLst>
              </p14:cNvPr>
              <p14:cNvContentPartPr/>
              <p14:nvPr/>
            </p14:nvContentPartPr>
            <p14:xfrm>
              <a:off x="52560" y="100080"/>
              <a:ext cx="8834760" cy="4376880"/>
            </p14:xfrm>
          </p:contentPart>
        </mc:Choice>
        <mc:Fallback>
          <p:pic>
            <p:nvPicPr>
              <p:cNvPr id="3" name="Ink 2">
                <a:extLst>
                  <a:ext uri="{FF2B5EF4-FFF2-40B4-BE49-F238E27FC236}">
                    <a16:creationId xmlns:a16="http://schemas.microsoft.com/office/drawing/2014/main" id="{869AA0FB-CE1F-45C2-B2F1-88E32FD129B7}"/>
                  </a:ext>
                </a:extLst>
              </p:cNvPr>
              <p:cNvPicPr/>
              <p:nvPr/>
            </p:nvPicPr>
            <p:blipFill>
              <a:blip r:embed="rId4"/>
              <a:stretch>
                <a:fillRect/>
              </a:stretch>
            </p:blipFill>
            <p:spPr>
              <a:xfrm>
                <a:off x="43200" y="90720"/>
                <a:ext cx="8853480" cy="4395600"/>
              </a:xfrm>
              <a:prstGeom prst="rect">
                <a:avLst/>
              </a:prstGeom>
            </p:spPr>
          </p:pic>
        </mc:Fallback>
      </mc:AlternateContent>
    </p:spTree>
    <p:extLst>
      <p:ext uri="{BB962C8B-B14F-4D97-AF65-F5344CB8AC3E}">
        <p14:creationId xmlns:p14="http://schemas.microsoft.com/office/powerpoint/2010/main" val="832576474"/>
      </p:ext>
    </p:extLst>
  </p:cSld>
  <p:clrMapOvr>
    <a:masterClrMapping/>
  </p:clrMapOvr>
  <p:transition spd="med">
    <p:wipe dir="r"/>
  </p:transition>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9B4989-CA75-4E36-B717-BC31C8DEBCF6}"/>
              </a:ext>
            </a:extLst>
          </p:cNvPr>
          <p:cNvSpPr>
            <a:spLocks noGrp="1"/>
          </p:cNvSpPr>
          <p:nvPr>
            <p:ph type="title"/>
          </p:nvPr>
        </p:nvSpPr>
        <p:spPr>
          <a:xfrm>
            <a:off x="0" y="22860"/>
            <a:ext cx="4295219" cy="640080"/>
          </a:xfrm>
        </p:spPr>
        <p:txBody>
          <a:bodyPr/>
          <a:lstStyle/>
          <a:p>
            <a:r>
              <a:rPr lang="en-US" dirty="0"/>
              <a:t>Solution 2 : Tree Diagram </a:t>
            </a:r>
          </a:p>
        </p:txBody>
      </p:sp>
      <p:pic>
        <p:nvPicPr>
          <p:cNvPr id="5" name="Content Placeholder 4">
            <a:extLst>
              <a:ext uri="{FF2B5EF4-FFF2-40B4-BE49-F238E27FC236}">
                <a16:creationId xmlns:a16="http://schemas.microsoft.com/office/drawing/2014/main" id="{EE0EC353-F20B-4BA1-8A7B-1D29B7E36C38}"/>
              </a:ext>
            </a:extLst>
          </p:cNvPr>
          <p:cNvPicPr>
            <a:picLocks noGrp="1" noChangeAspect="1"/>
          </p:cNvPicPr>
          <p:nvPr>
            <p:ph sz="half" idx="13"/>
          </p:nvPr>
        </p:nvPicPr>
        <p:blipFill>
          <a:blip r:embed="rId2"/>
          <a:stretch>
            <a:fillRect/>
          </a:stretch>
        </p:blipFill>
        <p:spPr>
          <a:xfrm>
            <a:off x="1214090" y="581520"/>
            <a:ext cx="5681488" cy="1898381"/>
          </a:xfrm>
        </p:spPr>
      </p:pic>
      <p:sp>
        <p:nvSpPr>
          <p:cNvPr id="6" name="TextBox 5">
            <a:extLst>
              <a:ext uri="{FF2B5EF4-FFF2-40B4-BE49-F238E27FC236}">
                <a16:creationId xmlns:a16="http://schemas.microsoft.com/office/drawing/2014/main" id="{6B9D5C1D-650F-4FA4-9532-929A463528B3}"/>
              </a:ext>
            </a:extLst>
          </p:cNvPr>
          <p:cNvSpPr txBox="1"/>
          <p:nvPr/>
        </p:nvSpPr>
        <p:spPr>
          <a:xfrm>
            <a:off x="325677" y="2523995"/>
            <a:ext cx="6851737" cy="2169825"/>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First, let's check that all the percentages add up:</a:t>
            </a:r>
          </a:p>
          <a:p>
            <a:pPr algn="l"/>
            <a:endParaRPr lang="en-US" sz="1100" dirty="0">
              <a:solidFill>
                <a:srgbClr val="333333"/>
              </a:solidFill>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lgn="ctr"/>
            <a:r>
              <a:rPr lang="en-US" sz="1100" b="0" i="0" dirty="0">
                <a:solidFill>
                  <a:srgbClr val="333333"/>
                </a:solidFill>
                <a:effectLst/>
                <a:latin typeface="Verdana" panose="020B0604030504040204" pitchFamily="34" charset="0"/>
              </a:rPr>
              <a:t>0.8% + 0.2% + 9.9% + 89.1% = </a:t>
            </a:r>
            <a:r>
              <a:rPr lang="en-US" sz="1100" b="1" i="0" dirty="0">
                <a:solidFill>
                  <a:srgbClr val="333333"/>
                </a:solidFill>
                <a:effectLst/>
                <a:latin typeface="Verdana" panose="020B0604030504040204" pitchFamily="34" charset="0"/>
              </a:rPr>
              <a:t>100%</a:t>
            </a:r>
            <a:r>
              <a:rPr lang="en-US" sz="1100" b="0" i="0" dirty="0">
                <a:solidFill>
                  <a:srgbClr val="333333"/>
                </a:solidFill>
                <a:effectLst/>
                <a:latin typeface="Verdana" panose="020B0604030504040204" pitchFamily="34" charset="0"/>
              </a:rPr>
              <a:t> (good!)</a:t>
            </a:r>
          </a:p>
          <a:p>
            <a:pPr algn="ctr"/>
            <a:endParaRPr lang="en-US" sz="1100" dirty="0">
              <a:solidFill>
                <a:srgbClr val="333333"/>
              </a:solidFill>
              <a:latin typeface="Verdana" panose="020B0604030504040204" pitchFamily="34" charset="0"/>
            </a:endParaRPr>
          </a:p>
          <a:p>
            <a:pPr algn="ctr"/>
            <a:endParaRPr lang="en-US" sz="1100" b="0" i="0" dirty="0">
              <a:solidFill>
                <a:srgbClr val="333333"/>
              </a:solidFill>
              <a:effectLst/>
              <a:latin typeface="Verdana" panose="020B0604030504040204" pitchFamily="34" charset="0"/>
            </a:endParaRPr>
          </a:p>
          <a:p>
            <a:pPr algn="l"/>
            <a:r>
              <a:rPr lang="en-US" sz="1100" b="0" i="0" dirty="0">
                <a:solidFill>
                  <a:srgbClr val="333333"/>
                </a:solidFill>
                <a:effectLst/>
                <a:latin typeface="Verdana" panose="020B0604030504040204" pitchFamily="34" charset="0"/>
              </a:rPr>
              <a:t>And the two "Yes" answers add up to 0.8% + 9.9% = </a:t>
            </a:r>
            <a:r>
              <a:rPr lang="en-US" sz="1100" b="1" i="0" dirty="0">
                <a:solidFill>
                  <a:srgbClr val="333333"/>
                </a:solidFill>
                <a:effectLst/>
                <a:latin typeface="Verdana" panose="020B0604030504040204" pitchFamily="34" charset="0"/>
              </a:rPr>
              <a:t>10.7%</a:t>
            </a:r>
            <a:r>
              <a:rPr lang="en-US" sz="1100" b="0" i="0" dirty="0">
                <a:solidFill>
                  <a:srgbClr val="333333"/>
                </a:solidFill>
                <a:effectLst/>
                <a:latin typeface="Verdana" panose="020B0604030504040204" pitchFamily="34" charset="0"/>
              </a:rPr>
              <a:t>, but only 0.8% are correct.</a:t>
            </a:r>
          </a:p>
          <a:p>
            <a:pPr algn="l"/>
            <a:endParaRPr lang="en-US" sz="1100" dirty="0">
              <a:solidFill>
                <a:srgbClr val="333333"/>
              </a:solidFill>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lgn="ctr"/>
            <a:r>
              <a:rPr lang="en-US" sz="1100" b="0" i="0" dirty="0">
                <a:solidFill>
                  <a:srgbClr val="333333"/>
                </a:solidFill>
                <a:effectLst/>
                <a:latin typeface="Verdana" panose="020B0604030504040204" pitchFamily="34" charset="0"/>
              </a:rPr>
              <a:t>0.8/10.7 = </a:t>
            </a:r>
            <a:r>
              <a:rPr lang="en-US" sz="1100" b="1" i="0" dirty="0">
                <a:solidFill>
                  <a:srgbClr val="333333"/>
                </a:solidFill>
                <a:effectLst/>
                <a:latin typeface="Verdana" panose="020B0604030504040204" pitchFamily="34" charset="0"/>
              </a:rPr>
              <a:t>7%</a:t>
            </a:r>
            <a:r>
              <a:rPr lang="en-US" sz="1100" b="0" i="0" dirty="0">
                <a:solidFill>
                  <a:srgbClr val="333333"/>
                </a:solidFill>
                <a:effectLst/>
                <a:latin typeface="Verdana" panose="020B0604030504040204" pitchFamily="34" charset="0"/>
              </a:rPr>
              <a:t> (same answer as above)</a:t>
            </a:r>
          </a:p>
          <a:p>
            <a:pPr algn="ctr"/>
            <a:r>
              <a:rPr lang="en-US" sz="1100" b="0" i="0" dirty="0">
                <a:solidFill>
                  <a:srgbClr val="333333"/>
                </a:solidFill>
                <a:effectLst/>
                <a:latin typeface="Verdana" panose="020B0604030504040204" pitchFamily="34" charset="0"/>
              </a:rPr>
              <a:t> </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B608CE85-5A36-4AF5-8AF6-4AB988F6972A}"/>
                  </a:ext>
                </a:extLst>
              </p14:cNvPr>
              <p14:cNvContentPartPr/>
              <p14:nvPr/>
            </p14:nvContentPartPr>
            <p14:xfrm>
              <a:off x="642960" y="433440"/>
              <a:ext cx="7082280" cy="4038840"/>
            </p14:xfrm>
          </p:contentPart>
        </mc:Choice>
        <mc:Fallback>
          <p:pic>
            <p:nvPicPr>
              <p:cNvPr id="3" name="Ink 2">
                <a:extLst>
                  <a:ext uri="{FF2B5EF4-FFF2-40B4-BE49-F238E27FC236}">
                    <a16:creationId xmlns:a16="http://schemas.microsoft.com/office/drawing/2014/main" id="{B608CE85-5A36-4AF5-8AF6-4AB988F6972A}"/>
                  </a:ext>
                </a:extLst>
              </p:cNvPr>
              <p:cNvPicPr/>
              <p:nvPr/>
            </p:nvPicPr>
            <p:blipFill>
              <a:blip r:embed="rId4"/>
              <a:stretch>
                <a:fillRect/>
              </a:stretch>
            </p:blipFill>
            <p:spPr>
              <a:xfrm>
                <a:off x="633600" y="424080"/>
                <a:ext cx="7101000" cy="4057560"/>
              </a:xfrm>
              <a:prstGeom prst="rect">
                <a:avLst/>
              </a:prstGeom>
            </p:spPr>
          </p:pic>
        </mc:Fallback>
      </mc:AlternateContent>
    </p:spTree>
    <p:extLst>
      <p:ext uri="{BB962C8B-B14F-4D97-AF65-F5344CB8AC3E}">
        <p14:creationId xmlns:p14="http://schemas.microsoft.com/office/powerpoint/2010/main" val="3531776241"/>
      </p:ext>
    </p:extLst>
  </p:cSld>
  <p:clrMapOvr>
    <a:masterClrMapping/>
  </p:clrMapOvr>
  <p:transition spd="med">
    <p:wipe dir="r"/>
  </p:transition>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F1BDF1-3031-402A-82E9-14EE471DEE72}"/>
              </a:ext>
            </a:extLst>
          </p:cNvPr>
          <p:cNvSpPr>
            <a:spLocks noGrp="1"/>
          </p:cNvSpPr>
          <p:nvPr>
            <p:ph type="title"/>
          </p:nvPr>
        </p:nvSpPr>
        <p:spPr>
          <a:xfrm>
            <a:off x="0" y="0"/>
            <a:ext cx="4295219" cy="640080"/>
          </a:xfrm>
        </p:spPr>
        <p:txBody>
          <a:bodyPr/>
          <a:lstStyle/>
          <a:p>
            <a:r>
              <a:rPr lang="en-US" dirty="0"/>
              <a:t>Bayes theorem</a:t>
            </a:r>
          </a:p>
        </p:txBody>
      </p:sp>
      <p:sp>
        <p:nvSpPr>
          <p:cNvPr id="6" name="TextBox 5">
            <a:extLst>
              <a:ext uri="{FF2B5EF4-FFF2-40B4-BE49-F238E27FC236}">
                <a16:creationId xmlns:a16="http://schemas.microsoft.com/office/drawing/2014/main" id="{7DF8D651-CBEB-4571-BE27-D8DC9E893C53}"/>
              </a:ext>
            </a:extLst>
          </p:cNvPr>
          <p:cNvSpPr txBox="1"/>
          <p:nvPr/>
        </p:nvSpPr>
        <p:spPr>
          <a:xfrm>
            <a:off x="0" y="640080"/>
            <a:ext cx="8983457" cy="1815882"/>
          </a:xfrm>
          <a:prstGeom prst="rect">
            <a:avLst/>
          </a:prstGeom>
          <a:noFill/>
        </p:spPr>
        <p:txBody>
          <a:bodyPr wrap="square" rtlCol="0">
            <a:spAutoFit/>
          </a:bodyPr>
          <a:lstStyle/>
          <a:p>
            <a:pPr>
              <a:spcBef>
                <a:spcPts val="0"/>
              </a:spcBef>
              <a:spcAft>
                <a:spcPts val="0"/>
              </a:spcAft>
              <a:buClr>
                <a:schemeClr val="bg1"/>
              </a:buClr>
            </a:pPr>
            <a:r>
              <a:rPr lang="en-US" sz="2800" b="1" dirty="0">
                <a:solidFill>
                  <a:schemeClr val="bg2"/>
                </a:solidFill>
                <a:latin typeface="+mn-lt"/>
              </a:rPr>
              <a:t>In Probability theory and statistics, Bayes theorem (alternatively Bayes law or Bayes rule) describe the probability of an event, based on conditions that might be related to the event </a:t>
            </a:r>
          </a:p>
        </p:txBody>
      </p:sp>
      <p:pic>
        <p:nvPicPr>
          <p:cNvPr id="10" name="Picture 9">
            <a:extLst>
              <a:ext uri="{FF2B5EF4-FFF2-40B4-BE49-F238E27FC236}">
                <a16:creationId xmlns:a16="http://schemas.microsoft.com/office/drawing/2014/main" id="{3D2C4696-8262-4E4D-8358-2DFE889B585B}"/>
              </a:ext>
            </a:extLst>
          </p:cNvPr>
          <p:cNvPicPr>
            <a:picLocks noChangeAspect="1"/>
          </p:cNvPicPr>
          <p:nvPr/>
        </p:nvPicPr>
        <p:blipFill>
          <a:blip r:embed="rId2"/>
          <a:stretch>
            <a:fillRect/>
          </a:stretch>
        </p:blipFill>
        <p:spPr>
          <a:xfrm>
            <a:off x="1713944" y="2687539"/>
            <a:ext cx="5162550" cy="1819275"/>
          </a:xfrm>
          <a:prstGeom prst="rect">
            <a:avLst/>
          </a:prstGeom>
        </p:spPr>
      </p:pic>
      <p:sp>
        <p:nvSpPr>
          <p:cNvPr id="11" name="TextBox 10">
            <a:extLst>
              <a:ext uri="{FF2B5EF4-FFF2-40B4-BE49-F238E27FC236}">
                <a16:creationId xmlns:a16="http://schemas.microsoft.com/office/drawing/2014/main" id="{7CA9157D-06A5-4AB9-8909-4A3C6AC7C89E}"/>
              </a:ext>
            </a:extLst>
          </p:cNvPr>
          <p:cNvSpPr txBox="1"/>
          <p:nvPr/>
        </p:nvSpPr>
        <p:spPr>
          <a:xfrm>
            <a:off x="1990725" y="4701903"/>
            <a:ext cx="5954071" cy="461665"/>
          </a:xfrm>
          <a:prstGeom prst="rect">
            <a:avLst/>
          </a:prstGeom>
          <a:noFill/>
        </p:spPr>
        <p:txBody>
          <a:bodyPr wrap="square" rtlCol="0">
            <a:spAutoFit/>
          </a:bodyPr>
          <a:lstStyle/>
          <a:p>
            <a:pPr>
              <a:spcBef>
                <a:spcPts val="0"/>
              </a:spcBef>
              <a:spcAft>
                <a:spcPts val="0"/>
              </a:spcAft>
              <a:buClr>
                <a:schemeClr val="bg1"/>
              </a:buClr>
            </a:pPr>
            <a:r>
              <a:rPr lang="en-US" sz="1000" dirty="0"/>
              <a:t>The bayes theorem was developed and name for Thomas Bayes (1702 – 1761)</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F7138454-1F95-477C-9272-BDC3D78F76F8}"/>
                  </a:ext>
                </a:extLst>
              </p14:cNvPr>
              <p14:cNvContentPartPr/>
              <p14:nvPr/>
            </p14:nvContentPartPr>
            <p14:xfrm>
              <a:off x="657360" y="662040"/>
              <a:ext cx="7905960" cy="3772080"/>
            </p14:xfrm>
          </p:contentPart>
        </mc:Choice>
        <mc:Fallback>
          <p:pic>
            <p:nvPicPr>
              <p:cNvPr id="3" name="Ink 2">
                <a:extLst>
                  <a:ext uri="{FF2B5EF4-FFF2-40B4-BE49-F238E27FC236}">
                    <a16:creationId xmlns:a16="http://schemas.microsoft.com/office/drawing/2014/main" id="{F7138454-1F95-477C-9272-BDC3D78F76F8}"/>
                  </a:ext>
                </a:extLst>
              </p:cNvPr>
              <p:cNvPicPr/>
              <p:nvPr/>
            </p:nvPicPr>
            <p:blipFill>
              <a:blip r:embed="rId4"/>
              <a:stretch>
                <a:fillRect/>
              </a:stretch>
            </p:blipFill>
            <p:spPr>
              <a:xfrm>
                <a:off x="648000" y="652680"/>
                <a:ext cx="7924680" cy="3790800"/>
              </a:xfrm>
              <a:prstGeom prst="rect">
                <a:avLst/>
              </a:prstGeom>
            </p:spPr>
          </p:pic>
        </mc:Fallback>
      </mc:AlternateContent>
    </p:spTree>
    <p:extLst>
      <p:ext uri="{BB962C8B-B14F-4D97-AF65-F5344CB8AC3E}">
        <p14:creationId xmlns:p14="http://schemas.microsoft.com/office/powerpoint/2010/main" val="2210167574"/>
      </p:ext>
    </p:extLst>
  </p:cSld>
  <p:clrMapOvr>
    <a:masterClrMapping/>
  </p:clrMapOvr>
  <p:transition spd="med">
    <p:wipe dir="r"/>
  </p:transition>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F42682-AF4E-4F0D-BA1C-384E4E1E6823}"/>
              </a:ext>
            </a:extLst>
          </p:cNvPr>
          <p:cNvSpPr>
            <a:spLocks noGrp="1"/>
          </p:cNvSpPr>
          <p:nvPr>
            <p:ph type="title"/>
          </p:nvPr>
        </p:nvSpPr>
        <p:spPr>
          <a:xfrm>
            <a:off x="0" y="0"/>
            <a:ext cx="7831731" cy="640080"/>
          </a:xfrm>
        </p:spPr>
        <p:txBody>
          <a:bodyPr/>
          <a:lstStyle/>
          <a:p>
            <a:r>
              <a:rPr lang="en-US" dirty="0"/>
              <a:t>Bayes Theorem – When to apply ? </a:t>
            </a:r>
          </a:p>
        </p:txBody>
      </p:sp>
      <p:sp>
        <p:nvSpPr>
          <p:cNvPr id="3" name="Content Placeholder 2">
            <a:extLst>
              <a:ext uri="{FF2B5EF4-FFF2-40B4-BE49-F238E27FC236}">
                <a16:creationId xmlns:a16="http://schemas.microsoft.com/office/drawing/2014/main" id="{BF60AA7F-1175-41AB-AA9A-828D1C867EFB}"/>
              </a:ext>
            </a:extLst>
          </p:cNvPr>
          <p:cNvSpPr>
            <a:spLocks noGrp="1"/>
          </p:cNvSpPr>
          <p:nvPr>
            <p:ph sz="half" idx="13"/>
          </p:nvPr>
        </p:nvSpPr>
        <p:spPr>
          <a:xfrm>
            <a:off x="153563" y="640080"/>
            <a:ext cx="8480885" cy="3840480"/>
          </a:xfrm>
        </p:spPr>
        <p:txBody>
          <a:bodyPr>
            <a:normAutofit/>
          </a:bodyPr>
          <a:lstStyle/>
          <a:p>
            <a:r>
              <a:rPr lang="en-US" sz="2000" dirty="0"/>
              <a:t>Part of the challenge in applying Bayes theorem involves recognizing the types of problems that warrant its use. You should consider Bayes theorem when the following conditions exit.</a:t>
            </a:r>
          </a:p>
          <a:p>
            <a:endParaRPr lang="en-US" sz="2000" dirty="0"/>
          </a:p>
          <a:p>
            <a:pPr lvl="1"/>
            <a:r>
              <a:rPr lang="en-US" sz="1800" dirty="0"/>
              <a:t>Within the sample space, there exists an event B, for which P(B) &gt; 0</a:t>
            </a:r>
          </a:p>
          <a:p>
            <a:pPr lvl="1"/>
            <a:r>
              <a:rPr lang="en-US" sz="1800" dirty="0"/>
              <a:t>The analytical goal is to compute a conditional probability of the form :           P (A | B)</a:t>
            </a:r>
          </a:p>
          <a:p>
            <a:pPr lvl="1"/>
            <a:r>
              <a:rPr lang="en-US" sz="1800" dirty="0"/>
              <a:t>You know at least one of the two set of probabilities described below :</a:t>
            </a:r>
          </a:p>
          <a:p>
            <a:pPr lvl="1"/>
            <a:endParaRPr lang="en-US" sz="1800" dirty="0"/>
          </a:p>
          <a:p>
            <a:pPr lvl="2"/>
            <a:r>
              <a:rPr lang="en-US" sz="1200" dirty="0"/>
              <a:t>P ( A n B) for each A</a:t>
            </a:r>
          </a:p>
          <a:p>
            <a:pPr lvl="2"/>
            <a:r>
              <a:rPr lang="en-US" sz="1200" dirty="0"/>
              <a:t>P (A) and P (B | A) for each A</a:t>
            </a: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7FF206BB-85CB-4ADF-9FAA-315D39131337}"/>
                  </a:ext>
                </a:extLst>
              </p14:cNvPr>
              <p14:cNvContentPartPr/>
              <p14:nvPr/>
            </p14:nvContentPartPr>
            <p14:xfrm>
              <a:off x="1014480" y="433440"/>
              <a:ext cx="7129800" cy="3667320"/>
            </p14:xfrm>
          </p:contentPart>
        </mc:Choice>
        <mc:Fallback>
          <p:pic>
            <p:nvPicPr>
              <p:cNvPr id="4" name="Ink 3">
                <a:extLst>
                  <a:ext uri="{FF2B5EF4-FFF2-40B4-BE49-F238E27FC236}">
                    <a16:creationId xmlns:a16="http://schemas.microsoft.com/office/drawing/2014/main" id="{7FF206BB-85CB-4ADF-9FAA-315D39131337}"/>
                  </a:ext>
                </a:extLst>
              </p:cNvPr>
              <p:cNvPicPr/>
              <p:nvPr/>
            </p:nvPicPr>
            <p:blipFill>
              <a:blip r:embed="rId3"/>
              <a:stretch>
                <a:fillRect/>
              </a:stretch>
            </p:blipFill>
            <p:spPr>
              <a:xfrm>
                <a:off x="1005120" y="424080"/>
                <a:ext cx="7148520" cy="3686040"/>
              </a:xfrm>
              <a:prstGeom prst="rect">
                <a:avLst/>
              </a:prstGeom>
            </p:spPr>
          </p:pic>
        </mc:Fallback>
      </mc:AlternateContent>
    </p:spTree>
    <p:extLst>
      <p:ext uri="{BB962C8B-B14F-4D97-AF65-F5344CB8AC3E}">
        <p14:creationId xmlns:p14="http://schemas.microsoft.com/office/powerpoint/2010/main" val="533771919"/>
      </p:ext>
    </p:extLst>
  </p:cSld>
  <p:clrMapOvr>
    <a:masterClrMapping/>
  </p:clrMapOvr>
  <p:transition spd="med">
    <p:wipe dir="r"/>
  </p:transition>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55A3F-A47C-4BF4-90D5-E884D6E8945B}"/>
              </a:ext>
            </a:extLst>
          </p:cNvPr>
          <p:cNvSpPr>
            <a:spLocks noGrp="1"/>
          </p:cNvSpPr>
          <p:nvPr>
            <p:ph type="title"/>
          </p:nvPr>
        </p:nvSpPr>
        <p:spPr>
          <a:xfrm>
            <a:off x="0" y="22860"/>
            <a:ext cx="4295219" cy="640080"/>
          </a:xfrm>
        </p:spPr>
        <p:txBody>
          <a:bodyPr/>
          <a:lstStyle/>
          <a:p>
            <a:r>
              <a:rPr lang="en-US" dirty="0"/>
              <a:t>Bayes theorem - continued</a:t>
            </a:r>
          </a:p>
        </p:txBody>
      </p:sp>
      <p:sp>
        <p:nvSpPr>
          <p:cNvPr id="3" name="Content Placeholder 2">
            <a:extLst>
              <a:ext uri="{FF2B5EF4-FFF2-40B4-BE49-F238E27FC236}">
                <a16:creationId xmlns:a16="http://schemas.microsoft.com/office/drawing/2014/main" id="{8C07FA60-EC69-4D57-9740-31C1A9ED291B}"/>
              </a:ext>
            </a:extLst>
          </p:cNvPr>
          <p:cNvSpPr>
            <a:spLocks noGrp="1"/>
          </p:cNvSpPr>
          <p:nvPr>
            <p:ph sz="half" idx="13"/>
          </p:nvPr>
        </p:nvSpPr>
        <p:spPr>
          <a:xfrm>
            <a:off x="141696" y="1021894"/>
            <a:ext cx="8541613" cy="3200400"/>
          </a:xfrm>
        </p:spPr>
        <p:txBody>
          <a:bodyPr>
            <a:normAutofit/>
          </a:bodyPr>
          <a:lstStyle/>
          <a:p>
            <a:r>
              <a:rPr lang="en-US" sz="2400" dirty="0"/>
              <a:t>Where A and B are events: </a:t>
            </a:r>
          </a:p>
          <a:p>
            <a:pPr lvl="1"/>
            <a:endParaRPr lang="en-US" sz="2000" dirty="0"/>
          </a:p>
          <a:p>
            <a:pPr lvl="1"/>
            <a:r>
              <a:rPr lang="en-US" sz="2000" dirty="0"/>
              <a:t>P(A) and P(B) are the probabilities of A and B without regard to each other</a:t>
            </a:r>
          </a:p>
          <a:p>
            <a:pPr lvl="1"/>
            <a:endParaRPr lang="en-US" sz="2000" dirty="0"/>
          </a:p>
          <a:p>
            <a:pPr lvl="1"/>
            <a:r>
              <a:rPr lang="en-US" sz="2000" dirty="0"/>
              <a:t>P (A | B) : a conditional probability is the probability of observing event A given the B is true.</a:t>
            </a:r>
          </a:p>
          <a:p>
            <a:pPr lvl="1"/>
            <a:endParaRPr lang="en-US" sz="2000" dirty="0"/>
          </a:p>
          <a:p>
            <a:pPr lvl="1"/>
            <a:r>
              <a:rPr lang="en-US" sz="2000" dirty="0"/>
              <a:t>P(B | A) is the probability of observing event B given that A is true. </a:t>
            </a: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16192F62-0634-43BC-9EF4-400A3596CD83}"/>
                  </a:ext>
                </a:extLst>
              </p14:cNvPr>
              <p14:cNvContentPartPr/>
              <p14:nvPr/>
            </p14:nvContentPartPr>
            <p14:xfrm>
              <a:off x="976320" y="2057400"/>
              <a:ext cx="1391040" cy="1762560"/>
            </p14:xfrm>
          </p:contentPart>
        </mc:Choice>
        <mc:Fallback>
          <p:pic>
            <p:nvPicPr>
              <p:cNvPr id="4" name="Ink 3">
                <a:extLst>
                  <a:ext uri="{FF2B5EF4-FFF2-40B4-BE49-F238E27FC236}">
                    <a16:creationId xmlns:a16="http://schemas.microsoft.com/office/drawing/2014/main" id="{16192F62-0634-43BC-9EF4-400A3596CD83}"/>
                  </a:ext>
                </a:extLst>
              </p:cNvPr>
              <p:cNvPicPr/>
              <p:nvPr/>
            </p:nvPicPr>
            <p:blipFill>
              <a:blip r:embed="rId3"/>
              <a:stretch>
                <a:fillRect/>
              </a:stretch>
            </p:blipFill>
            <p:spPr>
              <a:xfrm>
                <a:off x="966960" y="2048040"/>
                <a:ext cx="1409760" cy="1781280"/>
              </a:xfrm>
              <a:prstGeom prst="rect">
                <a:avLst/>
              </a:prstGeom>
            </p:spPr>
          </p:pic>
        </mc:Fallback>
      </mc:AlternateContent>
    </p:spTree>
    <p:extLst>
      <p:ext uri="{BB962C8B-B14F-4D97-AF65-F5344CB8AC3E}">
        <p14:creationId xmlns:p14="http://schemas.microsoft.com/office/powerpoint/2010/main" val="2648337320"/>
      </p:ext>
    </p:extLst>
  </p:cSld>
  <p:clrMapOvr>
    <a:masterClrMapping/>
  </p:clrMapOvr>
  <p:transition spd="med">
    <p:wipe dir="r"/>
  </p:transition>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13A54D-1685-4F78-961F-8E9376E96703}"/>
              </a:ext>
            </a:extLst>
          </p:cNvPr>
          <p:cNvSpPr>
            <a:spLocks noGrp="1"/>
          </p:cNvSpPr>
          <p:nvPr>
            <p:ph type="title"/>
          </p:nvPr>
        </p:nvSpPr>
        <p:spPr>
          <a:xfrm>
            <a:off x="0" y="0"/>
            <a:ext cx="8186895" cy="640080"/>
          </a:xfrm>
        </p:spPr>
        <p:txBody>
          <a:bodyPr/>
          <a:lstStyle/>
          <a:p>
            <a:r>
              <a:rPr lang="en-US" dirty="0"/>
              <a:t>Bayes theorem – Example 1 </a:t>
            </a:r>
          </a:p>
        </p:txBody>
      </p:sp>
      <p:sp>
        <p:nvSpPr>
          <p:cNvPr id="10" name="Rectangle 9">
            <a:extLst>
              <a:ext uri="{FF2B5EF4-FFF2-40B4-BE49-F238E27FC236}">
                <a16:creationId xmlns:a16="http://schemas.microsoft.com/office/drawing/2014/main" id="{87FED99B-1138-44B7-ACD0-9AFB1963DDBB}"/>
              </a:ext>
            </a:extLst>
          </p:cNvPr>
          <p:cNvSpPr/>
          <p:nvPr/>
        </p:nvSpPr>
        <p:spPr>
          <a:xfrm>
            <a:off x="279206" y="826528"/>
            <a:ext cx="486394" cy="3267075"/>
          </a:xfrm>
          <a:prstGeom prst="rect">
            <a:avLst/>
          </a:prstGeom>
          <a:solidFill>
            <a:schemeClr val="tx1">
              <a:lumMod val="40000"/>
              <a:lumOff val="60000"/>
            </a:schemeClr>
          </a:solidFill>
          <a:ln w="12700" cmpd="sng">
            <a:solidFill>
              <a:schemeClr val="bg2">
                <a:lumMod val="50000"/>
                <a:lumOff val="50000"/>
              </a:schemeClr>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pic>
        <p:nvPicPr>
          <p:cNvPr id="12" name="Picture 11">
            <a:extLst>
              <a:ext uri="{FF2B5EF4-FFF2-40B4-BE49-F238E27FC236}">
                <a16:creationId xmlns:a16="http://schemas.microsoft.com/office/drawing/2014/main" id="{90A5448B-748B-47A9-BEBA-BF2C060EC263}"/>
              </a:ext>
            </a:extLst>
          </p:cNvPr>
          <p:cNvPicPr>
            <a:picLocks noChangeAspect="1"/>
          </p:cNvPicPr>
          <p:nvPr/>
        </p:nvPicPr>
        <p:blipFill>
          <a:blip r:embed="rId2"/>
          <a:stretch>
            <a:fillRect/>
          </a:stretch>
        </p:blipFill>
        <p:spPr>
          <a:xfrm>
            <a:off x="765600" y="831290"/>
            <a:ext cx="7296150" cy="3257550"/>
          </a:xfrm>
          <a:prstGeom prst="rect">
            <a:avLst/>
          </a:prstGeom>
        </p:spPr>
      </p:pic>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AFA932DF-1B24-4F0D-AE9A-0CBD52023045}"/>
                  </a:ext>
                </a:extLst>
              </p14:cNvPr>
              <p14:cNvContentPartPr/>
              <p14:nvPr/>
            </p14:nvContentPartPr>
            <p14:xfrm>
              <a:off x="1019160" y="76320"/>
              <a:ext cx="7982280" cy="4857840"/>
            </p14:xfrm>
          </p:contentPart>
        </mc:Choice>
        <mc:Fallback>
          <p:pic>
            <p:nvPicPr>
              <p:cNvPr id="3" name="Ink 2">
                <a:extLst>
                  <a:ext uri="{FF2B5EF4-FFF2-40B4-BE49-F238E27FC236}">
                    <a16:creationId xmlns:a16="http://schemas.microsoft.com/office/drawing/2014/main" id="{AFA932DF-1B24-4F0D-AE9A-0CBD52023045}"/>
                  </a:ext>
                </a:extLst>
              </p:cNvPr>
              <p:cNvPicPr/>
              <p:nvPr/>
            </p:nvPicPr>
            <p:blipFill>
              <a:blip r:embed="rId4"/>
              <a:stretch>
                <a:fillRect/>
              </a:stretch>
            </p:blipFill>
            <p:spPr>
              <a:xfrm>
                <a:off x="1009800" y="66960"/>
                <a:ext cx="8001000" cy="4876560"/>
              </a:xfrm>
              <a:prstGeom prst="rect">
                <a:avLst/>
              </a:prstGeom>
            </p:spPr>
          </p:pic>
        </mc:Fallback>
      </mc:AlternateContent>
    </p:spTree>
    <p:extLst>
      <p:ext uri="{BB962C8B-B14F-4D97-AF65-F5344CB8AC3E}">
        <p14:creationId xmlns:p14="http://schemas.microsoft.com/office/powerpoint/2010/main" val="3403247477"/>
      </p:ext>
    </p:extLst>
  </p:cSld>
  <p:clrMapOvr>
    <a:masterClrMapping/>
  </p:clrMapOvr>
  <p:transition spd="med">
    <p:wipe dir="r"/>
  </p:transition>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778FF3D8-143E-41B0-9971-ECB21407DADF}"/>
              </a:ext>
            </a:extLst>
          </p:cNvPr>
          <p:cNvSpPr>
            <a:spLocks noGrp="1"/>
          </p:cNvSpPr>
          <p:nvPr>
            <p:ph type="title"/>
          </p:nvPr>
        </p:nvSpPr>
        <p:spPr>
          <a:xfrm>
            <a:off x="274319" y="271886"/>
            <a:ext cx="7955280" cy="640080"/>
          </a:xfrm>
        </p:spPr>
        <p:txBody>
          <a:bodyPr/>
          <a:lstStyle/>
          <a:p>
            <a:r>
              <a:rPr lang="en-US" dirty="0"/>
              <a:t>Bayes theorem – Example 1 </a:t>
            </a:r>
          </a:p>
        </p:txBody>
      </p:sp>
      <p:pic>
        <p:nvPicPr>
          <p:cNvPr id="5" name="Picture 4" descr="Text&#10;&#10;Description automatically generated">
            <a:extLst>
              <a:ext uri="{FF2B5EF4-FFF2-40B4-BE49-F238E27FC236}">
                <a16:creationId xmlns:a16="http://schemas.microsoft.com/office/drawing/2014/main" id="{A829A4B6-AC89-40CE-A6DE-D500F6A10890}"/>
              </a:ext>
            </a:extLst>
          </p:cNvPr>
          <p:cNvPicPr>
            <a:picLocks noChangeAspect="1"/>
          </p:cNvPicPr>
          <p:nvPr/>
        </p:nvPicPr>
        <p:blipFill>
          <a:blip r:embed="rId2"/>
          <a:stretch>
            <a:fillRect/>
          </a:stretch>
        </p:blipFill>
        <p:spPr>
          <a:xfrm>
            <a:off x="1003232" y="1273180"/>
            <a:ext cx="5740627" cy="3200400"/>
          </a:xfrm>
          <a:prstGeom prst="rect">
            <a:avLst/>
          </a:prstGeom>
          <a:noFill/>
        </p:spPr>
      </p:pic>
      <mc:AlternateContent xmlns:mc="http://schemas.openxmlformats.org/markup-compatibility/2006">
        <mc:Choice xmlns:p14="http://schemas.microsoft.com/office/powerpoint/2010/main" Requires="p14">
          <p:contentPart p14:bwMode="auto" r:id="rId3">
            <p14:nvContentPartPr>
              <p14:cNvPr id="2" name="Ink 1">
                <a:extLst>
                  <a:ext uri="{FF2B5EF4-FFF2-40B4-BE49-F238E27FC236}">
                    <a16:creationId xmlns:a16="http://schemas.microsoft.com/office/drawing/2014/main" id="{53190CE4-0862-42E5-B808-19BFD1644907}"/>
                  </a:ext>
                </a:extLst>
              </p14:cNvPr>
              <p14:cNvContentPartPr/>
              <p14:nvPr/>
            </p14:nvContentPartPr>
            <p14:xfrm>
              <a:off x="2109960" y="633240"/>
              <a:ext cx="7029720" cy="4267800"/>
            </p14:xfrm>
          </p:contentPart>
        </mc:Choice>
        <mc:Fallback>
          <p:pic>
            <p:nvPicPr>
              <p:cNvPr id="2" name="Ink 1">
                <a:extLst>
                  <a:ext uri="{FF2B5EF4-FFF2-40B4-BE49-F238E27FC236}">
                    <a16:creationId xmlns:a16="http://schemas.microsoft.com/office/drawing/2014/main" id="{53190CE4-0862-42E5-B808-19BFD1644907}"/>
                  </a:ext>
                </a:extLst>
              </p:cNvPr>
              <p:cNvPicPr/>
              <p:nvPr/>
            </p:nvPicPr>
            <p:blipFill>
              <a:blip r:embed="rId4"/>
              <a:stretch>
                <a:fillRect/>
              </a:stretch>
            </p:blipFill>
            <p:spPr>
              <a:xfrm>
                <a:off x="2100600" y="623880"/>
                <a:ext cx="7048440" cy="4286520"/>
              </a:xfrm>
              <a:prstGeom prst="rect">
                <a:avLst/>
              </a:prstGeom>
            </p:spPr>
          </p:pic>
        </mc:Fallback>
      </mc:AlternateContent>
    </p:spTree>
    <p:extLst>
      <p:ext uri="{BB962C8B-B14F-4D97-AF65-F5344CB8AC3E}">
        <p14:creationId xmlns:p14="http://schemas.microsoft.com/office/powerpoint/2010/main" val="58607925"/>
      </p:ext>
    </p:extLst>
  </p:cSld>
  <p:clrMapOvr>
    <a:masterClrMapping/>
  </p:clrMapOvr>
  <p:transition spd="med">
    <p:wipe dir="r"/>
  </p:transition>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568A0D-803B-4E5A-90FF-3AD3879ADAA3}"/>
              </a:ext>
            </a:extLst>
          </p:cNvPr>
          <p:cNvSpPr>
            <a:spLocks noGrp="1"/>
          </p:cNvSpPr>
          <p:nvPr>
            <p:ph type="title"/>
          </p:nvPr>
        </p:nvSpPr>
        <p:spPr>
          <a:xfrm>
            <a:off x="0" y="0"/>
            <a:ext cx="7955280" cy="640080"/>
          </a:xfrm>
        </p:spPr>
        <p:txBody>
          <a:bodyPr/>
          <a:lstStyle/>
          <a:p>
            <a:r>
              <a:rPr lang="en-US" dirty="0"/>
              <a:t>Bayes theorem – Example 1 </a:t>
            </a:r>
          </a:p>
        </p:txBody>
      </p:sp>
      <p:pic>
        <p:nvPicPr>
          <p:cNvPr id="5" name="Picture 4">
            <a:extLst>
              <a:ext uri="{FF2B5EF4-FFF2-40B4-BE49-F238E27FC236}">
                <a16:creationId xmlns:a16="http://schemas.microsoft.com/office/drawing/2014/main" id="{F0D53095-B16A-4541-A27A-5779EEB0824F}"/>
              </a:ext>
            </a:extLst>
          </p:cNvPr>
          <p:cNvPicPr>
            <a:picLocks noChangeAspect="1"/>
          </p:cNvPicPr>
          <p:nvPr/>
        </p:nvPicPr>
        <p:blipFill>
          <a:blip r:embed="rId2"/>
          <a:stretch>
            <a:fillRect/>
          </a:stretch>
        </p:blipFill>
        <p:spPr>
          <a:xfrm>
            <a:off x="571500" y="924268"/>
            <a:ext cx="7008946" cy="3838232"/>
          </a:xfrm>
          <a:prstGeom prst="rect">
            <a:avLst/>
          </a:prstGeom>
        </p:spPr>
      </p:pic>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30C3BFE1-98E0-4A6F-8CB7-B393A5CF9AFB}"/>
                  </a:ext>
                </a:extLst>
              </p14:cNvPr>
              <p14:cNvContentPartPr/>
              <p14:nvPr/>
            </p14:nvContentPartPr>
            <p14:xfrm>
              <a:off x="1233360" y="200160"/>
              <a:ext cx="7815600" cy="4510440"/>
            </p14:xfrm>
          </p:contentPart>
        </mc:Choice>
        <mc:Fallback>
          <p:pic>
            <p:nvPicPr>
              <p:cNvPr id="3" name="Ink 2">
                <a:extLst>
                  <a:ext uri="{FF2B5EF4-FFF2-40B4-BE49-F238E27FC236}">
                    <a16:creationId xmlns:a16="http://schemas.microsoft.com/office/drawing/2014/main" id="{30C3BFE1-98E0-4A6F-8CB7-B393A5CF9AFB}"/>
                  </a:ext>
                </a:extLst>
              </p:cNvPr>
              <p:cNvPicPr/>
              <p:nvPr/>
            </p:nvPicPr>
            <p:blipFill>
              <a:blip r:embed="rId4"/>
              <a:stretch>
                <a:fillRect/>
              </a:stretch>
            </p:blipFill>
            <p:spPr>
              <a:xfrm>
                <a:off x="1224000" y="190800"/>
                <a:ext cx="7834320" cy="4529160"/>
              </a:xfrm>
              <a:prstGeom prst="rect">
                <a:avLst/>
              </a:prstGeom>
            </p:spPr>
          </p:pic>
        </mc:Fallback>
      </mc:AlternateContent>
    </p:spTree>
    <p:extLst>
      <p:ext uri="{BB962C8B-B14F-4D97-AF65-F5344CB8AC3E}">
        <p14:creationId xmlns:p14="http://schemas.microsoft.com/office/powerpoint/2010/main" val="1832144962"/>
      </p:ext>
    </p:extLst>
  </p:cSld>
  <p:clrMapOvr>
    <a:masterClrMapping/>
  </p:clrMapOvr>
  <p:transition spd="med">
    <p:wipe dir="r"/>
  </p:transition>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C16FFD-114F-4F2A-AAFC-EDC3C3B33B69}"/>
              </a:ext>
            </a:extLst>
          </p:cNvPr>
          <p:cNvSpPr>
            <a:spLocks noGrp="1"/>
          </p:cNvSpPr>
          <p:nvPr>
            <p:ph type="title"/>
          </p:nvPr>
        </p:nvSpPr>
        <p:spPr>
          <a:xfrm>
            <a:off x="0" y="-5628"/>
            <a:ext cx="7955280" cy="640080"/>
          </a:xfrm>
        </p:spPr>
        <p:txBody>
          <a:bodyPr/>
          <a:lstStyle/>
          <a:p>
            <a:r>
              <a:rPr lang="en-US" dirty="0"/>
              <a:t>Bayes theorem – Example 1 </a:t>
            </a:r>
          </a:p>
        </p:txBody>
      </p:sp>
      <p:sp>
        <p:nvSpPr>
          <p:cNvPr id="6" name="TextBox 5">
            <a:extLst>
              <a:ext uri="{FF2B5EF4-FFF2-40B4-BE49-F238E27FC236}">
                <a16:creationId xmlns:a16="http://schemas.microsoft.com/office/drawing/2014/main" id="{5A5B0A8A-D4B8-4CD1-B8F0-4886A59A0A41}"/>
              </a:ext>
            </a:extLst>
          </p:cNvPr>
          <p:cNvSpPr txBox="1"/>
          <p:nvPr/>
        </p:nvSpPr>
        <p:spPr>
          <a:xfrm>
            <a:off x="606829" y="1421476"/>
            <a:ext cx="7240386"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We want to know P (A1 | B). The probability it will rain on the day of Marie’s wedding, given the forecast for rain by the weatherman. The answer can be determined from Bayes Theorem</a:t>
            </a:r>
          </a:p>
        </p:txBody>
      </p:sp>
      <p:pic>
        <p:nvPicPr>
          <p:cNvPr id="8" name="Picture 7">
            <a:extLst>
              <a:ext uri="{FF2B5EF4-FFF2-40B4-BE49-F238E27FC236}">
                <a16:creationId xmlns:a16="http://schemas.microsoft.com/office/drawing/2014/main" id="{012FACDC-2A82-4E64-8F2B-9A0E4AD07DB9}"/>
              </a:ext>
            </a:extLst>
          </p:cNvPr>
          <p:cNvPicPr>
            <a:picLocks noChangeAspect="1"/>
          </p:cNvPicPr>
          <p:nvPr/>
        </p:nvPicPr>
        <p:blipFill>
          <a:blip r:embed="rId2"/>
          <a:stretch>
            <a:fillRect/>
          </a:stretch>
        </p:blipFill>
        <p:spPr>
          <a:xfrm>
            <a:off x="771525" y="2346873"/>
            <a:ext cx="7600950" cy="2162175"/>
          </a:xfrm>
          <a:prstGeom prst="rect">
            <a:avLst/>
          </a:prstGeom>
        </p:spPr>
      </p:pic>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99CD05A5-17F1-47D8-B8B0-DE26AD45527C}"/>
                  </a:ext>
                </a:extLst>
              </p14:cNvPr>
              <p14:cNvContentPartPr/>
              <p14:nvPr/>
            </p14:nvContentPartPr>
            <p14:xfrm>
              <a:off x="214200" y="19080"/>
              <a:ext cx="8301600" cy="4915080"/>
            </p14:xfrm>
          </p:contentPart>
        </mc:Choice>
        <mc:Fallback>
          <p:pic>
            <p:nvPicPr>
              <p:cNvPr id="3" name="Ink 2">
                <a:extLst>
                  <a:ext uri="{FF2B5EF4-FFF2-40B4-BE49-F238E27FC236}">
                    <a16:creationId xmlns:a16="http://schemas.microsoft.com/office/drawing/2014/main" id="{99CD05A5-17F1-47D8-B8B0-DE26AD45527C}"/>
                  </a:ext>
                </a:extLst>
              </p:cNvPr>
              <p:cNvPicPr/>
              <p:nvPr/>
            </p:nvPicPr>
            <p:blipFill>
              <a:blip r:embed="rId4"/>
              <a:stretch>
                <a:fillRect/>
              </a:stretch>
            </p:blipFill>
            <p:spPr>
              <a:xfrm>
                <a:off x="204840" y="9720"/>
                <a:ext cx="8320320" cy="4933800"/>
              </a:xfrm>
              <a:prstGeom prst="rect">
                <a:avLst/>
              </a:prstGeom>
            </p:spPr>
          </p:pic>
        </mc:Fallback>
      </mc:AlternateContent>
    </p:spTree>
    <p:extLst>
      <p:ext uri="{BB962C8B-B14F-4D97-AF65-F5344CB8AC3E}">
        <p14:creationId xmlns:p14="http://schemas.microsoft.com/office/powerpoint/2010/main" val="110866991"/>
      </p:ext>
    </p:extLst>
  </p:cSld>
  <p:clrMapOvr>
    <a:masterClrMapping/>
  </p:clrMapOvr>
  <p:transition spd="med">
    <p:wipe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7F6363-8571-4CA8-BD5B-4BCEDCED9AA5}"/>
              </a:ext>
            </a:extLst>
          </p:cNvPr>
          <p:cNvSpPr>
            <a:spLocks noGrp="1"/>
          </p:cNvSpPr>
          <p:nvPr>
            <p:ph type="title"/>
          </p:nvPr>
        </p:nvSpPr>
        <p:spPr>
          <a:xfrm>
            <a:off x="274319" y="271886"/>
            <a:ext cx="7955280" cy="640080"/>
          </a:xfrm>
        </p:spPr>
        <p:txBody>
          <a:bodyPr>
            <a:normAutofit/>
          </a:bodyPr>
          <a:lstStyle/>
          <a:p>
            <a:r>
              <a:rPr lang="en-US" dirty="0"/>
              <a:t>Inferential Statistics</a:t>
            </a:r>
          </a:p>
        </p:txBody>
      </p:sp>
      <p:pic>
        <p:nvPicPr>
          <p:cNvPr id="4" name="Picture 3" descr="Diagram&#10;&#10;Description automatically generated">
            <a:extLst>
              <a:ext uri="{FF2B5EF4-FFF2-40B4-BE49-F238E27FC236}">
                <a16:creationId xmlns:a16="http://schemas.microsoft.com/office/drawing/2014/main" id="{A23D665F-D2CC-432A-AED2-8E451589AF69}"/>
              </a:ext>
            </a:extLst>
          </p:cNvPr>
          <p:cNvPicPr>
            <a:picLocks noChangeAspect="1"/>
          </p:cNvPicPr>
          <p:nvPr/>
        </p:nvPicPr>
        <p:blipFill>
          <a:blip r:embed="rId2"/>
          <a:stretch>
            <a:fillRect/>
          </a:stretch>
        </p:blipFill>
        <p:spPr>
          <a:xfrm>
            <a:off x="274319" y="1515618"/>
            <a:ext cx="3840480" cy="2112263"/>
          </a:xfrm>
          <a:prstGeom prst="rect">
            <a:avLst/>
          </a:prstGeom>
          <a:noFill/>
        </p:spPr>
      </p:pic>
      <p:sp>
        <p:nvSpPr>
          <p:cNvPr id="3" name="Content Placeholder 2">
            <a:extLst>
              <a:ext uri="{FF2B5EF4-FFF2-40B4-BE49-F238E27FC236}">
                <a16:creationId xmlns:a16="http://schemas.microsoft.com/office/drawing/2014/main" id="{96CA5976-21EA-4CB3-8846-6F15841EE927}"/>
              </a:ext>
            </a:extLst>
          </p:cNvPr>
          <p:cNvSpPr>
            <a:spLocks noGrp="1"/>
          </p:cNvSpPr>
          <p:nvPr>
            <p:ph sz="half" idx="14"/>
          </p:nvPr>
        </p:nvSpPr>
        <p:spPr>
          <a:xfrm>
            <a:off x="4389118" y="911966"/>
            <a:ext cx="4410415" cy="3810346"/>
          </a:xfrm>
          <a:prstGeom prst="rect">
            <a:avLst/>
          </a:prstGeom>
        </p:spPr>
        <p:txBody>
          <a:bodyPr wrap="square">
            <a:normAutofit/>
          </a:bodyPr>
          <a:lstStyle/>
          <a:p>
            <a:r>
              <a:rPr lang="en-US" dirty="0">
                <a:solidFill>
                  <a:schemeClr val="bg2">
                    <a:lumMod val="50000"/>
                    <a:lumOff val="50000"/>
                  </a:schemeClr>
                </a:solidFill>
              </a:rPr>
              <a:t>T</a:t>
            </a:r>
            <a:r>
              <a:rPr lang="en-US" dirty="0">
                <a:solidFill>
                  <a:schemeClr val="bg2">
                    <a:lumMod val="50000"/>
                    <a:lumOff val="50000"/>
                  </a:schemeClr>
                </a:solidFill>
                <a:effectLst/>
              </a:rPr>
              <a:t>he methods used to determine something about a population on the basics of a sample.</a:t>
            </a:r>
          </a:p>
          <a:p>
            <a:r>
              <a:rPr lang="en-US" dirty="0">
                <a:solidFill>
                  <a:schemeClr val="accent1"/>
                </a:solidFill>
              </a:rPr>
              <a:t>Inferential statistics </a:t>
            </a:r>
            <a:r>
              <a:rPr lang="en-US" dirty="0">
                <a:solidFill>
                  <a:schemeClr val="bg2">
                    <a:lumMod val="50000"/>
                    <a:lumOff val="50000"/>
                  </a:schemeClr>
                </a:solidFill>
              </a:rPr>
              <a:t>allow you to test a hypothesis or assess whether your data is generalizable to the broader population.</a:t>
            </a:r>
          </a:p>
          <a:p>
            <a:r>
              <a:rPr lang="en-US" dirty="0">
                <a:solidFill>
                  <a:schemeClr val="bg2">
                    <a:lumMod val="50000"/>
                    <a:lumOff val="50000"/>
                  </a:schemeClr>
                </a:solidFill>
              </a:rPr>
              <a:t>Examples : </a:t>
            </a:r>
          </a:p>
          <a:p>
            <a:pPr lvl="1"/>
            <a:r>
              <a:rPr lang="en-US" dirty="0">
                <a:solidFill>
                  <a:schemeClr val="bg2">
                    <a:lumMod val="50000"/>
                    <a:lumOff val="50000"/>
                  </a:schemeClr>
                </a:solidFill>
              </a:rPr>
              <a:t>you want to know what factors can influence the decline in poverty. You use variables such as road length, economic growth, electrification ratio, number of teachers, number of medical personnel, etc.</a:t>
            </a:r>
          </a:p>
          <a:p>
            <a:pPr lvl="1"/>
            <a:r>
              <a:rPr lang="en-US" dirty="0">
                <a:solidFill>
                  <a:schemeClr val="bg2">
                    <a:lumMod val="50000"/>
                    <a:lumOff val="50000"/>
                  </a:schemeClr>
                </a:solidFill>
              </a:rPr>
              <a:t>We often hear the assumption that female students tend to have higher mathematical values than men. Is that right?</a:t>
            </a:r>
          </a:p>
        </p:txBody>
      </p:sp>
    </p:spTree>
    <p:extLst>
      <p:ext uri="{BB962C8B-B14F-4D97-AF65-F5344CB8AC3E}">
        <p14:creationId xmlns:p14="http://schemas.microsoft.com/office/powerpoint/2010/main" val="592860241"/>
      </p:ext>
    </p:extLst>
  </p:cSld>
  <p:clrMapOvr>
    <a:masterClrMapping/>
  </p:clrMapOvr>
  <p:transition spd="med">
    <p:wipe dir="r"/>
  </p:transition>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13A54D-1685-4F78-961F-8E9376E96703}"/>
              </a:ext>
            </a:extLst>
          </p:cNvPr>
          <p:cNvSpPr>
            <a:spLocks noGrp="1"/>
          </p:cNvSpPr>
          <p:nvPr>
            <p:ph type="title"/>
          </p:nvPr>
        </p:nvSpPr>
        <p:spPr>
          <a:xfrm>
            <a:off x="0" y="0"/>
            <a:ext cx="8186895" cy="640080"/>
          </a:xfrm>
        </p:spPr>
        <p:txBody>
          <a:bodyPr/>
          <a:lstStyle/>
          <a:p>
            <a:r>
              <a:rPr lang="en-US" dirty="0"/>
              <a:t>Bayes theorem – Example 2 </a:t>
            </a:r>
          </a:p>
        </p:txBody>
      </p:sp>
      <p:sp>
        <p:nvSpPr>
          <p:cNvPr id="5" name="Content Placeholder 4">
            <a:extLst>
              <a:ext uri="{FF2B5EF4-FFF2-40B4-BE49-F238E27FC236}">
                <a16:creationId xmlns:a16="http://schemas.microsoft.com/office/drawing/2014/main" id="{BA291E01-D420-4356-9228-7F04F940A10F}"/>
              </a:ext>
            </a:extLst>
          </p:cNvPr>
          <p:cNvSpPr>
            <a:spLocks noGrp="1"/>
          </p:cNvSpPr>
          <p:nvPr>
            <p:ph sz="half" idx="13"/>
          </p:nvPr>
        </p:nvSpPr>
        <p:spPr>
          <a:xfrm>
            <a:off x="113776" y="640080"/>
            <a:ext cx="8499732" cy="3200400"/>
          </a:xfrm>
        </p:spPr>
        <p:txBody>
          <a:bodyPr/>
          <a:lstStyle/>
          <a:p>
            <a:pPr marL="0" indent="0">
              <a:buNone/>
            </a:pPr>
            <a:r>
              <a:rPr lang="en-US" b="0" i="0" dirty="0">
                <a:solidFill>
                  <a:srgbClr val="373D3F"/>
                </a:solidFill>
                <a:effectLst/>
                <a:latin typeface="proxima-nova"/>
              </a:rPr>
              <a:t>Suppose someone told you they had a nice conversation with someone on the train. Not knowing anything else about this conversation, the probability that they were speaking to a woman is 50%. Now suppose they also told you that this person had long hair. It is now more likely they were speaking to a woman, since women in in this city are more likely to have long hair than men. Bayes theorem can be used to calculate the probability that the person is a woman.</a:t>
            </a:r>
            <a:endParaRPr lang="en-US" dirty="0"/>
          </a:p>
        </p:txBody>
      </p:sp>
      <mc:AlternateContent xmlns:mc="http://schemas.openxmlformats.org/markup-compatibility/2006">
        <mc:Choice xmlns:p14="http://schemas.microsoft.com/office/powerpoint/2010/main" Requires="p14">
          <p:contentPart p14:bwMode="auto" r:id="rId2">
            <p14:nvContentPartPr>
              <p14:cNvPr id="3" name="Ink 2">
                <a:extLst>
                  <a:ext uri="{FF2B5EF4-FFF2-40B4-BE49-F238E27FC236}">
                    <a16:creationId xmlns:a16="http://schemas.microsoft.com/office/drawing/2014/main" id="{9981FB1D-57DB-4626-8C94-77FF0278C424}"/>
                  </a:ext>
                </a:extLst>
              </p14:cNvPr>
              <p14:cNvContentPartPr/>
              <p14:nvPr/>
            </p14:nvContentPartPr>
            <p14:xfrm>
              <a:off x="52560" y="852480"/>
              <a:ext cx="8687160" cy="4239000"/>
            </p14:xfrm>
          </p:contentPart>
        </mc:Choice>
        <mc:Fallback>
          <p:pic>
            <p:nvPicPr>
              <p:cNvPr id="3" name="Ink 2">
                <a:extLst>
                  <a:ext uri="{FF2B5EF4-FFF2-40B4-BE49-F238E27FC236}">
                    <a16:creationId xmlns:a16="http://schemas.microsoft.com/office/drawing/2014/main" id="{9981FB1D-57DB-4626-8C94-77FF0278C424}"/>
                  </a:ext>
                </a:extLst>
              </p:cNvPr>
              <p:cNvPicPr/>
              <p:nvPr/>
            </p:nvPicPr>
            <p:blipFill>
              <a:blip r:embed="rId3"/>
              <a:stretch>
                <a:fillRect/>
              </a:stretch>
            </p:blipFill>
            <p:spPr>
              <a:xfrm>
                <a:off x="43200" y="843120"/>
                <a:ext cx="8705880" cy="4257720"/>
              </a:xfrm>
              <a:prstGeom prst="rect">
                <a:avLst/>
              </a:prstGeom>
            </p:spPr>
          </p:pic>
        </mc:Fallback>
      </mc:AlternateContent>
    </p:spTree>
    <p:extLst>
      <p:ext uri="{BB962C8B-B14F-4D97-AF65-F5344CB8AC3E}">
        <p14:creationId xmlns:p14="http://schemas.microsoft.com/office/powerpoint/2010/main" val="1946313221"/>
      </p:ext>
    </p:extLst>
  </p:cSld>
  <p:clrMapOvr>
    <a:masterClrMapping/>
  </p:clrMapOvr>
  <p:transition spd="med">
    <p:wipe dir="r"/>
  </p:transition>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473231-42A7-4FCF-9943-7C634BD3AF5F}"/>
              </a:ext>
            </a:extLst>
          </p:cNvPr>
          <p:cNvSpPr>
            <a:spLocks noGrp="1"/>
          </p:cNvSpPr>
          <p:nvPr>
            <p:ph type="title"/>
          </p:nvPr>
        </p:nvSpPr>
        <p:spPr>
          <a:xfrm>
            <a:off x="0" y="0"/>
            <a:ext cx="6710210" cy="640080"/>
          </a:xfrm>
        </p:spPr>
        <p:txBody>
          <a:bodyPr/>
          <a:lstStyle/>
          <a:p>
            <a:r>
              <a:rPr lang="en-US" dirty="0"/>
              <a:t>Solution 3: Hunter’s test &gt; Bayes Theorem</a:t>
            </a:r>
          </a:p>
        </p:txBody>
      </p:sp>
      <p:sp>
        <p:nvSpPr>
          <p:cNvPr id="3" name="Content Placeholder 2">
            <a:extLst>
              <a:ext uri="{FF2B5EF4-FFF2-40B4-BE49-F238E27FC236}">
                <a16:creationId xmlns:a16="http://schemas.microsoft.com/office/drawing/2014/main" id="{F3773CD6-14F8-4F51-A62F-68C9F4F6C075}"/>
              </a:ext>
            </a:extLst>
          </p:cNvPr>
          <p:cNvSpPr>
            <a:spLocks noGrp="1"/>
          </p:cNvSpPr>
          <p:nvPr>
            <p:ph sz="half" idx="13"/>
          </p:nvPr>
        </p:nvSpPr>
        <p:spPr>
          <a:xfrm>
            <a:off x="117745" y="321293"/>
            <a:ext cx="8644212" cy="3229210"/>
          </a:xfrm>
        </p:spPr>
        <p:txBody>
          <a:bodyPr/>
          <a:lstStyle/>
          <a:p>
            <a:endParaRPr lang="en-US" dirty="0"/>
          </a:p>
          <a:p>
            <a:endParaRPr lang="en-US" dirty="0"/>
          </a:p>
          <a:p>
            <a:r>
              <a:rPr lang="en-US" dirty="0"/>
              <a:t>Bayes' Theorem has a special formula for this kind of thing:</a:t>
            </a:r>
          </a:p>
        </p:txBody>
      </p:sp>
      <p:pic>
        <p:nvPicPr>
          <p:cNvPr id="5" name="Picture 4">
            <a:extLst>
              <a:ext uri="{FF2B5EF4-FFF2-40B4-BE49-F238E27FC236}">
                <a16:creationId xmlns:a16="http://schemas.microsoft.com/office/drawing/2014/main" id="{BCF99EB0-DD8A-422E-9CBF-BFFB72C0B053}"/>
              </a:ext>
            </a:extLst>
          </p:cNvPr>
          <p:cNvPicPr>
            <a:picLocks noChangeAspect="1"/>
          </p:cNvPicPr>
          <p:nvPr/>
        </p:nvPicPr>
        <p:blipFill>
          <a:blip r:embed="rId2"/>
          <a:stretch>
            <a:fillRect/>
          </a:stretch>
        </p:blipFill>
        <p:spPr>
          <a:xfrm>
            <a:off x="675999" y="1780133"/>
            <a:ext cx="6652531" cy="2601108"/>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28467603-4E6E-4A41-BA4A-FA277C40A60A}"/>
                  </a:ext>
                </a:extLst>
              </p14:cNvPr>
              <p14:cNvContentPartPr/>
              <p14:nvPr/>
            </p14:nvContentPartPr>
            <p14:xfrm>
              <a:off x="2166840" y="390600"/>
              <a:ext cx="6315480" cy="2124360"/>
            </p14:xfrm>
          </p:contentPart>
        </mc:Choice>
        <mc:Fallback>
          <p:pic>
            <p:nvPicPr>
              <p:cNvPr id="4" name="Ink 3">
                <a:extLst>
                  <a:ext uri="{FF2B5EF4-FFF2-40B4-BE49-F238E27FC236}">
                    <a16:creationId xmlns:a16="http://schemas.microsoft.com/office/drawing/2014/main" id="{28467603-4E6E-4A41-BA4A-FA277C40A60A}"/>
                  </a:ext>
                </a:extLst>
              </p:cNvPr>
              <p:cNvPicPr/>
              <p:nvPr/>
            </p:nvPicPr>
            <p:blipFill>
              <a:blip r:embed="rId4"/>
              <a:stretch>
                <a:fillRect/>
              </a:stretch>
            </p:blipFill>
            <p:spPr>
              <a:xfrm>
                <a:off x="2157480" y="381240"/>
                <a:ext cx="6334200" cy="2143080"/>
              </a:xfrm>
              <a:prstGeom prst="rect">
                <a:avLst/>
              </a:prstGeom>
            </p:spPr>
          </p:pic>
        </mc:Fallback>
      </mc:AlternateContent>
    </p:spTree>
    <p:extLst>
      <p:ext uri="{BB962C8B-B14F-4D97-AF65-F5344CB8AC3E}">
        <p14:creationId xmlns:p14="http://schemas.microsoft.com/office/powerpoint/2010/main" val="1293524733"/>
      </p:ext>
    </p:extLst>
  </p:cSld>
  <p:clrMapOvr>
    <a:masterClrMapping/>
  </p:clrMapOvr>
  <p:transition spd="med">
    <p:wipe dir="r"/>
  </p:transition>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1F33B3-9B3A-4B8D-BBBE-41290548FF50}"/>
              </a:ext>
            </a:extLst>
          </p:cNvPr>
          <p:cNvSpPr>
            <a:spLocks noGrp="1"/>
          </p:cNvSpPr>
          <p:nvPr>
            <p:ph type="title"/>
          </p:nvPr>
        </p:nvSpPr>
        <p:spPr>
          <a:xfrm>
            <a:off x="0" y="22860"/>
            <a:ext cx="6503531" cy="640080"/>
          </a:xfrm>
        </p:spPr>
        <p:txBody>
          <a:bodyPr/>
          <a:lstStyle/>
          <a:p>
            <a:r>
              <a:rPr lang="en-US" dirty="0"/>
              <a:t>Solution 3 : Bayes Theorem</a:t>
            </a:r>
          </a:p>
        </p:txBody>
      </p:sp>
      <p:sp>
        <p:nvSpPr>
          <p:cNvPr id="3" name="Content Placeholder 2">
            <a:extLst>
              <a:ext uri="{FF2B5EF4-FFF2-40B4-BE49-F238E27FC236}">
                <a16:creationId xmlns:a16="http://schemas.microsoft.com/office/drawing/2014/main" id="{9BBA02B3-EC48-4383-8C2B-381F173A5F2B}"/>
              </a:ext>
            </a:extLst>
          </p:cNvPr>
          <p:cNvSpPr>
            <a:spLocks noGrp="1"/>
          </p:cNvSpPr>
          <p:nvPr>
            <p:ph sz="half" idx="13"/>
          </p:nvPr>
        </p:nvSpPr>
        <p:spPr>
          <a:xfrm>
            <a:off x="130269" y="923168"/>
            <a:ext cx="8243379" cy="3200400"/>
          </a:xfrm>
        </p:spPr>
        <p:txBody>
          <a:bodyPr/>
          <a:lstStyle/>
          <a:p>
            <a:r>
              <a:rPr lang="en-US" b="0" i="0" dirty="0">
                <a:solidFill>
                  <a:srgbClr val="333333"/>
                </a:solidFill>
                <a:effectLst/>
                <a:latin typeface="Verdana" panose="020B0604030504040204" pitchFamily="34" charset="0"/>
              </a:rPr>
              <a:t>To be clearer, let's change A to </a:t>
            </a:r>
            <a:r>
              <a:rPr lang="en-US" b="1" i="0" dirty="0">
                <a:solidFill>
                  <a:srgbClr val="333333"/>
                </a:solidFill>
                <a:effectLst/>
                <a:latin typeface="Verdana" panose="020B0604030504040204" pitchFamily="34" charset="0"/>
              </a:rPr>
              <a:t>has</a:t>
            </a:r>
            <a:r>
              <a:rPr lang="en-US" b="0" i="0" dirty="0">
                <a:solidFill>
                  <a:srgbClr val="333333"/>
                </a:solidFill>
                <a:effectLst/>
                <a:latin typeface="Verdana" panose="020B0604030504040204" pitchFamily="34" charset="0"/>
              </a:rPr>
              <a:t> (actually has allergy) and B to </a:t>
            </a:r>
            <a:r>
              <a:rPr lang="en-US" b="1" i="0" dirty="0">
                <a:solidFill>
                  <a:srgbClr val="333333"/>
                </a:solidFill>
                <a:effectLst/>
                <a:latin typeface="Verdana" panose="020B0604030504040204" pitchFamily="34" charset="0"/>
              </a:rPr>
              <a:t>Yes</a:t>
            </a:r>
            <a:r>
              <a:rPr lang="en-US" b="0" i="0" dirty="0">
                <a:solidFill>
                  <a:srgbClr val="333333"/>
                </a:solidFill>
                <a:effectLst/>
                <a:latin typeface="Verdana" panose="020B0604030504040204" pitchFamily="34" charset="0"/>
              </a:rPr>
              <a:t> (test says yes):</a:t>
            </a:r>
            <a:endParaRPr lang="en-US" dirty="0"/>
          </a:p>
        </p:txBody>
      </p:sp>
      <p:pic>
        <p:nvPicPr>
          <p:cNvPr id="5" name="Picture 4">
            <a:extLst>
              <a:ext uri="{FF2B5EF4-FFF2-40B4-BE49-F238E27FC236}">
                <a16:creationId xmlns:a16="http://schemas.microsoft.com/office/drawing/2014/main" id="{FA3029F4-C309-4934-9FCA-0794F7AE6BAA}"/>
              </a:ext>
            </a:extLst>
          </p:cNvPr>
          <p:cNvPicPr>
            <a:picLocks noChangeAspect="1"/>
          </p:cNvPicPr>
          <p:nvPr/>
        </p:nvPicPr>
        <p:blipFill>
          <a:blip r:embed="rId2"/>
          <a:stretch>
            <a:fillRect/>
          </a:stretch>
        </p:blipFill>
        <p:spPr>
          <a:xfrm>
            <a:off x="256783" y="1428242"/>
            <a:ext cx="7615825" cy="1894369"/>
          </a:xfrm>
          <a:prstGeom prst="rect">
            <a:avLst/>
          </a:prstGeom>
        </p:spPr>
      </p:pic>
      <p:sp>
        <p:nvSpPr>
          <p:cNvPr id="6" name="TextBox 5">
            <a:extLst>
              <a:ext uri="{FF2B5EF4-FFF2-40B4-BE49-F238E27FC236}">
                <a16:creationId xmlns:a16="http://schemas.microsoft.com/office/drawing/2014/main" id="{E8F15BDB-9867-4E7B-9387-B67555A69FC9}"/>
              </a:ext>
            </a:extLst>
          </p:cNvPr>
          <p:cNvSpPr txBox="1"/>
          <p:nvPr/>
        </p:nvSpPr>
        <p:spPr>
          <a:xfrm>
            <a:off x="394569" y="3961227"/>
            <a:ext cx="4528159" cy="261610"/>
          </a:xfrm>
          <a:prstGeom prst="rect">
            <a:avLst/>
          </a:prstGeom>
          <a:noFill/>
        </p:spPr>
        <p:txBody>
          <a:bodyPr wrap="square" rtlCol="0">
            <a:spAutoFit/>
          </a:bodyPr>
          <a:lstStyle/>
          <a:p>
            <a:pPr>
              <a:spcBef>
                <a:spcPts val="0"/>
              </a:spcBef>
              <a:spcAft>
                <a:spcPts val="0"/>
              </a:spcAft>
              <a:buClr>
                <a:schemeClr val="bg1"/>
              </a:buClr>
            </a:pPr>
            <a:r>
              <a:rPr lang="en-US" sz="1100" b="0" i="0" dirty="0">
                <a:solidFill>
                  <a:srgbClr val="333333"/>
                </a:solidFill>
                <a:effectLst/>
                <a:latin typeface="Verdana" panose="020B0604030504040204" pitchFamily="34" charset="0"/>
              </a:rPr>
              <a:t>Which is about </a:t>
            </a:r>
            <a:r>
              <a:rPr lang="en-US" sz="1100" b="1" i="0" dirty="0">
                <a:solidFill>
                  <a:srgbClr val="333333"/>
                </a:solidFill>
                <a:effectLst/>
                <a:latin typeface="Verdana" panose="020B0604030504040204" pitchFamily="34" charset="0"/>
              </a:rPr>
              <a:t>7%</a:t>
            </a:r>
            <a:endParaRPr lang="en-US" sz="1400" dirty="0">
              <a:solidFill>
                <a:schemeClr val="bg2"/>
              </a:solidFill>
              <a:latin typeface="+mn-lt"/>
            </a:endParaRPr>
          </a:p>
        </p:txBody>
      </p:sp>
      <p:pic>
        <p:nvPicPr>
          <p:cNvPr id="7" name="Picture 6">
            <a:extLst>
              <a:ext uri="{FF2B5EF4-FFF2-40B4-BE49-F238E27FC236}">
                <a16:creationId xmlns:a16="http://schemas.microsoft.com/office/drawing/2014/main" id="{2AAC618C-0748-49F7-804E-8BE6FB003D43}"/>
              </a:ext>
            </a:extLst>
          </p:cNvPr>
          <p:cNvPicPr>
            <a:picLocks noChangeAspect="1"/>
          </p:cNvPicPr>
          <p:nvPr/>
        </p:nvPicPr>
        <p:blipFill>
          <a:blip r:embed="rId3"/>
          <a:stretch>
            <a:fillRect/>
          </a:stretch>
        </p:blipFill>
        <p:spPr>
          <a:xfrm>
            <a:off x="4789431" y="157866"/>
            <a:ext cx="3982314" cy="505074"/>
          </a:xfrm>
          <a:prstGeom prst="rect">
            <a:avLst/>
          </a:prstGeom>
        </p:spPr>
      </p:pic>
      <mc:AlternateContent xmlns:mc="http://schemas.openxmlformats.org/markup-compatibility/2006">
        <mc:Choice xmlns:p14="http://schemas.microsoft.com/office/powerpoint/2010/main" Requires="p14">
          <p:contentPart p14:bwMode="auto" r:id="rId4">
            <p14:nvContentPartPr>
              <p14:cNvPr id="4" name="Ink 3">
                <a:extLst>
                  <a:ext uri="{FF2B5EF4-FFF2-40B4-BE49-F238E27FC236}">
                    <a16:creationId xmlns:a16="http://schemas.microsoft.com/office/drawing/2014/main" id="{6A0EAD20-B3CE-4A18-975C-11B33A402B56}"/>
                  </a:ext>
                </a:extLst>
              </p14:cNvPr>
              <p14:cNvContentPartPr/>
              <p14:nvPr/>
            </p14:nvContentPartPr>
            <p14:xfrm>
              <a:off x="1504800" y="1890720"/>
              <a:ext cx="5782320" cy="2381760"/>
            </p14:xfrm>
          </p:contentPart>
        </mc:Choice>
        <mc:Fallback>
          <p:pic>
            <p:nvPicPr>
              <p:cNvPr id="4" name="Ink 3">
                <a:extLst>
                  <a:ext uri="{FF2B5EF4-FFF2-40B4-BE49-F238E27FC236}">
                    <a16:creationId xmlns:a16="http://schemas.microsoft.com/office/drawing/2014/main" id="{6A0EAD20-B3CE-4A18-975C-11B33A402B56}"/>
                  </a:ext>
                </a:extLst>
              </p:cNvPr>
              <p:cNvPicPr/>
              <p:nvPr/>
            </p:nvPicPr>
            <p:blipFill>
              <a:blip r:embed="rId5"/>
              <a:stretch>
                <a:fillRect/>
              </a:stretch>
            </p:blipFill>
            <p:spPr>
              <a:xfrm>
                <a:off x="1495440" y="1881360"/>
                <a:ext cx="5801040" cy="2400480"/>
              </a:xfrm>
              <a:prstGeom prst="rect">
                <a:avLst/>
              </a:prstGeom>
            </p:spPr>
          </p:pic>
        </mc:Fallback>
      </mc:AlternateContent>
    </p:spTree>
    <p:extLst>
      <p:ext uri="{BB962C8B-B14F-4D97-AF65-F5344CB8AC3E}">
        <p14:creationId xmlns:p14="http://schemas.microsoft.com/office/powerpoint/2010/main" val="1273406365"/>
      </p:ext>
    </p:extLst>
  </p:cSld>
  <p:clrMapOvr>
    <a:masterClrMapping/>
  </p:clrMapOvr>
  <p:transition spd="med">
    <p:wipe dir="r"/>
  </p:transition>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78CBC5-2437-4054-8F86-4F31AD8304CB}"/>
              </a:ext>
            </a:extLst>
          </p:cNvPr>
          <p:cNvSpPr>
            <a:spLocks noGrp="1"/>
          </p:cNvSpPr>
          <p:nvPr>
            <p:ph type="title"/>
          </p:nvPr>
        </p:nvSpPr>
        <p:spPr>
          <a:xfrm>
            <a:off x="0" y="0"/>
            <a:ext cx="4295219" cy="640080"/>
          </a:xfrm>
        </p:spPr>
        <p:txBody>
          <a:bodyPr/>
          <a:lstStyle/>
          <a:p>
            <a:r>
              <a:rPr lang="en-US" dirty="0"/>
              <a:t>Random Variable</a:t>
            </a:r>
          </a:p>
        </p:txBody>
      </p:sp>
      <p:sp>
        <p:nvSpPr>
          <p:cNvPr id="3" name="Content Placeholder 2">
            <a:extLst>
              <a:ext uri="{FF2B5EF4-FFF2-40B4-BE49-F238E27FC236}">
                <a16:creationId xmlns:a16="http://schemas.microsoft.com/office/drawing/2014/main" id="{CED66632-0F03-4190-ABBA-037F4DD70FC9}"/>
              </a:ext>
            </a:extLst>
          </p:cNvPr>
          <p:cNvSpPr>
            <a:spLocks noGrp="1"/>
          </p:cNvSpPr>
          <p:nvPr>
            <p:ph sz="half" idx="13"/>
          </p:nvPr>
        </p:nvSpPr>
        <p:spPr>
          <a:xfrm>
            <a:off x="67641" y="741541"/>
            <a:ext cx="7178666" cy="3200400"/>
          </a:xfrm>
        </p:spPr>
        <p:txBody>
          <a:bodyPr/>
          <a:lstStyle/>
          <a:p>
            <a:r>
              <a:rPr lang="en-US" b="0" i="0" dirty="0">
                <a:solidFill>
                  <a:srgbClr val="333333"/>
                </a:solidFill>
                <a:effectLst/>
                <a:latin typeface="Verdana" panose="020B0604030504040204" pitchFamily="34" charset="0"/>
              </a:rPr>
              <a:t>A Random Variable is a set of </a:t>
            </a:r>
            <a:r>
              <a:rPr lang="en-US" b="1" i="0" dirty="0">
                <a:solidFill>
                  <a:srgbClr val="333333"/>
                </a:solidFill>
                <a:effectLst/>
                <a:latin typeface="Verdana" panose="020B0604030504040204" pitchFamily="34" charset="0"/>
              </a:rPr>
              <a:t>possible values</a:t>
            </a:r>
            <a:r>
              <a:rPr lang="en-US" b="0" i="0" dirty="0">
                <a:solidFill>
                  <a:srgbClr val="333333"/>
                </a:solidFill>
                <a:effectLst/>
                <a:latin typeface="Verdana" panose="020B0604030504040204" pitchFamily="34" charset="0"/>
              </a:rPr>
              <a:t> from a random experiment.</a:t>
            </a:r>
            <a:endParaRPr lang="en-US" dirty="0">
              <a:solidFill>
                <a:srgbClr val="333333"/>
              </a:solidFill>
              <a:latin typeface="Verdana" panose="020B0604030504040204" pitchFamily="34" charset="0"/>
            </a:endParaRPr>
          </a:p>
          <a:p>
            <a:pPr marL="0" indent="0">
              <a:buNone/>
            </a:pPr>
            <a:r>
              <a:rPr lang="en-US" b="0" i="0" dirty="0">
                <a:solidFill>
                  <a:srgbClr val="333333"/>
                </a:solidFill>
                <a:effectLst/>
                <a:latin typeface="Verdana" panose="020B0604030504040204" pitchFamily="34" charset="0"/>
              </a:rPr>
              <a:t>Example: Tossing a coin: we could get Heads or Tails.</a:t>
            </a:r>
            <a:endParaRPr lang="en-US" dirty="0">
              <a:solidFill>
                <a:srgbClr val="333333"/>
              </a:solidFill>
              <a:latin typeface="Verdana" panose="020B0604030504040204" pitchFamily="34" charset="0"/>
            </a:endParaRPr>
          </a:p>
          <a:p>
            <a:r>
              <a:rPr lang="en-US" b="0" i="0" dirty="0">
                <a:solidFill>
                  <a:srgbClr val="333333"/>
                </a:solidFill>
                <a:effectLst/>
                <a:latin typeface="Verdana" panose="020B0604030504040204" pitchFamily="34" charset="0"/>
              </a:rPr>
              <a:t>Let's give them the values </a:t>
            </a:r>
            <a:r>
              <a:rPr lang="en-US" b="1" i="0" dirty="0">
                <a:solidFill>
                  <a:srgbClr val="333333"/>
                </a:solidFill>
                <a:effectLst/>
                <a:latin typeface="Verdana" panose="020B0604030504040204" pitchFamily="34" charset="0"/>
              </a:rPr>
              <a:t>Heads=0</a:t>
            </a:r>
            <a:r>
              <a:rPr lang="en-US" b="0" i="0" dirty="0">
                <a:solidFill>
                  <a:srgbClr val="333333"/>
                </a:solidFill>
                <a:effectLst/>
                <a:latin typeface="Verdana" panose="020B0604030504040204" pitchFamily="34" charset="0"/>
              </a:rPr>
              <a:t> and </a:t>
            </a:r>
            <a:r>
              <a:rPr lang="en-US" b="1" i="0" dirty="0">
                <a:solidFill>
                  <a:srgbClr val="333333"/>
                </a:solidFill>
                <a:effectLst/>
                <a:latin typeface="Verdana" panose="020B0604030504040204" pitchFamily="34" charset="0"/>
              </a:rPr>
              <a:t>Tails=1</a:t>
            </a:r>
            <a:r>
              <a:rPr lang="en-US" b="0" i="0" dirty="0">
                <a:solidFill>
                  <a:srgbClr val="333333"/>
                </a:solidFill>
                <a:effectLst/>
                <a:latin typeface="Verdana" panose="020B0604030504040204" pitchFamily="34" charset="0"/>
              </a:rPr>
              <a:t> and we have a Random Variable "X":</a:t>
            </a:r>
          </a:p>
        </p:txBody>
      </p:sp>
      <p:pic>
        <p:nvPicPr>
          <p:cNvPr id="5" name="Picture 4">
            <a:extLst>
              <a:ext uri="{FF2B5EF4-FFF2-40B4-BE49-F238E27FC236}">
                <a16:creationId xmlns:a16="http://schemas.microsoft.com/office/drawing/2014/main" id="{F86CBFC3-2AC5-4330-B4E0-E9E11E206B1A}"/>
              </a:ext>
            </a:extLst>
          </p:cNvPr>
          <p:cNvPicPr>
            <a:picLocks noChangeAspect="1"/>
          </p:cNvPicPr>
          <p:nvPr/>
        </p:nvPicPr>
        <p:blipFill>
          <a:blip r:embed="rId2"/>
          <a:stretch>
            <a:fillRect/>
          </a:stretch>
        </p:blipFill>
        <p:spPr>
          <a:xfrm>
            <a:off x="2084566" y="2079217"/>
            <a:ext cx="3101209" cy="1501042"/>
          </a:xfrm>
          <a:prstGeom prst="rect">
            <a:avLst/>
          </a:prstGeom>
        </p:spPr>
      </p:pic>
      <p:sp>
        <p:nvSpPr>
          <p:cNvPr id="6" name="TextBox 5">
            <a:extLst>
              <a:ext uri="{FF2B5EF4-FFF2-40B4-BE49-F238E27FC236}">
                <a16:creationId xmlns:a16="http://schemas.microsoft.com/office/drawing/2014/main" id="{FAB17ED0-9FA2-48E5-9A36-4FD3B8813D7C}"/>
              </a:ext>
            </a:extLst>
          </p:cNvPr>
          <p:cNvSpPr txBox="1"/>
          <p:nvPr/>
        </p:nvSpPr>
        <p:spPr>
          <a:xfrm>
            <a:off x="295615" y="3860522"/>
            <a:ext cx="4546947" cy="646331"/>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In short:</a:t>
            </a:r>
          </a:p>
          <a:p>
            <a:pPr algn="ctr"/>
            <a:r>
              <a:rPr lang="en-US" sz="1100" b="0" i="0" dirty="0">
                <a:effectLst/>
                <a:latin typeface="Verdana" panose="020B0604030504040204" pitchFamily="34" charset="0"/>
              </a:rPr>
              <a:t>X = {0, 1}</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74E59CCB-694B-4AC4-82F3-033AAC1921CF}"/>
                  </a:ext>
                </a:extLst>
              </p14:cNvPr>
              <p14:cNvContentPartPr/>
              <p14:nvPr/>
            </p14:nvContentPartPr>
            <p14:xfrm>
              <a:off x="1362240" y="952560"/>
              <a:ext cx="4510440" cy="3553200"/>
            </p14:xfrm>
          </p:contentPart>
        </mc:Choice>
        <mc:Fallback>
          <p:pic>
            <p:nvPicPr>
              <p:cNvPr id="4" name="Ink 3">
                <a:extLst>
                  <a:ext uri="{FF2B5EF4-FFF2-40B4-BE49-F238E27FC236}">
                    <a16:creationId xmlns:a16="http://schemas.microsoft.com/office/drawing/2014/main" id="{74E59CCB-694B-4AC4-82F3-033AAC1921CF}"/>
                  </a:ext>
                </a:extLst>
              </p:cNvPr>
              <p:cNvPicPr/>
              <p:nvPr/>
            </p:nvPicPr>
            <p:blipFill>
              <a:blip r:embed="rId4"/>
              <a:stretch>
                <a:fillRect/>
              </a:stretch>
            </p:blipFill>
            <p:spPr>
              <a:xfrm>
                <a:off x="1352880" y="943200"/>
                <a:ext cx="4529160" cy="3571920"/>
              </a:xfrm>
              <a:prstGeom prst="rect">
                <a:avLst/>
              </a:prstGeom>
            </p:spPr>
          </p:pic>
        </mc:Fallback>
      </mc:AlternateContent>
    </p:spTree>
    <p:extLst>
      <p:ext uri="{BB962C8B-B14F-4D97-AF65-F5344CB8AC3E}">
        <p14:creationId xmlns:p14="http://schemas.microsoft.com/office/powerpoint/2010/main" val="2464802808"/>
      </p:ext>
    </p:extLst>
  </p:cSld>
  <p:clrMapOvr>
    <a:masterClrMapping/>
  </p:clrMapOvr>
  <p:transition spd="med">
    <p:wipe dir="r"/>
  </p:transition>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5B2FAE-9231-47DC-BDE6-8E6025E68C53}"/>
              </a:ext>
            </a:extLst>
          </p:cNvPr>
          <p:cNvSpPr>
            <a:spLocks noGrp="1"/>
          </p:cNvSpPr>
          <p:nvPr>
            <p:ph type="title"/>
          </p:nvPr>
        </p:nvSpPr>
        <p:spPr>
          <a:xfrm>
            <a:off x="0" y="0"/>
            <a:ext cx="4295219" cy="640080"/>
          </a:xfrm>
        </p:spPr>
        <p:txBody>
          <a:bodyPr/>
          <a:lstStyle/>
          <a:p>
            <a:r>
              <a:rPr lang="en-US" dirty="0"/>
              <a:t>Random Variable</a:t>
            </a:r>
          </a:p>
        </p:txBody>
      </p:sp>
      <p:sp>
        <p:nvSpPr>
          <p:cNvPr id="3" name="Content Placeholder 2">
            <a:extLst>
              <a:ext uri="{FF2B5EF4-FFF2-40B4-BE49-F238E27FC236}">
                <a16:creationId xmlns:a16="http://schemas.microsoft.com/office/drawing/2014/main" id="{0F90162C-0BDB-4A97-A976-5E709F850FC7}"/>
              </a:ext>
            </a:extLst>
          </p:cNvPr>
          <p:cNvSpPr>
            <a:spLocks noGrp="1"/>
          </p:cNvSpPr>
          <p:nvPr>
            <p:ph sz="half" idx="13"/>
          </p:nvPr>
        </p:nvSpPr>
        <p:spPr>
          <a:xfrm>
            <a:off x="117744" y="754067"/>
            <a:ext cx="7592025" cy="3200400"/>
          </a:xfrm>
        </p:spPr>
        <p:txBody>
          <a:bodyPr/>
          <a:lstStyle/>
          <a:p>
            <a:pPr marL="0" indent="0">
              <a:buNone/>
            </a:pPr>
            <a:r>
              <a:rPr lang="en-US" b="1" dirty="0">
                <a:solidFill>
                  <a:srgbClr val="FF0000"/>
                </a:solidFill>
                <a:effectLst/>
                <a:latin typeface="champ"/>
              </a:rPr>
              <a:t>Not Like an Algebra Variable</a:t>
            </a:r>
          </a:p>
          <a:p>
            <a:r>
              <a:rPr lang="en-US" b="0" i="0" dirty="0">
                <a:solidFill>
                  <a:srgbClr val="333333"/>
                </a:solidFill>
                <a:effectLst/>
                <a:latin typeface="Verdana" panose="020B0604030504040204" pitchFamily="34" charset="0"/>
              </a:rPr>
              <a:t>In </a:t>
            </a:r>
            <a:r>
              <a:rPr lang="en-US" b="0" i="0" dirty="0">
                <a:effectLst/>
                <a:latin typeface="Verdana" panose="020B0604030504040204" pitchFamily="34" charset="0"/>
                <a:hlinkClick r:id="rId2"/>
              </a:rPr>
              <a:t>Algebra</a:t>
            </a:r>
            <a:r>
              <a:rPr lang="en-US" b="0" i="0" dirty="0">
                <a:solidFill>
                  <a:srgbClr val="333333"/>
                </a:solidFill>
                <a:effectLst/>
                <a:latin typeface="Verdana" panose="020B0604030504040204" pitchFamily="34" charset="0"/>
              </a:rPr>
              <a:t> a variable, like </a:t>
            </a:r>
            <a:r>
              <a:rPr lang="en-US" b="1" i="0" dirty="0">
                <a:solidFill>
                  <a:srgbClr val="333333"/>
                </a:solidFill>
                <a:effectLst/>
                <a:latin typeface="Verdana" panose="020B0604030504040204" pitchFamily="34" charset="0"/>
              </a:rPr>
              <a:t>x,</a:t>
            </a:r>
            <a:r>
              <a:rPr lang="en-US" b="0" i="0" dirty="0">
                <a:solidFill>
                  <a:srgbClr val="333333"/>
                </a:solidFill>
                <a:effectLst/>
                <a:latin typeface="Verdana" panose="020B0604030504040204" pitchFamily="34" charset="0"/>
              </a:rPr>
              <a:t> is an unknown value</a:t>
            </a:r>
          </a:p>
          <a:p>
            <a:pPr marL="0" indent="0">
              <a:buNone/>
            </a:pPr>
            <a:endParaRPr lang="en-US" b="0" i="0" dirty="0">
              <a:solidFill>
                <a:srgbClr val="333333"/>
              </a:solidFill>
              <a:effectLst/>
              <a:latin typeface="Verdana" panose="020B0604030504040204" pitchFamily="34" charset="0"/>
            </a:endParaRPr>
          </a:p>
          <a:p>
            <a:pPr lvl="1"/>
            <a:r>
              <a:rPr lang="en-US" dirty="0">
                <a:solidFill>
                  <a:srgbClr val="333333"/>
                </a:solidFill>
                <a:latin typeface="Verdana" panose="020B0604030504040204" pitchFamily="34" charset="0"/>
              </a:rPr>
              <a:t>Example: x + 2 = 6</a:t>
            </a:r>
          </a:p>
          <a:p>
            <a:pPr lvl="2"/>
            <a:r>
              <a:rPr lang="en-US" b="0" i="0" dirty="0">
                <a:solidFill>
                  <a:srgbClr val="333333"/>
                </a:solidFill>
                <a:effectLst/>
                <a:latin typeface="Verdana" panose="020B0604030504040204" pitchFamily="34" charset="0"/>
              </a:rPr>
              <a:t>In this case we can find that x=4</a:t>
            </a:r>
            <a:endParaRPr lang="en-US" dirty="0">
              <a:solidFill>
                <a:srgbClr val="333333"/>
              </a:solidFill>
              <a:latin typeface="Verdana" panose="020B0604030504040204" pitchFamily="34" charset="0"/>
            </a:endParaRPr>
          </a:p>
          <a:p>
            <a:r>
              <a:rPr lang="en-US" b="0" i="0" dirty="0">
                <a:solidFill>
                  <a:srgbClr val="333333"/>
                </a:solidFill>
                <a:effectLst/>
                <a:latin typeface="Verdana" panose="020B0604030504040204" pitchFamily="34" charset="0"/>
              </a:rPr>
              <a:t>But a Random Variable is different ...</a:t>
            </a:r>
          </a:p>
          <a:p>
            <a:pPr lvl="1"/>
            <a:r>
              <a:rPr lang="en-US" b="0" i="0" dirty="0">
                <a:solidFill>
                  <a:srgbClr val="333333"/>
                </a:solidFill>
                <a:effectLst/>
                <a:latin typeface="Verdana" panose="020B0604030504040204" pitchFamily="34" charset="0"/>
              </a:rPr>
              <a:t>A Random Variable has a whole set of values and it could take on any of those values, randomly.</a:t>
            </a:r>
          </a:p>
          <a:p>
            <a:pPr marL="342900" lvl="1" indent="0">
              <a:buNone/>
            </a:pPr>
            <a:endParaRPr lang="en-US" b="0" i="0" dirty="0">
              <a:solidFill>
                <a:srgbClr val="333333"/>
              </a:solidFill>
              <a:effectLst/>
              <a:latin typeface="Verdana" panose="020B0604030504040204" pitchFamily="34" charset="0"/>
            </a:endParaRPr>
          </a:p>
          <a:p>
            <a:pPr lvl="1"/>
            <a:r>
              <a:rPr lang="en-US" b="0" i="0" dirty="0">
                <a:solidFill>
                  <a:srgbClr val="333333"/>
                </a:solidFill>
                <a:effectLst/>
                <a:latin typeface="Verdana" panose="020B0604030504040204" pitchFamily="34" charset="0"/>
              </a:rPr>
              <a:t>Example: X = {0, 1, 2, 3}</a:t>
            </a:r>
          </a:p>
          <a:p>
            <a:pPr lvl="2"/>
            <a:r>
              <a:rPr lang="en-US" b="0" i="0" dirty="0">
                <a:solidFill>
                  <a:srgbClr val="333333"/>
                </a:solidFill>
                <a:effectLst/>
                <a:latin typeface="Verdana" panose="020B0604030504040204" pitchFamily="34" charset="0"/>
              </a:rPr>
              <a:t>X could be 0, 1, 2, or 3 randomly.</a:t>
            </a:r>
          </a:p>
          <a:p>
            <a:pPr lvl="2"/>
            <a:r>
              <a:rPr lang="en-US" b="0" i="0" dirty="0">
                <a:solidFill>
                  <a:srgbClr val="333333"/>
                </a:solidFill>
                <a:effectLst/>
                <a:latin typeface="Verdana" panose="020B0604030504040204" pitchFamily="34" charset="0"/>
              </a:rPr>
              <a:t>And they might each have a different probability.</a:t>
            </a:r>
          </a:p>
          <a:p>
            <a:pPr lvl="1"/>
            <a:endParaRPr lang="en-US" dirty="0">
              <a:solidFill>
                <a:srgbClr val="333333"/>
              </a:solidFill>
              <a:latin typeface="Verdana" panose="020B0604030504040204" pitchFamily="34" charset="0"/>
            </a:endParaRPr>
          </a:p>
          <a:p>
            <a:pPr lvl="1"/>
            <a:endParaRPr lang="en-US" dirty="0">
              <a:solidFill>
                <a:srgbClr val="333333"/>
              </a:solidFill>
              <a:latin typeface="Verdana" panose="020B0604030504040204" pitchFamily="34" charset="0"/>
            </a:endParaRPr>
          </a:p>
          <a:p>
            <a:pPr lvl="1"/>
            <a:endParaRPr lang="en-US" dirty="0">
              <a:solidFill>
                <a:srgbClr val="333333"/>
              </a:solidFill>
              <a:latin typeface="Verdana" panose="020B0604030504040204" pitchFamily="34" charset="0"/>
            </a:endParaRPr>
          </a:p>
          <a:p>
            <a:pPr lvl="1"/>
            <a:endParaRPr lang="en-US" dirty="0"/>
          </a:p>
        </p:txBody>
      </p:sp>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24C826AB-93BD-4570-8CA9-4DB025848D49}"/>
                  </a:ext>
                </a:extLst>
              </p14:cNvPr>
              <p14:cNvContentPartPr/>
              <p14:nvPr/>
            </p14:nvContentPartPr>
            <p14:xfrm>
              <a:off x="666720" y="433440"/>
              <a:ext cx="5772600" cy="2919600"/>
            </p14:xfrm>
          </p:contentPart>
        </mc:Choice>
        <mc:Fallback>
          <p:pic>
            <p:nvPicPr>
              <p:cNvPr id="4" name="Ink 3">
                <a:extLst>
                  <a:ext uri="{FF2B5EF4-FFF2-40B4-BE49-F238E27FC236}">
                    <a16:creationId xmlns:a16="http://schemas.microsoft.com/office/drawing/2014/main" id="{24C826AB-93BD-4570-8CA9-4DB025848D49}"/>
                  </a:ext>
                </a:extLst>
              </p:cNvPr>
              <p:cNvPicPr/>
              <p:nvPr/>
            </p:nvPicPr>
            <p:blipFill>
              <a:blip r:embed="rId4"/>
              <a:stretch>
                <a:fillRect/>
              </a:stretch>
            </p:blipFill>
            <p:spPr>
              <a:xfrm>
                <a:off x="657360" y="424080"/>
                <a:ext cx="5791320" cy="2938320"/>
              </a:xfrm>
              <a:prstGeom prst="rect">
                <a:avLst/>
              </a:prstGeom>
            </p:spPr>
          </p:pic>
        </mc:Fallback>
      </mc:AlternateContent>
    </p:spTree>
    <p:extLst>
      <p:ext uri="{BB962C8B-B14F-4D97-AF65-F5344CB8AC3E}">
        <p14:creationId xmlns:p14="http://schemas.microsoft.com/office/powerpoint/2010/main" val="3190387872"/>
      </p:ext>
    </p:extLst>
  </p:cSld>
  <p:clrMapOvr>
    <a:masterClrMapping/>
  </p:clrMapOvr>
  <p:transition spd="med">
    <p:wipe dir="r"/>
  </p:transition>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0C0C86-6EF2-42D9-AD35-A59BE45030B1}"/>
              </a:ext>
            </a:extLst>
          </p:cNvPr>
          <p:cNvSpPr>
            <a:spLocks noGrp="1"/>
          </p:cNvSpPr>
          <p:nvPr>
            <p:ph type="title"/>
          </p:nvPr>
        </p:nvSpPr>
        <p:spPr>
          <a:xfrm>
            <a:off x="0" y="0"/>
            <a:ext cx="4295219" cy="640080"/>
          </a:xfrm>
        </p:spPr>
        <p:txBody>
          <a:bodyPr/>
          <a:lstStyle/>
          <a:p>
            <a:r>
              <a:rPr lang="en-US" dirty="0"/>
              <a:t>Sample Space</a:t>
            </a:r>
          </a:p>
        </p:txBody>
      </p:sp>
      <p:sp>
        <p:nvSpPr>
          <p:cNvPr id="3" name="Content Placeholder 2">
            <a:extLst>
              <a:ext uri="{FF2B5EF4-FFF2-40B4-BE49-F238E27FC236}">
                <a16:creationId xmlns:a16="http://schemas.microsoft.com/office/drawing/2014/main" id="{D509752D-5C17-4DF1-8520-6E7BAEE564B0}"/>
              </a:ext>
            </a:extLst>
          </p:cNvPr>
          <p:cNvSpPr>
            <a:spLocks noGrp="1"/>
          </p:cNvSpPr>
          <p:nvPr>
            <p:ph sz="half" idx="13"/>
          </p:nvPr>
        </p:nvSpPr>
        <p:spPr>
          <a:xfrm>
            <a:off x="124007" y="791645"/>
            <a:ext cx="8431269" cy="3200400"/>
          </a:xfrm>
        </p:spPr>
        <p:txBody>
          <a:bodyPr/>
          <a:lstStyle/>
          <a:p>
            <a:r>
              <a:rPr lang="en-US" dirty="0"/>
              <a:t>A Random Variable's set of values is the Sample Space.</a:t>
            </a:r>
          </a:p>
          <a:p>
            <a:r>
              <a:rPr lang="en-US" dirty="0"/>
              <a:t>Ex : Throw a dice once</a:t>
            </a:r>
          </a:p>
          <a:p>
            <a:pPr marL="0" indent="0">
              <a:buNone/>
            </a:pPr>
            <a:endParaRPr lang="en-US" dirty="0"/>
          </a:p>
          <a:p>
            <a:pPr lvl="1"/>
            <a:r>
              <a:rPr lang="en-US" b="0" i="0" dirty="0">
                <a:solidFill>
                  <a:srgbClr val="333333"/>
                </a:solidFill>
                <a:effectLst/>
                <a:latin typeface="Verdana" panose="020B0604030504040204" pitchFamily="34" charset="0"/>
              </a:rPr>
              <a:t>Random Variable </a:t>
            </a:r>
            <a:r>
              <a:rPr lang="en-US" b="1" i="0" dirty="0">
                <a:solidFill>
                  <a:srgbClr val="333333"/>
                </a:solidFill>
                <a:effectLst/>
                <a:latin typeface="Verdana" panose="020B0604030504040204" pitchFamily="34" charset="0"/>
              </a:rPr>
              <a:t>X</a:t>
            </a:r>
            <a:r>
              <a:rPr lang="en-US" b="0" i="0" dirty="0">
                <a:solidFill>
                  <a:srgbClr val="333333"/>
                </a:solidFill>
                <a:effectLst/>
                <a:latin typeface="Verdana" panose="020B0604030504040204" pitchFamily="34" charset="0"/>
              </a:rPr>
              <a:t> = </a:t>
            </a:r>
            <a:endParaRPr lang="en-US" dirty="0"/>
          </a:p>
        </p:txBody>
      </p:sp>
      <p:pic>
        <p:nvPicPr>
          <p:cNvPr id="5" name="Picture 4" descr="A close up of a dice&#10;&#10;Description automatically generated with medium confidence">
            <a:extLst>
              <a:ext uri="{FF2B5EF4-FFF2-40B4-BE49-F238E27FC236}">
                <a16:creationId xmlns:a16="http://schemas.microsoft.com/office/drawing/2014/main" id="{DF364605-096B-46EF-AB6B-C408064A0382}"/>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4893144" y="1504139"/>
            <a:ext cx="3723380" cy="2786026"/>
          </a:xfrm>
          <a:prstGeom prst="rect">
            <a:avLst/>
          </a:prstGeom>
        </p:spPr>
      </p:pic>
      <mc:AlternateContent xmlns:mc="http://schemas.openxmlformats.org/markup-compatibility/2006">
        <mc:Choice xmlns:p14="http://schemas.microsoft.com/office/powerpoint/2010/main" Requires="p14">
          <p:contentPart p14:bwMode="auto" r:id="rId4">
            <p14:nvContentPartPr>
              <p14:cNvPr id="4" name="Ink 3">
                <a:extLst>
                  <a:ext uri="{FF2B5EF4-FFF2-40B4-BE49-F238E27FC236}">
                    <a16:creationId xmlns:a16="http://schemas.microsoft.com/office/drawing/2014/main" id="{36FFECB0-045B-425C-9740-59B0B8532096}"/>
                  </a:ext>
                </a:extLst>
              </p14:cNvPr>
              <p14:cNvContentPartPr/>
              <p14:nvPr/>
            </p14:nvContentPartPr>
            <p14:xfrm>
              <a:off x="1100160" y="990720"/>
              <a:ext cx="2995920" cy="2695680"/>
            </p14:xfrm>
          </p:contentPart>
        </mc:Choice>
        <mc:Fallback>
          <p:pic>
            <p:nvPicPr>
              <p:cNvPr id="4" name="Ink 3">
                <a:extLst>
                  <a:ext uri="{FF2B5EF4-FFF2-40B4-BE49-F238E27FC236}">
                    <a16:creationId xmlns:a16="http://schemas.microsoft.com/office/drawing/2014/main" id="{36FFECB0-045B-425C-9740-59B0B8532096}"/>
                  </a:ext>
                </a:extLst>
              </p:cNvPr>
              <p:cNvPicPr/>
              <p:nvPr/>
            </p:nvPicPr>
            <p:blipFill>
              <a:blip r:embed="rId5"/>
              <a:stretch>
                <a:fillRect/>
              </a:stretch>
            </p:blipFill>
            <p:spPr>
              <a:xfrm>
                <a:off x="1090800" y="981360"/>
                <a:ext cx="3014640" cy="2714400"/>
              </a:xfrm>
              <a:prstGeom prst="rect">
                <a:avLst/>
              </a:prstGeom>
            </p:spPr>
          </p:pic>
        </mc:Fallback>
      </mc:AlternateContent>
    </p:spTree>
    <p:extLst>
      <p:ext uri="{BB962C8B-B14F-4D97-AF65-F5344CB8AC3E}">
        <p14:creationId xmlns:p14="http://schemas.microsoft.com/office/powerpoint/2010/main" val="3826745495"/>
      </p:ext>
    </p:extLst>
  </p:cSld>
  <p:clrMapOvr>
    <a:masterClrMapping/>
  </p:clrMapOvr>
  <p:transition spd="med">
    <p:wipe dir="r"/>
  </p:transition>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469546-9706-4A9D-85B4-721535D7ED74}"/>
              </a:ext>
            </a:extLst>
          </p:cNvPr>
          <p:cNvSpPr>
            <a:spLocks noGrp="1"/>
          </p:cNvSpPr>
          <p:nvPr>
            <p:ph type="title"/>
          </p:nvPr>
        </p:nvSpPr>
        <p:spPr>
          <a:xfrm>
            <a:off x="0" y="0"/>
            <a:ext cx="4295219" cy="640080"/>
          </a:xfrm>
        </p:spPr>
        <p:txBody>
          <a:bodyPr/>
          <a:lstStyle/>
          <a:p>
            <a:r>
              <a:rPr lang="en-US" dirty="0"/>
              <a:t>Probability</a:t>
            </a:r>
          </a:p>
        </p:txBody>
      </p:sp>
      <p:sp>
        <p:nvSpPr>
          <p:cNvPr id="3" name="Content Placeholder 2">
            <a:extLst>
              <a:ext uri="{FF2B5EF4-FFF2-40B4-BE49-F238E27FC236}">
                <a16:creationId xmlns:a16="http://schemas.microsoft.com/office/drawing/2014/main" id="{36C30D74-4857-4A22-A1F4-C5BD94F32E85}"/>
              </a:ext>
            </a:extLst>
          </p:cNvPr>
          <p:cNvSpPr>
            <a:spLocks noGrp="1"/>
          </p:cNvSpPr>
          <p:nvPr>
            <p:ph sz="half" idx="13"/>
          </p:nvPr>
        </p:nvSpPr>
        <p:spPr>
          <a:xfrm>
            <a:off x="105219" y="665891"/>
            <a:ext cx="7723548" cy="930684"/>
          </a:xfrm>
        </p:spPr>
        <p:txBody>
          <a:bodyPr/>
          <a:lstStyle/>
          <a:p>
            <a:pPr algn="l"/>
            <a:r>
              <a:rPr lang="en-US" b="0" i="0" dirty="0">
                <a:solidFill>
                  <a:srgbClr val="333333"/>
                </a:solidFill>
                <a:effectLst/>
                <a:latin typeface="Verdana" panose="020B0604030504040204" pitchFamily="34" charset="0"/>
              </a:rPr>
              <a:t>We can show the probability of any one value using this style:</a:t>
            </a:r>
          </a:p>
          <a:p>
            <a:pPr lvl="3"/>
            <a:endParaRPr lang="en-US" dirty="0">
              <a:solidFill>
                <a:srgbClr val="333333"/>
              </a:solidFill>
              <a:latin typeface="Verdana" panose="020B0604030504040204" pitchFamily="34" charset="0"/>
            </a:endParaRPr>
          </a:p>
          <a:p>
            <a:pPr marL="1371600" lvl="4" indent="0">
              <a:buNone/>
            </a:pPr>
            <a:r>
              <a:rPr lang="en-US" sz="1400" dirty="0">
                <a:solidFill>
                  <a:schemeClr val="bg1"/>
                </a:solidFill>
                <a:latin typeface="Verdana" panose="020B0604030504040204" pitchFamily="34" charset="0"/>
                <a:cs typeface="Arial" panose="020B0604020202020204" pitchFamily="34" charset="0"/>
              </a:rPr>
              <a:t>P(X = value) = probability of that value</a:t>
            </a:r>
          </a:p>
          <a:p>
            <a:pPr marL="1371600" lvl="4" indent="0">
              <a:buNone/>
            </a:pPr>
            <a:endParaRPr lang="en-US" dirty="0">
              <a:latin typeface="Verdana" panose="020B0604030504040204" pitchFamily="34" charset="0"/>
            </a:endParaRPr>
          </a:p>
          <a:p>
            <a:pPr marL="1371600" lvl="4" indent="0">
              <a:buNone/>
            </a:pPr>
            <a:endParaRPr lang="en-US" b="0" i="0" dirty="0">
              <a:effectLst/>
              <a:latin typeface="Verdana" panose="020B0604030504040204" pitchFamily="34" charset="0"/>
            </a:endParaRPr>
          </a:p>
          <a:p>
            <a:pPr marL="1371600" lvl="4" indent="0">
              <a:buNone/>
            </a:pPr>
            <a:endParaRPr lang="en-US" b="0" i="0" dirty="0">
              <a:effectLst/>
              <a:latin typeface="Verdana" panose="020B0604030504040204" pitchFamily="34" charset="0"/>
            </a:endParaRPr>
          </a:p>
          <a:p>
            <a:endParaRPr lang="en-US" dirty="0"/>
          </a:p>
        </p:txBody>
      </p:sp>
      <p:sp>
        <p:nvSpPr>
          <p:cNvPr id="4" name="TextBox 3">
            <a:extLst>
              <a:ext uri="{FF2B5EF4-FFF2-40B4-BE49-F238E27FC236}">
                <a16:creationId xmlns:a16="http://schemas.microsoft.com/office/drawing/2014/main" id="{7B05C952-4CFC-4F44-A4A8-14749D9EE107}"/>
              </a:ext>
            </a:extLst>
          </p:cNvPr>
          <p:cNvSpPr txBox="1"/>
          <p:nvPr/>
        </p:nvSpPr>
        <p:spPr>
          <a:xfrm>
            <a:off x="105219" y="1572016"/>
            <a:ext cx="7141088" cy="523220"/>
          </a:xfrm>
          <a:prstGeom prst="rect">
            <a:avLst/>
          </a:prstGeom>
          <a:noFill/>
        </p:spPr>
        <p:txBody>
          <a:bodyPr wrap="square" rtlCol="0">
            <a:spAutoFit/>
          </a:bodyPr>
          <a:lstStyle/>
          <a:p>
            <a:pPr>
              <a:spcBef>
                <a:spcPts val="0"/>
              </a:spcBef>
              <a:spcAft>
                <a:spcPts val="0"/>
              </a:spcAft>
              <a:buClr>
                <a:schemeClr val="bg1"/>
              </a:buClr>
            </a:pPr>
            <a:r>
              <a:rPr lang="en-US" sz="1400" b="1" i="0" dirty="0">
                <a:solidFill>
                  <a:srgbClr val="333333"/>
                </a:solidFill>
                <a:effectLst/>
                <a:latin typeface="Verdana" panose="020B0604030504040204" pitchFamily="34" charset="0"/>
              </a:rPr>
              <a:t>Example (continued): Throw a die once</a:t>
            </a:r>
          </a:p>
          <a:p>
            <a:pPr>
              <a:spcBef>
                <a:spcPts val="0"/>
              </a:spcBef>
              <a:spcAft>
                <a:spcPts val="0"/>
              </a:spcAft>
              <a:buClr>
                <a:schemeClr val="bg1"/>
              </a:buClr>
            </a:pPr>
            <a:endParaRPr lang="en-US" sz="1400" dirty="0" err="1">
              <a:solidFill>
                <a:schemeClr val="bg2"/>
              </a:solidFill>
              <a:latin typeface="+mn-lt"/>
            </a:endParaRPr>
          </a:p>
        </p:txBody>
      </p:sp>
      <p:sp>
        <p:nvSpPr>
          <p:cNvPr id="5" name="TextBox 4">
            <a:extLst>
              <a:ext uri="{FF2B5EF4-FFF2-40B4-BE49-F238E27FC236}">
                <a16:creationId xmlns:a16="http://schemas.microsoft.com/office/drawing/2014/main" id="{CF6C7415-39BF-48B3-A331-D80E7925995E}"/>
              </a:ext>
            </a:extLst>
          </p:cNvPr>
          <p:cNvSpPr txBox="1"/>
          <p:nvPr/>
        </p:nvSpPr>
        <p:spPr>
          <a:xfrm>
            <a:off x="244257" y="1962828"/>
            <a:ext cx="5661765" cy="2339102"/>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X = {1, 2, 3, 4, 5, 6}</a:t>
            </a:r>
          </a:p>
          <a:p>
            <a:pPr algn="l"/>
            <a:endParaRPr lang="en-US" sz="1100" b="0" i="0" dirty="0">
              <a:solidFill>
                <a:srgbClr val="333333"/>
              </a:solidFill>
              <a:effectLst/>
              <a:latin typeface="Verdana" panose="020B0604030504040204" pitchFamily="34" charset="0"/>
            </a:endParaRPr>
          </a:p>
          <a:p>
            <a:pPr algn="l"/>
            <a:r>
              <a:rPr lang="en-US" sz="1100" b="0" i="0" dirty="0">
                <a:solidFill>
                  <a:srgbClr val="333333"/>
                </a:solidFill>
                <a:effectLst/>
                <a:latin typeface="Verdana" panose="020B0604030504040204" pitchFamily="34" charset="0"/>
              </a:rPr>
              <a:t>In this case they are all equally likely, so the probability of any one is 1/6</a:t>
            </a:r>
          </a:p>
          <a:p>
            <a:pPr algn="l"/>
            <a:endParaRPr lang="en-US" sz="1100" b="0" i="0" dirty="0">
              <a:solidFill>
                <a:srgbClr val="333333"/>
              </a:solidFill>
              <a:effectLst/>
              <a:latin typeface="Verdana" panose="020B0604030504040204" pitchFamily="34" charset="0"/>
            </a:endParaRPr>
          </a:p>
          <a:p>
            <a:pPr algn="l">
              <a:buFont typeface="Arial" panose="020B0604020202020204" pitchFamily="34" charset="0"/>
              <a:buChar char="•"/>
            </a:pPr>
            <a:r>
              <a:rPr lang="en-US" sz="1100" b="0" i="0" dirty="0">
                <a:solidFill>
                  <a:srgbClr val="333333"/>
                </a:solidFill>
                <a:effectLst/>
                <a:latin typeface="Verdana" panose="020B0604030504040204" pitchFamily="34" charset="0"/>
              </a:rPr>
              <a:t>P(X = 1) = 1/6</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P(X = 2) = 1/6</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P(X = 3) = 1/6</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P(X = 4) = 1/6</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P(X = 5) = 1/6</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P(X = 6) = 1/6</a:t>
            </a:r>
          </a:p>
          <a:p>
            <a:pPr algn="l"/>
            <a:endParaRPr lang="en-US" sz="1100" b="0" i="0" dirty="0">
              <a:solidFill>
                <a:srgbClr val="333333"/>
              </a:solidFill>
              <a:effectLst/>
              <a:latin typeface="Verdana" panose="020B0604030504040204" pitchFamily="34" charset="0"/>
            </a:endParaRPr>
          </a:p>
          <a:p>
            <a:pPr algn="l"/>
            <a:r>
              <a:rPr lang="en-US" sz="1100" b="0" i="0" dirty="0">
                <a:solidFill>
                  <a:srgbClr val="333333"/>
                </a:solidFill>
                <a:effectLst/>
                <a:latin typeface="Verdana" panose="020B0604030504040204" pitchFamily="34" charset="0"/>
              </a:rPr>
              <a:t>Note that the sum of the probabilities = </a:t>
            </a:r>
            <a:r>
              <a:rPr lang="en-US" sz="1100" b="1" i="0" dirty="0">
                <a:solidFill>
                  <a:srgbClr val="333333"/>
                </a:solidFill>
                <a:effectLst/>
                <a:latin typeface="Verdana" panose="020B0604030504040204" pitchFamily="34" charset="0"/>
              </a:rPr>
              <a:t>1</a:t>
            </a:r>
            <a:r>
              <a:rPr lang="en-US" sz="1100" b="0" i="0" dirty="0">
                <a:solidFill>
                  <a:srgbClr val="333333"/>
                </a:solidFill>
                <a:effectLst/>
                <a:latin typeface="Verdana" panose="020B0604030504040204" pitchFamily="34" charset="0"/>
              </a:rPr>
              <a:t>, as it should be.</a:t>
            </a:r>
          </a:p>
          <a:p>
            <a:pPr>
              <a:spcBef>
                <a:spcPts val="0"/>
              </a:spcBef>
              <a:spcAft>
                <a:spcPts val="0"/>
              </a:spcAft>
              <a:buClr>
                <a:schemeClr val="bg1"/>
              </a:buClr>
            </a:pPr>
            <a:endParaRPr lang="en-US" sz="1400" dirty="0" err="1">
              <a:solidFill>
                <a:schemeClr val="bg2"/>
              </a:solidFill>
              <a:latin typeface="+mn-lt"/>
            </a:endParaRPr>
          </a:p>
        </p:txBody>
      </p:sp>
      <p:pic>
        <p:nvPicPr>
          <p:cNvPr id="7" name="Picture 6" descr="A close up of a dice&#10;&#10;Description automatically generated with medium confidence">
            <a:extLst>
              <a:ext uri="{FF2B5EF4-FFF2-40B4-BE49-F238E27FC236}">
                <a16:creationId xmlns:a16="http://schemas.microsoft.com/office/drawing/2014/main" id="{793A5AAE-7B73-4D34-A2B8-6AC4751C2E6F}"/>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906022" y="2384899"/>
            <a:ext cx="2174893" cy="1627368"/>
          </a:xfrm>
          <a:prstGeom prst="rect">
            <a:avLst/>
          </a:prstGeom>
        </p:spPr>
      </p:pic>
      <mc:AlternateContent xmlns:mc="http://schemas.openxmlformats.org/markup-compatibility/2006">
        <mc:Choice xmlns:p14="http://schemas.microsoft.com/office/powerpoint/2010/main" Requires="p14">
          <p:contentPart p14:bwMode="auto" r:id="rId4">
            <p14:nvContentPartPr>
              <p14:cNvPr id="6" name="Ink 5">
                <a:extLst>
                  <a:ext uri="{FF2B5EF4-FFF2-40B4-BE49-F238E27FC236}">
                    <a16:creationId xmlns:a16="http://schemas.microsoft.com/office/drawing/2014/main" id="{67C3A204-4720-41B9-9861-67BC9E602646}"/>
                  </a:ext>
                </a:extLst>
              </p14:cNvPr>
              <p14:cNvContentPartPr/>
              <p14:nvPr/>
            </p14:nvContentPartPr>
            <p14:xfrm>
              <a:off x="561960" y="1357200"/>
              <a:ext cx="2043360" cy="2629440"/>
            </p14:xfrm>
          </p:contentPart>
        </mc:Choice>
        <mc:Fallback>
          <p:pic>
            <p:nvPicPr>
              <p:cNvPr id="6" name="Ink 5">
                <a:extLst>
                  <a:ext uri="{FF2B5EF4-FFF2-40B4-BE49-F238E27FC236}">
                    <a16:creationId xmlns:a16="http://schemas.microsoft.com/office/drawing/2014/main" id="{67C3A204-4720-41B9-9861-67BC9E602646}"/>
                  </a:ext>
                </a:extLst>
              </p:cNvPr>
              <p:cNvPicPr/>
              <p:nvPr/>
            </p:nvPicPr>
            <p:blipFill>
              <a:blip r:embed="rId5"/>
              <a:stretch>
                <a:fillRect/>
              </a:stretch>
            </p:blipFill>
            <p:spPr>
              <a:xfrm>
                <a:off x="552600" y="1347840"/>
                <a:ext cx="2062080" cy="2648160"/>
              </a:xfrm>
              <a:prstGeom prst="rect">
                <a:avLst/>
              </a:prstGeom>
            </p:spPr>
          </p:pic>
        </mc:Fallback>
      </mc:AlternateContent>
    </p:spTree>
    <p:extLst>
      <p:ext uri="{BB962C8B-B14F-4D97-AF65-F5344CB8AC3E}">
        <p14:creationId xmlns:p14="http://schemas.microsoft.com/office/powerpoint/2010/main" val="3651491739"/>
      </p:ext>
    </p:extLst>
  </p:cSld>
  <p:clrMapOvr>
    <a:masterClrMapping/>
  </p:clrMapOvr>
  <p:transition spd="med">
    <p:wipe dir="r"/>
  </p:transition>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F1C428-BF25-4414-957E-3C43A94B1691}"/>
              </a:ext>
            </a:extLst>
          </p:cNvPr>
          <p:cNvSpPr>
            <a:spLocks noGrp="1"/>
          </p:cNvSpPr>
          <p:nvPr>
            <p:ph type="title"/>
          </p:nvPr>
        </p:nvSpPr>
        <p:spPr>
          <a:xfrm>
            <a:off x="0" y="22860"/>
            <a:ext cx="8000391" cy="640080"/>
          </a:xfrm>
        </p:spPr>
        <p:txBody>
          <a:bodyPr/>
          <a:lstStyle/>
          <a:p>
            <a:r>
              <a:rPr lang="en-US" dirty="0"/>
              <a:t>Probability - Continued</a:t>
            </a:r>
          </a:p>
        </p:txBody>
      </p:sp>
      <p:sp>
        <p:nvSpPr>
          <p:cNvPr id="3" name="Content Placeholder 2">
            <a:extLst>
              <a:ext uri="{FF2B5EF4-FFF2-40B4-BE49-F238E27FC236}">
                <a16:creationId xmlns:a16="http://schemas.microsoft.com/office/drawing/2014/main" id="{35EADB4C-D732-46A9-988C-E85EDAE7DC34}"/>
              </a:ext>
            </a:extLst>
          </p:cNvPr>
          <p:cNvSpPr>
            <a:spLocks noGrp="1"/>
          </p:cNvSpPr>
          <p:nvPr>
            <p:ph sz="half" idx="13"/>
          </p:nvPr>
        </p:nvSpPr>
        <p:spPr>
          <a:xfrm>
            <a:off x="48851" y="662940"/>
            <a:ext cx="5306026" cy="3200400"/>
          </a:xfrm>
        </p:spPr>
        <p:txBody>
          <a:bodyPr>
            <a:normAutofit/>
          </a:bodyPr>
          <a:lstStyle/>
          <a:p>
            <a:pPr marL="0" indent="0">
              <a:buNone/>
            </a:pPr>
            <a:r>
              <a:rPr lang="en-US" b="1" dirty="0"/>
              <a:t>Example: How many heads when we toss 3 coins?</a:t>
            </a:r>
          </a:p>
          <a:p>
            <a:r>
              <a:rPr lang="en-US" dirty="0"/>
              <a:t>X = "The number of Heads" is the Random Variable.</a:t>
            </a:r>
          </a:p>
          <a:p>
            <a:r>
              <a:rPr lang="en-US" dirty="0"/>
              <a:t>In this case, there could be 0 Heads (if all the coins land Tails up), 1 Head, 2 Heads or 3 Heads.</a:t>
            </a:r>
          </a:p>
          <a:p>
            <a:r>
              <a:rPr lang="en-US" dirty="0"/>
              <a:t>So, the Sample Space = {0, 1, 2, 3}</a:t>
            </a:r>
          </a:p>
          <a:p>
            <a:r>
              <a:rPr lang="en-US" dirty="0"/>
              <a:t>But this time the outcomes are NOT all equally likely.</a:t>
            </a:r>
          </a:p>
          <a:p>
            <a:r>
              <a:rPr lang="en-US" dirty="0"/>
              <a:t>The three coins can land in eight possible ways:</a:t>
            </a:r>
          </a:p>
        </p:txBody>
      </p:sp>
      <p:pic>
        <p:nvPicPr>
          <p:cNvPr id="7" name="Picture 6">
            <a:extLst>
              <a:ext uri="{FF2B5EF4-FFF2-40B4-BE49-F238E27FC236}">
                <a16:creationId xmlns:a16="http://schemas.microsoft.com/office/drawing/2014/main" id="{584268B2-2C9B-4B7F-8809-62912C5FA4D4}"/>
              </a:ext>
            </a:extLst>
          </p:cNvPr>
          <p:cNvPicPr>
            <a:picLocks noChangeAspect="1"/>
          </p:cNvPicPr>
          <p:nvPr/>
        </p:nvPicPr>
        <p:blipFill>
          <a:blip r:embed="rId2"/>
          <a:stretch>
            <a:fillRect/>
          </a:stretch>
        </p:blipFill>
        <p:spPr>
          <a:xfrm>
            <a:off x="6461254" y="1258866"/>
            <a:ext cx="1905327" cy="3861774"/>
          </a:xfrm>
          <a:prstGeom prst="rect">
            <a:avLst/>
          </a:prstGeom>
        </p:spPr>
      </p:pic>
      <p:sp>
        <p:nvSpPr>
          <p:cNvPr id="8" name="TextBox 7">
            <a:extLst>
              <a:ext uri="{FF2B5EF4-FFF2-40B4-BE49-F238E27FC236}">
                <a16:creationId xmlns:a16="http://schemas.microsoft.com/office/drawing/2014/main" id="{20E2614F-18E1-47BF-9F2E-8FDCA666A8BB}"/>
              </a:ext>
            </a:extLst>
          </p:cNvPr>
          <p:cNvSpPr txBox="1"/>
          <p:nvPr/>
        </p:nvSpPr>
        <p:spPr>
          <a:xfrm>
            <a:off x="6237962" y="853704"/>
            <a:ext cx="2210843" cy="261610"/>
          </a:xfrm>
          <a:prstGeom prst="rect">
            <a:avLst/>
          </a:prstGeom>
          <a:noFill/>
        </p:spPr>
        <p:txBody>
          <a:bodyPr wrap="square" rtlCol="0">
            <a:spAutoFit/>
          </a:bodyPr>
          <a:lstStyle/>
          <a:p>
            <a:pPr>
              <a:spcBef>
                <a:spcPts val="0"/>
              </a:spcBef>
              <a:spcAft>
                <a:spcPts val="0"/>
              </a:spcAft>
              <a:buClr>
                <a:schemeClr val="bg1"/>
              </a:buClr>
            </a:pPr>
            <a:r>
              <a:rPr lang="en-US" sz="1100" b="0" i="0" dirty="0">
                <a:solidFill>
                  <a:srgbClr val="296BC2"/>
                </a:solidFill>
                <a:effectLst/>
                <a:latin typeface="Verdana" panose="020B0604030504040204" pitchFamily="34" charset="0"/>
              </a:rPr>
              <a:t>X =  "Number of Heads"</a:t>
            </a:r>
            <a:endParaRPr lang="en-US" sz="1400" dirty="0">
              <a:solidFill>
                <a:schemeClr val="bg2"/>
              </a:solidFill>
              <a:latin typeface="+mn-lt"/>
            </a:endParaRPr>
          </a:p>
        </p:txBody>
      </p:sp>
      <p:sp>
        <p:nvSpPr>
          <p:cNvPr id="9" name="Arrow: Right 8">
            <a:extLst>
              <a:ext uri="{FF2B5EF4-FFF2-40B4-BE49-F238E27FC236}">
                <a16:creationId xmlns:a16="http://schemas.microsoft.com/office/drawing/2014/main" id="{10FDD0E1-2586-4A27-9BD3-DE6F123F9AC5}"/>
              </a:ext>
            </a:extLst>
          </p:cNvPr>
          <p:cNvSpPr/>
          <p:nvPr/>
        </p:nvSpPr>
        <p:spPr>
          <a:xfrm>
            <a:off x="4208745" y="2698184"/>
            <a:ext cx="2116899" cy="252869"/>
          </a:xfrm>
          <a:prstGeom prst="rightArrow">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0" name="TextBox 9">
            <a:extLst>
              <a:ext uri="{FF2B5EF4-FFF2-40B4-BE49-F238E27FC236}">
                <a16:creationId xmlns:a16="http://schemas.microsoft.com/office/drawing/2014/main" id="{0D29ABF0-EE4C-4814-8AAE-C67AFCE43760}"/>
              </a:ext>
            </a:extLst>
          </p:cNvPr>
          <p:cNvSpPr txBox="1"/>
          <p:nvPr/>
        </p:nvSpPr>
        <p:spPr>
          <a:xfrm>
            <a:off x="156574" y="3377882"/>
            <a:ext cx="6169069" cy="1492716"/>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Looking at the table we see just 1 case of Three Heads, but 3 cases of Two Heads, 3 cases of One Head, and 1 case of Zero Heads. So:.</a:t>
            </a:r>
          </a:p>
          <a:p>
            <a:pPr algn="l"/>
            <a:endParaRPr lang="en-US" sz="1100" b="0" i="0" dirty="0">
              <a:solidFill>
                <a:srgbClr val="333333"/>
              </a:solidFill>
              <a:effectLst/>
              <a:latin typeface="Verdana" panose="020B0604030504040204" pitchFamily="34" charset="0"/>
            </a:endParaRPr>
          </a:p>
          <a:p>
            <a:pPr algn="l"/>
            <a:r>
              <a:rPr lang="en-US" sz="1100" b="0" i="0" dirty="0">
                <a:solidFill>
                  <a:srgbClr val="333333"/>
                </a:solidFill>
                <a:effectLst/>
                <a:latin typeface="Verdana" panose="020B0604030504040204" pitchFamily="34" charset="0"/>
              </a:rPr>
              <a:t>P(X = 3) = 1/8</a:t>
            </a:r>
          </a:p>
          <a:p>
            <a:pPr algn="l"/>
            <a:r>
              <a:rPr lang="en-US" sz="1100" b="0" i="0" dirty="0">
                <a:solidFill>
                  <a:srgbClr val="333333"/>
                </a:solidFill>
                <a:effectLst/>
                <a:latin typeface="Verdana" panose="020B0604030504040204" pitchFamily="34" charset="0"/>
              </a:rPr>
              <a:t>P(X = 2) = 3/8</a:t>
            </a:r>
          </a:p>
          <a:p>
            <a:pPr algn="l"/>
            <a:r>
              <a:rPr lang="en-US" sz="1100" b="0" i="0" dirty="0">
                <a:solidFill>
                  <a:srgbClr val="333333"/>
                </a:solidFill>
                <a:effectLst/>
                <a:latin typeface="Verdana" panose="020B0604030504040204" pitchFamily="34" charset="0"/>
              </a:rPr>
              <a:t>P(X = 1) = 3/8</a:t>
            </a:r>
          </a:p>
          <a:p>
            <a:pPr algn="l"/>
            <a:r>
              <a:rPr lang="en-US" sz="1100" b="0" i="0" dirty="0">
                <a:solidFill>
                  <a:srgbClr val="333333"/>
                </a:solidFill>
                <a:effectLst/>
                <a:latin typeface="Verdana" panose="020B0604030504040204" pitchFamily="34" charset="0"/>
              </a:rPr>
              <a:t>P(X = 0) = 1/8</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746E389A-88E7-4F97-96AE-958043A326E9}"/>
                  </a:ext>
                </a:extLst>
              </p14:cNvPr>
              <p14:cNvContentPartPr/>
              <p14:nvPr/>
            </p14:nvContentPartPr>
            <p14:xfrm>
              <a:off x="662040" y="366840"/>
              <a:ext cx="8277480" cy="4696200"/>
            </p14:xfrm>
          </p:contentPart>
        </mc:Choice>
        <mc:Fallback>
          <p:pic>
            <p:nvPicPr>
              <p:cNvPr id="4" name="Ink 3">
                <a:extLst>
                  <a:ext uri="{FF2B5EF4-FFF2-40B4-BE49-F238E27FC236}">
                    <a16:creationId xmlns:a16="http://schemas.microsoft.com/office/drawing/2014/main" id="{746E389A-88E7-4F97-96AE-958043A326E9}"/>
                  </a:ext>
                </a:extLst>
              </p:cNvPr>
              <p:cNvPicPr/>
              <p:nvPr/>
            </p:nvPicPr>
            <p:blipFill>
              <a:blip r:embed="rId4"/>
              <a:stretch>
                <a:fillRect/>
              </a:stretch>
            </p:blipFill>
            <p:spPr>
              <a:xfrm>
                <a:off x="652680" y="357480"/>
                <a:ext cx="8296200" cy="4714920"/>
              </a:xfrm>
              <a:prstGeom prst="rect">
                <a:avLst/>
              </a:prstGeom>
            </p:spPr>
          </p:pic>
        </mc:Fallback>
      </mc:AlternateContent>
    </p:spTree>
    <p:extLst>
      <p:ext uri="{BB962C8B-B14F-4D97-AF65-F5344CB8AC3E}">
        <p14:creationId xmlns:p14="http://schemas.microsoft.com/office/powerpoint/2010/main" val="2609554052"/>
      </p:ext>
    </p:extLst>
  </p:cSld>
  <p:clrMapOvr>
    <a:masterClrMapping/>
  </p:clrMapOvr>
  <p:transition spd="med">
    <p:wipe dir="r"/>
  </p:transition>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4A3905-3DDD-49FC-A037-D98D8EC26E77}"/>
              </a:ext>
            </a:extLst>
          </p:cNvPr>
          <p:cNvSpPr>
            <a:spLocks noGrp="1"/>
          </p:cNvSpPr>
          <p:nvPr>
            <p:ph type="title"/>
          </p:nvPr>
        </p:nvSpPr>
        <p:spPr>
          <a:xfrm>
            <a:off x="0" y="0"/>
            <a:ext cx="7161147" cy="640080"/>
          </a:xfrm>
        </p:spPr>
        <p:txBody>
          <a:bodyPr/>
          <a:lstStyle/>
          <a:p>
            <a:r>
              <a:rPr lang="en-US" dirty="0"/>
              <a:t>Random Variable – Discrete data</a:t>
            </a:r>
          </a:p>
        </p:txBody>
      </p:sp>
      <p:sp>
        <p:nvSpPr>
          <p:cNvPr id="3" name="Content Placeholder 2">
            <a:extLst>
              <a:ext uri="{FF2B5EF4-FFF2-40B4-BE49-F238E27FC236}">
                <a16:creationId xmlns:a16="http://schemas.microsoft.com/office/drawing/2014/main" id="{80BD8A89-D4BB-459A-A464-A6D6E62C8A48}"/>
              </a:ext>
            </a:extLst>
          </p:cNvPr>
          <p:cNvSpPr>
            <a:spLocks noGrp="1"/>
          </p:cNvSpPr>
          <p:nvPr>
            <p:ph sz="half" idx="13"/>
          </p:nvPr>
        </p:nvSpPr>
        <p:spPr>
          <a:xfrm>
            <a:off x="255531" y="971550"/>
            <a:ext cx="7510606" cy="3200400"/>
          </a:xfrm>
        </p:spPr>
        <p:txBody>
          <a:bodyPr/>
          <a:lstStyle/>
          <a:p>
            <a:r>
              <a:rPr lang="en-US" dirty="0"/>
              <a:t>Type of Random Variables</a:t>
            </a:r>
          </a:p>
          <a:p>
            <a:r>
              <a:rPr lang="en-US" dirty="0"/>
              <a:t>Discrete Data can only take certain values (such as 1,2,3,4,5)</a:t>
            </a:r>
          </a:p>
          <a:p>
            <a:r>
              <a:rPr lang="en-US" dirty="0"/>
              <a:t>Discrete data is counted</a:t>
            </a:r>
          </a:p>
          <a:p>
            <a:endParaRPr lang="en-US" dirty="0"/>
          </a:p>
          <a:p>
            <a:r>
              <a:rPr lang="en-US" dirty="0"/>
              <a:t>Example 1:</a:t>
            </a:r>
          </a:p>
          <a:p>
            <a:endParaRPr lang="en-US" dirty="0"/>
          </a:p>
          <a:p>
            <a:endParaRPr lang="en-US" dirty="0"/>
          </a:p>
          <a:p>
            <a:r>
              <a:rPr lang="en-US" dirty="0"/>
              <a:t>Example 2 : </a:t>
            </a: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89C79BF6-7EAE-4327-9A3E-7DF3CC121C56}"/>
                  </a:ext>
                </a:extLst>
              </p14:cNvPr>
              <p14:cNvContentPartPr/>
              <p14:nvPr/>
            </p14:nvContentPartPr>
            <p14:xfrm>
              <a:off x="6429240" y="1366920"/>
              <a:ext cx="1181520" cy="1910160"/>
            </p14:xfrm>
          </p:contentPart>
        </mc:Choice>
        <mc:Fallback>
          <p:pic>
            <p:nvPicPr>
              <p:cNvPr id="4" name="Ink 3">
                <a:extLst>
                  <a:ext uri="{FF2B5EF4-FFF2-40B4-BE49-F238E27FC236}">
                    <a16:creationId xmlns:a16="http://schemas.microsoft.com/office/drawing/2014/main" id="{89C79BF6-7EAE-4327-9A3E-7DF3CC121C56}"/>
                  </a:ext>
                </a:extLst>
              </p:cNvPr>
              <p:cNvPicPr/>
              <p:nvPr/>
            </p:nvPicPr>
            <p:blipFill>
              <a:blip r:embed="rId3"/>
              <a:stretch>
                <a:fillRect/>
              </a:stretch>
            </p:blipFill>
            <p:spPr>
              <a:xfrm>
                <a:off x="6419880" y="1357560"/>
                <a:ext cx="1200240" cy="1928880"/>
              </a:xfrm>
              <a:prstGeom prst="rect">
                <a:avLst/>
              </a:prstGeom>
            </p:spPr>
          </p:pic>
        </mc:Fallback>
      </mc:AlternateContent>
    </p:spTree>
    <p:extLst>
      <p:ext uri="{BB962C8B-B14F-4D97-AF65-F5344CB8AC3E}">
        <p14:creationId xmlns:p14="http://schemas.microsoft.com/office/powerpoint/2010/main" val="1870432331"/>
      </p:ext>
    </p:extLst>
  </p:cSld>
  <p:clrMapOvr>
    <a:masterClrMapping/>
  </p:clrMapOvr>
  <p:transition spd="med">
    <p:wipe dir="r"/>
  </p:transition>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9AE41-7B26-4CA8-A659-8BDA8675EDA5}"/>
              </a:ext>
            </a:extLst>
          </p:cNvPr>
          <p:cNvSpPr>
            <a:spLocks noGrp="1"/>
          </p:cNvSpPr>
          <p:nvPr>
            <p:ph type="title"/>
          </p:nvPr>
        </p:nvSpPr>
        <p:spPr>
          <a:xfrm>
            <a:off x="0" y="22860"/>
            <a:ext cx="7674714" cy="640080"/>
          </a:xfrm>
        </p:spPr>
        <p:txBody>
          <a:bodyPr/>
          <a:lstStyle/>
          <a:p>
            <a:r>
              <a:rPr lang="en-US" dirty="0"/>
              <a:t>Random Variable – Continuous data</a:t>
            </a:r>
          </a:p>
        </p:txBody>
      </p:sp>
      <p:sp>
        <p:nvSpPr>
          <p:cNvPr id="3" name="Content Placeholder 2">
            <a:extLst>
              <a:ext uri="{FF2B5EF4-FFF2-40B4-BE49-F238E27FC236}">
                <a16:creationId xmlns:a16="http://schemas.microsoft.com/office/drawing/2014/main" id="{EE612399-F008-4C1A-B214-C3F21F098966}"/>
              </a:ext>
            </a:extLst>
          </p:cNvPr>
          <p:cNvSpPr>
            <a:spLocks noGrp="1"/>
          </p:cNvSpPr>
          <p:nvPr>
            <p:ph sz="half" idx="13"/>
          </p:nvPr>
        </p:nvSpPr>
        <p:spPr>
          <a:xfrm>
            <a:off x="174111" y="848012"/>
            <a:ext cx="8230853" cy="3200400"/>
          </a:xfrm>
        </p:spPr>
        <p:txBody>
          <a:bodyPr/>
          <a:lstStyle/>
          <a:p>
            <a:r>
              <a:rPr lang="en-US" b="0" i="0" dirty="0">
                <a:solidFill>
                  <a:srgbClr val="333333"/>
                </a:solidFill>
                <a:effectLst/>
                <a:latin typeface="Verdana" panose="020B0604030504040204" pitchFamily="34" charset="0"/>
              </a:rPr>
              <a:t>Continuous Data can take any value within a range (such as a person's height)</a:t>
            </a:r>
          </a:p>
          <a:p>
            <a:endParaRPr lang="en-US" dirty="0">
              <a:solidFill>
                <a:srgbClr val="333333"/>
              </a:solidFill>
              <a:latin typeface="Verdana" panose="020B0604030504040204" pitchFamily="34" charset="0"/>
            </a:endParaRPr>
          </a:p>
          <a:p>
            <a:r>
              <a:rPr lang="en-US" b="0" i="0" dirty="0">
                <a:solidFill>
                  <a:srgbClr val="333333"/>
                </a:solidFill>
                <a:effectLst/>
                <a:latin typeface="Verdana" panose="020B0604030504040204" pitchFamily="34" charset="0"/>
              </a:rPr>
              <a:t>Examples : </a:t>
            </a:r>
          </a:p>
          <a:p>
            <a:endParaRPr lang="en-US" dirty="0"/>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9DD95B4E-6196-4C8B-B2FA-B71FE778B5D7}"/>
                  </a:ext>
                </a:extLst>
              </p14:cNvPr>
              <p14:cNvContentPartPr/>
              <p14:nvPr/>
            </p14:nvContentPartPr>
            <p14:xfrm>
              <a:off x="3219480" y="423720"/>
              <a:ext cx="1467360" cy="114840"/>
            </p14:xfrm>
          </p:contentPart>
        </mc:Choice>
        <mc:Fallback>
          <p:pic>
            <p:nvPicPr>
              <p:cNvPr id="4" name="Ink 3">
                <a:extLst>
                  <a:ext uri="{FF2B5EF4-FFF2-40B4-BE49-F238E27FC236}">
                    <a16:creationId xmlns:a16="http://schemas.microsoft.com/office/drawing/2014/main" id="{9DD95B4E-6196-4C8B-B2FA-B71FE778B5D7}"/>
                  </a:ext>
                </a:extLst>
              </p:cNvPr>
              <p:cNvPicPr/>
              <p:nvPr/>
            </p:nvPicPr>
            <p:blipFill>
              <a:blip r:embed="rId3"/>
              <a:stretch>
                <a:fillRect/>
              </a:stretch>
            </p:blipFill>
            <p:spPr>
              <a:xfrm>
                <a:off x="3210120" y="414360"/>
                <a:ext cx="1486080" cy="133560"/>
              </a:xfrm>
              <a:prstGeom prst="rect">
                <a:avLst/>
              </a:prstGeom>
            </p:spPr>
          </p:pic>
        </mc:Fallback>
      </mc:AlternateContent>
    </p:spTree>
    <p:extLst>
      <p:ext uri="{BB962C8B-B14F-4D97-AF65-F5344CB8AC3E}">
        <p14:creationId xmlns:p14="http://schemas.microsoft.com/office/powerpoint/2010/main" val="2845260871"/>
      </p:ext>
    </p:extLst>
  </p:cSld>
  <p:clrMapOvr>
    <a:masterClrMapping/>
  </p:clrMapOvr>
  <p:transition spd="med">
    <p:wipe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C019E3-33F8-45DD-9B54-B567FCE03CC1}"/>
              </a:ext>
            </a:extLst>
          </p:cNvPr>
          <p:cNvSpPr>
            <a:spLocks noGrp="1"/>
          </p:cNvSpPr>
          <p:nvPr>
            <p:ph type="title"/>
          </p:nvPr>
        </p:nvSpPr>
        <p:spPr>
          <a:xfrm>
            <a:off x="0" y="83996"/>
            <a:ext cx="7955280" cy="640080"/>
          </a:xfrm>
        </p:spPr>
        <p:txBody>
          <a:bodyPr/>
          <a:lstStyle/>
          <a:p>
            <a:r>
              <a:rPr lang="en-US" dirty="0"/>
              <a:t>Descriptive Statistics</a:t>
            </a:r>
          </a:p>
        </p:txBody>
      </p:sp>
      <p:sp>
        <p:nvSpPr>
          <p:cNvPr id="3" name="Content Placeholder 2">
            <a:extLst>
              <a:ext uri="{FF2B5EF4-FFF2-40B4-BE49-F238E27FC236}">
                <a16:creationId xmlns:a16="http://schemas.microsoft.com/office/drawing/2014/main" id="{C4821D91-408E-4E7F-A0CC-421C8F3872D1}"/>
              </a:ext>
            </a:extLst>
          </p:cNvPr>
          <p:cNvSpPr>
            <a:spLocks noGrp="1"/>
          </p:cNvSpPr>
          <p:nvPr>
            <p:ph sz="half" idx="13"/>
          </p:nvPr>
        </p:nvSpPr>
        <p:spPr>
          <a:xfrm>
            <a:off x="55113" y="765568"/>
            <a:ext cx="8481373" cy="1218782"/>
          </a:xfrm>
        </p:spPr>
        <p:txBody>
          <a:bodyPr>
            <a:noAutofit/>
          </a:bodyPr>
          <a:lstStyle/>
          <a:p>
            <a:r>
              <a:rPr lang="en-US" dirty="0">
                <a:solidFill>
                  <a:schemeClr val="bg2">
                    <a:lumMod val="50000"/>
                    <a:lumOff val="50000"/>
                  </a:schemeClr>
                </a:solidFill>
              </a:rPr>
              <a:t>Descriptive statistics is a term given to the analysis of data that helps to describe, show and summarize data in a meaningful way. It is a simple way to describe our data.</a:t>
            </a:r>
          </a:p>
          <a:p>
            <a:r>
              <a:rPr lang="en-US" dirty="0">
                <a:solidFill>
                  <a:schemeClr val="bg2">
                    <a:lumMod val="50000"/>
                    <a:lumOff val="50000"/>
                  </a:schemeClr>
                </a:solidFill>
              </a:rPr>
              <a:t> Descriptive statistics is very important to present our raw data in effective/meaningful way using numerical calculations or graphs or tables. This type of statistics is applied on already known data.</a:t>
            </a:r>
          </a:p>
          <a:p>
            <a:r>
              <a:rPr lang="en-US" dirty="0">
                <a:solidFill>
                  <a:schemeClr val="bg2">
                    <a:lumMod val="50000"/>
                    <a:lumOff val="50000"/>
                  </a:schemeClr>
                </a:solidFill>
              </a:rPr>
              <a:t>Types of Descriptive Statistics</a:t>
            </a:r>
          </a:p>
          <a:p>
            <a:pPr lvl="1"/>
            <a:r>
              <a:rPr lang="en-US" sz="1400" dirty="0">
                <a:solidFill>
                  <a:schemeClr val="bg2">
                    <a:lumMod val="50000"/>
                    <a:lumOff val="50000"/>
                  </a:schemeClr>
                </a:solidFill>
              </a:rPr>
              <a:t>Measure of Central tendency</a:t>
            </a:r>
          </a:p>
          <a:p>
            <a:pPr lvl="1"/>
            <a:r>
              <a:rPr lang="en-US" sz="1400" dirty="0">
                <a:solidFill>
                  <a:schemeClr val="bg2">
                    <a:lumMod val="50000"/>
                    <a:lumOff val="50000"/>
                  </a:schemeClr>
                </a:solidFill>
              </a:rPr>
              <a:t>Measure of Variability</a:t>
            </a:r>
          </a:p>
          <a:p>
            <a:pPr lvl="1"/>
            <a:endParaRPr lang="en-US" sz="1400" dirty="0">
              <a:solidFill>
                <a:schemeClr val="bg2">
                  <a:lumMod val="50000"/>
                  <a:lumOff val="50000"/>
                </a:schemeClr>
              </a:solidFill>
            </a:endParaRPr>
          </a:p>
          <a:p>
            <a:endParaRPr lang="en-US" dirty="0">
              <a:solidFill>
                <a:schemeClr val="bg2">
                  <a:lumMod val="50000"/>
                  <a:lumOff val="50000"/>
                </a:schemeClr>
              </a:solidFill>
            </a:endParaRPr>
          </a:p>
          <a:p>
            <a:endParaRPr lang="en-US" dirty="0">
              <a:solidFill>
                <a:schemeClr val="bg2">
                  <a:lumMod val="50000"/>
                  <a:lumOff val="50000"/>
                </a:schemeClr>
              </a:solidFill>
            </a:endParaRPr>
          </a:p>
          <a:p>
            <a:r>
              <a:rPr lang="en-US" dirty="0">
                <a:solidFill>
                  <a:schemeClr val="bg2">
                    <a:lumMod val="50000"/>
                    <a:lumOff val="50000"/>
                  </a:schemeClr>
                </a:solidFill>
              </a:rPr>
              <a:t>Examples : </a:t>
            </a:r>
          </a:p>
          <a:p>
            <a:pPr lvl="1"/>
            <a:r>
              <a:rPr lang="en-US" dirty="0">
                <a:solidFill>
                  <a:schemeClr val="bg2">
                    <a:lumMod val="50000"/>
                    <a:lumOff val="50000"/>
                  </a:schemeClr>
                </a:solidFill>
              </a:rPr>
              <a:t>you want to know what factors can influence the decline in poverty. You use variables such as road length, economic growth, electrification ratio, number of teachers, number of medical personnel, etc.</a:t>
            </a:r>
          </a:p>
          <a:p>
            <a:pPr lvl="1"/>
            <a:endParaRPr lang="en-US" sz="1400" dirty="0">
              <a:solidFill>
                <a:schemeClr val="bg2">
                  <a:lumMod val="50000"/>
                  <a:lumOff val="50000"/>
                </a:schemeClr>
              </a:solidFill>
            </a:endParaRPr>
          </a:p>
        </p:txBody>
      </p:sp>
      <p:pic>
        <p:nvPicPr>
          <p:cNvPr id="6" name="Picture 5">
            <a:extLst>
              <a:ext uri="{FF2B5EF4-FFF2-40B4-BE49-F238E27FC236}">
                <a16:creationId xmlns:a16="http://schemas.microsoft.com/office/drawing/2014/main" id="{A5F33009-BB40-478D-B2AE-ADDA39C6592A}"/>
              </a:ext>
            </a:extLst>
          </p:cNvPr>
          <p:cNvPicPr>
            <a:picLocks noChangeAspect="1"/>
          </p:cNvPicPr>
          <p:nvPr/>
        </p:nvPicPr>
        <p:blipFill>
          <a:blip r:embed="rId2"/>
          <a:stretch>
            <a:fillRect/>
          </a:stretch>
        </p:blipFill>
        <p:spPr>
          <a:xfrm>
            <a:off x="3357817" y="2108705"/>
            <a:ext cx="4597463" cy="1675599"/>
          </a:xfrm>
          <a:prstGeom prst="rect">
            <a:avLst/>
          </a:prstGeom>
        </p:spPr>
      </p:pic>
      <p:sp>
        <p:nvSpPr>
          <p:cNvPr id="4" name="Rectangle 3">
            <a:extLst>
              <a:ext uri="{FF2B5EF4-FFF2-40B4-BE49-F238E27FC236}">
                <a16:creationId xmlns:a16="http://schemas.microsoft.com/office/drawing/2014/main" id="{E7D97A91-589E-4FF7-B191-1179B210D296}"/>
              </a:ext>
            </a:extLst>
          </p:cNvPr>
          <p:cNvSpPr/>
          <p:nvPr/>
        </p:nvSpPr>
        <p:spPr>
          <a:xfrm>
            <a:off x="6568322" y="3517996"/>
            <a:ext cx="551433" cy="167525"/>
          </a:xfrm>
          <a:prstGeom prst="rect">
            <a:avLst/>
          </a:prstGeom>
          <a:solidFill>
            <a:schemeClr val="tx2"/>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a:solidFill>
                <a:schemeClr val="tx2"/>
              </a:solidFill>
              <a:latin typeface="+mn-lt"/>
            </a:endParaRPr>
          </a:p>
        </p:txBody>
      </p:sp>
      <p:sp>
        <p:nvSpPr>
          <p:cNvPr id="5" name="TextBox 4">
            <a:extLst>
              <a:ext uri="{FF2B5EF4-FFF2-40B4-BE49-F238E27FC236}">
                <a16:creationId xmlns:a16="http://schemas.microsoft.com/office/drawing/2014/main" id="{2717AC45-F872-450C-BBDC-D605C3F757A6}"/>
              </a:ext>
            </a:extLst>
          </p:cNvPr>
          <p:cNvSpPr txBox="1"/>
          <p:nvPr/>
        </p:nvSpPr>
        <p:spPr>
          <a:xfrm>
            <a:off x="6484561" y="3446994"/>
            <a:ext cx="1270388" cy="477054"/>
          </a:xfrm>
          <a:prstGeom prst="rect">
            <a:avLst/>
          </a:prstGeom>
          <a:noFill/>
        </p:spPr>
        <p:txBody>
          <a:bodyPr wrap="square" rtlCol="0">
            <a:spAutoFit/>
          </a:bodyPr>
          <a:lstStyle/>
          <a:p>
            <a:pPr>
              <a:spcBef>
                <a:spcPts val="0"/>
              </a:spcBef>
              <a:spcAft>
                <a:spcPts val="0"/>
              </a:spcAft>
              <a:buClr>
                <a:schemeClr val="bg1"/>
              </a:buClr>
            </a:pPr>
            <a:r>
              <a:rPr lang="en-US" sz="1100" b="1" dirty="0">
                <a:solidFill>
                  <a:schemeClr val="accent2">
                    <a:lumMod val="75000"/>
                  </a:schemeClr>
                </a:solidFill>
                <a:latin typeface="+mn-lt"/>
              </a:rPr>
              <a:t>Variance</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999464151"/>
      </p:ext>
    </p:extLst>
  </p:cSld>
  <p:clrMapOvr>
    <a:masterClrMapping/>
  </p:clrMapOvr>
  <p:transition spd="med">
    <p:wipe dir="r"/>
  </p:transition>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8D7CF4-92B7-4920-A71A-4B716323EDA4}"/>
              </a:ext>
            </a:extLst>
          </p:cNvPr>
          <p:cNvSpPr>
            <a:spLocks noGrp="1"/>
          </p:cNvSpPr>
          <p:nvPr>
            <p:ph type="title"/>
          </p:nvPr>
        </p:nvSpPr>
        <p:spPr>
          <a:xfrm>
            <a:off x="0" y="22860"/>
            <a:ext cx="4295219" cy="640080"/>
          </a:xfrm>
        </p:spPr>
        <p:txBody>
          <a:bodyPr/>
          <a:lstStyle/>
          <a:p>
            <a:r>
              <a:rPr lang="en-US" dirty="0"/>
              <a:t>Confidence Intervals</a:t>
            </a:r>
          </a:p>
        </p:txBody>
      </p:sp>
      <p:sp>
        <p:nvSpPr>
          <p:cNvPr id="3" name="Content Placeholder 2">
            <a:extLst>
              <a:ext uri="{FF2B5EF4-FFF2-40B4-BE49-F238E27FC236}">
                <a16:creationId xmlns:a16="http://schemas.microsoft.com/office/drawing/2014/main" id="{0C73159A-8F35-43F0-933D-2275023C268F}"/>
              </a:ext>
            </a:extLst>
          </p:cNvPr>
          <p:cNvSpPr>
            <a:spLocks noGrp="1"/>
          </p:cNvSpPr>
          <p:nvPr>
            <p:ph sz="half" idx="13"/>
          </p:nvPr>
        </p:nvSpPr>
        <p:spPr>
          <a:xfrm>
            <a:off x="61376" y="916905"/>
            <a:ext cx="8005386" cy="3200400"/>
          </a:xfrm>
        </p:spPr>
        <p:txBody>
          <a:bodyPr/>
          <a:lstStyle/>
          <a:p>
            <a:r>
              <a:rPr lang="en-US" b="0" i="0" dirty="0">
                <a:solidFill>
                  <a:srgbClr val="333333"/>
                </a:solidFill>
                <a:effectLst/>
                <a:latin typeface="Verdana" panose="020B0604030504040204" pitchFamily="34" charset="0"/>
              </a:rPr>
              <a:t>A Confidence Interval is a </a:t>
            </a:r>
            <a:r>
              <a:rPr lang="en-US" b="1" i="0" dirty="0">
                <a:solidFill>
                  <a:srgbClr val="333333"/>
                </a:solidFill>
                <a:effectLst/>
                <a:latin typeface="Verdana" panose="020B0604030504040204" pitchFamily="34" charset="0"/>
              </a:rPr>
              <a:t>range of values</a:t>
            </a:r>
            <a:r>
              <a:rPr lang="en-US" b="0" i="0" dirty="0">
                <a:solidFill>
                  <a:srgbClr val="333333"/>
                </a:solidFill>
                <a:effectLst/>
                <a:latin typeface="Verdana" panose="020B0604030504040204" pitchFamily="34" charset="0"/>
              </a:rPr>
              <a:t> we are fairly sure our </a:t>
            </a:r>
            <a:r>
              <a:rPr lang="en-US" b="1" i="0" dirty="0">
                <a:solidFill>
                  <a:srgbClr val="333333"/>
                </a:solidFill>
                <a:effectLst/>
                <a:latin typeface="Verdana" panose="020B0604030504040204" pitchFamily="34" charset="0"/>
              </a:rPr>
              <a:t>true value</a:t>
            </a:r>
            <a:r>
              <a:rPr lang="en-US" b="0" i="0" dirty="0">
                <a:solidFill>
                  <a:srgbClr val="333333"/>
                </a:solidFill>
                <a:effectLst/>
                <a:latin typeface="Verdana" panose="020B0604030504040204" pitchFamily="34" charset="0"/>
              </a:rPr>
              <a:t> lies in.</a:t>
            </a:r>
          </a:p>
          <a:p>
            <a:endParaRPr lang="en-US" dirty="0">
              <a:solidFill>
                <a:srgbClr val="333333"/>
              </a:solidFill>
              <a:latin typeface="Verdana" panose="020B0604030504040204" pitchFamily="34" charset="0"/>
            </a:endParaRPr>
          </a:p>
          <a:p>
            <a:pPr algn="l"/>
            <a:r>
              <a:rPr lang="en-US" b="0" i="0" dirty="0">
                <a:effectLst/>
                <a:latin typeface="Verdana" panose="020B0604030504040204" pitchFamily="34" charset="0"/>
              </a:rPr>
              <a:t>Example: Average Height</a:t>
            </a:r>
          </a:p>
          <a:p>
            <a:pPr marL="0" indent="0" algn="l">
              <a:buNone/>
            </a:pPr>
            <a:endParaRPr lang="en-US" b="0" i="0" dirty="0">
              <a:effectLst/>
              <a:latin typeface="Verdana" panose="020B0604030504040204" pitchFamily="34" charset="0"/>
            </a:endParaRPr>
          </a:p>
          <a:p>
            <a:pPr lvl="1"/>
            <a:r>
              <a:rPr lang="en-US" b="0" i="0" dirty="0">
                <a:solidFill>
                  <a:srgbClr val="333333"/>
                </a:solidFill>
                <a:effectLst/>
                <a:latin typeface="Verdana" panose="020B0604030504040204" pitchFamily="34" charset="0"/>
              </a:rPr>
              <a:t>We measure the heights of </a:t>
            </a:r>
            <a:r>
              <a:rPr lang="en-US" b="1" i="0" dirty="0">
                <a:solidFill>
                  <a:srgbClr val="333333"/>
                </a:solidFill>
                <a:effectLst/>
                <a:latin typeface="Verdana" panose="020B0604030504040204" pitchFamily="34" charset="0"/>
              </a:rPr>
              <a:t>40</a:t>
            </a:r>
            <a:r>
              <a:rPr lang="en-US" b="0" i="0" dirty="0">
                <a:solidFill>
                  <a:srgbClr val="333333"/>
                </a:solidFill>
                <a:effectLst/>
                <a:latin typeface="Verdana" panose="020B0604030504040204" pitchFamily="34" charset="0"/>
              </a:rPr>
              <a:t> randomly chosen men, and get a </a:t>
            </a:r>
            <a:r>
              <a:rPr lang="en-US" b="0" i="0" dirty="0">
                <a:solidFill>
                  <a:srgbClr val="333333"/>
                </a:solidFill>
                <a:effectLst/>
                <a:latin typeface="Verdana" panose="020B0604030504040204" pitchFamily="34" charset="0"/>
                <a:hlinkClick r:id="rId2"/>
              </a:rPr>
              <a:t>mean</a:t>
            </a:r>
            <a:r>
              <a:rPr lang="en-US" b="0" i="0" dirty="0">
                <a:solidFill>
                  <a:srgbClr val="333333"/>
                </a:solidFill>
                <a:effectLst/>
                <a:latin typeface="Verdana" panose="020B0604030504040204" pitchFamily="34" charset="0"/>
              </a:rPr>
              <a:t> height of </a:t>
            </a:r>
            <a:r>
              <a:rPr lang="en-US" b="1" i="0" dirty="0">
                <a:solidFill>
                  <a:srgbClr val="333333"/>
                </a:solidFill>
                <a:effectLst/>
                <a:latin typeface="Verdana" panose="020B0604030504040204" pitchFamily="34" charset="0"/>
              </a:rPr>
              <a:t>175cm</a:t>
            </a:r>
            <a:r>
              <a:rPr lang="en-US" b="0" i="0" dirty="0">
                <a:solidFill>
                  <a:srgbClr val="333333"/>
                </a:solidFill>
                <a:effectLst/>
                <a:latin typeface="Verdana" panose="020B0604030504040204" pitchFamily="34" charset="0"/>
              </a:rPr>
              <a:t>,</a:t>
            </a:r>
          </a:p>
          <a:p>
            <a:pPr marL="342900" lvl="1" indent="0">
              <a:buNone/>
            </a:pPr>
            <a:endParaRPr lang="en-US" b="0" i="0" dirty="0">
              <a:solidFill>
                <a:srgbClr val="333333"/>
              </a:solidFill>
              <a:effectLst/>
              <a:latin typeface="Verdana" panose="020B0604030504040204" pitchFamily="34" charset="0"/>
            </a:endParaRPr>
          </a:p>
          <a:p>
            <a:pPr lvl="1"/>
            <a:r>
              <a:rPr lang="en-US" b="0" i="0" dirty="0">
                <a:solidFill>
                  <a:srgbClr val="333333"/>
                </a:solidFill>
                <a:effectLst/>
                <a:latin typeface="Verdana" panose="020B0604030504040204" pitchFamily="34" charset="0"/>
              </a:rPr>
              <a:t>We also know the </a:t>
            </a:r>
            <a:r>
              <a:rPr lang="en-US" b="0" i="0" dirty="0">
                <a:solidFill>
                  <a:srgbClr val="333333"/>
                </a:solidFill>
                <a:effectLst/>
                <a:latin typeface="Verdana" panose="020B0604030504040204" pitchFamily="34" charset="0"/>
                <a:hlinkClick r:id="rId3"/>
              </a:rPr>
              <a:t>standard deviation</a:t>
            </a:r>
            <a:r>
              <a:rPr lang="en-US" b="0" i="0" dirty="0">
                <a:solidFill>
                  <a:srgbClr val="333333"/>
                </a:solidFill>
                <a:effectLst/>
                <a:latin typeface="Verdana" panose="020B0604030504040204" pitchFamily="34" charset="0"/>
              </a:rPr>
              <a:t> of men's heights is </a:t>
            </a:r>
            <a:r>
              <a:rPr lang="en-US" b="1" i="0" dirty="0">
                <a:solidFill>
                  <a:srgbClr val="333333"/>
                </a:solidFill>
                <a:effectLst/>
                <a:latin typeface="Verdana" panose="020B0604030504040204" pitchFamily="34" charset="0"/>
              </a:rPr>
              <a:t>20cm</a:t>
            </a:r>
            <a:r>
              <a:rPr lang="en-US" b="0" i="0" dirty="0">
                <a:solidFill>
                  <a:srgbClr val="333333"/>
                </a:solidFill>
                <a:effectLst/>
                <a:latin typeface="Verdana" panose="020B0604030504040204" pitchFamily="34" charset="0"/>
              </a:rPr>
              <a:t>.</a:t>
            </a:r>
          </a:p>
          <a:p>
            <a:pPr marL="342900" lvl="1" indent="0">
              <a:buNone/>
            </a:pPr>
            <a:endParaRPr lang="en-US" b="0" i="0" dirty="0">
              <a:solidFill>
                <a:srgbClr val="333333"/>
              </a:solidFill>
              <a:effectLst/>
              <a:latin typeface="Verdana" panose="020B0604030504040204" pitchFamily="34" charset="0"/>
            </a:endParaRPr>
          </a:p>
          <a:p>
            <a:pPr lvl="1"/>
            <a:r>
              <a:rPr lang="en-US" b="0" i="0" dirty="0">
                <a:solidFill>
                  <a:srgbClr val="333333"/>
                </a:solidFill>
                <a:effectLst/>
                <a:latin typeface="Verdana" panose="020B0604030504040204" pitchFamily="34" charset="0"/>
              </a:rPr>
              <a:t>The </a:t>
            </a:r>
            <a:r>
              <a:rPr lang="en-US" b="1" i="0" dirty="0">
                <a:solidFill>
                  <a:srgbClr val="333333"/>
                </a:solidFill>
                <a:effectLst/>
                <a:latin typeface="Verdana" panose="020B0604030504040204" pitchFamily="34" charset="0"/>
              </a:rPr>
              <a:t>95% Confidence Interval</a:t>
            </a:r>
            <a:r>
              <a:rPr lang="en-US" b="0" i="0" dirty="0">
                <a:solidFill>
                  <a:srgbClr val="333333"/>
                </a:solidFill>
                <a:effectLst/>
                <a:latin typeface="Verdana" panose="020B0604030504040204" pitchFamily="34" charset="0"/>
              </a:rPr>
              <a:t> (we show how to calculate it later) is:</a:t>
            </a:r>
          </a:p>
          <a:p>
            <a:pPr marL="0" indent="0">
              <a:buNone/>
            </a:pPr>
            <a:endParaRPr lang="en-US" dirty="0"/>
          </a:p>
        </p:txBody>
      </p:sp>
      <mc:AlternateContent xmlns:mc="http://schemas.openxmlformats.org/markup-compatibility/2006">
        <mc:Choice xmlns:p14="http://schemas.microsoft.com/office/powerpoint/2010/main" Requires="p14">
          <p:contentPart p14:bwMode="auto" r:id="rId4">
            <p14:nvContentPartPr>
              <p14:cNvPr id="4" name="Ink 3">
                <a:extLst>
                  <a:ext uri="{FF2B5EF4-FFF2-40B4-BE49-F238E27FC236}">
                    <a16:creationId xmlns:a16="http://schemas.microsoft.com/office/drawing/2014/main" id="{78A66A05-CA2B-48F8-891D-4DFCA0EE17FD}"/>
                  </a:ext>
                </a:extLst>
              </p14:cNvPr>
              <p14:cNvContentPartPr/>
              <p14:nvPr/>
            </p14:nvContentPartPr>
            <p14:xfrm>
              <a:off x="619200" y="142920"/>
              <a:ext cx="8168040" cy="4615200"/>
            </p14:xfrm>
          </p:contentPart>
        </mc:Choice>
        <mc:Fallback>
          <p:pic>
            <p:nvPicPr>
              <p:cNvPr id="4" name="Ink 3">
                <a:extLst>
                  <a:ext uri="{FF2B5EF4-FFF2-40B4-BE49-F238E27FC236}">
                    <a16:creationId xmlns:a16="http://schemas.microsoft.com/office/drawing/2014/main" id="{78A66A05-CA2B-48F8-891D-4DFCA0EE17FD}"/>
                  </a:ext>
                </a:extLst>
              </p:cNvPr>
              <p:cNvPicPr/>
              <p:nvPr/>
            </p:nvPicPr>
            <p:blipFill>
              <a:blip r:embed="rId5"/>
              <a:stretch>
                <a:fillRect/>
              </a:stretch>
            </p:blipFill>
            <p:spPr>
              <a:xfrm>
                <a:off x="609840" y="133560"/>
                <a:ext cx="8186760" cy="4633920"/>
              </a:xfrm>
              <a:prstGeom prst="rect">
                <a:avLst/>
              </a:prstGeom>
            </p:spPr>
          </p:pic>
        </mc:Fallback>
      </mc:AlternateContent>
    </p:spTree>
    <p:extLst>
      <p:ext uri="{BB962C8B-B14F-4D97-AF65-F5344CB8AC3E}">
        <p14:creationId xmlns:p14="http://schemas.microsoft.com/office/powerpoint/2010/main" val="3970923106"/>
      </p:ext>
    </p:extLst>
  </p:cSld>
  <p:clrMapOvr>
    <a:masterClrMapping/>
  </p:clrMapOvr>
  <p:transition spd="med">
    <p:wipe dir="r"/>
  </p:transition>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8A7DBE-ECD5-4145-AACF-02FE24171615}"/>
              </a:ext>
            </a:extLst>
          </p:cNvPr>
          <p:cNvSpPr>
            <a:spLocks noGrp="1"/>
          </p:cNvSpPr>
          <p:nvPr>
            <p:ph type="title"/>
          </p:nvPr>
        </p:nvSpPr>
        <p:spPr>
          <a:xfrm>
            <a:off x="0" y="0"/>
            <a:ext cx="7092254" cy="640080"/>
          </a:xfrm>
        </p:spPr>
        <p:txBody>
          <a:bodyPr/>
          <a:lstStyle/>
          <a:p>
            <a:r>
              <a:rPr lang="en-US" dirty="0"/>
              <a:t>Calculating the Confidence Interval</a:t>
            </a:r>
          </a:p>
        </p:txBody>
      </p:sp>
      <p:sp>
        <p:nvSpPr>
          <p:cNvPr id="3" name="Content Placeholder 2">
            <a:extLst>
              <a:ext uri="{FF2B5EF4-FFF2-40B4-BE49-F238E27FC236}">
                <a16:creationId xmlns:a16="http://schemas.microsoft.com/office/drawing/2014/main" id="{403DBEB0-0428-4278-AA0A-74278D20304C}"/>
              </a:ext>
            </a:extLst>
          </p:cNvPr>
          <p:cNvSpPr>
            <a:spLocks noGrp="1"/>
          </p:cNvSpPr>
          <p:nvPr>
            <p:ph sz="half" idx="13"/>
          </p:nvPr>
        </p:nvSpPr>
        <p:spPr>
          <a:xfrm>
            <a:off x="167847" y="716489"/>
            <a:ext cx="7736075" cy="3191632"/>
          </a:xfrm>
        </p:spPr>
        <p:txBody>
          <a:bodyPr/>
          <a:lstStyle/>
          <a:p>
            <a:pPr algn="l"/>
            <a:r>
              <a:rPr lang="en-US" b="1" i="0" dirty="0">
                <a:solidFill>
                  <a:srgbClr val="333333"/>
                </a:solidFill>
                <a:effectLst/>
                <a:latin typeface="Verdana" panose="020B0604030504040204" pitchFamily="34" charset="0"/>
              </a:rPr>
              <a:t>Step 1</a:t>
            </a:r>
            <a:r>
              <a:rPr lang="en-US" b="0" i="0" dirty="0">
                <a:solidFill>
                  <a:srgbClr val="333333"/>
                </a:solidFill>
                <a:effectLst/>
                <a:latin typeface="Verdana" panose="020B0604030504040204" pitchFamily="34" charset="0"/>
              </a:rPr>
              <a:t>: start with</a:t>
            </a:r>
          </a:p>
          <a:p>
            <a:pPr lvl="1">
              <a:buFont typeface="Arial" panose="020B0604020202020204" pitchFamily="34" charset="0"/>
              <a:buChar char="•"/>
            </a:pPr>
            <a:r>
              <a:rPr lang="en-US" b="0" i="0" dirty="0">
                <a:solidFill>
                  <a:srgbClr val="333333"/>
                </a:solidFill>
                <a:effectLst/>
                <a:latin typeface="Verdana" panose="020B0604030504040204" pitchFamily="34" charset="0"/>
              </a:rPr>
              <a:t>the number of observations </a:t>
            </a:r>
            <a:r>
              <a:rPr lang="en-US" b="1" i="0" dirty="0">
                <a:solidFill>
                  <a:srgbClr val="333333"/>
                </a:solidFill>
                <a:effectLst/>
                <a:latin typeface="Verdana" panose="020B0604030504040204" pitchFamily="34" charset="0"/>
              </a:rPr>
              <a:t>n</a:t>
            </a:r>
            <a:endParaRPr lang="en-US" b="0" i="0" dirty="0">
              <a:solidFill>
                <a:srgbClr val="333333"/>
              </a:solidFill>
              <a:effectLst/>
              <a:latin typeface="Verdana" panose="020B0604030504040204" pitchFamily="34" charset="0"/>
            </a:endParaRPr>
          </a:p>
          <a:p>
            <a:pPr lvl="1">
              <a:buFont typeface="Arial" panose="020B0604020202020204" pitchFamily="34" charset="0"/>
              <a:buChar char="•"/>
            </a:pPr>
            <a:r>
              <a:rPr lang="en-US" b="0" i="0" dirty="0">
                <a:solidFill>
                  <a:srgbClr val="333333"/>
                </a:solidFill>
                <a:effectLst/>
                <a:latin typeface="Verdana" panose="020B0604030504040204" pitchFamily="34" charset="0"/>
              </a:rPr>
              <a:t>the mean </a:t>
            </a:r>
            <a:r>
              <a:rPr lang="en-US" b="1" i="0" dirty="0">
                <a:solidFill>
                  <a:srgbClr val="333333"/>
                </a:solidFill>
                <a:effectLst/>
                <a:latin typeface="Verdana" panose="020B0604030504040204" pitchFamily="34" charset="0"/>
              </a:rPr>
              <a:t>X</a:t>
            </a:r>
            <a:endParaRPr lang="en-US" b="0" i="0" dirty="0">
              <a:solidFill>
                <a:srgbClr val="333333"/>
              </a:solidFill>
              <a:effectLst/>
              <a:latin typeface="Verdana" panose="020B0604030504040204" pitchFamily="34" charset="0"/>
            </a:endParaRPr>
          </a:p>
          <a:p>
            <a:pPr lvl="1">
              <a:buFont typeface="Arial" panose="020B0604020202020204" pitchFamily="34" charset="0"/>
              <a:buChar char="•"/>
            </a:pPr>
            <a:r>
              <a:rPr lang="en-US" b="0" i="0" dirty="0">
                <a:solidFill>
                  <a:srgbClr val="333333"/>
                </a:solidFill>
                <a:effectLst/>
                <a:latin typeface="Verdana" panose="020B0604030504040204" pitchFamily="34" charset="0"/>
              </a:rPr>
              <a:t>and the </a:t>
            </a:r>
            <a:r>
              <a:rPr lang="en-US" dirty="0">
                <a:solidFill>
                  <a:srgbClr val="333333"/>
                </a:solidFill>
                <a:latin typeface="Verdana" panose="020B0604030504040204" pitchFamily="34" charset="0"/>
                <a:hlinkClick r:id="rId2">
                  <a:extLst>
                    <a:ext uri="{A12FA001-AC4F-418D-AE19-62706E023703}">
                      <ahyp:hlinkClr xmlns:ahyp="http://schemas.microsoft.com/office/drawing/2018/hyperlinkcolor" val="tx"/>
                    </a:ext>
                  </a:extLst>
                </a:hlinkClick>
              </a:rPr>
              <a:t>standard deviation</a:t>
            </a:r>
            <a:r>
              <a:rPr lang="en-US" dirty="0">
                <a:solidFill>
                  <a:srgbClr val="333333"/>
                </a:solidFill>
                <a:latin typeface="Verdana" panose="020B0604030504040204" pitchFamily="34" charset="0"/>
              </a:rPr>
              <a:t> </a:t>
            </a:r>
            <a:r>
              <a:rPr lang="en-US" b="1" i="0" dirty="0">
                <a:solidFill>
                  <a:srgbClr val="333333"/>
                </a:solidFill>
                <a:effectLst/>
                <a:latin typeface="Verdana" panose="020B0604030504040204" pitchFamily="34" charset="0"/>
              </a:rPr>
              <a:t>s</a:t>
            </a:r>
            <a:endParaRPr lang="en-US" b="0" i="0" dirty="0">
              <a:solidFill>
                <a:srgbClr val="333333"/>
              </a:solidFill>
              <a:effectLst/>
              <a:latin typeface="Verdana" panose="020B0604030504040204" pitchFamily="34" charset="0"/>
            </a:endParaRPr>
          </a:p>
          <a:p>
            <a:pPr marL="0" indent="0">
              <a:buNone/>
            </a:pPr>
            <a:endParaRPr lang="en-US" dirty="0"/>
          </a:p>
        </p:txBody>
      </p:sp>
      <p:sp>
        <p:nvSpPr>
          <p:cNvPr id="4" name="TextBox 3">
            <a:extLst>
              <a:ext uri="{FF2B5EF4-FFF2-40B4-BE49-F238E27FC236}">
                <a16:creationId xmlns:a16="http://schemas.microsoft.com/office/drawing/2014/main" id="{842FB696-E502-40B6-B18A-3CD403E8FAA8}"/>
              </a:ext>
            </a:extLst>
          </p:cNvPr>
          <p:cNvSpPr txBox="1"/>
          <p:nvPr/>
        </p:nvSpPr>
        <p:spPr>
          <a:xfrm>
            <a:off x="1139868" y="1738443"/>
            <a:ext cx="6764054" cy="984885"/>
          </a:xfrm>
          <a:prstGeom prst="rect">
            <a:avLst/>
          </a:prstGeom>
          <a:noFill/>
        </p:spPr>
        <p:txBody>
          <a:bodyPr wrap="square" rtlCol="0">
            <a:spAutoFit/>
          </a:bodyPr>
          <a:lstStyle/>
          <a:p>
            <a:pPr algn="l"/>
            <a:r>
              <a:rPr lang="en-US" sz="1100" b="0" i="1" dirty="0">
                <a:solidFill>
                  <a:schemeClr val="bg1"/>
                </a:solidFill>
                <a:effectLst/>
                <a:latin typeface="Verdana" panose="020B0604030504040204" pitchFamily="34" charset="0"/>
              </a:rPr>
              <a:t>Note: we should use the standard deviation of the entire </a:t>
            </a:r>
            <a:r>
              <a:rPr lang="en-US" sz="1100" b="1" i="1" dirty="0">
                <a:solidFill>
                  <a:schemeClr val="bg1"/>
                </a:solidFill>
                <a:effectLst/>
                <a:latin typeface="Verdana" panose="020B0604030504040204" pitchFamily="34" charset="0"/>
              </a:rPr>
              <a:t>population</a:t>
            </a:r>
            <a:r>
              <a:rPr lang="en-US" sz="1100" b="0" i="1" dirty="0">
                <a:solidFill>
                  <a:schemeClr val="bg1"/>
                </a:solidFill>
                <a:effectLst/>
                <a:latin typeface="Verdana" panose="020B0604030504040204" pitchFamily="34" charset="0"/>
              </a:rPr>
              <a:t>, but in many cases we won't know it.</a:t>
            </a:r>
          </a:p>
          <a:p>
            <a:pPr algn="l"/>
            <a:r>
              <a:rPr lang="en-US" sz="1100" b="0" i="1" dirty="0">
                <a:solidFill>
                  <a:schemeClr val="bg1"/>
                </a:solidFill>
                <a:effectLst/>
                <a:latin typeface="Verdana" panose="020B0604030504040204" pitchFamily="34" charset="0"/>
              </a:rPr>
              <a:t>We can use the standard deviation for the </a:t>
            </a:r>
            <a:r>
              <a:rPr lang="en-US" sz="1100" b="1" i="1" dirty="0">
                <a:solidFill>
                  <a:schemeClr val="bg1"/>
                </a:solidFill>
                <a:effectLst/>
                <a:latin typeface="Verdana" panose="020B0604030504040204" pitchFamily="34" charset="0"/>
              </a:rPr>
              <a:t>sample</a:t>
            </a:r>
            <a:r>
              <a:rPr lang="en-US" sz="1100" b="0" i="1" dirty="0">
                <a:solidFill>
                  <a:schemeClr val="bg1"/>
                </a:solidFill>
                <a:effectLst/>
                <a:latin typeface="Verdana" panose="020B0604030504040204" pitchFamily="34" charset="0"/>
              </a:rPr>
              <a:t> if we have enough observations (at least n=30, hopefully more).</a:t>
            </a:r>
          </a:p>
          <a:p>
            <a:pPr>
              <a:spcBef>
                <a:spcPts val="0"/>
              </a:spcBef>
              <a:spcAft>
                <a:spcPts val="0"/>
              </a:spcAft>
              <a:buClr>
                <a:schemeClr val="bg1"/>
              </a:buClr>
            </a:pPr>
            <a:endParaRPr lang="en-US" sz="1400" dirty="0" err="1">
              <a:solidFill>
                <a:schemeClr val="bg2"/>
              </a:solidFill>
              <a:latin typeface="+mn-lt"/>
            </a:endParaRPr>
          </a:p>
        </p:txBody>
      </p:sp>
      <p:sp>
        <p:nvSpPr>
          <p:cNvPr id="6" name="TextBox 5">
            <a:extLst>
              <a:ext uri="{FF2B5EF4-FFF2-40B4-BE49-F238E27FC236}">
                <a16:creationId xmlns:a16="http://schemas.microsoft.com/office/drawing/2014/main" id="{BE653EAA-3599-4972-A707-159104F60712}"/>
              </a:ext>
            </a:extLst>
          </p:cNvPr>
          <p:cNvSpPr txBox="1"/>
          <p:nvPr/>
        </p:nvSpPr>
        <p:spPr>
          <a:xfrm>
            <a:off x="167847" y="2830368"/>
            <a:ext cx="5492656" cy="1538883"/>
          </a:xfrm>
          <a:prstGeom prst="rect">
            <a:avLst/>
          </a:prstGeom>
          <a:noFill/>
        </p:spPr>
        <p:txBody>
          <a:bodyPr wrap="square" rtlCol="0">
            <a:spAutoFit/>
          </a:bodyPr>
          <a:lstStyle/>
          <a:p>
            <a:pPr marL="171450" indent="-171450">
              <a:spcAft>
                <a:spcPts val="0"/>
              </a:spcAft>
              <a:buClr>
                <a:srgbClr val="AAAAAA"/>
              </a:buClr>
              <a:buFont typeface="Arial" pitchFamily="34" charset="0"/>
              <a:buChar char="•"/>
            </a:pPr>
            <a:r>
              <a:rPr lang="en-US" sz="1600" b="1" dirty="0">
                <a:solidFill>
                  <a:srgbClr val="333333"/>
                </a:solidFill>
                <a:latin typeface="Verdana" panose="020B0604030504040204" pitchFamily="34" charset="0"/>
                <a:cs typeface="Arial" panose="020B0604020202020204" pitchFamily="34" charset="0"/>
              </a:rPr>
              <a:t>Using our example:</a:t>
            </a:r>
          </a:p>
          <a:p>
            <a:pPr marL="171450" indent="-171450">
              <a:spcAft>
                <a:spcPts val="0"/>
              </a:spcAft>
              <a:buClr>
                <a:srgbClr val="AAAAAA"/>
              </a:buClr>
              <a:buFont typeface="Arial" pitchFamily="34" charset="0"/>
              <a:buChar char="•"/>
            </a:pPr>
            <a:endParaRPr lang="en-US" sz="1600" dirty="0">
              <a:solidFill>
                <a:srgbClr val="333333"/>
              </a:solidFill>
              <a:latin typeface="Verdana" panose="020B0604030504040204" pitchFamily="34" charset="0"/>
              <a:cs typeface="Arial" panose="020B0604020202020204" pitchFamily="34" charset="0"/>
            </a:endParaRPr>
          </a:p>
          <a:p>
            <a:pPr marL="628650" lvl="1" indent="-171450">
              <a:spcAft>
                <a:spcPts val="0"/>
              </a:spcAft>
              <a:buClr>
                <a:srgbClr val="AAAAAA"/>
              </a:buClr>
              <a:buFont typeface="Arial" pitchFamily="34" charset="0"/>
              <a:buChar char="•"/>
            </a:pPr>
            <a:r>
              <a:rPr lang="en-US" sz="1600" dirty="0">
                <a:solidFill>
                  <a:srgbClr val="333333"/>
                </a:solidFill>
                <a:latin typeface="Verdana" panose="020B0604030504040204" pitchFamily="34" charset="0"/>
                <a:cs typeface="Arial" panose="020B0604020202020204" pitchFamily="34" charset="0"/>
              </a:rPr>
              <a:t>number of observations n = </a:t>
            </a:r>
          </a:p>
          <a:p>
            <a:pPr marL="628650" lvl="1" indent="-171450">
              <a:spcAft>
                <a:spcPts val="0"/>
              </a:spcAft>
              <a:buClr>
                <a:srgbClr val="AAAAAA"/>
              </a:buClr>
              <a:buFont typeface="Arial" pitchFamily="34" charset="0"/>
              <a:buChar char="•"/>
            </a:pPr>
            <a:r>
              <a:rPr lang="en-US" sz="1600" dirty="0">
                <a:solidFill>
                  <a:srgbClr val="333333"/>
                </a:solidFill>
                <a:latin typeface="Verdana" panose="020B0604030504040204" pitchFamily="34" charset="0"/>
                <a:cs typeface="Arial" panose="020B0604020202020204" pitchFamily="34" charset="0"/>
              </a:rPr>
              <a:t>mean X = </a:t>
            </a:r>
          </a:p>
          <a:p>
            <a:pPr marL="628650" lvl="1" indent="-171450">
              <a:spcAft>
                <a:spcPts val="0"/>
              </a:spcAft>
              <a:buClr>
                <a:srgbClr val="AAAAAA"/>
              </a:buClr>
              <a:buFont typeface="Arial" pitchFamily="34" charset="0"/>
              <a:buChar char="•"/>
            </a:pPr>
            <a:r>
              <a:rPr lang="en-US" sz="1600" dirty="0">
                <a:solidFill>
                  <a:srgbClr val="333333"/>
                </a:solidFill>
                <a:latin typeface="Verdana" panose="020B0604030504040204" pitchFamily="34" charset="0"/>
                <a:cs typeface="Arial" panose="020B0604020202020204" pitchFamily="34" charset="0"/>
              </a:rPr>
              <a:t>standard deviation s = </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mc:Choice xmlns:p14="http://schemas.microsoft.com/office/powerpoint/2010/main" Requires="p14">
          <p:contentPart p14:bwMode="auto" r:id="rId3">
            <p14:nvContentPartPr>
              <p14:cNvPr id="5" name="Ink 4">
                <a:extLst>
                  <a:ext uri="{FF2B5EF4-FFF2-40B4-BE49-F238E27FC236}">
                    <a16:creationId xmlns:a16="http://schemas.microsoft.com/office/drawing/2014/main" id="{A90B4A5A-EA5B-43CB-875B-C0A30DA4A4BE}"/>
                  </a:ext>
                </a:extLst>
              </p14:cNvPr>
              <p14:cNvContentPartPr/>
              <p14:nvPr/>
            </p14:nvContentPartPr>
            <p14:xfrm>
              <a:off x="1209600" y="966960"/>
              <a:ext cx="5405760" cy="3105360"/>
            </p14:xfrm>
          </p:contentPart>
        </mc:Choice>
        <mc:Fallback>
          <p:pic>
            <p:nvPicPr>
              <p:cNvPr id="5" name="Ink 4">
                <a:extLst>
                  <a:ext uri="{FF2B5EF4-FFF2-40B4-BE49-F238E27FC236}">
                    <a16:creationId xmlns:a16="http://schemas.microsoft.com/office/drawing/2014/main" id="{A90B4A5A-EA5B-43CB-875B-C0A30DA4A4BE}"/>
                  </a:ext>
                </a:extLst>
              </p:cNvPr>
              <p:cNvPicPr/>
              <p:nvPr/>
            </p:nvPicPr>
            <p:blipFill>
              <a:blip r:embed="rId4"/>
              <a:stretch>
                <a:fillRect/>
              </a:stretch>
            </p:blipFill>
            <p:spPr>
              <a:xfrm>
                <a:off x="1200240" y="957600"/>
                <a:ext cx="5424480" cy="3124080"/>
              </a:xfrm>
              <a:prstGeom prst="rect">
                <a:avLst/>
              </a:prstGeom>
            </p:spPr>
          </p:pic>
        </mc:Fallback>
      </mc:AlternateContent>
    </p:spTree>
    <p:extLst>
      <p:ext uri="{BB962C8B-B14F-4D97-AF65-F5344CB8AC3E}">
        <p14:creationId xmlns:p14="http://schemas.microsoft.com/office/powerpoint/2010/main" val="1865839684"/>
      </p:ext>
    </p:extLst>
  </p:cSld>
  <p:clrMapOvr>
    <a:masterClrMapping/>
  </p:clrMapOvr>
  <p:transition spd="med">
    <p:wipe dir="r"/>
  </p:transition>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0DDA18-B66A-449B-98BD-B64ACD738D58}"/>
              </a:ext>
            </a:extLst>
          </p:cNvPr>
          <p:cNvSpPr>
            <a:spLocks noGrp="1"/>
          </p:cNvSpPr>
          <p:nvPr>
            <p:ph type="title"/>
          </p:nvPr>
        </p:nvSpPr>
        <p:spPr>
          <a:xfrm>
            <a:off x="0" y="0"/>
            <a:ext cx="7461772" cy="640080"/>
          </a:xfrm>
        </p:spPr>
        <p:txBody>
          <a:bodyPr/>
          <a:lstStyle/>
          <a:p>
            <a:r>
              <a:rPr lang="en-US" dirty="0"/>
              <a:t>Calculating the Confidence Interval</a:t>
            </a:r>
          </a:p>
        </p:txBody>
      </p:sp>
      <p:sp>
        <p:nvSpPr>
          <p:cNvPr id="3" name="Content Placeholder 2">
            <a:extLst>
              <a:ext uri="{FF2B5EF4-FFF2-40B4-BE49-F238E27FC236}">
                <a16:creationId xmlns:a16="http://schemas.microsoft.com/office/drawing/2014/main" id="{0DEC4DE1-D815-4500-A890-33F936580ADB}"/>
              </a:ext>
            </a:extLst>
          </p:cNvPr>
          <p:cNvSpPr>
            <a:spLocks noGrp="1"/>
          </p:cNvSpPr>
          <p:nvPr>
            <p:ph sz="half" idx="13"/>
          </p:nvPr>
        </p:nvSpPr>
        <p:spPr>
          <a:xfrm>
            <a:off x="68085" y="971550"/>
            <a:ext cx="7203719" cy="3200400"/>
          </a:xfrm>
        </p:spPr>
        <p:txBody>
          <a:bodyPr/>
          <a:lstStyle/>
          <a:p>
            <a:r>
              <a:rPr lang="en-US" b="1" i="0" dirty="0">
                <a:solidFill>
                  <a:srgbClr val="333333"/>
                </a:solidFill>
                <a:effectLst/>
                <a:latin typeface="Verdana" panose="020B0604030504040204" pitchFamily="34" charset="0"/>
              </a:rPr>
              <a:t>Step 2</a:t>
            </a:r>
            <a:r>
              <a:rPr lang="en-US" b="0" i="0" dirty="0">
                <a:solidFill>
                  <a:srgbClr val="333333"/>
                </a:solidFill>
                <a:effectLst/>
                <a:latin typeface="Verdana" panose="020B0604030504040204" pitchFamily="34" charset="0"/>
              </a:rPr>
              <a:t>: decide what Confidence Interval we want: 95% or 99% are common choices. Then find the "Z" value for that Confidence Interval here:</a:t>
            </a:r>
          </a:p>
          <a:p>
            <a:endParaRPr lang="en-US" dirty="0">
              <a:solidFill>
                <a:srgbClr val="333333"/>
              </a:solidFill>
              <a:latin typeface="Verdana" panose="020B0604030504040204" pitchFamily="34" charset="0"/>
            </a:endParaRPr>
          </a:p>
          <a:p>
            <a:endParaRPr lang="en-US" dirty="0">
              <a:solidFill>
                <a:srgbClr val="333333"/>
              </a:solidFill>
              <a:latin typeface="Verdana" panose="020B0604030504040204" pitchFamily="34" charset="0"/>
            </a:endParaRPr>
          </a:p>
          <a:p>
            <a:r>
              <a:rPr lang="en-US" dirty="0">
                <a:solidFill>
                  <a:srgbClr val="333333"/>
                </a:solidFill>
                <a:latin typeface="Verdana" panose="020B0604030504040204" pitchFamily="34" charset="0"/>
              </a:rPr>
              <a:t>For 95% the Z value is ? </a:t>
            </a:r>
            <a:endParaRPr lang="en-US" dirty="0"/>
          </a:p>
        </p:txBody>
      </p:sp>
      <p:pic>
        <p:nvPicPr>
          <p:cNvPr id="5" name="Picture 4">
            <a:extLst>
              <a:ext uri="{FF2B5EF4-FFF2-40B4-BE49-F238E27FC236}">
                <a16:creationId xmlns:a16="http://schemas.microsoft.com/office/drawing/2014/main" id="{5DC21A6E-251F-4C38-9C9F-D3F104798D9E}"/>
              </a:ext>
            </a:extLst>
          </p:cNvPr>
          <p:cNvPicPr>
            <a:picLocks noChangeAspect="1"/>
          </p:cNvPicPr>
          <p:nvPr/>
        </p:nvPicPr>
        <p:blipFill>
          <a:blip r:embed="rId2"/>
          <a:stretch>
            <a:fillRect/>
          </a:stretch>
        </p:blipFill>
        <p:spPr>
          <a:xfrm>
            <a:off x="7551941" y="732772"/>
            <a:ext cx="1523974" cy="3471275"/>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4877E21B-3F7E-4370-B308-9FD6471CC20C}"/>
                  </a:ext>
                </a:extLst>
              </p14:cNvPr>
              <p14:cNvContentPartPr/>
              <p14:nvPr/>
            </p14:nvContentPartPr>
            <p14:xfrm>
              <a:off x="876240" y="128520"/>
              <a:ext cx="8115840" cy="4886640"/>
            </p14:xfrm>
          </p:contentPart>
        </mc:Choice>
        <mc:Fallback>
          <p:pic>
            <p:nvPicPr>
              <p:cNvPr id="4" name="Ink 3">
                <a:extLst>
                  <a:ext uri="{FF2B5EF4-FFF2-40B4-BE49-F238E27FC236}">
                    <a16:creationId xmlns:a16="http://schemas.microsoft.com/office/drawing/2014/main" id="{4877E21B-3F7E-4370-B308-9FD6471CC20C}"/>
                  </a:ext>
                </a:extLst>
              </p:cNvPr>
              <p:cNvPicPr/>
              <p:nvPr/>
            </p:nvPicPr>
            <p:blipFill>
              <a:blip r:embed="rId4"/>
              <a:stretch>
                <a:fillRect/>
              </a:stretch>
            </p:blipFill>
            <p:spPr>
              <a:xfrm>
                <a:off x="866880" y="119160"/>
                <a:ext cx="8134560" cy="4905360"/>
              </a:xfrm>
              <a:prstGeom prst="rect">
                <a:avLst/>
              </a:prstGeom>
            </p:spPr>
          </p:pic>
        </mc:Fallback>
      </mc:AlternateContent>
    </p:spTree>
    <p:extLst>
      <p:ext uri="{BB962C8B-B14F-4D97-AF65-F5344CB8AC3E}">
        <p14:creationId xmlns:p14="http://schemas.microsoft.com/office/powerpoint/2010/main" val="3439140784"/>
      </p:ext>
    </p:extLst>
  </p:cSld>
  <p:clrMapOvr>
    <a:masterClrMapping/>
  </p:clrMapOvr>
  <p:transition spd="med">
    <p:wipe dir="r"/>
  </p:transition>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15F449-5FDA-4EBA-90F5-626CD9FC0F46}"/>
              </a:ext>
            </a:extLst>
          </p:cNvPr>
          <p:cNvSpPr>
            <a:spLocks noGrp="1"/>
          </p:cNvSpPr>
          <p:nvPr>
            <p:ph type="title"/>
          </p:nvPr>
        </p:nvSpPr>
        <p:spPr>
          <a:xfrm>
            <a:off x="0" y="0"/>
            <a:ext cx="8426276" cy="640080"/>
          </a:xfrm>
        </p:spPr>
        <p:txBody>
          <a:bodyPr/>
          <a:lstStyle/>
          <a:p>
            <a:r>
              <a:rPr lang="en-US" dirty="0"/>
              <a:t>Calculating the Confidence Interval</a:t>
            </a:r>
          </a:p>
        </p:txBody>
      </p:sp>
      <p:sp>
        <p:nvSpPr>
          <p:cNvPr id="3" name="Content Placeholder 2">
            <a:extLst>
              <a:ext uri="{FF2B5EF4-FFF2-40B4-BE49-F238E27FC236}">
                <a16:creationId xmlns:a16="http://schemas.microsoft.com/office/drawing/2014/main" id="{0E638BA1-5338-40A1-800A-32E33D88D3B6}"/>
              </a:ext>
            </a:extLst>
          </p:cNvPr>
          <p:cNvSpPr>
            <a:spLocks noGrp="1"/>
          </p:cNvSpPr>
          <p:nvPr>
            <p:ph sz="half" idx="13"/>
          </p:nvPr>
        </p:nvSpPr>
        <p:spPr>
          <a:xfrm>
            <a:off x="105219" y="810434"/>
            <a:ext cx="7967806" cy="3200400"/>
          </a:xfrm>
        </p:spPr>
        <p:txBody>
          <a:bodyPr/>
          <a:lstStyle/>
          <a:p>
            <a:pPr algn="l"/>
            <a:r>
              <a:rPr lang="en-US" b="1" i="0" dirty="0">
                <a:solidFill>
                  <a:srgbClr val="333333"/>
                </a:solidFill>
                <a:effectLst/>
                <a:latin typeface="Verdana" panose="020B0604030504040204" pitchFamily="34" charset="0"/>
              </a:rPr>
              <a:t>Step 3</a:t>
            </a:r>
            <a:r>
              <a:rPr lang="en-US" b="0" i="0" dirty="0">
                <a:solidFill>
                  <a:srgbClr val="333333"/>
                </a:solidFill>
                <a:effectLst/>
                <a:latin typeface="Verdana" panose="020B0604030504040204" pitchFamily="34" charset="0"/>
              </a:rPr>
              <a:t>: use that Z value in this formula for the Confidence Interval</a:t>
            </a:r>
          </a:p>
          <a:p>
            <a:endParaRPr lang="en-US" dirty="0"/>
          </a:p>
        </p:txBody>
      </p:sp>
      <p:pic>
        <p:nvPicPr>
          <p:cNvPr id="5" name="Picture 4">
            <a:extLst>
              <a:ext uri="{FF2B5EF4-FFF2-40B4-BE49-F238E27FC236}">
                <a16:creationId xmlns:a16="http://schemas.microsoft.com/office/drawing/2014/main" id="{615A0A7D-ECD1-4608-8DDB-F9DC3A1D6DA4}"/>
              </a:ext>
            </a:extLst>
          </p:cNvPr>
          <p:cNvPicPr>
            <a:picLocks noChangeAspect="1"/>
          </p:cNvPicPr>
          <p:nvPr/>
        </p:nvPicPr>
        <p:blipFill>
          <a:blip r:embed="rId2"/>
          <a:stretch>
            <a:fillRect/>
          </a:stretch>
        </p:blipFill>
        <p:spPr>
          <a:xfrm>
            <a:off x="3360650" y="1177903"/>
            <a:ext cx="1704975" cy="733425"/>
          </a:xfrm>
          <a:prstGeom prst="rect">
            <a:avLst/>
          </a:prstGeom>
        </p:spPr>
      </p:pic>
      <p:sp>
        <p:nvSpPr>
          <p:cNvPr id="6" name="TextBox 5">
            <a:extLst>
              <a:ext uri="{FF2B5EF4-FFF2-40B4-BE49-F238E27FC236}">
                <a16:creationId xmlns:a16="http://schemas.microsoft.com/office/drawing/2014/main" id="{A28B6B34-F37B-4F82-9498-C802902BF85B}"/>
              </a:ext>
            </a:extLst>
          </p:cNvPr>
          <p:cNvSpPr txBox="1"/>
          <p:nvPr/>
        </p:nvSpPr>
        <p:spPr>
          <a:xfrm>
            <a:off x="557407" y="2212377"/>
            <a:ext cx="6181596" cy="1862048"/>
          </a:xfrm>
          <a:prstGeom prst="rect">
            <a:avLst/>
          </a:prstGeom>
          <a:noFill/>
        </p:spPr>
        <p:txBody>
          <a:bodyPr wrap="square" rtlCol="0">
            <a:spAutoFit/>
          </a:bodyPr>
          <a:lstStyle/>
          <a:p>
            <a:pPr algn="l"/>
            <a:r>
              <a:rPr lang="en-US" sz="1100" b="1" i="0" dirty="0">
                <a:solidFill>
                  <a:srgbClr val="333333"/>
                </a:solidFill>
                <a:effectLst/>
                <a:latin typeface="Verdana" panose="020B0604030504040204" pitchFamily="34" charset="0"/>
              </a:rPr>
              <a:t>Where:</a:t>
            </a:r>
          </a:p>
          <a:p>
            <a:pPr algn="l"/>
            <a:endParaRPr lang="en-US" sz="1800" b="0" i="0" dirty="0">
              <a:solidFill>
                <a:srgbClr val="333333"/>
              </a:solidFill>
              <a:effectLst/>
              <a:latin typeface="Verdana" panose="020B0604030504040204" pitchFamily="34" charset="0"/>
            </a:endParaRPr>
          </a:p>
          <a:p>
            <a:pPr algn="l"/>
            <a:r>
              <a:rPr lang="en-US" sz="1800" b="1" i="0" dirty="0">
                <a:solidFill>
                  <a:srgbClr val="333333"/>
                </a:solidFill>
                <a:effectLst/>
                <a:latin typeface="Verdana" panose="020B0604030504040204" pitchFamily="34" charset="0"/>
              </a:rPr>
              <a:t>X</a:t>
            </a:r>
            <a:r>
              <a:rPr lang="en-US" sz="1800" b="0" i="0" dirty="0">
                <a:solidFill>
                  <a:srgbClr val="333333"/>
                </a:solidFill>
                <a:effectLst/>
                <a:latin typeface="Verdana" panose="020B0604030504040204" pitchFamily="34" charset="0"/>
              </a:rPr>
              <a:t> is the mean</a:t>
            </a:r>
          </a:p>
          <a:p>
            <a:pPr algn="l"/>
            <a:r>
              <a:rPr lang="en-US" sz="1800" b="1" i="0" dirty="0">
                <a:solidFill>
                  <a:srgbClr val="333333"/>
                </a:solidFill>
                <a:effectLst/>
                <a:latin typeface="Verdana" panose="020B0604030504040204" pitchFamily="34" charset="0"/>
              </a:rPr>
              <a:t>Z</a:t>
            </a:r>
            <a:r>
              <a:rPr lang="en-US" sz="1800" b="0" i="0" dirty="0">
                <a:solidFill>
                  <a:srgbClr val="333333"/>
                </a:solidFill>
                <a:effectLst/>
                <a:latin typeface="Verdana" panose="020B0604030504040204" pitchFamily="34" charset="0"/>
              </a:rPr>
              <a:t> is the chosen Z-value from the table above</a:t>
            </a:r>
          </a:p>
          <a:p>
            <a:pPr algn="l"/>
            <a:r>
              <a:rPr lang="en-US" sz="1800" b="1" i="0" dirty="0">
                <a:solidFill>
                  <a:srgbClr val="333333"/>
                </a:solidFill>
                <a:effectLst/>
                <a:latin typeface="Verdana" panose="020B0604030504040204" pitchFamily="34" charset="0"/>
              </a:rPr>
              <a:t>s</a:t>
            </a:r>
            <a:r>
              <a:rPr lang="en-US" sz="1800" b="0" i="0" dirty="0">
                <a:solidFill>
                  <a:srgbClr val="333333"/>
                </a:solidFill>
                <a:effectLst/>
                <a:latin typeface="Verdana" panose="020B0604030504040204" pitchFamily="34" charset="0"/>
              </a:rPr>
              <a:t> is the standard deviation</a:t>
            </a:r>
          </a:p>
          <a:p>
            <a:pPr algn="l"/>
            <a:r>
              <a:rPr lang="en-US" sz="1800" b="1" i="0" dirty="0">
                <a:solidFill>
                  <a:srgbClr val="333333"/>
                </a:solidFill>
                <a:effectLst/>
                <a:latin typeface="Verdana" panose="020B0604030504040204" pitchFamily="34" charset="0"/>
              </a:rPr>
              <a:t>n</a:t>
            </a:r>
            <a:r>
              <a:rPr lang="en-US" sz="1800" b="0" i="0" dirty="0">
                <a:solidFill>
                  <a:srgbClr val="333333"/>
                </a:solidFill>
                <a:effectLst/>
                <a:latin typeface="Verdana" panose="020B0604030504040204" pitchFamily="34" charset="0"/>
              </a:rPr>
              <a:t> is the number of observations</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0873560D-24F6-4F03-ABD0-E19065E0C0CC}"/>
                  </a:ext>
                </a:extLst>
              </p14:cNvPr>
              <p14:cNvContentPartPr/>
              <p14:nvPr/>
            </p14:nvContentPartPr>
            <p14:xfrm>
              <a:off x="1414440" y="1085760"/>
              <a:ext cx="6772680" cy="4034160"/>
            </p14:xfrm>
          </p:contentPart>
        </mc:Choice>
        <mc:Fallback>
          <p:pic>
            <p:nvPicPr>
              <p:cNvPr id="4" name="Ink 3">
                <a:extLst>
                  <a:ext uri="{FF2B5EF4-FFF2-40B4-BE49-F238E27FC236}">
                    <a16:creationId xmlns:a16="http://schemas.microsoft.com/office/drawing/2014/main" id="{0873560D-24F6-4F03-ABD0-E19065E0C0CC}"/>
                  </a:ext>
                </a:extLst>
              </p:cNvPr>
              <p:cNvPicPr/>
              <p:nvPr/>
            </p:nvPicPr>
            <p:blipFill>
              <a:blip r:embed="rId4"/>
              <a:stretch>
                <a:fillRect/>
              </a:stretch>
            </p:blipFill>
            <p:spPr>
              <a:xfrm>
                <a:off x="1405080" y="1076400"/>
                <a:ext cx="6791400" cy="4052880"/>
              </a:xfrm>
              <a:prstGeom prst="rect">
                <a:avLst/>
              </a:prstGeom>
            </p:spPr>
          </p:pic>
        </mc:Fallback>
      </mc:AlternateContent>
    </p:spTree>
    <p:extLst>
      <p:ext uri="{BB962C8B-B14F-4D97-AF65-F5344CB8AC3E}">
        <p14:creationId xmlns:p14="http://schemas.microsoft.com/office/powerpoint/2010/main" val="3707658921"/>
      </p:ext>
    </p:extLst>
  </p:cSld>
  <p:clrMapOvr>
    <a:masterClrMapping/>
  </p:clrMapOvr>
  <p:transition spd="med">
    <p:wipe dir="r"/>
  </p:transition>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83D9C2-670F-4E70-9C53-CE88153C551E}"/>
              </a:ext>
            </a:extLst>
          </p:cNvPr>
          <p:cNvSpPr>
            <a:spLocks noGrp="1"/>
          </p:cNvSpPr>
          <p:nvPr>
            <p:ph type="title"/>
          </p:nvPr>
        </p:nvSpPr>
        <p:spPr>
          <a:xfrm>
            <a:off x="0" y="0"/>
            <a:ext cx="7912709" cy="640080"/>
          </a:xfrm>
        </p:spPr>
        <p:txBody>
          <a:bodyPr/>
          <a:lstStyle/>
          <a:p>
            <a:r>
              <a:rPr lang="en-US" dirty="0"/>
              <a:t>Calculating the Confidence Interval</a:t>
            </a:r>
          </a:p>
        </p:txBody>
      </p:sp>
      <p:sp>
        <p:nvSpPr>
          <p:cNvPr id="3" name="Content Placeholder 2">
            <a:extLst>
              <a:ext uri="{FF2B5EF4-FFF2-40B4-BE49-F238E27FC236}">
                <a16:creationId xmlns:a16="http://schemas.microsoft.com/office/drawing/2014/main" id="{627CC880-5417-4365-ADF9-8BC157C06B80}"/>
              </a:ext>
            </a:extLst>
          </p:cNvPr>
          <p:cNvSpPr>
            <a:spLocks noGrp="1"/>
          </p:cNvSpPr>
          <p:nvPr>
            <p:ph sz="half" idx="13"/>
          </p:nvPr>
        </p:nvSpPr>
        <p:spPr>
          <a:xfrm>
            <a:off x="164108" y="971550"/>
            <a:ext cx="7748601" cy="3200400"/>
          </a:xfrm>
        </p:spPr>
        <p:txBody>
          <a:bodyPr/>
          <a:lstStyle/>
          <a:p>
            <a:r>
              <a:rPr lang="en-US" b="0" i="0" dirty="0">
                <a:solidFill>
                  <a:srgbClr val="333333"/>
                </a:solidFill>
                <a:effectLst/>
                <a:latin typeface="Verdana" panose="020B0604030504040204" pitchFamily="34" charset="0"/>
              </a:rPr>
              <a:t>And we have:</a:t>
            </a:r>
          </a:p>
          <a:p>
            <a:pPr marL="0" indent="0">
              <a:buNone/>
            </a:pPr>
            <a:endParaRPr lang="en-US" dirty="0">
              <a:solidFill>
                <a:srgbClr val="333333"/>
              </a:solidFill>
              <a:latin typeface="Verdana" panose="020B0604030504040204" pitchFamily="34" charset="0"/>
            </a:endParaRPr>
          </a:p>
          <a:p>
            <a:endParaRPr lang="en-US" dirty="0">
              <a:solidFill>
                <a:srgbClr val="333333"/>
              </a:solidFill>
              <a:latin typeface="Verdana" panose="020B0604030504040204" pitchFamily="34" charset="0"/>
            </a:endParaRPr>
          </a:p>
          <a:p>
            <a:r>
              <a:rPr lang="en-US" dirty="0"/>
              <a:t>Which is : </a:t>
            </a:r>
          </a:p>
          <a:p>
            <a:endParaRPr lang="en-US" dirty="0"/>
          </a:p>
          <a:p>
            <a:endParaRPr lang="en-US" dirty="0"/>
          </a:p>
          <a:p>
            <a:r>
              <a:rPr lang="en-US" dirty="0"/>
              <a:t>In other words : from 168.8cm to 181.2cm</a:t>
            </a: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2136D035-8144-4432-950F-522C6D1D2022}"/>
                  </a:ext>
                </a:extLst>
              </p14:cNvPr>
              <p14:cNvContentPartPr/>
              <p14:nvPr/>
            </p14:nvContentPartPr>
            <p14:xfrm>
              <a:off x="2185920" y="138240"/>
              <a:ext cx="6853680" cy="4491360"/>
            </p14:xfrm>
          </p:contentPart>
        </mc:Choice>
        <mc:Fallback>
          <p:pic>
            <p:nvPicPr>
              <p:cNvPr id="4" name="Ink 3">
                <a:extLst>
                  <a:ext uri="{FF2B5EF4-FFF2-40B4-BE49-F238E27FC236}">
                    <a16:creationId xmlns:a16="http://schemas.microsoft.com/office/drawing/2014/main" id="{2136D035-8144-4432-950F-522C6D1D2022}"/>
                  </a:ext>
                </a:extLst>
              </p:cNvPr>
              <p:cNvPicPr/>
              <p:nvPr/>
            </p:nvPicPr>
            <p:blipFill>
              <a:blip r:embed="rId3"/>
              <a:stretch>
                <a:fillRect/>
              </a:stretch>
            </p:blipFill>
            <p:spPr>
              <a:xfrm>
                <a:off x="2176560" y="128880"/>
                <a:ext cx="6872400" cy="4510080"/>
              </a:xfrm>
              <a:prstGeom prst="rect">
                <a:avLst/>
              </a:prstGeom>
            </p:spPr>
          </p:pic>
        </mc:Fallback>
      </mc:AlternateContent>
    </p:spTree>
    <p:extLst>
      <p:ext uri="{BB962C8B-B14F-4D97-AF65-F5344CB8AC3E}">
        <p14:creationId xmlns:p14="http://schemas.microsoft.com/office/powerpoint/2010/main" val="3796607438"/>
      </p:ext>
    </p:extLst>
  </p:cSld>
  <p:clrMapOvr>
    <a:masterClrMapping/>
  </p:clrMapOvr>
  <p:transition spd="med">
    <p:wipe dir="r"/>
  </p:transition>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4C68C2-59B9-4239-9B4A-3A58CCB07C16}"/>
              </a:ext>
            </a:extLst>
          </p:cNvPr>
          <p:cNvSpPr>
            <a:spLocks noGrp="1"/>
          </p:cNvSpPr>
          <p:nvPr>
            <p:ph type="title"/>
          </p:nvPr>
        </p:nvSpPr>
        <p:spPr>
          <a:xfrm>
            <a:off x="0" y="0"/>
            <a:ext cx="8113125" cy="640080"/>
          </a:xfrm>
        </p:spPr>
        <p:txBody>
          <a:bodyPr/>
          <a:lstStyle/>
          <a:p>
            <a:r>
              <a:rPr lang="en-US" dirty="0"/>
              <a:t>Calculating the Confidence Interval</a:t>
            </a:r>
          </a:p>
        </p:txBody>
      </p:sp>
      <p:pic>
        <p:nvPicPr>
          <p:cNvPr id="4" name="Content Placeholder 3">
            <a:extLst>
              <a:ext uri="{FF2B5EF4-FFF2-40B4-BE49-F238E27FC236}">
                <a16:creationId xmlns:a16="http://schemas.microsoft.com/office/drawing/2014/main" id="{03AF548B-15AC-4F77-9770-BB636F1EC721}"/>
              </a:ext>
            </a:extLst>
          </p:cNvPr>
          <p:cNvPicPr>
            <a:picLocks noGrp="1" noChangeAspect="1"/>
          </p:cNvPicPr>
          <p:nvPr>
            <p:ph sz="half" idx="13"/>
          </p:nvPr>
        </p:nvPicPr>
        <p:blipFill>
          <a:blip r:embed="rId2"/>
          <a:stretch>
            <a:fillRect/>
          </a:stretch>
        </p:blipFill>
        <p:spPr>
          <a:xfrm>
            <a:off x="5352420" y="1445559"/>
            <a:ext cx="3133725" cy="1590675"/>
          </a:xfrm>
          <a:prstGeom prst="rect">
            <a:avLst/>
          </a:prstGeom>
        </p:spPr>
      </p:pic>
      <p:sp>
        <p:nvSpPr>
          <p:cNvPr id="5" name="TextBox 4">
            <a:extLst>
              <a:ext uri="{FF2B5EF4-FFF2-40B4-BE49-F238E27FC236}">
                <a16:creationId xmlns:a16="http://schemas.microsoft.com/office/drawing/2014/main" id="{0D904D2C-5E24-4FBF-B493-D48E7F1C2EC7}"/>
              </a:ext>
            </a:extLst>
          </p:cNvPr>
          <p:cNvSpPr txBox="1"/>
          <p:nvPr/>
        </p:nvSpPr>
        <p:spPr>
          <a:xfrm>
            <a:off x="344466" y="1435796"/>
            <a:ext cx="3908120" cy="1600438"/>
          </a:xfrm>
          <a:prstGeom prst="rect">
            <a:avLst/>
          </a:prstGeom>
          <a:noFill/>
        </p:spPr>
        <p:txBody>
          <a:bodyPr wrap="square" rtlCol="0">
            <a:spAutoFit/>
          </a:bodyPr>
          <a:lstStyle/>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The 95% confidence interval is : </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This says the true mean of all men (if we could measure all their heights_ is likely to be between 168.8cm and 181.2cm</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But is might not be !!</a:t>
            </a:r>
          </a:p>
        </p:txBody>
      </p:sp>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0BDA4BD6-075B-47BF-929C-60748381D1BB}"/>
                  </a:ext>
                </a:extLst>
              </p14:cNvPr>
              <p14:cNvContentPartPr/>
              <p14:nvPr/>
            </p14:nvContentPartPr>
            <p14:xfrm>
              <a:off x="442800" y="1500120"/>
              <a:ext cx="7506000" cy="2310120"/>
            </p14:xfrm>
          </p:contentPart>
        </mc:Choice>
        <mc:Fallback>
          <p:pic>
            <p:nvPicPr>
              <p:cNvPr id="3" name="Ink 2">
                <a:extLst>
                  <a:ext uri="{FF2B5EF4-FFF2-40B4-BE49-F238E27FC236}">
                    <a16:creationId xmlns:a16="http://schemas.microsoft.com/office/drawing/2014/main" id="{0BDA4BD6-075B-47BF-929C-60748381D1BB}"/>
                  </a:ext>
                </a:extLst>
              </p:cNvPr>
              <p:cNvPicPr/>
              <p:nvPr/>
            </p:nvPicPr>
            <p:blipFill>
              <a:blip r:embed="rId4"/>
              <a:stretch>
                <a:fillRect/>
              </a:stretch>
            </p:blipFill>
            <p:spPr>
              <a:xfrm>
                <a:off x="433440" y="1490760"/>
                <a:ext cx="7524720" cy="2328840"/>
              </a:xfrm>
              <a:prstGeom prst="rect">
                <a:avLst/>
              </a:prstGeom>
            </p:spPr>
          </p:pic>
        </mc:Fallback>
      </mc:AlternateContent>
    </p:spTree>
    <p:extLst>
      <p:ext uri="{BB962C8B-B14F-4D97-AF65-F5344CB8AC3E}">
        <p14:creationId xmlns:p14="http://schemas.microsoft.com/office/powerpoint/2010/main" val="1038878434"/>
      </p:ext>
    </p:extLst>
  </p:cSld>
  <p:clrMapOvr>
    <a:masterClrMapping/>
  </p:clrMapOvr>
  <p:transition spd="med">
    <p:wipe dir="r"/>
  </p:transition>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20D544-3D95-4BDB-8FAA-6B944EED4ED1}"/>
              </a:ext>
            </a:extLst>
          </p:cNvPr>
          <p:cNvSpPr>
            <a:spLocks noGrp="1"/>
          </p:cNvSpPr>
          <p:nvPr>
            <p:ph type="title"/>
          </p:nvPr>
        </p:nvSpPr>
        <p:spPr>
          <a:xfrm>
            <a:off x="43841" y="136266"/>
            <a:ext cx="6964471" cy="640080"/>
          </a:xfrm>
        </p:spPr>
        <p:txBody>
          <a:bodyPr/>
          <a:lstStyle/>
          <a:p>
            <a:r>
              <a:rPr lang="en-US" dirty="0"/>
              <a:t>Example 2 : Apple Orchid</a:t>
            </a:r>
          </a:p>
        </p:txBody>
      </p:sp>
      <p:pic>
        <p:nvPicPr>
          <p:cNvPr id="5" name="Content Placeholder 4" descr="A pile of green fruit&#10;&#10;Description automatically generated with low confidence">
            <a:extLst>
              <a:ext uri="{FF2B5EF4-FFF2-40B4-BE49-F238E27FC236}">
                <a16:creationId xmlns:a16="http://schemas.microsoft.com/office/drawing/2014/main" id="{17547D13-31EA-4BB8-AE5B-1A0B454CF8A5}"/>
              </a:ext>
            </a:extLst>
          </p:cNvPr>
          <p:cNvPicPr>
            <a:picLocks noGrp="1" noChangeAspect="1"/>
          </p:cNvPicPr>
          <p:nvPr>
            <p:ph sz="half" idx="13"/>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6714954" y="1242164"/>
            <a:ext cx="2363486" cy="1645085"/>
          </a:xfrm>
        </p:spPr>
      </p:pic>
      <p:sp>
        <p:nvSpPr>
          <p:cNvPr id="6" name="TextBox 5">
            <a:extLst>
              <a:ext uri="{FF2B5EF4-FFF2-40B4-BE49-F238E27FC236}">
                <a16:creationId xmlns:a16="http://schemas.microsoft.com/office/drawing/2014/main" id="{BD8C6548-2BCC-46AE-8BB5-9220E89FA028}"/>
              </a:ext>
            </a:extLst>
          </p:cNvPr>
          <p:cNvSpPr txBox="1"/>
          <p:nvPr/>
        </p:nvSpPr>
        <p:spPr>
          <a:xfrm>
            <a:off x="309818" y="1055978"/>
            <a:ext cx="5054252" cy="1831271"/>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Are the apples big enough?</a:t>
            </a:r>
          </a:p>
          <a:p>
            <a:pPr algn="l"/>
            <a:endParaRPr lang="en-US" sz="1100" b="0" i="0" dirty="0">
              <a:solidFill>
                <a:srgbClr val="333333"/>
              </a:solidFill>
              <a:effectLst/>
              <a:latin typeface="Verdana" panose="020B0604030504040204" pitchFamily="34" charset="0"/>
            </a:endParaRPr>
          </a:p>
          <a:p>
            <a:pPr algn="l"/>
            <a:r>
              <a:rPr lang="en-US" sz="1100" b="0" i="0" dirty="0">
                <a:solidFill>
                  <a:srgbClr val="333333"/>
                </a:solidFill>
                <a:effectLst/>
                <a:latin typeface="Verdana" panose="020B0604030504040204" pitchFamily="34" charset="0"/>
              </a:rPr>
              <a:t>There are hundreds of apples on the trees, so you randomly choose just </a:t>
            </a:r>
            <a:r>
              <a:rPr lang="en-US" sz="1100" b="1" i="0" dirty="0">
                <a:solidFill>
                  <a:srgbClr val="333333"/>
                </a:solidFill>
                <a:effectLst/>
                <a:latin typeface="Verdana" panose="020B0604030504040204" pitchFamily="34" charset="0"/>
              </a:rPr>
              <a:t>46</a:t>
            </a:r>
            <a:r>
              <a:rPr lang="en-US" sz="1100" b="0" i="0" dirty="0">
                <a:solidFill>
                  <a:srgbClr val="333333"/>
                </a:solidFill>
                <a:effectLst/>
                <a:latin typeface="Verdana" panose="020B0604030504040204" pitchFamily="34" charset="0"/>
              </a:rPr>
              <a:t> apples and get:</a:t>
            </a:r>
          </a:p>
          <a:p>
            <a:pPr algn="l"/>
            <a:endParaRPr lang="en-US" sz="1100" b="0" i="0" dirty="0">
              <a:solidFill>
                <a:srgbClr val="333333"/>
              </a:solidFill>
              <a:effectLst/>
              <a:latin typeface="Verdana" panose="020B0604030504040204" pitchFamily="34" charset="0"/>
            </a:endParaRPr>
          </a:p>
          <a:p>
            <a:pPr marL="171450" indent="-171450" algn="l">
              <a:buFont typeface="Arial" panose="020B0604020202020204" pitchFamily="34" charset="0"/>
              <a:buChar char="•"/>
            </a:pPr>
            <a:r>
              <a:rPr lang="en-US" sz="1100" b="0" i="0" dirty="0">
                <a:solidFill>
                  <a:srgbClr val="333333"/>
                </a:solidFill>
                <a:effectLst/>
                <a:latin typeface="Verdana" panose="020B0604030504040204" pitchFamily="34" charset="0"/>
              </a:rPr>
              <a:t>a Mean of </a:t>
            </a:r>
            <a:r>
              <a:rPr lang="en-US" sz="1100" b="1" i="0" dirty="0">
                <a:solidFill>
                  <a:srgbClr val="333333"/>
                </a:solidFill>
                <a:effectLst/>
                <a:latin typeface="Verdana" panose="020B0604030504040204" pitchFamily="34" charset="0"/>
              </a:rPr>
              <a:t>86</a:t>
            </a:r>
            <a:endParaRPr lang="en-US" sz="1100" b="0" i="0" dirty="0">
              <a:solidFill>
                <a:srgbClr val="333333"/>
              </a:solidFill>
              <a:effectLst/>
              <a:latin typeface="Verdana" panose="020B0604030504040204" pitchFamily="34" charset="0"/>
            </a:endParaRPr>
          </a:p>
          <a:p>
            <a:pPr marL="171450" indent="-171450" algn="l">
              <a:buFont typeface="Arial" panose="020B0604020202020204" pitchFamily="34" charset="0"/>
              <a:buChar char="•"/>
            </a:pPr>
            <a:r>
              <a:rPr lang="en-US" sz="1100" b="0" i="0" dirty="0">
                <a:solidFill>
                  <a:srgbClr val="333333"/>
                </a:solidFill>
                <a:effectLst/>
                <a:latin typeface="Verdana" panose="020B0604030504040204" pitchFamily="34" charset="0"/>
              </a:rPr>
              <a:t>a Standard Deviation of </a:t>
            </a:r>
            <a:r>
              <a:rPr lang="en-US" sz="1100" b="1" i="0" dirty="0">
                <a:solidFill>
                  <a:srgbClr val="333333"/>
                </a:solidFill>
                <a:effectLst/>
                <a:latin typeface="Verdana" panose="020B0604030504040204" pitchFamily="34" charset="0"/>
              </a:rPr>
              <a:t>6.2</a:t>
            </a:r>
          </a:p>
          <a:p>
            <a:pPr algn="l"/>
            <a:endParaRPr lang="en-US" sz="1100" b="0" i="0" dirty="0">
              <a:solidFill>
                <a:srgbClr val="333333"/>
              </a:solidFill>
              <a:effectLst/>
              <a:latin typeface="Verdana" panose="020B0604030504040204" pitchFamily="34" charset="0"/>
            </a:endParaRPr>
          </a:p>
          <a:p>
            <a:pPr algn="l"/>
            <a:r>
              <a:rPr lang="en-US" sz="1100" b="0" i="0" dirty="0">
                <a:solidFill>
                  <a:srgbClr val="333333"/>
                </a:solidFill>
                <a:effectLst/>
                <a:latin typeface="Verdana" panose="020B0604030504040204" pitchFamily="34" charset="0"/>
              </a:rPr>
              <a:t>So, let's calculate:</a:t>
            </a:r>
          </a:p>
          <a:p>
            <a:pPr>
              <a:spcBef>
                <a:spcPts val="0"/>
              </a:spcBef>
              <a:spcAft>
                <a:spcPts val="0"/>
              </a:spcAft>
              <a:buClr>
                <a:schemeClr val="bg1"/>
              </a:buClr>
            </a:pPr>
            <a:endParaRPr lang="en-US" sz="1400" dirty="0" err="1">
              <a:solidFill>
                <a:schemeClr val="bg2"/>
              </a:solidFill>
              <a:latin typeface="+mn-lt"/>
            </a:endParaRPr>
          </a:p>
        </p:txBody>
      </p:sp>
      <p:pic>
        <p:nvPicPr>
          <p:cNvPr id="8" name="Picture 7">
            <a:extLst>
              <a:ext uri="{FF2B5EF4-FFF2-40B4-BE49-F238E27FC236}">
                <a16:creationId xmlns:a16="http://schemas.microsoft.com/office/drawing/2014/main" id="{17210537-F062-4A28-A9BF-361911C79C82}"/>
              </a:ext>
            </a:extLst>
          </p:cNvPr>
          <p:cNvPicPr>
            <a:picLocks noChangeAspect="1"/>
          </p:cNvPicPr>
          <p:nvPr/>
        </p:nvPicPr>
        <p:blipFill>
          <a:blip r:embed="rId5"/>
          <a:stretch>
            <a:fillRect/>
          </a:stretch>
        </p:blipFill>
        <p:spPr>
          <a:xfrm>
            <a:off x="1093869" y="3178806"/>
            <a:ext cx="1743075" cy="752475"/>
          </a:xfrm>
          <a:prstGeom prst="rect">
            <a:avLst/>
          </a:prstGeom>
        </p:spPr>
      </p:pic>
      <mc:AlternateContent xmlns:mc="http://schemas.openxmlformats.org/markup-compatibility/2006">
        <mc:Choice xmlns:p14="http://schemas.microsoft.com/office/powerpoint/2010/main" Requires="p14">
          <p:contentPart p14:bwMode="auto" r:id="rId6">
            <p14:nvContentPartPr>
              <p14:cNvPr id="3" name="Ink 2">
                <a:extLst>
                  <a:ext uri="{FF2B5EF4-FFF2-40B4-BE49-F238E27FC236}">
                    <a16:creationId xmlns:a16="http://schemas.microsoft.com/office/drawing/2014/main" id="{2D9B63A4-F647-49BF-97EF-67D5AD7D160D}"/>
                  </a:ext>
                </a:extLst>
              </p14:cNvPr>
              <p14:cNvContentPartPr/>
              <p14:nvPr/>
            </p14:nvContentPartPr>
            <p14:xfrm>
              <a:off x="357120" y="81000"/>
              <a:ext cx="8654040" cy="4177080"/>
            </p14:xfrm>
          </p:contentPart>
        </mc:Choice>
        <mc:Fallback>
          <p:pic>
            <p:nvPicPr>
              <p:cNvPr id="3" name="Ink 2">
                <a:extLst>
                  <a:ext uri="{FF2B5EF4-FFF2-40B4-BE49-F238E27FC236}">
                    <a16:creationId xmlns:a16="http://schemas.microsoft.com/office/drawing/2014/main" id="{2D9B63A4-F647-49BF-97EF-67D5AD7D160D}"/>
                  </a:ext>
                </a:extLst>
              </p:cNvPr>
              <p:cNvPicPr/>
              <p:nvPr/>
            </p:nvPicPr>
            <p:blipFill>
              <a:blip r:embed="rId7"/>
              <a:stretch>
                <a:fillRect/>
              </a:stretch>
            </p:blipFill>
            <p:spPr>
              <a:xfrm>
                <a:off x="347760" y="71640"/>
                <a:ext cx="8672760" cy="4195800"/>
              </a:xfrm>
              <a:prstGeom prst="rect">
                <a:avLst/>
              </a:prstGeom>
            </p:spPr>
          </p:pic>
        </mc:Fallback>
      </mc:AlternateContent>
    </p:spTree>
    <p:extLst>
      <p:ext uri="{BB962C8B-B14F-4D97-AF65-F5344CB8AC3E}">
        <p14:creationId xmlns:p14="http://schemas.microsoft.com/office/powerpoint/2010/main" val="4016346131"/>
      </p:ext>
    </p:extLst>
  </p:cSld>
  <p:clrMapOvr>
    <a:masterClrMapping/>
  </p:clrMapOvr>
  <p:transition spd="med">
    <p:wipe dir="r"/>
  </p:transition>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AA5473-8694-42B5-81B2-F0B3C71D3FD1}"/>
              </a:ext>
            </a:extLst>
          </p:cNvPr>
          <p:cNvSpPr>
            <a:spLocks noGrp="1"/>
          </p:cNvSpPr>
          <p:nvPr>
            <p:ph type="title"/>
          </p:nvPr>
        </p:nvSpPr>
        <p:spPr>
          <a:xfrm>
            <a:off x="166578" y="22860"/>
            <a:ext cx="5426292" cy="640080"/>
          </a:xfrm>
        </p:spPr>
        <p:txBody>
          <a:bodyPr/>
          <a:lstStyle/>
          <a:p>
            <a:r>
              <a:rPr lang="en-US" dirty="0"/>
              <a:t>Example 2 : Apple Orchid</a:t>
            </a:r>
          </a:p>
        </p:txBody>
      </p:sp>
      <p:sp>
        <p:nvSpPr>
          <p:cNvPr id="3" name="Content Placeholder 2">
            <a:extLst>
              <a:ext uri="{FF2B5EF4-FFF2-40B4-BE49-F238E27FC236}">
                <a16:creationId xmlns:a16="http://schemas.microsoft.com/office/drawing/2014/main" id="{9EF8263D-EC76-45EB-8ED8-C2E12D55CA14}"/>
              </a:ext>
            </a:extLst>
          </p:cNvPr>
          <p:cNvSpPr>
            <a:spLocks noGrp="1"/>
          </p:cNvSpPr>
          <p:nvPr>
            <p:ph sz="half" idx="13"/>
          </p:nvPr>
        </p:nvSpPr>
        <p:spPr>
          <a:xfrm>
            <a:off x="166578" y="735278"/>
            <a:ext cx="7441713" cy="3200400"/>
          </a:xfrm>
        </p:spPr>
        <p:txBody>
          <a:bodyPr/>
          <a:lstStyle/>
          <a:p>
            <a:pPr algn="l"/>
            <a:r>
              <a:rPr lang="en-US" b="0" i="0" dirty="0">
                <a:solidFill>
                  <a:srgbClr val="333333"/>
                </a:solidFill>
                <a:effectLst/>
                <a:latin typeface="Verdana" panose="020B0604030504040204" pitchFamily="34" charset="0"/>
              </a:rPr>
              <a:t>We know:</a:t>
            </a:r>
          </a:p>
          <a:p>
            <a:pPr lvl="1">
              <a:buFont typeface="Arial" panose="020B0604020202020204" pitchFamily="34" charset="0"/>
              <a:buChar char="•"/>
            </a:pPr>
            <a:r>
              <a:rPr lang="en-US" b="1" i="0" dirty="0">
                <a:solidFill>
                  <a:srgbClr val="333333"/>
                </a:solidFill>
                <a:effectLst/>
                <a:latin typeface="Verdana" panose="020B0604030504040204" pitchFamily="34" charset="0"/>
              </a:rPr>
              <a:t>X</a:t>
            </a:r>
            <a:r>
              <a:rPr lang="en-US" b="0" i="0" dirty="0">
                <a:solidFill>
                  <a:srgbClr val="333333"/>
                </a:solidFill>
                <a:effectLst/>
                <a:latin typeface="Verdana" panose="020B0604030504040204" pitchFamily="34" charset="0"/>
              </a:rPr>
              <a:t> is the mean = 86</a:t>
            </a:r>
          </a:p>
          <a:p>
            <a:pPr lvl="1">
              <a:buFont typeface="Arial" panose="020B0604020202020204" pitchFamily="34" charset="0"/>
              <a:buChar char="•"/>
            </a:pPr>
            <a:r>
              <a:rPr lang="en-US" b="1" i="0" dirty="0">
                <a:solidFill>
                  <a:srgbClr val="333333"/>
                </a:solidFill>
                <a:effectLst/>
                <a:latin typeface="Verdana" panose="020B0604030504040204" pitchFamily="34" charset="0"/>
              </a:rPr>
              <a:t>Z</a:t>
            </a:r>
            <a:r>
              <a:rPr lang="en-US" b="0" i="0" dirty="0">
                <a:solidFill>
                  <a:srgbClr val="333333"/>
                </a:solidFill>
                <a:effectLst/>
                <a:latin typeface="Verdana" panose="020B0604030504040204" pitchFamily="34" charset="0"/>
              </a:rPr>
              <a:t> is the Z-value = 1.960 (from the table above for 95%)</a:t>
            </a:r>
          </a:p>
          <a:p>
            <a:pPr lvl="1">
              <a:buFont typeface="Arial" panose="020B0604020202020204" pitchFamily="34" charset="0"/>
              <a:buChar char="•"/>
            </a:pPr>
            <a:r>
              <a:rPr lang="en-US" b="1" i="0" dirty="0">
                <a:solidFill>
                  <a:srgbClr val="333333"/>
                </a:solidFill>
                <a:effectLst/>
                <a:latin typeface="Verdana" panose="020B0604030504040204" pitchFamily="34" charset="0"/>
              </a:rPr>
              <a:t>s</a:t>
            </a:r>
            <a:r>
              <a:rPr lang="en-US" b="0" i="0" dirty="0">
                <a:solidFill>
                  <a:srgbClr val="333333"/>
                </a:solidFill>
                <a:effectLst/>
                <a:latin typeface="Verdana" panose="020B0604030504040204" pitchFamily="34" charset="0"/>
              </a:rPr>
              <a:t> is the standard deviation = 6.2</a:t>
            </a:r>
          </a:p>
          <a:p>
            <a:pPr lvl="1">
              <a:buFont typeface="Arial" panose="020B0604020202020204" pitchFamily="34" charset="0"/>
              <a:buChar char="•"/>
            </a:pPr>
            <a:r>
              <a:rPr lang="en-US" b="1" i="0" dirty="0">
                <a:solidFill>
                  <a:srgbClr val="333333"/>
                </a:solidFill>
                <a:effectLst/>
                <a:latin typeface="Verdana" panose="020B0604030504040204" pitchFamily="34" charset="0"/>
              </a:rPr>
              <a:t>n</a:t>
            </a:r>
            <a:r>
              <a:rPr lang="en-US" b="0" i="0" dirty="0">
                <a:solidFill>
                  <a:srgbClr val="333333"/>
                </a:solidFill>
                <a:effectLst/>
                <a:latin typeface="Verdana" panose="020B0604030504040204" pitchFamily="34" charset="0"/>
              </a:rPr>
              <a:t> is the number of observations = 46</a:t>
            </a:r>
          </a:p>
          <a:p>
            <a:pPr lvl="1">
              <a:buFont typeface="Arial" panose="020B0604020202020204" pitchFamily="34" charset="0"/>
              <a:buChar char="•"/>
            </a:pPr>
            <a:endParaRPr lang="en-US" dirty="0">
              <a:solidFill>
                <a:srgbClr val="333333"/>
              </a:solidFill>
              <a:latin typeface="Verdana" panose="020B0604030504040204" pitchFamily="34" charset="0"/>
            </a:endParaRPr>
          </a:p>
          <a:p>
            <a:pPr lvl="1">
              <a:buFont typeface="Arial" panose="020B0604020202020204" pitchFamily="34" charset="0"/>
              <a:buChar char="•"/>
            </a:pPr>
            <a:endParaRPr lang="en-US" b="0" i="0" dirty="0">
              <a:solidFill>
                <a:srgbClr val="333333"/>
              </a:solidFill>
              <a:effectLst/>
              <a:latin typeface="Verdana" panose="020B0604030504040204" pitchFamily="34" charset="0"/>
            </a:endParaRPr>
          </a:p>
          <a:p>
            <a:pPr marL="342900" lvl="1" indent="0">
              <a:buNone/>
            </a:pPr>
            <a:endParaRPr lang="en-US" b="0" i="0" dirty="0">
              <a:solidFill>
                <a:srgbClr val="333333"/>
              </a:solidFill>
              <a:effectLst/>
              <a:latin typeface="Verdana" panose="020B0604030504040204" pitchFamily="34" charset="0"/>
            </a:endParaRPr>
          </a:p>
          <a:p>
            <a:endParaRPr lang="en-US" dirty="0"/>
          </a:p>
        </p:txBody>
      </p:sp>
      <p:sp>
        <p:nvSpPr>
          <p:cNvPr id="4" name="TextBox 3">
            <a:extLst>
              <a:ext uri="{FF2B5EF4-FFF2-40B4-BE49-F238E27FC236}">
                <a16:creationId xmlns:a16="http://schemas.microsoft.com/office/drawing/2014/main" id="{8032E575-B58E-4028-B8E3-3B406B50E351}"/>
              </a:ext>
            </a:extLst>
          </p:cNvPr>
          <p:cNvSpPr txBox="1"/>
          <p:nvPr/>
        </p:nvSpPr>
        <p:spPr>
          <a:xfrm>
            <a:off x="166578" y="3122112"/>
            <a:ext cx="8457592" cy="261610"/>
          </a:xfrm>
          <a:prstGeom prst="rect">
            <a:avLst/>
          </a:prstGeom>
          <a:noFill/>
        </p:spPr>
        <p:txBody>
          <a:bodyPr wrap="square" rtlCol="0">
            <a:spAutoFit/>
          </a:bodyPr>
          <a:lstStyle/>
          <a:p>
            <a:pPr>
              <a:spcBef>
                <a:spcPts val="0"/>
              </a:spcBef>
              <a:spcAft>
                <a:spcPts val="0"/>
              </a:spcAft>
              <a:buClr>
                <a:schemeClr val="bg1"/>
              </a:buClr>
            </a:pPr>
            <a:r>
              <a:rPr lang="en-US" sz="1100" b="0" i="0" dirty="0">
                <a:solidFill>
                  <a:srgbClr val="333333"/>
                </a:solidFill>
                <a:effectLst/>
                <a:latin typeface="Verdana" panose="020B0604030504040204" pitchFamily="34" charset="0"/>
              </a:rPr>
              <a:t>So, the true mean (of all the hundreds of apples) is </a:t>
            </a:r>
            <a:r>
              <a:rPr lang="en-US" sz="1100" b="1" i="0" dirty="0">
                <a:solidFill>
                  <a:srgbClr val="333333"/>
                </a:solidFill>
                <a:effectLst/>
                <a:latin typeface="Verdana" panose="020B0604030504040204" pitchFamily="34" charset="0"/>
              </a:rPr>
              <a:t>likely</a:t>
            </a:r>
            <a:r>
              <a:rPr lang="en-US" sz="1100" b="0" i="0" dirty="0">
                <a:solidFill>
                  <a:srgbClr val="333333"/>
                </a:solidFill>
                <a:effectLst/>
                <a:latin typeface="Verdana" panose="020B0604030504040204" pitchFamily="34" charset="0"/>
              </a:rPr>
              <a:t> to be between 84.21 and 87.79</a:t>
            </a:r>
            <a:endParaRPr lang="en-US" sz="1400" dirty="0">
              <a:solidFill>
                <a:schemeClr val="bg2"/>
              </a:solidFill>
              <a:latin typeface="+mn-lt"/>
            </a:endParaRPr>
          </a:p>
        </p:txBody>
      </p:sp>
      <mc:AlternateContent xmlns:mc="http://schemas.openxmlformats.org/markup-compatibility/2006">
        <mc:Choice xmlns:p14="http://schemas.microsoft.com/office/powerpoint/2010/main" Requires="p14">
          <p:contentPart p14:bwMode="auto" r:id="rId2">
            <p14:nvContentPartPr>
              <p14:cNvPr id="5" name="Ink 4">
                <a:extLst>
                  <a:ext uri="{FF2B5EF4-FFF2-40B4-BE49-F238E27FC236}">
                    <a16:creationId xmlns:a16="http://schemas.microsoft.com/office/drawing/2014/main" id="{A94B9033-2E1D-4498-ADE0-BFFF5471ABCD}"/>
                  </a:ext>
                </a:extLst>
              </p14:cNvPr>
              <p14:cNvContentPartPr/>
              <p14:nvPr/>
            </p14:nvContentPartPr>
            <p14:xfrm>
              <a:off x="1824120" y="404640"/>
              <a:ext cx="6496200" cy="4143960"/>
            </p14:xfrm>
          </p:contentPart>
        </mc:Choice>
        <mc:Fallback>
          <p:pic>
            <p:nvPicPr>
              <p:cNvPr id="5" name="Ink 4">
                <a:extLst>
                  <a:ext uri="{FF2B5EF4-FFF2-40B4-BE49-F238E27FC236}">
                    <a16:creationId xmlns:a16="http://schemas.microsoft.com/office/drawing/2014/main" id="{A94B9033-2E1D-4498-ADE0-BFFF5471ABCD}"/>
                  </a:ext>
                </a:extLst>
              </p:cNvPr>
              <p:cNvPicPr/>
              <p:nvPr/>
            </p:nvPicPr>
            <p:blipFill>
              <a:blip r:embed="rId3"/>
              <a:stretch>
                <a:fillRect/>
              </a:stretch>
            </p:blipFill>
            <p:spPr>
              <a:xfrm>
                <a:off x="1814760" y="395280"/>
                <a:ext cx="6514920" cy="4162680"/>
              </a:xfrm>
              <a:prstGeom prst="rect">
                <a:avLst/>
              </a:prstGeom>
            </p:spPr>
          </p:pic>
        </mc:Fallback>
      </mc:AlternateContent>
    </p:spTree>
    <p:extLst>
      <p:ext uri="{BB962C8B-B14F-4D97-AF65-F5344CB8AC3E}">
        <p14:creationId xmlns:p14="http://schemas.microsoft.com/office/powerpoint/2010/main" val="4226836956"/>
      </p:ext>
    </p:extLst>
  </p:cSld>
  <p:clrMapOvr>
    <a:masterClrMapping/>
  </p:clrMapOvr>
  <p:transition spd="med">
    <p:wipe dir="r"/>
  </p:transition>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8E60A0-704C-4DB4-8CA8-951CB3B8B5E5}"/>
              </a:ext>
            </a:extLst>
          </p:cNvPr>
          <p:cNvSpPr>
            <a:spLocks noGrp="1"/>
          </p:cNvSpPr>
          <p:nvPr>
            <p:ph type="title"/>
          </p:nvPr>
        </p:nvSpPr>
        <p:spPr>
          <a:xfrm>
            <a:off x="0" y="0"/>
            <a:ext cx="7292671" cy="640080"/>
          </a:xfrm>
        </p:spPr>
        <p:txBody>
          <a:bodyPr/>
          <a:lstStyle/>
          <a:p>
            <a:r>
              <a:rPr lang="en-US" dirty="0"/>
              <a:t>Example 2 : Apple Orchid – True Mean</a:t>
            </a:r>
          </a:p>
        </p:txBody>
      </p:sp>
      <p:sp>
        <p:nvSpPr>
          <p:cNvPr id="3" name="Content Placeholder 2">
            <a:extLst>
              <a:ext uri="{FF2B5EF4-FFF2-40B4-BE49-F238E27FC236}">
                <a16:creationId xmlns:a16="http://schemas.microsoft.com/office/drawing/2014/main" id="{D6B174F9-BE4A-4E46-8124-C7F50C49BE7C}"/>
              </a:ext>
            </a:extLst>
          </p:cNvPr>
          <p:cNvSpPr>
            <a:spLocks noGrp="1"/>
          </p:cNvSpPr>
          <p:nvPr>
            <p:ph sz="half" idx="13"/>
          </p:nvPr>
        </p:nvSpPr>
        <p:spPr>
          <a:xfrm>
            <a:off x="105218" y="891853"/>
            <a:ext cx="7654655" cy="3200400"/>
          </a:xfrm>
        </p:spPr>
        <p:txBody>
          <a:bodyPr/>
          <a:lstStyle/>
          <a:p>
            <a:r>
              <a:rPr lang="en-US" b="0" i="0" dirty="0">
                <a:solidFill>
                  <a:srgbClr val="333333"/>
                </a:solidFill>
                <a:effectLst/>
                <a:latin typeface="Verdana" panose="020B0604030504040204" pitchFamily="34" charset="0"/>
              </a:rPr>
              <a:t>Now imagine we get to pick ALL the apples straight away, and get them ALL measured by the packing machine (this is a luxury not normally found in statistics!)</a:t>
            </a:r>
          </a:p>
          <a:p>
            <a:r>
              <a:rPr lang="en-US" b="0" i="0" dirty="0">
                <a:solidFill>
                  <a:srgbClr val="333333"/>
                </a:solidFill>
                <a:effectLst/>
                <a:latin typeface="Verdana" panose="020B0604030504040204" pitchFamily="34" charset="0"/>
              </a:rPr>
              <a:t>And the </a:t>
            </a:r>
            <a:r>
              <a:rPr lang="en-US" b="1" i="0" dirty="0">
                <a:solidFill>
                  <a:srgbClr val="333333"/>
                </a:solidFill>
                <a:effectLst/>
                <a:latin typeface="Verdana" panose="020B0604030504040204" pitchFamily="34" charset="0"/>
              </a:rPr>
              <a:t>true mean</a:t>
            </a:r>
            <a:r>
              <a:rPr lang="en-US" b="0" i="0" dirty="0">
                <a:solidFill>
                  <a:srgbClr val="333333"/>
                </a:solidFill>
                <a:effectLst/>
                <a:latin typeface="Verdana" panose="020B0604030504040204" pitchFamily="34" charset="0"/>
              </a:rPr>
              <a:t> turns out to be</a:t>
            </a:r>
            <a:r>
              <a:rPr lang="en-US" b="1" i="0" dirty="0">
                <a:solidFill>
                  <a:srgbClr val="333333"/>
                </a:solidFill>
                <a:effectLst/>
                <a:latin typeface="Verdana" panose="020B0604030504040204" pitchFamily="34" charset="0"/>
              </a:rPr>
              <a:t> 84.9</a:t>
            </a:r>
            <a:endParaRPr lang="en-US" dirty="0">
              <a:solidFill>
                <a:srgbClr val="333333"/>
              </a:solidFill>
              <a:latin typeface="Verdana" panose="020B0604030504040204" pitchFamily="34" charset="0"/>
            </a:endParaRPr>
          </a:p>
          <a:p>
            <a:r>
              <a:rPr lang="en-US" b="0" i="0" dirty="0">
                <a:solidFill>
                  <a:srgbClr val="333333"/>
                </a:solidFill>
                <a:effectLst/>
                <a:latin typeface="Verdana" panose="020B0604030504040204" pitchFamily="34" charset="0"/>
              </a:rPr>
              <a:t>Let's lay all the apples on the ground from smallest to largest:</a:t>
            </a:r>
            <a:endParaRPr lang="en-US" dirty="0"/>
          </a:p>
        </p:txBody>
      </p:sp>
      <p:pic>
        <p:nvPicPr>
          <p:cNvPr id="5" name="Picture 4">
            <a:extLst>
              <a:ext uri="{FF2B5EF4-FFF2-40B4-BE49-F238E27FC236}">
                <a16:creationId xmlns:a16="http://schemas.microsoft.com/office/drawing/2014/main" id="{FFBC7B80-2577-45A9-96F4-D517F5D6DDBB}"/>
              </a:ext>
            </a:extLst>
          </p:cNvPr>
          <p:cNvPicPr>
            <a:picLocks noChangeAspect="1"/>
          </p:cNvPicPr>
          <p:nvPr/>
        </p:nvPicPr>
        <p:blipFill>
          <a:blip r:embed="rId2"/>
          <a:stretch>
            <a:fillRect/>
          </a:stretch>
        </p:blipFill>
        <p:spPr>
          <a:xfrm>
            <a:off x="2821944" y="2509119"/>
            <a:ext cx="2138363" cy="1914525"/>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E3367C0D-C640-4603-8A60-DC60F99ACF23}"/>
                  </a:ext>
                </a:extLst>
              </p14:cNvPr>
              <p14:cNvContentPartPr/>
              <p14:nvPr/>
            </p14:nvContentPartPr>
            <p14:xfrm>
              <a:off x="1262160" y="347760"/>
              <a:ext cx="7382160" cy="4724640"/>
            </p14:xfrm>
          </p:contentPart>
        </mc:Choice>
        <mc:Fallback>
          <p:pic>
            <p:nvPicPr>
              <p:cNvPr id="4" name="Ink 3">
                <a:extLst>
                  <a:ext uri="{FF2B5EF4-FFF2-40B4-BE49-F238E27FC236}">
                    <a16:creationId xmlns:a16="http://schemas.microsoft.com/office/drawing/2014/main" id="{E3367C0D-C640-4603-8A60-DC60F99ACF23}"/>
                  </a:ext>
                </a:extLst>
              </p:cNvPr>
              <p:cNvPicPr/>
              <p:nvPr/>
            </p:nvPicPr>
            <p:blipFill>
              <a:blip r:embed="rId4"/>
              <a:stretch>
                <a:fillRect/>
              </a:stretch>
            </p:blipFill>
            <p:spPr>
              <a:xfrm>
                <a:off x="1252800" y="338400"/>
                <a:ext cx="7400880" cy="4743360"/>
              </a:xfrm>
              <a:prstGeom prst="rect">
                <a:avLst/>
              </a:prstGeom>
            </p:spPr>
          </p:pic>
        </mc:Fallback>
      </mc:AlternateContent>
    </p:spTree>
    <p:extLst>
      <p:ext uri="{BB962C8B-B14F-4D97-AF65-F5344CB8AC3E}">
        <p14:creationId xmlns:p14="http://schemas.microsoft.com/office/powerpoint/2010/main" val="624855704"/>
      </p:ext>
    </p:extLst>
  </p:cSld>
  <p:clrMapOvr>
    <a:masterClrMapping/>
  </p:clrMapOvr>
  <p:transition spd="med">
    <p:wipe dir="r"/>
  </p:transition>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2F2354-42A6-4191-B7DD-632A9EDE9AD9}"/>
              </a:ext>
            </a:extLst>
          </p:cNvPr>
          <p:cNvSpPr>
            <a:spLocks noGrp="1"/>
          </p:cNvSpPr>
          <p:nvPr>
            <p:ph type="title"/>
          </p:nvPr>
        </p:nvSpPr>
        <p:spPr>
          <a:xfrm>
            <a:off x="0" y="0"/>
            <a:ext cx="7724818" cy="640080"/>
          </a:xfrm>
        </p:spPr>
        <p:txBody>
          <a:bodyPr/>
          <a:lstStyle/>
          <a:p>
            <a:r>
              <a:rPr lang="en-US" dirty="0"/>
              <a:t>Example 2 : Apple Orchid – True Mean</a:t>
            </a:r>
          </a:p>
        </p:txBody>
      </p:sp>
      <p:sp>
        <p:nvSpPr>
          <p:cNvPr id="3" name="Content Placeholder 2">
            <a:extLst>
              <a:ext uri="{FF2B5EF4-FFF2-40B4-BE49-F238E27FC236}">
                <a16:creationId xmlns:a16="http://schemas.microsoft.com/office/drawing/2014/main" id="{91F28454-D62F-44CA-8482-0A4C685E370E}"/>
              </a:ext>
            </a:extLst>
          </p:cNvPr>
          <p:cNvSpPr>
            <a:spLocks noGrp="1"/>
          </p:cNvSpPr>
          <p:nvPr>
            <p:ph sz="half" idx="13"/>
          </p:nvPr>
        </p:nvSpPr>
        <p:spPr>
          <a:xfrm>
            <a:off x="192901" y="1067217"/>
            <a:ext cx="7992858" cy="3200400"/>
          </a:xfrm>
        </p:spPr>
        <p:txBody>
          <a:bodyPr/>
          <a:lstStyle/>
          <a:p>
            <a:r>
              <a:rPr lang="en-US" b="0" i="0" dirty="0">
                <a:solidFill>
                  <a:srgbClr val="333333"/>
                </a:solidFill>
                <a:effectLst/>
                <a:latin typeface="Verdana" panose="020B0604030504040204" pitchFamily="34" charset="0"/>
              </a:rPr>
              <a:t>Our result was not exact ... it is random after all ... but the true mean is inside our confidence interval of 86 ± 1.79 (in other words 84.21 to 87.79)</a:t>
            </a:r>
          </a:p>
          <a:p>
            <a:r>
              <a:rPr lang="en-US" b="0" i="0" dirty="0">
                <a:solidFill>
                  <a:srgbClr val="333333"/>
                </a:solidFill>
                <a:effectLst/>
                <a:latin typeface="Verdana" panose="020B0604030504040204" pitchFamily="34" charset="0"/>
              </a:rPr>
              <a:t>Now the true mean</a:t>
            </a:r>
            <a:r>
              <a:rPr lang="en-US" b="1" i="0" dirty="0">
                <a:solidFill>
                  <a:srgbClr val="333333"/>
                </a:solidFill>
                <a:effectLst/>
                <a:latin typeface="Verdana" panose="020B0604030504040204" pitchFamily="34" charset="0"/>
              </a:rPr>
              <a:t> might not</a:t>
            </a:r>
            <a:r>
              <a:rPr lang="en-US" b="0" i="0" dirty="0">
                <a:solidFill>
                  <a:srgbClr val="333333"/>
                </a:solidFill>
                <a:effectLst/>
                <a:latin typeface="Verdana" panose="020B0604030504040204" pitchFamily="34" charset="0"/>
              </a:rPr>
              <a:t> be inside the confidence interval, but in </a:t>
            </a:r>
            <a:r>
              <a:rPr lang="en-US" b="1" i="0" dirty="0">
                <a:solidFill>
                  <a:srgbClr val="333333"/>
                </a:solidFill>
                <a:effectLst/>
                <a:latin typeface="Verdana" panose="020B0604030504040204" pitchFamily="34" charset="0"/>
              </a:rPr>
              <a:t>95% of the cases it will be!</a:t>
            </a:r>
            <a:endParaRPr lang="en-US" dirty="0"/>
          </a:p>
        </p:txBody>
      </p:sp>
      <p:pic>
        <p:nvPicPr>
          <p:cNvPr id="4" name="Picture 3">
            <a:extLst>
              <a:ext uri="{FF2B5EF4-FFF2-40B4-BE49-F238E27FC236}">
                <a16:creationId xmlns:a16="http://schemas.microsoft.com/office/drawing/2014/main" id="{069E5917-91C9-420D-8EDF-D7CF5E6E5593}"/>
              </a:ext>
            </a:extLst>
          </p:cNvPr>
          <p:cNvPicPr>
            <a:picLocks noChangeAspect="1"/>
          </p:cNvPicPr>
          <p:nvPr/>
        </p:nvPicPr>
        <p:blipFill>
          <a:blip r:embed="rId2"/>
          <a:stretch>
            <a:fillRect/>
          </a:stretch>
        </p:blipFill>
        <p:spPr>
          <a:xfrm>
            <a:off x="2736860" y="2161759"/>
            <a:ext cx="1559567" cy="1396316"/>
          </a:xfrm>
          <a:prstGeom prst="rect">
            <a:avLst/>
          </a:prstGeom>
        </p:spPr>
      </p:pic>
      <p:sp>
        <p:nvSpPr>
          <p:cNvPr id="5" name="TextBox 4">
            <a:extLst>
              <a:ext uri="{FF2B5EF4-FFF2-40B4-BE49-F238E27FC236}">
                <a16:creationId xmlns:a16="http://schemas.microsoft.com/office/drawing/2014/main" id="{C850EEFF-FC48-4B46-9E77-48591528E96F}"/>
              </a:ext>
            </a:extLst>
          </p:cNvPr>
          <p:cNvSpPr txBox="1"/>
          <p:nvPr/>
        </p:nvSpPr>
        <p:spPr>
          <a:xfrm>
            <a:off x="68893" y="4229973"/>
            <a:ext cx="9110805" cy="369332"/>
          </a:xfrm>
          <a:prstGeom prst="rect">
            <a:avLst/>
          </a:prstGeom>
          <a:noFill/>
        </p:spPr>
        <p:txBody>
          <a:bodyPr wrap="square" rtlCol="0">
            <a:spAutoFit/>
          </a:bodyPr>
          <a:lstStyle/>
          <a:p>
            <a:pPr>
              <a:spcBef>
                <a:spcPts val="0"/>
              </a:spcBef>
              <a:spcAft>
                <a:spcPts val="0"/>
              </a:spcAft>
              <a:buClr>
                <a:schemeClr val="bg1"/>
              </a:buClr>
            </a:pPr>
            <a:r>
              <a:rPr lang="en-US" sz="1800" b="1" i="0" dirty="0">
                <a:solidFill>
                  <a:srgbClr val="2664B5"/>
                </a:solidFill>
                <a:effectLst/>
                <a:latin typeface="Verdana" panose="020B0604030504040204" pitchFamily="34" charset="0"/>
              </a:rPr>
              <a:t>95% of all "95% Confidence Intervals" will include the true mean.</a:t>
            </a:r>
            <a:endParaRPr lang="en-US" b="1" dirty="0">
              <a:solidFill>
                <a:schemeClr val="bg2"/>
              </a:solidFill>
              <a:latin typeface="+mn-lt"/>
            </a:endParaRPr>
          </a:p>
        </p:txBody>
      </p:sp>
      <mc:AlternateContent xmlns:mc="http://schemas.openxmlformats.org/markup-compatibility/2006">
        <mc:Choice xmlns:p14="http://schemas.microsoft.com/office/powerpoint/2010/main" Requires="p14">
          <p:contentPart p14:bwMode="auto" r:id="rId3">
            <p14:nvContentPartPr>
              <p14:cNvPr id="6" name="Ink 5">
                <a:extLst>
                  <a:ext uri="{FF2B5EF4-FFF2-40B4-BE49-F238E27FC236}">
                    <a16:creationId xmlns:a16="http://schemas.microsoft.com/office/drawing/2014/main" id="{260E1EFA-C1AD-470F-AE59-949230ADB665}"/>
                  </a:ext>
                </a:extLst>
              </p14:cNvPr>
              <p14:cNvContentPartPr/>
              <p14:nvPr/>
            </p14:nvContentPartPr>
            <p14:xfrm>
              <a:off x="176040" y="281160"/>
              <a:ext cx="8530200" cy="4824720"/>
            </p14:xfrm>
          </p:contentPart>
        </mc:Choice>
        <mc:Fallback>
          <p:pic>
            <p:nvPicPr>
              <p:cNvPr id="6" name="Ink 5">
                <a:extLst>
                  <a:ext uri="{FF2B5EF4-FFF2-40B4-BE49-F238E27FC236}">
                    <a16:creationId xmlns:a16="http://schemas.microsoft.com/office/drawing/2014/main" id="{260E1EFA-C1AD-470F-AE59-949230ADB665}"/>
                  </a:ext>
                </a:extLst>
              </p:cNvPr>
              <p:cNvPicPr/>
              <p:nvPr/>
            </p:nvPicPr>
            <p:blipFill>
              <a:blip r:embed="rId4"/>
              <a:stretch>
                <a:fillRect/>
              </a:stretch>
            </p:blipFill>
            <p:spPr>
              <a:xfrm>
                <a:off x="166680" y="271800"/>
                <a:ext cx="8548920" cy="4843440"/>
              </a:xfrm>
              <a:prstGeom prst="rect">
                <a:avLst/>
              </a:prstGeom>
            </p:spPr>
          </p:pic>
        </mc:Fallback>
      </mc:AlternateContent>
    </p:spTree>
    <p:extLst>
      <p:ext uri="{BB962C8B-B14F-4D97-AF65-F5344CB8AC3E}">
        <p14:creationId xmlns:p14="http://schemas.microsoft.com/office/powerpoint/2010/main" val="2113492613"/>
      </p:ext>
    </p:extLst>
  </p:cSld>
  <p:clrMapOvr>
    <a:masterClrMapping/>
  </p:clrMapOvr>
  <p:transition spd="med">
    <p:wipe dir="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4904F4-B3AA-4651-8827-B73C49F7833D}"/>
              </a:ext>
            </a:extLst>
          </p:cNvPr>
          <p:cNvSpPr>
            <a:spLocks noGrp="1"/>
          </p:cNvSpPr>
          <p:nvPr>
            <p:ph type="title"/>
          </p:nvPr>
        </p:nvSpPr>
        <p:spPr>
          <a:xfrm>
            <a:off x="92692" y="90259"/>
            <a:ext cx="7955280" cy="640080"/>
          </a:xfrm>
        </p:spPr>
        <p:txBody>
          <a:bodyPr/>
          <a:lstStyle/>
          <a:p>
            <a:r>
              <a:rPr lang="en-US" dirty="0"/>
              <a:t>Descriptive Statistics – Example</a:t>
            </a:r>
            <a:br>
              <a:rPr lang="en-US" dirty="0"/>
            </a:br>
            <a:r>
              <a:rPr lang="en-US" sz="1400" b="0" i="0" dirty="0">
                <a:solidFill>
                  <a:schemeClr val="bg2">
                    <a:lumMod val="50000"/>
                    <a:lumOff val="50000"/>
                  </a:schemeClr>
                </a:solidFill>
                <a:effectLst/>
                <a:latin typeface="Raleway" panose="020B0604020202020204" pitchFamily="2" charset="0"/>
              </a:rPr>
              <a:t>You’ve performed a survey to 40 respondents about their favorite car color. And now you have a spreadsheet with the results.</a:t>
            </a:r>
            <a:endParaRPr lang="en-US" sz="1400" dirty="0">
              <a:solidFill>
                <a:schemeClr val="bg2">
                  <a:lumMod val="50000"/>
                  <a:lumOff val="50000"/>
                </a:schemeClr>
              </a:solidFill>
            </a:endParaRPr>
          </a:p>
        </p:txBody>
      </p:sp>
      <p:pic>
        <p:nvPicPr>
          <p:cNvPr id="6" name="Picture 5">
            <a:extLst>
              <a:ext uri="{FF2B5EF4-FFF2-40B4-BE49-F238E27FC236}">
                <a16:creationId xmlns:a16="http://schemas.microsoft.com/office/drawing/2014/main" id="{B3228BA1-7BCC-4DBF-B8DF-46CA5095B60A}"/>
              </a:ext>
            </a:extLst>
          </p:cNvPr>
          <p:cNvPicPr>
            <a:picLocks noChangeAspect="1"/>
          </p:cNvPicPr>
          <p:nvPr/>
        </p:nvPicPr>
        <p:blipFill>
          <a:blip r:embed="rId2"/>
          <a:stretch>
            <a:fillRect/>
          </a:stretch>
        </p:blipFill>
        <p:spPr>
          <a:xfrm>
            <a:off x="4967601" y="1001400"/>
            <a:ext cx="3819787" cy="3870213"/>
          </a:xfrm>
          <a:prstGeom prst="rect">
            <a:avLst/>
          </a:prstGeom>
        </p:spPr>
      </p:pic>
      <p:pic>
        <p:nvPicPr>
          <p:cNvPr id="8" name="Picture 7">
            <a:extLst>
              <a:ext uri="{FF2B5EF4-FFF2-40B4-BE49-F238E27FC236}">
                <a16:creationId xmlns:a16="http://schemas.microsoft.com/office/drawing/2014/main" id="{55E05251-8E9D-4D6A-B576-9C5E754984C9}"/>
              </a:ext>
            </a:extLst>
          </p:cNvPr>
          <p:cNvPicPr>
            <a:picLocks noChangeAspect="1"/>
          </p:cNvPicPr>
          <p:nvPr/>
        </p:nvPicPr>
        <p:blipFill>
          <a:blip r:embed="rId3"/>
          <a:stretch>
            <a:fillRect/>
          </a:stretch>
        </p:blipFill>
        <p:spPr>
          <a:xfrm>
            <a:off x="0" y="1319603"/>
            <a:ext cx="4086225" cy="2905125"/>
          </a:xfrm>
          <a:prstGeom prst="rect">
            <a:avLst/>
          </a:prstGeom>
        </p:spPr>
      </p:pic>
      <p:sp>
        <p:nvSpPr>
          <p:cNvPr id="9" name="Arrow: Right 8">
            <a:extLst>
              <a:ext uri="{FF2B5EF4-FFF2-40B4-BE49-F238E27FC236}">
                <a16:creationId xmlns:a16="http://schemas.microsoft.com/office/drawing/2014/main" id="{0469365B-6D82-45DF-992A-981C62806CBC}"/>
              </a:ext>
            </a:extLst>
          </p:cNvPr>
          <p:cNvSpPr/>
          <p:nvPr/>
        </p:nvSpPr>
        <p:spPr>
          <a:xfrm>
            <a:off x="4176400" y="2571750"/>
            <a:ext cx="470757" cy="227817"/>
          </a:xfrm>
          <a:prstGeom prst="rightArrow">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0" name="TextBox 9">
            <a:extLst>
              <a:ext uri="{FF2B5EF4-FFF2-40B4-BE49-F238E27FC236}">
                <a16:creationId xmlns:a16="http://schemas.microsoft.com/office/drawing/2014/main" id="{7316BE2A-45A8-4088-860B-9805A9D5C7B4}"/>
              </a:ext>
            </a:extLst>
          </p:cNvPr>
          <p:cNvSpPr txBox="1"/>
          <p:nvPr/>
        </p:nvSpPr>
        <p:spPr>
          <a:xfrm>
            <a:off x="112734" y="4321479"/>
            <a:ext cx="4409162" cy="307777"/>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lumMod val="50000"/>
                    <a:lumOff val="50000"/>
                  </a:schemeClr>
                </a:solidFill>
                <a:latin typeface="+mn-lt"/>
              </a:rPr>
              <a:t>Descriptive statistics simply describes the data</a:t>
            </a:r>
          </a:p>
        </p:txBody>
      </p:sp>
    </p:spTree>
    <p:extLst>
      <p:ext uri="{BB962C8B-B14F-4D97-AF65-F5344CB8AC3E}">
        <p14:creationId xmlns:p14="http://schemas.microsoft.com/office/powerpoint/2010/main" val="889781105"/>
      </p:ext>
    </p:extLst>
  </p:cSld>
  <p:clrMapOvr>
    <a:masterClrMapping/>
  </p:clrMapOvr>
  <p:transition spd="med">
    <p:wipe dir="r"/>
  </p:transition>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ABF32E-BDE9-4E9F-921C-9C211F8C1F47}"/>
              </a:ext>
            </a:extLst>
          </p:cNvPr>
          <p:cNvSpPr>
            <a:spLocks noGrp="1"/>
          </p:cNvSpPr>
          <p:nvPr>
            <p:ph type="title"/>
          </p:nvPr>
        </p:nvSpPr>
        <p:spPr>
          <a:xfrm>
            <a:off x="0" y="0"/>
            <a:ext cx="7405405" cy="640080"/>
          </a:xfrm>
        </p:spPr>
        <p:txBody>
          <a:bodyPr/>
          <a:lstStyle/>
          <a:p>
            <a:r>
              <a:rPr lang="en-US" dirty="0"/>
              <a:t>Example 2 : Apple Orchid – True Mean</a:t>
            </a:r>
          </a:p>
        </p:txBody>
      </p:sp>
      <p:sp>
        <p:nvSpPr>
          <p:cNvPr id="3" name="Content Placeholder 2">
            <a:extLst>
              <a:ext uri="{FF2B5EF4-FFF2-40B4-BE49-F238E27FC236}">
                <a16:creationId xmlns:a16="http://schemas.microsoft.com/office/drawing/2014/main" id="{0021A390-1305-41FB-9234-300AEB0D0761}"/>
              </a:ext>
            </a:extLst>
          </p:cNvPr>
          <p:cNvSpPr>
            <a:spLocks noGrp="1"/>
          </p:cNvSpPr>
          <p:nvPr>
            <p:ph sz="half" idx="13"/>
          </p:nvPr>
        </p:nvSpPr>
        <p:spPr>
          <a:xfrm>
            <a:off x="167849" y="971550"/>
            <a:ext cx="8525214" cy="3200400"/>
          </a:xfrm>
        </p:spPr>
        <p:txBody>
          <a:bodyPr/>
          <a:lstStyle/>
          <a:p>
            <a:pPr algn="l"/>
            <a:r>
              <a:rPr lang="en-US" b="0" i="0" dirty="0">
                <a:solidFill>
                  <a:srgbClr val="333333"/>
                </a:solidFill>
                <a:effectLst/>
                <a:latin typeface="Verdana" panose="020B0604030504040204" pitchFamily="34" charset="0"/>
              </a:rPr>
              <a:t>That </a:t>
            </a:r>
            <a:r>
              <a:rPr lang="en-US" b="1" i="0" dirty="0">
                <a:solidFill>
                  <a:srgbClr val="333333"/>
                </a:solidFill>
                <a:effectLst/>
                <a:latin typeface="Verdana" panose="020B0604030504040204" pitchFamily="34" charset="0"/>
              </a:rPr>
              <a:t>does not include the true mean.</a:t>
            </a:r>
            <a:r>
              <a:rPr lang="en-US" b="0" i="0" dirty="0">
                <a:solidFill>
                  <a:srgbClr val="333333"/>
                </a:solidFill>
                <a:effectLst/>
                <a:latin typeface="Verdana" panose="020B0604030504040204" pitchFamily="34" charset="0"/>
              </a:rPr>
              <a:t> That can happen about 5% of the time for a 95% confidence interval.</a:t>
            </a:r>
          </a:p>
          <a:p>
            <a:pPr algn="l"/>
            <a:r>
              <a:rPr lang="en-US" b="0" i="0" dirty="0">
                <a:solidFill>
                  <a:srgbClr val="333333"/>
                </a:solidFill>
                <a:effectLst/>
                <a:latin typeface="Verdana" panose="020B0604030504040204" pitchFamily="34" charset="0"/>
              </a:rPr>
              <a:t>So how do we know if our sample is one of the "lucky" 95% or the unlucky 5%? Unless we get to measure the whole population like above, we simply </a:t>
            </a:r>
            <a:r>
              <a:rPr lang="en-US" b="1" i="0" dirty="0">
                <a:solidFill>
                  <a:srgbClr val="333333"/>
                </a:solidFill>
                <a:effectLst/>
                <a:latin typeface="Verdana" panose="020B0604030504040204" pitchFamily="34" charset="0"/>
              </a:rPr>
              <a:t>don't know</a:t>
            </a:r>
            <a:r>
              <a:rPr lang="en-US" b="0" i="0" dirty="0">
                <a:solidFill>
                  <a:srgbClr val="333333"/>
                </a:solidFill>
                <a:effectLst/>
                <a:latin typeface="Verdana" panose="020B0604030504040204" pitchFamily="34" charset="0"/>
              </a:rPr>
              <a:t>.</a:t>
            </a:r>
          </a:p>
          <a:p>
            <a:pPr algn="l"/>
            <a:r>
              <a:rPr lang="en-US" b="0" i="0" dirty="0">
                <a:solidFill>
                  <a:srgbClr val="333333"/>
                </a:solidFill>
                <a:effectLst/>
                <a:latin typeface="Verdana" panose="020B0604030504040204" pitchFamily="34" charset="0"/>
              </a:rPr>
              <a:t>This is the risk in sampling, we might have a "bad" sample</a:t>
            </a:r>
          </a:p>
          <a:p>
            <a:endParaRPr lang="en-US" dirty="0"/>
          </a:p>
        </p:txBody>
      </p:sp>
    </p:spTree>
    <p:extLst>
      <p:ext uri="{BB962C8B-B14F-4D97-AF65-F5344CB8AC3E}">
        <p14:creationId xmlns:p14="http://schemas.microsoft.com/office/powerpoint/2010/main" val="1183236552"/>
      </p:ext>
    </p:extLst>
  </p:cSld>
  <p:clrMapOvr>
    <a:masterClrMapping/>
  </p:clrMapOvr>
  <p:transition spd="med">
    <p:wipe dir="r"/>
  </p:transition>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FF2ABE-3BE8-4829-87AD-DF2FD55E2139}"/>
              </a:ext>
            </a:extLst>
          </p:cNvPr>
          <p:cNvSpPr>
            <a:spLocks noGrp="1"/>
          </p:cNvSpPr>
          <p:nvPr>
            <p:ph type="title"/>
          </p:nvPr>
        </p:nvSpPr>
        <p:spPr>
          <a:xfrm>
            <a:off x="0" y="0"/>
            <a:ext cx="4295219" cy="640080"/>
          </a:xfrm>
        </p:spPr>
        <p:txBody>
          <a:bodyPr/>
          <a:lstStyle/>
          <a:p>
            <a:r>
              <a:rPr lang="en-US" dirty="0"/>
              <a:t>Sampling Techniques</a:t>
            </a:r>
          </a:p>
        </p:txBody>
      </p:sp>
      <p:pic>
        <p:nvPicPr>
          <p:cNvPr id="5" name="Picture 4">
            <a:extLst>
              <a:ext uri="{FF2B5EF4-FFF2-40B4-BE49-F238E27FC236}">
                <a16:creationId xmlns:a16="http://schemas.microsoft.com/office/drawing/2014/main" id="{71C28B5A-5FB7-4BDA-82B0-2EE3301369A0}"/>
              </a:ext>
            </a:extLst>
          </p:cNvPr>
          <p:cNvPicPr>
            <a:picLocks noChangeAspect="1"/>
          </p:cNvPicPr>
          <p:nvPr/>
        </p:nvPicPr>
        <p:blipFill>
          <a:blip r:embed="rId2"/>
          <a:stretch>
            <a:fillRect/>
          </a:stretch>
        </p:blipFill>
        <p:spPr>
          <a:xfrm>
            <a:off x="960788" y="982487"/>
            <a:ext cx="6172927" cy="2456037"/>
          </a:xfrm>
          <a:prstGeom prst="rect">
            <a:avLst/>
          </a:prstGeom>
        </p:spPr>
      </p:pic>
    </p:spTree>
    <p:extLst>
      <p:ext uri="{BB962C8B-B14F-4D97-AF65-F5344CB8AC3E}">
        <p14:creationId xmlns:p14="http://schemas.microsoft.com/office/powerpoint/2010/main" val="2500200924"/>
      </p:ext>
    </p:extLst>
  </p:cSld>
  <p:clrMapOvr>
    <a:masterClrMapping/>
  </p:clrMapOvr>
  <p:transition spd="med">
    <p:wipe dir="r"/>
  </p:transition>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BE16E-4481-4CB3-838A-77146EB684BF}"/>
              </a:ext>
            </a:extLst>
          </p:cNvPr>
          <p:cNvSpPr>
            <a:spLocks noGrp="1"/>
          </p:cNvSpPr>
          <p:nvPr>
            <p:ph type="title"/>
          </p:nvPr>
        </p:nvSpPr>
        <p:spPr>
          <a:xfrm>
            <a:off x="0" y="0"/>
            <a:ext cx="4295219" cy="640080"/>
          </a:xfrm>
        </p:spPr>
        <p:txBody>
          <a:bodyPr/>
          <a:lstStyle/>
          <a:p>
            <a:r>
              <a:rPr lang="en-US" dirty="0"/>
              <a:t>Importance of p-Value</a:t>
            </a:r>
          </a:p>
        </p:txBody>
      </p:sp>
      <p:sp>
        <p:nvSpPr>
          <p:cNvPr id="3" name="Content Placeholder 2">
            <a:extLst>
              <a:ext uri="{FF2B5EF4-FFF2-40B4-BE49-F238E27FC236}">
                <a16:creationId xmlns:a16="http://schemas.microsoft.com/office/drawing/2014/main" id="{D108A976-A6DF-4921-83B1-412A058B7907}"/>
              </a:ext>
            </a:extLst>
          </p:cNvPr>
          <p:cNvSpPr>
            <a:spLocks noGrp="1"/>
          </p:cNvSpPr>
          <p:nvPr>
            <p:ph sz="half" idx="13"/>
          </p:nvPr>
        </p:nvSpPr>
        <p:spPr>
          <a:xfrm>
            <a:off x="117744" y="703963"/>
            <a:ext cx="8562793" cy="3749040"/>
          </a:xfrm>
        </p:spPr>
        <p:txBody>
          <a:bodyPr>
            <a:normAutofit fontScale="85000" lnSpcReduction="20000"/>
          </a:bodyPr>
          <a:lstStyle/>
          <a:p>
            <a:pPr marL="0" indent="0">
              <a:buNone/>
            </a:pPr>
            <a:r>
              <a:rPr lang="en-US" dirty="0"/>
              <a:t>Let’s perform an experiment : </a:t>
            </a:r>
          </a:p>
          <a:p>
            <a:pPr marL="342900" indent="-342900">
              <a:buFont typeface="+mj-lt"/>
              <a:buAutoNum type="arabicPeriod"/>
            </a:pPr>
            <a:r>
              <a:rPr lang="en-US" dirty="0"/>
              <a:t>Flip a coin &gt; Assume we get “head</a:t>
            </a:r>
          </a:p>
          <a:p>
            <a:pPr marL="688975" lvl="1" indent="-342900"/>
            <a:r>
              <a:rPr lang="en-US" dirty="0"/>
              <a:t>P(H) = 0.5</a:t>
            </a:r>
          </a:p>
          <a:p>
            <a:pPr marL="342900" indent="-342900">
              <a:buFont typeface="+mj-lt"/>
              <a:buAutoNum type="arabicPeriod"/>
            </a:pPr>
            <a:r>
              <a:rPr lang="en-US" dirty="0"/>
              <a:t>Flip the coin again &gt; assume get “head” again</a:t>
            </a:r>
          </a:p>
          <a:p>
            <a:pPr marL="688975" lvl="1" indent="-342900"/>
            <a:r>
              <a:rPr lang="en-US" dirty="0"/>
              <a:t>P(H | H) = 0.5 X 0.5 = 0.25</a:t>
            </a:r>
          </a:p>
          <a:p>
            <a:pPr marL="346075" lvl="1" indent="0">
              <a:buNone/>
            </a:pPr>
            <a:endParaRPr lang="en-US" dirty="0"/>
          </a:p>
          <a:p>
            <a:pPr marL="0" indent="0">
              <a:buNone/>
            </a:pPr>
            <a:r>
              <a:rPr lang="en-US" b="1" dirty="0"/>
              <a:t>Now before proceeding : “ Is this a fair coin ?”</a:t>
            </a:r>
          </a:p>
          <a:p>
            <a:pPr marL="0" indent="0">
              <a:buNone/>
            </a:pPr>
            <a:r>
              <a:rPr lang="en-US" dirty="0">
                <a:solidFill>
                  <a:schemeClr val="bg1"/>
                </a:solidFill>
              </a:rPr>
              <a:t>What’s your answer ? Yes or No</a:t>
            </a:r>
          </a:p>
          <a:p>
            <a:pPr marL="0" indent="0">
              <a:buNone/>
            </a:pPr>
            <a:r>
              <a:rPr lang="en-US" dirty="0">
                <a:solidFill>
                  <a:schemeClr val="bg1"/>
                </a:solidFill>
              </a:rPr>
              <a:t>How do you support your answer ? </a:t>
            </a:r>
          </a:p>
          <a:p>
            <a:pPr marL="0" indent="0">
              <a:buNone/>
            </a:pPr>
            <a:endParaRPr lang="en-US" dirty="0"/>
          </a:p>
          <a:p>
            <a:pPr marL="0" indent="0">
              <a:buNone/>
            </a:pPr>
            <a:r>
              <a:rPr lang="en-US" dirty="0"/>
              <a:t>Here Null hypothesis = Ho = Is a fair coin !!</a:t>
            </a:r>
          </a:p>
          <a:p>
            <a:pPr marL="0" indent="0">
              <a:buNone/>
            </a:pPr>
            <a:r>
              <a:rPr lang="en-US" dirty="0"/>
              <a:t>Let’s keep on tossing our coin to figure out whether we should </a:t>
            </a:r>
          </a:p>
          <a:p>
            <a:pPr marL="342900" indent="-342900">
              <a:buAutoNum type="arabicPeriod"/>
            </a:pPr>
            <a:r>
              <a:rPr lang="en-US" dirty="0"/>
              <a:t>Reject Ho</a:t>
            </a:r>
          </a:p>
          <a:p>
            <a:pPr marL="342900" indent="-342900">
              <a:buAutoNum type="arabicPeriod"/>
            </a:pPr>
            <a:r>
              <a:rPr lang="en-US" dirty="0"/>
              <a:t>Accept Ho</a:t>
            </a:r>
          </a:p>
        </p:txBody>
      </p:sp>
      <p:pic>
        <p:nvPicPr>
          <p:cNvPr id="5" name="Picture 4">
            <a:extLst>
              <a:ext uri="{FF2B5EF4-FFF2-40B4-BE49-F238E27FC236}">
                <a16:creationId xmlns:a16="http://schemas.microsoft.com/office/drawing/2014/main" id="{53736F0E-6124-42BF-B844-5ED66E5449AD}"/>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888929" y="992062"/>
            <a:ext cx="2038350" cy="3048000"/>
          </a:xfrm>
          <a:prstGeom prst="rect">
            <a:avLst/>
          </a:prstGeom>
        </p:spPr>
      </p:pic>
    </p:spTree>
    <p:extLst>
      <p:ext uri="{BB962C8B-B14F-4D97-AF65-F5344CB8AC3E}">
        <p14:creationId xmlns:p14="http://schemas.microsoft.com/office/powerpoint/2010/main" val="798158213"/>
      </p:ext>
    </p:extLst>
  </p:cSld>
  <p:clrMapOvr>
    <a:masterClrMapping/>
  </p:clrMapOvr>
  <p:transition spd="med">
    <p:wipe dir="r"/>
  </p:transition>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4E8BB-1F7E-47B3-8FD9-E425DA87F06A}"/>
              </a:ext>
            </a:extLst>
          </p:cNvPr>
          <p:cNvSpPr>
            <a:spLocks noGrp="1"/>
          </p:cNvSpPr>
          <p:nvPr>
            <p:ph type="title"/>
          </p:nvPr>
        </p:nvSpPr>
        <p:spPr>
          <a:xfrm>
            <a:off x="0" y="0"/>
            <a:ext cx="5025460" cy="640080"/>
          </a:xfrm>
        </p:spPr>
        <p:txBody>
          <a:bodyPr/>
          <a:lstStyle/>
          <a:p>
            <a:r>
              <a:rPr lang="en-US" dirty="0"/>
              <a:t>Importance of p-Value</a:t>
            </a:r>
          </a:p>
        </p:txBody>
      </p:sp>
      <p:sp>
        <p:nvSpPr>
          <p:cNvPr id="3" name="Content Placeholder 2">
            <a:extLst>
              <a:ext uri="{FF2B5EF4-FFF2-40B4-BE49-F238E27FC236}">
                <a16:creationId xmlns:a16="http://schemas.microsoft.com/office/drawing/2014/main" id="{F4A75CB9-B8B9-4142-93BA-1A68605957A3}"/>
              </a:ext>
            </a:extLst>
          </p:cNvPr>
          <p:cNvSpPr>
            <a:spLocks noGrp="1"/>
          </p:cNvSpPr>
          <p:nvPr>
            <p:ph sz="half" idx="13"/>
          </p:nvPr>
        </p:nvSpPr>
        <p:spPr>
          <a:xfrm>
            <a:off x="186637" y="691436"/>
            <a:ext cx="6502261" cy="517326"/>
          </a:xfrm>
        </p:spPr>
        <p:txBody>
          <a:bodyPr/>
          <a:lstStyle/>
          <a:p>
            <a:pPr marL="0" indent="0">
              <a:buNone/>
            </a:pPr>
            <a:r>
              <a:rPr lang="en-US" dirty="0"/>
              <a:t>3.  Flip a coin &gt; Assume we get “head” again</a:t>
            </a:r>
          </a:p>
          <a:p>
            <a:pPr marL="688975" lvl="1" indent="-342900"/>
            <a:r>
              <a:rPr lang="en-US" dirty="0"/>
              <a:t>P(H | 2H) = 0.5 X 0.5 X 0.5 = 0.125</a:t>
            </a:r>
          </a:p>
          <a:p>
            <a:pPr marL="688975" lvl="1" indent="-342900"/>
            <a:endParaRPr lang="en-US" dirty="0"/>
          </a:p>
          <a:p>
            <a:endParaRPr lang="en-US" dirty="0"/>
          </a:p>
        </p:txBody>
      </p:sp>
      <p:sp>
        <p:nvSpPr>
          <p:cNvPr id="4" name="Content Placeholder 2">
            <a:extLst>
              <a:ext uri="{FF2B5EF4-FFF2-40B4-BE49-F238E27FC236}">
                <a16:creationId xmlns:a16="http://schemas.microsoft.com/office/drawing/2014/main" id="{A09F2003-2FCA-4A7B-89BD-885EC9432B9B}"/>
              </a:ext>
            </a:extLst>
          </p:cNvPr>
          <p:cNvSpPr txBox="1">
            <a:spLocks/>
          </p:cNvSpPr>
          <p:nvPr/>
        </p:nvSpPr>
        <p:spPr>
          <a:xfrm>
            <a:off x="186636" y="1393676"/>
            <a:ext cx="6502261" cy="517326"/>
          </a:xfrm>
          <a:prstGeom prst="rect">
            <a:avLst/>
          </a:prstGeom>
        </p:spPr>
        <p:txBody>
          <a:bodyPr wrap="square" lIns="0" tIns="0" rIns="0" bIns="0">
            <a:normAutofit/>
          </a:bodyPr>
          <a:lst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b="0">
                <a:solidFill>
                  <a:srgbClr val="000000"/>
                </a:solidFill>
                <a:latin typeface="Arial" panose="020B0604020202020204" pitchFamily="34" charset="0"/>
                <a:ea typeface="Museo Sans For Dell" pitchFamily="2" charset="0"/>
                <a:cs typeface="Arial" panose="020B0604020202020204" pitchFamily="34" charset="0"/>
              </a:defRPr>
            </a:lvl1pPr>
            <a:lvl2pPr marL="574675" indent="-231775" algn="l" rtl="0" eaLnBrk="1" fontAlgn="base" hangingPunct="1">
              <a:lnSpc>
                <a:spcPct val="100000"/>
              </a:lnSpc>
              <a:spcBef>
                <a:spcPts val="300"/>
              </a:spcBef>
              <a:spcAft>
                <a:spcPts val="0"/>
              </a:spcAft>
              <a:buClr>
                <a:srgbClr val="AAAAAA"/>
              </a:buClr>
              <a:buFont typeface="Museo Sans For Dell" pitchFamily="2" charset="0"/>
              <a:buChar char="–"/>
              <a:defRPr sz="1200" b="0" baseline="0">
                <a:solidFill>
                  <a:srgbClr val="000000"/>
                </a:solidFill>
                <a:latin typeface="Arial" panose="020B0604020202020204" pitchFamily="34" charset="0"/>
                <a:ea typeface="Museo Sans For Dell" pitchFamily="2" charset="0"/>
                <a:cs typeface="Arial" panose="020B0604020202020204" pitchFamily="34"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0" baseline="0">
                <a:solidFill>
                  <a:srgbClr val="000000"/>
                </a:solidFill>
                <a:latin typeface="Arial" panose="020B0604020202020204" pitchFamily="34" charset="0"/>
                <a:ea typeface="Museo Sans For Dell" pitchFamily="2" charset="0"/>
                <a:cs typeface="Arial" panose="020B0604020202020204" pitchFamily="34" charset="0"/>
              </a:defRPr>
            </a:lvl3pPr>
            <a:lvl4pPr marL="1246188" indent="-222250"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0" baseline="0">
                <a:solidFill>
                  <a:schemeClr val="bg2"/>
                </a:solidFill>
                <a:latin typeface="Museo Sans For Dell" pitchFamily="2" charset="0"/>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b="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8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8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8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800">
                <a:solidFill>
                  <a:schemeClr val="accent1"/>
                </a:solidFill>
                <a:latin typeface="+mn-lt"/>
              </a:defRPr>
            </a:lvl9pPr>
          </a:lstStyle>
          <a:p>
            <a:pPr marL="0" indent="0">
              <a:buFont typeface="Arial" pitchFamily="34" charset="0"/>
              <a:buNone/>
            </a:pPr>
            <a:r>
              <a:rPr lang="en-US" kern="0" dirty="0"/>
              <a:t>4.  Flip a coin &gt; Assume we get “head” again</a:t>
            </a:r>
          </a:p>
          <a:p>
            <a:pPr marL="688975" lvl="1" indent="-342900"/>
            <a:r>
              <a:rPr lang="en-US" kern="0" dirty="0"/>
              <a:t>P(H | 3H) = 0.5 X 0.5 X 0.5 X 0.5 = 0.0625</a:t>
            </a:r>
          </a:p>
          <a:p>
            <a:pPr marL="688975" lvl="1" indent="-342900"/>
            <a:endParaRPr lang="en-US" kern="0" dirty="0"/>
          </a:p>
          <a:p>
            <a:endParaRPr lang="en-US" kern="0" dirty="0"/>
          </a:p>
        </p:txBody>
      </p:sp>
      <p:sp>
        <p:nvSpPr>
          <p:cNvPr id="5" name="Content Placeholder 2">
            <a:extLst>
              <a:ext uri="{FF2B5EF4-FFF2-40B4-BE49-F238E27FC236}">
                <a16:creationId xmlns:a16="http://schemas.microsoft.com/office/drawing/2014/main" id="{BEABD709-C6DC-4198-900B-BD47C197815F}"/>
              </a:ext>
            </a:extLst>
          </p:cNvPr>
          <p:cNvSpPr txBox="1">
            <a:spLocks/>
          </p:cNvSpPr>
          <p:nvPr/>
        </p:nvSpPr>
        <p:spPr>
          <a:xfrm>
            <a:off x="186636" y="2095916"/>
            <a:ext cx="6502261" cy="517326"/>
          </a:xfrm>
          <a:prstGeom prst="rect">
            <a:avLst/>
          </a:prstGeom>
        </p:spPr>
        <p:txBody>
          <a:bodyPr wrap="square" lIns="0" tIns="0" rIns="0" bIns="0">
            <a:normAutofit/>
          </a:bodyPr>
          <a:lst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b="0">
                <a:solidFill>
                  <a:srgbClr val="000000"/>
                </a:solidFill>
                <a:latin typeface="Arial" panose="020B0604020202020204" pitchFamily="34" charset="0"/>
                <a:ea typeface="Museo Sans For Dell" pitchFamily="2" charset="0"/>
                <a:cs typeface="Arial" panose="020B0604020202020204" pitchFamily="34" charset="0"/>
              </a:defRPr>
            </a:lvl1pPr>
            <a:lvl2pPr marL="574675" indent="-231775" algn="l" rtl="0" eaLnBrk="1" fontAlgn="base" hangingPunct="1">
              <a:lnSpc>
                <a:spcPct val="100000"/>
              </a:lnSpc>
              <a:spcBef>
                <a:spcPts val="300"/>
              </a:spcBef>
              <a:spcAft>
                <a:spcPts val="0"/>
              </a:spcAft>
              <a:buClr>
                <a:srgbClr val="AAAAAA"/>
              </a:buClr>
              <a:buFont typeface="Museo Sans For Dell" pitchFamily="2" charset="0"/>
              <a:buChar char="–"/>
              <a:defRPr sz="1200" b="0" baseline="0">
                <a:solidFill>
                  <a:srgbClr val="000000"/>
                </a:solidFill>
                <a:latin typeface="Arial" panose="020B0604020202020204" pitchFamily="34" charset="0"/>
                <a:ea typeface="Museo Sans For Dell" pitchFamily="2" charset="0"/>
                <a:cs typeface="Arial" panose="020B0604020202020204" pitchFamily="34"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0" baseline="0">
                <a:solidFill>
                  <a:srgbClr val="000000"/>
                </a:solidFill>
                <a:latin typeface="Arial" panose="020B0604020202020204" pitchFamily="34" charset="0"/>
                <a:ea typeface="Museo Sans For Dell" pitchFamily="2" charset="0"/>
                <a:cs typeface="Arial" panose="020B0604020202020204" pitchFamily="34" charset="0"/>
              </a:defRPr>
            </a:lvl3pPr>
            <a:lvl4pPr marL="1246188" indent="-222250"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0" baseline="0">
                <a:solidFill>
                  <a:schemeClr val="bg2"/>
                </a:solidFill>
                <a:latin typeface="Museo Sans For Dell" pitchFamily="2" charset="0"/>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b="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8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8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8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800">
                <a:solidFill>
                  <a:schemeClr val="accent1"/>
                </a:solidFill>
                <a:latin typeface="+mn-lt"/>
              </a:defRPr>
            </a:lvl9pPr>
          </a:lstStyle>
          <a:p>
            <a:pPr marL="0" indent="0">
              <a:buFont typeface="Arial" pitchFamily="34" charset="0"/>
              <a:buNone/>
            </a:pPr>
            <a:r>
              <a:rPr lang="en-US" kern="0" dirty="0"/>
              <a:t>5.  Flip a coin &gt; Assume we get “head” again</a:t>
            </a:r>
          </a:p>
          <a:p>
            <a:pPr marL="688975" lvl="1" indent="-342900"/>
            <a:r>
              <a:rPr lang="en-US" kern="0" dirty="0"/>
              <a:t>P(H | 4H) = 0.5 X 0.5 X 0.5 X 0.5 X 0.5 = 0.0312</a:t>
            </a:r>
          </a:p>
          <a:p>
            <a:pPr marL="688975" lvl="1" indent="-342900"/>
            <a:endParaRPr lang="en-US" kern="0" dirty="0"/>
          </a:p>
          <a:p>
            <a:endParaRPr lang="en-US" kern="0" dirty="0"/>
          </a:p>
        </p:txBody>
      </p:sp>
      <p:sp>
        <p:nvSpPr>
          <p:cNvPr id="6" name="TextBox 5">
            <a:extLst>
              <a:ext uri="{FF2B5EF4-FFF2-40B4-BE49-F238E27FC236}">
                <a16:creationId xmlns:a16="http://schemas.microsoft.com/office/drawing/2014/main" id="{9C30D7DF-560C-4416-B1BE-572D6985C661}"/>
              </a:ext>
            </a:extLst>
          </p:cNvPr>
          <p:cNvSpPr txBox="1"/>
          <p:nvPr/>
        </p:nvSpPr>
        <p:spPr>
          <a:xfrm>
            <a:off x="186636" y="2787041"/>
            <a:ext cx="4015846"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2 concepts</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b="1" dirty="0">
                <a:solidFill>
                  <a:schemeClr val="bg2"/>
                </a:solidFill>
                <a:latin typeface="+mn-lt"/>
              </a:rPr>
              <a:t>Confident level </a:t>
            </a:r>
            <a:r>
              <a:rPr lang="en-US" sz="1400" dirty="0">
                <a:solidFill>
                  <a:schemeClr val="bg2"/>
                </a:solidFill>
                <a:latin typeface="+mn-lt"/>
              </a:rPr>
              <a:t>= 97%</a:t>
            </a:r>
          </a:p>
          <a:p>
            <a:pPr>
              <a:spcBef>
                <a:spcPts val="0"/>
              </a:spcBef>
              <a:spcAft>
                <a:spcPts val="0"/>
              </a:spcAft>
              <a:buClr>
                <a:schemeClr val="bg1"/>
              </a:buClr>
            </a:pPr>
            <a:r>
              <a:rPr lang="en-US" sz="1400" b="1" dirty="0">
                <a:solidFill>
                  <a:schemeClr val="bg2"/>
                </a:solidFill>
                <a:latin typeface="+mn-lt"/>
              </a:rPr>
              <a:t>p-value or significance level </a:t>
            </a:r>
            <a:r>
              <a:rPr lang="en-US" sz="1400" dirty="0">
                <a:solidFill>
                  <a:schemeClr val="bg2"/>
                </a:solidFill>
                <a:latin typeface="+mn-lt"/>
              </a:rPr>
              <a:t>= 3%</a:t>
            </a:r>
          </a:p>
        </p:txBody>
      </p:sp>
      <p:sp>
        <p:nvSpPr>
          <p:cNvPr id="7" name="TextBox 6">
            <a:extLst>
              <a:ext uri="{FF2B5EF4-FFF2-40B4-BE49-F238E27FC236}">
                <a16:creationId xmlns:a16="http://schemas.microsoft.com/office/drawing/2014/main" id="{4A24BE1D-473B-48EA-BDDD-7F10C6C2726E}"/>
              </a:ext>
            </a:extLst>
          </p:cNvPr>
          <p:cNvSpPr txBox="1"/>
          <p:nvPr/>
        </p:nvSpPr>
        <p:spPr>
          <a:xfrm>
            <a:off x="186636" y="3971524"/>
            <a:ext cx="8030438"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We can say that chance of we getting a 5H in a row is just 3% and not getting 5H in a row is 97%</a:t>
            </a:r>
          </a:p>
        </p:txBody>
      </p:sp>
      <p:pic>
        <p:nvPicPr>
          <p:cNvPr id="9" name="Picture 8" descr="A hand with a coin in the background&#10;&#10;Description automatically generated with low confidence">
            <a:extLst>
              <a:ext uri="{FF2B5EF4-FFF2-40B4-BE49-F238E27FC236}">
                <a16:creationId xmlns:a16="http://schemas.microsoft.com/office/drawing/2014/main" id="{1D54438E-8488-4204-B572-0241F3C96624}"/>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890929" y="344563"/>
            <a:ext cx="2513226" cy="3181142"/>
          </a:xfrm>
          <a:prstGeom prst="rect">
            <a:avLst/>
          </a:prstGeom>
        </p:spPr>
      </p:pic>
    </p:spTree>
    <p:extLst>
      <p:ext uri="{BB962C8B-B14F-4D97-AF65-F5344CB8AC3E}">
        <p14:creationId xmlns:p14="http://schemas.microsoft.com/office/powerpoint/2010/main" val="2615070353"/>
      </p:ext>
    </p:extLst>
  </p:cSld>
  <p:clrMapOvr>
    <a:masterClrMapping/>
  </p:clrMapOvr>
  <p:transition spd="med">
    <p:wipe dir="r"/>
  </p:transition>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4BC9655-D6FB-4052-A081-6F68A3212DAF}"/>
              </a:ext>
            </a:extLst>
          </p:cNvPr>
          <p:cNvSpPr>
            <a:spLocks noGrp="1"/>
          </p:cNvSpPr>
          <p:nvPr>
            <p:ph type="title"/>
          </p:nvPr>
        </p:nvSpPr>
        <p:spPr>
          <a:xfrm>
            <a:off x="0" y="0"/>
            <a:ext cx="5025460" cy="640080"/>
          </a:xfrm>
        </p:spPr>
        <p:txBody>
          <a:bodyPr/>
          <a:lstStyle/>
          <a:p>
            <a:r>
              <a:rPr lang="en-US" dirty="0"/>
              <a:t>Importance of p-Value</a:t>
            </a:r>
          </a:p>
        </p:txBody>
      </p:sp>
      <p:sp>
        <p:nvSpPr>
          <p:cNvPr id="5" name="Content Placeholder 4">
            <a:extLst>
              <a:ext uri="{FF2B5EF4-FFF2-40B4-BE49-F238E27FC236}">
                <a16:creationId xmlns:a16="http://schemas.microsoft.com/office/drawing/2014/main" id="{DCF882BF-2AB3-4F00-A647-31D99F9D8FA4}"/>
              </a:ext>
            </a:extLst>
          </p:cNvPr>
          <p:cNvSpPr txBox="1">
            <a:spLocks noGrp="1"/>
          </p:cNvSpPr>
          <p:nvPr>
            <p:ph sz="half" idx="13"/>
          </p:nvPr>
        </p:nvSpPr>
        <p:spPr>
          <a:xfrm>
            <a:off x="1" y="785813"/>
            <a:ext cx="7478038" cy="1661993"/>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We can say that chance of we getting a 5H in a row is just 3% and not getting 5H in a row is 97%</a:t>
            </a:r>
          </a:p>
          <a:p>
            <a:pPr>
              <a:spcBef>
                <a:spcPts val="0"/>
              </a:spcBef>
              <a:spcAft>
                <a:spcPts val="0"/>
              </a:spcAft>
              <a:buClr>
                <a:schemeClr val="bg1"/>
              </a:buClr>
            </a:pPr>
            <a:endParaRPr lang="en-US" dirty="0">
              <a:solidFill>
                <a:schemeClr val="bg2"/>
              </a:solidFill>
              <a:latin typeface="+mn-lt"/>
            </a:endParaRP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dirty="0">
                <a:solidFill>
                  <a:schemeClr val="bg2"/>
                </a:solidFill>
                <a:latin typeface="+mn-lt"/>
              </a:rPr>
              <a:t>Hence, we reject out Null Hypothesis Ho </a:t>
            </a:r>
            <a:r>
              <a:rPr lang="en-US" dirty="0" err="1">
                <a:solidFill>
                  <a:schemeClr val="bg2"/>
                </a:solidFill>
                <a:latin typeface="+mn-lt"/>
              </a:rPr>
              <a:t>i.e</a:t>
            </a:r>
            <a:r>
              <a:rPr lang="en-US" dirty="0">
                <a:solidFill>
                  <a:schemeClr val="bg2"/>
                </a:solidFill>
                <a:latin typeface="+mn-lt"/>
              </a:rPr>
              <a:t> the coin is fair</a:t>
            </a:r>
          </a:p>
          <a:p>
            <a:pPr>
              <a:spcBef>
                <a:spcPts val="0"/>
              </a:spcBef>
              <a:spcAft>
                <a:spcPts val="0"/>
              </a:spcAft>
              <a:buClr>
                <a:schemeClr val="bg1"/>
              </a:buClr>
            </a:pPr>
            <a:endParaRPr lang="en-US" sz="1400" dirty="0">
              <a:solidFill>
                <a:schemeClr val="bg2"/>
              </a:solidFill>
              <a:latin typeface="+mn-lt"/>
            </a:endParaRPr>
          </a:p>
          <a:p>
            <a:pPr lvl="1">
              <a:spcBef>
                <a:spcPts val="0"/>
              </a:spcBef>
              <a:buClr>
                <a:schemeClr val="bg1"/>
              </a:buClr>
            </a:pPr>
            <a:r>
              <a:rPr lang="en-US" dirty="0">
                <a:solidFill>
                  <a:schemeClr val="bg2"/>
                </a:solidFill>
                <a:latin typeface="+mn-lt"/>
              </a:rPr>
              <a:t>Note : when we reject Ho we accept H1 </a:t>
            </a:r>
            <a:r>
              <a:rPr lang="en-US" dirty="0" err="1">
                <a:solidFill>
                  <a:schemeClr val="bg2"/>
                </a:solidFill>
                <a:latin typeface="+mn-lt"/>
              </a:rPr>
              <a:t>i.e</a:t>
            </a:r>
            <a:r>
              <a:rPr lang="en-US" dirty="0">
                <a:solidFill>
                  <a:schemeClr val="bg2"/>
                </a:solidFill>
                <a:latin typeface="+mn-lt"/>
              </a:rPr>
              <a:t> the Alternate Hypothesis – The coin is not fair !!</a:t>
            </a:r>
          </a:p>
          <a:p>
            <a:pPr marL="342900" lvl="1" indent="0">
              <a:spcBef>
                <a:spcPts val="0"/>
              </a:spcBef>
              <a:buClr>
                <a:schemeClr val="bg1"/>
              </a:buClr>
              <a:buNone/>
            </a:pPr>
            <a:endParaRPr lang="en-US" dirty="0">
              <a:solidFill>
                <a:schemeClr val="bg2"/>
              </a:solidFill>
              <a:latin typeface="+mn-lt"/>
            </a:endParaRPr>
          </a:p>
        </p:txBody>
      </p:sp>
      <p:sp>
        <p:nvSpPr>
          <p:cNvPr id="6" name="TextBox 5">
            <a:extLst>
              <a:ext uri="{FF2B5EF4-FFF2-40B4-BE49-F238E27FC236}">
                <a16:creationId xmlns:a16="http://schemas.microsoft.com/office/drawing/2014/main" id="{92EF90D6-13B1-4700-9E78-9E35CCE8623B}"/>
              </a:ext>
            </a:extLst>
          </p:cNvPr>
          <p:cNvSpPr txBox="1"/>
          <p:nvPr/>
        </p:nvSpPr>
        <p:spPr>
          <a:xfrm>
            <a:off x="229861" y="2768252"/>
            <a:ext cx="7160495" cy="523220"/>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1"/>
                </a:solidFill>
                <a:latin typeface="+mn-lt"/>
              </a:rPr>
              <a:t>Remember : The p- value is a calculation that we make during hypothesis testing to determine if we reject the null hypothesis or fail to reject it </a:t>
            </a:r>
          </a:p>
        </p:txBody>
      </p:sp>
    </p:spTree>
    <p:extLst>
      <p:ext uri="{BB962C8B-B14F-4D97-AF65-F5344CB8AC3E}">
        <p14:creationId xmlns:p14="http://schemas.microsoft.com/office/powerpoint/2010/main" val="2912201933"/>
      </p:ext>
    </p:extLst>
  </p:cSld>
  <p:clrMapOvr>
    <a:masterClrMapping/>
  </p:clrMapOvr>
  <p:transition spd="med">
    <p:wipe dir="r"/>
  </p:transition>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Diagram&#10;&#10;Description automatically generated with low confidence">
            <a:extLst>
              <a:ext uri="{FF2B5EF4-FFF2-40B4-BE49-F238E27FC236}">
                <a16:creationId xmlns:a16="http://schemas.microsoft.com/office/drawing/2014/main" id="{1D351213-FBD3-480C-A88B-DF5DA84D0032}"/>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0" y="0"/>
            <a:ext cx="9144000" cy="5143500"/>
          </a:xfrm>
          <a:prstGeom prst="rect">
            <a:avLst/>
          </a:prstGeom>
        </p:spPr>
      </p:pic>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5124" name="think-cell Slide" r:id="rId8" imgW="529" imgH="530" progId="TCLayout.ActiveDocument.1">
                  <p:embed/>
                </p:oleObj>
              </mc:Choice>
              <mc:Fallback>
                <p:oleObj name="think-cell Slide" r:id="rId8"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9"/>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sp>
        <p:nvSpPr>
          <p:cNvPr id="33" name="Title 32">
            <a:extLst>
              <a:ext uri="{FF2B5EF4-FFF2-40B4-BE49-F238E27FC236}">
                <a16:creationId xmlns:a16="http://schemas.microsoft.com/office/drawing/2014/main" id="{2F9043AA-1BB2-49E3-B702-D663491C3B65}"/>
              </a:ext>
            </a:extLst>
          </p:cNvPr>
          <p:cNvSpPr>
            <a:spLocks noGrp="1"/>
          </p:cNvSpPr>
          <p:nvPr>
            <p:ph type="title"/>
          </p:nvPr>
        </p:nvSpPr>
        <p:spPr>
          <a:xfrm>
            <a:off x="75610" y="1382590"/>
            <a:ext cx="8992779" cy="959777"/>
          </a:xfrm>
        </p:spPr>
        <p:txBody>
          <a:bodyPr/>
          <a:lstStyle/>
          <a:p>
            <a:r>
              <a:rPr lang="en-US" sz="4800" dirty="0">
                <a:solidFill>
                  <a:schemeClr val="tx2"/>
                </a:solidFill>
              </a:rPr>
              <a:t>Linear Algebra</a:t>
            </a:r>
            <a:br>
              <a:rPr lang="en-US" sz="4800" dirty="0">
                <a:solidFill>
                  <a:schemeClr val="tx2"/>
                </a:solidFill>
              </a:rPr>
            </a:br>
            <a:br>
              <a:rPr lang="en-US" sz="4800" dirty="0">
                <a:solidFill>
                  <a:schemeClr val="tx2"/>
                </a:solidFill>
              </a:rPr>
            </a:br>
            <a:br>
              <a:rPr lang="en-US" dirty="0"/>
            </a:br>
            <a:br>
              <a:rPr lang="en-US" dirty="0"/>
            </a:br>
            <a:r>
              <a:rPr lang="en-US" dirty="0"/>
              <a:t> </a:t>
            </a:r>
          </a:p>
        </p:txBody>
      </p:sp>
    </p:spTree>
    <p:extLst>
      <p:ext uri="{BB962C8B-B14F-4D97-AF65-F5344CB8AC3E}">
        <p14:creationId xmlns:p14="http://schemas.microsoft.com/office/powerpoint/2010/main" val="1324626672"/>
      </p:ext>
    </p:extLst>
  </p:cSld>
  <p:clrMapOvr>
    <a:masterClrMapping/>
  </p:clrMapOvr>
  <p:transition spd="med">
    <p:wipe dir="r"/>
  </p:transition>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DB3D82-DC6B-4013-BF1B-6AAC717D448F}"/>
              </a:ext>
            </a:extLst>
          </p:cNvPr>
          <p:cNvSpPr>
            <a:spLocks noGrp="1"/>
          </p:cNvSpPr>
          <p:nvPr>
            <p:ph type="title"/>
          </p:nvPr>
        </p:nvSpPr>
        <p:spPr>
          <a:xfrm>
            <a:off x="0" y="0"/>
            <a:ext cx="4295219" cy="640080"/>
          </a:xfrm>
        </p:spPr>
        <p:txBody>
          <a:bodyPr/>
          <a:lstStyle/>
          <a:p>
            <a:r>
              <a:rPr lang="en-US" dirty="0"/>
              <a:t>Matrix</a:t>
            </a:r>
          </a:p>
        </p:txBody>
      </p:sp>
      <p:sp>
        <p:nvSpPr>
          <p:cNvPr id="3" name="Content Placeholder 2">
            <a:extLst>
              <a:ext uri="{FF2B5EF4-FFF2-40B4-BE49-F238E27FC236}">
                <a16:creationId xmlns:a16="http://schemas.microsoft.com/office/drawing/2014/main" id="{1316FB4E-A734-4B8B-A6C1-4A93467602B1}"/>
              </a:ext>
            </a:extLst>
          </p:cNvPr>
          <p:cNvSpPr>
            <a:spLocks noGrp="1"/>
          </p:cNvSpPr>
          <p:nvPr>
            <p:ph sz="half" idx="13"/>
          </p:nvPr>
        </p:nvSpPr>
        <p:spPr>
          <a:xfrm>
            <a:off x="174111" y="841749"/>
            <a:ext cx="7159877" cy="3200400"/>
          </a:xfrm>
        </p:spPr>
        <p:txBody>
          <a:bodyPr/>
          <a:lstStyle/>
          <a:p>
            <a:r>
              <a:rPr lang="en-US" dirty="0"/>
              <a:t>What is a Matrix ? </a:t>
            </a:r>
          </a:p>
          <a:p>
            <a:pPr lvl="1"/>
            <a:r>
              <a:rPr lang="en-US" dirty="0"/>
              <a:t>Matrix is a very useful topic that comes under linear algebra. It is an arrangement of elements, especially numbers, in a particular way. A matrix is a mathematical structure having rows and columns. </a:t>
            </a:r>
          </a:p>
          <a:p>
            <a:r>
              <a:rPr lang="en-US" dirty="0"/>
              <a:t>We use row to represent samples</a:t>
            </a:r>
          </a:p>
          <a:p>
            <a:r>
              <a:rPr lang="en-US" dirty="0"/>
              <a:t>Columns represent the value of the variable (or attributes)</a:t>
            </a:r>
          </a:p>
          <a:p>
            <a:r>
              <a:rPr lang="en-US" dirty="0"/>
              <a:t>It is also possible to use rows for variables and columns for sample</a:t>
            </a:r>
          </a:p>
        </p:txBody>
      </p:sp>
    </p:spTree>
    <p:extLst>
      <p:ext uri="{BB962C8B-B14F-4D97-AF65-F5344CB8AC3E}">
        <p14:creationId xmlns:p14="http://schemas.microsoft.com/office/powerpoint/2010/main" val="1378944581"/>
      </p:ext>
    </p:extLst>
  </p:cSld>
  <p:clrMapOvr>
    <a:masterClrMapping/>
  </p:clrMapOvr>
  <p:transition spd="med">
    <p:wipe dir="r"/>
  </p:transition>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C63AC-6520-4392-BBE7-E7885F95B9E9}"/>
              </a:ext>
            </a:extLst>
          </p:cNvPr>
          <p:cNvSpPr>
            <a:spLocks noGrp="1"/>
          </p:cNvSpPr>
          <p:nvPr>
            <p:ph type="title"/>
          </p:nvPr>
        </p:nvSpPr>
        <p:spPr>
          <a:xfrm>
            <a:off x="0" y="0"/>
            <a:ext cx="5960226" cy="640080"/>
          </a:xfrm>
        </p:spPr>
        <p:txBody>
          <a:bodyPr/>
          <a:lstStyle/>
          <a:p>
            <a:r>
              <a:rPr lang="en-US" dirty="0"/>
              <a:t>Data representation : examples</a:t>
            </a:r>
          </a:p>
        </p:txBody>
      </p:sp>
      <p:sp>
        <p:nvSpPr>
          <p:cNvPr id="3" name="Content Placeholder 2">
            <a:extLst>
              <a:ext uri="{FF2B5EF4-FFF2-40B4-BE49-F238E27FC236}">
                <a16:creationId xmlns:a16="http://schemas.microsoft.com/office/drawing/2014/main" id="{5892A58C-9063-4D3C-8AD9-53F62C2B17E8}"/>
              </a:ext>
            </a:extLst>
          </p:cNvPr>
          <p:cNvSpPr>
            <a:spLocks noGrp="1"/>
          </p:cNvSpPr>
          <p:nvPr>
            <p:ph sz="half" idx="13"/>
          </p:nvPr>
        </p:nvSpPr>
        <p:spPr>
          <a:xfrm>
            <a:off x="176597" y="882291"/>
            <a:ext cx="8241467" cy="1407161"/>
          </a:xfrm>
        </p:spPr>
        <p:txBody>
          <a:bodyPr/>
          <a:lstStyle/>
          <a:p>
            <a:r>
              <a:rPr lang="en-US" dirty="0"/>
              <a:t>A real life example</a:t>
            </a:r>
          </a:p>
          <a:p>
            <a:pPr lvl="1"/>
            <a:r>
              <a:rPr lang="en-US" dirty="0"/>
              <a:t>Consider a reactor which need to be controlled using multiple attributes from various sensors like Pressure (Pa). Temp (K) , Density (gm/m^3) etc.</a:t>
            </a:r>
          </a:p>
          <a:p>
            <a:pPr lvl="1"/>
            <a:r>
              <a:rPr lang="en-US" dirty="0"/>
              <a:t>Independently, the sensors have generated 1000 data points</a:t>
            </a:r>
          </a:p>
          <a:p>
            <a:pPr lvl="1"/>
            <a:endParaRPr lang="en-US" dirty="0"/>
          </a:p>
        </p:txBody>
      </p:sp>
      <p:pic>
        <p:nvPicPr>
          <p:cNvPr id="5" name="Picture 4">
            <a:extLst>
              <a:ext uri="{FF2B5EF4-FFF2-40B4-BE49-F238E27FC236}">
                <a16:creationId xmlns:a16="http://schemas.microsoft.com/office/drawing/2014/main" id="{11138200-64D4-42DC-9270-D1236E3E98A1}"/>
              </a:ext>
            </a:extLst>
          </p:cNvPr>
          <p:cNvPicPr>
            <a:picLocks noChangeAspect="1"/>
          </p:cNvPicPr>
          <p:nvPr/>
        </p:nvPicPr>
        <p:blipFill>
          <a:blip r:embed="rId2"/>
          <a:stretch>
            <a:fillRect/>
          </a:stretch>
        </p:blipFill>
        <p:spPr>
          <a:xfrm>
            <a:off x="1815488" y="2429056"/>
            <a:ext cx="3545269" cy="1518576"/>
          </a:xfrm>
          <a:prstGeom prst="rect">
            <a:avLst/>
          </a:prstGeom>
        </p:spPr>
      </p:pic>
    </p:spTree>
    <p:extLst>
      <p:ext uri="{BB962C8B-B14F-4D97-AF65-F5344CB8AC3E}">
        <p14:creationId xmlns:p14="http://schemas.microsoft.com/office/powerpoint/2010/main" val="1191213409"/>
      </p:ext>
    </p:extLst>
  </p:cSld>
  <p:clrMapOvr>
    <a:masterClrMapping/>
  </p:clrMapOvr>
  <p:transition spd="med">
    <p:wipe dir="r"/>
  </p:transition>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171018-4F96-4D7A-8B2D-21D855948CA2}"/>
              </a:ext>
            </a:extLst>
          </p:cNvPr>
          <p:cNvSpPr>
            <a:spLocks noGrp="1"/>
          </p:cNvSpPr>
          <p:nvPr>
            <p:ph type="title"/>
          </p:nvPr>
        </p:nvSpPr>
        <p:spPr>
          <a:xfrm>
            <a:off x="0" y="22860"/>
            <a:ext cx="4295219" cy="640080"/>
          </a:xfrm>
        </p:spPr>
        <p:txBody>
          <a:bodyPr/>
          <a:lstStyle/>
          <a:p>
            <a:r>
              <a:rPr lang="en-US" dirty="0"/>
              <a:t>Matrix Multiplication</a:t>
            </a:r>
          </a:p>
        </p:txBody>
      </p:sp>
      <p:sp>
        <p:nvSpPr>
          <p:cNvPr id="3" name="Content Placeholder 2">
            <a:extLst>
              <a:ext uri="{FF2B5EF4-FFF2-40B4-BE49-F238E27FC236}">
                <a16:creationId xmlns:a16="http://schemas.microsoft.com/office/drawing/2014/main" id="{A664E19E-C568-49BE-A995-BB475226BDF2}"/>
              </a:ext>
            </a:extLst>
          </p:cNvPr>
          <p:cNvSpPr>
            <a:spLocks noGrp="1"/>
          </p:cNvSpPr>
          <p:nvPr>
            <p:ph sz="half" idx="13"/>
          </p:nvPr>
        </p:nvSpPr>
        <p:spPr/>
        <p:txBody>
          <a:bodyPr/>
          <a:lstStyle/>
          <a:p>
            <a:endParaRPr lang="en-US"/>
          </a:p>
        </p:txBody>
      </p:sp>
    </p:spTree>
    <p:extLst>
      <p:ext uri="{BB962C8B-B14F-4D97-AF65-F5344CB8AC3E}">
        <p14:creationId xmlns:p14="http://schemas.microsoft.com/office/powerpoint/2010/main" val="1907477286"/>
      </p:ext>
    </p:extLst>
  </p:cSld>
  <p:clrMapOvr>
    <a:masterClrMapping/>
  </p:clrMapOvr>
  <p:transition spd="med">
    <p:wipe dir="r"/>
  </p:transition>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6F2AA-19B9-4836-89E6-CA8D15DFD084}"/>
              </a:ext>
            </a:extLst>
          </p:cNvPr>
          <p:cNvSpPr>
            <a:spLocks noGrp="1"/>
          </p:cNvSpPr>
          <p:nvPr>
            <p:ph type="title"/>
          </p:nvPr>
        </p:nvSpPr>
        <p:spPr>
          <a:xfrm>
            <a:off x="0" y="-23797"/>
            <a:ext cx="4295219" cy="640080"/>
          </a:xfrm>
        </p:spPr>
        <p:txBody>
          <a:bodyPr/>
          <a:lstStyle/>
          <a:p>
            <a:r>
              <a:rPr lang="en-US" dirty="0"/>
              <a:t>Matrix multiplication</a:t>
            </a:r>
          </a:p>
        </p:txBody>
      </p:sp>
      <p:sp>
        <p:nvSpPr>
          <p:cNvPr id="6" name="TextBox 5">
            <a:extLst>
              <a:ext uri="{FF2B5EF4-FFF2-40B4-BE49-F238E27FC236}">
                <a16:creationId xmlns:a16="http://schemas.microsoft.com/office/drawing/2014/main" id="{B21D58B6-8FD6-4AFC-9816-3847FDE69ED5}"/>
              </a:ext>
            </a:extLst>
          </p:cNvPr>
          <p:cNvSpPr txBox="1"/>
          <p:nvPr/>
        </p:nvSpPr>
        <p:spPr>
          <a:xfrm>
            <a:off x="104701" y="872520"/>
            <a:ext cx="8557667" cy="1384995"/>
          </a:xfrm>
          <a:prstGeom prst="rect">
            <a:avLst/>
          </a:prstGeom>
          <a:noFill/>
        </p:spPr>
        <p:txBody>
          <a:bodyPr wrap="square" rtlCol="0">
            <a:spAutoFit/>
          </a:bodyPr>
          <a:lstStyle/>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First, each entry in the row of the first matrix is multiplied by the corresponding entry in the column if the second matrix and summed up.</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This will produce the first entry in the final matrix</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The same row is then multiplied for the rest of the columns in the second matrix</a:t>
            </a:r>
          </a:p>
        </p:txBody>
      </p:sp>
      <p:pic>
        <p:nvPicPr>
          <p:cNvPr id="8" name="Picture 7">
            <a:extLst>
              <a:ext uri="{FF2B5EF4-FFF2-40B4-BE49-F238E27FC236}">
                <a16:creationId xmlns:a16="http://schemas.microsoft.com/office/drawing/2014/main" id="{9755F7A9-3F36-499F-965E-6B050896D80C}"/>
              </a:ext>
            </a:extLst>
          </p:cNvPr>
          <p:cNvPicPr>
            <a:picLocks noChangeAspect="1"/>
          </p:cNvPicPr>
          <p:nvPr/>
        </p:nvPicPr>
        <p:blipFill>
          <a:blip r:embed="rId2"/>
          <a:stretch>
            <a:fillRect/>
          </a:stretch>
        </p:blipFill>
        <p:spPr>
          <a:xfrm>
            <a:off x="1550720" y="2377379"/>
            <a:ext cx="5024762" cy="1384995"/>
          </a:xfrm>
          <a:prstGeom prst="rect">
            <a:avLst/>
          </a:prstGeom>
        </p:spPr>
      </p:pic>
      <p:sp>
        <p:nvSpPr>
          <p:cNvPr id="9" name="TextBox 8">
            <a:extLst>
              <a:ext uri="{FF2B5EF4-FFF2-40B4-BE49-F238E27FC236}">
                <a16:creationId xmlns:a16="http://schemas.microsoft.com/office/drawing/2014/main" id="{7FD38011-E6CB-463C-9BA2-71BF1E891D8C}"/>
              </a:ext>
            </a:extLst>
          </p:cNvPr>
          <p:cNvSpPr txBox="1"/>
          <p:nvPr/>
        </p:nvSpPr>
        <p:spPr>
          <a:xfrm>
            <a:off x="439750" y="4188092"/>
            <a:ext cx="8055096"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he process is the same for second row and then repeated across the entire matrix</a:t>
            </a:r>
          </a:p>
        </p:txBody>
      </p:sp>
    </p:spTree>
    <p:extLst>
      <p:ext uri="{BB962C8B-B14F-4D97-AF65-F5344CB8AC3E}">
        <p14:creationId xmlns:p14="http://schemas.microsoft.com/office/powerpoint/2010/main" val="2124142423"/>
      </p:ext>
    </p:extLst>
  </p:cSld>
  <p:clrMapOvr>
    <a:masterClrMapping/>
  </p:clrMapOvr>
  <p:transition spd="med">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0E2B6-F6CD-4C05-BF18-6EBE6281B8B8}"/>
              </a:ext>
            </a:extLst>
          </p:cNvPr>
          <p:cNvSpPr>
            <a:spLocks noGrp="1"/>
          </p:cNvSpPr>
          <p:nvPr>
            <p:ph type="title"/>
          </p:nvPr>
        </p:nvSpPr>
        <p:spPr>
          <a:xfrm>
            <a:off x="193039" y="274657"/>
            <a:ext cx="7955280" cy="640080"/>
          </a:xfrm>
        </p:spPr>
        <p:txBody>
          <a:bodyPr>
            <a:normAutofit/>
          </a:bodyPr>
          <a:lstStyle/>
          <a:p>
            <a:r>
              <a:rPr lang="en-US" dirty="0"/>
              <a:t>What is Statistics ? </a:t>
            </a:r>
          </a:p>
        </p:txBody>
      </p:sp>
      <p:pic>
        <p:nvPicPr>
          <p:cNvPr id="4" name="Picture 3">
            <a:extLst>
              <a:ext uri="{FF2B5EF4-FFF2-40B4-BE49-F238E27FC236}">
                <a16:creationId xmlns:a16="http://schemas.microsoft.com/office/drawing/2014/main" id="{695DD122-1AE0-4635-B074-79C43F8020D2}"/>
              </a:ext>
            </a:extLst>
          </p:cNvPr>
          <p:cNvPicPr>
            <a:picLocks noChangeAspect="1"/>
          </p:cNvPicPr>
          <p:nvPr/>
        </p:nvPicPr>
        <p:blipFill>
          <a:blip r:embed="rId3"/>
          <a:stretch>
            <a:fillRect/>
          </a:stretch>
        </p:blipFill>
        <p:spPr>
          <a:xfrm>
            <a:off x="93480" y="820792"/>
            <a:ext cx="8582362" cy="2424516"/>
          </a:xfrm>
          <a:prstGeom prst="rect">
            <a:avLst/>
          </a:prstGeom>
          <a:noFill/>
        </p:spPr>
      </p:pic>
      <p:sp>
        <p:nvSpPr>
          <p:cNvPr id="5" name="TextBox 4">
            <a:extLst>
              <a:ext uri="{FF2B5EF4-FFF2-40B4-BE49-F238E27FC236}">
                <a16:creationId xmlns:a16="http://schemas.microsoft.com/office/drawing/2014/main" id="{5491C1A3-7396-478E-AAB2-394B8BEDC9DE}"/>
              </a:ext>
            </a:extLst>
          </p:cNvPr>
          <p:cNvSpPr txBox="1"/>
          <p:nvPr/>
        </p:nvSpPr>
        <p:spPr>
          <a:xfrm>
            <a:off x="366432" y="3339253"/>
            <a:ext cx="8411135" cy="1260345"/>
          </a:xfrm>
          <a:prstGeom prst="rect">
            <a:avLst/>
          </a:prstGeom>
          <a:noFill/>
        </p:spPr>
        <p:txBody>
          <a:bodyPr wrap="square" rtlCol="0">
            <a:spAutoFit/>
          </a:bodyPr>
          <a:lstStyle/>
          <a:p>
            <a:pPr marL="0" marR="0">
              <a:lnSpc>
                <a:spcPct val="107000"/>
              </a:lnSpc>
              <a:spcBef>
                <a:spcPts val="0"/>
              </a:spcBef>
              <a:spcAft>
                <a:spcPts val="800"/>
              </a:spcAft>
            </a:pPr>
            <a:r>
              <a:rPr lang="en-US" dirty="0">
                <a:effectLst/>
                <a:latin typeface="Calibri" panose="020F0502020204030204" pitchFamily="34" charset="0"/>
                <a:ea typeface="DengXian" panose="02010600030101010101" pitchFamily="2" charset="-122"/>
                <a:cs typeface="Times New Roman" panose="02020603050405020304" pitchFamily="18" charset="0"/>
              </a:rPr>
              <a:t>Statistics is simply the study of data, facts, figures and measurements. Statistics is used to convert </a:t>
            </a:r>
            <a:r>
              <a:rPr lang="en-US" b="1" i="1" dirty="0">
                <a:effectLst/>
                <a:latin typeface="Calibri" panose="020F0502020204030204" pitchFamily="34" charset="0"/>
                <a:ea typeface="DengXian" panose="02010600030101010101" pitchFamily="2" charset="-122"/>
                <a:cs typeface="Times New Roman" panose="02020603050405020304" pitchFamily="18" charset="0"/>
              </a:rPr>
              <a:t>raw numerical data </a:t>
            </a:r>
            <a:r>
              <a:rPr lang="en-US" dirty="0">
                <a:effectLst/>
                <a:latin typeface="Calibri" panose="020F0502020204030204" pitchFamily="34" charset="0"/>
                <a:ea typeface="DengXian" panose="02010600030101010101" pitchFamily="2" charset="-122"/>
                <a:cs typeface="Times New Roman" panose="02020603050405020304" pitchFamily="18" charset="0"/>
              </a:rPr>
              <a:t>into </a:t>
            </a:r>
            <a:r>
              <a:rPr lang="en-US" b="1" i="1" dirty="0">
                <a:effectLst/>
                <a:latin typeface="Calibri" panose="020F0502020204030204" pitchFamily="34" charset="0"/>
                <a:ea typeface="DengXian" panose="02010600030101010101" pitchFamily="2" charset="-122"/>
                <a:cs typeface="Times New Roman" panose="02020603050405020304" pitchFamily="18" charset="0"/>
              </a:rPr>
              <a:t>useful information </a:t>
            </a:r>
            <a:r>
              <a:rPr lang="en-US" dirty="0">
                <a:effectLst/>
                <a:latin typeface="Calibri" panose="020F0502020204030204" pitchFamily="34" charset="0"/>
                <a:ea typeface="DengXian" panose="02010600030101010101" pitchFamily="2" charset="-122"/>
                <a:cs typeface="Times New Roman" panose="02020603050405020304" pitchFamily="18" charset="0"/>
              </a:rPr>
              <a:t>for relevant users. </a:t>
            </a:r>
          </a:p>
        </p:txBody>
      </p:sp>
    </p:spTree>
    <p:extLst>
      <p:ext uri="{BB962C8B-B14F-4D97-AF65-F5344CB8AC3E}">
        <p14:creationId xmlns:p14="http://schemas.microsoft.com/office/powerpoint/2010/main" val="364729349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353F6A-9246-4D32-89E2-3F5351AEB908}"/>
              </a:ext>
            </a:extLst>
          </p:cNvPr>
          <p:cNvSpPr>
            <a:spLocks noGrp="1"/>
          </p:cNvSpPr>
          <p:nvPr>
            <p:ph type="title"/>
          </p:nvPr>
        </p:nvSpPr>
        <p:spPr>
          <a:xfrm>
            <a:off x="0" y="22860"/>
            <a:ext cx="8813314" cy="640080"/>
          </a:xfrm>
        </p:spPr>
        <p:txBody>
          <a:bodyPr/>
          <a:lstStyle/>
          <a:p>
            <a:r>
              <a:rPr lang="en-US" dirty="0"/>
              <a:t>Difference between Descriptive &amp; Inferential Statistics</a:t>
            </a:r>
          </a:p>
        </p:txBody>
      </p:sp>
      <p:sp>
        <p:nvSpPr>
          <p:cNvPr id="3" name="Content Placeholder 2">
            <a:extLst>
              <a:ext uri="{FF2B5EF4-FFF2-40B4-BE49-F238E27FC236}">
                <a16:creationId xmlns:a16="http://schemas.microsoft.com/office/drawing/2014/main" id="{15960CB5-F854-43A7-A136-BE3BA4C2B693}"/>
              </a:ext>
            </a:extLst>
          </p:cNvPr>
          <p:cNvSpPr>
            <a:spLocks noGrp="1"/>
          </p:cNvSpPr>
          <p:nvPr>
            <p:ph sz="half" idx="13"/>
          </p:nvPr>
        </p:nvSpPr>
        <p:spPr/>
        <p:txBody>
          <a:bodyPr/>
          <a:lstStyle/>
          <a:p>
            <a:endParaRPr lang="en-US" dirty="0"/>
          </a:p>
        </p:txBody>
      </p:sp>
      <p:sp>
        <p:nvSpPr>
          <p:cNvPr id="4" name="Content Placeholder 3">
            <a:extLst>
              <a:ext uri="{FF2B5EF4-FFF2-40B4-BE49-F238E27FC236}">
                <a16:creationId xmlns:a16="http://schemas.microsoft.com/office/drawing/2014/main" id="{D0BD7AFE-1A0A-4FDF-8FF1-3E5CEB10A8A3}"/>
              </a:ext>
            </a:extLst>
          </p:cNvPr>
          <p:cNvSpPr>
            <a:spLocks noGrp="1"/>
          </p:cNvSpPr>
          <p:nvPr>
            <p:ph sz="half" idx="14"/>
          </p:nvPr>
        </p:nvSpPr>
        <p:spPr/>
        <p:txBody>
          <a:bodyPr/>
          <a:lstStyle/>
          <a:p>
            <a:endParaRPr lang="en-US" dirty="0"/>
          </a:p>
        </p:txBody>
      </p:sp>
    </p:spTree>
    <p:extLst>
      <p:ext uri="{BB962C8B-B14F-4D97-AF65-F5344CB8AC3E}">
        <p14:creationId xmlns:p14="http://schemas.microsoft.com/office/powerpoint/2010/main" val="1717064405"/>
      </p:ext>
    </p:extLst>
  </p:cSld>
  <p:clrMapOvr>
    <a:masterClrMapping/>
  </p:clrMapOvr>
  <p:transition spd="med">
    <p:wipe dir="r"/>
  </p:transition>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4C8A27-796E-42CF-BE3F-B0F1F1EA0D12}"/>
              </a:ext>
            </a:extLst>
          </p:cNvPr>
          <p:cNvSpPr>
            <a:spLocks noGrp="1"/>
          </p:cNvSpPr>
          <p:nvPr>
            <p:ph type="title"/>
          </p:nvPr>
        </p:nvSpPr>
        <p:spPr>
          <a:xfrm>
            <a:off x="0" y="22860"/>
            <a:ext cx="8326498" cy="640080"/>
          </a:xfrm>
        </p:spPr>
        <p:txBody>
          <a:bodyPr/>
          <a:lstStyle/>
          <a:p>
            <a:r>
              <a:rPr lang="en-US" dirty="0"/>
              <a:t>Matrix multiplication – Now in reverse</a:t>
            </a:r>
          </a:p>
        </p:txBody>
      </p:sp>
      <p:sp>
        <p:nvSpPr>
          <p:cNvPr id="3" name="Content Placeholder 2">
            <a:extLst>
              <a:ext uri="{FF2B5EF4-FFF2-40B4-BE49-F238E27FC236}">
                <a16:creationId xmlns:a16="http://schemas.microsoft.com/office/drawing/2014/main" id="{99FE1EB5-3A29-4437-A9D3-70FF41314356}"/>
              </a:ext>
            </a:extLst>
          </p:cNvPr>
          <p:cNvSpPr>
            <a:spLocks noGrp="1"/>
          </p:cNvSpPr>
          <p:nvPr>
            <p:ph sz="half" idx="13"/>
          </p:nvPr>
        </p:nvSpPr>
        <p:spPr>
          <a:xfrm>
            <a:off x="113777" y="854371"/>
            <a:ext cx="7850578" cy="640080"/>
          </a:xfrm>
        </p:spPr>
        <p:txBody>
          <a:bodyPr/>
          <a:lstStyle/>
          <a:p>
            <a:r>
              <a:rPr lang="en-US" dirty="0"/>
              <a:t>The same 3X2 matrix and a 2X3 matrix multiplies in reverse will produce 3X3 matrix</a:t>
            </a:r>
          </a:p>
        </p:txBody>
      </p:sp>
      <p:pic>
        <p:nvPicPr>
          <p:cNvPr id="5" name="Picture 4">
            <a:extLst>
              <a:ext uri="{FF2B5EF4-FFF2-40B4-BE49-F238E27FC236}">
                <a16:creationId xmlns:a16="http://schemas.microsoft.com/office/drawing/2014/main" id="{BE1EF174-8310-4407-BFA6-57688867C511}"/>
              </a:ext>
            </a:extLst>
          </p:cNvPr>
          <p:cNvPicPr>
            <a:picLocks noChangeAspect="1"/>
          </p:cNvPicPr>
          <p:nvPr/>
        </p:nvPicPr>
        <p:blipFill>
          <a:blip r:embed="rId2"/>
          <a:stretch>
            <a:fillRect/>
          </a:stretch>
        </p:blipFill>
        <p:spPr>
          <a:xfrm>
            <a:off x="914619" y="1685882"/>
            <a:ext cx="5674646" cy="914037"/>
          </a:xfrm>
          <a:prstGeom prst="rect">
            <a:avLst/>
          </a:prstGeom>
        </p:spPr>
      </p:pic>
      <p:sp>
        <p:nvSpPr>
          <p:cNvPr id="6" name="TextBox 5">
            <a:extLst>
              <a:ext uri="{FF2B5EF4-FFF2-40B4-BE49-F238E27FC236}">
                <a16:creationId xmlns:a16="http://schemas.microsoft.com/office/drawing/2014/main" id="{E12E1EA8-34CB-4761-B83F-E8707696F202}"/>
              </a:ext>
            </a:extLst>
          </p:cNvPr>
          <p:cNvSpPr txBox="1"/>
          <p:nvPr/>
        </p:nvSpPr>
        <p:spPr>
          <a:xfrm>
            <a:off x="113777" y="3301612"/>
            <a:ext cx="8066962"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Note that </a:t>
            </a:r>
            <a:r>
              <a:rPr lang="en-US" sz="1400" b="1" dirty="0">
                <a:solidFill>
                  <a:schemeClr val="bg2"/>
                </a:solidFill>
                <a:latin typeface="+mn-lt"/>
              </a:rPr>
              <a:t>the number of rows in the first matrix and number of columns in the second matrix </a:t>
            </a:r>
            <a:r>
              <a:rPr lang="en-US" sz="1400" dirty="0">
                <a:solidFill>
                  <a:schemeClr val="bg2"/>
                </a:solidFill>
                <a:latin typeface="+mn-lt"/>
              </a:rPr>
              <a:t>(show in bold above) will determine the size of final matrix</a:t>
            </a:r>
          </a:p>
        </p:txBody>
      </p:sp>
    </p:spTree>
    <p:extLst>
      <p:ext uri="{BB962C8B-B14F-4D97-AF65-F5344CB8AC3E}">
        <p14:creationId xmlns:p14="http://schemas.microsoft.com/office/powerpoint/2010/main" val="2973120178"/>
      </p:ext>
    </p:extLst>
  </p:cSld>
  <p:clrMapOvr>
    <a:masterClrMapping/>
  </p:clrMapOvr>
  <p:transition spd="med">
    <p:wipe dir="r"/>
  </p:transition>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A81B4F-57F5-4E97-A54A-08CBA8A083AE}"/>
              </a:ext>
            </a:extLst>
          </p:cNvPr>
          <p:cNvSpPr>
            <a:spLocks noGrp="1"/>
          </p:cNvSpPr>
          <p:nvPr>
            <p:ph type="title"/>
          </p:nvPr>
        </p:nvSpPr>
        <p:spPr>
          <a:xfrm>
            <a:off x="0" y="0"/>
            <a:ext cx="6874626" cy="640080"/>
          </a:xfrm>
        </p:spPr>
        <p:txBody>
          <a:bodyPr/>
          <a:lstStyle/>
          <a:p>
            <a:r>
              <a:rPr lang="en-US" dirty="0"/>
              <a:t>Matrix multiply by a scalar number</a:t>
            </a:r>
          </a:p>
        </p:txBody>
      </p:sp>
      <p:sp>
        <p:nvSpPr>
          <p:cNvPr id="3" name="Content Placeholder 2">
            <a:extLst>
              <a:ext uri="{FF2B5EF4-FFF2-40B4-BE49-F238E27FC236}">
                <a16:creationId xmlns:a16="http://schemas.microsoft.com/office/drawing/2014/main" id="{2F90F021-08A7-4860-959E-C8DBD84C4579}"/>
              </a:ext>
            </a:extLst>
          </p:cNvPr>
          <p:cNvSpPr>
            <a:spLocks noGrp="1"/>
          </p:cNvSpPr>
          <p:nvPr>
            <p:ph sz="half" idx="13"/>
          </p:nvPr>
        </p:nvSpPr>
        <p:spPr/>
        <p:txBody>
          <a:bodyPr/>
          <a:lstStyle/>
          <a:p>
            <a:endParaRPr lang="en-US"/>
          </a:p>
        </p:txBody>
      </p:sp>
    </p:spTree>
    <p:extLst>
      <p:ext uri="{BB962C8B-B14F-4D97-AF65-F5344CB8AC3E}">
        <p14:creationId xmlns:p14="http://schemas.microsoft.com/office/powerpoint/2010/main" val="3300044266"/>
      </p:ext>
    </p:extLst>
  </p:cSld>
  <p:clrMapOvr>
    <a:masterClrMapping/>
  </p:clrMapOvr>
  <p:transition spd="med">
    <p:wipe dir="r"/>
  </p:transition>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4602F8-0037-4122-A405-50EA599890FE}"/>
              </a:ext>
            </a:extLst>
          </p:cNvPr>
          <p:cNvSpPr>
            <a:spLocks noGrp="1"/>
          </p:cNvSpPr>
          <p:nvPr>
            <p:ph type="title"/>
          </p:nvPr>
        </p:nvSpPr>
        <p:spPr>
          <a:xfrm>
            <a:off x="0" y="0"/>
            <a:ext cx="7111952" cy="640080"/>
          </a:xfrm>
        </p:spPr>
        <p:txBody>
          <a:bodyPr/>
          <a:lstStyle/>
          <a:p>
            <a:r>
              <a:rPr lang="en-US" dirty="0"/>
              <a:t>Multiply a Matrix by Another Matrix</a:t>
            </a:r>
          </a:p>
        </p:txBody>
      </p:sp>
      <p:pic>
        <p:nvPicPr>
          <p:cNvPr id="5" name="Picture 4">
            <a:extLst>
              <a:ext uri="{FF2B5EF4-FFF2-40B4-BE49-F238E27FC236}">
                <a16:creationId xmlns:a16="http://schemas.microsoft.com/office/drawing/2014/main" id="{0A61E08D-529A-4D5B-B2A9-83D91437448D}"/>
              </a:ext>
            </a:extLst>
          </p:cNvPr>
          <p:cNvPicPr>
            <a:picLocks noChangeAspect="1"/>
          </p:cNvPicPr>
          <p:nvPr/>
        </p:nvPicPr>
        <p:blipFill>
          <a:blip r:embed="rId2"/>
          <a:stretch>
            <a:fillRect/>
          </a:stretch>
        </p:blipFill>
        <p:spPr>
          <a:xfrm>
            <a:off x="167887" y="810061"/>
            <a:ext cx="3287288" cy="1189019"/>
          </a:xfrm>
          <a:prstGeom prst="rect">
            <a:avLst/>
          </a:prstGeom>
        </p:spPr>
      </p:pic>
      <p:pic>
        <p:nvPicPr>
          <p:cNvPr id="7" name="Picture 6">
            <a:extLst>
              <a:ext uri="{FF2B5EF4-FFF2-40B4-BE49-F238E27FC236}">
                <a16:creationId xmlns:a16="http://schemas.microsoft.com/office/drawing/2014/main" id="{D68271B8-926E-467D-A653-2D37F5BC6863}"/>
              </a:ext>
            </a:extLst>
          </p:cNvPr>
          <p:cNvPicPr>
            <a:picLocks noChangeAspect="1"/>
          </p:cNvPicPr>
          <p:nvPr/>
        </p:nvPicPr>
        <p:blipFill>
          <a:blip r:embed="rId3"/>
          <a:stretch>
            <a:fillRect/>
          </a:stretch>
        </p:blipFill>
        <p:spPr>
          <a:xfrm>
            <a:off x="653044" y="2017525"/>
            <a:ext cx="3688611" cy="1151622"/>
          </a:xfrm>
          <a:prstGeom prst="rect">
            <a:avLst/>
          </a:prstGeom>
        </p:spPr>
      </p:pic>
      <p:pic>
        <p:nvPicPr>
          <p:cNvPr id="9" name="Picture 8">
            <a:extLst>
              <a:ext uri="{FF2B5EF4-FFF2-40B4-BE49-F238E27FC236}">
                <a16:creationId xmlns:a16="http://schemas.microsoft.com/office/drawing/2014/main" id="{E9D812CF-4123-485A-8B89-8865CDBDDDEC}"/>
              </a:ext>
            </a:extLst>
          </p:cNvPr>
          <p:cNvPicPr>
            <a:picLocks noChangeAspect="1"/>
          </p:cNvPicPr>
          <p:nvPr/>
        </p:nvPicPr>
        <p:blipFill>
          <a:blip r:embed="rId4"/>
          <a:stretch>
            <a:fillRect/>
          </a:stretch>
        </p:blipFill>
        <p:spPr>
          <a:xfrm>
            <a:off x="1504950" y="3297252"/>
            <a:ext cx="4044271" cy="1036187"/>
          </a:xfrm>
          <a:prstGeom prst="rect">
            <a:avLst/>
          </a:prstGeom>
        </p:spPr>
      </p:pic>
    </p:spTree>
    <p:extLst>
      <p:ext uri="{BB962C8B-B14F-4D97-AF65-F5344CB8AC3E}">
        <p14:creationId xmlns:p14="http://schemas.microsoft.com/office/powerpoint/2010/main" val="3043321488"/>
      </p:ext>
    </p:extLst>
  </p:cSld>
  <p:clrMapOvr>
    <a:masterClrMapping/>
  </p:clrMapOvr>
  <p:transition spd="med">
    <p:wipe dir="r"/>
  </p:transition>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E10C3E-E555-4010-97DE-9E271731FF60}"/>
              </a:ext>
            </a:extLst>
          </p:cNvPr>
          <p:cNvSpPr>
            <a:spLocks noGrp="1"/>
          </p:cNvSpPr>
          <p:nvPr>
            <p:ph type="title"/>
          </p:nvPr>
        </p:nvSpPr>
        <p:spPr>
          <a:xfrm>
            <a:off x="0" y="0"/>
            <a:ext cx="8549863" cy="640080"/>
          </a:xfrm>
        </p:spPr>
        <p:txBody>
          <a:bodyPr/>
          <a:lstStyle/>
          <a:p>
            <a:r>
              <a:rPr lang="en-US" dirty="0"/>
              <a:t>Matrix multiplication -  Compatibility </a:t>
            </a:r>
          </a:p>
        </p:txBody>
      </p:sp>
      <p:sp>
        <p:nvSpPr>
          <p:cNvPr id="3" name="Content Placeholder 2">
            <a:extLst>
              <a:ext uri="{FF2B5EF4-FFF2-40B4-BE49-F238E27FC236}">
                <a16:creationId xmlns:a16="http://schemas.microsoft.com/office/drawing/2014/main" id="{C36D32FF-86B2-4D30-9725-EEE86FC27A64}"/>
              </a:ext>
            </a:extLst>
          </p:cNvPr>
          <p:cNvSpPr>
            <a:spLocks noGrp="1"/>
          </p:cNvSpPr>
          <p:nvPr>
            <p:ph sz="half" idx="13"/>
          </p:nvPr>
        </p:nvSpPr>
        <p:spPr>
          <a:xfrm>
            <a:off x="88299" y="875311"/>
            <a:ext cx="8967402" cy="3200400"/>
          </a:xfrm>
        </p:spPr>
        <p:txBody>
          <a:bodyPr/>
          <a:lstStyle/>
          <a:p>
            <a:r>
              <a:rPr lang="en-US" dirty="0"/>
              <a:t>A matrix is compatible with another only if the number of columns in the first matrix is equal to the number of rows in the second</a:t>
            </a:r>
          </a:p>
        </p:txBody>
      </p:sp>
      <p:pic>
        <p:nvPicPr>
          <p:cNvPr id="5" name="Picture 4">
            <a:extLst>
              <a:ext uri="{FF2B5EF4-FFF2-40B4-BE49-F238E27FC236}">
                <a16:creationId xmlns:a16="http://schemas.microsoft.com/office/drawing/2014/main" id="{3E681C18-0FEB-40C2-AD89-9779F42F8D7A}"/>
              </a:ext>
            </a:extLst>
          </p:cNvPr>
          <p:cNvPicPr>
            <a:picLocks noChangeAspect="1"/>
          </p:cNvPicPr>
          <p:nvPr/>
        </p:nvPicPr>
        <p:blipFill>
          <a:blip r:embed="rId2"/>
          <a:stretch>
            <a:fillRect/>
          </a:stretch>
        </p:blipFill>
        <p:spPr>
          <a:xfrm>
            <a:off x="720374" y="1641146"/>
            <a:ext cx="4856768" cy="2627043"/>
          </a:xfrm>
          <a:prstGeom prst="rect">
            <a:avLst/>
          </a:prstGeom>
        </p:spPr>
      </p:pic>
    </p:spTree>
    <p:extLst>
      <p:ext uri="{BB962C8B-B14F-4D97-AF65-F5344CB8AC3E}">
        <p14:creationId xmlns:p14="http://schemas.microsoft.com/office/powerpoint/2010/main" val="1204448208"/>
      </p:ext>
    </p:extLst>
  </p:cSld>
  <p:clrMapOvr>
    <a:masterClrMapping/>
  </p:clrMapOvr>
  <p:transition spd="med">
    <p:wipe dir="r"/>
  </p:transition>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B16240-BB33-4B0D-B473-E7839EE8CC11}"/>
              </a:ext>
            </a:extLst>
          </p:cNvPr>
          <p:cNvSpPr>
            <a:spLocks noGrp="1"/>
          </p:cNvSpPr>
          <p:nvPr>
            <p:ph type="title"/>
          </p:nvPr>
        </p:nvSpPr>
        <p:spPr>
          <a:xfrm>
            <a:off x="0" y="22860"/>
            <a:ext cx="4295219" cy="640080"/>
          </a:xfrm>
        </p:spPr>
        <p:txBody>
          <a:bodyPr/>
          <a:lstStyle/>
          <a:p>
            <a:r>
              <a:rPr lang="en-US" dirty="0"/>
              <a:t>Identity Matrix</a:t>
            </a:r>
          </a:p>
        </p:txBody>
      </p:sp>
      <p:sp>
        <p:nvSpPr>
          <p:cNvPr id="3" name="Content Placeholder 2">
            <a:extLst>
              <a:ext uri="{FF2B5EF4-FFF2-40B4-BE49-F238E27FC236}">
                <a16:creationId xmlns:a16="http://schemas.microsoft.com/office/drawing/2014/main" id="{72397C41-6F3F-4D1E-9D0E-77993D9C3342}"/>
              </a:ext>
            </a:extLst>
          </p:cNvPr>
          <p:cNvSpPr>
            <a:spLocks noGrp="1"/>
          </p:cNvSpPr>
          <p:nvPr>
            <p:ph sz="half" idx="13"/>
          </p:nvPr>
        </p:nvSpPr>
        <p:spPr>
          <a:xfrm>
            <a:off x="274320" y="2156866"/>
            <a:ext cx="6768654" cy="2323693"/>
          </a:xfrm>
        </p:spPr>
        <p:txBody>
          <a:bodyPr/>
          <a:lstStyle/>
          <a:p>
            <a:r>
              <a:rPr lang="en-US" dirty="0"/>
              <a:t>It is “square” (has same number of rows as columns)</a:t>
            </a:r>
          </a:p>
          <a:p>
            <a:r>
              <a:rPr lang="en-US" dirty="0"/>
              <a:t>It can be large or small (2x2, 100x100,… so on)</a:t>
            </a:r>
          </a:p>
          <a:p>
            <a:r>
              <a:rPr lang="en-US" dirty="0"/>
              <a:t>It has 1s on the main diagonal and 0s everywhere else</a:t>
            </a:r>
          </a:p>
          <a:p>
            <a:r>
              <a:rPr lang="en-US" dirty="0"/>
              <a:t>Its symbol is the capital letter I</a:t>
            </a:r>
          </a:p>
        </p:txBody>
      </p:sp>
      <p:pic>
        <p:nvPicPr>
          <p:cNvPr id="5" name="Picture 4">
            <a:extLst>
              <a:ext uri="{FF2B5EF4-FFF2-40B4-BE49-F238E27FC236}">
                <a16:creationId xmlns:a16="http://schemas.microsoft.com/office/drawing/2014/main" id="{125AA284-9367-4610-85B0-797E13CE3605}"/>
              </a:ext>
            </a:extLst>
          </p:cNvPr>
          <p:cNvPicPr>
            <a:picLocks noChangeAspect="1"/>
          </p:cNvPicPr>
          <p:nvPr/>
        </p:nvPicPr>
        <p:blipFill>
          <a:blip r:embed="rId2"/>
          <a:stretch>
            <a:fillRect/>
          </a:stretch>
        </p:blipFill>
        <p:spPr>
          <a:xfrm>
            <a:off x="2301159" y="662940"/>
            <a:ext cx="2284663" cy="1399004"/>
          </a:xfrm>
          <a:prstGeom prst="rect">
            <a:avLst/>
          </a:prstGeom>
        </p:spPr>
      </p:pic>
      <p:pic>
        <p:nvPicPr>
          <p:cNvPr id="7" name="Picture 6">
            <a:extLst>
              <a:ext uri="{FF2B5EF4-FFF2-40B4-BE49-F238E27FC236}">
                <a16:creationId xmlns:a16="http://schemas.microsoft.com/office/drawing/2014/main" id="{73DA0457-B35E-40D4-A2B4-E69C08558E6D}"/>
              </a:ext>
            </a:extLst>
          </p:cNvPr>
          <p:cNvPicPr>
            <a:picLocks noChangeAspect="1"/>
          </p:cNvPicPr>
          <p:nvPr/>
        </p:nvPicPr>
        <p:blipFill>
          <a:blip r:embed="rId3"/>
          <a:stretch>
            <a:fillRect/>
          </a:stretch>
        </p:blipFill>
        <p:spPr>
          <a:xfrm>
            <a:off x="3214132" y="4146031"/>
            <a:ext cx="1490492" cy="958642"/>
          </a:xfrm>
          <a:prstGeom prst="rect">
            <a:avLst/>
          </a:prstGeom>
        </p:spPr>
      </p:pic>
      <p:sp>
        <p:nvSpPr>
          <p:cNvPr id="8" name="TextBox 7">
            <a:extLst>
              <a:ext uri="{FF2B5EF4-FFF2-40B4-BE49-F238E27FC236}">
                <a16:creationId xmlns:a16="http://schemas.microsoft.com/office/drawing/2014/main" id="{F41A1D55-5665-4080-9E02-D3DE9A3F8C07}"/>
              </a:ext>
            </a:extLst>
          </p:cNvPr>
          <p:cNvSpPr txBox="1"/>
          <p:nvPr/>
        </p:nvSpPr>
        <p:spPr>
          <a:xfrm>
            <a:off x="216385" y="3713441"/>
            <a:ext cx="7049954"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It is a special matrix, because  when we multiply by it, the original matrix is unchanged</a:t>
            </a:r>
          </a:p>
        </p:txBody>
      </p:sp>
    </p:spTree>
    <p:extLst>
      <p:ext uri="{BB962C8B-B14F-4D97-AF65-F5344CB8AC3E}">
        <p14:creationId xmlns:p14="http://schemas.microsoft.com/office/powerpoint/2010/main" val="1107294824"/>
      </p:ext>
    </p:extLst>
  </p:cSld>
  <p:clrMapOvr>
    <a:masterClrMapping/>
  </p:clrMapOvr>
  <p:transition spd="med">
    <p:wipe dir="r"/>
  </p:transition>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1634F8-3763-45F0-A1DE-C2F78F327115}"/>
              </a:ext>
            </a:extLst>
          </p:cNvPr>
          <p:cNvSpPr>
            <a:spLocks noGrp="1"/>
          </p:cNvSpPr>
          <p:nvPr>
            <p:ph type="title"/>
          </p:nvPr>
        </p:nvSpPr>
        <p:spPr>
          <a:xfrm>
            <a:off x="0" y="22860"/>
            <a:ext cx="4295219" cy="640080"/>
          </a:xfrm>
        </p:spPr>
        <p:txBody>
          <a:bodyPr/>
          <a:lstStyle/>
          <a:p>
            <a:r>
              <a:rPr lang="en-US" dirty="0"/>
              <a:t>Order of Multiplication </a:t>
            </a:r>
          </a:p>
        </p:txBody>
      </p:sp>
      <p:sp>
        <p:nvSpPr>
          <p:cNvPr id="3" name="Content Placeholder 2">
            <a:extLst>
              <a:ext uri="{FF2B5EF4-FFF2-40B4-BE49-F238E27FC236}">
                <a16:creationId xmlns:a16="http://schemas.microsoft.com/office/drawing/2014/main" id="{A3980B23-9561-4AB9-8447-C53D73273956}"/>
              </a:ext>
            </a:extLst>
          </p:cNvPr>
          <p:cNvSpPr>
            <a:spLocks noGrp="1"/>
          </p:cNvSpPr>
          <p:nvPr>
            <p:ph sz="half" idx="13"/>
          </p:nvPr>
        </p:nvSpPr>
        <p:spPr>
          <a:xfrm>
            <a:off x="105749" y="662940"/>
            <a:ext cx="8932501" cy="3817620"/>
          </a:xfrm>
        </p:spPr>
        <p:txBody>
          <a:bodyPr/>
          <a:lstStyle/>
          <a:p>
            <a:endParaRPr lang="en-US"/>
          </a:p>
        </p:txBody>
      </p:sp>
    </p:spTree>
    <p:extLst>
      <p:ext uri="{BB962C8B-B14F-4D97-AF65-F5344CB8AC3E}">
        <p14:creationId xmlns:p14="http://schemas.microsoft.com/office/powerpoint/2010/main" val="1244905684"/>
      </p:ext>
    </p:extLst>
  </p:cSld>
  <p:clrMapOvr>
    <a:masterClrMapping/>
  </p:clrMapOvr>
  <p:transition spd="med">
    <p:wipe dir="r"/>
  </p:transition>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C63BA7-EFC0-44D5-B846-F5C57C72B312}"/>
              </a:ext>
            </a:extLst>
          </p:cNvPr>
          <p:cNvSpPr>
            <a:spLocks noGrp="1"/>
          </p:cNvSpPr>
          <p:nvPr>
            <p:ph type="title"/>
          </p:nvPr>
        </p:nvSpPr>
        <p:spPr>
          <a:xfrm>
            <a:off x="0" y="0"/>
            <a:ext cx="4295219" cy="640080"/>
          </a:xfrm>
        </p:spPr>
        <p:txBody>
          <a:bodyPr/>
          <a:lstStyle/>
          <a:p>
            <a:r>
              <a:rPr lang="en-US" dirty="0"/>
              <a:t>Factorization</a:t>
            </a:r>
          </a:p>
        </p:txBody>
      </p:sp>
      <p:sp>
        <p:nvSpPr>
          <p:cNvPr id="3" name="Content Placeholder 2">
            <a:extLst>
              <a:ext uri="{FF2B5EF4-FFF2-40B4-BE49-F238E27FC236}">
                <a16:creationId xmlns:a16="http://schemas.microsoft.com/office/drawing/2014/main" id="{D64F550C-7CAF-4641-8999-EA086C38BEB2}"/>
              </a:ext>
            </a:extLst>
          </p:cNvPr>
          <p:cNvSpPr>
            <a:spLocks noGrp="1"/>
          </p:cNvSpPr>
          <p:nvPr>
            <p:ph sz="half" idx="13"/>
          </p:nvPr>
        </p:nvSpPr>
        <p:spPr>
          <a:xfrm>
            <a:off x="155656" y="812489"/>
            <a:ext cx="8646315" cy="3200400"/>
          </a:xfrm>
        </p:spPr>
        <p:txBody>
          <a:bodyPr/>
          <a:lstStyle/>
          <a:p>
            <a:r>
              <a:rPr lang="en-US" dirty="0"/>
              <a:t>Factors of a number are numbers that divide evenly into another number. Factorization writes a number as the product of smaller numbers</a:t>
            </a:r>
          </a:p>
        </p:txBody>
      </p:sp>
    </p:spTree>
    <p:extLst>
      <p:ext uri="{BB962C8B-B14F-4D97-AF65-F5344CB8AC3E}">
        <p14:creationId xmlns:p14="http://schemas.microsoft.com/office/powerpoint/2010/main" val="590319493"/>
      </p:ext>
    </p:extLst>
  </p:cSld>
  <p:clrMapOvr>
    <a:masterClrMapping/>
  </p:clrMapOvr>
  <p:transition spd="med">
    <p:wipe dir="r"/>
  </p:transition>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2125C3-3D05-45AA-B061-7F3BEBE2DCF6}"/>
              </a:ext>
            </a:extLst>
          </p:cNvPr>
          <p:cNvSpPr>
            <a:spLocks noGrp="1"/>
          </p:cNvSpPr>
          <p:nvPr>
            <p:ph type="title"/>
          </p:nvPr>
        </p:nvSpPr>
        <p:spPr>
          <a:xfrm>
            <a:off x="0" y="0"/>
            <a:ext cx="6574480" cy="640080"/>
          </a:xfrm>
        </p:spPr>
        <p:txBody>
          <a:bodyPr/>
          <a:lstStyle/>
          <a:p>
            <a:r>
              <a:rPr lang="en-US" dirty="0"/>
              <a:t>Why do we use factorization ?</a:t>
            </a:r>
          </a:p>
        </p:txBody>
      </p:sp>
      <p:sp>
        <p:nvSpPr>
          <p:cNvPr id="3" name="Content Placeholder 2">
            <a:extLst>
              <a:ext uri="{FF2B5EF4-FFF2-40B4-BE49-F238E27FC236}">
                <a16:creationId xmlns:a16="http://schemas.microsoft.com/office/drawing/2014/main" id="{0DF9D8B8-2868-4CE6-ACF5-72B10B55C14F}"/>
              </a:ext>
            </a:extLst>
          </p:cNvPr>
          <p:cNvSpPr>
            <a:spLocks noGrp="1"/>
          </p:cNvSpPr>
          <p:nvPr>
            <p:ph sz="half" idx="13"/>
          </p:nvPr>
        </p:nvSpPr>
        <p:spPr>
          <a:xfrm>
            <a:off x="274319" y="1280160"/>
            <a:ext cx="7180483" cy="1225715"/>
          </a:xfrm>
        </p:spPr>
        <p:txBody>
          <a:bodyPr/>
          <a:lstStyle/>
          <a:p>
            <a:r>
              <a:rPr lang="en-US" dirty="0"/>
              <a:t>It can be used for many things, like helping perform arithmetic operation.</a:t>
            </a:r>
          </a:p>
          <a:p>
            <a:r>
              <a:rPr lang="en-US" dirty="0"/>
              <a:t>For ex 15 X 8 </a:t>
            </a:r>
          </a:p>
          <a:p>
            <a:pPr lvl="1"/>
            <a:r>
              <a:rPr lang="en-US" dirty="0"/>
              <a:t>Factor 15 and 8 :</a:t>
            </a:r>
          </a:p>
          <a:p>
            <a:pPr lvl="2"/>
            <a:r>
              <a:rPr lang="en-US" dirty="0"/>
              <a:t>15 = 3X5</a:t>
            </a:r>
          </a:p>
          <a:p>
            <a:pPr lvl="2"/>
            <a:r>
              <a:rPr lang="en-US" dirty="0"/>
              <a:t>8 = 2X4</a:t>
            </a:r>
          </a:p>
        </p:txBody>
      </p:sp>
      <p:sp>
        <p:nvSpPr>
          <p:cNvPr id="4" name="TextBox 3">
            <a:extLst>
              <a:ext uri="{FF2B5EF4-FFF2-40B4-BE49-F238E27FC236}">
                <a16:creationId xmlns:a16="http://schemas.microsoft.com/office/drawing/2014/main" id="{97496E6F-9696-47F5-99E6-9EA00A9FFA1D}"/>
              </a:ext>
            </a:extLst>
          </p:cNvPr>
          <p:cNvSpPr txBox="1"/>
          <p:nvPr/>
        </p:nvSpPr>
        <p:spPr>
          <a:xfrm>
            <a:off x="307127" y="2778101"/>
            <a:ext cx="7280299" cy="738664"/>
          </a:xfrm>
          <a:prstGeom prst="rect">
            <a:avLst/>
          </a:prstGeom>
          <a:noFill/>
        </p:spPr>
        <p:txBody>
          <a:bodyPr wrap="square" rtlCol="0">
            <a:spAutoFit/>
          </a:bodyPr>
          <a:lstStyle/>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Now we group the factors so that it is easier for us to multiply </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a:p>
            <a:pPr marL="742950" lvl="1"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2X5) X (3X4) = 10 X 12 = 120</a:t>
            </a:r>
          </a:p>
        </p:txBody>
      </p:sp>
    </p:spTree>
    <p:extLst>
      <p:ext uri="{BB962C8B-B14F-4D97-AF65-F5344CB8AC3E}">
        <p14:creationId xmlns:p14="http://schemas.microsoft.com/office/powerpoint/2010/main" val="3440900294"/>
      </p:ext>
    </p:extLst>
  </p:cSld>
  <p:clrMapOvr>
    <a:masterClrMapping/>
  </p:clrMapOvr>
  <p:transition spd="med">
    <p:wipe dir="r"/>
  </p:transition>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ECC50A-AFE1-48EC-8CCC-68DEBBB201A1}"/>
              </a:ext>
            </a:extLst>
          </p:cNvPr>
          <p:cNvSpPr>
            <a:spLocks noGrp="1"/>
          </p:cNvSpPr>
          <p:nvPr>
            <p:ph type="title"/>
          </p:nvPr>
        </p:nvSpPr>
        <p:spPr>
          <a:xfrm>
            <a:off x="0" y="0"/>
            <a:ext cx="4295219" cy="640080"/>
          </a:xfrm>
        </p:spPr>
        <p:txBody>
          <a:bodyPr/>
          <a:lstStyle/>
          <a:p>
            <a:r>
              <a:rPr lang="en-US" dirty="0"/>
              <a:t>Prime Factorization</a:t>
            </a:r>
          </a:p>
        </p:txBody>
      </p:sp>
      <p:sp>
        <p:nvSpPr>
          <p:cNvPr id="3" name="Content Placeholder 2">
            <a:extLst>
              <a:ext uri="{FF2B5EF4-FFF2-40B4-BE49-F238E27FC236}">
                <a16:creationId xmlns:a16="http://schemas.microsoft.com/office/drawing/2014/main" id="{3B5B625E-7F0E-4692-B9FA-21CAC093ECB2}"/>
              </a:ext>
            </a:extLst>
          </p:cNvPr>
          <p:cNvSpPr>
            <a:spLocks noGrp="1"/>
          </p:cNvSpPr>
          <p:nvPr>
            <p:ph sz="half" idx="13"/>
          </p:nvPr>
        </p:nvSpPr>
        <p:spPr>
          <a:xfrm>
            <a:off x="183578" y="826450"/>
            <a:ext cx="6838456" cy="3200400"/>
          </a:xfrm>
        </p:spPr>
        <p:txBody>
          <a:bodyPr/>
          <a:lstStyle/>
          <a:p>
            <a:r>
              <a:rPr lang="en-US" dirty="0"/>
              <a:t>Let's complete the prime factorization of the number 24</a:t>
            </a:r>
          </a:p>
          <a:p>
            <a:endParaRPr lang="en-US" dirty="0"/>
          </a:p>
          <a:p>
            <a:pPr marL="0" indent="0">
              <a:buNone/>
            </a:pPr>
            <a:endParaRPr lang="en-US" dirty="0"/>
          </a:p>
        </p:txBody>
      </p:sp>
      <p:pic>
        <p:nvPicPr>
          <p:cNvPr id="5" name="Picture 4">
            <a:extLst>
              <a:ext uri="{FF2B5EF4-FFF2-40B4-BE49-F238E27FC236}">
                <a16:creationId xmlns:a16="http://schemas.microsoft.com/office/drawing/2014/main" id="{3B8AF694-7D3A-4CDC-95BA-CE2D0280F55F}"/>
              </a:ext>
            </a:extLst>
          </p:cNvPr>
          <p:cNvPicPr>
            <a:picLocks noChangeAspect="1"/>
          </p:cNvPicPr>
          <p:nvPr/>
        </p:nvPicPr>
        <p:blipFill>
          <a:blip r:embed="rId2"/>
          <a:stretch>
            <a:fillRect/>
          </a:stretch>
        </p:blipFill>
        <p:spPr>
          <a:xfrm>
            <a:off x="822022" y="1217557"/>
            <a:ext cx="776433" cy="1597877"/>
          </a:xfrm>
          <a:prstGeom prst="rect">
            <a:avLst/>
          </a:prstGeom>
        </p:spPr>
      </p:pic>
      <p:sp>
        <p:nvSpPr>
          <p:cNvPr id="6" name="TextBox 5">
            <a:extLst>
              <a:ext uri="{FF2B5EF4-FFF2-40B4-BE49-F238E27FC236}">
                <a16:creationId xmlns:a16="http://schemas.microsoft.com/office/drawing/2014/main" id="{82D46DEC-A825-448B-89DB-232298E604FC}"/>
              </a:ext>
            </a:extLst>
          </p:cNvPr>
          <p:cNvSpPr txBox="1"/>
          <p:nvPr/>
        </p:nvSpPr>
        <p:spPr>
          <a:xfrm>
            <a:off x="183578" y="3036366"/>
            <a:ext cx="6838456" cy="738664"/>
          </a:xfrm>
          <a:prstGeom prst="rect">
            <a:avLst/>
          </a:prstGeom>
          <a:noFill/>
        </p:spPr>
        <p:txBody>
          <a:bodyPr wrap="square" rtlCol="0">
            <a:spAutoFit/>
          </a:bodyPr>
          <a:lstStyle/>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The prime factors of the number 24 are found to the right of the vertical line</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24 = 2 X 2 X 2 X 3</a:t>
            </a:r>
          </a:p>
        </p:txBody>
      </p:sp>
    </p:spTree>
    <p:extLst>
      <p:ext uri="{BB962C8B-B14F-4D97-AF65-F5344CB8AC3E}">
        <p14:creationId xmlns:p14="http://schemas.microsoft.com/office/powerpoint/2010/main" val="2351119523"/>
      </p:ext>
    </p:extLst>
  </p:cSld>
  <p:clrMapOvr>
    <a:masterClrMapping/>
  </p:clrMapOvr>
  <p:transition spd="med">
    <p:wipe dir="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FC8215-06B8-4351-9335-9403B3D730B9}"/>
              </a:ext>
            </a:extLst>
          </p:cNvPr>
          <p:cNvSpPr>
            <a:spLocks noGrp="1"/>
          </p:cNvSpPr>
          <p:nvPr>
            <p:ph type="title"/>
          </p:nvPr>
        </p:nvSpPr>
        <p:spPr>
          <a:xfrm>
            <a:off x="0" y="0"/>
            <a:ext cx="7955280" cy="640080"/>
          </a:xfrm>
        </p:spPr>
        <p:txBody>
          <a:bodyPr/>
          <a:lstStyle/>
          <a:p>
            <a:r>
              <a:rPr lang="en-US" dirty="0"/>
              <a:t>Independent, Dependent &amp; Control variable</a:t>
            </a:r>
          </a:p>
        </p:txBody>
      </p:sp>
      <p:pic>
        <p:nvPicPr>
          <p:cNvPr id="8" name="Picture 7">
            <a:extLst>
              <a:ext uri="{FF2B5EF4-FFF2-40B4-BE49-F238E27FC236}">
                <a16:creationId xmlns:a16="http://schemas.microsoft.com/office/drawing/2014/main" id="{AD1BE78B-FDD2-4D9B-AFEC-AC74CC8BAC9D}"/>
              </a:ext>
            </a:extLst>
          </p:cNvPr>
          <p:cNvPicPr>
            <a:picLocks noChangeAspect="1"/>
          </p:cNvPicPr>
          <p:nvPr/>
        </p:nvPicPr>
        <p:blipFill>
          <a:blip r:embed="rId2"/>
          <a:stretch>
            <a:fillRect/>
          </a:stretch>
        </p:blipFill>
        <p:spPr>
          <a:xfrm>
            <a:off x="0" y="920893"/>
            <a:ext cx="9144000" cy="1514796"/>
          </a:xfrm>
          <a:prstGeom prst="rect">
            <a:avLst/>
          </a:prstGeom>
        </p:spPr>
      </p:pic>
      <p:sp>
        <p:nvSpPr>
          <p:cNvPr id="9" name="TextBox 8">
            <a:extLst>
              <a:ext uri="{FF2B5EF4-FFF2-40B4-BE49-F238E27FC236}">
                <a16:creationId xmlns:a16="http://schemas.microsoft.com/office/drawing/2014/main" id="{C743302E-AC6C-4AE7-821D-EAB10932335B}"/>
              </a:ext>
            </a:extLst>
          </p:cNvPr>
          <p:cNvSpPr txBox="1"/>
          <p:nvPr/>
        </p:nvSpPr>
        <p:spPr>
          <a:xfrm>
            <a:off x="48861" y="2716502"/>
            <a:ext cx="8390144" cy="1877437"/>
          </a:xfrm>
          <a:prstGeom prst="rect">
            <a:avLst/>
          </a:prstGeom>
          <a:noFill/>
        </p:spPr>
        <p:txBody>
          <a:bodyPr wrap="square" rtlCol="0">
            <a:spAutoFit/>
          </a:bodyPr>
          <a:lstStyle/>
          <a:p>
            <a:pPr algn="l"/>
            <a:r>
              <a:rPr lang="en-US" sz="1100" b="1" i="0" dirty="0">
                <a:solidFill>
                  <a:srgbClr val="000000"/>
                </a:solidFill>
                <a:effectLst/>
                <a:latin typeface="Open Sans" panose="020B0606030504020204" pitchFamily="34" charset="0"/>
              </a:rPr>
              <a:t>Importance of the Control Variables</a:t>
            </a:r>
          </a:p>
          <a:p>
            <a:pPr algn="l"/>
            <a:endParaRPr lang="en-US" sz="1100" b="0" i="0" dirty="0">
              <a:solidFill>
                <a:srgbClr val="000000"/>
              </a:solidFill>
              <a:effectLst/>
              <a:latin typeface="Open Sans" panose="020B0606030504020204" pitchFamily="34" charset="0"/>
            </a:endParaRPr>
          </a:p>
          <a:p>
            <a:pPr marL="171450" indent="-171450">
              <a:buFont typeface="Arial" panose="020B0604020202020204" pitchFamily="34" charset="0"/>
              <a:buChar char="•"/>
            </a:pPr>
            <a:r>
              <a:rPr lang="en-US" sz="1000" dirty="0">
                <a:solidFill>
                  <a:schemeClr val="bg2">
                    <a:lumMod val="50000"/>
                    <a:lumOff val="50000"/>
                  </a:schemeClr>
                </a:solidFill>
                <a:latin typeface="+mn-lt"/>
              </a:rPr>
              <a:t>Although control variables may not be measured as they are not recorded, yet they can have a significant effect on the outcome of an experiment.</a:t>
            </a:r>
          </a:p>
          <a:p>
            <a:pPr marL="171450" indent="-171450">
              <a:buFont typeface="Arial" panose="020B0604020202020204" pitchFamily="34" charset="0"/>
              <a:buChar char="•"/>
            </a:pPr>
            <a:r>
              <a:rPr lang="en-US" sz="1000" dirty="0">
                <a:solidFill>
                  <a:schemeClr val="bg2">
                    <a:lumMod val="50000"/>
                    <a:lumOff val="50000"/>
                  </a:schemeClr>
                </a:solidFill>
                <a:latin typeface="+mn-lt"/>
              </a:rPr>
              <a:t>Therefore, the lack of awareness of control variables may lead to faulty results or what is called “confounding variables”. So, recording control variables makes it easier to reproduce an experiment and to establish the relationship between the independent and dependent variables.</a:t>
            </a:r>
          </a:p>
          <a:p>
            <a:pPr marL="171450" indent="-171450">
              <a:buFont typeface="Arial" panose="020B0604020202020204" pitchFamily="34" charset="0"/>
              <a:buChar char="•"/>
            </a:pPr>
            <a:r>
              <a:rPr lang="en-US" sz="1000" dirty="0">
                <a:solidFill>
                  <a:schemeClr val="bg2">
                    <a:lumMod val="50000"/>
                    <a:lumOff val="50000"/>
                  </a:schemeClr>
                </a:solidFill>
                <a:latin typeface="+mn-lt"/>
              </a:rPr>
              <a:t>For example, suppose we are trying to determine whether a particular fertilizer influences plant growth. Here, the independent variable is the presence or absence of the fertilizer, whereas the dependent variable is the height of the plant or rate of growth.</a:t>
            </a:r>
          </a:p>
          <a:p>
            <a:pPr marL="171450" indent="-171450">
              <a:buFont typeface="Arial" panose="020B0604020202020204" pitchFamily="34" charset="0"/>
              <a:buChar char="•"/>
            </a:pPr>
            <a:r>
              <a:rPr lang="en-US" sz="1000" dirty="0">
                <a:solidFill>
                  <a:schemeClr val="bg2">
                    <a:lumMod val="50000"/>
                    <a:lumOff val="50000"/>
                  </a:schemeClr>
                </a:solidFill>
                <a:latin typeface="+mn-lt"/>
              </a:rPr>
              <a:t>If we don’t control the amount of light, for example, we perform some part of the experiment in the summer and some part during the winter, we may skew our results.</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2513017721"/>
      </p:ext>
    </p:extLst>
  </p:cSld>
  <p:clrMapOvr>
    <a:masterClrMapping/>
  </p:clrMapOvr>
  <p:transition spd="med">
    <p:wipe dir="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8F0AD-7FFD-4732-86A0-DD18718379E4}"/>
              </a:ext>
            </a:extLst>
          </p:cNvPr>
          <p:cNvSpPr>
            <a:spLocks noGrp="1"/>
          </p:cNvSpPr>
          <p:nvPr>
            <p:ph type="title"/>
          </p:nvPr>
        </p:nvSpPr>
        <p:spPr>
          <a:xfrm>
            <a:off x="137160" y="22860"/>
            <a:ext cx="7955280" cy="640080"/>
          </a:xfrm>
        </p:spPr>
        <p:txBody>
          <a:bodyPr/>
          <a:lstStyle/>
          <a:p>
            <a:r>
              <a:rPr lang="en-US" dirty="0"/>
              <a:t>Types of Statistical Studies</a:t>
            </a:r>
          </a:p>
        </p:txBody>
      </p:sp>
      <p:sp>
        <p:nvSpPr>
          <p:cNvPr id="3" name="Content Placeholder 2">
            <a:extLst>
              <a:ext uri="{FF2B5EF4-FFF2-40B4-BE49-F238E27FC236}">
                <a16:creationId xmlns:a16="http://schemas.microsoft.com/office/drawing/2014/main" id="{51EABE99-0FF9-42EC-AD6B-E1B530304558}"/>
              </a:ext>
            </a:extLst>
          </p:cNvPr>
          <p:cNvSpPr>
            <a:spLocks noGrp="1"/>
          </p:cNvSpPr>
          <p:nvPr>
            <p:ph sz="half" idx="13"/>
          </p:nvPr>
        </p:nvSpPr>
        <p:spPr>
          <a:xfrm>
            <a:off x="243004" y="971550"/>
            <a:ext cx="8343587" cy="3200400"/>
          </a:xfrm>
        </p:spPr>
        <p:txBody>
          <a:bodyPr/>
          <a:lstStyle/>
          <a:p>
            <a:r>
              <a:rPr lang="en-US" dirty="0">
                <a:solidFill>
                  <a:schemeClr val="bg2">
                    <a:lumMod val="50000"/>
                    <a:lumOff val="50000"/>
                  </a:schemeClr>
                </a:solidFill>
              </a:rPr>
              <a:t>When we talk about using data to learn something about the world, we are usually talking about performing a study or an experiment </a:t>
            </a:r>
          </a:p>
          <a:p>
            <a:r>
              <a:rPr lang="en-US" dirty="0">
                <a:solidFill>
                  <a:schemeClr val="bg2">
                    <a:lumMod val="50000"/>
                    <a:lumOff val="50000"/>
                  </a:schemeClr>
                </a:solidFill>
              </a:rPr>
              <a:t>In general, there are two types of statistical studies: </a:t>
            </a:r>
            <a:r>
              <a:rPr lang="en-US" b="1" dirty="0">
                <a:solidFill>
                  <a:schemeClr val="accent1"/>
                </a:solidFill>
              </a:rPr>
              <a:t>Observational studies </a:t>
            </a:r>
            <a:r>
              <a:rPr lang="en-US" dirty="0">
                <a:solidFill>
                  <a:schemeClr val="bg2">
                    <a:lumMod val="50000"/>
                    <a:lumOff val="50000"/>
                  </a:schemeClr>
                </a:solidFill>
              </a:rPr>
              <a:t>and</a:t>
            </a:r>
            <a:r>
              <a:rPr lang="en-US" dirty="0"/>
              <a:t> </a:t>
            </a:r>
            <a:r>
              <a:rPr lang="en-US" b="1" dirty="0">
                <a:solidFill>
                  <a:schemeClr val="accent1"/>
                </a:solidFill>
              </a:rPr>
              <a:t>Experiments</a:t>
            </a:r>
          </a:p>
        </p:txBody>
      </p:sp>
      <p:sp>
        <p:nvSpPr>
          <p:cNvPr id="5" name="Oval 4">
            <a:extLst>
              <a:ext uri="{FF2B5EF4-FFF2-40B4-BE49-F238E27FC236}">
                <a16:creationId xmlns:a16="http://schemas.microsoft.com/office/drawing/2014/main" id="{C10FF536-7FE0-4E2C-8F4A-A9E4EAE14BC5}"/>
              </a:ext>
            </a:extLst>
          </p:cNvPr>
          <p:cNvSpPr/>
          <p:nvPr/>
        </p:nvSpPr>
        <p:spPr>
          <a:xfrm>
            <a:off x="945716" y="3357758"/>
            <a:ext cx="2764912" cy="814192"/>
          </a:xfrm>
          <a:prstGeom prst="ellipse">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Observational</a:t>
            </a:r>
          </a:p>
          <a:p>
            <a:pPr algn="ctr">
              <a:lnSpc>
                <a:spcPct val="90000"/>
              </a:lnSpc>
              <a:spcBef>
                <a:spcPts val="600"/>
              </a:spcBef>
              <a:spcAft>
                <a:spcPts val="0"/>
              </a:spcAft>
            </a:pPr>
            <a:r>
              <a:rPr lang="en-US" sz="2000" dirty="0">
                <a:solidFill>
                  <a:schemeClr val="tx2"/>
                </a:solidFill>
                <a:latin typeface="+mn-lt"/>
              </a:rPr>
              <a:t>Study</a:t>
            </a:r>
          </a:p>
        </p:txBody>
      </p:sp>
      <p:sp>
        <p:nvSpPr>
          <p:cNvPr id="6" name="Oval 5">
            <a:extLst>
              <a:ext uri="{FF2B5EF4-FFF2-40B4-BE49-F238E27FC236}">
                <a16:creationId xmlns:a16="http://schemas.microsoft.com/office/drawing/2014/main" id="{EF6BB1B6-3440-4E16-AA74-7538562431A4}"/>
              </a:ext>
            </a:extLst>
          </p:cNvPr>
          <p:cNvSpPr/>
          <p:nvPr/>
        </p:nvSpPr>
        <p:spPr>
          <a:xfrm>
            <a:off x="4750705" y="3370284"/>
            <a:ext cx="2545705" cy="814192"/>
          </a:xfrm>
          <a:prstGeom prst="ellipse">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Experiments</a:t>
            </a:r>
          </a:p>
        </p:txBody>
      </p:sp>
      <p:sp>
        <p:nvSpPr>
          <p:cNvPr id="7" name="Rectangle: Rounded Corners 6">
            <a:extLst>
              <a:ext uri="{FF2B5EF4-FFF2-40B4-BE49-F238E27FC236}">
                <a16:creationId xmlns:a16="http://schemas.microsoft.com/office/drawing/2014/main" id="{BAAEBE95-2F1B-4168-94E4-96BB97737860}"/>
              </a:ext>
            </a:extLst>
          </p:cNvPr>
          <p:cNvSpPr/>
          <p:nvPr/>
        </p:nvSpPr>
        <p:spPr>
          <a:xfrm>
            <a:off x="3122112" y="1999624"/>
            <a:ext cx="1985376" cy="618316"/>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Statistical Studies</a:t>
            </a:r>
          </a:p>
        </p:txBody>
      </p:sp>
      <p:cxnSp>
        <p:nvCxnSpPr>
          <p:cNvPr id="9" name="Straight Arrow Connector 8">
            <a:extLst>
              <a:ext uri="{FF2B5EF4-FFF2-40B4-BE49-F238E27FC236}">
                <a16:creationId xmlns:a16="http://schemas.microsoft.com/office/drawing/2014/main" id="{C0ACEFDC-C19C-4513-8D70-A2B3D29D65B0}"/>
              </a:ext>
            </a:extLst>
          </p:cNvPr>
          <p:cNvCxnSpPr>
            <a:cxnSpLocks/>
            <a:endCxn id="5" idx="0"/>
          </p:cNvCxnSpPr>
          <p:nvPr/>
        </p:nvCxnSpPr>
        <p:spPr>
          <a:xfrm flipH="1">
            <a:off x="2328172" y="2624203"/>
            <a:ext cx="1786628" cy="733555"/>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63CFE5AD-4E34-4C2A-9489-63A58828807D}"/>
              </a:ext>
            </a:extLst>
          </p:cNvPr>
          <p:cNvCxnSpPr>
            <a:stCxn id="7" idx="2"/>
            <a:endCxn id="6" idx="0"/>
          </p:cNvCxnSpPr>
          <p:nvPr/>
        </p:nvCxnSpPr>
        <p:spPr>
          <a:xfrm>
            <a:off x="4114800" y="2617940"/>
            <a:ext cx="1908758" cy="752344"/>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2465C70A-8818-4EE3-83A8-EC2EAA267F5D}"/>
                  </a:ext>
                </a:extLst>
              </p14:cNvPr>
              <p14:cNvContentPartPr/>
              <p14:nvPr/>
            </p14:nvContentPartPr>
            <p14:xfrm>
              <a:off x="1343160" y="423720"/>
              <a:ext cx="6710760" cy="1953000"/>
            </p14:xfrm>
          </p:contentPart>
        </mc:Choice>
        <mc:Fallback xmlns="">
          <p:pic>
            <p:nvPicPr>
              <p:cNvPr id="4" name="Ink 3">
                <a:extLst>
                  <a:ext uri="{FF2B5EF4-FFF2-40B4-BE49-F238E27FC236}">
                    <a16:creationId xmlns:a16="http://schemas.microsoft.com/office/drawing/2014/main" id="{2465C70A-8818-4EE3-83A8-EC2EAA267F5D}"/>
                  </a:ext>
                </a:extLst>
              </p:cNvPr>
              <p:cNvPicPr/>
              <p:nvPr/>
            </p:nvPicPr>
            <p:blipFill>
              <a:blip r:embed="rId4"/>
              <a:stretch>
                <a:fillRect/>
              </a:stretch>
            </p:blipFill>
            <p:spPr>
              <a:xfrm>
                <a:off x="1333800" y="414360"/>
                <a:ext cx="6729480" cy="1971720"/>
              </a:xfrm>
              <a:prstGeom prst="rect">
                <a:avLst/>
              </a:prstGeom>
            </p:spPr>
          </p:pic>
        </mc:Fallback>
      </mc:AlternateContent>
    </p:spTree>
    <p:extLst>
      <p:ext uri="{BB962C8B-B14F-4D97-AF65-F5344CB8AC3E}">
        <p14:creationId xmlns:p14="http://schemas.microsoft.com/office/powerpoint/2010/main" val="929397678"/>
      </p:ext>
    </p:extLst>
  </p:cSld>
  <p:clrMapOvr>
    <a:masterClrMapping/>
  </p:clrMapOvr>
  <p:transition spd="med">
    <p:wipe dir="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9CE8DB-7C7A-4DDC-A4AF-37EFDD4F3167}"/>
              </a:ext>
            </a:extLst>
          </p:cNvPr>
          <p:cNvSpPr>
            <a:spLocks noGrp="1"/>
          </p:cNvSpPr>
          <p:nvPr>
            <p:ph type="title"/>
          </p:nvPr>
        </p:nvSpPr>
        <p:spPr>
          <a:xfrm>
            <a:off x="1877" y="22860"/>
            <a:ext cx="8963626" cy="640080"/>
          </a:xfrm>
        </p:spPr>
        <p:txBody>
          <a:bodyPr/>
          <a:lstStyle/>
          <a:p>
            <a:r>
              <a:rPr lang="en-US" dirty="0"/>
              <a:t>Understanding Observational Study &amp; Experiment </a:t>
            </a:r>
            <a:br>
              <a:rPr lang="en-US" dirty="0"/>
            </a:br>
            <a:r>
              <a:rPr lang="en-US" dirty="0"/>
              <a:t>					       </a:t>
            </a:r>
            <a:r>
              <a:rPr lang="en-US" dirty="0">
                <a:solidFill>
                  <a:schemeClr val="bg2">
                    <a:lumMod val="50000"/>
                    <a:lumOff val="50000"/>
                  </a:schemeClr>
                </a:solidFill>
              </a:rPr>
              <a:t>With an Example</a:t>
            </a:r>
          </a:p>
        </p:txBody>
      </p:sp>
      <p:pic>
        <p:nvPicPr>
          <p:cNvPr id="8" name="Picture 7">
            <a:extLst>
              <a:ext uri="{FF2B5EF4-FFF2-40B4-BE49-F238E27FC236}">
                <a16:creationId xmlns:a16="http://schemas.microsoft.com/office/drawing/2014/main" id="{7A762CF4-1B9D-4987-8C10-992B4959F552}"/>
              </a:ext>
            </a:extLst>
          </p:cNvPr>
          <p:cNvPicPr>
            <a:picLocks noChangeAspect="1"/>
          </p:cNvPicPr>
          <p:nvPr/>
        </p:nvPicPr>
        <p:blipFill>
          <a:blip r:embed="rId2"/>
          <a:stretch>
            <a:fillRect/>
          </a:stretch>
        </p:blipFill>
        <p:spPr>
          <a:xfrm>
            <a:off x="5747495" y="1347331"/>
            <a:ext cx="3396505" cy="2153694"/>
          </a:xfrm>
          <a:prstGeom prst="rect">
            <a:avLst/>
          </a:prstGeom>
        </p:spPr>
      </p:pic>
      <p:sp>
        <p:nvSpPr>
          <p:cNvPr id="10" name="Content Placeholder 9">
            <a:extLst>
              <a:ext uri="{FF2B5EF4-FFF2-40B4-BE49-F238E27FC236}">
                <a16:creationId xmlns:a16="http://schemas.microsoft.com/office/drawing/2014/main" id="{78499D2F-5C34-4281-8B7C-D04161065915}"/>
              </a:ext>
            </a:extLst>
          </p:cNvPr>
          <p:cNvSpPr>
            <a:spLocks noGrp="1"/>
          </p:cNvSpPr>
          <p:nvPr>
            <p:ph sz="half" idx="13"/>
          </p:nvPr>
        </p:nvSpPr>
        <p:spPr>
          <a:xfrm>
            <a:off x="-1" y="971550"/>
            <a:ext cx="5599135" cy="3200400"/>
          </a:xfrm>
        </p:spPr>
        <p:txBody>
          <a:bodyPr/>
          <a:lstStyle/>
          <a:p>
            <a:pPr marL="0" indent="0">
              <a:buNone/>
            </a:pPr>
            <a:r>
              <a:rPr lang="en-US" sz="1200" b="1" i="1" dirty="0">
                <a:solidFill>
                  <a:schemeClr val="bg2">
                    <a:lumMod val="50000"/>
                    <a:lumOff val="50000"/>
                  </a:schemeClr>
                </a:solidFill>
              </a:rPr>
              <a:t>Many students listen to music while studying. Does listening to music improve learning? Students in a statistics class decide to investigate this question. </a:t>
            </a:r>
          </a:p>
          <a:p>
            <a:pPr marL="0" indent="0">
              <a:buNone/>
            </a:pPr>
            <a:r>
              <a:rPr lang="en-US" sz="1200" b="1" i="1" dirty="0">
                <a:solidFill>
                  <a:schemeClr val="accent1"/>
                </a:solidFill>
              </a:rPr>
              <a:t>Study 1 : </a:t>
            </a:r>
          </a:p>
          <a:p>
            <a:pPr marL="0" indent="0">
              <a:buNone/>
            </a:pPr>
            <a:r>
              <a:rPr lang="en-US" sz="1200" i="1" dirty="0">
                <a:solidFill>
                  <a:schemeClr val="bg2">
                    <a:lumMod val="50000"/>
                    <a:lumOff val="50000"/>
                  </a:schemeClr>
                </a:solidFill>
              </a:rPr>
              <a:t>Do the majority of college students listen to music while they study? Do the majority of college students believe that listening to music improves their learning?</a:t>
            </a:r>
          </a:p>
          <a:p>
            <a:pPr marL="0" indent="0">
              <a:buNone/>
            </a:pPr>
            <a:r>
              <a:rPr lang="en-US" sz="1200" i="1" dirty="0">
                <a:solidFill>
                  <a:schemeClr val="accent1"/>
                </a:solidFill>
              </a:rPr>
              <a:t>Survey Questions : Sent to all the students</a:t>
            </a:r>
          </a:p>
          <a:p>
            <a:pPr marL="0" indent="0">
              <a:buNone/>
            </a:pPr>
            <a:r>
              <a:rPr lang="en-US" sz="1200" i="1" dirty="0">
                <a:solidFill>
                  <a:schemeClr val="bg2">
                    <a:lumMod val="50000"/>
                    <a:lumOff val="50000"/>
                  </a:schemeClr>
                </a:solidFill>
              </a:rPr>
              <a:t>Do you listen to music while you study?</a:t>
            </a:r>
          </a:p>
          <a:p>
            <a:pPr marL="0" indent="0">
              <a:buNone/>
            </a:pPr>
            <a:r>
              <a:rPr lang="en-US" sz="1200" i="1" dirty="0">
                <a:solidFill>
                  <a:schemeClr val="bg2">
                    <a:lumMod val="50000"/>
                    <a:lumOff val="50000"/>
                  </a:schemeClr>
                </a:solidFill>
              </a:rPr>
              <a:t>Do you think listening to music improves your concentration and memory?</a:t>
            </a:r>
          </a:p>
          <a:p>
            <a:pPr marL="0" indent="0">
              <a:buNone/>
            </a:pPr>
            <a:endParaRPr lang="en-US" sz="1200" b="1" i="1" dirty="0">
              <a:solidFill>
                <a:schemeClr val="bg2">
                  <a:lumMod val="50000"/>
                  <a:lumOff val="50000"/>
                </a:schemeClr>
              </a:solidFill>
            </a:endParaRPr>
          </a:p>
        </p:txBody>
      </p:sp>
      <mc:AlternateContent xmlns:mc="http://schemas.openxmlformats.org/markup-compatibility/2006" xmlns:p14="http://schemas.microsoft.com/office/powerpoint/2010/main">
        <mc:Choice Requires="p14">
          <p:contentPart p14:bwMode="auto" r:id="rId3">
            <p14:nvContentPartPr>
              <p14:cNvPr id="3" name="Ink 2">
                <a:extLst>
                  <a:ext uri="{FF2B5EF4-FFF2-40B4-BE49-F238E27FC236}">
                    <a16:creationId xmlns:a16="http://schemas.microsoft.com/office/drawing/2014/main" id="{5CD2900E-D0FE-4343-B1DC-C8ED9DCA023D}"/>
                  </a:ext>
                </a:extLst>
              </p14:cNvPr>
              <p14:cNvContentPartPr/>
              <p14:nvPr/>
            </p14:nvContentPartPr>
            <p14:xfrm>
              <a:off x="28440" y="928800"/>
              <a:ext cx="8934840" cy="3624480"/>
            </p14:xfrm>
          </p:contentPart>
        </mc:Choice>
        <mc:Fallback xmlns="">
          <p:pic>
            <p:nvPicPr>
              <p:cNvPr id="3" name="Ink 2">
                <a:extLst>
                  <a:ext uri="{FF2B5EF4-FFF2-40B4-BE49-F238E27FC236}">
                    <a16:creationId xmlns:a16="http://schemas.microsoft.com/office/drawing/2014/main" id="{5CD2900E-D0FE-4343-B1DC-C8ED9DCA023D}"/>
                  </a:ext>
                </a:extLst>
              </p:cNvPr>
              <p:cNvPicPr/>
              <p:nvPr/>
            </p:nvPicPr>
            <p:blipFill>
              <a:blip r:embed="rId4"/>
              <a:stretch>
                <a:fillRect/>
              </a:stretch>
            </p:blipFill>
            <p:spPr>
              <a:xfrm>
                <a:off x="19080" y="919440"/>
                <a:ext cx="8953560" cy="3643200"/>
              </a:xfrm>
              <a:prstGeom prst="rect">
                <a:avLst/>
              </a:prstGeom>
            </p:spPr>
          </p:pic>
        </mc:Fallback>
      </mc:AlternateContent>
    </p:spTree>
    <p:extLst>
      <p:ext uri="{BB962C8B-B14F-4D97-AF65-F5344CB8AC3E}">
        <p14:creationId xmlns:p14="http://schemas.microsoft.com/office/powerpoint/2010/main" val="647538906"/>
      </p:ext>
    </p:extLst>
  </p:cSld>
  <p:clrMapOvr>
    <a:masterClrMapping/>
  </p:clrMapOvr>
  <p:transition spd="med">
    <p:wipe dir="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18BCBB9-C3AC-40C5-95B3-3E911B1A5E73}"/>
              </a:ext>
            </a:extLst>
          </p:cNvPr>
          <p:cNvSpPr>
            <a:spLocks noGrp="1"/>
          </p:cNvSpPr>
          <p:nvPr>
            <p:ph type="title"/>
          </p:nvPr>
        </p:nvSpPr>
        <p:spPr>
          <a:xfrm>
            <a:off x="0" y="0"/>
            <a:ext cx="8963626" cy="640080"/>
          </a:xfrm>
        </p:spPr>
        <p:txBody>
          <a:bodyPr/>
          <a:lstStyle/>
          <a:p>
            <a:r>
              <a:rPr lang="en-US" dirty="0"/>
              <a:t>Understanding Observational Study &amp; Experiment </a:t>
            </a:r>
            <a:br>
              <a:rPr lang="en-US" dirty="0"/>
            </a:br>
            <a:r>
              <a:rPr lang="en-US" dirty="0"/>
              <a:t>					       </a:t>
            </a:r>
            <a:r>
              <a:rPr lang="en-US" dirty="0">
                <a:solidFill>
                  <a:schemeClr val="bg2">
                    <a:lumMod val="50000"/>
                    <a:lumOff val="50000"/>
                  </a:schemeClr>
                </a:solidFill>
              </a:rPr>
              <a:t>With an Example</a:t>
            </a:r>
          </a:p>
        </p:txBody>
      </p:sp>
      <p:sp>
        <p:nvSpPr>
          <p:cNvPr id="8" name="TextBox 7">
            <a:extLst>
              <a:ext uri="{FF2B5EF4-FFF2-40B4-BE49-F238E27FC236}">
                <a16:creationId xmlns:a16="http://schemas.microsoft.com/office/drawing/2014/main" id="{39BACF91-6D93-4CB5-9A9C-CEEF211954A4}"/>
              </a:ext>
            </a:extLst>
          </p:cNvPr>
          <p:cNvSpPr txBox="1"/>
          <p:nvPr/>
        </p:nvSpPr>
        <p:spPr>
          <a:xfrm>
            <a:off x="-68894" y="1190466"/>
            <a:ext cx="5749447" cy="2462213"/>
          </a:xfrm>
          <a:prstGeom prst="rect">
            <a:avLst/>
          </a:prstGeom>
          <a:noFill/>
        </p:spPr>
        <p:txBody>
          <a:bodyPr wrap="square" rtlCol="0">
            <a:spAutoFit/>
          </a:bodyPr>
          <a:lstStyle/>
          <a:p>
            <a:pPr marL="0" indent="0">
              <a:buNone/>
            </a:pPr>
            <a:r>
              <a:rPr lang="en-US" sz="1400" b="1" i="1" dirty="0">
                <a:solidFill>
                  <a:schemeClr val="accent1"/>
                </a:solidFill>
              </a:rPr>
              <a:t>Study 2 : </a:t>
            </a:r>
          </a:p>
          <a:p>
            <a:pPr marL="0" indent="0">
              <a:buNone/>
            </a:pPr>
            <a:r>
              <a:rPr lang="en-US" sz="1400" i="1" dirty="0">
                <a:solidFill>
                  <a:schemeClr val="bg2">
                    <a:lumMod val="50000"/>
                    <a:lumOff val="50000"/>
                  </a:schemeClr>
                </a:solidFill>
              </a:rPr>
              <a:t>When we compare students who study with music to students who study in a quiet environment, which group gives higher ratings for understanding what they studied?</a:t>
            </a:r>
          </a:p>
          <a:p>
            <a:pPr marL="0" indent="0">
              <a:buNone/>
            </a:pPr>
            <a:endParaRPr lang="en-US" sz="1400" i="1" dirty="0">
              <a:solidFill>
                <a:schemeClr val="bg2">
                  <a:lumMod val="50000"/>
                  <a:lumOff val="50000"/>
                </a:schemeClr>
              </a:solidFill>
              <a:latin typeface="+mn-lt"/>
            </a:endParaRPr>
          </a:p>
          <a:p>
            <a:pPr marL="0" indent="0">
              <a:buNone/>
            </a:pPr>
            <a:r>
              <a:rPr lang="en-US" sz="1000" dirty="0">
                <a:solidFill>
                  <a:schemeClr val="bg2">
                    <a:lumMod val="50000"/>
                    <a:lumOff val="50000"/>
                  </a:schemeClr>
                </a:solidFill>
                <a:latin typeface="+mn-lt"/>
              </a:rPr>
              <a:t>To investigate this question, the instructor divides the class into two groups: (1) those who listen to music when they study and (2) those who do not listen to music when they study. The students keep a journal for a week. Each time they study, they record the following information:</a:t>
            </a:r>
          </a:p>
          <a:p>
            <a:pPr marL="0" indent="0">
              <a:buNone/>
            </a:pPr>
            <a:endParaRPr lang="en-US" sz="1000" dirty="0">
              <a:solidFill>
                <a:schemeClr val="bg2">
                  <a:lumMod val="50000"/>
                  <a:lumOff val="50000"/>
                </a:schemeClr>
              </a:solidFill>
              <a:latin typeface="+mn-lt"/>
            </a:endParaRPr>
          </a:p>
          <a:p>
            <a:pPr algn="l" fontAlgn="base">
              <a:buFont typeface="Arial" panose="020B0604020202020204" pitchFamily="34" charset="0"/>
              <a:buChar char="•"/>
            </a:pPr>
            <a:r>
              <a:rPr lang="en-US" sz="1000" dirty="0">
                <a:solidFill>
                  <a:schemeClr val="bg2">
                    <a:lumMod val="50000"/>
                    <a:lumOff val="50000"/>
                  </a:schemeClr>
                </a:solidFill>
                <a:latin typeface="+mn-lt"/>
              </a:rPr>
              <a:t> Length of study session (in minutes)</a:t>
            </a:r>
          </a:p>
          <a:p>
            <a:pPr algn="l" fontAlgn="base">
              <a:buFont typeface="Arial" panose="020B0604020202020204" pitchFamily="34" charset="0"/>
              <a:buChar char="•"/>
            </a:pPr>
            <a:r>
              <a:rPr lang="en-US" sz="1000" dirty="0">
                <a:solidFill>
                  <a:schemeClr val="bg2">
                    <a:lumMod val="50000"/>
                    <a:lumOff val="50000"/>
                  </a:schemeClr>
                </a:solidFill>
                <a:latin typeface="+mn-lt"/>
              </a:rPr>
              <a:t> A rating of how well they understood what they studied, on a scale of 1–10: 1 = no understanding,    10 = excellent understanding.</a:t>
            </a:r>
          </a:p>
          <a:p>
            <a:pPr marL="0" indent="0">
              <a:buNone/>
            </a:pPr>
            <a:endParaRPr lang="en-US" sz="1400" dirty="0">
              <a:solidFill>
                <a:schemeClr val="bg2"/>
              </a:solidFill>
              <a:latin typeface="+mn-lt"/>
            </a:endParaRPr>
          </a:p>
        </p:txBody>
      </p:sp>
      <p:pic>
        <p:nvPicPr>
          <p:cNvPr id="10" name="Picture 9">
            <a:extLst>
              <a:ext uri="{FF2B5EF4-FFF2-40B4-BE49-F238E27FC236}">
                <a16:creationId xmlns:a16="http://schemas.microsoft.com/office/drawing/2014/main" id="{22D22767-FE1F-4CAD-8B74-C0E62202ACDE}"/>
              </a:ext>
            </a:extLst>
          </p:cNvPr>
          <p:cNvPicPr>
            <a:picLocks noChangeAspect="1"/>
          </p:cNvPicPr>
          <p:nvPr/>
        </p:nvPicPr>
        <p:blipFill>
          <a:blip r:embed="rId2"/>
          <a:stretch>
            <a:fillRect/>
          </a:stretch>
        </p:blipFill>
        <p:spPr>
          <a:xfrm>
            <a:off x="5680553" y="1524296"/>
            <a:ext cx="3328167" cy="2094907"/>
          </a:xfrm>
          <a:prstGeom prst="rect">
            <a:avLst/>
          </a:prstGeom>
        </p:spPr>
      </p:pic>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F4D05268-464F-49E1-9A01-C420CC100412}"/>
                  </a:ext>
                </a:extLst>
              </p14:cNvPr>
              <p14:cNvContentPartPr/>
              <p14:nvPr/>
            </p14:nvContentPartPr>
            <p14:xfrm>
              <a:off x="142920" y="390600"/>
              <a:ext cx="8015760" cy="4748400"/>
            </p14:xfrm>
          </p:contentPart>
        </mc:Choice>
        <mc:Fallback xmlns="">
          <p:pic>
            <p:nvPicPr>
              <p:cNvPr id="2" name="Ink 1">
                <a:extLst>
                  <a:ext uri="{FF2B5EF4-FFF2-40B4-BE49-F238E27FC236}">
                    <a16:creationId xmlns:a16="http://schemas.microsoft.com/office/drawing/2014/main" id="{F4D05268-464F-49E1-9A01-C420CC100412}"/>
                  </a:ext>
                </a:extLst>
              </p:cNvPr>
              <p:cNvPicPr/>
              <p:nvPr/>
            </p:nvPicPr>
            <p:blipFill>
              <a:blip r:embed="rId4"/>
              <a:stretch>
                <a:fillRect/>
              </a:stretch>
            </p:blipFill>
            <p:spPr>
              <a:xfrm>
                <a:off x="133560" y="381240"/>
                <a:ext cx="8034480" cy="4767120"/>
              </a:xfrm>
              <a:prstGeom prst="rect">
                <a:avLst/>
              </a:prstGeom>
            </p:spPr>
          </p:pic>
        </mc:Fallback>
      </mc:AlternateContent>
    </p:spTree>
    <p:extLst>
      <p:ext uri="{BB962C8B-B14F-4D97-AF65-F5344CB8AC3E}">
        <p14:creationId xmlns:p14="http://schemas.microsoft.com/office/powerpoint/2010/main" val="1317899603"/>
      </p:ext>
    </p:extLst>
  </p:cSld>
  <p:clrMapOvr>
    <a:masterClrMapping/>
  </p:clrMapOvr>
  <p:transition spd="med">
    <p:wipe dir="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B392B1B-F39D-4768-935E-054CB31A20FF}"/>
              </a:ext>
            </a:extLst>
          </p:cNvPr>
          <p:cNvSpPr>
            <a:spLocks noGrp="1"/>
          </p:cNvSpPr>
          <p:nvPr>
            <p:ph type="title"/>
          </p:nvPr>
        </p:nvSpPr>
        <p:spPr>
          <a:xfrm>
            <a:off x="0" y="0"/>
            <a:ext cx="8963626" cy="640080"/>
          </a:xfrm>
        </p:spPr>
        <p:txBody>
          <a:bodyPr/>
          <a:lstStyle/>
          <a:p>
            <a:r>
              <a:rPr lang="en-US" dirty="0"/>
              <a:t>Understanding Observational Study &amp; Experiment </a:t>
            </a:r>
            <a:br>
              <a:rPr lang="en-US" dirty="0"/>
            </a:br>
            <a:r>
              <a:rPr lang="en-US" dirty="0"/>
              <a:t>					       </a:t>
            </a:r>
            <a:r>
              <a:rPr lang="en-US" dirty="0">
                <a:solidFill>
                  <a:schemeClr val="bg2">
                    <a:lumMod val="50000"/>
                    <a:lumOff val="50000"/>
                  </a:schemeClr>
                </a:solidFill>
              </a:rPr>
              <a:t>With an Example</a:t>
            </a:r>
          </a:p>
        </p:txBody>
      </p:sp>
      <p:sp>
        <p:nvSpPr>
          <p:cNvPr id="6" name="TextBox 5">
            <a:extLst>
              <a:ext uri="{FF2B5EF4-FFF2-40B4-BE49-F238E27FC236}">
                <a16:creationId xmlns:a16="http://schemas.microsoft.com/office/drawing/2014/main" id="{DCB63690-E772-4BAF-822C-38DD0D858D8E}"/>
              </a:ext>
            </a:extLst>
          </p:cNvPr>
          <p:cNvSpPr txBox="1"/>
          <p:nvPr/>
        </p:nvSpPr>
        <p:spPr>
          <a:xfrm>
            <a:off x="43185" y="1704742"/>
            <a:ext cx="5966726" cy="1631216"/>
          </a:xfrm>
          <a:prstGeom prst="rect">
            <a:avLst/>
          </a:prstGeom>
          <a:noFill/>
        </p:spPr>
        <p:txBody>
          <a:bodyPr wrap="square" rtlCol="0">
            <a:spAutoFit/>
          </a:bodyPr>
          <a:lstStyle/>
          <a:p>
            <a:pPr marL="0" indent="0">
              <a:buNone/>
            </a:pPr>
            <a:r>
              <a:rPr lang="en-US" sz="1400" b="1" i="1" dirty="0">
                <a:solidFill>
                  <a:schemeClr val="accent1"/>
                </a:solidFill>
              </a:rPr>
              <a:t>Study 3 : </a:t>
            </a:r>
          </a:p>
          <a:p>
            <a:pPr marL="0" indent="0">
              <a:buNone/>
            </a:pPr>
            <a:r>
              <a:rPr lang="en-US" sz="1400" i="1" dirty="0">
                <a:solidFill>
                  <a:schemeClr val="bg2">
                    <a:lumMod val="50000"/>
                    <a:lumOff val="50000"/>
                  </a:schemeClr>
                </a:solidFill>
              </a:rPr>
              <a:t>Does listening to music improve students’ ability to quickly identify information?</a:t>
            </a:r>
          </a:p>
          <a:p>
            <a:pPr marL="0" indent="0">
              <a:buNone/>
            </a:pPr>
            <a:endParaRPr lang="en-US" sz="1400" i="1" dirty="0">
              <a:solidFill>
                <a:schemeClr val="bg2">
                  <a:lumMod val="50000"/>
                  <a:lumOff val="50000"/>
                </a:schemeClr>
              </a:solidFill>
              <a:latin typeface="+mn-lt"/>
            </a:endParaRPr>
          </a:p>
          <a:p>
            <a:pPr marL="0" indent="0">
              <a:buNone/>
            </a:pPr>
            <a:r>
              <a:rPr lang="en-US" sz="1000" dirty="0">
                <a:solidFill>
                  <a:schemeClr val="bg2">
                    <a:lumMod val="50000"/>
                    <a:lumOff val="50000"/>
                  </a:schemeClr>
                </a:solidFill>
                <a:latin typeface="+mn-lt"/>
              </a:rPr>
              <a:t>To investigate this question, the instructor uses word-search puzzles. She divides the class into two groups. Students on one side of the room do a word puzzle for 3 minutes while listening to music on an iPod. Students on the other side of the room do a word puzzle for 3 minutes without music. The instructor calculates the average number of words found by each group.</a:t>
            </a:r>
          </a:p>
        </p:txBody>
      </p:sp>
      <p:pic>
        <p:nvPicPr>
          <p:cNvPr id="7" name="Picture 6">
            <a:extLst>
              <a:ext uri="{FF2B5EF4-FFF2-40B4-BE49-F238E27FC236}">
                <a16:creationId xmlns:a16="http://schemas.microsoft.com/office/drawing/2014/main" id="{7313401C-CCD6-4372-B248-82C8D3522CA6}"/>
              </a:ext>
            </a:extLst>
          </p:cNvPr>
          <p:cNvPicPr>
            <a:picLocks noChangeAspect="1"/>
          </p:cNvPicPr>
          <p:nvPr/>
        </p:nvPicPr>
        <p:blipFill>
          <a:blip r:embed="rId2"/>
          <a:stretch>
            <a:fillRect/>
          </a:stretch>
        </p:blipFill>
        <p:spPr>
          <a:xfrm>
            <a:off x="6009911" y="1524296"/>
            <a:ext cx="2998809" cy="2094907"/>
          </a:xfrm>
          <a:prstGeom prst="rect">
            <a:avLst/>
          </a:prstGeom>
        </p:spPr>
      </p:pic>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7E962D76-04DB-4508-95C6-A063498A7F5B}"/>
                  </a:ext>
                </a:extLst>
              </p14:cNvPr>
              <p14:cNvContentPartPr/>
              <p14:nvPr/>
            </p14:nvContentPartPr>
            <p14:xfrm>
              <a:off x="0" y="81000"/>
              <a:ext cx="9054000" cy="4915080"/>
            </p14:xfrm>
          </p:contentPart>
        </mc:Choice>
        <mc:Fallback xmlns="">
          <p:pic>
            <p:nvPicPr>
              <p:cNvPr id="2" name="Ink 1">
                <a:extLst>
                  <a:ext uri="{FF2B5EF4-FFF2-40B4-BE49-F238E27FC236}">
                    <a16:creationId xmlns:a16="http://schemas.microsoft.com/office/drawing/2014/main" id="{7E962D76-04DB-4508-95C6-A063498A7F5B}"/>
                  </a:ext>
                </a:extLst>
              </p:cNvPr>
              <p:cNvPicPr/>
              <p:nvPr/>
            </p:nvPicPr>
            <p:blipFill>
              <a:blip r:embed="rId4"/>
              <a:stretch>
                <a:fillRect/>
              </a:stretch>
            </p:blipFill>
            <p:spPr>
              <a:xfrm>
                <a:off x="-9360" y="71640"/>
                <a:ext cx="9072720" cy="4933800"/>
              </a:xfrm>
              <a:prstGeom prst="rect">
                <a:avLst/>
              </a:prstGeom>
            </p:spPr>
          </p:pic>
        </mc:Fallback>
      </mc:AlternateContent>
    </p:spTree>
    <p:extLst>
      <p:ext uri="{BB962C8B-B14F-4D97-AF65-F5344CB8AC3E}">
        <p14:creationId xmlns:p14="http://schemas.microsoft.com/office/powerpoint/2010/main" val="4271565730"/>
      </p:ext>
    </p:extLst>
  </p:cSld>
  <p:clrMapOvr>
    <a:masterClrMapping/>
  </p:clrMapOvr>
  <p:transition spd="med">
    <p:wipe dir="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E93A03-5898-4C6C-BF44-6F13B753C34B}"/>
              </a:ext>
            </a:extLst>
          </p:cNvPr>
          <p:cNvSpPr>
            <a:spLocks noGrp="1"/>
          </p:cNvSpPr>
          <p:nvPr>
            <p:ph type="title"/>
          </p:nvPr>
        </p:nvSpPr>
        <p:spPr>
          <a:xfrm>
            <a:off x="137160" y="22860"/>
            <a:ext cx="7955280" cy="640080"/>
          </a:xfrm>
        </p:spPr>
        <p:txBody>
          <a:bodyPr/>
          <a:lstStyle/>
          <a:p>
            <a:r>
              <a:rPr lang="en-US" dirty="0"/>
              <a:t>Control Experiment – drug test example</a:t>
            </a:r>
          </a:p>
        </p:txBody>
      </p:sp>
      <p:sp>
        <p:nvSpPr>
          <p:cNvPr id="3" name="Content Placeholder 2">
            <a:extLst>
              <a:ext uri="{FF2B5EF4-FFF2-40B4-BE49-F238E27FC236}">
                <a16:creationId xmlns:a16="http://schemas.microsoft.com/office/drawing/2014/main" id="{B284F41B-5C6B-486A-A6B7-4AF38B491853}"/>
              </a:ext>
            </a:extLst>
          </p:cNvPr>
          <p:cNvSpPr>
            <a:spLocks noGrp="1"/>
          </p:cNvSpPr>
          <p:nvPr>
            <p:ph sz="half" idx="13"/>
          </p:nvPr>
        </p:nvSpPr>
        <p:spPr>
          <a:xfrm>
            <a:off x="230478" y="716489"/>
            <a:ext cx="7955279" cy="3200400"/>
          </a:xfrm>
        </p:spPr>
        <p:txBody>
          <a:bodyPr/>
          <a:lstStyle/>
          <a:p>
            <a:r>
              <a:rPr lang="en-US" dirty="0">
                <a:solidFill>
                  <a:schemeClr val="bg2">
                    <a:lumMod val="50000"/>
                    <a:lumOff val="50000"/>
                  </a:schemeClr>
                </a:solidFill>
              </a:rPr>
              <a:t>If we are studying the effectiveness of a pill, we should also compare it to a placebo. It is often the case that the act of receiving a treatment that a person believe will be beneficial with itself result in a beneficial effect. Regardless of whether the treatment is otherwise effective</a:t>
            </a:r>
          </a:p>
        </p:txBody>
      </p:sp>
      <p:pic>
        <p:nvPicPr>
          <p:cNvPr id="5" name="Picture 4" descr="A picture containing table, indoor, wooden, slice&#10;&#10;Description automatically generated">
            <a:extLst>
              <a:ext uri="{FF2B5EF4-FFF2-40B4-BE49-F238E27FC236}">
                <a16:creationId xmlns:a16="http://schemas.microsoft.com/office/drawing/2014/main" id="{2ABCDDB0-5640-4524-AB37-630EFD094CBD}"/>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194782" y="1912562"/>
            <a:ext cx="3834432" cy="2156868"/>
          </a:xfrm>
          <a:prstGeom prst="rect">
            <a:avLst/>
          </a:prstGeom>
        </p:spPr>
      </p:pic>
      <p:sp>
        <p:nvSpPr>
          <p:cNvPr id="6" name="TextBox 5">
            <a:extLst>
              <a:ext uri="{FF2B5EF4-FFF2-40B4-BE49-F238E27FC236}">
                <a16:creationId xmlns:a16="http://schemas.microsoft.com/office/drawing/2014/main" id="{DCF10603-437E-4C7A-980F-322B67C14954}"/>
              </a:ext>
            </a:extLst>
          </p:cNvPr>
          <p:cNvSpPr txBox="1"/>
          <p:nvPr/>
        </p:nvSpPr>
        <p:spPr>
          <a:xfrm>
            <a:off x="4097350" y="5245622"/>
            <a:ext cx="5046650" cy="230832"/>
          </a:xfrm>
          <a:prstGeom prst="rect">
            <a:avLst/>
          </a:prstGeom>
          <a:noFill/>
        </p:spPr>
        <p:txBody>
          <a:bodyPr wrap="square" rtlCol="0">
            <a:spAutoFit/>
          </a:bodyPr>
          <a:lstStyle/>
          <a:p>
            <a:r>
              <a:rPr lang="en-US" sz="900">
                <a:hlinkClick r:id="rId3" tooltip="http://capitalcurrent.ca/opioid-overdoses-dwarf-covid-19/"/>
              </a:rPr>
              <a:t>This Photo</a:t>
            </a:r>
            <a:r>
              <a:rPr lang="en-US" sz="900"/>
              <a:t> by Unknown Author is licensed under </a:t>
            </a:r>
            <a:r>
              <a:rPr lang="en-US" sz="900">
                <a:hlinkClick r:id="rId4" tooltip="https://creativecommons.org/licenses/by-nc-nd/3.0/"/>
              </a:rPr>
              <a:t>CC BY-NC-ND</a:t>
            </a:r>
            <a:endParaRPr lang="en-US" sz="900"/>
          </a:p>
        </p:txBody>
      </p:sp>
      <mc:AlternateContent xmlns:mc="http://schemas.openxmlformats.org/markup-compatibility/2006" xmlns:p14="http://schemas.microsoft.com/office/powerpoint/2010/main">
        <mc:Choice Requires="p14">
          <p:contentPart p14:bwMode="auto" r:id="rId5">
            <p14:nvContentPartPr>
              <p14:cNvPr id="4" name="Ink 3">
                <a:extLst>
                  <a:ext uri="{FF2B5EF4-FFF2-40B4-BE49-F238E27FC236}">
                    <a16:creationId xmlns:a16="http://schemas.microsoft.com/office/drawing/2014/main" id="{3324122F-D967-44A6-8164-7432BB77C408}"/>
                  </a:ext>
                </a:extLst>
              </p14:cNvPr>
              <p14:cNvContentPartPr/>
              <p14:nvPr/>
            </p14:nvContentPartPr>
            <p14:xfrm>
              <a:off x="66600" y="57240"/>
              <a:ext cx="8868240" cy="5072400"/>
            </p14:xfrm>
          </p:contentPart>
        </mc:Choice>
        <mc:Fallback xmlns="">
          <p:pic>
            <p:nvPicPr>
              <p:cNvPr id="4" name="Ink 3">
                <a:extLst>
                  <a:ext uri="{FF2B5EF4-FFF2-40B4-BE49-F238E27FC236}">
                    <a16:creationId xmlns:a16="http://schemas.microsoft.com/office/drawing/2014/main" id="{3324122F-D967-44A6-8164-7432BB77C408}"/>
                  </a:ext>
                </a:extLst>
              </p:cNvPr>
              <p:cNvPicPr/>
              <p:nvPr/>
            </p:nvPicPr>
            <p:blipFill>
              <a:blip r:embed="rId6"/>
              <a:stretch>
                <a:fillRect/>
              </a:stretch>
            </p:blipFill>
            <p:spPr>
              <a:xfrm>
                <a:off x="57240" y="47880"/>
                <a:ext cx="8886960" cy="5091120"/>
              </a:xfrm>
              <a:prstGeom prst="rect">
                <a:avLst/>
              </a:prstGeom>
            </p:spPr>
          </p:pic>
        </mc:Fallback>
      </mc:AlternateContent>
    </p:spTree>
    <p:extLst>
      <p:ext uri="{BB962C8B-B14F-4D97-AF65-F5344CB8AC3E}">
        <p14:creationId xmlns:p14="http://schemas.microsoft.com/office/powerpoint/2010/main" val="4145885228"/>
      </p:ext>
    </p:extLst>
  </p:cSld>
  <p:clrMapOvr>
    <a:masterClrMapping/>
  </p:clrMapOvr>
  <p:transition spd="med">
    <p:wipe dir="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C10BFA-B9A1-46D8-8A38-A0F4A1088A5A}"/>
              </a:ext>
            </a:extLst>
          </p:cNvPr>
          <p:cNvSpPr>
            <a:spLocks noGrp="1"/>
          </p:cNvSpPr>
          <p:nvPr>
            <p:ph type="title"/>
          </p:nvPr>
        </p:nvSpPr>
        <p:spPr>
          <a:xfrm>
            <a:off x="67639" y="109048"/>
            <a:ext cx="7955280" cy="640080"/>
          </a:xfrm>
        </p:spPr>
        <p:txBody>
          <a:bodyPr/>
          <a:lstStyle/>
          <a:p>
            <a:r>
              <a:rPr lang="en-US" dirty="0"/>
              <a:t>Controlled Experiment</a:t>
            </a:r>
          </a:p>
        </p:txBody>
      </p:sp>
      <p:sp>
        <p:nvSpPr>
          <p:cNvPr id="3" name="Content Placeholder 2">
            <a:extLst>
              <a:ext uri="{FF2B5EF4-FFF2-40B4-BE49-F238E27FC236}">
                <a16:creationId xmlns:a16="http://schemas.microsoft.com/office/drawing/2014/main" id="{8DB84CCF-42DD-4079-ADB2-9916B5BABF84}"/>
              </a:ext>
            </a:extLst>
          </p:cNvPr>
          <p:cNvSpPr>
            <a:spLocks noGrp="1"/>
          </p:cNvSpPr>
          <p:nvPr>
            <p:ph sz="half" idx="13"/>
          </p:nvPr>
        </p:nvSpPr>
        <p:spPr>
          <a:xfrm>
            <a:off x="67639" y="879327"/>
            <a:ext cx="8518951" cy="3200400"/>
          </a:xfrm>
        </p:spPr>
        <p:txBody>
          <a:bodyPr/>
          <a:lstStyle/>
          <a:p>
            <a:r>
              <a:rPr lang="en-US" dirty="0">
                <a:solidFill>
                  <a:schemeClr val="bg2">
                    <a:lumMod val="50000"/>
                    <a:lumOff val="50000"/>
                  </a:schemeClr>
                </a:solidFill>
              </a:rPr>
              <a:t>In a controlled experiment, we can be reasonably comfortable inferring that the treatment applied to one group but not to the other caused whatever difference we observe between the two</a:t>
            </a:r>
          </a:p>
          <a:p>
            <a:r>
              <a:rPr lang="en-US" dirty="0">
                <a:solidFill>
                  <a:schemeClr val="bg2">
                    <a:lumMod val="50000"/>
                    <a:lumOff val="50000"/>
                  </a:schemeClr>
                </a:solidFill>
              </a:rPr>
              <a:t>But other we must remember that correlation does not imply causation </a:t>
            </a:r>
          </a:p>
          <a:p>
            <a:r>
              <a:rPr lang="en-US" dirty="0">
                <a:solidFill>
                  <a:schemeClr val="bg2">
                    <a:lumMod val="50000"/>
                    <a:lumOff val="50000"/>
                  </a:schemeClr>
                </a:solidFill>
              </a:rPr>
              <a:t>Variables are correlated if they “move together”, </a:t>
            </a:r>
            <a:r>
              <a:rPr lang="en-US" dirty="0" err="1">
                <a:solidFill>
                  <a:schemeClr val="bg2">
                    <a:lumMod val="50000"/>
                    <a:lumOff val="50000"/>
                  </a:schemeClr>
                </a:solidFill>
              </a:rPr>
              <a:t>i.e</a:t>
            </a:r>
            <a:r>
              <a:rPr lang="en-US" dirty="0">
                <a:solidFill>
                  <a:schemeClr val="bg2">
                    <a:lumMod val="50000"/>
                    <a:lumOff val="50000"/>
                  </a:schemeClr>
                </a:solidFill>
              </a:rPr>
              <a:t> when one variable changes the other one trends to change as well</a:t>
            </a:r>
          </a:p>
          <a:p>
            <a:r>
              <a:rPr lang="en-US" b="1" dirty="0">
                <a:solidFill>
                  <a:schemeClr val="bg2">
                    <a:lumMod val="50000"/>
                    <a:lumOff val="50000"/>
                  </a:schemeClr>
                </a:solidFill>
              </a:rPr>
              <a:t>Ex : </a:t>
            </a:r>
          </a:p>
          <a:p>
            <a:pPr lvl="1"/>
            <a:r>
              <a:rPr lang="en-US" dirty="0">
                <a:solidFill>
                  <a:schemeClr val="bg2">
                    <a:lumMod val="50000"/>
                    <a:lumOff val="50000"/>
                  </a:schemeClr>
                </a:solidFill>
              </a:rPr>
              <a:t>Temp is related to the time of the day</a:t>
            </a:r>
          </a:p>
          <a:p>
            <a:pPr lvl="1"/>
            <a:r>
              <a:rPr lang="en-US" dirty="0">
                <a:solidFill>
                  <a:schemeClr val="bg2">
                    <a:lumMod val="50000"/>
                    <a:lumOff val="50000"/>
                  </a:schemeClr>
                </a:solidFill>
              </a:rPr>
              <a:t>Human height correlated to human weight</a:t>
            </a:r>
          </a:p>
        </p:txBody>
      </p:sp>
      <p:sp>
        <p:nvSpPr>
          <p:cNvPr id="5" name="TextBox 4">
            <a:extLst>
              <a:ext uri="{FF2B5EF4-FFF2-40B4-BE49-F238E27FC236}">
                <a16:creationId xmlns:a16="http://schemas.microsoft.com/office/drawing/2014/main" id="{5CEE9E77-FE13-4C40-8BC2-E1D5843FD82C}"/>
              </a:ext>
            </a:extLst>
          </p:cNvPr>
          <p:cNvSpPr txBox="1"/>
          <p:nvPr/>
        </p:nvSpPr>
        <p:spPr>
          <a:xfrm>
            <a:off x="67639" y="3341063"/>
            <a:ext cx="8832056"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lumMod val="50000"/>
                    <a:lumOff val="50000"/>
                  </a:schemeClr>
                </a:solidFill>
                <a:latin typeface="+mn-lt"/>
              </a:rPr>
              <a:t>When height increase human weight increase. When one variable change the other variable also changes. It can increase or decrease. Hence, I am using the word changes, this is called as correlation</a:t>
            </a:r>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9E8B0A43-D66E-473D-A9D9-8FCF098D94AB}"/>
                  </a:ext>
                </a:extLst>
              </p14:cNvPr>
              <p14:cNvContentPartPr/>
              <p14:nvPr/>
            </p14:nvContentPartPr>
            <p14:xfrm>
              <a:off x="157320" y="57240"/>
              <a:ext cx="8982360" cy="5062680"/>
            </p14:xfrm>
          </p:contentPart>
        </mc:Choice>
        <mc:Fallback xmlns="">
          <p:pic>
            <p:nvPicPr>
              <p:cNvPr id="4" name="Ink 3">
                <a:extLst>
                  <a:ext uri="{FF2B5EF4-FFF2-40B4-BE49-F238E27FC236}">
                    <a16:creationId xmlns:a16="http://schemas.microsoft.com/office/drawing/2014/main" id="{9E8B0A43-D66E-473D-A9D9-8FCF098D94AB}"/>
                  </a:ext>
                </a:extLst>
              </p:cNvPr>
              <p:cNvPicPr/>
              <p:nvPr/>
            </p:nvPicPr>
            <p:blipFill>
              <a:blip r:embed="rId3"/>
              <a:stretch>
                <a:fillRect/>
              </a:stretch>
            </p:blipFill>
            <p:spPr>
              <a:xfrm>
                <a:off x="147960" y="47880"/>
                <a:ext cx="9001080" cy="5081400"/>
              </a:xfrm>
              <a:prstGeom prst="rect">
                <a:avLst/>
              </a:prstGeom>
            </p:spPr>
          </p:pic>
        </mc:Fallback>
      </mc:AlternateContent>
    </p:spTree>
    <p:extLst>
      <p:ext uri="{BB962C8B-B14F-4D97-AF65-F5344CB8AC3E}">
        <p14:creationId xmlns:p14="http://schemas.microsoft.com/office/powerpoint/2010/main" val="2719943119"/>
      </p:ext>
    </p:extLst>
  </p:cSld>
  <p:clrMapOvr>
    <a:masterClrMapping/>
  </p:clrMapOvr>
  <p:transition spd="med">
    <p:wipe dir="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240426-E2C8-4003-8D16-72F1439DEA50}"/>
              </a:ext>
            </a:extLst>
          </p:cNvPr>
          <p:cNvSpPr>
            <a:spLocks noGrp="1"/>
          </p:cNvSpPr>
          <p:nvPr>
            <p:ph type="title"/>
          </p:nvPr>
        </p:nvSpPr>
        <p:spPr>
          <a:xfrm>
            <a:off x="137160" y="104362"/>
            <a:ext cx="7955280" cy="640080"/>
          </a:xfrm>
        </p:spPr>
        <p:txBody>
          <a:bodyPr/>
          <a:lstStyle/>
          <a:p>
            <a:r>
              <a:rPr lang="en-US" dirty="0"/>
              <a:t>Correlation and Causation</a:t>
            </a:r>
          </a:p>
        </p:txBody>
      </p:sp>
      <p:sp>
        <p:nvSpPr>
          <p:cNvPr id="3" name="Content Placeholder 2">
            <a:extLst>
              <a:ext uri="{FF2B5EF4-FFF2-40B4-BE49-F238E27FC236}">
                <a16:creationId xmlns:a16="http://schemas.microsoft.com/office/drawing/2014/main" id="{56A6245D-E2DD-4B22-B2B2-507AB068A965}"/>
              </a:ext>
            </a:extLst>
          </p:cNvPr>
          <p:cNvSpPr>
            <a:spLocks noGrp="1"/>
          </p:cNvSpPr>
          <p:nvPr>
            <p:ph sz="half" idx="13"/>
          </p:nvPr>
        </p:nvSpPr>
        <p:spPr>
          <a:xfrm>
            <a:off x="137160" y="811006"/>
            <a:ext cx="8234486" cy="3200400"/>
          </a:xfrm>
        </p:spPr>
        <p:txBody>
          <a:bodyPr/>
          <a:lstStyle/>
          <a:p>
            <a:r>
              <a:rPr lang="en-US" dirty="0">
                <a:solidFill>
                  <a:schemeClr val="bg2">
                    <a:lumMod val="50000"/>
                    <a:lumOff val="50000"/>
                  </a:schemeClr>
                </a:solidFill>
              </a:rPr>
              <a:t>If changing one variable caused a change in another, they will be correlated. But the converse is not necessarily true</a:t>
            </a:r>
          </a:p>
          <a:p>
            <a:r>
              <a:rPr lang="en-US" dirty="0">
                <a:solidFill>
                  <a:schemeClr val="bg2">
                    <a:lumMod val="50000"/>
                    <a:lumOff val="50000"/>
                  </a:schemeClr>
                </a:solidFill>
              </a:rPr>
              <a:t>If two variable are correlated, it is not necessarily the case that one has caused the other to change</a:t>
            </a:r>
          </a:p>
          <a:p>
            <a:r>
              <a:rPr lang="en-US" dirty="0">
                <a:solidFill>
                  <a:schemeClr val="bg2">
                    <a:lumMod val="50000"/>
                    <a:lumOff val="50000"/>
                  </a:schemeClr>
                </a:solidFill>
              </a:rPr>
              <a:t>For instance, Marriage &amp; Income</a:t>
            </a:r>
          </a:p>
          <a:p>
            <a:pPr lvl="1"/>
            <a:r>
              <a:rPr lang="en-US" dirty="0">
                <a:solidFill>
                  <a:schemeClr val="bg2">
                    <a:lumMod val="50000"/>
                    <a:lumOff val="50000"/>
                  </a:schemeClr>
                </a:solidFill>
              </a:rPr>
              <a:t>It is said that people who are married make more money, But is it not true that more money can get people married </a:t>
            </a:r>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020CC1E2-F53B-4E13-9853-9393B69C3E32}"/>
                  </a:ext>
                </a:extLst>
              </p14:cNvPr>
              <p14:cNvContentPartPr/>
              <p14:nvPr/>
            </p14:nvContentPartPr>
            <p14:xfrm>
              <a:off x="181080" y="19080"/>
              <a:ext cx="8958600" cy="4848480"/>
            </p14:xfrm>
          </p:contentPart>
        </mc:Choice>
        <mc:Fallback xmlns="">
          <p:pic>
            <p:nvPicPr>
              <p:cNvPr id="4" name="Ink 3">
                <a:extLst>
                  <a:ext uri="{FF2B5EF4-FFF2-40B4-BE49-F238E27FC236}">
                    <a16:creationId xmlns:a16="http://schemas.microsoft.com/office/drawing/2014/main" id="{020CC1E2-F53B-4E13-9853-9393B69C3E32}"/>
                  </a:ext>
                </a:extLst>
              </p:cNvPr>
              <p:cNvPicPr/>
              <p:nvPr/>
            </p:nvPicPr>
            <p:blipFill>
              <a:blip r:embed="rId3"/>
              <a:stretch>
                <a:fillRect/>
              </a:stretch>
            </p:blipFill>
            <p:spPr>
              <a:xfrm>
                <a:off x="171720" y="9720"/>
                <a:ext cx="8977320" cy="4867200"/>
              </a:xfrm>
              <a:prstGeom prst="rect">
                <a:avLst/>
              </a:prstGeom>
            </p:spPr>
          </p:pic>
        </mc:Fallback>
      </mc:AlternateContent>
    </p:spTree>
    <p:extLst>
      <p:ext uri="{BB962C8B-B14F-4D97-AF65-F5344CB8AC3E}">
        <p14:creationId xmlns:p14="http://schemas.microsoft.com/office/powerpoint/2010/main" val="3561234959"/>
      </p:ext>
    </p:extLst>
  </p:cSld>
  <p:clrMapOvr>
    <a:masterClrMapping/>
  </p:clrMapOvr>
  <p:transition spd="med">
    <p:wipe dir="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3C837C-ACCC-4FC8-BB8D-6A764353E397}"/>
              </a:ext>
            </a:extLst>
          </p:cNvPr>
          <p:cNvSpPr>
            <a:spLocks noGrp="1"/>
          </p:cNvSpPr>
          <p:nvPr>
            <p:ph type="title"/>
          </p:nvPr>
        </p:nvSpPr>
        <p:spPr>
          <a:xfrm>
            <a:off x="0" y="0"/>
            <a:ext cx="7955280" cy="640080"/>
          </a:xfrm>
        </p:spPr>
        <p:txBody>
          <a:bodyPr/>
          <a:lstStyle/>
          <a:p>
            <a:r>
              <a:rPr lang="en-US" dirty="0"/>
              <a:t>Confounding Variable</a:t>
            </a:r>
          </a:p>
        </p:txBody>
      </p:sp>
      <p:sp>
        <p:nvSpPr>
          <p:cNvPr id="3" name="Content Placeholder 2">
            <a:extLst>
              <a:ext uri="{FF2B5EF4-FFF2-40B4-BE49-F238E27FC236}">
                <a16:creationId xmlns:a16="http://schemas.microsoft.com/office/drawing/2014/main" id="{3E01CF73-0B6D-4BB3-8A14-4D46D9C0DF3D}"/>
              </a:ext>
            </a:extLst>
          </p:cNvPr>
          <p:cNvSpPr>
            <a:spLocks noGrp="1"/>
          </p:cNvSpPr>
          <p:nvPr>
            <p:ph sz="half" idx="13"/>
          </p:nvPr>
        </p:nvSpPr>
        <p:spPr>
          <a:xfrm>
            <a:off x="137160" y="640080"/>
            <a:ext cx="8418064" cy="1600549"/>
          </a:xfrm>
        </p:spPr>
        <p:txBody>
          <a:bodyPr>
            <a:normAutofit/>
          </a:bodyPr>
          <a:lstStyle/>
          <a:p>
            <a:r>
              <a:rPr lang="en-US" sz="1200" kern="1200" dirty="0">
                <a:solidFill>
                  <a:schemeClr val="bg2">
                    <a:lumMod val="50000"/>
                    <a:lumOff val="50000"/>
                  </a:schemeClr>
                </a:solidFill>
                <a:latin typeface="+mn-lt"/>
                <a:ea typeface="+mn-ea"/>
                <a:cs typeface="+mn-cs"/>
              </a:rPr>
              <a:t>Confounding variables (a.k.a. confounders or confounding factors) are a type of extraneous variable that are related to a study’s independent and dependent variables. A variable must meet two conditions to be a confounder:</a:t>
            </a:r>
          </a:p>
          <a:p>
            <a:pPr lvl="1"/>
            <a:r>
              <a:rPr lang="en-US" kern="1200" dirty="0">
                <a:solidFill>
                  <a:schemeClr val="bg2">
                    <a:lumMod val="50000"/>
                    <a:lumOff val="50000"/>
                  </a:schemeClr>
                </a:solidFill>
                <a:latin typeface="+mn-lt"/>
                <a:ea typeface="+mn-ea"/>
                <a:cs typeface="+mn-cs"/>
              </a:rPr>
              <a:t>It must be correlated with the independent variable. This may be a causal relationship, but it does not have to be.</a:t>
            </a:r>
          </a:p>
          <a:p>
            <a:pPr lvl="1"/>
            <a:r>
              <a:rPr lang="en-US" kern="1200" dirty="0">
                <a:solidFill>
                  <a:schemeClr val="bg2">
                    <a:lumMod val="50000"/>
                    <a:lumOff val="50000"/>
                  </a:schemeClr>
                </a:solidFill>
                <a:latin typeface="+mn-lt"/>
                <a:ea typeface="+mn-ea"/>
                <a:cs typeface="+mn-cs"/>
              </a:rPr>
              <a:t>It must be causally related to the dependent variable.</a:t>
            </a:r>
          </a:p>
          <a:p>
            <a:r>
              <a:rPr lang="en-US" sz="1200" kern="1200" dirty="0">
                <a:solidFill>
                  <a:schemeClr val="bg2">
                    <a:lumMod val="50000"/>
                    <a:lumOff val="50000"/>
                  </a:schemeClr>
                </a:solidFill>
                <a:latin typeface="+mn-lt"/>
                <a:ea typeface="+mn-ea"/>
                <a:cs typeface="+mn-cs"/>
              </a:rPr>
              <a:t>A variable that hides the true effect of another variable in your experiment. This can happen when another variable is closely related to a variable you are interested in, but you haven’t controlled it in your experiment.</a:t>
            </a:r>
          </a:p>
        </p:txBody>
      </p:sp>
      <p:sp>
        <p:nvSpPr>
          <p:cNvPr id="5" name="Rectangle 4">
            <a:extLst>
              <a:ext uri="{FF2B5EF4-FFF2-40B4-BE49-F238E27FC236}">
                <a16:creationId xmlns:a16="http://schemas.microsoft.com/office/drawing/2014/main" id="{05419016-60B7-41A0-8339-FA52456F977A}"/>
              </a:ext>
            </a:extLst>
          </p:cNvPr>
          <p:cNvSpPr/>
          <p:nvPr/>
        </p:nvSpPr>
        <p:spPr>
          <a:xfrm>
            <a:off x="137160" y="2135055"/>
            <a:ext cx="8418064" cy="767817"/>
          </a:xfrm>
          <a:prstGeom prst="rect">
            <a:avLst/>
          </a:prstGeom>
          <a:solidFill>
            <a:schemeClr val="tx1">
              <a:lumMod val="20000"/>
              <a:lumOff val="80000"/>
            </a:schemeClr>
          </a:solidFill>
          <a:ln w="12700" cmpd="sng">
            <a:noFill/>
          </a:ln>
          <a:effectLst/>
        </p:spPr>
        <p:txBody>
          <a:bodyPr wrap="square" lIns="182880" tIns="137160" rIns="137160" bIns="137160" rtlCol="0" anchor="ctr">
            <a:noAutofit/>
          </a:bodyPr>
          <a:lstStyle/>
          <a:p>
            <a:pPr>
              <a:lnSpc>
                <a:spcPct val="90000"/>
              </a:lnSpc>
              <a:spcBef>
                <a:spcPts val="600"/>
              </a:spcBef>
              <a:spcAft>
                <a:spcPts val="0"/>
              </a:spcAft>
            </a:pPr>
            <a:r>
              <a:rPr lang="en-US" sz="1200" dirty="0">
                <a:latin typeface="+mn-lt"/>
              </a:rPr>
              <a:t>You collect data on sunburns and ice cream consumption. You find that higher ice cream consumption is associated with a higher probability of sunburn. Does that mean ice cream consumption causes sunburn?</a:t>
            </a:r>
          </a:p>
          <a:p>
            <a:pPr>
              <a:lnSpc>
                <a:spcPct val="90000"/>
              </a:lnSpc>
              <a:spcBef>
                <a:spcPts val="600"/>
              </a:spcBef>
              <a:spcAft>
                <a:spcPts val="0"/>
              </a:spcAft>
            </a:pPr>
            <a:r>
              <a:rPr lang="en-US" sz="1200" dirty="0">
                <a:latin typeface="+mn-lt"/>
              </a:rPr>
              <a:t>Here, the confounding variable is temperature: hot temperatures cause people to both eat more ice cream and spend more time outdoors under the sun, resulting in more sunburns.</a:t>
            </a:r>
          </a:p>
        </p:txBody>
      </p:sp>
      <p:sp>
        <p:nvSpPr>
          <p:cNvPr id="6" name="Rectangle 5">
            <a:extLst>
              <a:ext uri="{FF2B5EF4-FFF2-40B4-BE49-F238E27FC236}">
                <a16:creationId xmlns:a16="http://schemas.microsoft.com/office/drawing/2014/main" id="{3D92DDC2-8FCD-45ED-B27B-D1857B405C77}"/>
              </a:ext>
            </a:extLst>
          </p:cNvPr>
          <p:cNvSpPr/>
          <p:nvPr/>
        </p:nvSpPr>
        <p:spPr>
          <a:xfrm>
            <a:off x="137160" y="2135056"/>
            <a:ext cx="135066" cy="753856"/>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pic>
        <p:nvPicPr>
          <p:cNvPr id="8" name="Picture 7">
            <a:extLst>
              <a:ext uri="{FF2B5EF4-FFF2-40B4-BE49-F238E27FC236}">
                <a16:creationId xmlns:a16="http://schemas.microsoft.com/office/drawing/2014/main" id="{E6C9A3F4-824D-4ACA-A39D-E5D996A7F2E9}"/>
              </a:ext>
            </a:extLst>
          </p:cNvPr>
          <p:cNvPicPr>
            <a:picLocks noChangeAspect="1"/>
          </p:cNvPicPr>
          <p:nvPr/>
        </p:nvPicPr>
        <p:blipFill>
          <a:blip r:embed="rId2"/>
          <a:stretch>
            <a:fillRect/>
          </a:stretch>
        </p:blipFill>
        <p:spPr>
          <a:xfrm>
            <a:off x="1948225" y="2902872"/>
            <a:ext cx="4508415" cy="2235080"/>
          </a:xfrm>
          <a:prstGeom prst="rect">
            <a:avLst/>
          </a:prstGeom>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C37863D1-7F3A-4B5E-9F21-51925891B203}"/>
                  </a:ext>
                </a:extLst>
              </p14:cNvPr>
              <p14:cNvContentPartPr/>
              <p14:nvPr/>
            </p14:nvContentPartPr>
            <p14:xfrm>
              <a:off x="290520" y="33480"/>
              <a:ext cx="8782560" cy="4577040"/>
            </p14:xfrm>
          </p:contentPart>
        </mc:Choice>
        <mc:Fallback xmlns="">
          <p:pic>
            <p:nvPicPr>
              <p:cNvPr id="4" name="Ink 3">
                <a:extLst>
                  <a:ext uri="{FF2B5EF4-FFF2-40B4-BE49-F238E27FC236}">
                    <a16:creationId xmlns:a16="http://schemas.microsoft.com/office/drawing/2014/main" id="{C37863D1-7F3A-4B5E-9F21-51925891B203}"/>
                  </a:ext>
                </a:extLst>
              </p:cNvPr>
              <p:cNvPicPr/>
              <p:nvPr/>
            </p:nvPicPr>
            <p:blipFill>
              <a:blip r:embed="rId4"/>
              <a:stretch>
                <a:fillRect/>
              </a:stretch>
            </p:blipFill>
            <p:spPr>
              <a:xfrm>
                <a:off x="281160" y="24120"/>
                <a:ext cx="8801280" cy="4595760"/>
              </a:xfrm>
              <a:prstGeom prst="rect">
                <a:avLst/>
              </a:prstGeom>
            </p:spPr>
          </p:pic>
        </mc:Fallback>
      </mc:AlternateContent>
    </p:spTree>
    <p:extLst>
      <p:ext uri="{BB962C8B-B14F-4D97-AF65-F5344CB8AC3E}">
        <p14:creationId xmlns:p14="http://schemas.microsoft.com/office/powerpoint/2010/main" val="1334523387"/>
      </p:ext>
    </p:extLst>
  </p:cSld>
  <p:clrMapOvr>
    <a:masterClrMapping/>
  </p:clrMapOvr>
  <p:transition spd="med">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CE2CF5-7F0B-4C91-B3F0-3D73FE55E935}"/>
              </a:ext>
            </a:extLst>
          </p:cNvPr>
          <p:cNvSpPr>
            <a:spLocks noGrp="1"/>
          </p:cNvSpPr>
          <p:nvPr>
            <p:ph type="title"/>
          </p:nvPr>
        </p:nvSpPr>
        <p:spPr/>
        <p:txBody>
          <a:bodyPr/>
          <a:lstStyle/>
          <a:p>
            <a:r>
              <a:rPr lang="en-US" dirty="0"/>
              <a:t>Some examples of how statistics shape our life</a:t>
            </a:r>
          </a:p>
        </p:txBody>
      </p:sp>
      <p:sp>
        <p:nvSpPr>
          <p:cNvPr id="3" name="Content Placeholder 2">
            <a:extLst>
              <a:ext uri="{FF2B5EF4-FFF2-40B4-BE49-F238E27FC236}">
                <a16:creationId xmlns:a16="http://schemas.microsoft.com/office/drawing/2014/main" id="{0E6F2195-EBAF-4B7F-9882-86101EF6A643}"/>
              </a:ext>
            </a:extLst>
          </p:cNvPr>
          <p:cNvSpPr>
            <a:spLocks noGrp="1"/>
          </p:cNvSpPr>
          <p:nvPr>
            <p:ph sz="half" idx="1"/>
          </p:nvPr>
        </p:nvSpPr>
        <p:spPr>
          <a:xfrm>
            <a:off x="274319" y="1067217"/>
            <a:ext cx="7924386" cy="3200400"/>
          </a:xfrm>
        </p:spPr>
        <p:txBody>
          <a:bodyPr/>
          <a:lstStyle/>
          <a:p>
            <a:r>
              <a:rPr lang="en-US" dirty="0">
                <a:solidFill>
                  <a:schemeClr val="bg2">
                    <a:lumMod val="50000"/>
                    <a:lumOff val="50000"/>
                  </a:schemeClr>
                </a:solidFill>
              </a:rPr>
              <a:t>Weather Forecast</a:t>
            </a:r>
          </a:p>
          <a:p>
            <a:r>
              <a:rPr lang="en-US" dirty="0">
                <a:solidFill>
                  <a:schemeClr val="bg2">
                    <a:lumMod val="50000"/>
                    <a:lumOff val="50000"/>
                  </a:schemeClr>
                </a:solidFill>
              </a:rPr>
              <a:t>Stock Markets</a:t>
            </a:r>
          </a:p>
          <a:p>
            <a:r>
              <a:rPr lang="en-US" dirty="0">
                <a:solidFill>
                  <a:schemeClr val="bg2">
                    <a:lumMod val="50000"/>
                    <a:lumOff val="50000"/>
                  </a:schemeClr>
                </a:solidFill>
              </a:rPr>
              <a:t>Predicting emergencies</a:t>
            </a:r>
          </a:p>
          <a:p>
            <a:r>
              <a:rPr lang="en-US" dirty="0">
                <a:solidFill>
                  <a:schemeClr val="bg2">
                    <a:lumMod val="50000"/>
                    <a:lumOff val="50000"/>
                  </a:schemeClr>
                </a:solidFill>
              </a:rPr>
              <a:t>Political Campaigns</a:t>
            </a:r>
          </a:p>
          <a:p>
            <a:r>
              <a:rPr lang="en-US" dirty="0">
                <a:solidFill>
                  <a:schemeClr val="bg2">
                    <a:lumMod val="50000"/>
                    <a:lumOff val="50000"/>
                  </a:schemeClr>
                </a:solidFill>
              </a:rPr>
              <a:t>Insurance</a:t>
            </a:r>
          </a:p>
          <a:p>
            <a:r>
              <a:rPr lang="en-US" dirty="0">
                <a:solidFill>
                  <a:schemeClr val="bg2">
                    <a:lumMod val="50000"/>
                    <a:lumOff val="50000"/>
                  </a:schemeClr>
                </a:solidFill>
              </a:rPr>
              <a:t>Medical Studies</a:t>
            </a:r>
          </a:p>
          <a:p>
            <a:r>
              <a:rPr lang="en-US" dirty="0">
                <a:solidFill>
                  <a:schemeClr val="bg2">
                    <a:lumMod val="50000"/>
                    <a:lumOff val="50000"/>
                  </a:schemeClr>
                </a:solidFill>
              </a:rPr>
              <a:t>Genetics</a:t>
            </a:r>
          </a:p>
          <a:p>
            <a:endParaRPr lang="en-US" dirty="0"/>
          </a:p>
          <a:p>
            <a:endParaRPr lang="en-US" dirty="0"/>
          </a:p>
        </p:txBody>
      </p:sp>
      <p:pic>
        <p:nvPicPr>
          <p:cNvPr id="5" name="Picture 4" descr="A picture containing outdoor, wave, water, nature&#10;&#10;Description automatically generated">
            <a:extLst>
              <a:ext uri="{FF2B5EF4-FFF2-40B4-BE49-F238E27FC236}">
                <a16:creationId xmlns:a16="http://schemas.microsoft.com/office/drawing/2014/main" id="{037C017C-AD27-419E-8BA5-40FE9B8B1644}"/>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4783110" y="1050665"/>
            <a:ext cx="1838977" cy="1838977"/>
          </a:xfrm>
          <a:prstGeom prst="rect">
            <a:avLst/>
          </a:prstGeom>
        </p:spPr>
      </p:pic>
      <p:pic>
        <p:nvPicPr>
          <p:cNvPr id="7" name="Picture 6" descr="A picture containing text, sign&#10;&#10;Description automatically generated">
            <a:extLst>
              <a:ext uri="{FF2B5EF4-FFF2-40B4-BE49-F238E27FC236}">
                <a16:creationId xmlns:a16="http://schemas.microsoft.com/office/drawing/2014/main" id="{FC3D719A-FC4D-4456-B226-363C83621C38}"/>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6622087" y="2392516"/>
            <a:ext cx="2248422" cy="1143533"/>
          </a:xfrm>
          <a:prstGeom prst="rect">
            <a:avLst/>
          </a:prstGeom>
        </p:spPr>
      </p:pic>
      <p:pic>
        <p:nvPicPr>
          <p:cNvPr id="10" name="Picture 9" descr="A picture containing graphical user interface&#10;&#10;Description automatically generated">
            <a:extLst>
              <a:ext uri="{FF2B5EF4-FFF2-40B4-BE49-F238E27FC236}">
                <a16:creationId xmlns:a16="http://schemas.microsoft.com/office/drawing/2014/main" id="{742977D8-6CEA-45C9-9BFF-C1A34B9D06F2}"/>
              </a:ext>
            </a:extLst>
          </p:cNvPr>
          <p:cNvPicPr>
            <a:picLocks noChangeAspect="1"/>
          </p:cNvPicPr>
          <p:nvPr/>
        </p:nvPicPr>
        <p:blipFill>
          <a:blip r:embed="rId6" cstate="print">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6723414" y="1050665"/>
            <a:ext cx="2012777" cy="1341851"/>
          </a:xfrm>
          <a:prstGeom prst="rect">
            <a:avLst/>
          </a:prstGeom>
        </p:spPr>
      </p:pic>
      <p:pic>
        <p:nvPicPr>
          <p:cNvPr id="13" name="Picture 12" descr="A picture containing text&#10;&#10;Description automatically generated">
            <a:extLst>
              <a:ext uri="{FF2B5EF4-FFF2-40B4-BE49-F238E27FC236}">
                <a16:creationId xmlns:a16="http://schemas.microsoft.com/office/drawing/2014/main" id="{98D16ED9-0F12-4F5A-8975-608CF107F8E1}"/>
              </a:ext>
            </a:extLst>
          </p:cNvPr>
          <p:cNvPicPr>
            <a:picLocks noChangeAspect="1"/>
          </p:cNvPicPr>
          <p:nvPr/>
        </p:nvPicPr>
        <p:blipFill>
          <a:blip r:embed="rId8" cstate="print">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4783110" y="3044893"/>
            <a:ext cx="1485677" cy="1684240"/>
          </a:xfrm>
          <a:prstGeom prst="rect">
            <a:avLst/>
          </a:prstGeom>
        </p:spPr>
      </p:pic>
      <p:pic>
        <p:nvPicPr>
          <p:cNvPr id="16" name="Picture 15" descr="A picture containing sky, outdoor, people, tarmac&#10;&#10;Description automatically generated">
            <a:extLst>
              <a:ext uri="{FF2B5EF4-FFF2-40B4-BE49-F238E27FC236}">
                <a16:creationId xmlns:a16="http://schemas.microsoft.com/office/drawing/2014/main" id="{C1AA6E6E-6CBC-428E-8B65-5E4D26ECFE59}"/>
              </a:ext>
            </a:extLst>
          </p:cNvPr>
          <p:cNvPicPr>
            <a:picLocks noChangeAspect="1"/>
          </p:cNvPicPr>
          <p:nvPr/>
        </p:nvPicPr>
        <p:blipFill>
          <a:blip r:embed="rId10" cstate="print">
            <a:extLst>
              <a:ext uri="{28A0092B-C50C-407E-A947-70E740481C1C}">
                <a14:useLocalDpi xmlns:a14="http://schemas.microsoft.com/office/drawing/2010/main" val="0"/>
              </a:ext>
              <a:ext uri="{837473B0-CC2E-450A-ABE3-18F120FF3D39}">
                <a1611:picAttrSrcUrl xmlns:a1611="http://schemas.microsoft.com/office/drawing/2016/11/main" r:id="rId11"/>
              </a:ext>
            </a:extLst>
          </a:blip>
          <a:stretch>
            <a:fillRect/>
          </a:stretch>
        </p:blipFill>
        <p:spPr>
          <a:xfrm>
            <a:off x="6357532" y="3536049"/>
            <a:ext cx="1750231" cy="1168532"/>
          </a:xfrm>
          <a:prstGeom prst="rect">
            <a:avLst/>
          </a:prstGeom>
        </p:spPr>
      </p:pic>
    </p:spTree>
    <p:extLst>
      <p:ext uri="{BB962C8B-B14F-4D97-AF65-F5344CB8AC3E}">
        <p14:creationId xmlns:p14="http://schemas.microsoft.com/office/powerpoint/2010/main" val="2470375232"/>
      </p:ext>
    </p:extLst>
  </p:cSld>
  <p:clrMapOvr>
    <a:masterClrMapping/>
  </p:clrMapOvr>
  <p:transition spd="med">
    <p:wipe dir="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1D70DB-7CD4-42FE-987B-CA260299C227}"/>
              </a:ext>
            </a:extLst>
          </p:cNvPr>
          <p:cNvSpPr>
            <a:spLocks noGrp="1"/>
          </p:cNvSpPr>
          <p:nvPr>
            <p:ph type="title"/>
          </p:nvPr>
        </p:nvSpPr>
        <p:spPr>
          <a:xfrm>
            <a:off x="0" y="0"/>
            <a:ext cx="7955280" cy="640080"/>
          </a:xfrm>
        </p:spPr>
        <p:txBody>
          <a:bodyPr/>
          <a:lstStyle/>
          <a:p>
            <a:r>
              <a:rPr lang="en-US" dirty="0"/>
              <a:t>Confounding variable – another example</a:t>
            </a:r>
          </a:p>
        </p:txBody>
      </p:sp>
      <p:pic>
        <p:nvPicPr>
          <p:cNvPr id="6" name="Picture 5">
            <a:extLst>
              <a:ext uri="{FF2B5EF4-FFF2-40B4-BE49-F238E27FC236}">
                <a16:creationId xmlns:a16="http://schemas.microsoft.com/office/drawing/2014/main" id="{9FEF74AE-492F-4044-AB48-F898E20FD7C4}"/>
              </a:ext>
            </a:extLst>
          </p:cNvPr>
          <p:cNvPicPr>
            <a:picLocks noChangeAspect="1"/>
          </p:cNvPicPr>
          <p:nvPr/>
        </p:nvPicPr>
        <p:blipFill>
          <a:blip r:embed="rId2"/>
          <a:stretch>
            <a:fillRect/>
          </a:stretch>
        </p:blipFill>
        <p:spPr>
          <a:xfrm>
            <a:off x="1778048" y="2621078"/>
            <a:ext cx="4483149" cy="2390490"/>
          </a:xfrm>
          <a:prstGeom prst="rect">
            <a:avLst/>
          </a:prstGeom>
        </p:spPr>
      </p:pic>
      <p:pic>
        <p:nvPicPr>
          <p:cNvPr id="8" name="Picture 7">
            <a:extLst>
              <a:ext uri="{FF2B5EF4-FFF2-40B4-BE49-F238E27FC236}">
                <a16:creationId xmlns:a16="http://schemas.microsoft.com/office/drawing/2014/main" id="{9CB35E85-EAE6-4AF3-81B5-25A0F95A4565}"/>
              </a:ext>
            </a:extLst>
          </p:cNvPr>
          <p:cNvPicPr>
            <a:picLocks noChangeAspect="1"/>
          </p:cNvPicPr>
          <p:nvPr/>
        </p:nvPicPr>
        <p:blipFill>
          <a:blip r:embed="rId3"/>
          <a:stretch>
            <a:fillRect/>
          </a:stretch>
        </p:blipFill>
        <p:spPr>
          <a:xfrm>
            <a:off x="1305288" y="637701"/>
            <a:ext cx="5572125" cy="685800"/>
          </a:xfrm>
          <a:prstGeom prst="rect">
            <a:avLst/>
          </a:prstGeom>
        </p:spPr>
      </p:pic>
      <p:sp>
        <p:nvSpPr>
          <p:cNvPr id="9" name="TextBox 8">
            <a:extLst>
              <a:ext uri="{FF2B5EF4-FFF2-40B4-BE49-F238E27FC236}">
                <a16:creationId xmlns:a16="http://schemas.microsoft.com/office/drawing/2014/main" id="{F454474E-454D-495E-BF3A-33238FDCC41B}"/>
              </a:ext>
            </a:extLst>
          </p:cNvPr>
          <p:cNvSpPr txBox="1"/>
          <p:nvPr/>
        </p:nvSpPr>
        <p:spPr>
          <a:xfrm>
            <a:off x="0" y="1321122"/>
            <a:ext cx="9095139" cy="1061829"/>
          </a:xfrm>
          <a:prstGeom prst="rect">
            <a:avLst/>
          </a:prstGeom>
          <a:noFill/>
        </p:spPr>
        <p:txBody>
          <a:bodyPr wrap="square" rtlCol="0">
            <a:spAutoFit/>
          </a:bodyPr>
          <a:lstStyle/>
          <a:p>
            <a:pPr marL="171450" indent="-171450">
              <a:spcBef>
                <a:spcPts val="0"/>
              </a:spcBef>
              <a:spcAft>
                <a:spcPts val="0"/>
              </a:spcAft>
              <a:buClr>
                <a:schemeClr val="bg1"/>
              </a:buClr>
              <a:buFont typeface="Arial" panose="020B0604020202020204" pitchFamily="34" charset="0"/>
              <a:buChar char="•"/>
            </a:pPr>
            <a:r>
              <a:rPr lang="en-US" sz="1050" dirty="0">
                <a:solidFill>
                  <a:schemeClr val="bg2">
                    <a:lumMod val="50000"/>
                    <a:lumOff val="50000"/>
                  </a:schemeClr>
                </a:solidFill>
                <a:latin typeface="+mn-lt"/>
              </a:rPr>
              <a:t>If you find that people who consume more alcohol are more likely to die, it might seem intuitive to conclude that alcohol use increases the risk of death. However, the situation might be more complex. It is possible that alcohol use is not the only mortality-affecting factor that differs between the two groups.</a:t>
            </a:r>
          </a:p>
          <a:p>
            <a:pPr>
              <a:spcBef>
                <a:spcPts val="0"/>
              </a:spcBef>
              <a:spcAft>
                <a:spcPts val="0"/>
              </a:spcAft>
              <a:buClr>
                <a:schemeClr val="bg1"/>
              </a:buClr>
            </a:pPr>
            <a:endParaRPr lang="en-US" sz="1050" dirty="0">
              <a:solidFill>
                <a:schemeClr val="bg2">
                  <a:lumMod val="50000"/>
                  <a:lumOff val="50000"/>
                </a:schemeClr>
              </a:solidFill>
              <a:latin typeface="+mn-lt"/>
            </a:endParaRPr>
          </a:p>
          <a:p>
            <a:pPr marL="171450" indent="-171450">
              <a:spcBef>
                <a:spcPts val="0"/>
              </a:spcBef>
              <a:spcAft>
                <a:spcPts val="0"/>
              </a:spcAft>
              <a:buClr>
                <a:schemeClr val="bg1"/>
              </a:buClr>
              <a:buFont typeface="Arial" panose="020B0604020202020204" pitchFamily="34" charset="0"/>
              <a:buChar char="•"/>
            </a:pPr>
            <a:r>
              <a:rPr lang="en-US" sz="1050" dirty="0">
                <a:solidFill>
                  <a:schemeClr val="bg2">
                    <a:lumMod val="50000"/>
                    <a:lumOff val="50000"/>
                  </a:schemeClr>
                </a:solidFill>
                <a:latin typeface="+mn-lt"/>
              </a:rPr>
              <a:t>People who consume less alcohol might be more likely to eat a healthier diet or less likely to smoke, for example. Eating a healthy diet or smoking might in turn affect mortality. These other influencing factors are called </a:t>
            </a:r>
            <a:r>
              <a:rPr lang="en-US" sz="1050" b="1" dirty="0">
                <a:solidFill>
                  <a:schemeClr val="bg2">
                    <a:lumMod val="50000"/>
                    <a:lumOff val="50000"/>
                  </a:schemeClr>
                </a:solidFill>
                <a:latin typeface="+mn-lt"/>
              </a:rPr>
              <a:t>confounding variables.</a:t>
            </a:r>
          </a:p>
        </p:txBody>
      </p:sp>
      <mc:AlternateContent xmlns:mc="http://schemas.openxmlformats.org/markup-compatibility/2006" xmlns:p14="http://schemas.microsoft.com/office/powerpoint/2010/main">
        <mc:Choice Requires="p14">
          <p:contentPart p14:bwMode="auto" r:id="rId4">
            <p14:nvContentPartPr>
              <p14:cNvPr id="3" name="Ink 2">
                <a:extLst>
                  <a:ext uri="{FF2B5EF4-FFF2-40B4-BE49-F238E27FC236}">
                    <a16:creationId xmlns:a16="http://schemas.microsoft.com/office/drawing/2014/main" id="{1411F63F-EB2A-433F-B8D0-5ED96157C56B}"/>
                  </a:ext>
                </a:extLst>
              </p14:cNvPr>
              <p14:cNvContentPartPr/>
              <p14:nvPr/>
            </p14:nvContentPartPr>
            <p14:xfrm>
              <a:off x="342720" y="9360"/>
              <a:ext cx="8615880" cy="3615120"/>
            </p14:xfrm>
          </p:contentPart>
        </mc:Choice>
        <mc:Fallback xmlns="">
          <p:pic>
            <p:nvPicPr>
              <p:cNvPr id="3" name="Ink 2">
                <a:extLst>
                  <a:ext uri="{FF2B5EF4-FFF2-40B4-BE49-F238E27FC236}">
                    <a16:creationId xmlns:a16="http://schemas.microsoft.com/office/drawing/2014/main" id="{1411F63F-EB2A-433F-B8D0-5ED96157C56B}"/>
                  </a:ext>
                </a:extLst>
              </p:cNvPr>
              <p:cNvPicPr/>
              <p:nvPr/>
            </p:nvPicPr>
            <p:blipFill>
              <a:blip r:embed="rId5"/>
              <a:stretch>
                <a:fillRect/>
              </a:stretch>
            </p:blipFill>
            <p:spPr>
              <a:xfrm>
                <a:off x="333360" y="0"/>
                <a:ext cx="8634600" cy="3633840"/>
              </a:xfrm>
              <a:prstGeom prst="rect">
                <a:avLst/>
              </a:prstGeom>
            </p:spPr>
          </p:pic>
        </mc:Fallback>
      </mc:AlternateContent>
    </p:spTree>
    <p:extLst>
      <p:ext uri="{BB962C8B-B14F-4D97-AF65-F5344CB8AC3E}">
        <p14:creationId xmlns:p14="http://schemas.microsoft.com/office/powerpoint/2010/main" val="1826951538"/>
      </p:ext>
    </p:extLst>
  </p:cSld>
  <p:clrMapOvr>
    <a:masterClrMapping/>
  </p:clrMapOvr>
  <p:transition spd="med">
    <p:wipe dir="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57D1EA-7DF3-48CC-B31A-49D4AA1AAF47}"/>
              </a:ext>
            </a:extLst>
          </p:cNvPr>
          <p:cNvSpPr>
            <a:spLocks noGrp="1"/>
          </p:cNvSpPr>
          <p:nvPr>
            <p:ph type="title"/>
          </p:nvPr>
        </p:nvSpPr>
        <p:spPr>
          <a:xfrm>
            <a:off x="0" y="22860"/>
            <a:ext cx="7955280" cy="640080"/>
          </a:xfrm>
        </p:spPr>
        <p:txBody>
          <a:bodyPr/>
          <a:lstStyle/>
          <a:p>
            <a:r>
              <a:rPr lang="en-US" dirty="0"/>
              <a:t>What is hypothesis ? </a:t>
            </a:r>
          </a:p>
        </p:txBody>
      </p:sp>
      <p:sp>
        <p:nvSpPr>
          <p:cNvPr id="3" name="Content Placeholder 2">
            <a:extLst>
              <a:ext uri="{FF2B5EF4-FFF2-40B4-BE49-F238E27FC236}">
                <a16:creationId xmlns:a16="http://schemas.microsoft.com/office/drawing/2014/main" id="{752E4901-1085-409B-A059-026B6D6F6B60}"/>
              </a:ext>
            </a:extLst>
          </p:cNvPr>
          <p:cNvSpPr>
            <a:spLocks noGrp="1"/>
          </p:cNvSpPr>
          <p:nvPr>
            <p:ph sz="half" idx="13"/>
          </p:nvPr>
        </p:nvSpPr>
        <p:spPr>
          <a:xfrm>
            <a:off x="120755" y="662939"/>
            <a:ext cx="8918543" cy="3615895"/>
          </a:xfrm>
        </p:spPr>
        <p:txBody>
          <a:bodyPr>
            <a:normAutofit fontScale="92500" lnSpcReduction="20000"/>
          </a:bodyPr>
          <a:lstStyle/>
          <a:p>
            <a:pPr marL="0" indent="0">
              <a:buNone/>
            </a:pPr>
            <a:r>
              <a:rPr lang="en-US" sz="2000" kern="1200" dirty="0">
                <a:solidFill>
                  <a:schemeClr val="bg2">
                    <a:lumMod val="50000"/>
                    <a:lumOff val="50000"/>
                  </a:schemeClr>
                </a:solidFill>
                <a:latin typeface="+mn-lt"/>
                <a:ea typeface="+mn-ea"/>
                <a:cs typeface="+mn-cs"/>
              </a:rPr>
              <a:t>A hypothesis is a </a:t>
            </a:r>
            <a:r>
              <a:rPr lang="en-US" sz="2000" b="1" kern="1200" dirty="0">
                <a:solidFill>
                  <a:schemeClr val="bg2">
                    <a:lumMod val="50000"/>
                    <a:lumOff val="50000"/>
                  </a:schemeClr>
                </a:solidFill>
                <a:latin typeface="+mn-lt"/>
                <a:ea typeface="+mn-ea"/>
                <a:cs typeface="+mn-cs"/>
              </a:rPr>
              <a:t>tentative statement </a:t>
            </a:r>
            <a:r>
              <a:rPr lang="en-US" sz="2000" kern="1200" dirty="0">
                <a:solidFill>
                  <a:schemeClr val="bg2">
                    <a:lumMod val="50000"/>
                    <a:lumOff val="50000"/>
                  </a:schemeClr>
                </a:solidFill>
                <a:latin typeface="+mn-lt"/>
                <a:ea typeface="+mn-ea"/>
                <a:cs typeface="+mn-cs"/>
              </a:rPr>
              <a:t>about the relationship between </a:t>
            </a:r>
            <a:r>
              <a:rPr lang="en-US" sz="2000" b="1" kern="1200" dirty="0">
                <a:solidFill>
                  <a:schemeClr val="bg2">
                    <a:lumMod val="50000"/>
                    <a:lumOff val="50000"/>
                  </a:schemeClr>
                </a:solidFill>
                <a:latin typeface="+mn-lt"/>
                <a:ea typeface="+mn-ea"/>
                <a:cs typeface="+mn-cs"/>
              </a:rPr>
              <a:t>two or more variables</a:t>
            </a:r>
            <a:r>
              <a:rPr lang="en-US" sz="2000" kern="1200" dirty="0">
                <a:solidFill>
                  <a:schemeClr val="bg2">
                    <a:lumMod val="50000"/>
                    <a:lumOff val="50000"/>
                  </a:schemeClr>
                </a:solidFill>
                <a:latin typeface="+mn-lt"/>
                <a:ea typeface="+mn-ea"/>
                <a:cs typeface="+mn-cs"/>
              </a:rPr>
              <a:t>. It is a specific, testable prediction about what you expect to happen in a study.</a:t>
            </a:r>
          </a:p>
          <a:p>
            <a:pPr marL="0" indent="0">
              <a:buNone/>
            </a:pPr>
            <a:endParaRPr lang="en-US" sz="2000" kern="1200" dirty="0">
              <a:solidFill>
                <a:schemeClr val="bg2">
                  <a:lumMod val="50000"/>
                  <a:lumOff val="50000"/>
                </a:schemeClr>
              </a:solidFill>
              <a:latin typeface="+mn-lt"/>
              <a:ea typeface="+mn-ea"/>
              <a:cs typeface="+mn-cs"/>
            </a:endParaRPr>
          </a:p>
          <a:p>
            <a:pPr marL="0" indent="0" algn="l" fontAlgn="base">
              <a:buNone/>
            </a:pPr>
            <a:r>
              <a:rPr lang="en-US" sz="2000" b="1" kern="1200" dirty="0">
                <a:solidFill>
                  <a:schemeClr val="accent1"/>
                </a:solidFill>
                <a:latin typeface="+mn-lt"/>
                <a:ea typeface="+mn-ea"/>
                <a:cs typeface="+mn-cs"/>
              </a:rPr>
              <a:t>A few examples:</a:t>
            </a:r>
          </a:p>
          <a:p>
            <a:pPr algn="l" fontAlgn="base">
              <a:buFont typeface="Arial" panose="020B0604020202020204" pitchFamily="34" charset="0"/>
              <a:buChar char="•"/>
            </a:pPr>
            <a:r>
              <a:rPr lang="en-US" sz="2000" kern="1200" dirty="0">
                <a:solidFill>
                  <a:schemeClr val="bg2">
                    <a:lumMod val="50000"/>
                    <a:lumOff val="50000"/>
                  </a:schemeClr>
                </a:solidFill>
                <a:latin typeface="+mn-lt"/>
                <a:ea typeface="+mn-ea"/>
                <a:cs typeface="+mn-cs"/>
              </a:rPr>
              <a:t>"Students who eat breakfast will perform better on a math exam than students who do not eat breakfast."</a:t>
            </a:r>
          </a:p>
          <a:p>
            <a:pPr algn="l" fontAlgn="base">
              <a:buFont typeface="Arial" panose="020B0604020202020204" pitchFamily="34" charset="0"/>
              <a:buChar char="•"/>
            </a:pPr>
            <a:r>
              <a:rPr lang="en-US" sz="2000" kern="1200" dirty="0">
                <a:solidFill>
                  <a:schemeClr val="bg2">
                    <a:lumMod val="50000"/>
                    <a:lumOff val="50000"/>
                  </a:schemeClr>
                </a:solidFill>
                <a:latin typeface="+mn-lt"/>
                <a:ea typeface="+mn-ea"/>
                <a:cs typeface="+mn-cs"/>
              </a:rPr>
              <a:t>"Students who experience test anxiety prior to an English exam will get higher scores than students who do not experience test anxiety."​</a:t>
            </a:r>
          </a:p>
          <a:p>
            <a:pPr algn="l" fontAlgn="base">
              <a:buFont typeface="Arial" panose="020B0604020202020204" pitchFamily="34" charset="0"/>
              <a:buChar char="•"/>
            </a:pPr>
            <a:r>
              <a:rPr lang="en-US" sz="2000" kern="1200" dirty="0">
                <a:solidFill>
                  <a:schemeClr val="bg2">
                    <a:lumMod val="50000"/>
                    <a:lumOff val="50000"/>
                  </a:schemeClr>
                </a:solidFill>
                <a:latin typeface="+mn-lt"/>
                <a:ea typeface="+mn-ea"/>
                <a:cs typeface="+mn-cs"/>
              </a:rPr>
              <a:t>"Motorists who talk on the phone while driving will be more likely to make errors on a driving course than those who do not talk on the phone."</a:t>
            </a:r>
          </a:p>
          <a:p>
            <a:endParaRPr lang="en-US" dirty="0"/>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6D4FA8F2-E7D9-4770-B0C2-998531CEAD89}"/>
                  </a:ext>
                </a:extLst>
              </p14:cNvPr>
              <p14:cNvContentPartPr/>
              <p14:nvPr/>
            </p14:nvContentPartPr>
            <p14:xfrm>
              <a:off x="1590840" y="9360"/>
              <a:ext cx="7101000" cy="4020120"/>
            </p14:xfrm>
          </p:contentPart>
        </mc:Choice>
        <mc:Fallback xmlns="">
          <p:pic>
            <p:nvPicPr>
              <p:cNvPr id="4" name="Ink 3">
                <a:extLst>
                  <a:ext uri="{FF2B5EF4-FFF2-40B4-BE49-F238E27FC236}">
                    <a16:creationId xmlns:a16="http://schemas.microsoft.com/office/drawing/2014/main" id="{6D4FA8F2-E7D9-4770-B0C2-998531CEAD89}"/>
                  </a:ext>
                </a:extLst>
              </p:cNvPr>
              <p:cNvPicPr/>
              <p:nvPr/>
            </p:nvPicPr>
            <p:blipFill>
              <a:blip r:embed="rId3"/>
              <a:stretch>
                <a:fillRect/>
              </a:stretch>
            </p:blipFill>
            <p:spPr>
              <a:xfrm>
                <a:off x="1581480" y="0"/>
                <a:ext cx="7119720" cy="4038840"/>
              </a:xfrm>
              <a:prstGeom prst="rect">
                <a:avLst/>
              </a:prstGeom>
            </p:spPr>
          </p:pic>
        </mc:Fallback>
      </mc:AlternateContent>
    </p:spTree>
    <p:extLst>
      <p:ext uri="{BB962C8B-B14F-4D97-AF65-F5344CB8AC3E}">
        <p14:creationId xmlns:p14="http://schemas.microsoft.com/office/powerpoint/2010/main" val="864598898"/>
      </p:ext>
    </p:extLst>
  </p:cSld>
  <p:clrMapOvr>
    <a:masterClrMapping/>
  </p:clrMapOvr>
  <p:transition spd="med">
    <p:wipe dir="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1A2DF-C782-43C3-85DD-ED0625E18554}"/>
              </a:ext>
            </a:extLst>
          </p:cNvPr>
          <p:cNvSpPr>
            <a:spLocks noGrp="1"/>
          </p:cNvSpPr>
          <p:nvPr>
            <p:ph type="title"/>
          </p:nvPr>
        </p:nvSpPr>
        <p:spPr>
          <a:xfrm>
            <a:off x="104702" y="179389"/>
            <a:ext cx="7955280" cy="640080"/>
          </a:xfrm>
        </p:spPr>
        <p:txBody>
          <a:bodyPr/>
          <a:lstStyle/>
          <a:p>
            <a:r>
              <a:rPr lang="en-US" dirty="0"/>
              <a:t>Blinding</a:t>
            </a:r>
          </a:p>
        </p:txBody>
      </p:sp>
      <p:sp>
        <p:nvSpPr>
          <p:cNvPr id="3" name="Content Placeholder 2">
            <a:extLst>
              <a:ext uri="{FF2B5EF4-FFF2-40B4-BE49-F238E27FC236}">
                <a16:creationId xmlns:a16="http://schemas.microsoft.com/office/drawing/2014/main" id="{CA9BD4F2-0478-4661-9007-E1477BAC0E01}"/>
              </a:ext>
            </a:extLst>
          </p:cNvPr>
          <p:cNvSpPr>
            <a:spLocks noGrp="1"/>
          </p:cNvSpPr>
          <p:nvPr>
            <p:ph sz="half" idx="13"/>
          </p:nvPr>
        </p:nvSpPr>
        <p:spPr>
          <a:xfrm>
            <a:off x="146583" y="819469"/>
            <a:ext cx="8606528" cy="3200400"/>
          </a:xfrm>
        </p:spPr>
        <p:txBody>
          <a:bodyPr/>
          <a:lstStyle/>
          <a:p>
            <a:pPr marL="0" indent="0">
              <a:buNone/>
            </a:pPr>
            <a:r>
              <a:rPr lang="en-US" sz="1900" kern="1200" dirty="0">
                <a:solidFill>
                  <a:schemeClr val="bg2">
                    <a:lumMod val="50000"/>
                    <a:lumOff val="50000"/>
                  </a:schemeClr>
                </a:solidFill>
                <a:latin typeface="+mn-lt"/>
                <a:ea typeface="+mn-ea"/>
                <a:cs typeface="+mn-cs"/>
              </a:rPr>
              <a:t>In medical trials, the term blinding, or double-blind, usually refers to the practice of keeping patients in the dark as to whether they are receiving a placebo or not. It can also refer to allocation concealment, which is used to avoid selection bias.</a:t>
            </a:r>
          </a:p>
          <a:p>
            <a:endParaRPr lang="en-US" dirty="0"/>
          </a:p>
        </p:txBody>
      </p:sp>
      <p:sp>
        <p:nvSpPr>
          <p:cNvPr id="7" name="TextBox 6">
            <a:extLst>
              <a:ext uri="{FF2B5EF4-FFF2-40B4-BE49-F238E27FC236}">
                <a16:creationId xmlns:a16="http://schemas.microsoft.com/office/drawing/2014/main" id="{57A9F8A8-4B62-43A5-827C-02314C36DAE8}"/>
              </a:ext>
            </a:extLst>
          </p:cNvPr>
          <p:cNvSpPr txBox="1"/>
          <p:nvPr/>
        </p:nvSpPr>
        <p:spPr>
          <a:xfrm>
            <a:off x="104702" y="2052165"/>
            <a:ext cx="495591"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EX:</a:t>
            </a:r>
          </a:p>
        </p:txBody>
      </p:sp>
      <p:pic>
        <p:nvPicPr>
          <p:cNvPr id="12" name="Picture 11">
            <a:extLst>
              <a:ext uri="{FF2B5EF4-FFF2-40B4-BE49-F238E27FC236}">
                <a16:creationId xmlns:a16="http://schemas.microsoft.com/office/drawing/2014/main" id="{FA7E0177-D7DE-4E84-A38C-4853407DF3DE}"/>
              </a:ext>
            </a:extLst>
          </p:cNvPr>
          <p:cNvPicPr>
            <a:picLocks noChangeAspect="1"/>
          </p:cNvPicPr>
          <p:nvPr/>
        </p:nvPicPr>
        <p:blipFill>
          <a:blip r:embed="rId2"/>
          <a:stretch>
            <a:fillRect/>
          </a:stretch>
        </p:blipFill>
        <p:spPr>
          <a:xfrm>
            <a:off x="7203518" y="1848169"/>
            <a:ext cx="1828800" cy="2171700"/>
          </a:xfrm>
          <a:prstGeom prst="rect">
            <a:avLst/>
          </a:prstGeom>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BA8E44C5-AAB6-4D5C-9D50-244C8C951546}"/>
                  </a:ext>
                </a:extLst>
              </p14:cNvPr>
              <p14:cNvContentPartPr/>
              <p14:nvPr/>
            </p14:nvContentPartPr>
            <p14:xfrm>
              <a:off x="95400" y="509760"/>
              <a:ext cx="8539200" cy="4362480"/>
            </p14:xfrm>
          </p:contentPart>
        </mc:Choice>
        <mc:Fallback xmlns="">
          <p:pic>
            <p:nvPicPr>
              <p:cNvPr id="4" name="Ink 3">
                <a:extLst>
                  <a:ext uri="{FF2B5EF4-FFF2-40B4-BE49-F238E27FC236}">
                    <a16:creationId xmlns:a16="http://schemas.microsoft.com/office/drawing/2014/main" id="{BA8E44C5-AAB6-4D5C-9D50-244C8C951546}"/>
                  </a:ext>
                </a:extLst>
              </p:cNvPr>
              <p:cNvPicPr/>
              <p:nvPr/>
            </p:nvPicPr>
            <p:blipFill>
              <a:blip r:embed="rId4"/>
              <a:stretch>
                <a:fillRect/>
              </a:stretch>
            </p:blipFill>
            <p:spPr>
              <a:xfrm>
                <a:off x="86040" y="500400"/>
                <a:ext cx="8557920" cy="4381200"/>
              </a:xfrm>
              <a:prstGeom prst="rect">
                <a:avLst/>
              </a:prstGeom>
            </p:spPr>
          </p:pic>
        </mc:Fallback>
      </mc:AlternateContent>
    </p:spTree>
    <p:extLst>
      <p:ext uri="{BB962C8B-B14F-4D97-AF65-F5344CB8AC3E}">
        <p14:creationId xmlns:p14="http://schemas.microsoft.com/office/powerpoint/2010/main" val="339969583"/>
      </p:ext>
    </p:extLst>
  </p:cSld>
  <p:clrMapOvr>
    <a:masterClrMapping/>
  </p:clrMapOvr>
  <p:transition spd="med">
    <p:wipe dir="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5B2BFF-8604-46B0-8FE4-7231BB82B7EE}"/>
              </a:ext>
            </a:extLst>
          </p:cNvPr>
          <p:cNvSpPr>
            <a:spLocks noGrp="1"/>
          </p:cNvSpPr>
          <p:nvPr>
            <p:ph type="title"/>
          </p:nvPr>
        </p:nvSpPr>
        <p:spPr>
          <a:xfrm>
            <a:off x="137160" y="174163"/>
            <a:ext cx="7955280" cy="640080"/>
          </a:xfrm>
        </p:spPr>
        <p:txBody>
          <a:bodyPr/>
          <a:lstStyle/>
          <a:p>
            <a:r>
              <a:rPr lang="en-US" dirty="0"/>
              <a:t>Double Blinding</a:t>
            </a:r>
          </a:p>
        </p:txBody>
      </p:sp>
      <p:sp>
        <p:nvSpPr>
          <p:cNvPr id="3" name="Content Placeholder 2">
            <a:extLst>
              <a:ext uri="{FF2B5EF4-FFF2-40B4-BE49-F238E27FC236}">
                <a16:creationId xmlns:a16="http://schemas.microsoft.com/office/drawing/2014/main" id="{7D960FF3-9A2A-4E15-829A-89A59910B291}"/>
              </a:ext>
            </a:extLst>
          </p:cNvPr>
          <p:cNvSpPr>
            <a:spLocks noGrp="1"/>
          </p:cNvSpPr>
          <p:nvPr>
            <p:ph sz="half" idx="13"/>
          </p:nvPr>
        </p:nvSpPr>
        <p:spPr>
          <a:xfrm>
            <a:off x="204694" y="767197"/>
            <a:ext cx="8681040" cy="3200400"/>
          </a:xfrm>
        </p:spPr>
        <p:txBody>
          <a:bodyPr/>
          <a:lstStyle/>
          <a:p>
            <a:r>
              <a:rPr lang="en-US" sz="1900" kern="1200" dirty="0">
                <a:solidFill>
                  <a:schemeClr val="bg2">
                    <a:lumMod val="50000"/>
                    <a:lumOff val="50000"/>
                  </a:schemeClr>
                </a:solidFill>
                <a:latin typeface="+mn-lt"/>
                <a:ea typeface="+mn-ea"/>
                <a:cs typeface="+mn-cs"/>
              </a:rPr>
              <a:t>A double-blind study is one in which neither the participants nor the experimenters know who is receiving a particular treatment. </a:t>
            </a:r>
          </a:p>
        </p:txBody>
      </p:sp>
      <p:sp>
        <p:nvSpPr>
          <p:cNvPr id="5" name="Rectangle 4">
            <a:extLst>
              <a:ext uri="{FF2B5EF4-FFF2-40B4-BE49-F238E27FC236}">
                <a16:creationId xmlns:a16="http://schemas.microsoft.com/office/drawing/2014/main" id="{467F6821-631D-4CAA-A896-3A96D96D480A}"/>
              </a:ext>
            </a:extLst>
          </p:cNvPr>
          <p:cNvSpPr/>
          <p:nvPr/>
        </p:nvSpPr>
        <p:spPr>
          <a:xfrm>
            <a:off x="137160" y="3561440"/>
            <a:ext cx="8606527" cy="767817"/>
          </a:xfrm>
          <a:prstGeom prst="rect">
            <a:avLst/>
          </a:prstGeom>
          <a:solidFill>
            <a:schemeClr val="tx1">
              <a:lumMod val="20000"/>
              <a:lumOff val="80000"/>
            </a:schemeClr>
          </a:solidFill>
          <a:ln w="12700" cmpd="sng">
            <a:noFill/>
          </a:ln>
          <a:effectLst/>
        </p:spPr>
        <p:txBody>
          <a:bodyPr wrap="square" lIns="182880" tIns="137160" rIns="137160" bIns="137160" rtlCol="0" anchor="ctr">
            <a:noAutofit/>
          </a:bodyPr>
          <a:lstStyle/>
          <a:p>
            <a:pPr>
              <a:lnSpc>
                <a:spcPct val="90000"/>
              </a:lnSpc>
              <a:spcBef>
                <a:spcPts val="600"/>
              </a:spcBef>
              <a:spcAft>
                <a:spcPts val="0"/>
              </a:spcAft>
            </a:pPr>
            <a:r>
              <a:rPr lang="en-US" sz="1200" dirty="0">
                <a:latin typeface="+mn-lt"/>
              </a:rPr>
              <a:t>Blinding and double blinding are methods that are used to try and eliminate bias that occurs when researchers and the subject are aware of which group is in which study </a:t>
            </a:r>
          </a:p>
        </p:txBody>
      </p:sp>
      <p:sp>
        <p:nvSpPr>
          <p:cNvPr id="6" name="Rectangle 5">
            <a:extLst>
              <a:ext uri="{FF2B5EF4-FFF2-40B4-BE49-F238E27FC236}">
                <a16:creationId xmlns:a16="http://schemas.microsoft.com/office/drawing/2014/main" id="{CB4C82C2-5050-4599-A646-370098578078}"/>
              </a:ext>
            </a:extLst>
          </p:cNvPr>
          <p:cNvSpPr/>
          <p:nvPr/>
        </p:nvSpPr>
        <p:spPr>
          <a:xfrm>
            <a:off x="137161" y="3561441"/>
            <a:ext cx="135066" cy="753856"/>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7" name="TextBox 6">
            <a:extLst>
              <a:ext uri="{FF2B5EF4-FFF2-40B4-BE49-F238E27FC236}">
                <a16:creationId xmlns:a16="http://schemas.microsoft.com/office/drawing/2014/main" id="{951382A6-2BCC-493A-B623-979398C5254C}"/>
              </a:ext>
            </a:extLst>
          </p:cNvPr>
          <p:cNvSpPr txBox="1"/>
          <p:nvPr/>
        </p:nvSpPr>
        <p:spPr>
          <a:xfrm>
            <a:off x="137160" y="1702653"/>
            <a:ext cx="495591"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EX:</a:t>
            </a:r>
          </a:p>
        </p:txBody>
      </p:sp>
      <p:pic>
        <p:nvPicPr>
          <p:cNvPr id="8" name="Picture 7" descr="Icon&#10;&#10;Description automatically generated">
            <a:extLst>
              <a:ext uri="{FF2B5EF4-FFF2-40B4-BE49-F238E27FC236}">
                <a16:creationId xmlns:a16="http://schemas.microsoft.com/office/drawing/2014/main" id="{60E230BE-A23E-4204-8EAF-66940F443B76}"/>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327980" y="1606424"/>
            <a:ext cx="2678860" cy="1607316"/>
          </a:xfrm>
          <a:prstGeom prst="rect">
            <a:avLst/>
          </a:prstGeom>
        </p:spPr>
      </p:pic>
      <mc:AlternateContent xmlns:mc="http://schemas.openxmlformats.org/markup-compatibility/2006" xmlns:p14="http://schemas.microsoft.com/office/powerpoint/2010/main">
        <mc:Choice Requires="p14">
          <p:contentPart p14:bwMode="auto" r:id="rId4">
            <p14:nvContentPartPr>
              <p14:cNvPr id="4" name="Ink 3">
                <a:extLst>
                  <a:ext uri="{FF2B5EF4-FFF2-40B4-BE49-F238E27FC236}">
                    <a16:creationId xmlns:a16="http://schemas.microsoft.com/office/drawing/2014/main" id="{A9A8F9BB-A2E5-4201-BC54-008E38F91674}"/>
                  </a:ext>
                </a:extLst>
              </p14:cNvPr>
              <p14:cNvContentPartPr/>
              <p14:nvPr/>
            </p14:nvContentPartPr>
            <p14:xfrm>
              <a:off x="318960" y="138240"/>
              <a:ext cx="8192160" cy="4443480"/>
            </p14:xfrm>
          </p:contentPart>
        </mc:Choice>
        <mc:Fallback xmlns="">
          <p:pic>
            <p:nvPicPr>
              <p:cNvPr id="4" name="Ink 3">
                <a:extLst>
                  <a:ext uri="{FF2B5EF4-FFF2-40B4-BE49-F238E27FC236}">
                    <a16:creationId xmlns:a16="http://schemas.microsoft.com/office/drawing/2014/main" id="{A9A8F9BB-A2E5-4201-BC54-008E38F91674}"/>
                  </a:ext>
                </a:extLst>
              </p:cNvPr>
              <p:cNvPicPr/>
              <p:nvPr/>
            </p:nvPicPr>
            <p:blipFill>
              <a:blip r:embed="rId5"/>
              <a:stretch>
                <a:fillRect/>
              </a:stretch>
            </p:blipFill>
            <p:spPr>
              <a:xfrm>
                <a:off x="309600" y="128880"/>
                <a:ext cx="8210880" cy="4462200"/>
              </a:xfrm>
              <a:prstGeom prst="rect">
                <a:avLst/>
              </a:prstGeom>
            </p:spPr>
          </p:pic>
        </mc:Fallback>
      </mc:AlternateContent>
    </p:spTree>
    <p:extLst>
      <p:ext uri="{BB962C8B-B14F-4D97-AF65-F5344CB8AC3E}">
        <p14:creationId xmlns:p14="http://schemas.microsoft.com/office/powerpoint/2010/main" val="643188253"/>
      </p:ext>
    </p:extLst>
  </p:cSld>
  <p:clrMapOvr>
    <a:masterClrMapping/>
  </p:clrMapOvr>
  <p:transition spd="med">
    <p:wipe dir="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0A2F82-C58B-485C-BE38-1016ABFCB027}"/>
              </a:ext>
            </a:extLst>
          </p:cNvPr>
          <p:cNvSpPr>
            <a:spLocks noGrp="1"/>
          </p:cNvSpPr>
          <p:nvPr>
            <p:ph type="title"/>
          </p:nvPr>
        </p:nvSpPr>
        <p:spPr>
          <a:xfrm>
            <a:off x="50954" y="118322"/>
            <a:ext cx="7955280" cy="640080"/>
          </a:xfrm>
        </p:spPr>
        <p:txBody>
          <a:bodyPr/>
          <a:lstStyle/>
          <a:p>
            <a:r>
              <a:rPr lang="en-US" dirty="0"/>
              <a:t>Why blinding is important in Statistics?</a:t>
            </a:r>
          </a:p>
        </p:txBody>
      </p:sp>
      <p:sp>
        <p:nvSpPr>
          <p:cNvPr id="3" name="Content Placeholder 2">
            <a:extLst>
              <a:ext uri="{FF2B5EF4-FFF2-40B4-BE49-F238E27FC236}">
                <a16:creationId xmlns:a16="http://schemas.microsoft.com/office/drawing/2014/main" id="{2FB9D893-65BA-48E9-9032-45983A01F364}"/>
              </a:ext>
            </a:extLst>
          </p:cNvPr>
          <p:cNvSpPr>
            <a:spLocks noGrp="1"/>
          </p:cNvSpPr>
          <p:nvPr>
            <p:ph sz="half" idx="13"/>
          </p:nvPr>
        </p:nvSpPr>
        <p:spPr>
          <a:xfrm>
            <a:off x="169617" y="971550"/>
            <a:ext cx="7836617" cy="3200400"/>
          </a:xfrm>
        </p:spPr>
        <p:txBody>
          <a:bodyPr/>
          <a:lstStyle/>
          <a:p>
            <a:r>
              <a:rPr lang="en-US" sz="1900" kern="1200" dirty="0">
                <a:solidFill>
                  <a:schemeClr val="bg2">
                    <a:lumMod val="50000"/>
                    <a:lumOff val="50000"/>
                  </a:schemeClr>
                </a:solidFill>
                <a:latin typeface="+mn-lt"/>
                <a:ea typeface="+mn-ea"/>
                <a:cs typeface="+mn-cs"/>
              </a:rPr>
              <a:t>Blinding is especially important in subjective trials to avoid skewed results</a:t>
            </a:r>
            <a:r>
              <a:rPr lang="en-US" sz="1800" kern="1200" dirty="0">
                <a:solidFill>
                  <a:schemeClr val="bg2">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rPr>
              <a:t>.</a:t>
            </a:r>
            <a:r>
              <a:rPr lang="en-US" sz="1800" dirty="0">
                <a:effectLst/>
                <a:latin typeface="Calibri" panose="020F0502020204030204" pitchFamily="34" charset="0"/>
                <a:ea typeface="DengXian" panose="02010600030101010101" pitchFamily="2" charset="-122"/>
                <a:cs typeface="Times New Roman" panose="02020603050405020304" pitchFamily="18" charset="0"/>
              </a:rPr>
              <a:t> </a:t>
            </a:r>
            <a:endParaRPr lang="en-US" dirty="0"/>
          </a:p>
        </p:txBody>
      </p:sp>
      <p:sp>
        <p:nvSpPr>
          <p:cNvPr id="5" name="TextBox 4">
            <a:extLst>
              <a:ext uri="{FF2B5EF4-FFF2-40B4-BE49-F238E27FC236}">
                <a16:creationId xmlns:a16="http://schemas.microsoft.com/office/drawing/2014/main" id="{5918F907-DDBC-4B77-AF68-08312351098E}"/>
              </a:ext>
            </a:extLst>
          </p:cNvPr>
          <p:cNvSpPr txBox="1"/>
          <p:nvPr/>
        </p:nvSpPr>
        <p:spPr>
          <a:xfrm>
            <a:off x="169617" y="1793395"/>
            <a:ext cx="495591"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EX:</a:t>
            </a:r>
          </a:p>
        </p:txBody>
      </p:sp>
    </p:spTree>
    <p:extLst>
      <p:ext uri="{BB962C8B-B14F-4D97-AF65-F5344CB8AC3E}">
        <p14:creationId xmlns:p14="http://schemas.microsoft.com/office/powerpoint/2010/main" val="2582633460"/>
      </p:ext>
    </p:extLst>
  </p:cSld>
  <p:clrMapOvr>
    <a:masterClrMapping/>
  </p:clrMapOvr>
  <p:transition spd="med">
    <p:wipe dir="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Diagram&#10;&#10;Description automatically generated with low confidence">
            <a:extLst>
              <a:ext uri="{FF2B5EF4-FFF2-40B4-BE49-F238E27FC236}">
                <a16:creationId xmlns:a16="http://schemas.microsoft.com/office/drawing/2014/main" id="{1D351213-FBD3-480C-A88B-DF5DA84D0032}"/>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0" y="0"/>
            <a:ext cx="9144000" cy="5143500"/>
          </a:xfrm>
          <a:prstGeom prst="rect">
            <a:avLst/>
          </a:prstGeom>
        </p:spPr>
      </p:pic>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2211" name="think-cell Slide" r:id="rId8" imgW="529" imgH="530" progId="TCLayout.ActiveDocument.1">
                  <p:embed/>
                </p:oleObj>
              </mc:Choice>
              <mc:Fallback>
                <p:oleObj name="think-cell Slide" r:id="rId8"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9"/>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sp>
        <p:nvSpPr>
          <p:cNvPr id="33" name="Title 32">
            <a:extLst>
              <a:ext uri="{FF2B5EF4-FFF2-40B4-BE49-F238E27FC236}">
                <a16:creationId xmlns:a16="http://schemas.microsoft.com/office/drawing/2014/main" id="{2F9043AA-1BB2-49E3-B702-D663491C3B65}"/>
              </a:ext>
            </a:extLst>
          </p:cNvPr>
          <p:cNvSpPr>
            <a:spLocks noGrp="1"/>
          </p:cNvSpPr>
          <p:nvPr>
            <p:ph type="title"/>
          </p:nvPr>
        </p:nvSpPr>
        <p:spPr>
          <a:xfrm>
            <a:off x="75610" y="1382590"/>
            <a:ext cx="8992779" cy="3035543"/>
          </a:xfrm>
        </p:spPr>
        <p:txBody>
          <a:bodyPr/>
          <a:lstStyle/>
          <a:p>
            <a:r>
              <a:rPr lang="en-US" sz="4800" dirty="0">
                <a:solidFill>
                  <a:schemeClr val="tx2"/>
                </a:solidFill>
              </a:rPr>
              <a:t>Describing Data through Statistics</a:t>
            </a:r>
            <a:br>
              <a:rPr lang="en-US" dirty="0"/>
            </a:br>
            <a:br>
              <a:rPr lang="en-US" dirty="0"/>
            </a:br>
            <a:r>
              <a:rPr lang="en-US" dirty="0"/>
              <a:t> </a:t>
            </a:r>
          </a:p>
        </p:txBody>
      </p:sp>
      <mc:AlternateContent xmlns:mc="http://schemas.openxmlformats.org/markup-compatibility/2006" xmlns:p14="http://schemas.microsoft.com/office/powerpoint/2010/main">
        <mc:Choice Requires="p14">
          <p:contentPart p14:bwMode="auto" r:id="rId10">
            <p14:nvContentPartPr>
              <p14:cNvPr id="2" name="Ink 1">
                <a:extLst>
                  <a:ext uri="{FF2B5EF4-FFF2-40B4-BE49-F238E27FC236}">
                    <a16:creationId xmlns:a16="http://schemas.microsoft.com/office/drawing/2014/main" id="{E85B4B15-B10D-4D36-ABDA-22E7827630FC}"/>
                  </a:ext>
                </a:extLst>
              </p14:cNvPr>
              <p14:cNvContentPartPr/>
              <p14:nvPr/>
            </p14:nvContentPartPr>
            <p14:xfrm>
              <a:off x="814320" y="181080"/>
              <a:ext cx="7996680" cy="2352960"/>
            </p14:xfrm>
          </p:contentPart>
        </mc:Choice>
        <mc:Fallback xmlns="">
          <p:pic>
            <p:nvPicPr>
              <p:cNvPr id="2" name="Ink 1">
                <a:extLst>
                  <a:ext uri="{FF2B5EF4-FFF2-40B4-BE49-F238E27FC236}">
                    <a16:creationId xmlns:a16="http://schemas.microsoft.com/office/drawing/2014/main" id="{E85B4B15-B10D-4D36-ABDA-22E7827630FC}"/>
                  </a:ext>
                </a:extLst>
              </p:cNvPr>
              <p:cNvPicPr/>
              <p:nvPr/>
            </p:nvPicPr>
            <p:blipFill>
              <a:blip r:embed="rId11"/>
              <a:stretch>
                <a:fillRect/>
              </a:stretch>
            </p:blipFill>
            <p:spPr>
              <a:xfrm>
                <a:off x="804960" y="171720"/>
                <a:ext cx="8015400" cy="2371680"/>
              </a:xfrm>
              <a:prstGeom prst="rect">
                <a:avLst/>
              </a:prstGeom>
            </p:spPr>
          </p:pic>
        </mc:Fallback>
      </mc:AlternateContent>
    </p:spTree>
    <p:extLst>
      <p:ext uri="{BB962C8B-B14F-4D97-AF65-F5344CB8AC3E}">
        <p14:creationId xmlns:p14="http://schemas.microsoft.com/office/powerpoint/2010/main" val="850901763"/>
      </p:ext>
    </p:extLst>
  </p:cSld>
  <p:clrMapOvr>
    <a:masterClrMapping/>
  </p:clrMapOvr>
  <p:transition spd="med">
    <p:wipe dir="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3218" name="think-cell Slide" r:id="rId6" imgW="529" imgH="530" progId="TCLayout.ActiveDocument.1">
                  <p:embed/>
                </p:oleObj>
              </mc:Choice>
              <mc:Fallback>
                <p:oleObj name="think-cell Slide" r:id="rId6"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7"/>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pic>
        <p:nvPicPr>
          <p:cNvPr id="18" name="Picture 17" descr="Diagram&#10;&#10;Description automatically generated with medium confidence">
            <a:extLst>
              <a:ext uri="{FF2B5EF4-FFF2-40B4-BE49-F238E27FC236}">
                <a16:creationId xmlns:a16="http://schemas.microsoft.com/office/drawing/2014/main" id="{E58CA81C-C243-431A-9819-E31BF6C52308}"/>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0" y="0"/>
            <a:ext cx="9144000" cy="5143500"/>
          </a:xfrm>
          <a:prstGeom prst="rect">
            <a:avLst/>
          </a:prstGeom>
        </p:spPr>
      </p:pic>
      <p:sp>
        <p:nvSpPr>
          <p:cNvPr id="22" name="Title 32">
            <a:extLst>
              <a:ext uri="{FF2B5EF4-FFF2-40B4-BE49-F238E27FC236}">
                <a16:creationId xmlns:a16="http://schemas.microsoft.com/office/drawing/2014/main" id="{7DE4F7AF-87AC-4CE0-9C4D-A5C0A40E4C2E}"/>
              </a:ext>
            </a:extLst>
          </p:cNvPr>
          <p:cNvSpPr>
            <a:spLocks noGrp="1"/>
          </p:cNvSpPr>
          <p:nvPr>
            <p:ph type="title"/>
          </p:nvPr>
        </p:nvSpPr>
        <p:spPr>
          <a:xfrm>
            <a:off x="75610" y="1249967"/>
            <a:ext cx="8992779" cy="3035543"/>
          </a:xfrm>
        </p:spPr>
        <p:txBody>
          <a:bodyPr/>
          <a:lstStyle/>
          <a:p>
            <a:r>
              <a:rPr lang="en-US" sz="4800" dirty="0">
                <a:solidFill>
                  <a:schemeClr val="tx2"/>
                </a:solidFill>
              </a:rPr>
              <a:t>Measure of  </a:t>
            </a:r>
            <a:br>
              <a:rPr lang="en-US" sz="4800" dirty="0">
                <a:solidFill>
                  <a:schemeClr val="tx2"/>
                </a:solidFill>
              </a:rPr>
            </a:br>
            <a:r>
              <a:rPr lang="en-US" sz="4800" dirty="0">
                <a:solidFill>
                  <a:schemeClr val="tx2"/>
                </a:solidFill>
              </a:rPr>
              <a:t>Central Tendency</a:t>
            </a:r>
            <a:br>
              <a:rPr lang="en-US" dirty="0"/>
            </a:br>
            <a:br>
              <a:rPr lang="en-US" dirty="0"/>
            </a:br>
            <a:r>
              <a:rPr lang="en-US" dirty="0"/>
              <a:t> </a:t>
            </a:r>
          </a:p>
        </p:txBody>
      </p:sp>
      <mc:AlternateContent xmlns:mc="http://schemas.openxmlformats.org/markup-compatibility/2006" xmlns:p14="http://schemas.microsoft.com/office/powerpoint/2010/main">
        <mc:Choice Requires="p14">
          <p:contentPart p14:bwMode="auto" r:id="rId10">
            <p14:nvContentPartPr>
              <p14:cNvPr id="2" name="Ink 1">
                <a:extLst>
                  <a:ext uri="{FF2B5EF4-FFF2-40B4-BE49-F238E27FC236}">
                    <a16:creationId xmlns:a16="http://schemas.microsoft.com/office/drawing/2014/main" id="{830F29C7-5D02-4D84-8272-FF8804FCDBBA}"/>
                  </a:ext>
                </a:extLst>
              </p14:cNvPr>
              <p14:cNvContentPartPr/>
              <p14:nvPr/>
            </p14:nvContentPartPr>
            <p14:xfrm>
              <a:off x="71280" y="890640"/>
              <a:ext cx="6220440" cy="2043360"/>
            </p14:xfrm>
          </p:contentPart>
        </mc:Choice>
        <mc:Fallback xmlns="">
          <p:pic>
            <p:nvPicPr>
              <p:cNvPr id="2" name="Ink 1">
                <a:extLst>
                  <a:ext uri="{FF2B5EF4-FFF2-40B4-BE49-F238E27FC236}">
                    <a16:creationId xmlns:a16="http://schemas.microsoft.com/office/drawing/2014/main" id="{830F29C7-5D02-4D84-8272-FF8804FCDBBA}"/>
                  </a:ext>
                </a:extLst>
              </p:cNvPr>
              <p:cNvPicPr/>
              <p:nvPr/>
            </p:nvPicPr>
            <p:blipFill>
              <a:blip r:embed="rId11"/>
              <a:stretch>
                <a:fillRect/>
              </a:stretch>
            </p:blipFill>
            <p:spPr>
              <a:xfrm>
                <a:off x="61920" y="881280"/>
                <a:ext cx="6239160" cy="2062080"/>
              </a:xfrm>
              <a:prstGeom prst="rect">
                <a:avLst/>
              </a:prstGeom>
            </p:spPr>
          </p:pic>
        </mc:Fallback>
      </mc:AlternateContent>
    </p:spTree>
    <p:extLst>
      <p:ext uri="{BB962C8B-B14F-4D97-AF65-F5344CB8AC3E}">
        <p14:creationId xmlns:p14="http://schemas.microsoft.com/office/powerpoint/2010/main" val="665294110"/>
      </p:ext>
    </p:extLst>
  </p:cSld>
  <p:clrMapOvr>
    <a:masterClrMapping/>
  </p:clrMapOvr>
  <p:transition spd="med">
    <p:wipe dir="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0B17AC-8C6F-4E8F-927B-93ABAEA6606B}"/>
              </a:ext>
            </a:extLst>
          </p:cNvPr>
          <p:cNvSpPr>
            <a:spLocks noGrp="1"/>
          </p:cNvSpPr>
          <p:nvPr>
            <p:ph type="title"/>
          </p:nvPr>
        </p:nvSpPr>
        <p:spPr>
          <a:xfrm>
            <a:off x="261756" y="147311"/>
            <a:ext cx="8229600" cy="637794"/>
          </a:xfrm>
        </p:spPr>
        <p:txBody>
          <a:bodyPr/>
          <a:lstStyle/>
          <a:p>
            <a:r>
              <a:rPr lang="en-US" dirty="0"/>
              <a:t>Finding Central Value</a:t>
            </a:r>
          </a:p>
        </p:txBody>
      </p:sp>
      <p:sp>
        <p:nvSpPr>
          <p:cNvPr id="3" name="TextBox 2">
            <a:extLst>
              <a:ext uri="{FF2B5EF4-FFF2-40B4-BE49-F238E27FC236}">
                <a16:creationId xmlns:a16="http://schemas.microsoft.com/office/drawing/2014/main" id="{338B153F-82EC-4EC3-A01C-319C19798D05}"/>
              </a:ext>
            </a:extLst>
          </p:cNvPr>
          <p:cNvSpPr txBox="1"/>
          <p:nvPr/>
        </p:nvSpPr>
        <p:spPr>
          <a:xfrm>
            <a:off x="349008" y="1088904"/>
            <a:ext cx="6421740" cy="1815882"/>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For Two Numbers </a:t>
            </a:r>
            <a:r>
              <a:rPr lang="en-US" sz="1400" b="1">
                <a:solidFill>
                  <a:schemeClr val="bg2">
                    <a:lumMod val="50000"/>
                    <a:lumOff val="50000"/>
                  </a:schemeClr>
                </a:solidFill>
                <a:latin typeface="+mn-lt"/>
              </a:rPr>
              <a:t>:   3 </a:t>
            </a:r>
            <a:r>
              <a:rPr lang="en-US" sz="1400" b="1" dirty="0">
                <a:solidFill>
                  <a:schemeClr val="bg2">
                    <a:lumMod val="50000"/>
                    <a:lumOff val="50000"/>
                  </a:schemeClr>
                </a:solidFill>
                <a:latin typeface="+mn-lt"/>
              </a:rPr>
              <a:t>and 7 </a:t>
            </a:r>
          </a:p>
          <a:p>
            <a:pPr>
              <a:spcBef>
                <a:spcPts val="0"/>
              </a:spcBef>
              <a:spcAft>
                <a:spcPts val="0"/>
              </a:spcAft>
              <a:buClr>
                <a:schemeClr val="bg1"/>
              </a:buClr>
            </a:pPr>
            <a:r>
              <a:rPr lang="en-US" sz="1400" dirty="0">
                <a:solidFill>
                  <a:schemeClr val="bg2">
                    <a:lumMod val="50000"/>
                    <a:lumOff val="50000"/>
                  </a:schemeClr>
                </a:solidFill>
                <a:latin typeface="+mn-lt"/>
              </a:rPr>
              <a:t>	</a:t>
            </a:r>
          </a:p>
          <a:p>
            <a:pPr>
              <a:spcBef>
                <a:spcPts val="0"/>
              </a:spcBef>
              <a:spcAft>
                <a:spcPts val="0"/>
              </a:spcAft>
              <a:buClr>
                <a:schemeClr val="bg1"/>
              </a:buClr>
            </a:pPr>
            <a:r>
              <a:rPr lang="en-US" sz="1400" dirty="0">
                <a:solidFill>
                  <a:schemeClr val="bg2">
                    <a:lumMod val="50000"/>
                    <a:lumOff val="50000"/>
                  </a:schemeClr>
                </a:solidFill>
                <a:latin typeface="+mn-lt"/>
              </a:rPr>
              <a:t>	Central value </a:t>
            </a:r>
            <a:r>
              <a:rPr lang="en-US" sz="1400">
                <a:solidFill>
                  <a:schemeClr val="bg2">
                    <a:lumMod val="50000"/>
                    <a:lumOff val="50000"/>
                  </a:schemeClr>
                </a:solidFill>
                <a:latin typeface="+mn-lt"/>
              </a:rPr>
              <a:t>: (3 </a:t>
            </a:r>
            <a:r>
              <a:rPr lang="en-US" sz="1400" dirty="0">
                <a:solidFill>
                  <a:schemeClr val="bg2">
                    <a:lumMod val="50000"/>
                    <a:lumOff val="50000"/>
                  </a:schemeClr>
                </a:solidFill>
                <a:latin typeface="+mn-lt"/>
              </a:rPr>
              <a:t>+ 7) / 2 = </a:t>
            </a:r>
          </a:p>
          <a:p>
            <a:pPr>
              <a:spcBef>
                <a:spcPts val="0"/>
              </a:spcBef>
              <a:spcAft>
                <a:spcPts val="0"/>
              </a:spcAft>
              <a:buClr>
                <a:schemeClr val="bg1"/>
              </a:buClr>
            </a:pPr>
            <a:endParaRPr lang="en-US" sz="1400" dirty="0">
              <a:solidFill>
                <a:schemeClr val="bg2">
                  <a:lumMod val="50000"/>
                  <a:lumOff val="50000"/>
                </a:schemeClr>
              </a:solidFill>
              <a:latin typeface="+mn-lt"/>
            </a:endParaRPr>
          </a:p>
          <a:p>
            <a:pPr>
              <a:spcBef>
                <a:spcPts val="0"/>
              </a:spcBef>
              <a:spcAft>
                <a:spcPts val="0"/>
              </a:spcAft>
              <a:buClr>
                <a:schemeClr val="bg1"/>
              </a:buClr>
            </a:pPr>
            <a:endParaRPr lang="en-US" sz="1400" dirty="0">
              <a:solidFill>
                <a:schemeClr val="bg2">
                  <a:lumMod val="50000"/>
                  <a:lumOff val="50000"/>
                </a:schemeClr>
              </a:solidFill>
              <a:latin typeface="+mn-lt"/>
            </a:endParaRPr>
          </a:p>
          <a:p>
            <a:pPr>
              <a:spcBef>
                <a:spcPts val="0"/>
              </a:spcBef>
              <a:spcAft>
                <a:spcPts val="0"/>
              </a:spcAft>
              <a:buClr>
                <a:schemeClr val="bg1"/>
              </a:buClr>
            </a:pPr>
            <a:r>
              <a:rPr lang="en-US" sz="1400" b="1" dirty="0">
                <a:solidFill>
                  <a:schemeClr val="bg2">
                    <a:lumMod val="50000"/>
                    <a:lumOff val="50000"/>
                  </a:schemeClr>
                </a:solidFill>
                <a:latin typeface="+mn-lt"/>
              </a:rPr>
              <a:t>For three numbers </a:t>
            </a:r>
            <a:r>
              <a:rPr lang="en-US" sz="1400" b="1">
                <a:solidFill>
                  <a:schemeClr val="bg2">
                    <a:lumMod val="50000"/>
                    <a:lumOff val="50000"/>
                  </a:schemeClr>
                </a:solidFill>
                <a:latin typeface="+mn-lt"/>
              </a:rPr>
              <a:t>: 3, </a:t>
            </a:r>
            <a:r>
              <a:rPr lang="en-US" sz="1400" b="1" dirty="0">
                <a:solidFill>
                  <a:schemeClr val="bg2">
                    <a:lumMod val="50000"/>
                    <a:lumOff val="50000"/>
                  </a:schemeClr>
                </a:solidFill>
                <a:latin typeface="+mn-lt"/>
              </a:rPr>
              <a:t>7, 8</a:t>
            </a:r>
          </a:p>
          <a:p>
            <a:pPr>
              <a:spcBef>
                <a:spcPts val="0"/>
              </a:spcBef>
              <a:spcAft>
                <a:spcPts val="0"/>
              </a:spcAft>
              <a:buClr>
                <a:schemeClr val="bg1"/>
              </a:buClr>
            </a:pPr>
            <a:endParaRPr lang="en-US" sz="1400" dirty="0">
              <a:solidFill>
                <a:schemeClr val="bg2">
                  <a:lumMod val="50000"/>
                  <a:lumOff val="50000"/>
                </a:schemeClr>
              </a:solidFill>
              <a:latin typeface="+mn-lt"/>
            </a:endParaRPr>
          </a:p>
          <a:p>
            <a:pPr>
              <a:spcBef>
                <a:spcPts val="0"/>
              </a:spcBef>
              <a:spcAft>
                <a:spcPts val="0"/>
              </a:spcAft>
              <a:buClr>
                <a:schemeClr val="bg1"/>
              </a:buClr>
            </a:pPr>
            <a:r>
              <a:rPr lang="en-US" sz="1400" dirty="0">
                <a:solidFill>
                  <a:schemeClr val="bg2">
                    <a:lumMod val="50000"/>
                    <a:lumOff val="50000"/>
                  </a:schemeClr>
                </a:solidFill>
                <a:latin typeface="+mn-lt"/>
              </a:rPr>
              <a:t>	Central value </a:t>
            </a:r>
            <a:r>
              <a:rPr lang="en-US" sz="1400">
                <a:solidFill>
                  <a:schemeClr val="bg2">
                    <a:lumMod val="50000"/>
                    <a:lumOff val="50000"/>
                  </a:schemeClr>
                </a:solidFill>
                <a:latin typeface="+mn-lt"/>
              </a:rPr>
              <a:t>: (3+7+8</a:t>
            </a:r>
            <a:r>
              <a:rPr lang="en-US" sz="1400" dirty="0">
                <a:solidFill>
                  <a:schemeClr val="bg2">
                    <a:lumMod val="50000"/>
                    <a:lumOff val="50000"/>
                  </a:schemeClr>
                </a:solidFill>
                <a:latin typeface="+mn-lt"/>
              </a:rPr>
              <a:t>) / 2 = </a:t>
            </a:r>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70C30571-26E0-4ADE-9B15-CDE05AE72EB8}"/>
                  </a:ext>
                </a:extLst>
              </p14:cNvPr>
              <p14:cNvContentPartPr/>
              <p14:nvPr/>
            </p14:nvContentPartPr>
            <p14:xfrm>
              <a:off x="1523880" y="690480"/>
              <a:ext cx="6925320" cy="3229560"/>
            </p14:xfrm>
          </p:contentPart>
        </mc:Choice>
        <mc:Fallback xmlns="">
          <p:pic>
            <p:nvPicPr>
              <p:cNvPr id="4" name="Ink 3">
                <a:extLst>
                  <a:ext uri="{FF2B5EF4-FFF2-40B4-BE49-F238E27FC236}">
                    <a16:creationId xmlns:a16="http://schemas.microsoft.com/office/drawing/2014/main" id="{70C30571-26E0-4ADE-9B15-CDE05AE72EB8}"/>
                  </a:ext>
                </a:extLst>
              </p:cNvPr>
              <p:cNvPicPr/>
              <p:nvPr/>
            </p:nvPicPr>
            <p:blipFill>
              <a:blip r:embed="rId3"/>
              <a:stretch>
                <a:fillRect/>
              </a:stretch>
            </p:blipFill>
            <p:spPr>
              <a:xfrm>
                <a:off x="1514520" y="681120"/>
                <a:ext cx="6944040" cy="3248280"/>
              </a:xfrm>
              <a:prstGeom prst="rect">
                <a:avLst/>
              </a:prstGeom>
            </p:spPr>
          </p:pic>
        </mc:Fallback>
      </mc:AlternateContent>
    </p:spTree>
    <p:extLst>
      <p:ext uri="{BB962C8B-B14F-4D97-AF65-F5344CB8AC3E}">
        <p14:creationId xmlns:p14="http://schemas.microsoft.com/office/powerpoint/2010/main" val="3501129861"/>
      </p:ext>
    </p:extLst>
  </p:cSld>
  <p:clrMapOvr>
    <a:masterClrMapping/>
  </p:clrMapOvr>
  <p:transition spd="med">
    <p:wipe dir="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E3019A-8969-4E41-917D-0CD27630D77D}"/>
              </a:ext>
            </a:extLst>
          </p:cNvPr>
          <p:cNvSpPr>
            <a:spLocks noGrp="1"/>
          </p:cNvSpPr>
          <p:nvPr>
            <p:ph type="title"/>
          </p:nvPr>
        </p:nvSpPr>
        <p:spPr>
          <a:xfrm>
            <a:off x="0" y="0"/>
            <a:ext cx="8229600" cy="637794"/>
          </a:xfrm>
        </p:spPr>
        <p:txBody>
          <a:bodyPr/>
          <a:lstStyle/>
          <a:p>
            <a:r>
              <a:rPr lang="en-US" dirty="0"/>
              <a:t>Measure of Central Tendency</a:t>
            </a:r>
          </a:p>
        </p:txBody>
      </p:sp>
      <p:sp>
        <p:nvSpPr>
          <p:cNvPr id="4" name="Content Placeholder 2">
            <a:extLst>
              <a:ext uri="{FF2B5EF4-FFF2-40B4-BE49-F238E27FC236}">
                <a16:creationId xmlns:a16="http://schemas.microsoft.com/office/drawing/2014/main" id="{39E72A63-31AC-4F6E-9D77-DF5F16FB8C2D}"/>
              </a:ext>
            </a:extLst>
          </p:cNvPr>
          <p:cNvSpPr txBox="1">
            <a:spLocks/>
          </p:cNvSpPr>
          <p:nvPr/>
        </p:nvSpPr>
        <p:spPr>
          <a:xfrm>
            <a:off x="196491" y="637794"/>
            <a:ext cx="7836617" cy="3200400"/>
          </a:xfrm>
          <a:prstGeom prst="rect">
            <a:avLst/>
          </a:prstGeom>
        </p:spPr>
        <p:txBody>
          <a:bodyPr/>
          <a:lst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a:lstStyle>
          <a:p>
            <a:r>
              <a:rPr lang="en-US" sz="1900" b="1" kern="1200" dirty="0">
                <a:solidFill>
                  <a:schemeClr val="bg2">
                    <a:lumMod val="50000"/>
                    <a:lumOff val="50000"/>
                  </a:schemeClr>
                </a:solidFill>
                <a:latin typeface="+mn-lt"/>
                <a:ea typeface="+mn-ea"/>
              </a:rPr>
              <a:t>Measure of central tendency </a:t>
            </a:r>
            <a:r>
              <a:rPr lang="en-US" sz="1900" i="1" kern="1200" dirty="0">
                <a:solidFill>
                  <a:schemeClr val="bg2">
                    <a:lumMod val="50000"/>
                    <a:lumOff val="50000"/>
                  </a:schemeClr>
                </a:solidFill>
                <a:latin typeface="+mn-lt"/>
                <a:ea typeface="+mn-ea"/>
              </a:rPr>
              <a:t>yield information about the center, or middle part,</a:t>
            </a:r>
            <a:r>
              <a:rPr lang="en-US" sz="1900" kern="1200" dirty="0">
                <a:solidFill>
                  <a:schemeClr val="bg2">
                    <a:lumMod val="50000"/>
                    <a:lumOff val="50000"/>
                  </a:schemeClr>
                </a:solidFill>
                <a:latin typeface="+mn-lt"/>
                <a:ea typeface="+mn-ea"/>
              </a:rPr>
              <a:t> </a:t>
            </a:r>
            <a:r>
              <a:rPr lang="en-US" sz="1900" i="1" kern="1200" dirty="0">
                <a:solidFill>
                  <a:schemeClr val="bg2">
                    <a:lumMod val="50000"/>
                    <a:lumOff val="50000"/>
                  </a:schemeClr>
                </a:solidFill>
                <a:latin typeface="+mn-lt"/>
                <a:ea typeface="+mn-ea"/>
              </a:rPr>
              <a:t>of a group of numbers</a:t>
            </a:r>
            <a:endParaRPr lang="en-US" i="1" kern="0" dirty="0"/>
          </a:p>
        </p:txBody>
      </p:sp>
      <p:sp>
        <p:nvSpPr>
          <p:cNvPr id="5" name="Rectangle 4">
            <a:extLst>
              <a:ext uri="{FF2B5EF4-FFF2-40B4-BE49-F238E27FC236}">
                <a16:creationId xmlns:a16="http://schemas.microsoft.com/office/drawing/2014/main" id="{A43048EA-074A-4CE3-A9B1-938902706637}"/>
              </a:ext>
            </a:extLst>
          </p:cNvPr>
          <p:cNvSpPr/>
          <p:nvPr/>
        </p:nvSpPr>
        <p:spPr>
          <a:xfrm>
            <a:off x="320041" y="1584495"/>
            <a:ext cx="2226668" cy="1926522"/>
          </a:xfrm>
          <a:prstGeom prst="rect">
            <a:avLst/>
          </a:prstGeom>
          <a:noFill/>
          <a:ln w="1905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6" name="TextBox 5">
            <a:extLst>
              <a:ext uri="{FF2B5EF4-FFF2-40B4-BE49-F238E27FC236}">
                <a16:creationId xmlns:a16="http://schemas.microsoft.com/office/drawing/2014/main" id="{700023B3-6EF9-4F3A-8FD6-79F54B337413}"/>
              </a:ext>
            </a:extLst>
          </p:cNvPr>
          <p:cNvSpPr txBox="1"/>
          <p:nvPr/>
        </p:nvSpPr>
        <p:spPr>
          <a:xfrm>
            <a:off x="390889" y="1745038"/>
            <a:ext cx="1961422" cy="1631216"/>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accent1"/>
                </a:solidFill>
                <a:latin typeface="+mn-lt"/>
              </a:rPr>
              <a:t>MEAN :</a:t>
            </a:r>
          </a:p>
          <a:p>
            <a:pPr>
              <a:spcBef>
                <a:spcPts val="0"/>
              </a:spcBef>
              <a:spcAft>
                <a:spcPts val="0"/>
              </a:spcAft>
              <a:buClr>
                <a:schemeClr val="bg1"/>
              </a:buClr>
            </a:pPr>
            <a:endParaRPr lang="en-US" sz="1400" b="1" dirty="0">
              <a:solidFill>
                <a:schemeClr val="accent1"/>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Inter"/>
              </a:rPr>
              <a:t>T</a:t>
            </a:r>
            <a:r>
              <a:rPr lang="en-US" sz="1800" b="0" i="0" dirty="0">
                <a:solidFill>
                  <a:schemeClr val="bg2">
                    <a:lumMod val="50000"/>
                    <a:lumOff val="50000"/>
                  </a:schemeClr>
                </a:solidFill>
                <a:effectLst/>
                <a:latin typeface="Inter"/>
              </a:rPr>
              <a:t>he sum of all values divided by the total number of values</a:t>
            </a:r>
            <a:endParaRPr lang="en-US" b="1" dirty="0">
              <a:solidFill>
                <a:schemeClr val="bg2">
                  <a:lumMod val="50000"/>
                  <a:lumOff val="50000"/>
                </a:schemeClr>
              </a:solidFill>
              <a:latin typeface="+mn-lt"/>
            </a:endParaRPr>
          </a:p>
        </p:txBody>
      </p:sp>
      <p:sp>
        <p:nvSpPr>
          <p:cNvPr id="7" name="Rectangle 6">
            <a:extLst>
              <a:ext uri="{FF2B5EF4-FFF2-40B4-BE49-F238E27FC236}">
                <a16:creationId xmlns:a16="http://schemas.microsoft.com/office/drawing/2014/main" id="{1A7A125E-8E88-4D2C-B02B-C3AD10A4C40F}"/>
              </a:ext>
            </a:extLst>
          </p:cNvPr>
          <p:cNvSpPr/>
          <p:nvPr/>
        </p:nvSpPr>
        <p:spPr>
          <a:xfrm>
            <a:off x="3306964" y="1584495"/>
            <a:ext cx="2226668" cy="1926522"/>
          </a:xfrm>
          <a:prstGeom prst="rect">
            <a:avLst/>
          </a:prstGeom>
          <a:noFill/>
          <a:ln w="1905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8" name="TextBox 7">
            <a:extLst>
              <a:ext uri="{FF2B5EF4-FFF2-40B4-BE49-F238E27FC236}">
                <a16:creationId xmlns:a16="http://schemas.microsoft.com/office/drawing/2014/main" id="{89DAB812-C601-44F9-A00D-018D6B1E0839}"/>
              </a:ext>
            </a:extLst>
          </p:cNvPr>
          <p:cNvSpPr txBox="1"/>
          <p:nvPr/>
        </p:nvSpPr>
        <p:spPr>
          <a:xfrm>
            <a:off x="3377812" y="1745038"/>
            <a:ext cx="1961422" cy="1308050"/>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accent1"/>
                </a:solidFill>
                <a:latin typeface="+mn-lt"/>
              </a:rPr>
              <a:t>MEDIAN :</a:t>
            </a:r>
            <a:endParaRPr lang="en-US" sz="1100" b="1" dirty="0">
              <a:solidFill>
                <a:schemeClr val="accent1"/>
              </a:solidFill>
              <a:latin typeface="+mn-lt"/>
            </a:endParaRPr>
          </a:p>
          <a:p>
            <a:pPr>
              <a:spcBef>
                <a:spcPts val="0"/>
              </a:spcBef>
              <a:spcAft>
                <a:spcPts val="0"/>
              </a:spcAft>
              <a:buClr>
                <a:schemeClr val="bg1"/>
              </a:buClr>
            </a:pPr>
            <a:endParaRPr lang="en-US" sz="1100" b="1" dirty="0">
              <a:solidFill>
                <a:schemeClr val="accent1"/>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Inter"/>
              </a:rPr>
              <a:t>The middle number in an ordered data set</a:t>
            </a:r>
          </a:p>
        </p:txBody>
      </p:sp>
      <p:sp>
        <p:nvSpPr>
          <p:cNvPr id="9" name="Rectangle 8">
            <a:extLst>
              <a:ext uri="{FF2B5EF4-FFF2-40B4-BE49-F238E27FC236}">
                <a16:creationId xmlns:a16="http://schemas.microsoft.com/office/drawing/2014/main" id="{905A28FF-286E-472E-85BF-8CEB657F1CF3}"/>
              </a:ext>
            </a:extLst>
          </p:cNvPr>
          <p:cNvSpPr/>
          <p:nvPr/>
        </p:nvSpPr>
        <p:spPr>
          <a:xfrm>
            <a:off x="6293888" y="1584495"/>
            <a:ext cx="2226668" cy="1926522"/>
          </a:xfrm>
          <a:prstGeom prst="rect">
            <a:avLst/>
          </a:prstGeom>
          <a:noFill/>
          <a:ln w="1905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0" name="TextBox 9">
            <a:extLst>
              <a:ext uri="{FF2B5EF4-FFF2-40B4-BE49-F238E27FC236}">
                <a16:creationId xmlns:a16="http://schemas.microsoft.com/office/drawing/2014/main" id="{67FCE0DA-E98D-49E1-B9C2-4C30AF458A0C}"/>
              </a:ext>
            </a:extLst>
          </p:cNvPr>
          <p:cNvSpPr txBox="1"/>
          <p:nvPr/>
        </p:nvSpPr>
        <p:spPr>
          <a:xfrm>
            <a:off x="6364736" y="1745038"/>
            <a:ext cx="1961422" cy="892552"/>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accent1"/>
                </a:solidFill>
                <a:latin typeface="+mn-lt"/>
              </a:rPr>
              <a:t>MODE :</a:t>
            </a:r>
            <a:endParaRPr lang="en-US" sz="1000" b="1" dirty="0">
              <a:solidFill>
                <a:schemeClr val="accent1"/>
              </a:solidFill>
              <a:latin typeface="+mn-lt"/>
            </a:endParaRPr>
          </a:p>
          <a:p>
            <a:pPr>
              <a:spcBef>
                <a:spcPts val="0"/>
              </a:spcBef>
              <a:spcAft>
                <a:spcPts val="0"/>
              </a:spcAft>
              <a:buClr>
                <a:schemeClr val="bg1"/>
              </a:buClr>
            </a:pPr>
            <a:endParaRPr lang="en-US" sz="1000" b="1" dirty="0">
              <a:solidFill>
                <a:schemeClr val="accent1"/>
              </a:solidFill>
              <a:latin typeface="+mn-lt"/>
            </a:endParaRPr>
          </a:p>
          <a:p>
            <a:pPr>
              <a:spcBef>
                <a:spcPts val="0"/>
              </a:spcBef>
              <a:spcAft>
                <a:spcPts val="0"/>
              </a:spcAft>
              <a:buClr>
                <a:schemeClr val="bg1"/>
              </a:buClr>
            </a:pPr>
            <a:r>
              <a:rPr lang="en-US" sz="1400" dirty="0">
                <a:solidFill>
                  <a:schemeClr val="bg2">
                    <a:lumMod val="50000"/>
                    <a:lumOff val="50000"/>
                  </a:schemeClr>
                </a:solidFill>
                <a:latin typeface="Inter"/>
              </a:rPr>
              <a:t>The most frequent value</a:t>
            </a:r>
          </a:p>
          <a:p>
            <a:pPr>
              <a:spcBef>
                <a:spcPts val="0"/>
              </a:spcBef>
              <a:spcAft>
                <a:spcPts val="0"/>
              </a:spcAft>
              <a:buClr>
                <a:schemeClr val="bg1"/>
              </a:buClr>
            </a:pPr>
            <a:endParaRPr lang="en-US" sz="1400" b="1" dirty="0">
              <a:solidFill>
                <a:schemeClr val="accent1"/>
              </a:solidFill>
              <a:latin typeface="+mn-lt"/>
            </a:endParaRPr>
          </a:p>
        </p:txBody>
      </p:sp>
      <mc:AlternateContent xmlns:mc="http://schemas.openxmlformats.org/markup-compatibility/2006" xmlns:p14="http://schemas.microsoft.com/office/powerpoint/2010/main">
        <mc:Choice Requires="p14">
          <p:contentPart p14:bwMode="auto" r:id="rId2">
            <p14:nvContentPartPr>
              <p14:cNvPr id="3" name="Ink 2">
                <a:extLst>
                  <a:ext uri="{FF2B5EF4-FFF2-40B4-BE49-F238E27FC236}">
                    <a16:creationId xmlns:a16="http://schemas.microsoft.com/office/drawing/2014/main" id="{316A7735-0A96-4B77-AB23-9C40BFA01DBD}"/>
                  </a:ext>
                </a:extLst>
              </p14:cNvPr>
              <p14:cNvContentPartPr/>
              <p14:nvPr/>
            </p14:nvContentPartPr>
            <p14:xfrm>
              <a:off x="171360" y="428760"/>
              <a:ext cx="7806240" cy="4667400"/>
            </p14:xfrm>
          </p:contentPart>
        </mc:Choice>
        <mc:Fallback xmlns="">
          <p:pic>
            <p:nvPicPr>
              <p:cNvPr id="3" name="Ink 2">
                <a:extLst>
                  <a:ext uri="{FF2B5EF4-FFF2-40B4-BE49-F238E27FC236}">
                    <a16:creationId xmlns:a16="http://schemas.microsoft.com/office/drawing/2014/main" id="{316A7735-0A96-4B77-AB23-9C40BFA01DBD}"/>
                  </a:ext>
                </a:extLst>
              </p:cNvPr>
              <p:cNvPicPr/>
              <p:nvPr/>
            </p:nvPicPr>
            <p:blipFill>
              <a:blip r:embed="rId3"/>
              <a:stretch>
                <a:fillRect/>
              </a:stretch>
            </p:blipFill>
            <p:spPr>
              <a:xfrm>
                <a:off x="162000" y="419400"/>
                <a:ext cx="7824960" cy="4686120"/>
              </a:xfrm>
              <a:prstGeom prst="rect">
                <a:avLst/>
              </a:prstGeom>
            </p:spPr>
          </p:pic>
        </mc:Fallback>
      </mc:AlternateContent>
    </p:spTree>
    <p:extLst>
      <p:ext uri="{BB962C8B-B14F-4D97-AF65-F5344CB8AC3E}">
        <p14:creationId xmlns:p14="http://schemas.microsoft.com/office/powerpoint/2010/main" val="4068607360"/>
      </p:ext>
    </p:extLst>
  </p:cSld>
  <p:clrMapOvr>
    <a:masterClrMapping/>
  </p:clrMapOvr>
  <p:transition spd="med">
    <p:wipe dir="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1">
            <a:extLst>
              <a:ext uri="{FF2B5EF4-FFF2-40B4-BE49-F238E27FC236}">
                <a16:creationId xmlns:a16="http://schemas.microsoft.com/office/drawing/2014/main" id="{58C326E3-E793-4419-9749-AAB5C1FA8435}"/>
              </a:ext>
            </a:extLst>
          </p:cNvPr>
          <p:cNvSpPr>
            <a:spLocks noGrp="1"/>
          </p:cNvSpPr>
          <p:nvPr>
            <p:ph type="body" sz="quarter" idx="10"/>
          </p:nvPr>
        </p:nvSpPr>
        <p:spPr>
          <a:xfrm>
            <a:off x="274318" y="659921"/>
            <a:ext cx="7955280" cy="238842"/>
          </a:xfrm>
        </p:spPr>
        <p:txBody>
          <a:bodyPr/>
          <a:lstStyle/>
          <a:p>
            <a:pPr marL="0" indent="0">
              <a:buNone/>
            </a:pPr>
            <a:r>
              <a:rPr lang="en-US" dirty="0"/>
              <a:t>Let’s </a:t>
            </a:r>
            <a:r>
              <a:rPr lang="en-US" dirty="0" err="1"/>
              <a:t>Gooooooooooo</a:t>
            </a:r>
            <a:r>
              <a:rPr lang="en-US" dirty="0"/>
              <a:t>… </a:t>
            </a:r>
          </a:p>
        </p:txBody>
      </p:sp>
      <p:sp>
        <p:nvSpPr>
          <p:cNvPr id="2" name="Title 1">
            <a:extLst>
              <a:ext uri="{FF2B5EF4-FFF2-40B4-BE49-F238E27FC236}">
                <a16:creationId xmlns:a16="http://schemas.microsoft.com/office/drawing/2014/main" id="{4643F953-1C23-46FD-AAAE-48D1EF3239AA}"/>
              </a:ext>
            </a:extLst>
          </p:cNvPr>
          <p:cNvSpPr>
            <a:spLocks noGrp="1"/>
          </p:cNvSpPr>
          <p:nvPr>
            <p:ph type="title"/>
          </p:nvPr>
        </p:nvSpPr>
        <p:spPr>
          <a:xfrm>
            <a:off x="176597" y="73388"/>
            <a:ext cx="7955280" cy="640080"/>
          </a:xfrm>
        </p:spPr>
        <p:txBody>
          <a:bodyPr>
            <a:normAutofit/>
          </a:bodyPr>
          <a:lstStyle/>
          <a:p>
            <a:r>
              <a:rPr lang="en-US" sz="3200" dirty="0"/>
              <a:t>Ready ??????????????</a:t>
            </a:r>
            <a:endParaRPr lang="en-US" dirty="0"/>
          </a:p>
        </p:txBody>
      </p:sp>
      <p:pic>
        <p:nvPicPr>
          <p:cNvPr id="6" name="Picture 5" descr="A red car driving on a road&#10;&#10;Description automatically generated with medium confidence">
            <a:extLst>
              <a:ext uri="{FF2B5EF4-FFF2-40B4-BE49-F238E27FC236}">
                <a16:creationId xmlns:a16="http://schemas.microsoft.com/office/drawing/2014/main" id="{24B9B8C4-AA54-41BC-B108-D9677BC81090}"/>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274318" y="1189538"/>
            <a:ext cx="6908259" cy="3570926"/>
          </a:xfrm>
          <a:prstGeom prst="rect">
            <a:avLst/>
          </a:prstGeom>
        </p:spPr>
      </p:pic>
    </p:spTree>
    <p:extLst>
      <p:ext uri="{BB962C8B-B14F-4D97-AF65-F5344CB8AC3E}">
        <p14:creationId xmlns:p14="http://schemas.microsoft.com/office/powerpoint/2010/main" val="3790379752"/>
      </p:ext>
    </p:extLst>
  </p:cSld>
  <p:clrMapOvr>
    <a:masterClrMapping/>
  </p:clrMapOvr>
  <p:transition spd="med">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C56C2-D94D-4575-AA79-7E8CC92AC285}"/>
              </a:ext>
            </a:extLst>
          </p:cNvPr>
          <p:cNvSpPr>
            <a:spLocks noGrp="1"/>
          </p:cNvSpPr>
          <p:nvPr>
            <p:ph type="title"/>
          </p:nvPr>
        </p:nvSpPr>
        <p:spPr/>
        <p:txBody>
          <a:bodyPr/>
          <a:lstStyle/>
          <a:p>
            <a:r>
              <a:rPr lang="en-US" dirty="0"/>
              <a:t>Worksheet</a:t>
            </a:r>
          </a:p>
        </p:txBody>
      </p:sp>
      <p:sp>
        <p:nvSpPr>
          <p:cNvPr id="3" name="Content Placeholder 2">
            <a:extLst>
              <a:ext uri="{FF2B5EF4-FFF2-40B4-BE49-F238E27FC236}">
                <a16:creationId xmlns:a16="http://schemas.microsoft.com/office/drawing/2014/main" id="{47DC157F-4699-416A-8E12-DE763F809B22}"/>
              </a:ext>
            </a:extLst>
          </p:cNvPr>
          <p:cNvSpPr>
            <a:spLocks noGrp="1"/>
          </p:cNvSpPr>
          <p:nvPr>
            <p:ph sz="half" idx="1"/>
          </p:nvPr>
        </p:nvSpPr>
        <p:spPr/>
        <p:txBody>
          <a:bodyPr/>
          <a:lstStyle/>
          <a:p>
            <a:endParaRPr lang="en-US" dirty="0"/>
          </a:p>
        </p:txBody>
      </p:sp>
    </p:spTree>
    <p:extLst>
      <p:ext uri="{BB962C8B-B14F-4D97-AF65-F5344CB8AC3E}">
        <p14:creationId xmlns:p14="http://schemas.microsoft.com/office/powerpoint/2010/main" val="2602528787"/>
      </p:ext>
    </p:extLst>
  </p:cSld>
  <p:clrMapOvr>
    <a:masterClrMapping/>
  </p:clrMapOvr>
  <p:transition spd="med">
    <p:wipe dir="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06C7DD8-E1BC-4EBD-BFD4-E6A6AF47F2E0}"/>
              </a:ext>
            </a:extLst>
          </p:cNvPr>
          <p:cNvSpPr>
            <a:spLocks noGrp="1"/>
          </p:cNvSpPr>
          <p:nvPr>
            <p:ph type="title"/>
          </p:nvPr>
        </p:nvSpPr>
        <p:spPr>
          <a:xfrm>
            <a:off x="113776" y="118322"/>
            <a:ext cx="7955280" cy="640080"/>
          </a:xfrm>
        </p:spPr>
        <p:txBody>
          <a:bodyPr/>
          <a:lstStyle/>
          <a:p>
            <a:r>
              <a:rPr lang="en-US" dirty="0"/>
              <a:t>Mean </a:t>
            </a:r>
          </a:p>
        </p:txBody>
      </p:sp>
      <p:sp>
        <p:nvSpPr>
          <p:cNvPr id="4" name="Content Placeholder 3">
            <a:extLst>
              <a:ext uri="{FF2B5EF4-FFF2-40B4-BE49-F238E27FC236}">
                <a16:creationId xmlns:a16="http://schemas.microsoft.com/office/drawing/2014/main" id="{76ABAD4C-07E6-4B48-A259-F8E361E4AAD0}"/>
              </a:ext>
            </a:extLst>
          </p:cNvPr>
          <p:cNvSpPr>
            <a:spLocks noGrp="1"/>
          </p:cNvSpPr>
          <p:nvPr>
            <p:ph sz="half" idx="1"/>
          </p:nvPr>
        </p:nvSpPr>
        <p:spPr>
          <a:xfrm>
            <a:off x="113776" y="828544"/>
            <a:ext cx="7955280" cy="3017520"/>
          </a:xfrm>
        </p:spPr>
        <p:txBody>
          <a:bodyPr/>
          <a:lstStyle/>
          <a:p>
            <a:r>
              <a:rPr lang="en-US" dirty="0"/>
              <a:t>The mean is the average of a group of number and is computed by summing all numbers and dividing by the number of numbers.</a:t>
            </a:r>
          </a:p>
          <a:p>
            <a:endParaRPr lang="en-US" dirty="0"/>
          </a:p>
          <a:p>
            <a:pPr marL="0" indent="0">
              <a:buNone/>
            </a:pPr>
            <a:r>
              <a:rPr lang="en-US" b="1" dirty="0"/>
              <a:t>Ex: </a:t>
            </a:r>
            <a:r>
              <a:rPr lang="en-US" dirty="0"/>
              <a:t>of a Jumping castle</a:t>
            </a:r>
          </a:p>
          <a:p>
            <a:endParaRPr lang="en-US" dirty="0"/>
          </a:p>
          <a:p>
            <a:pPr marL="0" indent="0">
              <a:buNone/>
            </a:pPr>
            <a:endParaRPr lang="en-US" dirty="0"/>
          </a:p>
        </p:txBody>
      </p:sp>
      <p:pic>
        <p:nvPicPr>
          <p:cNvPr id="8" name="Picture 7" descr="A picture containing tree, outdoor, colorful&#10;&#10;Description automatically generated">
            <a:extLst>
              <a:ext uri="{FF2B5EF4-FFF2-40B4-BE49-F238E27FC236}">
                <a16:creationId xmlns:a16="http://schemas.microsoft.com/office/drawing/2014/main" id="{431D9C13-880E-4616-A698-2D43B2DD595D}"/>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940741" y="1898600"/>
            <a:ext cx="2919771" cy="1947464"/>
          </a:xfrm>
          <a:prstGeom prst="rect">
            <a:avLst/>
          </a:prstGeom>
        </p:spPr>
      </p:pic>
      <p:sp>
        <p:nvSpPr>
          <p:cNvPr id="10" name="TextBox 9">
            <a:extLst>
              <a:ext uri="{FF2B5EF4-FFF2-40B4-BE49-F238E27FC236}">
                <a16:creationId xmlns:a16="http://schemas.microsoft.com/office/drawing/2014/main" id="{9527B901-F112-4CF6-B0AB-5B0206A695F7}"/>
              </a:ext>
            </a:extLst>
          </p:cNvPr>
          <p:cNvSpPr txBox="1"/>
          <p:nvPr/>
        </p:nvSpPr>
        <p:spPr>
          <a:xfrm>
            <a:off x="113776" y="4271853"/>
            <a:ext cx="5086438"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ere the mean is accurate but not useful</a:t>
            </a:r>
          </a:p>
        </p:txBody>
      </p:sp>
      <mc:AlternateContent xmlns:mc="http://schemas.openxmlformats.org/markup-compatibility/2006" xmlns:p14="http://schemas.microsoft.com/office/powerpoint/2010/main">
        <mc:Choice Requires="p14">
          <p:contentPart p14:bwMode="auto" r:id="rId4">
            <p14:nvContentPartPr>
              <p14:cNvPr id="2" name="Ink 1">
                <a:extLst>
                  <a:ext uri="{FF2B5EF4-FFF2-40B4-BE49-F238E27FC236}">
                    <a16:creationId xmlns:a16="http://schemas.microsoft.com/office/drawing/2014/main" id="{802ED2F4-3CAD-43D4-8D09-3B9F2572CE40}"/>
                  </a:ext>
                </a:extLst>
              </p14:cNvPr>
              <p14:cNvContentPartPr/>
              <p14:nvPr/>
            </p14:nvContentPartPr>
            <p14:xfrm>
              <a:off x="447840" y="1028880"/>
              <a:ext cx="7944120" cy="3843360"/>
            </p14:xfrm>
          </p:contentPart>
        </mc:Choice>
        <mc:Fallback xmlns="">
          <p:pic>
            <p:nvPicPr>
              <p:cNvPr id="2" name="Ink 1">
                <a:extLst>
                  <a:ext uri="{FF2B5EF4-FFF2-40B4-BE49-F238E27FC236}">
                    <a16:creationId xmlns:a16="http://schemas.microsoft.com/office/drawing/2014/main" id="{802ED2F4-3CAD-43D4-8D09-3B9F2572CE40}"/>
                  </a:ext>
                </a:extLst>
              </p:cNvPr>
              <p:cNvPicPr/>
              <p:nvPr/>
            </p:nvPicPr>
            <p:blipFill>
              <a:blip r:embed="rId5"/>
              <a:stretch>
                <a:fillRect/>
              </a:stretch>
            </p:blipFill>
            <p:spPr>
              <a:xfrm>
                <a:off x="438480" y="1019520"/>
                <a:ext cx="7962840" cy="3862080"/>
              </a:xfrm>
              <a:prstGeom prst="rect">
                <a:avLst/>
              </a:prstGeom>
            </p:spPr>
          </p:pic>
        </mc:Fallback>
      </mc:AlternateContent>
    </p:spTree>
    <p:extLst>
      <p:ext uri="{BB962C8B-B14F-4D97-AF65-F5344CB8AC3E}">
        <p14:creationId xmlns:p14="http://schemas.microsoft.com/office/powerpoint/2010/main" val="2688859099"/>
      </p:ext>
    </p:extLst>
  </p:cSld>
  <p:clrMapOvr>
    <a:masterClrMapping/>
  </p:clrMapOvr>
  <p:transition spd="med">
    <p:wipe dir="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722DD31-3378-4BFD-858A-45134180E98B}"/>
              </a:ext>
            </a:extLst>
          </p:cNvPr>
          <p:cNvSpPr>
            <a:spLocks noGrp="1"/>
          </p:cNvSpPr>
          <p:nvPr>
            <p:ph type="title"/>
          </p:nvPr>
        </p:nvSpPr>
        <p:spPr>
          <a:xfrm>
            <a:off x="78874" y="83421"/>
            <a:ext cx="7955280" cy="640080"/>
          </a:xfrm>
        </p:spPr>
        <p:txBody>
          <a:bodyPr/>
          <a:lstStyle/>
          <a:p>
            <a:r>
              <a:rPr lang="en-US" dirty="0"/>
              <a:t>Median</a:t>
            </a:r>
          </a:p>
        </p:txBody>
      </p:sp>
      <p:sp>
        <p:nvSpPr>
          <p:cNvPr id="4" name="Content Placeholder 3">
            <a:extLst>
              <a:ext uri="{FF2B5EF4-FFF2-40B4-BE49-F238E27FC236}">
                <a16:creationId xmlns:a16="http://schemas.microsoft.com/office/drawing/2014/main" id="{6E9599F9-7E29-4BD8-8E52-18FF8C724383}"/>
              </a:ext>
            </a:extLst>
          </p:cNvPr>
          <p:cNvSpPr>
            <a:spLocks noGrp="1"/>
          </p:cNvSpPr>
          <p:nvPr>
            <p:ph sz="half" idx="1"/>
          </p:nvPr>
        </p:nvSpPr>
        <p:spPr>
          <a:xfrm>
            <a:off x="204517" y="870425"/>
            <a:ext cx="8269388" cy="3017520"/>
          </a:xfrm>
        </p:spPr>
        <p:txBody>
          <a:bodyPr/>
          <a:lstStyle/>
          <a:p>
            <a:r>
              <a:rPr lang="en-US" dirty="0"/>
              <a:t>List all the numbers in order and choose the middle one</a:t>
            </a:r>
          </a:p>
          <a:p>
            <a:r>
              <a:rPr lang="en-US" dirty="0"/>
              <a:t>Ex : Jumping castle continued </a:t>
            </a:r>
          </a:p>
          <a:p>
            <a:r>
              <a:rPr lang="en-US" dirty="0"/>
              <a:t>List the ages in order.</a:t>
            </a:r>
          </a:p>
        </p:txBody>
      </p:sp>
      <p:pic>
        <p:nvPicPr>
          <p:cNvPr id="6" name="Picture 5" descr="A group of planets in space&#10;&#10;Description automatically generated with low confidence">
            <a:extLst>
              <a:ext uri="{FF2B5EF4-FFF2-40B4-BE49-F238E27FC236}">
                <a16:creationId xmlns:a16="http://schemas.microsoft.com/office/drawing/2014/main" id="{375C0BAF-A535-485E-8530-85DE19CD3DC7}"/>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272543" y="1502296"/>
            <a:ext cx="3666940" cy="2446035"/>
          </a:xfrm>
          <a:prstGeom prst="rect">
            <a:avLst/>
          </a:prstGeom>
        </p:spPr>
      </p:pic>
      <mc:AlternateContent xmlns:mc="http://schemas.openxmlformats.org/markup-compatibility/2006" xmlns:p14="http://schemas.microsoft.com/office/powerpoint/2010/main">
        <mc:Choice Requires="p14">
          <p:contentPart p14:bwMode="auto" r:id="rId4">
            <p14:nvContentPartPr>
              <p14:cNvPr id="2" name="Ink 1">
                <a:extLst>
                  <a:ext uri="{FF2B5EF4-FFF2-40B4-BE49-F238E27FC236}">
                    <a16:creationId xmlns:a16="http://schemas.microsoft.com/office/drawing/2014/main" id="{8D102782-598E-47F0-A21A-7F9FA5A857E3}"/>
                  </a:ext>
                </a:extLst>
              </p14:cNvPr>
              <p14:cNvContentPartPr/>
              <p14:nvPr/>
            </p14:nvContentPartPr>
            <p14:xfrm>
              <a:off x="281160" y="476280"/>
              <a:ext cx="4810320" cy="3400920"/>
            </p14:xfrm>
          </p:contentPart>
        </mc:Choice>
        <mc:Fallback xmlns="">
          <p:pic>
            <p:nvPicPr>
              <p:cNvPr id="2" name="Ink 1">
                <a:extLst>
                  <a:ext uri="{FF2B5EF4-FFF2-40B4-BE49-F238E27FC236}">
                    <a16:creationId xmlns:a16="http://schemas.microsoft.com/office/drawing/2014/main" id="{8D102782-598E-47F0-A21A-7F9FA5A857E3}"/>
                  </a:ext>
                </a:extLst>
              </p:cNvPr>
              <p:cNvPicPr/>
              <p:nvPr/>
            </p:nvPicPr>
            <p:blipFill>
              <a:blip r:embed="rId5"/>
              <a:stretch>
                <a:fillRect/>
              </a:stretch>
            </p:blipFill>
            <p:spPr>
              <a:xfrm>
                <a:off x="271800" y="466920"/>
                <a:ext cx="4829040" cy="3419640"/>
              </a:xfrm>
              <a:prstGeom prst="rect">
                <a:avLst/>
              </a:prstGeom>
            </p:spPr>
          </p:pic>
        </mc:Fallback>
      </mc:AlternateContent>
    </p:spTree>
    <p:extLst>
      <p:ext uri="{BB962C8B-B14F-4D97-AF65-F5344CB8AC3E}">
        <p14:creationId xmlns:p14="http://schemas.microsoft.com/office/powerpoint/2010/main" val="1532996662"/>
      </p:ext>
    </p:extLst>
  </p:cSld>
  <p:clrMapOvr>
    <a:masterClrMapping/>
  </p:clrMapOvr>
  <p:transition spd="med">
    <p:wipe dir="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AABBA51-A685-4F2C-AE0B-DE4088F8EF66}"/>
              </a:ext>
            </a:extLst>
          </p:cNvPr>
          <p:cNvSpPr>
            <a:spLocks noGrp="1"/>
          </p:cNvSpPr>
          <p:nvPr>
            <p:ph type="title"/>
          </p:nvPr>
        </p:nvSpPr>
        <p:spPr/>
        <p:txBody>
          <a:bodyPr/>
          <a:lstStyle/>
          <a:p>
            <a:r>
              <a:rPr lang="en-US" dirty="0"/>
              <a:t>Median – Two middle numbers</a:t>
            </a:r>
          </a:p>
        </p:txBody>
      </p:sp>
      <p:sp>
        <p:nvSpPr>
          <p:cNvPr id="4" name="Content Placeholder 3">
            <a:extLst>
              <a:ext uri="{FF2B5EF4-FFF2-40B4-BE49-F238E27FC236}">
                <a16:creationId xmlns:a16="http://schemas.microsoft.com/office/drawing/2014/main" id="{B4DE2912-DDA6-440E-BEA6-B3A254DD16E9}"/>
              </a:ext>
            </a:extLst>
          </p:cNvPr>
          <p:cNvSpPr>
            <a:spLocks noGrp="1"/>
          </p:cNvSpPr>
          <p:nvPr>
            <p:ph sz="half" idx="1"/>
          </p:nvPr>
        </p:nvSpPr>
        <p:spPr>
          <a:xfrm>
            <a:off x="274319" y="1010028"/>
            <a:ext cx="7955280" cy="3017520"/>
          </a:xfrm>
        </p:spPr>
        <p:txBody>
          <a:bodyPr/>
          <a:lstStyle/>
          <a:p>
            <a:r>
              <a:rPr lang="en-US" dirty="0"/>
              <a:t>If there are two middle number, then just take the average of those two numbers</a:t>
            </a:r>
          </a:p>
          <a:p>
            <a:endParaRPr lang="en-US" dirty="0"/>
          </a:p>
          <a:p>
            <a:r>
              <a:rPr lang="en-US" dirty="0"/>
              <a:t>Ex : find Median of 7,9,10,11,11,15</a:t>
            </a:r>
          </a:p>
        </p:txBody>
      </p:sp>
      <mc:AlternateContent xmlns:mc="http://schemas.openxmlformats.org/markup-compatibility/2006" xmlns:p14="http://schemas.microsoft.com/office/powerpoint/2010/main">
        <mc:Choice Requires="p14">
          <p:contentPart p14:bwMode="auto" r:id="rId2">
            <p14:nvContentPartPr>
              <p14:cNvPr id="2" name="Ink 1">
                <a:extLst>
                  <a:ext uri="{FF2B5EF4-FFF2-40B4-BE49-F238E27FC236}">
                    <a16:creationId xmlns:a16="http://schemas.microsoft.com/office/drawing/2014/main" id="{5A7BDC9F-B933-4B46-955A-D6953C5C6401}"/>
                  </a:ext>
                </a:extLst>
              </p14:cNvPr>
              <p14:cNvContentPartPr/>
              <p14:nvPr/>
            </p14:nvContentPartPr>
            <p14:xfrm>
              <a:off x="147600" y="95400"/>
              <a:ext cx="8844480" cy="2986200"/>
            </p14:xfrm>
          </p:contentPart>
        </mc:Choice>
        <mc:Fallback xmlns="">
          <p:pic>
            <p:nvPicPr>
              <p:cNvPr id="2" name="Ink 1">
                <a:extLst>
                  <a:ext uri="{FF2B5EF4-FFF2-40B4-BE49-F238E27FC236}">
                    <a16:creationId xmlns:a16="http://schemas.microsoft.com/office/drawing/2014/main" id="{5A7BDC9F-B933-4B46-955A-D6953C5C6401}"/>
                  </a:ext>
                </a:extLst>
              </p:cNvPr>
              <p:cNvPicPr/>
              <p:nvPr/>
            </p:nvPicPr>
            <p:blipFill>
              <a:blip r:embed="rId3"/>
              <a:stretch>
                <a:fillRect/>
              </a:stretch>
            </p:blipFill>
            <p:spPr>
              <a:xfrm>
                <a:off x="138240" y="86040"/>
                <a:ext cx="8863200" cy="3004920"/>
              </a:xfrm>
              <a:prstGeom prst="rect">
                <a:avLst/>
              </a:prstGeom>
            </p:spPr>
          </p:pic>
        </mc:Fallback>
      </mc:AlternateContent>
    </p:spTree>
    <p:extLst>
      <p:ext uri="{BB962C8B-B14F-4D97-AF65-F5344CB8AC3E}">
        <p14:creationId xmlns:p14="http://schemas.microsoft.com/office/powerpoint/2010/main" val="3262174151"/>
      </p:ext>
    </p:extLst>
  </p:cSld>
  <p:clrMapOvr>
    <a:masterClrMapping/>
  </p:clrMapOvr>
  <p:transition spd="med">
    <p:wipe dir="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625CB22-FF51-4206-A208-F34D589823FC}"/>
              </a:ext>
            </a:extLst>
          </p:cNvPr>
          <p:cNvSpPr>
            <a:spLocks noGrp="1"/>
          </p:cNvSpPr>
          <p:nvPr>
            <p:ph type="title"/>
          </p:nvPr>
        </p:nvSpPr>
        <p:spPr>
          <a:xfrm>
            <a:off x="78874" y="139262"/>
            <a:ext cx="7955280" cy="640080"/>
          </a:xfrm>
        </p:spPr>
        <p:txBody>
          <a:bodyPr/>
          <a:lstStyle/>
          <a:p>
            <a:r>
              <a:rPr lang="en-US" dirty="0"/>
              <a:t>Mode</a:t>
            </a:r>
          </a:p>
        </p:txBody>
      </p:sp>
      <p:sp>
        <p:nvSpPr>
          <p:cNvPr id="4" name="Content Placeholder 3">
            <a:extLst>
              <a:ext uri="{FF2B5EF4-FFF2-40B4-BE49-F238E27FC236}">
                <a16:creationId xmlns:a16="http://schemas.microsoft.com/office/drawing/2014/main" id="{38C4030F-B49C-4D2E-A105-0BDA558200F7}"/>
              </a:ext>
            </a:extLst>
          </p:cNvPr>
          <p:cNvSpPr>
            <a:spLocks noGrp="1"/>
          </p:cNvSpPr>
          <p:nvPr>
            <p:ph sz="half" idx="1"/>
          </p:nvPr>
        </p:nvSpPr>
        <p:spPr>
          <a:xfrm>
            <a:off x="148677" y="670095"/>
            <a:ext cx="7955280" cy="3908885"/>
          </a:xfrm>
        </p:spPr>
        <p:txBody>
          <a:bodyPr/>
          <a:lstStyle/>
          <a:p>
            <a:r>
              <a:rPr lang="en-US" sz="1400" dirty="0">
                <a:solidFill>
                  <a:schemeClr val="bg2">
                    <a:lumMod val="50000"/>
                    <a:lumOff val="50000"/>
                  </a:schemeClr>
                </a:solidFill>
                <a:latin typeface="Inter"/>
              </a:rPr>
              <a:t>The most frequent value. (the value that occurs the highest number of times)</a:t>
            </a:r>
          </a:p>
          <a:p>
            <a:endParaRPr lang="en-US" dirty="0">
              <a:solidFill>
                <a:schemeClr val="bg2">
                  <a:lumMod val="50000"/>
                  <a:lumOff val="50000"/>
                </a:schemeClr>
              </a:solidFill>
              <a:latin typeface="Inter"/>
            </a:endParaRPr>
          </a:p>
          <a:p>
            <a:r>
              <a:rPr lang="en-US" sz="1400" dirty="0">
                <a:solidFill>
                  <a:schemeClr val="bg2">
                    <a:lumMod val="50000"/>
                    <a:lumOff val="50000"/>
                  </a:schemeClr>
                </a:solidFill>
                <a:latin typeface="Inter"/>
              </a:rPr>
              <a:t>Ex : Jumping castle continued</a:t>
            </a:r>
          </a:p>
          <a:p>
            <a:r>
              <a:rPr lang="en-US" dirty="0">
                <a:solidFill>
                  <a:schemeClr val="bg2">
                    <a:lumMod val="50000"/>
                    <a:lumOff val="50000"/>
                  </a:schemeClr>
                </a:solidFill>
                <a:latin typeface="Inter"/>
              </a:rPr>
              <a:t>Group the numbers so we can count them : </a:t>
            </a:r>
            <a:endParaRPr lang="en-US" sz="1400" dirty="0">
              <a:solidFill>
                <a:schemeClr val="bg2">
                  <a:lumMod val="50000"/>
                  <a:lumOff val="50000"/>
                </a:schemeClr>
              </a:solidFill>
              <a:latin typeface="Inter"/>
            </a:endParaRPr>
          </a:p>
          <a:p>
            <a:endParaRPr lang="en-US" dirty="0"/>
          </a:p>
        </p:txBody>
      </p:sp>
      <p:pic>
        <p:nvPicPr>
          <p:cNvPr id="6" name="Picture 5" descr="A group of planets in space&#10;&#10;Description automatically generated with low confidence">
            <a:extLst>
              <a:ext uri="{FF2B5EF4-FFF2-40B4-BE49-F238E27FC236}">
                <a16:creationId xmlns:a16="http://schemas.microsoft.com/office/drawing/2014/main" id="{9913AA4F-182A-4CFF-96F3-3A802A25BE2F}"/>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272543" y="1502296"/>
            <a:ext cx="3666940" cy="2446035"/>
          </a:xfrm>
          <a:prstGeom prst="rect">
            <a:avLst/>
          </a:prstGeom>
        </p:spPr>
      </p:pic>
      <mc:AlternateContent xmlns:mc="http://schemas.openxmlformats.org/markup-compatibility/2006" xmlns:p14="http://schemas.microsoft.com/office/powerpoint/2010/main">
        <mc:Choice Requires="p14">
          <p:contentPart p14:bwMode="auto" r:id="rId4">
            <p14:nvContentPartPr>
              <p14:cNvPr id="2" name="Ink 1">
                <a:extLst>
                  <a:ext uri="{FF2B5EF4-FFF2-40B4-BE49-F238E27FC236}">
                    <a16:creationId xmlns:a16="http://schemas.microsoft.com/office/drawing/2014/main" id="{D8F19B24-08AF-4A69-B1B4-C048F3097B7B}"/>
                  </a:ext>
                </a:extLst>
              </p14:cNvPr>
              <p14:cNvContentPartPr/>
              <p14:nvPr/>
            </p14:nvContentPartPr>
            <p14:xfrm>
              <a:off x="528480" y="861840"/>
              <a:ext cx="3719880" cy="2586600"/>
            </p14:xfrm>
          </p:contentPart>
        </mc:Choice>
        <mc:Fallback xmlns="">
          <p:pic>
            <p:nvPicPr>
              <p:cNvPr id="2" name="Ink 1">
                <a:extLst>
                  <a:ext uri="{FF2B5EF4-FFF2-40B4-BE49-F238E27FC236}">
                    <a16:creationId xmlns:a16="http://schemas.microsoft.com/office/drawing/2014/main" id="{D8F19B24-08AF-4A69-B1B4-C048F3097B7B}"/>
                  </a:ext>
                </a:extLst>
              </p:cNvPr>
              <p:cNvPicPr/>
              <p:nvPr/>
            </p:nvPicPr>
            <p:blipFill>
              <a:blip r:embed="rId5"/>
              <a:stretch>
                <a:fillRect/>
              </a:stretch>
            </p:blipFill>
            <p:spPr>
              <a:xfrm>
                <a:off x="519120" y="852480"/>
                <a:ext cx="3738600" cy="2605320"/>
              </a:xfrm>
              <a:prstGeom prst="rect">
                <a:avLst/>
              </a:prstGeom>
            </p:spPr>
          </p:pic>
        </mc:Fallback>
      </mc:AlternateContent>
    </p:spTree>
    <p:extLst>
      <p:ext uri="{BB962C8B-B14F-4D97-AF65-F5344CB8AC3E}">
        <p14:creationId xmlns:p14="http://schemas.microsoft.com/office/powerpoint/2010/main" val="636038740"/>
      </p:ext>
    </p:extLst>
  </p:cSld>
  <p:clrMapOvr>
    <a:masterClrMapping/>
  </p:clrMapOvr>
  <p:transition spd="med">
    <p:wipe dir="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7D0E9BB-181B-4BF0-A706-7A35CF408AD5}"/>
              </a:ext>
            </a:extLst>
          </p:cNvPr>
          <p:cNvSpPr>
            <a:spLocks noGrp="1"/>
          </p:cNvSpPr>
          <p:nvPr>
            <p:ph type="title"/>
          </p:nvPr>
        </p:nvSpPr>
        <p:spPr>
          <a:xfrm>
            <a:off x="204518" y="132282"/>
            <a:ext cx="7955280" cy="640080"/>
          </a:xfrm>
        </p:spPr>
        <p:txBody>
          <a:bodyPr/>
          <a:lstStyle/>
          <a:p>
            <a:r>
              <a:rPr lang="en-US" dirty="0"/>
              <a:t>Mode</a:t>
            </a:r>
          </a:p>
        </p:txBody>
      </p:sp>
      <p:sp>
        <p:nvSpPr>
          <p:cNvPr id="4" name="Content Placeholder 3">
            <a:extLst>
              <a:ext uri="{FF2B5EF4-FFF2-40B4-BE49-F238E27FC236}">
                <a16:creationId xmlns:a16="http://schemas.microsoft.com/office/drawing/2014/main" id="{F7D859AF-EC6C-404E-A3A5-5C9B7B9266E3}"/>
              </a:ext>
            </a:extLst>
          </p:cNvPr>
          <p:cNvSpPr>
            <a:spLocks noGrp="1"/>
          </p:cNvSpPr>
          <p:nvPr>
            <p:ph sz="half" idx="1"/>
          </p:nvPr>
        </p:nvSpPr>
        <p:spPr>
          <a:xfrm>
            <a:off x="274320" y="718956"/>
            <a:ext cx="7955280" cy="3853044"/>
          </a:xfrm>
        </p:spPr>
        <p:txBody>
          <a:bodyPr/>
          <a:lstStyle/>
          <a:p>
            <a:r>
              <a:rPr lang="en-US" dirty="0">
                <a:solidFill>
                  <a:schemeClr val="bg2">
                    <a:lumMod val="50000"/>
                    <a:lumOff val="50000"/>
                  </a:schemeClr>
                </a:solidFill>
              </a:rPr>
              <a:t>But Mode can be tricky, there can sometime be more than one mode</a:t>
            </a:r>
          </a:p>
          <a:p>
            <a:endParaRPr lang="en-US" dirty="0">
              <a:solidFill>
                <a:schemeClr val="bg2">
                  <a:lumMod val="50000"/>
                  <a:lumOff val="50000"/>
                </a:schemeClr>
              </a:solidFill>
            </a:endParaRPr>
          </a:p>
          <a:p>
            <a:r>
              <a:rPr lang="en-US" dirty="0">
                <a:solidFill>
                  <a:schemeClr val="bg2">
                    <a:lumMod val="50000"/>
                    <a:lumOff val="50000"/>
                  </a:schemeClr>
                </a:solidFill>
              </a:rPr>
              <a:t>Ex : What is the Mode of 10,11,11,12,12,13,14</a:t>
            </a:r>
          </a:p>
          <a:p>
            <a:endParaRPr lang="en-US" dirty="0"/>
          </a:p>
          <a:p>
            <a:endParaRPr lang="en-US" dirty="0"/>
          </a:p>
        </p:txBody>
      </p:sp>
      <mc:AlternateContent xmlns:mc="http://schemas.openxmlformats.org/markup-compatibility/2006" xmlns:p14="http://schemas.microsoft.com/office/powerpoint/2010/main">
        <mc:Choice Requires="p14">
          <p:contentPart p14:bwMode="auto" r:id="rId2">
            <p14:nvContentPartPr>
              <p14:cNvPr id="2" name="Ink 1">
                <a:extLst>
                  <a:ext uri="{FF2B5EF4-FFF2-40B4-BE49-F238E27FC236}">
                    <a16:creationId xmlns:a16="http://schemas.microsoft.com/office/drawing/2014/main" id="{30822C96-1D92-4CD5-B6FA-45519C9A8C47}"/>
                  </a:ext>
                </a:extLst>
              </p14:cNvPr>
              <p14:cNvContentPartPr/>
              <p14:nvPr/>
            </p14:nvContentPartPr>
            <p14:xfrm>
              <a:off x="600120" y="981000"/>
              <a:ext cx="6453360" cy="3672360"/>
            </p14:xfrm>
          </p:contentPart>
        </mc:Choice>
        <mc:Fallback xmlns="">
          <p:pic>
            <p:nvPicPr>
              <p:cNvPr id="2" name="Ink 1">
                <a:extLst>
                  <a:ext uri="{FF2B5EF4-FFF2-40B4-BE49-F238E27FC236}">
                    <a16:creationId xmlns:a16="http://schemas.microsoft.com/office/drawing/2014/main" id="{30822C96-1D92-4CD5-B6FA-45519C9A8C47}"/>
                  </a:ext>
                </a:extLst>
              </p:cNvPr>
              <p:cNvPicPr/>
              <p:nvPr/>
            </p:nvPicPr>
            <p:blipFill>
              <a:blip r:embed="rId3"/>
              <a:stretch>
                <a:fillRect/>
              </a:stretch>
            </p:blipFill>
            <p:spPr>
              <a:xfrm>
                <a:off x="590760" y="971640"/>
                <a:ext cx="6472080" cy="3691080"/>
              </a:xfrm>
              <a:prstGeom prst="rect">
                <a:avLst/>
              </a:prstGeom>
            </p:spPr>
          </p:pic>
        </mc:Fallback>
      </mc:AlternateContent>
    </p:spTree>
    <p:extLst>
      <p:ext uri="{BB962C8B-B14F-4D97-AF65-F5344CB8AC3E}">
        <p14:creationId xmlns:p14="http://schemas.microsoft.com/office/powerpoint/2010/main" val="3651340896"/>
      </p:ext>
    </p:extLst>
  </p:cSld>
  <p:clrMapOvr>
    <a:masterClrMapping/>
  </p:clrMapOvr>
  <p:transition spd="med">
    <p:wipe dir="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5105FE6-98FF-4D7B-B314-563F75F834DB}"/>
              </a:ext>
            </a:extLst>
          </p:cNvPr>
          <p:cNvSpPr>
            <a:spLocks noGrp="1"/>
          </p:cNvSpPr>
          <p:nvPr>
            <p:ph type="title"/>
          </p:nvPr>
        </p:nvSpPr>
        <p:spPr>
          <a:xfrm>
            <a:off x="50954" y="83420"/>
            <a:ext cx="7955280" cy="640080"/>
          </a:xfrm>
        </p:spPr>
        <p:txBody>
          <a:bodyPr/>
          <a:lstStyle/>
          <a:p>
            <a:r>
              <a:rPr lang="en-US" dirty="0"/>
              <a:t>Grouping</a:t>
            </a:r>
          </a:p>
        </p:txBody>
      </p:sp>
      <p:sp>
        <p:nvSpPr>
          <p:cNvPr id="4" name="Content Placeholder 3">
            <a:extLst>
              <a:ext uri="{FF2B5EF4-FFF2-40B4-BE49-F238E27FC236}">
                <a16:creationId xmlns:a16="http://schemas.microsoft.com/office/drawing/2014/main" id="{7467BCD5-CB99-4999-9385-6B8338F1F152}"/>
              </a:ext>
            </a:extLst>
          </p:cNvPr>
          <p:cNvSpPr>
            <a:spLocks noGrp="1"/>
          </p:cNvSpPr>
          <p:nvPr>
            <p:ph sz="half" idx="1"/>
          </p:nvPr>
        </p:nvSpPr>
        <p:spPr>
          <a:xfrm>
            <a:off x="50953" y="870425"/>
            <a:ext cx="8583495" cy="3757416"/>
          </a:xfrm>
        </p:spPr>
        <p:txBody>
          <a:bodyPr/>
          <a:lstStyle/>
          <a:p>
            <a:r>
              <a:rPr lang="en-US" dirty="0">
                <a:solidFill>
                  <a:schemeClr val="bg2">
                    <a:lumMod val="50000"/>
                    <a:lumOff val="50000"/>
                  </a:schemeClr>
                </a:solidFill>
                <a:latin typeface="Inter"/>
              </a:rPr>
              <a:t>In Some cases (such as when all values appear the same number of times) the mode is not useful. But we can group the values to see if one group has more than the others </a:t>
            </a:r>
          </a:p>
          <a:p>
            <a:r>
              <a:rPr lang="en-US" dirty="0">
                <a:solidFill>
                  <a:schemeClr val="bg2">
                    <a:lumMod val="50000"/>
                    <a:lumOff val="50000"/>
                  </a:schemeClr>
                </a:solidFill>
                <a:latin typeface="Inter"/>
              </a:rPr>
              <a:t>Ex : 5, 8, 12, 17, 21</a:t>
            </a:r>
            <a:r>
              <a:rPr lang="en-US">
                <a:solidFill>
                  <a:schemeClr val="bg2">
                    <a:lumMod val="50000"/>
                    <a:lumOff val="50000"/>
                  </a:schemeClr>
                </a:solidFill>
                <a:latin typeface="Inter"/>
              </a:rPr>
              <a:t>, 23, </a:t>
            </a:r>
            <a:r>
              <a:rPr lang="en-US" dirty="0">
                <a:solidFill>
                  <a:schemeClr val="bg2">
                    <a:lumMod val="50000"/>
                    <a:lumOff val="50000"/>
                  </a:schemeClr>
                </a:solidFill>
                <a:latin typeface="Inter"/>
              </a:rPr>
              <a:t>26, 27</a:t>
            </a:r>
            <a:r>
              <a:rPr lang="en-US">
                <a:solidFill>
                  <a:schemeClr val="bg2">
                    <a:lumMod val="50000"/>
                    <a:lumOff val="50000"/>
                  </a:schemeClr>
                </a:solidFill>
                <a:latin typeface="Inter"/>
              </a:rPr>
              <a:t>, 34</a:t>
            </a:r>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r>
              <a:rPr lang="en-US" b="1" i="1" dirty="0">
                <a:solidFill>
                  <a:schemeClr val="bg2">
                    <a:lumMod val="50000"/>
                    <a:lumOff val="50000"/>
                  </a:schemeClr>
                </a:solidFill>
                <a:latin typeface="Inter"/>
              </a:rPr>
              <a:t>Note : You could use different grouping and get a different answer</a:t>
            </a:r>
          </a:p>
        </p:txBody>
      </p:sp>
      <mc:AlternateContent xmlns:mc="http://schemas.openxmlformats.org/markup-compatibility/2006" xmlns:p14="http://schemas.microsoft.com/office/powerpoint/2010/main">
        <mc:Choice Requires="p14">
          <p:contentPart p14:bwMode="auto" r:id="rId2">
            <p14:nvContentPartPr>
              <p14:cNvPr id="2" name="Ink 1">
                <a:extLst>
                  <a:ext uri="{FF2B5EF4-FFF2-40B4-BE49-F238E27FC236}">
                    <a16:creationId xmlns:a16="http://schemas.microsoft.com/office/drawing/2014/main" id="{425093F1-3B71-4D1C-80F1-A7B3A6BC7E54}"/>
                  </a:ext>
                </a:extLst>
              </p14:cNvPr>
              <p14:cNvContentPartPr/>
              <p14:nvPr/>
            </p14:nvContentPartPr>
            <p14:xfrm>
              <a:off x="495360" y="1066680"/>
              <a:ext cx="8320320" cy="4072320"/>
            </p14:xfrm>
          </p:contentPart>
        </mc:Choice>
        <mc:Fallback xmlns="">
          <p:pic>
            <p:nvPicPr>
              <p:cNvPr id="2" name="Ink 1">
                <a:extLst>
                  <a:ext uri="{FF2B5EF4-FFF2-40B4-BE49-F238E27FC236}">
                    <a16:creationId xmlns:a16="http://schemas.microsoft.com/office/drawing/2014/main" id="{425093F1-3B71-4D1C-80F1-A7B3A6BC7E54}"/>
                  </a:ext>
                </a:extLst>
              </p:cNvPr>
              <p:cNvPicPr/>
              <p:nvPr/>
            </p:nvPicPr>
            <p:blipFill>
              <a:blip r:embed="rId3"/>
              <a:stretch>
                <a:fillRect/>
              </a:stretch>
            </p:blipFill>
            <p:spPr>
              <a:xfrm>
                <a:off x="486000" y="1057320"/>
                <a:ext cx="8339040" cy="4091040"/>
              </a:xfrm>
              <a:prstGeom prst="rect">
                <a:avLst/>
              </a:prstGeom>
            </p:spPr>
          </p:pic>
        </mc:Fallback>
      </mc:AlternateContent>
    </p:spTree>
    <p:extLst>
      <p:ext uri="{BB962C8B-B14F-4D97-AF65-F5344CB8AC3E}">
        <p14:creationId xmlns:p14="http://schemas.microsoft.com/office/powerpoint/2010/main" val="1995959026"/>
      </p:ext>
    </p:extLst>
  </p:cSld>
  <p:clrMapOvr>
    <a:masterClrMapping/>
  </p:clrMapOvr>
  <p:transition spd="med">
    <p:wipe dir="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1BDE561-1E11-496C-86F7-9FC450554141}"/>
              </a:ext>
            </a:extLst>
          </p:cNvPr>
          <p:cNvSpPr>
            <a:spLocks noGrp="1"/>
          </p:cNvSpPr>
          <p:nvPr>
            <p:ph type="title"/>
          </p:nvPr>
        </p:nvSpPr>
        <p:spPr>
          <a:xfrm>
            <a:off x="0" y="27981"/>
            <a:ext cx="7955280" cy="640080"/>
          </a:xfrm>
        </p:spPr>
        <p:txBody>
          <a:bodyPr/>
          <a:lstStyle/>
          <a:p>
            <a:r>
              <a:rPr lang="en-US" dirty="0"/>
              <a:t>Grouping another example</a:t>
            </a:r>
          </a:p>
        </p:txBody>
      </p:sp>
      <p:sp>
        <p:nvSpPr>
          <p:cNvPr id="4" name="Content Placeholder 3">
            <a:extLst>
              <a:ext uri="{FF2B5EF4-FFF2-40B4-BE49-F238E27FC236}">
                <a16:creationId xmlns:a16="http://schemas.microsoft.com/office/drawing/2014/main" id="{835414F6-32F3-427B-8782-BB4FFF32D390}"/>
              </a:ext>
            </a:extLst>
          </p:cNvPr>
          <p:cNvSpPr>
            <a:spLocks noGrp="1"/>
          </p:cNvSpPr>
          <p:nvPr>
            <p:ph sz="half" idx="1"/>
          </p:nvPr>
        </p:nvSpPr>
        <p:spPr>
          <a:xfrm>
            <a:off x="0" y="528398"/>
            <a:ext cx="8890620" cy="3952860"/>
          </a:xfrm>
        </p:spPr>
        <p:txBody>
          <a:bodyPr>
            <a:normAutofit/>
          </a:bodyPr>
          <a:lstStyle/>
          <a:p>
            <a:r>
              <a:rPr lang="en-US" dirty="0">
                <a:solidFill>
                  <a:schemeClr val="bg2">
                    <a:lumMod val="50000"/>
                    <a:lumOff val="50000"/>
                  </a:schemeClr>
                </a:solidFill>
              </a:rPr>
              <a:t>Grouping also help to find what the typical values are when the real-world messes things up!</a:t>
            </a:r>
          </a:p>
          <a:p>
            <a:r>
              <a:rPr lang="en-US" dirty="0">
                <a:solidFill>
                  <a:schemeClr val="bg2">
                    <a:lumMod val="50000"/>
                    <a:lumOff val="50000"/>
                  </a:schemeClr>
                </a:solidFill>
              </a:rPr>
              <a:t>Ex : How long to load a truck?</a:t>
            </a:r>
          </a:p>
          <a:p>
            <a:r>
              <a:rPr lang="en-US" dirty="0">
                <a:solidFill>
                  <a:schemeClr val="bg2">
                    <a:lumMod val="50000"/>
                    <a:lumOff val="50000"/>
                  </a:schemeClr>
                </a:solidFill>
              </a:rPr>
              <a:t>Robert recorded how long it take to load a truck in minutes:</a:t>
            </a:r>
          </a:p>
          <a:p>
            <a:pPr lvl="2"/>
            <a:r>
              <a:rPr lang="en-US" sz="1400" dirty="0">
                <a:solidFill>
                  <a:schemeClr val="bg2">
                    <a:lumMod val="50000"/>
                    <a:lumOff val="50000"/>
                  </a:schemeClr>
                </a:solidFill>
              </a:rPr>
              <a:t>46, 47, 43, 53, 69, 67, 46, 50, 57, 58, 45, 48, 61</a:t>
            </a:r>
          </a:p>
          <a:p>
            <a:r>
              <a:rPr lang="en-US" dirty="0">
                <a:solidFill>
                  <a:schemeClr val="bg2">
                    <a:lumMod val="50000"/>
                    <a:lumOff val="50000"/>
                  </a:schemeClr>
                </a:solidFill>
              </a:rPr>
              <a:t>It takes longer when there is break time or lunch so an average is not very useful.</a:t>
            </a:r>
          </a:p>
          <a:p>
            <a:r>
              <a:rPr lang="en-US" dirty="0">
                <a:solidFill>
                  <a:schemeClr val="bg2">
                    <a:lumMod val="50000"/>
                    <a:lumOff val="50000"/>
                  </a:schemeClr>
                </a:solidFill>
              </a:rPr>
              <a:t>But grouping by 5s gives:</a:t>
            </a:r>
          </a:p>
          <a:p>
            <a:pPr marL="0" indent="0">
              <a:buNone/>
            </a:pPr>
            <a:endParaRPr lang="en-US" dirty="0">
              <a:solidFill>
                <a:schemeClr val="bg2">
                  <a:lumMod val="50000"/>
                  <a:lumOff val="50000"/>
                </a:schemeClr>
              </a:solidFill>
            </a:endParaRPr>
          </a:p>
          <a:p>
            <a:pPr>
              <a:lnSpc>
                <a:spcPct val="10000"/>
              </a:lnSpc>
            </a:pPr>
            <a:r>
              <a:rPr lang="en-US" dirty="0">
                <a:solidFill>
                  <a:schemeClr val="bg2">
                    <a:lumMod val="50000"/>
                    <a:lumOff val="50000"/>
                  </a:schemeClr>
                </a:solidFill>
              </a:rPr>
              <a:t>40 - 44 : 1</a:t>
            </a:r>
          </a:p>
          <a:p>
            <a:pPr>
              <a:lnSpc>
                <a:spcPct val="10000"/>
              </a:lnSpc>
            </a:pPr>
            <a:r>
              <a:rPr lang="en-US" dirty="0">
                <a:solidFill>
                  <a:schemeClr val="bg2">
                    <a:lumMod val="50000"/>
                    <a:lumOff val="50000"/>
                  </a:schemeClr>
                </a:solidFill>
              </a:rPr>
              <a:t>45 - 49 : 5</a:t>
            </a:r>
          </a:p>
          <a:p>
            <a:pPr>
              <a:lnSpc>
                <a:spcPct val="10000"/>
              </a:lnSpc>
            </a:pPr>
            <a:r>
              <a:rPr lang="en-US" dirty="0">
                <a:solidFill>
                  <a:schemeClr val="bg2">
                    <a:lumMod val="50000"/>
                    <a:lumOff val="50000"/>
                  </a:schemeClr>
                </a:solidFill>
              </a:rPr>
              <a:t>50 – 54 : 2</a:t>
            </a:r>
          </a:p>
          <a:p>
            <a:pPr>
              <a:lnSpc>
                <a:spcPct val="10000"/>
              </a:lnSpc>
            </a:pPr>
            <a:r>
              <a:rPr lang="en-US" dirty="0">
                <a:solidFill>
                  <a:schemeClr val="bg2">
                    <a:lumMod val="50000"/>
                    <a:lumOff val="50000"/>
                  </a:schemeClr>
                </a:solidFill>
              </a:rPr>
              <a:t>55 – 59 : 2</a:t>
            </a:r>
          </a:p>
          <a:p>
            <a:pPr>
              <a:lnSpc>
                <a:spcPct val="10000"/>
              </a:lnSpc>
            </a:pPr>
            <a:r>
              <a:rPr lang="en-US" dirty="0">
                <a:solidFill>
                  <a:schemeClr val="bg2">
                    <a:lumMod val="50000"/>
                    <a:lumOff val="50000"/>
                  </a:schemeClr>
                </a:solidFill>
              </a:rPr>
              <a:t>60 – 64 : 1</a:t>
            </a:r>
          </a:p>
          <a:p>
            <a:pPr>
              <a:lnSpc>
                <a:spcPct val="10000"/>
              </a:lnSpc>
            </a:pPr>
            <a:r>
              <a:rPr lang="en-US" dirty="0">
                <a:solidFill>
                  <a:schemeClr val="bg2">
                    <a:lumMod val="50000"/>
                    <a:lumOff val="50000"/>
                  </a:schemeClr>
                </a:solidFill>
              </a:rPr>
              <a:t>64 – 69 : 2</a:t>
            </a:r>
          </a:p>
          <a:p>
            <a:r>
              <a:rPr lang="en-US" dirty="0">
                <a:solidFill>
                  <a:schemeClr val="bg2">
                    <a:lumMod val="50000"/>
                    <a:lumOff val="50000"/>
                  </a:schemeClr>
                </a:solidFill>
              </a:rPr>
              <a:t>“45 – 49” appear most often, so we can say it normally take about 37 minutes to fill a pallet</a:t>
            </a:r>
          </a:p>
          <a:p>
            <a:endParaRPr lang="en-US" sz="1600" dirty="0"/>
          </a:p>
          <a:p>
            <a:pPr lvl="3"/>
            <a:endParaRPr lang="en-US" sz="1600" dirty="0"/>
          </a:p>
          <a:p>
            <a:pPr lvl="3"/>
            <a:endParaRPr lang="en-US" sz="1600" dirty="0"/>
          </a:p>
        </p:txBody>
      </p:sp>
      <p:pic>
        <p:nvPicPr>
          <p:cNvPr id="11" name="Picture 10" descr="A picture containing truck, green, road, sky&#10;&#10;Description automatically generated">
            <a:extLst>
              <a:ext uri="{FF2B5EF4-FFF2-40B4-BE49-F238E27FC236}">
                <a16:creationId xmlns:a16="http://schemas.microsoft.com/office/drawing/2014/main" id="{DFA02102-7297-4F45-88F7-388D314238A0}"/>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905209" y="2121966"/>
            <a:ext cx="3187834" cy="1793157"/>
          </a:xfrm>
          <a:prstGeom prst="rect">
            <a:avLst/>
          </a:prstGeom>
        </p:spPr>
      </p:pic>
      <mc:AlternateContent xmlns:mc="http://schemas.openxmlformats.org/markup-compatibility/2006" xmlns:p14="http://schemas.microsoft.com/office/powerpoint/2010/main">
        <mc:Choice Requires="p14">
          <p:contentPart p14:bwMode="auto" r:id="rId4">
            <p14:nvContentPartPr>
              <p14:cNvPr id="2" name="Ink 1">
                <a:extLst>
                  <a:ext uri="{FF2B5EF4-FFF2-40B4-BE49-F238E27FC236}">
                    <a16:creationId xmlns:a16="http://schemas.microsoft.com/office/drawing/2014/main" id="{8E47AD04-6378-49BB-8511-401DB560C3A7}"/>
                  </a:ext>
                </a:extLst>
              </p14:cNvPr>
              <p14:cNvContentPartPr/>
              <p14:nvPr/>
            </p14:nvContentPartPr>
            <p14:xfrm>
              <a:off x="81000" y="4680"/>
              <a:ext cx="9058680" cy="4663080"/>
            </p14:xfrm>
          </p:contentPart>
        </mc:Choice>
        <mc:Fallback xmlns="">
          <p:pic>
            <p:nvPicPr>
              <p:cNvPr id="2" name="Ink 1">
                <a:extLst>
                  <a:ext uri="{FF2B5EF4-FFF2-40B4-BE49-F238E27FC236}">
                    <a16:creationId xmlns:a16="http://schemas.microsoft.com/office/drawing/2014/main" id="{8E47AD04-6378-49BB-8511-401DB560C3A7}"/>
                  </a:ext>
                </a:extLst>
              </p:cNvPr>
              <p:cNvPicPr/>
              <p:nvPr/>
            </p:nvPicPr>
            <p:blipFill>
              <a:blip r:embed="rId5"/>
              <a:stretch>
                <a:fillRect/>
              </a:stretch>
            </p:blipFill>
            <p:spPr>
              <a:xfrm>
                <a:off x="71640" y="-4680"/>
                <a:ext cx="9077400" cy="4681800"/>
              </a:xfrm>
              <a:prstGeom prst="rect">
                <a:avLst/>
              </a:prstGeom>
            </p:spPr>
          </p:pic>
        </mc:Fallback>
      </mc:AlternateContent>
    </p:spTree>
    <p:extLst>
      <p:ext uri="{BB962C8B-B14F-4D97-AF65-F5344CB8AC3E}">
        <p14:creationId xmlns:p14="http://schemas.microsoft.com/office/powerpoint/2010/main" val="3831935352"/>
      </p:ext>
    </p:extLst>
  </p:cSld>
  <p:clrMapOvr>
    <a:masterClrMapping/>
  </p:clrMapOvr>
  <p:transition spd="med">
    <p:wipe dir="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3E6B03A-C11B-445A-B3EE-89676853E2DC}"/>
              </a:ext>
            </a:extLst>
          </p:cNvPr>
          <p:cNvSpPr>
            <a:spLocks noGrp="1"/>
          </p:cNvSpPr>
          <p:nvPr>
            <p:ph type="title"/>
          </p:nvPr>
        </p:nvSpPr>
        <p:spPr>
          <a:xfrm>
            <a:off x="92835" y="90401"/>
            <a:ext cx="7955280" cy="640080"/>
          </a:xfrm>
        </p:spPr>
        <p:txBody>
          <a:bodyPr/>
          <a:lstStyle/>
          <a:p>
            <a:r>
              <a:rPr lang="en-US" dirty="0"/>
              <a:t>Outlier </a:t>
            </a:r>
          </a:p>
        </p:txBody>
      </p:sp>
      <p:sp>
        <p:nvSpPr>
          <p:cNvPr id="4" name="Content Placeholder 3">
            <a:extLst>
              <a:ext uri="{FF2B5EF4-FFF2-40B4-BE49-F238E27FC236}">
                <a16:creationId xmlns:a16="http://schemas.microsoft.com/office/drawing/2014/main" id="{CB5A1369-CDB1-4F9B-ADBB-7DB33F294B4E}"/>
              </a:ext>
            </a:extLst>
          </p:cNvPr>
          <p:cNvSpPr>
            <a:spLocks noGrp="1"/>
          </p:cNvSpPr>
          <p:nvPr>
            <p:ph sz="half" idx="1"/>
          </p:nvPr>
        </p:nvSpPr>
        <p:spPr>
          <a:xfrm>
            <a:off x="197539" y="650990"/>
            <a:ext cx="7955280" cy="3841519"/>
          </a:xfrm>
        </p:spPr>
        <p:txBody>
          <a:bodyPr/>
          <a:lstStyle/>
          <a:p>
            <a:r>
              <a:rPr lang="en-US" dirty="0">
                <a:solidFill>
                  <a:schemeClr val="bg2">
                    <a:lumMod val="50000"/>
                    <a:lumOff val="50000"/>
                  </a:schemeClr>
                </a:solidFill>
                <a:latin typeface="Inter"/>
              </a:rPr>
              <a:t>A value that "lies outside" (is much smaller or larger than) most of the other values in a set of data. They can change the mean a lot, so we can either not used them or use mean median mode instead.</a:t>
            </a:r>
          </a:p>
          <a:p>
            <a:r>
              <a:rPr lang="en-US" dirty="0">
                <a:solidFill>
                  <a:schemeClr val="bg2">
                    <a:lumMod val="50000"/>
                    <a:lumOff val="50000"/>
                  </a:schemeClr>
                </a:solidFill>
                <a:latin typeface="Inter"/>
              </a:rPr>
              <a:t>Ex : In this set of random numbers, 1 and 201 are outliers:</a:t>
            </a:r>
          </a:p>
          <a:p>
            <a:pPr lvl="1"/>
            <a:r>
              <a:rPr lang="en-US" dirty="0">
                <a:solidFill>
                  <a:schemeClr val="bg2">
                    <a:lumMod val="50000"/>
                    <a:lumOff val="50000"/>
                  </a:schemeClr>
                </a:solidFill>
                <a:latin typeface="Inter"/>
              </a:rPr>
              <a:t>1, 99, 100, 101, 103, 109, 110, 201</a:t>
            </a:r>
          </a:p>
          <a:p>
            <a:pPr lvl="1"/>
            <a:r>
              <a:rPr lang="en-US" dirty="0">
                <a:solidFill>
                  <a:schemeClr val="bg2">
                    <a:lumMod val="50000"/>
                    <a:lumOff val="50000"/>
                  </a:schemeClr>
                </a:solidFill>
                <a:latin typeface="Inter"/>
              </a:rPr>
              <a:t>“1” is an extremely low value and “201” is an extremely high value.</a:t>
            </a:r>
          </a:p>
          <a:p>
            <a:r>
              <a:rPr lang="en-US" dirty="0">
                <a:solidFill>
                  <a:schemeClr val="bg2">
                    <a:lumMod val="50000"/>
                    <a:lumOff val="50000"/>
                  </a:schemeClr>
                </a:solidFill>
                <a:latin typeface="Inter"/>
              </a:rPr>
              <a:t>Outliers aren’t always that obvious. Let’s say you received the following paychecks last month:</a:t>
            </a:r>
          </a:p>
          <a:p>
            <a:pPr lvl="1"/>
            <a:r>
              <a:rPr lang="en-US" dirty="0">
                <a:solidFill>
                  <a:schemeClr val="bg2">
                    <a:lumMod val="50000"/>
                    <a:lumOff val="50000"/>
                  </a:schemeClr>
                </a:solidFill>
                <a:latin typeface="Inter"/>
              </a:rPr>
              <a:t>$225, $250, $25, $235.</a:t>
            </a:r>
          </a:p>
          <a:p>
            <a:pPr lvl="1"/>
            <a:r>
              <a:rPr lang="en-US" dirty="0">
                <a:solidFill>
                  <a:schemeClr val="bg2">
                    <a:lumMod val="50000"/>
                    <a:lumOff val="50000"/>
                  </a:schemeClr>
                </a:solidFill>
                <a:latin typeface="Inter"/>
              </a:rPr>
              <a:t>Your average paycheck is $135. But that small paycheck ($25) might be because you went on vacation, so a weekly paycheck average of $135 isn’t a true reflection of how much you earned. Your average is actually closer to $237 if you take the outlier ($25) out of the set.</a:t>
            </a:r>
          </a:p>
          <a:p>
            <a:r>
              <a:rPr lang="en-US" dirty="0">
                <a:solidFill>
                  <a:schemeClr val="bg2">
                    <a:lumMod val="50000"/>
                    <a:lumOff val="50000"/>
                  </a:schemeClr>
                </a:solidFill>
                <a:latin typeface="Inter"/>
              </a:rPr>
              <a:t>Age of students studying Data science in Board Infinity</a:t>
            </a:r>
          </a:p>
          <a:p>
            <a:pPr lvl="1"/>
            <a:r>
              <a:rPr lang="en-US" dirty="0">
                <a:solidFill>
                  <a:schemeClr val="bg2">
                    <a:lumMod val="50000"/>
                    <a:lumOff val="50000"/>
                  </a:schemeClr>
                </a:solidFill>
                <a:latin typeface="Inter"/>
              </a:rPr>
              <a:t>Ex : </a:t>
            </a:r>
          </a:p>
          <a:p>
            <a:pPr lvl="1"/>
            <a:endParaRPr lang="en-US" dirty="0"/>
          </a:p>
        </p:txBody>
      </p:sp>
      <mc:AlternateContent xmlns:mc="http://schemas.openxmlformats.org/markup-compatibility/2006" xmlns:p14="http://schemas.microsoft.com/office/powerpoint/2010/main">
        <mc:Choice Requires="p14">
          <p:contentPart p14:bwMode="auto" r:id="rId2">
            <p14:nvContentPartPr>
              <p14:cNvPr id="2" name="Ink 1">
                <a:extLst>
                  <a:ext uri="{FF2B5EF4-FFF2-40B4-BE49-F238E27FC236}">
                    <a16:creationId xmlns:a16="http://schemas.microsoft.com/office/drawing/2014/main" id="{850007FB-72BE-470D-B22D-4494643D0D73}"/>
                  </a:ext>
                </a:extLst>
              </p14:cNvPr>
              <p14:cNvContentPartPr/>
              <p14:nvPr/>
            </p14:nvContentPartPr>
            <p14:xfrm>
              <a:off x="128520" y="452520"/>
              <a:ext cx="8953920" cy="4667400"/>
            </p14:xfrm>
          </p:contentPart>
        </mc:Choice>
        <mc:Fallback xmlns="">
          <p:pic>
            <p:nvPicPr>
              <p:cNvPr id="2" name="Ink 1">
                <a:extLst>
                  <a:ext uri="{FF2B5EF4-FFF2-40B4-BE49-F238E27FC236}">
                    <a16:creationId xmlns:a16="http://schemas.microsoft.com/office/drawing/2014/main" id="{850007FB-72BE-470D-B22D-4494643D0D73}"/>
                  </a:ext>
                </a:extLst>
              </p:cNvPr>
              <p:cNvPicPr/>
              <p:nvPr/>
            </p:nvPicPr>
            <p:blipFill>
              <a:blip r:embed="rId3"/>
              <a:stretch>
                <a:fillRect/>
              </a:stretch>
            </p:blipFill>
            <p:spPr>
              <a:xfrm>
                <a:off x="119160" y="443160"/>
                <a:ext cx="8972640" cy="4686120"/>
              </a:xfrm>
              <a:prstGeom prst="rect">
                <a:avLst/>
              </a:prstGeom>
            </p:spPr>
          </p:pic>
        </mc:Fallback>
      </mc:AlternateContent>
    </p:spTree>
    <p:extLst>
      <p:ext uri="{BB962C8B-B14F-4D97-AF65-F5344CB8AC3E}">
        <p14:creationId xmlns:p14="http://schemas.microsoft.com/office/powerpoint/2010/main" val="1048263595"/>
      </p:ext>
    </p:extLst>
  </p:cSld>
  <p:clrMapOvr>
    <a:masterClrMapping/>
  </p:clrMapOvr>
  <p:transition spd="med">
    <p:wipe dir="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BFC4D7A-EB20-44C5-815F-C0641D331487}"/>
              </a:ext>
            </a:extLst>
          </p:cNvPr>
          <p:cNvSpPr>
            <a:spLocks noGrp="1"/>
          </p:cNvSpPr>
          <p:nvPr>
            <p:ph type="title"/>
          </p:nvPr>
        </p:nvSpPr>
        <p:spPr/>
        <p:txBody>
          <a:bodyPr/>
          <a:lstStyle/>
          <a:p>
            <a:r>
              <a:rPr lang="en-US" dirty="0"/>
              <a:t>Outlier </a:t>
            </a:r>
            <a:r>
              <a:rPr lang="en-US" dirty="0">
                <a:solidFill>
                  <a:schemeClr val="bg2">
                    <a:lumMod val="50000"/>
                    <a:lumOff val="50000"/>
                  </a:schemeClr>
                </a:solidFill>
              </a:rPr>
              <a:t>-</a:t>
            </a:r>
            <a:r>
              <a:rPr lang="en-US" dirty="0"/>
              <a:t> </a:t>
            </a:r>
            <a:r>
              <a:rPr lang="en-US" dirty="0">
                <a:solidFill>
                  <a:schemeClr val="bg2">
                    <a:lumMod val="50000"/>
                    <a:lumOff val="50000"/>
                  </a:schemeClr>
                </a:solidFill>
              </a:rPr>
              <a:t>continued</a:t>
            </a:r>
          </a:p>
        </p:txBody>
      </p:sp>
      <p:pic>
        <p:nvPicPr>
          <p:cNvPr id="6" name="Content Placeholder 5">
            <a:extLst>
              <a:ext uri="{FF2B5EF4-FFF2-40B4-BE49-F238E27FC236}">
                <a16:creationId xmlns:a16="http://schemas.microsoft.com/office/drawing/2014/main" id="{2B7093CC-771B-4C73-A0DC-D3F5C3CE8DED}"/>
              </a:ext>
            </a:extLst>
          </p:cNvPr>
          <p:cNvPicPr>
            <a:picLocks noGrp="1" noChangeAspect="1"/>
          </p:cNvPicPr>
          <p:nvPr>
            <p:ph sz="half" idx="1"/>
          </p:nvPr>
        </p:nvPicPr>
        <p:blipFill>
          <a:blip r:embed="rId2"/>
          <a:stretch>
            <a:fillRect/>
          </a:stretch>
        </p:blipFill>
        <p:spPr>
          <a:xfrm>
            <a:off x="4517801" y="49000"/>
            <a:ext cx="4229100" cy="542925"/>
          </a:xfrm>
        </p:spPr>
      </p:pic>
      <p:grpSp>
        <p:nvGrpSpPr>
          <p:cNvPr id="47" name="Group 46">
            <a:extLst>
              <a:ext uri="{FF2B5EF4-FFF2-40B4-BE49-F238E27FC236}">
                <a16:creationId xmlns:a16="http://schemas.microsoft.com/office/drawing/2014/main" id="{2A49F424-6475-4B80-B98E-BC7A187747C0}"/>
              </a:ext>
            </a:extLst>
          </p:cNvPr>
          <p:cNvGrpSpPr/>
          <p:nvPr/>
        </p:nvGrpSpPr>
        <p:grpSpPr>
          <a:xfrm>
            <a:off x="4879377" y="467558"/>
            <a:ext cx="112680" cy="159840"/>
            <a:chOff x="4879377" y="467558"/>
            <a:chExt cx="112680" cy="159840"/>
          </a:xfrm>
        </p:grpSpPr>
        <mc:AlternateContent xmlns:mc="http://schemas.openxmlformats.org/markup-compatibility/2006" xmlns:p14="http://schemas.microsoft.com/office/powerpoint/2010/main">
          <mc:Choice Requires="p14">
            <p:contentPart p14:bwMode="auto" r:id="rId3">
              <p14:nvContentPartPr>
                <p14:cNvPr id="7" name="Ink 6">
                  <a:extLst>
                    <a:ext uri="{FF2B5EF4-FFF2-40B4-BE49-F238E27FC236}">
                      <a16:creationId xmlns:a16="http://schemas.microsoft.com/office/drawing/2014/main" id="{A3C6882A-8F86-4203-BC54-CC76A101CAD1}"/>
                    </a:ext>
                  </a:extLst>
                </p14:cNvPr>
                <p14:cNvContentPartPr/>
                <p14:nvPr/>
              </p14:nvContentPartPr>
              <p14:xfrm>
                <a:off x="4879377" y="537038"/>
                <a:ext cx="13680" cy="90360"/>
              </p14:xfrm>
            </p:contentPart>
          </mc:Choice>
          <mc:Fallback xmlns="">
            <p:pic>
              <p:nvPicPr>
                <p:cNvPr id="7" name="Ink 6">
                  <a:extLst>
                    <a:ext uri="{FF2B5EF4-FFF2-40B4-BE49-F238E27FC236}">
                      <a16:creationId xmlns:a16="http://schemas.microsoft.com/office/drawing/2014/main" id="{A3C6882A-8F86-4203-BC54-CC76A101CAD1}"/>
                    </a:ext>
                  </a:extLst>
                </p:cNvPr>
                <p:cNvPicPr/>
                <p:nvPr/>
              </p:nvPicPr>
              <p:blipFill>
                <a:blip r:embed="rId4"/>
                <a:stretch>
                  <a:fillRect/>
                </a:stretch>
              </p:blipFill>
              <p:spPr>
                <a:xfrm>
                  <a:off x="4875057" y="532718"/>
                  <a:ext cx="22320" cy="9900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8" name="Ink 7">
                  <a:extLst>
                    <a:ext uri="{FF2B5EF4-FFF2-40B4-BE49-F238E27FC236}">
                      <a16:creationId xmlns:a16="http://schemas.microsoft.com/office/drawing/2014/main" id="{EBEB0D83-5163-4079-A7FB-019746BE0D7F}"/>
                    </a:ext>
                  </a:extLst>
                </p14:cNvPr>
                <p14:cNvContentPartPr/>
                <p14:nvPr/>
              </p14:nvContentPartPr>
              <p14:xfrm>
                <a:off x="4915017" y="544238"/>
                <a:ext cx="77040" cy="78840"/>
              </p14:xfrm>
            </p:contentPart>
          </mc:Choice>
          <mc:Fallback xmlns="">
            <p:pic>
              <p:nvPicPr>
                <p:cNvPr id="8" name="Ink 7">
                  <a:extLst>
                    <a:ext uri="{FF2B5EF4-FFF2-40B4-BE49-F238E27FC236}">
                      <a16:creationId xmlns:a16="http://schemas.microsoft.com/office/drawing/2014/main" id="{EBEB0D83-5163-4079-A7FB-019746BE0D7F}"/>
                    </a:ext>
                  </a:extLst>
                </p:cNvPr>
                <p:cNvPicPr/>
                <p:nvPr/>
              </p:nvPicPr>
              <p:blipFill>
                <a:blip r:embed="rId6"/>
                <a:stretch>
                  <a:fillRect/>
                </a:stretch>
              </p:blipFill>
              <p:spPr>
                <a:xfrm>
                  <a:off x="4910697" y="539918"/>
                  <a:ext cx="85680" cy="8748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41" name="Ink 40">
                  <a:extLst>
                    <a:ext uri="{FF2B5EF4-FFF2-40B4-BE49-F238E27FC236}">
                      <a16:creationId xmlns:a16="http://schemas.microsoft.com/office/drawing/2014/main" id="{9B996CA9-706D-4868-8DFB-7818048A6F32}"/>
                    </a:ext>
                  </a:extLst>
                </p14:cNvPr>
                <p14:cNvContentPartPr/>
                <p14:nvPr/>
              </p14:nvContentPartPr>
              <p14:xfrm>
                <a:off x="4951017" y="467558"/>
                <a:ext cx="18720" cy="55080"/>
              </p14:xfrm>
            </p:contentPart>
          </mc:Choice>
          <mc:Fallback xmlns="">
            <p:pic>
              <p:nvPicPr>
                <p:cNvPr id="41" name="Ink 40">
                  <a:extLst>
                    <a:ext uri="{FF2B5EF4-FFF2-40B4-BE49-F238E27FC236}">
                      <a16:creationId xmlns:a16="http://schemas.microsoft.com/office/drawing/2014/main" id="{9B996CA9-706D-4868-8DFB-7818048A6F32}"/>
                    </a:ext>
                  </a:extLst>
                </p:cNvPr>
                <p:cNvPicPr/>
                <p:nvPr/>
              </p:nvPicPr>
              <p:blipFill>
                <a:blip r:embed="rId8"/>
                <a:stretch>
                  <a:fillRect/>
                </a:stretch>
              </p:blipFill>
              <p:spPr>
                <a:xfrm>
                  <a:off x="4946697" y="463238"/>
                  <a:ext cx="27360" cy="63720"/>
                </a:xfrm>
                <a:prstGeom prst="rect">
                  <a:avLst/>
                </a:prstGeom>
              </p:spPr>
            </p:pic>
          </mc:Fallback>
        </mc:AlternateContent>
      </p:grpSp>
      <p:grpSp>
        <p:nvGrpSpPr>
          <p:cNvPr id="46" name="Group 45">
            <a:extLst>
              <a:ext uri="{FF2B5EF4-FFF2-40B4-BE49-F238E27FC236}">
                <a16:creationId xmlns:a16="http://schemas.microsoft.com/office/drawing/2014/main" id="{982482D8-1D90-4954-A22B-C99127ED1CC2}"/>
              </a:ext>
            </a:extLst>
          </p:cNvPr>
          <p:cNvGrpSpPr/>
          <p:nvPr/>
        </p:nvGrpSpPr>
        <p:grpSpPr>
          <a:xfrm>
            <a:off x="5101857" y="481238"/>
            <a:ext cx="98640" cy="162720"/>
            <a:chOff x="5101857" y="481238"/>
            <a:chExt cx="98640" cy="162720"/>
          </a:xfrm>
        </p:grpSpPr>
        <mc:AlternateContent xmlns:mc="http://schemas.openxmlformats.org/markup-compatibility/2006" xmlns:p14="http://schemas.microsoft.com/office/powerpoint/2010/main">
          <mc:Choice Requires="p14">
            <p:contentPart p14:bwMode="auto" r:id="rId9">
              <p14:nvContentPartPr>
                <p14:cNvPr id="10" name="Ink 9">
                  <a:extLst>
                    <a:ext uri="{FF2B5EF4-FFF2-40B4-BE49-F238E27FC236}">
                      <a16:creationId xmlns:a16="http://schemas.microsoft.com/office/drawing/2014/main" id="{6A7A2615-AD9A-4AAB-8E31-8819C563683E}"/>
                    </a:ext>
                  </a:extLst>
                </p14:cNvPr>
                <p14:cNvContentPartPr/>
                <p14:nvPr/>
              </p14:nvContentPartPr>
              <p14:xfrm>
                <a:off x="5101857" y="578798"/>
                <a:ext cx="48240" cy="65160"/>
              </p14:xfrm>
            </p:contentPart>
          </mc:Choice>
          <mc:Fallback xmlns="">
            <p:pic>
              <p:nvPicPr>
                <p:cNvPr id="10" name="Ink 9">
                  <a:extLst>
                    <a:ext uri="{FF2B5EF4-FFF2-40B4-BE49-F238E27FC236}">
                      <a16:creationId xmlns:a16="http://schemas.microsoft.com/office/drawing/2014/main" id="{6A7A2615-AD9A-4AAB-8E31-8819C563683E}"/>
                    </a:ext>
                  </a:extLst>
                </p:cNvPr>
                <p:cNvPicPr/>
                <p:nvPr/>
              </p:nvPicPr>
              <p:blipFill>
                <a:blip r:embed="rId10"/>
                <a:stretch>
                  <a:fillRect/>
                </a:stretch>
              </p:blipFill>
              <p:spPr>
                <a:xfrm>
                  <a:off x="5097537" y="574478"/>
                  <a:ext cx="56880" cy="7380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1" name="Ink 10">
                  <a:extLst>
                    <a:ext uri="{FF2B5EF4-FFF2-40B4-BE49-F238E27FC236}">
                      <a16:creationId xmlns:a16="http://schemas.microsoft.com/office/drawing/2014/main" id="{9E501B2A-6CC0-4031-974F-93C2E718C905}"/>
                    </a:ext>
                  </a:extLst>
                </p14:cNvPr>
                <p14:cNvContentPartPr/>
                <p14:nvPr/>
              </p14:nvContentPartPr>
              <p14:xfrm>
                <a:off x="5167017" y="579158"/>
                <a:ext cx="31680" cy="45000"/>
              </p14:xfrm>
            </p:contentPart>
          </mc:Choice>
          <mc:Fallback xmlns="">
            <p:pic>
              <p:nvPicPr>
                <p:cNvPr id="11" name="Ink 10">
                  <a:extLst>
                    <a:ext uri="{FF2B5EF4-FFF2-40B4-BE49-F238E27FC236}">
                      <a16:creationId xmlns:a16="http://schemas.microsoft.com/office/drawing/2014/main" id="{9E501B2A-6CC0-4031-974F-93C2E718C905}"/>
                    </a:ext>
                  </a:extLst>
                </p:cNvPr>
                <p:cNvPicPr/>
                <p:nvPr/>
              </p:nvPicPr>
              <p:blipFill>
                <a:blip r:embed="rId12"/>
                <a:stretch>
                  <a:fillRect/>
                </a:stretch>
              </p:blipFill>
              <p:spPr>
                <a:xfrm>
                  <a:off x="5162697" y="574838"/>
                  <a:ext cx="40320" cy="5364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42" name="Ink 41">
                  <a:extLst>
                    <a:ext uri="{FF2B5EF4-FFF2-40B4-BE49-F238E27FC236}">
                      <a16:creationId xmlns:a16="http://schemas.microsoft.com/office/drawing/2014/main" id="{3B6C7FA6-96D7-4628-BDF7-0A7E1758641E}"/>
                    </a:ext>
                  </a:extLst>
                </p14:cNvPr>
                <p14:cNvContentPartPr/>
                <p14:nvPr/>
              </p14:nvContentPartPr>
              <p14:xfrm>
                <a:off x="5193657" y="481238"/>
                <a:ext cx="6840" cy="25920"/>
              </p14:xfrm>
            </p:contentPart>
          </mc:Choice>
          <mc:Fallback xmlns="">
            <p:pic>
              <p:nvPicPr>
                <p:cNvPr id="42" name="Ink 41">
                  <a:extLst>
                    <a:ext uri="{FF2B5EF4-FFF2-40B4-BE49-F238E27FC236}">
                      <a16:creationId xmlns:a16="http://schemas.microsoft.com/office/drawing/2014/main" id="{3B6C7FA6-96D7-4628-BDF7-0A7E1758641E}"/>
                    </a:ext>
                  </a:extLst>
                </p:cNvPr>
                <p:cNvPicPr/>
                <p:nvPr/>
              </p:nvPicPr>
              <p:blipFill>
                <a:blip r:embed="rId14"/>
                <a:stretch>
                  <a:fillRect/>
                </a:stretch>
              </p:blipFill>
              <p:spPr>
                <a:xfrm>
                  <a:off x="5189337" y="476918"/>
                  <a:ext cx="15480" cy="34560"/>
                </a:xfrm>
                <a:prstGeom prst="rect">
                  <a:avLst/>
                </a:prstGeom>
              </p:spPr>
            </p:pic>
          </mc:Fallback>
        </mc:AlternateContent>
      </p:grpSp>
      <p:grpSp>
        <p:nvGrpSpPr>
          <p:cNvPr id="87" name="Group 86">
            <a:extLst>
              <a:ext uri="{FF2B5EF4-FFF2-40B4-BE49-F238E27FC236}">
                <a16:creationId xmlns:a16="http://schemas.microsoft.com/office/drawing/2014/main" id="{BE899715-DE73-45A2-8FA6-329D11A9AB88}"/>
              </a:ext>
            </a:extLst>
          </p:cNvPr>
          <p:cNvGrpSpPr/>
          <p:nvPr/>
        </p:nvGrpSpPr>
        <p:grpSpPr>
          <a:xfrm>
            <a:off x="5362137" y="467558"/>
            <a:ext cx="968040" cy="189360"/>
            <a:chOff x="5362137" y="467558"/>
            <a:chExt cx="968040" cy="189360"/>
          </a:xfrm>
        </p:grpSpPr>
        <mc:AlternateContent xmlns:mc="http://schemas.openxmlformats.org/markup-compatibility/2006" xmlns:p14="http://schemas.microsoft.com/office/powerpoint/2010/main">
          <mc:Choice Requires="p14">
            <p:contentPart p14:bwMode="auto" r:id="rId15">
              <p14:nvContentPartPr>
                <p14:cNvPr id="58" name="Ink 57">
                  <a:extLst>
                    <a:ext uri="{FF2B5EF4-FFF2-40B4-BE49-F238E27FC236}">
                      <a16:creationId xmlns:a16="http://schemas.microsoft.com/office/drawing/2014/main" id="{1C92FB37-4929-4EFC-A012-AF8F501A4E2F}"/>
                    </a:ext>
                  </a:extLst>
                </p14:cNvPr>
                <p14:cNvContentPartPr/>
                <p14:nvPr/>
              </p14:nvContentPartPr>
              <p14:xfrm>
                <a:off x="5362137" y="565118"/>
                <a:ext cx="52920" cy="91800"/>
              </p14:xfrm>
            </p:contentPart>
          </mc:Choice>
          <mc:Fallback xmlns="">
            <p:pic>
              <p:nvPicPr>
                <p:cNvPr id="58" name="Ink 57">
                  <a:extLst>
                    <a:ext uri="{FF2B5EF4-FFF2-40B4-BE49-F238E27FC236}">
                      <a16:creationId xmlns:a16="http://schemas.microsoft.com/office/drawing/2014/main" id="{1C92FB37-4929-4EFC-A012-AF8F501A4E2F}"/>
                    </a:ext>
                  </a:extLst>
                </p:cNvPr>
                <p:cNvPicPr/>
                <p:nvPr/>
              </p:nvPicPr>
              <p:blipFill>
                <a:blip r:embed="rId16"/>
                <a:stretch>
                  <a:fillRect/>
                </a:stretch>
              </p:blipFill>
              <p:spPr>
                <a:xfrm>
                  <a:off x="5357817" y="560798"/>
                  <a:ext cx="61560" cy="10044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59" name="Ink 58">
                  <a:extLst>
                    <a:ext uri="{FF2B5EF4-FFF2-40B4-BE49-F238E27FC236}">
                      <a16:creationId xmlns:a16="http://schemas.microsoft.com/office/drawing/2014/main" id="{2CF6E14A-C62A-4911-B466-F65E664E95BE}"/>
                    </a:ext>
                  </a:extLst>
                </p14:cNvPr>
                <p14:cNvContentPartPr/>
                <p14:nvPr/>
              </p14:nvContentPartPr>
              <p14:xfrm>
                <a:off x="5417217" y="591398"/>
                <a:ext cx="58680" cy="51120"/>
              </p14:xfrm>
            </p:contentPart>
          </mc:Choice>
          <mc:Fallback xmlns="">
            <p:pic>
              <p:nvPicPr>
                <p:cNvPr id="59" name="Ink 58">
                  <a:extLst>
                    <a:ext uri="{FF2B5EF4-FFF2-40B4-BE49-F238E27FC236}">
                      <a16:creationId xmlns:a16="http://schemas.microsoft.com/office/drawing/2014/main" id="{2CF6E14A-C62A-4911-B466-F65E664E95BE}"/>
                    </a:ext>
                  </a:extLst>
                </p:cNvPr>
                <p:cNvPicPr/>
                <p:nvPr/>
              </p:nvPicPr>
              <p:blipFill>
                <a:blip r:embed="rId18"/>
                <a:stretch>
                  <a:fillRect/>
                </a:stretch>
              </p:blipFill>
              <p:spPr>
                <a:xfrm>
                  <a:off x="5412897" y="587078"/>
                  <a:ext cx="67320" cy="5976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60" name="Ink 59">
                  <a:extLst>
                    <a:ext uri="{FF2B5EF4-FFF2-40B4-BE49-F238E27FC236}">
                      <a16:creationId xmlns:a16="http://schemas.microsoft.com/office/drawing/2014/main" id="{55A31FE8-11C6-4F98-8F27-ABE798ED5899}"/>
                    </a:ext>
                  </a:extLst>
                </p14:cNvPr>
                <p14:cNvContentPartPr/>
                <p14:nvPr/>
              </p14:nvContentPartPr>
              <p14:xfrm>
                <a:off x="5554017" y="579158"/>
                <a:ext cx="71280" cy="56880"/>
              </p14:xfrm>
            </p:contentPart>
          </mc:Choice>
          <mc:Fallback xmlns="">
            <p:pic>
              <p:nvPicPr>
                <p:cNvPr id="60" name="Ink 59">
                  <a:extLst>
                    <a:ext uri="{FF2B5EF4-FFF2-40B4-BE49-F238E27FC236}">
                      <a16:creationId xmlns:a16="http://schemas.microsoft.com/office/drawing/2014/main" id="{55A31FE8-11C6-4F98-8F27-ABE798ED5899}"/>
                    </a:ext>
                  </a:extLst>
                </p:cNvPr>
                <p:cNvPicPr/>
                <p:nvPr/>
              </p:nvPicPr>
              <p:blipFill>
                <a:blip r:embed="rId20"/>
                <a:stretch>
                  <a:fillRect/>
                </a:stretch>
              </p:blipFill>
              <p:spPr>
                <a:xfrm>
                  <a:off x="5549697" y="574838"/>
                  <a:ext cx="79920" cy="6552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61" name="Ink 60">
                  <a:extLst>
                    <a:ext uri="{FF2B5EF4-FFF2-40B4-BE49-F238E27FC236}">
                      <a16:creationId xmlns:a16="http://schemas.microsoft.com/office/drawing/2014/main" id="{66CD1D88-B354-4D51-B6E2-2FB10B3EB2BB}"/>
                    </a:ext>
                  </a:extLst>
                </p14:cNvPr>
                <p14:cNvContentPartPr/>
                <p14:nvPr/>
              </p14:nvContentPartPr>
              <p14:xfrm>
                <a:off x="5569497" y="585638"/>
                <a:ext cx="14760" cy="62640"/>
              </p14:xfrm>
            </p:contentPart>
          </mc:Choice>
          <mc:Fallback xmlns="">
            <p:pic>
              <p:nvPicPr>
                <p:cNvPr id="61" name="Ink 60">
                  <a:extLst>
                    <a:ext uri="{FF2B5EF4-FFF2-40B4-BE49-F238E27FC236}">
                      <a16:creationId xmlns:a16="http://schemas.microsoft.com/office/drawing/2014/main" id="{66CD1D88-B354-4D51-B6E2-2FB10B3EB2BB}"/>
                    </a:ext>
                  </a:extLst>
                </p:cNvPr>
                <p:cNvPicPr/>
                <p:nvPr/>
              </p:nvPicPr>
              <p:blipFill>
                <a:blip r:embed="rId22"/>
                <a:stretch>
                  <a:fillRect/>
                </a:stretch>
              </p:blipFill>
              <p:spPr>
                <a:xfrm>
                  <a:off x="5565177" y="581318"/>
                  <a:ext cx="23400" cy="7128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62" name="Ink 61">
                  <a:extLst>
                    <a:ext uri="{FF2B5EF4-FFF2-40B4-BE49-F238E27FC236}">
                      <a16:creationId xmlns:a16="http://schemas.microsoft.com/office/drawing/2014/main" id="{08D5FAAD-DCEA-4BCC-89E5-1F42BE1A5F81}"/>
                    </a:ext>
                  </a:extLst>
                </p14:cNvPr>
                <p14:cNvContentPartPr/>
                <p14:nvPr/>
              </p14:nvContentPartPr>
              <p14:xfrm>
                <a:off x="5633217" y="591758"/>
                <a:ext cx="41760" cy="41400"/>
              </p14:xfrm>
            </p:contentPart>
          </mc:Choice>
          <mc:Fallback xmlns="">
            <p:pic>
              <p:nvPicPr>
                <p:cNvPr id="62" name="Ink 61">
                  <a:extLst>
                    <a:ext uri="{FF2B5EF4-FFF2-40B4-BE49-F238E27FC236}">
                      <a16:creationId xmlns:a16="http://schemas.microsoft.com/office/drawing/2014/main" id="{08D5FAAD-DCEA-4BCC-89E5-1F42BE1A5F81}"/>
                    </a:ext>
                  </a:extLst>
                </p:cNvPr>
                <p:cNvPicPr/>
                <p:nvPr/>
              </p:nvPicPr>
              <p:blipFill>
                <a:blip r:embed="rId24"/>
                <a:stretch>
                  <a:fillRect/>
                </a:stretch>
              </p:blipFill>
              <p:spPr>
                <a:xfrm>
                  <a:off x="5628897" y="587438"/>
                  <a:ext cx="50400" cy="5004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63" name="Ink 62">
                  <a:extLst>
                    <a:ext uri="{FF2B5EF4-FFF2-40B4-BE49-F238E27FC236}">
                      <a16:creationId xmlns:a16="http://schemas.microsoft.com/office/drawing/2014/main" id="{53C08174-945B-4BD7-8DBB-33A9EFB19EAF}"/>
                    </a:ext>
                  </a:extLst>
                </p14:cNvPr>
                <p14:cNvContentPartPr/>
                <p14:nvPr/>
              </p14:nvContentPartPr>
              <p14:xfrm>
                <a:off x="5742297" y="571958"/>
                <a:ext cx="57240" cy="64440"/>
              </p14:xfrm>
            </p:contentPart>
          </mc:Choice>
          <mc:Fallback xmlns="">
            <p:pic>
              <p:nvPicPr>
                <p:cNvPr id="63" name="Ink 62">
                  <a:extLst>
                    <a:ext uri="{FF2B5EF4-FFF2-40B4-BE49-F238E27FC236}">
                      <a16:creationId xmlns:a16="http://schemas.microsoft.com/office/drawing/2014/main" id="{53C08174-945B-4BD7-8DBB-33A9EFB19EAF}"/>
                    </a:ext>
                  </a:extLst>
                </p:cNvPr>
                <p:cNvPicPr/>
                <p:nvPr/>
              </p:nvPicPr>
              <p:blipFill>
                <a:blip r:embed="rId26"/>
                <a:stretch>
                  <a:fillRect/>
                </a:stretch>
              </p:blipFill>
              <p:spPr>
                <a:xfrm>
                  <a:off x="5737977" y="567638"/>
                  <a:ext cx="65880" cy="73080"/>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64" name="Ink 63">
                  <a:extLst>
                    <a:ext uri="{FF2B5EF4-FFF2-40B4-BE49-F238E27FC236}">
                      <a16:creationId xmlns:a16="http://schemas.microsoft.com/office/drawing/2014/main" id="{771DF10D-FBE2-4B4F-9839-00AEDD219109}"/>
                    </a:ext>
                  </a:extLst>
                </p14:cNvPr>
                <p14:cNvContentPartPr/>
                <p14:nvPr/>
              </p14:nvContentPartPr>
              <p14:xfrm>
                <a:off x="5751297" y="585638"/>
                <a:ext cx="35280" cy="69840"/>
              </p14:xfrm>
            </p:contentPart>
          </mc:Choice>
          <mc:Fallback xmlns="">
            <p:pic>
              <p:nvPicPr>
                <p:cNvPr id="64" name="Ink 63">
                  <a:extLst>
                    <a:ext uri="{FF2B5EF4-FFF2-40B4-BE49-F238E27FC236}">
                      <a16:creationId xmlns:a16="http://schemas.microsoft.com/office/drawing/2014/main" id="{771DF10D-FBE2-4B4F-9839-00AEDD219109}"/>
                    </a:ext>
                  </a:extLst>
                </p:cNvPr>
                <p:cNvPicPr/>
                <p:nvPr/>
              </p:nvPicPr>
              <p:blipFill>
                <a:blip r:embed="rId28"/>
                <a:stretch>
                  <a:fillRect/>
                </a:stretch>
              </p:blipFill>
              <p:spPr>
                <a:xfrm>
                  <a:off x="5746977" y="581318"/>
                  <a:ext cx="43920" cy="78480"/>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66" name="Ink 65">
                  <a:extLst>
                    <a:ext uri="{FF2B5EF4-FFF2-40B4-BE49-F238E27FC236}">
                      <a16:creationId xmlns:a16="http://schemas.microsoft.com/office/drawing/2014/main" id="{C9C10218-810B-408D-A478-9C45A80BFE58}"/>
                    </a:ext>
                  </a:extLst>
                </p14:cNvPr>
                <p14:cNvContentPartPr/>
                <p14:nvPr/>
              </p14:nvContentPartPr>
              <p14:xfrm>
                <a:off x="5799177" y="579878"/>
                <a:ext cx="43200" cy="67320"/>
              </p14:xfrm>
            </p:contentPart>
          </mc:Choice>
          <mc:Fallback xmlns="">
            <p:pic>
              <p:nvPicPr>
                <p:cNvPr id="66" name="Ink 65">
                  <a:extLst>
                    <a:ext uri="{FF2B5EF4-FFF2-40B4-BE49-F238E27FC236}">
                      <a16:creationId xmlns:a16="http://schemas.microsoft.com/office/drawing/2014/main" id="{C9C10218-810B-408D-A478-9C45A80BFE58}"/>
                    </a:ext>
                  </a:extLst>
                </p:cNvPr>
                <p:cNvPicPr/>
                <p:nvPr/>
              </p:nvPicPr>
              <p:blipFill>
                <a:blip r:embed="rId30"/>
                <a:stretch>
                  <a:fillRect/>
                </a:stretch>
              </p:blipFill>
              <p:spPr>
                <a:xfrm>
                  <a:off x="5794857" y="575558"/>
                  <a:ext cx="51840" cy="75960"/>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67" name="Ink 66">
                  <a:extLst>
                    <a:ext uri="{FF2B5EF4-FFF2-40B4-BE49-F238E27FC236}">
                      <a16:creationId xmlns:a16="http://schemas.microsoft.com/office/drawing/2014/main" id="{4A5320AB-ACE0-42B9-8CEE-B6AF94A19CEB}"/>
                    </a:ext>
                  </a:extLst>
                </p14:cNvPr>
                <p14:cNvContentPartPr/>
                <p14:nvPr/>
              </p14:nvContentPartPr>
              <p14:xfrm>
                <a:off x="5907897" y="579518"/>
                <a:ext cx="39240" cy="63360"/>
              </p14:xfrm>
            </p:contentPart>
          </mc:Choice>
          <mc:Fallback xmlns="">
            <p:pic>
              <p:nvPicPr>
                <p:cNvPr id="67" name="Ink 66">
                  <a:extLst>
                    <a:ext uri="{FF2B5EF4-FFF2-40B4-BE49-F238E27FC236}">
                      <a16:creationId xmlns:a16="http://schemas.microsoft.com/office/drawing/2014/main" id="{4A5320AB-ACE0-42B9-8CEE-B6AF94A19CEB}"/>
                    </a:ext>
                  </a:extLst>
                </p:cNvPr>
                <p:cNvPicPr/>
                <p:nvPr/>
              </p:nvPicPr>
              <p:blipFill>
                <a:blip r:embed="rId32"/>
                <a:stretch>
                  <a:fillRect/>
                </a:stretch>
              </p:blipFill>
              <p:spPr>
                <a:xfrm>
                  <a:off x="5903577" y="575198"/>
                  <a:ext cx="47880" cy="72000"/>
                </a:xfrm>
                <a:prstGeom prst="rect">
                  <a:avLst/>
                </a:prstGeom>
              </p:spPr>
            </p:pic>
          </mc:Fallback>
        </mc:AlternateContent>
        <mc:AlternateContent xmlns:mc="http://schemas.openxmlformats.org/markup-compatibility/2006" xmlns:p14="http://schemas.microsoft.com/office/powerpoint/2010/main">
          <mc:Choice Requires="p14">
            <p:contentPart p14:bwMode="auto" r:id="rId33">
              <p14:nvContentPartPr>
                <p14:cNvPr id="74" name="Ink 73">
                  <a:extLst>
                    <a:ext uri="{FF2B5EF4-FFF2-40B4-BE49-F238E27FC236}">
                      <a16:creationId xmlns:a16="http://schemas.microsoft.com/office/drawing/2014/main" id="{00B0BCB6-8EC9-4F42-B0A8-C2AB6F5F6645}"/>
                    </a:ext>
                  </a:extLst>
                </p14:cNvPr>
                <p14:cNvContentPartPr/>
                <p14:nvPr/>
              </p14:nvContentPartPr>
              <p14:xfrm>
                <a:off x="5938857" y="591758"/>
                <a:ext cx="60840" cy="47520"/>
              </p14:xfrm>
            </p:contentPart>
          </mc:Choice>
          <mc:Fallback xmlns="">
            <p:pic>
              <p:nvPicPr>
                <p:cNvPr id="74" name="Ink 73">
                  <a:extLst>
                    <a:ext uri="{FF2B5EF4-FFF2-40B4-BE49-F238E27FC236}">
                      <a16:creationId xmlns:a16="http://schemas.microsoft.com/office/drawing/2014/main" id="{00B0BCB6-8EC9-4F42-B0A8-C2AB6F5F6645}"/>
                    </a:ext>
                  </a:extLst>
                </p:cNvPr>
                <p:cNvPicPr/>
                <p:nvPr/>
              </p:nvPicPr>
              <p:blipFill>
                <a:blip r:embed="rId34"/>
                <a:stretch>
                  <a:fillRect/>
                </a:stretch>
              </p:blipFill>
              <p:spPr>
                <a:xfrm>
                  <a:off x="5934537" y="587438"/>
                  <a:ext cx="69480" cy="56160"/>
                </a:xfrm>
                <a:prstGeom prst="rect">
                  <a:avLst/>
                </a:prstGeom>
              </p:spPr>
            </p:pic>
          </mc:Fallback>
        </mc:AlternateContent>
        <mc:AlternateContent xmlns:mc="http://schemas.openxmlformats.org/markup-compatibility/2006" xmlns:p14="http://schemas.microsoft.com/office/powerpoint/2010/main">
          <mc:Choice Requires="p14">
            <p:contentPart p14:bwMode="auto" r:id="rId35">
              <p14:nvContentPartPr>
                <p14:cNvPr id="75" name="Ink 74">
                  <a:extLst>
                    <a:ext uri="{FF2B5EF4-FFF2-40B4-BE49-F238E27FC236}">
                      <a16:creationId xmlns:a16="http://schemas.microsoft.com/office/drawing/2014/main" id="{0BCC5110-0248-442B-8722-498CC887E825}"/>
                    </a:ext>
                  </a:extLst>
                </p14:cNvPr>
                <p14:cNvContentPartPr/>
                <p14:nvPr/>
              </p14:nvContentPartPr>
              <p14:xfrm>
                <a:off x="6033177" y="579158"/>
                <a:ext cx="30240" cy="70920"/>
              </p14:xfrm>
            </p:contentPart>
          </mc:Choice>
          <mc:Fallback xmlns="">
            <p:pic>
              <p:nvPicPr>
                <p:cNvPr id="75" name="Ink 74">
                  <a:extLst>
                    <a:ext uri="{FF2B5EF4-FFF2-40B4-BE49-F238E27FC236}">
                      <a16:creationId xmlns:a16="http://schemas.microsoft.com/office/drawing/2014/main" id="{0BCC5110-0248-442B-8722-498CC887E825}"/>
                    </a:ext>
                  </a:extLst>
                </p:cNvPr>
                <p:cNvPicPr/>
                <p:nvPr/>
              </p:nvPicPr>
              <p:blipFill>
                <a:blip r:embed="rId36"/>
                <a:stretch>
                  <a:fillRect/>
                </a:stretch>
              </p:blipFill>
              <p:spPr>
                <a:xfrm>
                  <a:off x="6028857" y="574838"/>
                  <a:ext cx="38880" cy="79560"/>
                </a:xfrm>
                <a:prstGeom prst="rect">
                  <a:avLst/>
                </a:prstGeom>
              </p:spPr>
            </p:pic>
          </mc:Fallback>
        </mc:AlternateContent>
        <mc:AlternateContent xmlns:mc="http://schemas.openxmlformats.org/markup-compatibility/2006" xmlns:p14="http://schemas.microsoft.com/office/powerpoint/2010/main">
          <mc:Choice Requires="p14">
            <p:contentPart p14:bwMode="auto" r:id="rId37">
              <p14:nvContentPartPr>
                <p14:cNvPr id="76" name="Ink 75">
                  <a:extLst>
                    <a:ext uri="{FF2B5EF4-FFF2-40B4-BE49-F238E27FC236}">
                      <a16:creationId xmlns:a16="http://schemas.microsoft.com/office/drawing/2014/main" id="{92FC619D-B485-4E90-B3E0-8AECA820C898}"/>
                    </a:ext>
                  </a:extLst>
                </p14:cNvPr>
                <p14:cNvContentPartPr/>
                <p14:nvPr/>
              </p14:nvContentPartPr>
              <p14:xfrm>
                <a:off x="6080697" y="585638"/>
                <a:ext cx="38880" cy="71280"/>
              </p14:xfrm>
            </p:contentPart>
          </mc:Choice>
          <mc:Fallback xmlns="">
            <p:pic>
              <p:nvPicPr>
                <p:cNvPr id="76" name="Ink 75">
                  <a:extLst>
                    <a:ext uri="{FF2B5EF4-FFF2-40B4-BE49-F238E27FC236}">
                      <a16:creationId xmlns:a16="http://schemas.microsoft.com/office/drawing/2014/main" id="{92FC619D-B485-4E90-B3E0-8AECA820C898}"/>
                    </a:ext>
                  </a:extLst>
                </p:cNvPr>
                <p:cNvPicPr/>
                <p:nvPr/>
              </p:nvPicPr>
              <p:blipFill>
                <a:blip r:embed="rId38"/>
                <a:stretch>
                  <a:fillRect/>
                </a:stretch>
              </p:blipFill>
              <p:spPr>
                <a:xfrm>
                  <a:off x="6076377" y="581318"/>
                  <a:ext cx="47520" cy="79920"/>
                </a:xfrm>
                <a:prstGeom prst="rect">
                  <a:avLst/>
                </a:prstGeom>
              </p:spPr>
            </p:pic>
          </mc:Fallback>
        </mc:AlternateContent>
        <mc:AlternateContent xmlns:mc="http://schemas.openxmlformats.org/markup-compatibility/2006" xmlns:p14="http://schemas.microsoft.com/office/powerpoint/2010/main">
          <mc:Choice Requires="p14">
            <p:contentPart p14:bwMode="auto" r:id="rId39">
              <p14:nvContentPartPr>
                <p14:cNvPr id="77" name="Ink 76">
                  <a:extLst>
                    <a:ext uri="{FF2B5EF4-FFF2-40B4-BE49-F238E27FC236}">
                      <a16:creationId xmlns:a16="http://schemas.microsoft.com/office/drawing/2014/main" id="{3CA57AE4-A6DD-4006-B027-81D1EE7200BE}"/>
                    </a:ext>
                  </a:extLst>
                </p14:cNvPr>
                <p14:cNvContentPartPr/>
                <p14:nvPr/>
              </p14:nvContentPartPr>
              <p14:xfrm>
                <a:off x="6184737" y="571958"/>
                <a:ext cx="41400" cy="83880"/>
              </p14:xfrm>
            </p:contentPart>
          </mc:Choice>
          <mc:Fallback xmlns="">
            <p:pic>
              <p:nvPicPr>
                <p:cNvPr id="77" name="Ink 76">
                  <a:extLst>
                    <a:ext uri="{FF2B5EF4-FFF2-40B4-BE49-F238E27FC236}">
                      <a16:creationId xmlns:a16="http://schemas.microsoft.com/office/drawing/2014/main" id="{3CA57AE4-A6DD-4006-B027-81D1EE7200BE}"/>
                    </a:ext>
                  </a:extLst>
                </p:cNvPr>
                <p:cNvPicPr/>
                <p:nvPr/>
              </p:nvPicPr>
              <p:blipFill>
                <a:blip r:embed="rId40"/>
                <a:stretch>
                  <a:fillRect/>
                </a:stretch>
              </p:blipFill>
              <p:spPr>
                <a:xfrm>
                  <a:off x="6180417" y="567638"/>
                  <a:ext cx="50040" cy="92520"/>
                </a:xfrm>
                <a:prstGeom prst="rect">
                  <a:avLst/>
                </a:prstGeom>
              </p:spPr>
            </p:pic>
          </mc:Fallback>
        </mc:AlternateContent>
        <mc:AlternateContent xmlns:mc="http://schemas.openxmlformats.org/markup-compatibility/2006" xmlns:p14="http://schemas.microsoft.com/office/powerpoint/2010/main">
          <mc:Choice Requires="p14">
            <p:contentPart p14:bwMode="auto" r:id="rId41">
              <p14:nvContentPartPr>
                <p14:cNvPr id="78" name="Ink 77">
                  <a:extLst>
                    <a:ext uri="{FF2B5EF4-FFF2-40B4-BE49-F238E27FC236}">
                      <a16:creationId xmlns:a16="http://schemas.microsoft.com/office/drawing/2014/main" id="{6B9CD26D-6AD1-4532-B19F-0E7E657094B6}"/>
                    </a:ext>
                  </a:extLst>
                </p14:cNvPr>
                <p14:cNvContentPartPr/>
                <p14:nvPr/>
              </p14:nvContentPartPr>
              <p14:xfrm>
                <a:off x="6275817" y="570518"/>
                <a:ext cx="54360" cy="57600"/>
              </p14:xfrm>
            </p:contentPart>
          </mc:Choice>
          <mc:Fallback xmlns="">
            <p:pic>
              <p:nvPicPr>
                <p:cNvPr id="78" name="Ink 77">
                  <a:extLst>
                    <a:ext uri="{FF2B5EF4-FFF2-40B4-BE49-F238E27FC236}">
                      <a16:creationId xmlns:a16="http://schemas.microsoft.com/office/drawing/2014/main" id="{6B9CD26D-6AD1-4532-B19F-0E7E657094B6}"/>
                    </a:ext>
                  </a:extLst>
                </p:cNvPr>
                <p:cNvPicPr/>
                <p:nvPr/>
              </p:nvPicPr>
              <p:blipFill>
                <a:blip r:embed="rId42"/>
                <a:stretch>
                  <a:fillRect/>
                </a:stretch>
              </p:blipFill>
              <p:spPr>
                <a:xfrm>
                  <a:off x="6271497" y="566198"/>
                  <a:ext cx="63000" cy="66240"/>
                </a:xfrm>
                <a:prstGeom prst="rect">
                  <a:avLst/>
                </a:prstGeom>
              </p:spPr>
            </p:pic>
          </mc:Fallback>
        </mc:AlternateContent>
        <mc:AlternateContent xmlns:mc="http://schemas.openxmlformats.org/markup-compatibility/2006" xmlns:p14="http://schemas.microsoft.com/office/powerpoint/2010/main">
          <mc:Choice Requires="p14">
            <p:contentPart p14:bwMode="auto" r:id="rId43">
              <p14:nvContentPartPr>
                <p14:cNvPr id="80" name="Ink 79">
                  <a:extLst>
                    <a:ext uri="{FF2B5EF4-FFF2-40B4-BE49-F238E27FC236}">
                      <a16:creationId xmlns:a16="http://schemas.microsoft.com/office/drawing/2014/main" id="{6530AB09-30BA-480D-ACAF-C1EF8C7C5174}"/>
                    </a:ext>
                  </a:extLst>
                </p14:cNvPr>
                <p14:cNvContentPartPr/>
                <p14:nvPr/>
              </p14:nvContentPartPr>
              <p14:xfrm>
                <a:off x="5403537" y="488078"/>
                <a:ext cx="12960" cy="42480"/>
              </p14:xfrm>
            </p:contentPart>
          </mc:Choice>
          <mc:Fallback xmlns="">
            <p:pic>
              <p:nvPicPr>
                <p:cNvPr id="80" name="Ink 79">
                  <a:extLst>
                    <a:ext uri="{FF2B5EF4-FFF2-40B4-BE49-F238E27FC236}">
                      <a16:creationId xmlns:a16="http://schemas.microsoft.com/office/drawing/2014/main" id="{6530AB09-30BA-480D-ACAF-C1EF8C7C5174}"/>
                    </a:ext>
                  </a:extLst>
                </p:cNvPr>
                <p:cNvPicPr/>
                <p:nvPr/>
              </p:nvPicPr>
              <p:blipFill>
                <a:blip r:embed="rId44"/>
                <a:stretch>
                  <a:fillRect/>
                </a:stretch>
              </p:blipFill>
              <p:spPr>
                <a:xfrm>
                  <a:off x="5399217" y="483758"/>
                  <a:ext cx="21600" cy="51120"/>
                </a:xfrm>
                <a:prstGeom prst="rect">
                  <a:avLst/>
                </a:prstGeom>
              </p:spPr>
            </p:pic>
          </mc:Fallback>
        </mc:AlternateContent>
        <mc:AlternateContent xmlns:mc="http://schemas.openxmlformats.org/markup-compatibility/2006" xmlns:p14="http://schemas.microsoft.com/office/powerpoint/2010/main">
          <mc:Choice Requires="p14">
            <p:contentPart p14:bwMode="auto" r:id="rId45">
              <p14:nvContentPartPr>
                <p14:cNvPr id="81" name="Ink 80">
                  <a:extLst>
                    <a:ext uri="{FF2B5EF4-FFF2-40B4-BE49-F238E27FC236}">
                      <a16:creationId xmlns:a16="http://schemas.microsoft.com/office/drawing/2014/main" id="{EEEA03DF-C400-49B5-B6B4-DE12FFCF3067}"/>
                    </a:ext>
                  </a:extLst>
                </p14:cNvPr>
                <p14:cNvContentPartPr/>
                <p14:nvPr/>
              </p14:nvContentPartPr>
              <p14:xfrm>
                <a:off x="5601897" y="467558"/>
                <a:ext cx="30960" cy="60120"/>
              </p14:xfrm>
            </p:contentPart>
          </mc:Choice>
          <mc:Fallback xmlns="">
            <p:pic>
              <p:nvPicPr>
                <p:cNvPr id="81" name="Ink 80">
                  <a:extLst>
                    <a:ext uri="{FF2B5EF4-FFF2-40B4-BE49-F238E27FC236}">
                      <a16:creationId xmlns:a16="http://schemas.microsoft.com/office/drawing/2014/main" id="{EEEA03DF-C400-49B5-B6B4-DE12FFCF3067}"/>
                    </a:ext>
                  </a:extLst>
                </p:cNvPr>
                <p:cNvPicPr/>
                <p:nvPr/>
              </p:nvPicPr>
              <p:blipFill>
                <a:blip r:embed="rId46"/>
                <a:stretch>
                  <a:fillRect/>
                </a:stretch>
              </p:blipFill>
              <p:spPr>
                <a:xfrm>
                  <a:off x="5597577" y="463238"/>
                  <a:ext cx="39600" cy="68760"/>
                </a:xfrm>
                <a:prstGeom prst="rect">
                  <a:avLst/>
                </a:prstGeom>
              </p:spPr>
            </p:pic>
          </mc:Fallback>
        </mc:AlternateContent>
        <mc:AlternateContent xmlns:mc="http://schemas.openxmlformats.org/markup-compatibility/2006" xmlns:p14="http://schemas.microsoft.com/office/powerpoint/2010/main">
          <mc:Choice Requires="p14">
            <p:contentPart p14:bwMode="auto" r:id="rId47">
              <p14:nvContentPartPr>
                <p14:cNvPr id="83" name="Ink 82">
                  <a:extLst>
                    <a:ext uri="{FF2B5EF4-FFF2-40B4-BE49-F238E27FC236}">
                      <a16:creationId xmlns:a16="http://schemas.microsoft.com/office/drawing/2014/main" id="{3E6AF700-05E3-40AC-B9BF-C5CAC48AAEA3}"/>
                    </a:ext>
                  </a:extLst>
                </p14:cNvPr>
                <p14:cNvContentPartPr/>
                <p14:nvPr/>
              </p14:nvContentPartPr>
              <p14:xfrm>
                <a:off x="5753457" y="474038"/>
                <a:ext cx="19440" cy="40680"/>
              </p14:xfrm>
            </p:contentPart>
          </mc:Choice>
          <mc:Fallback xmlns="">
            <p:pic>
              <p:nvPicPr>
                <p:cNvPr id="83" name="Ink 82">
                  <a:extLst>
                    <a:ext uri="{FF2B5EF4-FFF2-40B4-BE49-F238E27FC236}">
                      <a16:creationId xmlns:a16="http://schemas.microsoft.com/office/drawing/2014/main" id="{3E6AF700-05E3-40AC-B9BF-C5CAC48AAEA3}"/>
                    </a:ext>
                  </a:extLst>
                </p:cNvPr>
                <p:cNvPicPr/>
                <p:nvPr/>
              </p:nvPicPr>
              <p:blipFill>
                <a:blip r:embed="rId48"/>
                <a:stretch>
                  <a:fillRect/>
                </a:stretch>
              </p:blipFill>
              <p:spPr>
                <a:xfrm>
                  <a:off x="5749137" y="469718"/>
                  <a:ext cx="28080" cy="49320"/>
                </a:xfrm>
                <a:prstGeom prst="rect">
                  <a:avLst/>
                </a:prstGeom>
              </p:spPr>
            </p:pic>
          </mc:Fallback>
        </mc:AlternateContent>
        <mc:AlternateContent xmlns:mc="http://schemas.openxmlformats.org/markup-compatibility/2006" xmlns:p14="http://schemas.microsoft.com/office/powerpoint/2010/main">
          <mc:Choice Requires="p14">
            <p:contentPart p14:bwMode="auto" r:id="rId49">
              <p14:nvContentPartPr>
                <p14:cNvPr id="84" name="Ink 83">
                  <a:extLst>
                    <a:ext uri="{FF2B5EF4-FFF2-40B4-BE49-F238E27FC236}">
                      <a16:creationId xmlns:a16="http://schemas.microsoft.com/office/drawing/2014/main" id="{A8A67852-4FC8-4A1B-BFC5-7BC96AE98734}"/>
                    </a:ext>
                  </a:extLst>
                </p14:cNvPr>
                <p14:cNvContentPartPr/>
                <p14:nvPr/>
              </p14:nvContentPartPr>
              <p14:xfrm>
                <a:off x="5924097" y="474038"/>
                <a:ext cx="30240" cy="45000"/>
              </p14:xfrm>
            </p:contentPart>
          </mc:Choice>
          <mc:Fallback xmlns="">
            <p:pic>
              <p:nvPicPr>
                <p:cNvPr id="84" name="Ink 83">
                  <a:extLst>
                    <a:ext uri="{FF2B5EF4-FFF2-40B4-BE49-F238E27FC236}">
                      <a16:creationId xmlns:a16="http://schemas.microsoft.com/office/drawing/2014/main" id="{A8A67852-4FC8-4A1B-BFC5-7BC96AE98734}"/>
                    </a:ext>
                  </a:extLst>
                </p:cNvPr>
                <p:cNvPicPr/>
                <p:nvPr/>
              </p:nvPicPr>
              <p:blipFill>
                <a:blip r:embed="rId50"/>
                <a:stretch>
                  <a:fillRect/>
                </a:stretch>
              </p:blipFill>
              <p:spPr>
                <a:xfrm>
                  <a:off x="5919777" y="469718"/>
                  <a:ext cx="38880" cy="53640"/>
                </a:xfrm>
                <a:prstGeom prst="rect">
                  <a:avLst/>
                </a:prstGeom>
              </p:spPr>
            </p:pic>
          </mc:Fallback>
        </mc:AlternateContent>
        <mc:AlternateContent xmlns:mc="http://schemas.openxmlformats.org/markup-compatibility/2006" xmlns:p14="http://schemas.microsoft.com/office/powerpoint/2010/main">
          <mc:Choice Requires="p14">
            <p:contentPart p14:bwMode="auto" r:id="rId51">
              <p14:nvContentPartPr>
                <p14:cNvPr id="85" name="Ink 84">
                  <a:extLst>
                    <a:ext uri="{FF2B5EF4-FFF2-40B4-BE49-F238E27FC236}">
                      <a16:creationId xmlns:a16="http://schemas.microsoft.com/office/drawing/2014/main" id="{17841811-E690-48A7-8A5F-C653A3F5B096}"/>
                    </a:ext>
                  </a:extLst>
                </p14:cNvPr>
                <p14:cNvContentPartPr/>
                <p14:nvPr/>
              </p14:nvContentPartPr>
              <p14:xfrm>
                <a:off x="6050097" y="467558"/>
                <a:ext cx="15840" cy="34920"/>
              </p14:xfrm>
            </p:contentPart>
          </mc:Choice>
          <mc:Fallback xmlns="">
            <p:pic>
              <p:nvPicPr>
                <p:cNvPr id="85" name="Ink 84">
                  <a:extLst>
                    <a:ext uri="{FF2B5EF4-FFF2-40B4-BE49-F238E27FC236}">
                      <a16:creationId xmlns:a16="http://schemas.microsoft.com/office/drawing/2014/main" id="{17841811-E690-48A7-8A5F-C653A3F5B096}"/>
                    </a:ext>
                  </a:extLst>
                </p:cNvPr>
                <p:cNvPicPr/>
                <p:nvPr/>
              </p:nvPicPr>
              <p:blipFill>
                <a:blip r:embed="rId52"/>
                <a:stretch>
                  <a:fillRect/>
                </a:stretch>
              </p:blipFill>
              <p:spPr>
                <a:xfrm>
                  <a:off x="6045777" y="463238"/>
                  <a:ext cx="24480" cy="43560"/>
                </a:xfrm>
                <a:prstGeom prst="rect">
                  <a:avLst/>
                </a:prstGeom>
              </p:spPr>
            </p:pic>
          </mc:Fallback>
        </mc:AlternateContent>
        <mc:AlternateContent xmlns:mc="http://schemas.openxmlformats.org/markup-compatibility/2006" xmlns:p14="http://schemas.microsoft.com/office/powerpoint/2010/main">
          <mc:Choice Requires="p14">
            <p:contentPart p14:bwMode="auto" r:id="rId53">
              <p14:nvContentPartPr>
                <p14:cNvPr id="86" name="Ink 85">
                  <a:extLst>
                    <a:ext uri="{FF2B5EF4-FFF2-40B4-BE49-F238E27FC236}">
                      <a16:creationId xmlns:a16="http://schemas.microsoft.com/office/drawing/2014/main" id="{598E7D38-5775-453A-934C-67C20A90A171}"/>
                    </a:ext>
                  </a:extLst>
                </p14:cNvPr>
                <p14:cNvContentPartPr/>
                <p14:nvPr/>
              </p14:nvContentPartPr>
              <p14:xfrm>
                <a:off x="6216057" y="481238"/>
                <a:ext cx="10080" cy="25560"/>
              </p14:xfrm>
            </p:contentPart>
          </mc:Choice>
          <mc:Fallback xmlns="">
            <p:pic>
              <p:nvPicPr>
                <p:cNvPr id="86" name="Ink 85">
                  <a:extLst>
                    <a:ext uri="{FF2B5EF4-FFF2-40B4-BE49-F238E27FC236}">
                      <a16:creationId xmlns:a16="http://schemas.microsoft.com/office/drawing/2014/main" id="{598E7D38-5775-453A-934C-67C20A90A171}"/>
                    </a:ext>
                  </a:extLst>
                </p:cNvPr>
                <p:cNvPicPr/>
                <p:nvPr/>
              </p:nvPicPr>
              <p:blipFill>
                <a:blip r:embed="rId54"/>
                <a:stretch>
                  <a:fillRect/>
                </a:stretch>
              </p:blipFill>
              <p:spPr>
                <a:xfrm>
                  <a:off x="6211737" y="476918"/>
                  <a:ext cx="18720" cy="3420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55">
            <p14:nvContentPartPr>
              <p14:cNvPr id="88" name="Ink 87">
                <a:extLst>
                  <a:ext uri="{FF2B5EF4-FFF2-40B4-BE49-F238E27FC236}">
                    <a16:creationId xmlns:a16="http://schemas.microsoft.com/office/drawing/2014/main" id="{531875B8-63FD-453B-B849-5E8E0F9CA4F0}"/>
                  </a:ext>
                </a:extLst>
              </p14:cNvPr>
              <p14:cNvContentPartPr/>
              <p14:nvPr/>
            </p14:nvContentPartPr>
            <p14:xfrm>
              <a:off x="8089857" y="481238"/>
              <a:ext cx="28440" cy="15480"/>
            </p14:xfrm>
          </p:contentPart>
        </mc:Choice>
        <mc:Fallback xmlns="">
          <p:pic>
            <p:nvPicPr>
              <p:cNvPr id="88" name="Ink 87">
                <a:extLst>
                  <a:ext uri="{FF2B5EF4-FFF2-40B4-BE49-F238E27FC236}">
                    <a16:creationId xmlns:a16="http://schemas.microsoft.com/office/drawing/2014/main" id="{531875B8-63FD-453B-B849-5E8E0F9CA4F0}"/>
                  </a:ext>
                </a:extLst>
              </p:cNvPr>
              <p:cNvPicPr/>
              <p:nvPr/>
            </p:nvPicPr>
            <p:blipFill>
              <a:blip r:embed="rId56"/>
              <a:stretch>
                <a:fillRect/>
              </a:stretch>
            </p:blipFill>
            <p:spPr>
              <a:xfrm>
                <a:off x="8085537" y="476918"/>
                <a:ext cx="37080" cy="24120"/>
              </a:xfrm>
              <a:prstGeom prst="rect">
                <a:avLst/>
              </a:prstGeom>
            </p:spPr>
          </p:pic>
        </mc:Fallback>
      </mc:AlternateContent>
      <mc:AlternateContent xmlns:mc="http://schemas.openxmlformats.org/markup-compatibility/2006" xmlns:p14="http://schemas.microsoft.com/office/powerpoint/2010/main">
        <mc:Choice Requires="p14">
          <p:contentPart p14:bwMode="auto" r:id="rId57">
            <p14:nvContentPartPr>
              <p14:cNvPr id="89" name="Ink 88">
                <a:extLst>
                  <a:ext uri="{FF2B5EF4-FFF2-40B4-BE49-F238E27FC236}">
                    <a16:creationId xmlns:a16="http://schemas.microsoft.com/office/drawing/2014/main" id="{DFB42180-85D5-40A2-98AF-D78C10FE81EE}"/>
                  </a:ext>
                </a:extLst>
              </p14:cNvPr>
              <p14:cNvContentPartPr/>
              <p14:nvPr/>
            </p14:nvContentPartPr>
            <p14:xfrm>
              <a:off x="4665177" y="292958"/>
              <a:ext cx="88560" cy="190080"/>
            </p14:xfrm>
          </p:contentPart>
        </mc:Choice>
        <mc:Fallback xmlns="">
          <p:pic>
            <p:nvPicPr>
              <p:cNvPr id="89" name="Ink 88">
                <a:extLst>
                  <a:ext uri="{FF2B5EF4-FFF2-40B4-BE49-F238E27FC236}">
                    <a16:creationId xmlns:a16="http://schemas.microsoft.com/office/drawing/2014/main" id="{DFB42180-85D5-40A2-98AF-D78C10FE81EE}"/>
                  </a:ext>
                </a:extLst>
              </p:cNvPr>
              <p:cNvPicPr/>
              <p:nvPr/>
            </p:nvPicPr>
            <p:blipFill>
              <a:blip r:embed="rId58"/>
              <a:stretch>
                <a:fillRect/>
              </a:stretch>
            </p:blipFill>
            <p:spPr>
              <a:xfrm>
                <a:off x="4656537" y="283958"/>
                <a:ext cx="106200" cy="207720"/>
              </a:xfrm>
              <a:prstGeom prst="rect">
                <a:avLst/>
              </a:prstGeom>
            </p:spPr>
          </p:pic>
        </mc:Fallback>
      </mc:AlternateContent>
      <mc:AlternateContent xmlns:mc="http://schemas.openxmlformats.org/markup-compatibility/2006" xmlns:p14="http://schemas.microsoft.com/office/powerpoint/2010/main">
        <mc:Choice Requires="p14">
          <p:contentPart p14:bwMode="auto" r:id="rId59">
            <p14:nvContentPartPr>
              <p14:cNvPr id="90" name="Ink 89">
                <a:extLst>
                  <a:ext uri="{FF2B5EF4-FFF2-40B4-BE49-F238E27FC236}">
                    <a16:creationId xmlns:a16="http://schemas.microsoft.com/office/drawing/2014/main" id="{FE0D606C-C57B-4CF8-A74E-FC2FF7BB3289}"/>
                  </a:ext>
                </a:extLst>
              </p14:cNvPr>
              <p14:cNvContentPartPr/>
              <p14:nvPr/>
            </p14:nvContentPartPr>
            <p14:xfrm>
              <a:off x="4436937" y="591398"/>
              <a:ext cx="94320" cy="87480"/>
            </p14:xfrm>
          </p:contentPart>
        </mc:Choice>
        <mc:Fallback xmlns="">
          <p:pic>
            <p:nvPicPr>
              <p:cNvPr id="90" name="Ink 89">
                <a:extLst>
                  <a:ext uri="{FF2B5EF4-FFF2-40B4-BE49-F238E27FC236}">
                    <a16:creationId xmlns:a16="http://schemas.microsoft.com/office/drawing/2014/main" id="{FE0D606C-C57B-4CF8-A74E-FC2FF7BB3289}"/>
                  </a:ext>
                </a:extLst>
              </p:cNvPr>
              <p:cNvPicPr/>
              <p:nvPr/>
            </p:nvPicPr>
            <p:blipFill>
              <a:blip r:embed="rId60"/>
              <a:stretch>
                <a:fillRect/>
              </a:stretch>
            </p:blipFill>
            <p:spPr>
              <a:xfrm>
                <a:off x="4427937" y="582758"/>
                <a:ext cx="111960" cy="105120"/>
              </a:xfrm>
              <a:prstGeom prst="rect">
                <a:avLst/>
              </a:prstGeom>
            </p:spPr>
          </p:pic>
        </mc:Fallback>
      </mc:AlternateContent>
      <p:sp>
        <p:nvSpPr>
          <p:cNvPr id="97" name="TextBox 96">
            <a:extLst>
              <a:ext uri="{FF2B5EF4-FFF2-40B4-BE49-F238E27FC236}">
                <a16:creationId xmlns:a16="http://schemas.microsoft.com/office/drawing/2014/main" id="{0B7F28F0-CBC9-4D42-8A6B-9EF4C95A95D6}"/>
              </a:ext>
            </a:extLst>
          </p:cNvPr>
          <p:cNvSpPr txBox="1"/>
          <p:nvPr/>
        </p:nvSpPr>
        <p:spPr>
          <a:xfrm>
            <a:off x="223365" y="1225718"/>
            <a:ext cx="6317038" cy="2031325"/>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bg2">
                    <a:lumMod val="50000"/>
                    <a:lumOff val="50000"/>
                  </a:schemeClr>
                </a:solidFill>
                <a:latin typeface="Inter"/>
                <a:cs typeface="Arial" panose="020B0604020202020204" pitchFamily="34" charset="0"/>
              </a:rPr>
              <a:t>Values : </a:t>
            </a:r>
            <a:r>
              <a:rPr lang="en-US" sz="1800" dirty="0">
                <a:solidFill>
                  <a:schemeClr val="bg2">
                    <a:lumMod val="50000"/>
                    <a:lumOff val="50000"/>
                  </a:schemeClr>
                </a:solidFill>
                <a:latin typeface="Inter"/>
                <a:cs typeface="Arial" panose="020B0604020202020204" pitchFamily="34" charset="0"/>
              </a:rPr>
              <a:t>10, 20, 30, 40, 44, 44, 45, 50, 55, 60 , 400</a:t>
            </a:r>
          </a:p>
          <a:p>
            <a:pPr>
              <a:spcBef>
                <a:spcPts val="0"/>
              </a:spcBef>
              <a:spcAft>
                <a:spcPts val="0"/>
              </a:spcAft>
              <a:buClr>
                <a:schemeClr val="bg1"/>
              </a:buClr>
            </a:pPr>
            <a:endParaRPr lang="en-US" sz="18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800" dirty="0">
                <a:solidFill>
                  <a:schemeClr val="accent1"/>
                </a:solidFill>
                <a:latin typeface="Inter"/>
                <a:cs typeface="Arial" panose="020B0604020202020204" pitchFamily="34" charset="0"/>
              </a:rPr>
              <a:t>Mean : </a:t>
            </a:r>
            <a:r>
              <a:rPr lang="en-US" sz="1800" dirty="0">
                <a:solidFill>
                  <a:schemeClr val="bg2">
                    <a:lumMod val="50000"/>
                    <a:lumOff val="50000"/>
                  </a:schemeClr>
                </a:solidFill>
                <a:latin typeface="Inter"/>
                <a:cs typeface="Arial" panose="020B0604020202020204" pitchFamily="34" charset="0"/>
              </a:rPr>
              <a:t>72.5</a:t>
            </a:r>
          </a:p>
          <a:p>
            <a:pPr>
              <a:spcBef>
                <a:spcPts val="0"/>
              </a:spcBef>
              <a:spcAft>
                <a:spcPts val="0"/>
              </a:spcAft>
              <a:buClr>
                <a:schemeClr val="bg1"/>
              </a:buClr>
            </a:pPr>
            <a:endParaRPr lang="en-US" sz="1800" dirty="0">
              <a:solidFill>
                <a:schemeClr val="accent1"/>
              </a:solidFill>
              <a:latin typeface="Inter"/>
              <a:cs typeface="Arial" panose="020B0604020202020204" pitchFamily="34" charset="0"/>
            </a:endParaRPr>
          </a:p>
          <a:p>
            <a:pPr>
              <a:spcBef>
                <a:spcPts val="0"/>
              </a:spcBef>
              <a:spcAft>
                <a:spcPts val="0"/>
              </a:spcAft>
              <a:buClr>
                <a:schemeClr val="bg1"/>
              </a:buClr>
            </a:pPr>
            <a:r>
              <a:rPr lang="en-US" sz="1800" dirty="0">
                <a:solidFill>
                  <a:schemeClr val="accent1"/>
                </a:solidFill>
                <a:latin typeface="Inter"/>
                <a:cs typeface="Arial" panose="020B0604020202020204" pitchFamily="34" charset="0"/>
              </a:rPr>
              <a:t>Median : </a:t>
            </a:r>
            <a:r>
              <a:rPr lang="en-US" sz="1800" dirty="0">
                <a:solidFill>
                  <a:schemeClr val="bg2">
                    <a:lumMod val="50000"/>
                    <a:lumOff val="50000"/>
                  </a:schemeClr>
                </a:solidFill>
                <a:latin typeface="Inter"/>
                <a:cs typeface="Arial" panose="020B0604020202020204" pitchFamily="34" charset="0"/>
              </a:rPr>
              <a:t>44</a:t>
            </a:r>
          </a:p>
          <a:p>
            <a:pPr>
              <a:spcBef>
                <a:spcPts val="0"/>
              </a:spcBef>
              <a:spcAft>
                <a:spcPts val="0"/>
              </a:spcAft>
              <a:buClr>
                <a:schemeClr val="bg1"/>
              </a:buClr>
            </a:pPr>
            <a:endParaRPr lang="en-US" sz="1800" dirty="0">
              <a:solidFill>
                <a:schemeClr val="accent1"/>
              </a:solidFill>
              <a:latin typeface="Inter"/>
              <a:cs typeface="Arial" panose="020B0604020202020204" pitchFamily="34" charset="0"/>
            </a:endParaRPr>
          </a:p>
          <a:p>
            <a:pPr>
              <a:spcBef>
                <a:spcPts val="0"/>
              </a:spcBef>
              <a:spcAft>
                <a:spcPts val="0"/>
              </a:spcAft>
              <a:buClr>
                <a:schemeClr val="bg1"/>
              </a:buClr>
            </a:pPr>
            <a:r>
              <a:rPr lang="en-US" sz="1800" dirty="0">
                <a:solidFill>
                  <a:schemeClr val="accent1"/>
                </a:solidFill>
                <a:latin typeface="Inter"/>
                <a:cs typeface="Arial" panose="020B0604020202020204" pitchFamily="34" charset="0"/>
              </a:rPr>
              <a:t>Mode : </a:t>
            </a:r>
            <a:r>
              <a:rPr lang="en-US" sz="1800" dirty="0">
                <a:solidFill>
                  <a:schemeClr val="bg2">
                    <a:lumMod val="50000"/>
                    <a:lumOff val="50000"/>
                  </a:schemeClr>
                </a:solidFill>
                <a:latin typeface="Inter"/>
                <a:cs typeface="Arial" panose="020B0604020202020204" pitchFamily="34" charset="0"/>
              </a:rPr>
              <a:t>44</a:t>
            </a:r>
          </a:p>
        </p:txBody>
      </p:sp>
      <p:grpSp>
        <p:nvGrpSpPr>
          <p:cNvPr id="107" name="Group 106">
            <a:extLst>
              <a:ext uri="{FF2B5EF4-FFF2-40B4-BE49-F238E27FC236}">
                <a16:creationId xmlns:a16="http://schemas.microsoft.com/office/drawing/2014/main" id="{B8B535AB-9207-47BE-A1C9-601BB537A3D2}"/>
              </a:ext>
            </a:extLst>
          </p:cNvPr>
          <p:cNvGrpSpPr/>
          <p:nvPr/>
        </p:nvGrpSpPr>
        <p:grpSpPr>
          <a:xfrm>
            <a:off x="7976457" y="585638"/>
            <a:ext cx="263520" cy="139320"/>
            <a:chOff x="7976457" y="585638"/>
            <a:chExt cx="263520" cy="139320"/>
          </a:xfrm>
        </p:grpSpPr>
        <mc:AlternateContent xmlns:mc="http://schemas.openxmlformats.org/markup-compatibility/2006" xmlns:p14="http://schemas.microsoft.com/office/powerpoint/2010/main">
          <mc:Choice Requires="p14">
            <p:contentPart p14:bwMode="auto" r:id="rId61">
              <p14:nvContentPartPr>
                <p14:cNvPr id="103" name="Ink 102">
                  <a:extLst>
                    <a:ext uri="{FF2B5EF4-FFF2-40B4-BE49-F238E27FC236}">
                      <a16:creationId xmlns:a16="http://schemas.microsoft.com/office/drawing/2014/main" id="{42F7E7F6-498A-4924-9E7B-2417E0FEC2F9}"/>
                    </a:ext>
                  </a:extLst>
                </p14:cNvPr>
                <p14:cNvContentPartPr/>
                <p14:nvPr/>
              </p14:nvContentPartPr>
              <p14:xfrm>
                <a:off x="7976457" y="592838"/>
                <a:ext cx="105840" cy="99360"/>
              </p14:xfrm>
            </p:contentPart>
          </mc:Choice>
          <mc:Fallback xmlns="">
            <p:pic>
              <p:nvPicPr>
                <p:cNvPr id="103" name="Ink 102">
                  <a:extLst>
                    <a:ext uri="{FF2B5EF4-FFF2-40B4-BE49-F238E27FC236}">
                      <a16:creationId xmlns:a16="http://schemas.microsoft.com/office/drawing/2014/main" id="{42F7E7F6-498A-4924-9E7B-2417E0FEC2F9}"/>
                    </a:ext>
                  </a:extLst>
                </p:cNvPr>
                <p:cNvPicPr/>
                <p:nvPr/>
              </p:nvPicPr>
              <p:blipFill>
                <a:blip r:embed="rId62"/>
                <a:stretch>
                  <a:fillRect/>
                </a:stretch>
              </p:blipFill>
              <p:spPr>
                <a:xfrm>
                  <a:off x="7972137" y="588518"/>
                  <a:ext cx="114480" cy="108000"/>
                </a:xfrm>
                <a:prstGeom prst="rect">
                  <a:avLst/>
                </a:prstGeom>
              </p:spPr>
            </p:pic>
          </mc:Fallback>
        </mc:AlternateContent>
        <mc:AlternateContent xmlns:mc="http://schemas.openxmlformats.org/markup-compatibility/2006" xmlns:p14="http://schemas.microsoft.com/office/powerpoint/2010/main">
          <mc:Choice Requires="p14">
            <p:contentPart p14:bwMode="auto" r:id="rId63">
              <p14:nvContentPartPr>
                <p14:cNvPr id="104" name="Ink 103">
                  <a:extLst>
                    <a:ext uri="{FF2B5EF4-FFF2-40B4-BE49-F238E27FC236}">
                      <a16:creationId xmlns:a16="http://schemas.microsoft.com/office/drawing/2014/main" id="{E8038FD2-F19F-46A2-B68E-BA4430877E9F}"/>
                    </a:ext>
                  </a:extLst>
                </p14:cNvPr>
                <p14:cNvContentPartPr/>
                <p14:nvPr/>
              </p14:nvContentPartPr>
              <p14:xfrm>
                <a:off x="7999857" y="585638"/>
                <a:ext cx="48240" cy="139320"/>
              </p14:xfrm>
            </p:contentPart>
          </mc:Choice>
          <mc:Fallback xmlns="">
            <p:pic>
              <p:nvPicPr>
                <p:cNvPr id="104" name="Ink 103">
                  <a:extLst>
                    <a:ext uri="{FF2B5EF4-FFF2-40B4-BE49-F238E27FC236}">
                      <a16:creationId xmlns:a16="http://schemas.microsoft.com/office/drawing/2014/main" id="{E8038FD2-F19F-46A2-B68E-BA4430877E9F}"/>
                    </a:ext>
                  </a:extLst>
                </p:cNvPr>
                <p:cNvPicPr/>
                <p:nvPr/>
              </p:nvPicPr>
              <p:blipFill>
                <a:blip r:embed="rId64"/>
                <a:stretch>
                  <a:fillRect/>
                </a:stretch>
              </p:blipFill>
              <p:spPr>
                <a:xfrm>
                  <a:off x="7995537" y="581318"/>
                  <a:ext cx="56880" cy="147960"/>
                </a:xfrm>
                <a:prstGeom prst="rect">
                  <a:avLst/>
                </a:prstGeom>
              </p:spPr>
            </p:pic>
          </mc:Fallback>
        </mc:AlternateContent>
        <mc:AlternateContent xmlns:mc="http://schemas.openxmlformats.org/markup-compatibility/2006" xmlns:p14="http://schemas.microsoft.com/office/powerpoint/2010/main">
          <mc:Choice Requires="p14">
            <p:contentPart p14:bwMode="auto" r:id="rId65">
              <p14:nvContentPartPr>
                <p14:cNvPr id="105" name="Ink 104">
                  <a:extLst>
                    <a:ext uri="{FF2B5EF4-FFF2-40B4-BE49-F238E27FC236}">
                      <a16:creationId xmlns:a16="http://schemas.microsoft.com/office/drawing/2014/main" id="{3624B60D-70CE-4C57-BB13-CDB2CA6188F8}"/>
                    </a:ext>
                  </a:extLst>
                </p14:cNvPr>
                <p14:cNvContentPartPr/>
                <p14:nvPr/>
              </p14:nvContentPartPr>
              <p14:xfrm>
                <a:off x="8103537" y="599318"/>
                <a:ext cx="57240" cy="57600"/>
              </p14:xfrm>
            </p:contentPart>
          </mc:Choice>
          <mc:Fallback xmlns="">
            <p:pic>
              <p:nvPicPr>
                <p:cNvPr id="105" name="Ink 104">
                  <a:extLst>
                    <a:ext uri="{FF2B5EF4-FFF2-40B4-BE49-F238E27FC236}">
                      <a16:creationId xmlns:a16="http://schemas.microsoft.com/office/drawing/2014/main" id="{3624B60D-70CE-4C57-BB13-CDB2CA6188F8}"/>
                    </a:ext>
                  </a:extLst>
                </p:cNvPr>
                <p:cNvPicPr/>
                <p:nvPr/>
              </p:nvPicPr>
              <p:blipFill>
                <a:blip r:embed="rId66"/>
                <a:stretch>
                  <a:fillRect/>
                </a:stretch>
              </p:blipFill>
              <p:spPr>
                <a:xfrm>
                  <a:off x="8099217" y="594998"/>
                  <a:ext cx="65880" cy="66240"/>
                </a:xfrm>
                <a:prstGeom prst="rect">
                  <a:avLst/>
                </a:prstGeom>
              </p:spPr>
            </p:pic>
          </mc:Fallback>
        </mc:AlternateContent>
        <mc:AlternateContent xmlns:mc="http://schemas.openxmlformats.org/markup-compatibility/2006" xmlns:p14="http://schemas.microsoft.com/office/powerpoint/2010/main">
          <mc:Choice Requires="p14">
            <p:contentPart p14:bwMode="auto" r:id="rId67">
              <p14:nvContentPartPr>
                <p14:cNvPr id="106" name="Ink 105">
                  <a:extLst>
                    <a:ext uri="{FF2B5EF4-FFF2-40B4-BE49-F238E27FC236}">
                      <a16:creationId xmlns:a16="http://schemas.microsoft.com/office/drawing/2014/main" id="{F21C355D-4732-414A-8EB8-72F1F4C1964B}"/>
                    </a:ext>
                  </a:extLst>
                </p14:cNvPr>
                <p14:cNvContentPartPr/>
                <p14:nvPr/>
              </p14:nvContentPartPr>
              <p14:xfrm>
                <a:off x="8196057" y="585638"/>
                <a:ext cx="43920" cy="59400"/>
              </p14:xfrm>
            </p:contentPart>
          </mc:Choice>
          <mc:Fallback xmlns="">
            <p:pic>
              <p:nvPicPr>
                <p:cNvPr id="106" name="Ink 105">
                  <a:extLst>
                    <a:ext uri="{FF2B5EF4-FFF2-40B4-BE49-F238E27FC236}">
                      <a16:creationId xmlns:a16="http://schemas.microsoft.com/office/drawing/2014/main" id="{F21C355D-4732-414A-8EB8-72F1F4C1964B}"/>
                    </a:ext>
                  </a:extLst>
                </p:cNvPr>
                <p:cNvPicPr/>
                <p:nvPr/>
              </p:nvPicPr>
              <p:blipFill>
                <a:blip r:embed="rId68"/>
                <a:stretch>
                  <a:fillRect/>
                </a:stretch>
              </p:blipFill>
              <p:spPr>
                <a:xfrm>
                  <a:off x="8191737" y="581318"/>
                  <a:ext cx="52560" cy="68040"/>
                </a:xfrm>
                <a:prstGeom prst="rect">
                  <a:avLst/>
                </a:prstGeom>
              </p:spPr>
            </p:pic>
          </mc:Fallback>
        </mc:AlternateContent>
      </p:grpSp>
      <p:grpSp>
        <p:nvGrpSpPr>
          <p:cNvPr id="114" name="Group 113">
            <a:extLst>
              <a:ext uri="{FF2B5EF4-FFF2-40B4-BE49-F238E27FC236}">
                <a16:creationId xmlns:a16="http://schemas.microsoft.com/office/drawing/2014/main" id="{7885C676-A88E-492A-99A6-F6E6650F46A0}"/>
              </a:ext>
            </a:extLst>
          </p:cNvPr>
          <p:cNvGrpSpPr/>
          <p:nvPr/>
        </p:nvGrpSpPr>
        <p:grpSpPr>
          <a:xfrm>
            <a:off x="8593137" y="320678"/>
            <a:ext cx="327240" cy="315720"/>
            <a:chOff x="8593137" y="320678"/>
            <a:chExt cx="327240" cy="315720"/>
          </a:xfrm>
        </p:grpSpPr>
        <mc:AlternateContent xmlns:mc="http://schemas.openxmlformats.org/markup-compatibility/2006" xmlns:p14="http://schemas.microsoft.com/office/powerpoint/2010/main">
          <mc:Choice Requires="p14">
            <p:contentPart p14:bwMode="auto" r:id="rId69">
              <p14:nvContentPartPr>
                <p14:cNvPr id="109" name="Ink 108">
                  <a:extLst>
                    <a:ext uri="{FF2B5EF4-FFF2-40B4-BE49-F238E27FC236}">
                      <a16:creationId xmlns:a16="http://schemas.microsoft.com/office/drawing/2014/main" id="{8E5A5103-2C20-473B-B261-46E44E2A34E3}"/>
                    </a:ext>
                  </a:extLst>
                </p14:cNvPr>
                <p14:cNvContentPartPr/>
                <p14:nvPr/>
              </p14:nvContentPartPr>
              <p14:xfrm>
                <a:off x="8593137" y="320678"/>
                <a:ext cx="118080" cy="194040"/>
              </p14:xfrm>
            </p:contentPart>
          </mc:Choice>
          <mc:Fallback xmlns="">
            <p:pic>
              <p:nvPicPr>
                <p:cNvPr id="109" name="Ink 108">
                  <a:extLst>
                    <a:ext uri="{FF2B5EF4-FFF2-40B4-BE49-F238E27FC236}">
                      <a16:creationId xmlns:a16="http://schemas.microsoft.com/office/drawing/2014/main" id="{8E5A5103-2C20-473B-B261-46E44E2A34E3}"/>
                    </a:ext>
                  </a:extLst>
                </p:cNvPr>
                <p:cNvPicPr/>
                <p:nvPr/>
              </p:nvPicPr>
              <p:blipFill>
                <a:blip r:embed="rId70"/>
                <a:stretch>
                  <a:fillRect/>
                </a:stretch>
              </p:blipFill>
              <p:spPr>
                <a:xfrm>
                  <a:off x="8584137" y="311678"/>
                  <a:ext cx="135720" cy="211680"/>
                </a:xfrm>
                <a:prstGeom prst="rect">
                  <a:avLst/>
                </a:prstGeom>
              </p:spPr>
            </p:pic>
          </mc:Fallback>
        </mc:AlternateContent>
        <mc:AlternateContent xmlns:mc="http://schemas.openxmlformats.org/markup-compatibility/2006" xmlns:p14="http://schemas.microsoft.com/office/powerpoint/2010/main">
          <mc:Choice Requires="p14">
            <p:contentPart p14:bwMode="auto" r:id="rId71">
              <p14:nvContentPartPr>
                <p14:cNvPr id="110" name="Ink 109">
                  <a:extLst>
                    <a:ext uri="{FF2B5EF4-FFF2-40B4-BE49-F238E27FC236}">
                      <a16:creationId xmlns:a16="http://schemas.microsoft.com/office/drawing/2014/main" id="{667A8D23-64F8-4238-9EDA-1EFFEDE5EA8D}"/>
                    </a:ext>
                  </a:extLst>
                </p14:cNvPr>
                <p14:cNvContentPartPr/>
                <p14:nvPr/>
              </p14:nvContentPartPr>
              <p14:xfrm>
                <a:off x="8657217" y="488078"/>
                <a:ext cx="96120" cy="148320"/>
              </p14:xfrm>
            </p:contentPart>
          </mc:Choice>
          <mc:Fallback xmlns="">
            <p:pic>
              <p:nvPicPr>
                <p:cNvPr id="110" name="Ink 109">
                  <a:extLst>
                    <a:ext uri="{FF2B5EF4-FFF2-40B4-BE49-F238E27FC236}">
                      <a16:creationId xmlns:a16="http://schemas.microsoft.com/office/drawing/2014/main" id="{667A8D23-64F8-4238-9EDA-1EFFEDE5EA8D}"/>
                    </a:ext>
                  </a:extLst>
                </p:cNvPr>
                <p:cNvPicPr/>
                <p:nvPr/>
              </p:nvPicPr>
              <p:blipFill>
                <a:blip r:embed="rId72"/>
                <a:stretch>
                  <a:fillRect/>
                </a:stretch>
              </p:blipFill>
              <p:spPr>
                <a:xfrm>
                  <a:off x="8648577" y="479078"/>
                  <a:ext cx="113760" cy="165960"/>
                </a:xfrm>
                <a:prstGeom prst="rect">
                  <a:avLst/>
                </a:prstGeom>
              </p:spPr>
            </p:pic>
          </mc:Fallback>
        </mc:AlternateContent>
        <mc:AlternateContent xmlns:mc="http://schemas.openxmlformats.org/markup-compatibility/2006" xmlns:p14="http://schemas.microsoft.com/office/powerpoint/2010/main">
          <mc:Choice Requires="p14">
            <p:contentPart p14:bwMode="auto" r:id="rId73">
              <p14:nvContentPartPr>
                <p14:cNvPr id="112" name="Ink 111">
                  <a:extLst>
                    <a:ext uri="{FF2B5EF4-FFF2-40B4-BE49-F238E27FC236}">
                      <a16:creationId xmlns:a16="http://schemas.microsoft.com/office/drawing/2014/main" id="{D7AE6E3D-4C7A-4FAC-A1E4-6F7C020B45ED}"/>
                    </a:ext>
                  </a:extLst>
                </p14:cNvPr>
                <p14:cNvContentPartPr/>
                <p14:nvPr/>
              </p14:nvContentPartPr>
              <p14:xfrm>
                <a:off x="8753337" y="518318"/>
                <a:ext cx="79200" cy="87480"/>
              </p14:xfrm>
            </p:contentPart>
          </mc:Choice>
          <mc:Fallback xmlns="">
            <p:pic>
              <p:nvPicPr>
                <p:cNvPr id="112" name="Ink 111">
                  <a:extLst>
                    <a:ext uri="{FF2B5EF4-FFF2-40B4-BE49-F238E27FC236}">
                      <a16:creationId xmlns:a16="http://schemas.microsoft.com/office/drawing/2014/main" id="{D7AE6E3D-4C7A-4FAC-A1E4-6F7C020B45ED}"/>
                    </a:ext>
                  </a:extLst>
                </p:cNvPr>
                <p:cNvPicPr/>
                <p:nvPr/>
              </p:nvPicPr>
              <p:blipFill>
                <a:blip r:embed="rId74"/>
                <a:stretch>
                  <a:fillRect/>
                </a:stretch>
              </p:blipFill>
              <p:spPr>
                <a:xfrm>
                  <a:off x="8744337" y="509678"/>
                  <a:ext cx="96840" cy="105120"/>
                </a:xfrm>
                <a:prstGeom prst="rect">
                  <a:avLst/>
                </a:prstGeom>
              </p:spPr>
            </p:pic>
          </mc:Fallback>
        </mc:AlternateContent>
        <mc:AlternateContent xmlns:mc="http://schemas.openxmlformats.org/markup-compatibility/2006" xmlns:p14="http://schemas.microsoft.com/office/powerpoint/2010/main">
          <mc:Choice Requires="p14">
            <p:contentPart p14:bwMode="auto" r:id="rId75">
              <p14:nvContentPartPr>
                <p14:cNvPr id="113" name="Ink 112">
                  <a:extLst>
                    <a:ext uri="{FF2B5EF4-FFF2-40B4-BE49-F238E27FC236}">
                      <a16:creationId xmlns:a16="http://schemas.microsoft.com/office/drawing/2014/main" id="{970F2986-0FFF-4ECB-BE85-093BDF17A43A}"/>
                    </a:ext>
                  </a:extLst>
                </p14:cNvPr>
                <p14:cNvContentPartPr/>
                <p14:nvPr/>
              </p14:nvContentPartPr>
              <p14:xfrm>
                <a:off x="8872857" y="503918"/>
                <a:ext cx="47520" cy="68040"/>
              </p14:xfrm>
            </p:contentPart>
          </mc:Choice>
          <mc:Fallback xmlns="">
            <p:pic>
              <p:nvPicPr>
                <p:cNvPr id="113" name="Ink 112">
                  <a:extLst>
                    <a:ext uri="{FF2B5EF4-FFF2-40B4-BE49-F238E27FC236}">
                      <a16:creationId xmlns:a16="http://schemas.microsoft.com/office/drawing/2014/main" id="{970F2986-0FFF-4ECB-BE85-093BDF17A43A}"/>
                    </a:ext>
                  </a:extLst>
                </p:cNvPr>
                <p:cNvPicPr/>
                <p:nvPr/>
              </p:nvPicPr>
              <p:blipFill>
                <a:blip r:embed="rId76"/>
                <a:stretch>
                  <a:fillRect/>
                </a:stretch>
              </p:blipFill>
              <p:spPr>
                <a:xfrm>
                  <a:off x="8863857" y="495278"/>
                  <a:ext cx="65160" cy="85680"/>
                </a:xfrm>
                <a:prstGeom prst="rect">
                  <a:avLst/>
                </a:prstGeom>
              </p:spPr>
            </p:pic>
          </mc:Fallback>
        </mc:AlternateContent>
      </p:grpSp>
      <p:sp>
        <p:nvSpPr>
          <p:cNvPr id="118" name="TextBox 117">
            <a:extLst>
              <a:ext uri="{FF2B5EF4-FFF2-40B4-BE49-F238E27FC236}">
                <a16:creationId xmlns:a16="http://schemas.microsoft.com/office/drawing/2014/main" id="{9FD59B1B-B3B2-450D-B9E2-D257740BB6D2}"/>
              </a:ext>
            </a:extLst>
          </p:cNvPr>
          <p:cNvSpPr txBox="1"/>
          <p:nvPr/>
        </p:nvSpPr>
        <p:spPr>
          <a:xfrm>
            <a:off x="142902" y="3671560"/>
            <a:ext cx="6489449" cy="369332"/>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Inter"/>
                <a:cs typeface="Arial" panose="020B0604020202020204" pitchFamily="34" charset="0"/>
              </a:rPr>
              <a:t>Let’s learn how to identify and treat outliers in our ML classes</a:t>
            </a:r>
          </a:p>
        </p:txBody>
      </p:sp>
      <mc:AlternateContent xmlns:mc="http://schemas.openxmlformats.org/markup-compatibility/2006" xmlns:p14="http://schemas.microsoft.com/office/powerpoint/2010/main">
        <mc:Choice Requires="p14">
          <p:contentPart p14:bwMode="auto" r:id="rId77">
            <p14:nvContentPartPr>
              <p14:cNvPr id="2" name="Ink 1">
                <a:extLst>
                  <a:ext uri="{FF2B5EF4-FFF2-40B4-BE49-F238E27FC236}">
                    <a16:creationId xmlns:a16="http://schemas.microsoft.com/office/drawing/2014/main" id="{C4B3869E-E137-4186-B02D-22FEA0210604}"/>
                  </a:ext>
                </a:extLst>
              </p14:cNvPr>
              <p14:cNvContentPartPr/>
              <p14:nvPr/>
            </p14:nvContentPartPr>
            <p14:xfrm>
              <a:off x="200160" y="114480"/>
              <a:ext cx="7839360" cy="4086360"/>
            </p14:xfrm>
          </p:contentPart>
        </mc:Choice>
        <mc:Fallback xmlns="">
          <p:pic>
            <p:nvPicPr>
              <p:cNvPr id="2" name="Ink 1">
                <a:extLst>
                  <a:ext uri="{FF2B5EF4-FFF2-40B4-BE49-F238E27FC236}">
                    <a16:creationId xmlns:a16="http://schemas.microsoft.com/office/drawing/2014/main" id="{C4B3869E-E137-4186-B02D-22FEA0210604}"/>
                  </a:ext>
                </a:extLst>
              </p:cNvPr>
              <p:cNvPicPr/>
              <p:nvPr/>
            </p:nvPicPr>
            <p:blipFill>
              <a:blip r:embed="rId78"/>
              <a:stretch>
                <a:fillRect/>
              </a:stretch>
            </p:blipFill>
            <p:spPr>
              <a:xfrm>
                <a:off x="190800" y="105120"/>
                <a:ext cx="7858080" cy="4105080"/>
              </a:xfrm>
              <a:prstGeom prst="rect">
                <a:avLst/>
              </a:prstGeom>
            </p:spPr>
          </p:pic>
        </mc:Fallback>
      </mc:AlternateContent>
    </p:spTree>
    <p:extLst>
      <p:ext uri="{BB962C8B-B14F-4D97-AF65-F5344CB8AC3E}">
        <p14:creationId xmlns:p14="http://schemas.microsoft.com/office/powerpoint/2010/main" val="293059769"/>
      </p:ext>
    </p:extLst>
  </p:cSld>
  <p:clrMapOvr>
    <a:masterClrMapping/>
  </p:clrMapOvr>
  <p:transition spd="med">
    <p:wipe dir="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56FF563-E73D-4114-871D-69CA13511BB3}"/>
              </a:ext>
            </a:extLst>
          </p:cNvPr>
          <p:cNvSpPr>
            <a:spLocks noGrp="1"/>
          </p:cNvSpPr>
          <p:nvPr>
            <p:ph type="title"/>
          </p:nvPr>
        </p:nvSpPr>
        <p:spPr>
          <a:xfrm>
            <a:off x="0" y="0"/>
            <a:ext cx="7955280" cy="640080"/>
          </a:xfrm>
        </p:spPr>
        <p:txBody>
          <a:bodyPr>
            <a:normAutofit fontScale="90000"/>
          </a:bodyPr>
          <a:lstStyle/>
          <a:p>
            <a:r>
              <a:rPr lang="en-US" dirty="0"/>
              <a:t>Mean – Continued</a:t>
            </a:r>
            <a:br>
              <a:rPr lang="en-US" dirty="0"/>
            </a:br>
            <a:r>
              <a:rPr lang="en-US" dirty="0">
                <a:solidFill>
                  <a:schemeClr val="bg2">
                    <a:lumMod val="50000"/>
                    <a:lumOff val="50000"/>
                  </a:schemeClr>
                </a:solidFill>
              </a:rPr>
              <a:t>Different types of Mean</a:t>
            </a:r>
          </a:p>
        </p:txBody>
      </p:sp>
      <p:sp>
        <p:nvSpPr>
          <p:cNvPr id="4" name="Content Placeholder 3">
            <a:extLst>
              <a:ext uri="{FF2B5EF4-FFF2-40B4-BE49-F238E27FC236}">
                <a16:creationId xmlns:a16="http://schemas.microsoft.com/office/drawing/2014/main" id="{7D3B6E85-01D6-4560-BC37-4C032EA4F8B6}"/>
              </a:ext>
            </a:extLst>
          </p:cNvPr>
          <p:cNvSpPr>
            <a:spLocks noGrp="1"/>
          </p:cNvSpPr>
          <p:nvPr>
            <p:ph sz="half" idx="1"/>
          </p:nvPr>
        </p:nvSpPr>
        <p:spPr>
          <a:xfrm>
            <a:off x="64915" y="898005"/>
            <a:ext cx="8073943" cy="3820578"/>
          </a:xfrm>
        </p:spPr>
        <p:txBody>
          <a:bodyPr/>
          <a:lstStyle/>
          <a:p>
            <a:pPr marL="0" indent="0">
              <a:buNone/>
            </a:pPr>
            <a:r>
              <a:rPr lang="en-US" sz="2500" dirty="0">
                <a:solidFill>
                  <a:srgbClr val="007DB8"/>
                </a:solidFill>
              </a:rPr>
              <a:t>Arithmetic Mean </a:t>
            </a:r>
          </a:p>
          <a:p>
            <a:r>
              <a:rPr lang="en-US" dirty="0">
                <a:solidFill>
                  <a:schemeClr val="bg2">
                    <a:lumMod val="50000"/>
                    <a:lumOff val="50000"/>
                  </a:schemeClr>
                </a:solidFill>
                <a:latin typeface="Inter"/>
              </a:rPr>
              <a:t>When you add up all the values and divide by the number of values it is called Arithmetic Mean. To calculate, just add up all the given numbers then divide by how many numbers are given.</a:t>
            </a:r>
          </a:p>
          <a:p>
            <a:pPr lvl="1"/>
            <a:r>
              <a:rPr lang="en-US" sz="1400" dirty="0">
                <a:solidFill>
                  <a:schemeClr val="bg2">
                    <a:lumMod val="50000"/>
                    <a:lumOff val="50000"/>
                  </a:schemeClr>
                </a:solidFill>
                <a:latin typeface="Inter"/>
              </a:rPr>
              <a:t>Example: What is the mean of 3, 5, 9, 5, 7, 2?</a:t>
            </a:r>
          </a:p>
          <a:p>
            <a:pPr lvl="1"/>
            <a:r>
              <a:rPr lang="en-US" sz="1400" dirty="0">
                <a:solidFill>
                  <a:schemeClr val="bg2">
                    <a:lumMod val="50000"/>
                    <a:lumOff val="50000"/>
                  </a:schemeClr>
                </a:solidFill>
                <a:latin typeface="Inter"/>
              </a:rPr>
              <a:t>Now add up all the given numbers:</a:t>
            </a:r>
          </a:p>
          <a:p>
            <a:pPr lvl="1"/>
            <a:r>
              <a:rPr lang="en-US" sz="1400" dirty="0">
                <a:solidFill>
                  <a:schemeClr val="bg2">
                    <a:lumMod val="50000"/>
                    <a:lumOff val="50000"/>
                  </a:schemeClr>
                </a:solidFill>
                <a:latin typeface="Inter"/>
              </a:rPr>
              <a:t>3 + 5 + 9 + 5 + 7 + 2 = 31</a:t>
            </a:r>
          </a:p>
          <a:p>
            <a:pPr lvl="1"/>
            <a:r>
              <a:rPr lang="en-US" sz="1400" dirty="0">
                <a:solidFill>
                  <a:schemeClr val="bg2">
                    <a:lumMod val="50000"/>
                    <a:lumOff val="50000"/>
                  </a:schemeClr>
                </a:solidFill>
                <a:latin typeface="Inter"/>
              </a:rPr>
              <a:t>Now divide by how many numbers provided in the sequence:</a:t>
            </a:r>
          </a:p>
          <a:p>
            <a:pPr lvl="1"/>
            <a:r>
              <a:rPr lang="en-US" sz="1400" dirty="0">
                <a:solidFill>
                  <a:schemeClr val="bg2">
                    <a:lumMod val="50000"/>
                    <a:lumOff val="50000"/>
                  </a:schemeClr>
                </a:solidFill>
                <a:latin typeface="Inter"/>
              </a:rPr>
              <a:t>316= 5.16</a:t>
            </a:r>
          </a:p>
          <a:p>
            <a:pPr lvl="1"/>
            <a:r>
              <a:rPr lang="en-US" sz="1400" dirty="0">
                <a:solidFill>
                  <a:schemeClr val="bg2">
                    <a:lumMod val="50000"/>
                    <a:lumOff val="50000"/>
                  </a:schemeClr>
                </a:solidFill>
                <a:latin typeface="Inter"/>
              </a:rPr>
              <a:t>5.16 is the answer</a:t>
            </a:r>
            <a:r>
              <a:rPr lang="en-US" dirty="0"/>
              <a:t>.</a:t>
            </a:r>
          </a:p>
          <a:p>
            <a:endParaRPr lang="en-US" dirty="0"/>
          </a:p>
        </p:txBody>
      </p:sp>
      <p:pic>
        <p:nvPicPr>
          <p:cNvPr id="6" name="Picture 5">
            <a:extLst>
              <a:ext uri="{FF2B5EF4-FFF2-40B4-BE49-F238E27FC236}">
                <a16:creationId xmlns:a16="http://schemas.microsoft.com/office/drawing/2014/main" id="{27CA7337-1D9D-4B99-B6FB-2A461EFDE4E9}"/>
              </a:ext>
            </a:extLst>
          </p:cNvPr>
          <p:cNvPicPr>
            <a:picLocks noChangeAspect="1"/>
          </p:cNvPicPr>
          <p:nvPr/>
        </p:nvPicPr>
        <p:blipFill>
          <a:blip r:embed="rId2"/>
          <a:stretch>
            <a:fillRect/>
          </a:stretch>
        </p:blipFill>
        <p:spPr>
          <a:xfrm>
            <a:off x="531909" y="3657310"/>
            <a:ext cx="4143375" cy="495300"/>
          </a:xfrm>
          <a:prstGeom prst="rect">
            <a:avLst/>
          </a:prstGeom>
        </p:spPr>
      </p:pic>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72A70066-CA60-45FA-A11D-461CEC4D32E0}"/>
                  </a:ext>
                </a:extLst>
              </p14:cNvPr>
              <p14:cNvContentPartPr/>
              <p14:nvPr/>
            </p14:nvContentPartPr>
            <p14:xfrm>
              <a:off x="2643120" y="952560"/>
              <a:ext cx="1252800" cy="333720"/>
            </p14:xfrm>
          </p:contentPart>
        </mc:Choice>
        <mc:Fallback xmlns="">
          <p:pic>
            <p:nvPicPr>
              <p:cNvPr id="2" name="Ink 1">
                <a:extLst>
                  <a:ext uri="{FF2B5EF4-FFF2-40B4-BE49-F238E27FC236}">
                    <a16:creationId xmlns:a16="http://schemas.microsoft.com/office/drawing/2014/main" id="{72A70066-CA60-45FA-A11D-461CEC4D32E0}"/>
                  </a:ext>
                </a:extLst>
              </p:cNvPr>
              <p:cNvPicPr/>
              <p:nvPr/>
            </p:nvPicPr>
            <p:blipFill>
              <a:blip r:embed="rId4"/>
              <a:stretch>
                <a:fillRect/>
              </a:stretch>
            </p:blipFill>
            <p:spPr>
              <a:xfrm>
                <a:off x="2633760" y="943200"/>
                <a:ext cx="1271520" cy="352440"/>
              </a:xfrm>
              <a:prstGeom prst="rect">
                <a:avLst/>
              </a:prstGeom>
            </p:spPr>
          </p:pic>
        </mc:Fallback>
      </mc:AlternateContent>
    </p:spTree>
    <p:extLst>
      <p:ext uri="{BB962C8B-B14F-4D97-AF65-F5344CB8AC3E}">
        <p14:creationId xmlns:p14="http://schemas.microsoft.com/office/powerpoint/2010/main" val="2903660889"/>
      </p:ext>
    </p:extLst>
  </p:cSld>
  <p:clrMapOvr>
    <a:masterClrMapping/>
  </p:clrMapOvr>
  <p:transition spd="med">
    <p:wipe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091FEF-38B0-4D5D-ACF9-640E94B25F1B}"/>
              </a:ext>
            </a:extLst>
          </p:cNvPr>
          <p:cNvSpPr>
            <a:spLocks noGrp="1"/>
          </p:cNvSpPr>
          <p:nvPr>
            <p:ph type="title"/>
          </p:nvPr>
        </p:nvSpPr>
        <p:spPr/>
        <p:txBody>
          <a:bodyPr/>
          <a:lstStyle/>
          <a:p>
            <a:r>
              <a:rPr lang="en-US" dirty="0"/>
              <a:t>Some statistical statements</a:t>
            </a:r>
          </a:p>
        </p:txBody>
      </p:sp>
      <p:sp>
        <p:nvSpPr>
          <p:cNvPr id="3" name="Content Placeholder 2">
            <a:extLst>
              <a:ext uri="{FF2B5EF4-FFF2-40B4-BE49-F238E27FC236}">
                <a16:creationId xmlns:a16="http://schemas.microsoft.com/office/drawing/2014/main" id="{CA61F78B-9CC5-4759-8D88-4612E1CAB972}"/>
              </a:ext>
            </a:extLst>
          </p:cNvPr>
          <p:cNvSpPr>
            <a:spLocks noGrp="1"/>
          </p:cNvSpPr>
          <p:nvPr>
            <p:ph sz="half" idx="1"/>
          </p:nvPr>
        </p:nvSpPr>
        <p:spPr>
          <a:xfrm>
            <a:off x="161586" y="1054691"/>
            <a:ext cx="7924386" cy="3200400"/>
          </a:xfrm>
        </p:spPr>
        <p:txBody>
          <a:bodyPr/>
          <a:lstStyle/>
          <a:p>
            <a:r>
              <a:rPr lang="en-US" dirty="0">
                <a:solidFill>
                  <a:schemeClr val="bg2">
                    <a:lumMod val="50000"/>
                    <a:lumOff val="50000"/>
                  </a:schemeClr>
                </a:solidFill>
              </a:rPr>
              <a:t>I drive my car at an average speed of 50 km/hr.</a:t>
            </a:r>
          </a:p>
          <a:p>
            <a:pPr marL="0" indent="0">
              <a:buNone/>
            </a:pPr>
            <a:endParaRPr lang="en-US" dirty="0">
              <a:solidFill>
                <a:schemeClr val="bg2">
                  <a:lumMod val="50000"/>
                  <a:lumOff val="50000"/>
                </a:schemeClr>
              </a:solidFill>
            </a:endParaRPr>
          </a:p>
          <a:p>
            <a:r>
              <a:rPr lang="en-US" dirty="0">
                <a:solidFill>
                  <a:schemeClr val="bg2">
                    <a:lumMod val="50000"/>
                    <a:lumOff val="50000"/>
                  </a:schemeClr>
                </a:solidFill>
              </a:rPr>
              <a:t>A survey of 1000 adults by a capital markets company showed that 75% of adults think that Corona vaccine is 96% efficacy (if that is the case then 4% of people can die)</a:t>
            </a:r>
          </a:p>
          <a:p>
            <a:pPr marL="0" indent="0">
              <a:buNone/>
            </a:pPr>
            <a:endParaRPr lang="en-US" dirty="0">
              <a:solidFill>
                <a:schemeClr val="bg2">
                  <a:lumMod val="50000"/>
                  <a:lumOff val="50000"/>
                </a:schemeClr>
              </a:solidFill>
            </a:endParaRPr>
          </a:p>
          <a:p>
            <a:r>
              <a:rPr lang="en-US" dirty="0">
                <a:solidFill>
                  <a:schemeClr val="bg2">
                    <a:lumMod val="50000"/>
                    <a:lumOff val="50000"/>
                  </a:schemeClr>
                </a:solidFill>
              </a:rPr>
              <a:t>We will close the quarter higher at 120% attainment ( Actuals/Target)</a:t>
            </a:r>
          </a:p>
          <a:p>
            <a:pPr marL="0" indent="0">
              <a:buNone/>
            </a:pPr>
            <a:endParaRPr lang="en-US" dirty="0">
              <a:solidFill>
                <a:schemeClr val="bg2">
                  <a:lumMod val="50000"/>
                  <a:lumOff val="50000"/>
                </a:schemeClr>
              </a:solidFill>
            </a:endParaRPr>
          </a:p>
          <a:p>
            <a:r>
              <a:rPr lang="en-US" dirty="0">
                <a:solidFill>
                  <a:schemeClr val="bg2">
                    <a:lumMod val="50000"/>
                    <a:lumOff val="50000"/>
                  </a:schemeClr>
                </a:solidFill>
              </a:rPr>
              <a:t>20% of our workforce would resign by the end of next year</a:t>
            </a:r>
          </a:p>
          <a:p>
            <a:endParaRPr lang="en-US" dirty="0"/>
          </a:p>
        </p:txBody>
      </p:sp>
      <p:sp>
        <p:nvSpPr>
          <p:cNvPr id="4" name="TextBox 3">
            <a:extLst>
              <a:ext uri="{FF2B5EF4-FFF2-40B4-BE49-F238E27FC236}">
                <a16:creationId xmlns:a16="http://schemas.microsoft.com/office/drawing/2014/main" id="{65CFAE00-AD21-409B-AE44-D05A37D298A0}"/>
              </a:ext>
            </a:extLst>
          </p:cNvPr>
          <p:cNvSpPr txBox="1"/>
          <p:nvPr/>
        </p:nvSpPr>
        <p:spPr>
          <a:xfrm>
            <a:off x="161585" y="3993481"/>
            <a:ext cx="8606633" cy="523220"/>
          </a:xfrm>
          <a:prstGeom prst="rect">
            <a:avLst/>
          </a:prstGeom>
          <a:noFill/>
        </p:spPr>
        <p:txBody>
          <a:bodyPr wrap="square" rtlCol="0">
            <a:spAutoFit/>
          </a:bodyPr>
          <a:lstStyle/>
          <a:p>
            <a:pPr>
              <a:spcBef>
                <a:spcPts val="0"/>
              </a:spcBef>
              <a:spcAft>
                <a:spcPts val="0"/>
              </a:spcAft>
              <a:buClr>
                <a:schemeClr val="bg1"/>
              </a:buClr>
            </a:pPr>
            <a:r>
              <a:rPr lang="en-US" sz="1400" i="1" dirty="0">
                <a:solidFill>
                  <a:schemeClr val="bg1"/>
                </a:solidFill>
                <a:latin typeface="+mn-lt"/>
              </a:rPr>
              <a:t>So, you can challenge most of the statements here. But these statements will be applicable to most of the population but there can be exceptions.</a:t>
            </a:r>
          </a:p>
        </p:txBody>
      </p:sp>
    </p:spTree>
    <p:extLst>
      <p:ext uri="{BB962C8B-B14F-4D97-AF65-F5344CB8AC3E}">
        <p14:creationId xmlns:p14="http://schemas.microsoft.com/office/powerpoint/2010/main" val="3865591795"/>
      </p:ext>
    </p:extLst>
  </p:cSld>
  <p:clrMapOvr>
    <a:masterClrMapping/>
  </p:clrMapOvr>
  <p:transition spd="med">
    <p:wipe dir="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05DE446-0BA5-47DD-9C34-E22160028D02}"/>
              </a:ext>
            </a:extLst>
          </p:cNvPr>
          <p:cNvSpPr>
            <a:spLocks noGrp="1"/>
          </p:cNvSpPr>
          <p:nvPr>
            <p:ph type="title"/>
          </p:nvPr>
        </p:nvSpPr>
        <p:spPr>
          <a:xfrm>
            <a:off x="0" y="27981"/>
            <a:ext cx="7955280" cy="640080"/>
          </a:xfrm>
        </p:spPr>
        <p:txBody>
          <a:bodyPr/>
          <a:lstStyle/>
          <a:p>
            <a:r>
              <a:rPr lang="en-US" dirty="0"/>
              <a:t>Geometric Mean</a:t>
            </a:r>
          </a:p>
        </p:txBody>
      </p:sp>
      <p:sp>
        <p:nvSpPr>
          <p:cNvPr id="4" name="Content Placeholder 3">
            <a:extLst>
              <a:ext uri="{FF2B5EF4-FFF2-40B4-BE49-F238E27FC236}">
                <a16:creationId xmlns:a16="http://schemas.microsoft.com/office/drawing/2014/main" id="{8B864218-C049-4F5F-973F-1252FE3B9728}"/>
              </a:ext>
            </a:extLst>
          </p:cNvPr>
          <p:cNvSpPr>
            <a:spLocks noGrp="1"/>
          </p:cNvSpPr>
          <p:nvPr>
            <p:ph sz="half" idx="1"/>
          </p:nvPr>
        </p:nvSpPr>
        <p:spPr>
          <a:xfrm>
            <a:off x="274320" y="607273"/>
            <a:ext cx="7955280" cy="3964727"/>
          </a:xfrm>
        </p:spPr>
        <p:txBody>
          <a:bodyPr/>
          <a:lstStyle/>
          <a:p>
            <a:r>
              <a:rPr lang="en-US" dirty="0">
                <a:solidFill>
                  <a:schemeClr val="bg2">
                    <a:lumMod val="50000"/>
                    <a:lumOff val="50000"/>
                  </a:schemeClr>
                </a:solidFill>
                <a:latin typeface="Inter"/>
              </a:rPr>
              <a:t>While finding geometric mean the values are </a:t>
            </a:r>
            <a:r>
              <a:rPr lang="en-US" dirty="0" err="1">
                <a:solidFill>
                  <a:schemeClr val="bg2">
                    <a:lumMod val="50000"/>
                    <a:lumOff val="50000"/>
                  </a:schemeClr>
                </a:solidFill>
                <a:latin typeface="Inter"/>
              </a:rPr>
              <a:t>multipled</a:t>
            </a:r>
            <a:r>
              <a:rPr lang="en-US" dirty="0">
                <a:solidFill>
                  <a:schemeClr val="bg2">
                    <a:lumMod val="50000"/>
                    <a:lumOff val="50000"/>
                  </a:schemeClr>
                </a:solidFill>
                <a:latin typeface="Inter"/>
              </a:rPr>
              <a:t> rather than summed up </a:t>
            </a:r>
          </a:p>
          <a:p>
            <a:endParaRPr lang="en-US" dirty="0">
              <a:solidFill>
                <a:schemeClr val="bg2">
                  <a:lumMod val="50000"/>
                  <a:lumOff val="50000"/>
                </a:schemeClr>
              </a:solidFill>
              <a:latin typeface="Inter"/>
            </a:endParaRPr>
          </a:p>
          <a:p>
            <a:r>
              <a:rPr lang="en-US" dirty="0">
                <a:solidFill>
                  <a:schemeClr val="bg2">
                    <a:lumMod val="50000"/>
                    <a:lumOff val="50000"/>
                  </a:schemeClr>
                </a:solidFill>
                <a:latin typeface="Inter"/>
              </a:rPr>
              <a:t>Example: Find the geometric mean of 4 and 3 ?</a:t>
            </a:r>
          </a:p>
          <a:p>
            <a:pPr lvl="1"/>
            <a:r>
              <a:rPr lang="en-US" sz="1400" dirty="0">
                <a:solidFill>
                  <a:schemeClr val="bg2">
                    <a:lumMod val="50000"/>
                    <a:lumOff val="50000"/>
                  </a:schemeClr>
                </a:solidFill>
                <a:latin typeface="Inter"/>
              </a:rPr>
              <a:t>Geometric Mean =√4×3=2√23= 3.46</a:t>
            </a:r>
          </a:p>
          <a:p>
            <a:r>
              <a:rPr lang="en-US" dirty="0">
                <a:solidFill>
                  <a:schemeClr val="bg2">
                    <a:lumMod val="50000"/>
                    <a:lumOff val="50000"/>
                  </a:schemeClr>
                </a:solidFill>
                <a:latin typeface="Inter"/>
              </a:rPr>
              <a:t>GM of 2 numbers is like finding area and the GM of 3 numbers is like finding the volume of area.. </a:t>
            </a:r>
          </a:p>
          <a:p>
            <a:pPr lvl="1"/>
            <a:r>
              <a:rPr lang="en-US" sz="1400" dirty="0">
                <a:solidFill>
                  <a:schemeClr val="bg2">
                    <a:lumMod val="50000"/>
                    <a:lumOff val="50000"/>
                  </a:schemeClr>
                </a:solidFill>
                <a:latin typeface="Inter"/>
              </a:rPr>
              <a:t>Ex : What is geometric mean of 1,3,9,27,81 ? </a:t>
            </a:r>
          </a:p>
          <a:p>
            <a:r>
              <a:rPr lang="en-US" dirty="0">
                <a:solidFill>
                  <a:schemeClr val="bg2">
                    <a:lumMod val="50000"/>
                    <a:lumOff val="50000"/>
                  </a:schemeClr>
                </a:solidFill>
                <a:latin typeface="Inter"/>
              </a:rPr>
              <a:t>Why Geometric Mean ? </a:t>
            </a:r>
          </a:p>
          <a:p>
            <a:pPr lvl="1"/>
            <a:r>
              <a:rPr lang="en-US" sz="1400" dirty="0">
                <a:solidFill>
                  <a:schemeClr val="bg2">
                    <a:lumMod val="50000"/>
                    <a:lumOff val="50000"/>
                  </a:schemeClr>
                </a:solidFill>
                <a:latin typeface="Inter"/>
              </a:rPr>
              <a:t>Ex : Buying a laptop </a:t>
            </a:r>
          </a:p>
          <a:p>
            <a:endParaRPr lang="en-US" dirty="0"/>
          </a:p>
        </p:txBody>
      </p:sp>
      <p:pic>
        <p:nvPicPr>
          <p:cNvPr id="6" name="Picture 5" descr="A picture containing text, electronics, computer, display&#10;&#10;Description automatically generated">
            <a:extLst>
              <a:ext uri="{FF2B5EF4-FFF2-40B4-BE49-F238E27FC236}">
                <a16:creationId xmlns:a16="http://schemas.microsoft.com/office/drawing/2014/main" id="{5F3DBB60-44C0-4843-BD26-C515BA6729B8}"/>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499018" y="2836996"/>
            <a:ext cx="2559126" cy="1413917"/>
          </a:xfrm>
          <a:prstGeom prst="rect">
            <a:avLst/>
          </a:prstGeom>
        </p:spPr>
      </p:pic>
      <p:pic>
        <p:nvPicPr>
          <p:cNvPr id="9" name="Picture 8">
            <a:extLst>
              <a:ext uri="{FF2B5EF4-FFF2-40B4-BE49-F238E27FC236}">
                <a16:creationId xmlns:a16="http://schemas.microsoft.com/office/drawing/2014/main" id="{EF92DF04-2F8E-4143-B9E7-DB7E0542E115}"/>
              </a:ext>
            </a:extLst>
          </p:cNvPr>
          <p:cNvPicPr>
            <a:picLocks noChangeAspect="1"/>
          </p:cNvPicPr>
          <p:nvPr/>
        </p:nvPicPr>
        <p:blipFill>
          <a:blip r:embed="rId4"/>
          <a:stretch>
            <a:fillRect/>
          </a:stretch>
        </p:blipFill>
        <p:spPr>
          <a:xfrm>
            <a:off x="1619396" y="818583"/>
            <a:ext cx="3657600" cy="466725"/>
          </a:xfrm>
          <a:prstGeom prst="rect">
            <a:avLst/>
          </a:prstGeom>
        </p:spPr>
      </p:pic>
      <mc:AlternateContent xmlns:mc="http://schemas.openxmlformats.org/markup-compatibility/2006" xmlns:p14="http://schemas.microsoft.com/office/powerpoint/2010/main">
        <mc:Choice Requires="p14">
          <p:contentPart p14:bwMode="auto" r:id="rId5">
            <p14:nvContentPartPr>
              <p14:cNvPr id="2" name="Ink 1">
                <a:extLst>
                  <a:ext uri="{FF2B5EF4-FFF2-40B4-BE49-F238E27FC236}">
                    <a16:creationId xmlns:a16="http://schemas.microsoft.com/office/drawing/2014/main" id="{F6FBB83E-FA23-4B14-816F-85CFDDA8F07E}"/>
                  </a:ext>
                </a:extLst>
              </p14:cNvPr>
              <p14:cNvContentPartPr/>
              <p14:nvPr/>
            </p14:nvContentPartPr>
            <p14:xfrm>
              <a:off x="571680" y="171360"/>
              <a:ext cx="7848720" cy="4343760"/>
            </p14:xfrm>
          </p:contentPart>
        </mc:Choice>
        <mc:Fallback xmlns="">
          <p:pic>
            <p:nvPicPr>
              <p:cNvPr id="2" name="Ink 1">
                <a:extLst>
                  <a:ext uri="{FF2B5EF4-FFF2-40B4-BE49-F238E27FC236}">
                    <a16:creationId xmlns:a16="http://schemas.microsoft.com/office/drawing/2014/main" id="{F6FBB83E-FA23-4B14-816F-85CFDDA8F07E}"/>
                  </a:ext>
                </a:extLst>
              </p:cNvPr>
              <p:cNvPicPr/>
              <p:nvPr/>
            </p:nvPicPr>
            <p:blipFill>
              <a:blip r:embed="rId6"/>
              <a:stretch>
                <a:fillRect/>
              </a:stretch>
            </p:blipFill>
            <p:spPr>
              <a:xfrm>
                <a:off x="562320" y="162000"/>
                <a:ext cx="7867440" cy="4362480"/>
              </a:xfrm>
              <a:prstGeom prst="rect">
                <a:avLst/>
              </a:prstGeom>
            </p:spPr>
          </p:pic>
        </mc:Fallback>
      </mc:AlternateContent>
    </p:spTree>
    <p:extLst>
      <p:ext uri="{BB962C8B-B14F-4D97-AF65-F5344CB8AC3E}">
        <p14:creationId xmlns:p14="http://schemas.microsoft.com/office/powerpoint/2010/main" val="2355739922"/>
      </p:ext>
    </p:extLst>
  </p:cSld>
  <p:clrMapOvr>
    <a:masterClrMapping/>
  </p:clrMapOvr>
  <p:transition spd="med">
    <p:wipe dir="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7F2BE7F-23BD-4650-9881-92293F42646A}"/>
              </a:ext>
            </a:extLst>
          </p:cNvPr>
          <p:cNvSpPr>
            <a:spLocks noGrp="1"/>
          </p:cNvSpPr>
          <p:nvPr>
            <p:ph type="title"/>
          </p:nvPr>
        </p:nvSpPr>
        <p:spPr>
          <a:xfrm>
            <a:off x="0" y="0"/>
            <a:ext cx="7955280" cy="640080"/>
          </a:xfrm>
        </p:spPr>
        <p:txBody>
          <a:bodyPr/>
          <a:lstStyle/>
          <a:p>
            <a:r>
              <a:rPr lang="en-US" dirty="0"/>
              <a:t>Harmonic Mean</a:t>
            </a:r>
          </a:p>
        </p:txBody>
      </p:sp>
      <p:sp>
        <p:nvSpPr>
          <p:cNvPr id="4" name="Content Placeholder 3">
            <a:extLst>
              <a:ext uri="{FF2B5EF4-FFF2-40B4-BE49-F238E27FC236}">
                <a16:creationId xmlns:a16="http://schemas.microsoft.com/office/drawing/2014/main" id="{FE64AFE6-BC36-4F1D-ACEC-72EB9E24C942}"/>
              </a:ext>
            </a:extLst>
          </p:cNvPr>
          <p:cNvSpPr>
            <a:spLocks noGrp="1"/>
          </p:cNvSpPr>
          <p:nvPr>
            <p:ph sz="half" idx="1"/>
          </p:nvPr>
        </p:nvSpPr>
        <p:spPr>
          <a:xfrm>
            <a:off x="57936" y="570889"/>
            <a:ext cx="8534632" cy="4001721"/>
          </a:xfrm>
        </p:spPr>
        <p:txBody>
          <a:bodyPr/>
          <a:lstStyle/>
          <a:p>
            <a:r>
              <a:rPr lang="en-US" sz="1800" kern="1200" dirty="0">
                <a:solidFill>
                  <a:schemeClr val="bg2">
                    <a:lumMod val="50000"/>
                    <a:lumOff val="50000"/>
                  </a:schemeClr>
                </a:solidFill>
                <a:latin typeface="Inter"/>
                <a:ea typeface="+mn-ea"/>
              </a:rPr>
              <a:t>The harmonic mean is a type of numerical average. It is calculated by dividing the number of observations by the reciprocal of each number in the series. </a:t>
            </a:r>
          </a:p>
          <a:p>
            <a:r>
              <a:rPr lang="en-US" sz="1800" kern="1200" dirty="0">
                <a:solidFill>
                  <a:schemeClr val="bg2">
                    <a:lumMod val="50000"/>
                    <a:lumOff val="50000"/>
                  </a:schemeClr>
                </a:solidFill>
                <a:latin typeface="Inter"/>
                <a:ea typeface="+mn-ea"/>
              </a:rPr>
              <a:t>The reciprocal of a number n is simply 1 / n.</a:t>
            </a:r>
          </a:p>
          <a:p>
            <a:r>
              <a:rPr lang="en-US" sz="1800" kern="1200" dirty="0">
                <a:solidFill>
                  <a:schemeClr val="bg2">
                    <a:lumMod val="50000"/>
                    <a:lumOff val="50000"/>
                  </a:schemeClr>
                </a:solidFill>
                <a:latin typeface="Inter"/>
                <a:ea typeface="+mn-ea"/>
              </a:rPr>
              <a:t>Ex : the harmonic mean of 2, 4, 6, 8, 50 is </a:t>
            </a:r>
          </a:p>
        </p:txBody>
      </p:sp>
      <mc:AlternateContent xmlns:mc="http://schemas.openxmlformats.org/markup-compatibility/2006" xmlns:p14="http://schemas.microsoft.com/office/powerpoint/2010/main">
        <mc:Choice Requires="p14">
          <p:contentPart p14:bwMode="auto" r:id="rId2">
            <p14:nvContentPartPr>
              <p14:cNvPr id="9" name="Ink 8">
                <a:extLst>
                  <a:ext uri="{FF2B5EF4-FFF2-40B4-BE49-F238E27FC236}">
                    <a16:creationId xmlns:a16="http://schemas.microsoft.com/office/drawing/2014/main" id="{521DD35F-BF5C-4C24-8567-60DAF0F0E899}"/>
                  </a:ext>
                </a:extLst>
              </p14:cNvPr>
              <p14:cNvContentPartPr/>
              <p14:nvPr/>
            </p14:nvContentPartPr>
            <p14:xfrm>
              <a:off x="1577097" y="2882438"/>
              <a:ext cx="360" cy="360"/>
            </p14:xfrm>
          </p:contentPart>
        </mc:Choice>
        <mc:Fallback xmlns="">
          <p:pic>
            <p:nvPicPr>
              <p:cNvPr id="9" name="Ink 8">
                <a:extLst>
                  <a:ext uri="{FF2B5EF4-FFF2-40B4-BE49-F238E27FC236}">
                    <a16:creationId xmlns:a16="http://schemas.microsoft.com/office/drawing/2014/main" id="{521DD35F-BF5C-4C24-8567-60DAF0F0E899}"/>
                  </a:ext>
                </a:extLst>
              </p:cNvPr>
              <p:cNvPicPr/>
              <p:nvPr/>
            </p:nvPicPr>
            <p:blipFill>
              <a:blip r:embed="rId3"/>
              <a:stretch>
                <a:fillRect/>
              </a:stretch>
            </p:blipFill>
            <p:spPr>
              <a:xfrm>
                <a:off x="1572777" y="287811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13" name="Ink 12">
                <a:extLst>
                  <a:ext uri="{FF2B5EF4-FFF2-40B4-BE49-F238E27FC236}">
                    <a16:creationId xmlns:a16="http://schemas.microsoft.com/office/drawing/2014/main" id="{C247D014-0380-4712-8703-F5FA9E77D00C}"/>
                  </a:ext>
                </a:extLst>
              </p14:cNvPr>
              <p14:cNvContentPartPr/>
              <p14:nvPr/>
            </p14:nvContentPartPr>
            <p14:xfrm>
              <a:off x="439497" y="2460878"/>
              <a:ext cx="1454400" cy="93960"/>
            </p14:xfrm>
          </p:contentPart>
        </mc:Choice>
        <mc:Fallback xmlns="">
          <p:pic>
            <p:nvPicPr>
              <p:cNvPr id="13" name="Ink 12">
                <a:extLst>
                  <a:ext uri="{FF2B5EF4-FFF2-40B4-BE49-F238E27FC236}">
                    <a16:creationId xmlns:a16="http://schemas.microsoft.com/office/drawing/2014/main" id="{C247D014-0380-4712-8703-F5FA9E77D00C}"/>
                  </a:ext>
                </a:extLst>
              </p:cNvPr>
              <p:cNvPicPr/>
              <p:nvPr/>
            </p:nvPicPr>
            <p:blipFill>
              <a:blip r:embed="rId5"/>
              <a:stretch>
                <a:fillRect/>
              </a:stretch>
            </p:blipFill>
            <p:spPr>
              <a:xfrm>
                <a:off x="435177" y="2456558"/>
                <a:ext cx="1463040" cy="102600"/>
              </a:xfrm>
              <a:prstGeom prst="rect">
                <a:avLst/>
              </a:prstGeom>
            </p:spPr>
          </p:pic>
        </mc:Fallback>
      </mc:AlternateContent>
      <p:grpSp>
        <p:nvGrpSpPr>
          <p:cNvPr id="31" name="Group 30">
            <a:extLst>
              <a:ext uri="{FF2B5EF4-FFF2-40B4-BE49-F238E27FC236}">
                <a16:creationId xmlns:a16="http://schemas.microsoft.com/office/drawing/2014/main" id="{7F6642C1-E870-4010-B0E9-EF747B2FA80D}"/>
              </a:ext>
            </a:extLst>
          </p:cNvPr>
          <p:cNvGrpSpPr/>
          <p:nvPr/>
        </p:nvGrpSpPr>
        <p:grpSpPr>
          <a:xfrm>
            <a:off x="160137" y="2617118"/>
            <a:ext cx="1249920" cy="397440"/>
            <a:chOff x="160137" y="2617118"/>
            <a:chExt cx="1249920" cy="397440"/>
          </a:xfrm>
        </p:grpSpPr>
        <mc:AlternateContent xmlns:mc="http://schemas.openxmlformats.org/markup-compatibility/2006" xmlns:p14="http://schemas.microsoft.com/office/powerpoint/2010/main">
          <mc:Choice Requires="p14">
            <p:contentPart p14:bwMode="auto" r:id="rId6">
              <p14:nvContentPartPr>
                <p14:cNvPr id="15" name="Ink 14">
                  <a:extLst>
                    <a:ext uri="{FF2B5EF4-FFF2-40B4-BE49-F238E27FC236}">
                      <a16:creationId xmlns:a16="http://schemas.microsoft.com/office/drawing/2014/main" id="{ABBCC6A1-7D66-471E-B664-9C36034A1695}"/>
                    </a:ext>
                  </a:extLst>
                </p14:cNvPr>
                <p14:cNvContentPartPr/>
                <p14:nvPr/>
              </p14:nvContentPartPr>
              <p14:xfrm>
                <a:off x="281457" y="2652398"/>
                <a:ext cx="18720" cy="69120"/>
              </p14:xfrm>
            </p:contentPart>
          </mc:Choice>
          <mc:Fallback xmlns="">
            <p:pic>
              <p:nvPicPr>
                <p:cNvPr id="15" name="Ink 14">
                  <a:extLst>
                    <a:ext uri="{FF2B5EF4-FFF2-40B4-BE49-F238E27FC236}">
                      <a16:creationId xmlns:a16="http://schemas.microsoft.com/office/drawing/2014/main" id="{ABBCC6A1-7D66-471E-B664-9C36034A1695}"/>
                    </a:ext>
                  </a:extLst>
                </p:cNvPr>
                <p:cNvPicPr/>
                <p:nvPr/>
              </p:nvPicPr>
              <p:blipFill>
                <a:blip r:embed="rId7"/>
                <a:stretch>
                  <a:fillRect/>
                </a:stretch>
              </p:blipFill>
              <p:spPr>
                <a:xfrm>
                  <a:off x="277137" y="2648078"/>
                  <a:ext cx="27360" cy="7776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16" name="Ink 15">
                  <a:extLst>
                    <a:ext uri="{FF2B5EF4-FFF2-40B4-BE49-F238E27FC236}">
                      <a16:creationId xmlns:a16="http://schemas.microsoft.com/office/drawing/2014/main" id="{E827FF3F-D218-4768-83C1-269622D7BE6B}"/>
                    </a:ext>
                  </a:extLst>
                </p14:cNvPr>
                <p14:cNvContentPartPr/>
                <p14:nvPr/>
              </p14:nvContentPartPr>
              <p14:xfrm>
                <a:off x="160137" y="2777678"/>
                <a:ext cx="195480" cy="9360"/>
              </p14:xfrm>
            </p:contentPart>
          </mc:Choice>
          <mc:Fallback xmlns="">
            <p:pic>
              <p:nvPicPr>
                <p:cNvPr id="16" name="Ink 15">
                  <a:extLst>
                    <a:ext uri="{FF2B5EF4-FFF2-40B4-BE49-F238E27FC236}">
                      <a16:creationId xmlns:a16="http://schemas.microsoft.com/office/drawing/2014/main" id="{E827FF3F-D218-4768-83C1-269622D7BE6B}"/>
                    </a:ext>
                  </a:extLst>
                </p:cNvPr>
                <p:cNvPicPr/>
                <p:nvPr/>
              </p:nvPicPr>
              <p:blipFill>
                <a:blip r:embed="rId9"/>
                <a:stretch>
                  <a:fillRect/>
                </a:stretch>
              </p:blipFill>
              <p:spPr>
                <a:xfrm>
                  <a:off x="155817" y="2773358"/>
                  <a:ext cx="20412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17" name="Ink 16">
                  <a:extLst>
                    <a:ext uri="{FF2B5EF4-FFF2-40B4-BE49-F238E27FC236}">
                      <a16:creationId xmlns:a16="http://schemas.microsoft.com/office/drawing/2014/main" id="{808A8589-F238-4BBB-833C-8E6EB5A163A0}"/>
                    </a:ext>
                  </a:extLst>
                </p14:cNvPr>
                <p14:cNvContentPartPr/>
                <p14:nvPr/>
              </p14:nvContentPartPr>
              <p14:xfrm>
                <a:off x="184977" y="2847158"/>
                <a:ext cx="104760" cy="98280"/>
              </p14:xfrm>
            </p:contentPart>
          </mc:Choice>
          <mc:Fallback xmlns="">
            <p:pic>
              <p:nvPicPr>
                <p:cNvPr id="17" name="Ink 16">
                  <a:extLst>
                    <a:ext uri="{FF2B5EF4-FFF2-40B4-BE49-F238E27FC236}">
                      <a16:creationId xmlns:a16="http://schemas.microsoft.com/office/drawing/2014/main" id="{808A8589-F238-4BBB-833C-8E6EB5A163A0}"/>
                    </a:ext>
                  </a:extLst>
                </p:cNvPr>
                <p:cNvPicPr/>
                <p:nvPr/>
              </p:nvPicPr>
              <p:blipFill>
                <a:blip r:embed="rId11"/>
                <a:stretch>
                  <a:fillRect/>
                </a:stretch>
              </p:blipFill>
              <p:spPr>
                <a:xfrm>
                  <a:off x="180657" y="2842838"/>
                  <a:ext cx="113400" cy="10692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18" name="Ink 17">
                  <a:extLst>
                    <a:ext uri="{FF2B5EF4-FFF2-40B4-BE49-F238E27FC236}">
                      <a16:creationId xmlns:a16="http://schemas.microsoft.com/office/drawing/2014/main" id="{ADC4EA80-7CFB-4BBE-ABC7-58B9F39C8CE8}"/>
                    </a:ext>
                  </a:extLst>
                </p14:cNvPr>
                <p14:cNvContentPartPr/>
                <p14:nvPr/>
              </p14:nvContentPartPr>
              <p14:xfrm>
                <a:off x="488817" y="2699558"/>
                <a:ext cx="6840" cy="91440"/>
              </p14:xfrm>
            </p:contentPart>
          </mc:Choice>
          <mc:Fallback xmlns="">
            <p:pic>
              <p:nvPicPr>
                <p:cNvPr id="18" name="Ink 17">
                  <a:extLst>
                    <a:ext uri="{FF2B5EF4-FFF2-40B4-BE49-F238E27FC236}">
                      <a16:creationId xmlns:a16="http://schemas.microsoft.com/office/drawing/2014/main" id="{ADC4EA80-7CFB-4BBE-ABC7-58B9F39C8CE8}"/>
                    </a:ext>
                  </a:extLst>
                </p:cNvPr>
                <p:cNvPicPr/>
                <p:nvPr/>
              </p:nvPicPr>
              <p:blipFill>
                <a:blip r:embed="rId13"/>
                <a:stretch>
                  <a:fillRect/>
                </a:stretch>
              </p:blipFill>
              <p:spPr>
                <a:xfrm>
                  <a:off x="484497" y="2695238"/>
                  <a:ext cx="15480" cy="10008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19" name="Ink 18">
                  <a:extLst>
                    <a:ext uri="{FF2B5EF4-FFF2-40B4-BE49-F238E27FC236}">
                      <a16:creationId xmlns:a16="http://schemas.microsoft.com/office/drawing/2014/main" id="{A80AF556-75FB-4007-89BC-179550900F1D}"/>
                    </a:ext>
                  </a:extLst>
                </p14:cNvPr>
                <p14:cNvContentPartPr/>
                <p14:nvPr/>
              </p14:nvContentPartPr>
              <p14:xfrm>
                <a:off x="425817" y="2766518"/>
                <a:ext cx="76320" cy="4320"/>
              </p14:xfrm>
            </p:contentPart>
          </mc:Choice>
          <mc:Fallback xmlns="">
            <p:pic>
              <p:nvPicPr>
                <p:cNvPr id="19" name="Ink 18">
                  <a:extLst>
                    <a:ext uri="{FF2B5EF4-FFF2-40B4-BE49-F238E27FC236}">
                      <a16:creationId xmlns:a16="http://schemas.microsoft.com/office/drawing/2014/main" id="{A80AF556-75FB-4007-89BC-179550900F1D}"/>
                    </a:ext>
                  </a:extLst>
                </p:cNvPr>
                <p:cNvPicPr/>
                <p:nvPr/>
              </p:nvPicPr>
              <p:blipFill>
                <a:blip r:embed="rId15"/>
                <a:stretch>
                  <a:fillRect/>
                </a:stretch>
              </p:blipFill>
              <p:spPr>
                <a:xfrm>
                  <a:off x="421497" y="2762198"/>
                  <a:ext cx="84960" cy="1296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20" name="Ink 19">
                  <a:extLst>
                    <a:ext uri="{FF2B5EF4-FFF2-40B4-BE49-F238E27FC236}">
                      <a16:creationId xmlns:a16="http://schemas.microsoft.com/office/drawing/2014/main" id="{6E0D1770-2FF1-49B0-B884-EB534999F7B1}"/>
                    </a:ext>
                  </a:extLst>
                </p14:cNvPr>
                <p14:cNvContentPartPr/>
                <p14:nvPr/>
              </p14:nvContentPartPr>
              <p14:xfrm>
                <a:off x="677457" y="2637998"/>
                <a:ext cx="15480" cy="139320"/>
              </p14:xfrm>
            </p:contentPart>
          </mc:Choice>
          <mc:Fallback xmlns="">
            <p:pic>
              <p:nvPicPr>
                <p:cNvPr id="20" name="Ink 19">
                  <a:extLst>
                    <a:ext uri="{FF2B5EF4-FFF2-40B4-BE49-F238E27FC236}">
                      <a16:creationId xmlns:a16="http://schemas.microsoft.com/office/drawing/2014/main" id="{6E0D1770-2FF1-49B0-B884-EB534999F7B1}"/>
                    </a:ext>
                  </a:extLst>
                </p:cNvPr>
                <p:cNvPicPr/>
                <p:nvPr/>
              </p:nvPicPr>
              <p:blipFill>
                <a:blip r:embed="rId17"/>
                <a:stretch>
                  <a:fillRect/>
                </a:stretch>
              </p:blipFill>
              <p:spPr>
                <a:xfrm>
                  <a:off x="673137" y="2633678"/>
                  <a:ext cx="24120" cy="14796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21" name="Ink 20">
                  <a:extLst>
                    <a:ext uri="{FF2B5EF4-FFF2-40B4-BE49-F238E27FC236}">
                      <a16:creationId xmlns:a16="http://schemas.microsoft.com/office/drawing/2014/main" id="{701DEE8B-F426-46BC-A8D6-2F140690654E}"/>
                    </a:ext>
                  </a:extLst>
                </p14:cNvPr>
                <p14:cNvContentPartPr/>
                <p14:nvPr/>
              </p14:nvContentPartPr>
              <p14:xfrm>
                <a:off x="586017" y="2798558"/>
                <a:ext cx="279720" cy="14400"/>
              </p14:xfrm>
            </p:contentPart>
          </mc:Choice>
          <mc:Fallback xmlns="">
            <p:pic>
              <p:nvPicPr>
                <p:cNvPr id="21" name="Ink 20">
                  <a:extLst>
                    <a:ext uri="{FF2B5EF4-FFF2-40B4-BE49-F238E27FC236}">
                      <a16:creationId xmlns:a16="http://schemas.microsoft.com/office/drawing/2014/main" id="{701DEE8B-F426-46BC-A8D6-2F140690654E}"/>
                    </a:ext>
                  </a:extLst>
                </p:cNvPr>
                <p:cNvPicPr/>
                <p:nvPr/>
              </p:nvPicPr>
              <p:blipFill>
                <a:blip r:embed="rId19"/>
                <a:stretch>
                  <a:fillRect/>
                </a:stretch>
              </p:blipFill>
              <p:spPr>
                <a:xfrm>
                  <a:off x="581697" y="2794238"/>
                  <a:ext cx="288360" cy="2304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22" name="Ink 21">
                  <a:extLst>
                    <a:ext uri="{FF2B5EF4-FFF2-40B4-BE49-F238E27FC236}">
                      <a16:creationId xmlns:a16="http://schemas.microsoft.com/office/drawing/2014/main" id="{FAE1AE06-5FE8-4148-8B52-F004B4A5D083}"/>
                    </a:ext>
                  </a:extLst>
                </p14:cNvPr>
                <p14:cNvContentPartPr/>
                <p14:nvPr/>
              </p14:nvContentPartPr>
              <p14:xfrm>
                <a:off x="645417" y="2882438"/>
                <a:ext cx="142920" cy="64080"/>
              </p14:xfrm>
            </p:contentPart>
          </mc:Choice>
          <mc:Fallback xmlns="">
            <p:pic>
              <p:nvPicPr>
                <p:cNvPr id="22" name="Ink 21">
                  <a:extLst>
                    <a:ext uri="{FF2B5EF4-FFF2-40B4-BE49-F238E27FC236}">
                      <a16:creationId xmlns:a16="http://schemas.microsoft.com/office/drawing/2014/main" id="{FAE1AE06-5FE8-4148-8B52-F004B4A5D083}"/>
                    </a:ext>
                  </a:extLst>
                </p:cNvPr>
                <p:cNvPicPr/>
                <p:nvPr/>
              </p:nvPicPr>
              <p:blipFill>
                <a:blip r:embed="rId21"/>
                <a:stretch>
                  <a:fillRect/>
                </a:stretch>
              </p:blipFill>
              <p:spPr>
                <a:xfrm>
                  <a:off x="641097" y="2878118"/>
                  <a:ext cx="151560" cy="7272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23" name="Ink 22">
                  <a:extLst>
                    <a:ext uri="{FF2B5EF4-FFF2-40B4-BE49-F238E27FC236}">
                      <a16:creationId xmlns:a16="http://schemas.microsoft.com/office/drawing/2014/main" id="{EB4BAC1B-4F7A-4D56-A8AE-52BAA53BED62}"/>
                    </a:ext>
                  </a:extLst>
                </p14:cNvPr>
                <p14:cNvContentPartPr/>
                <p14:nvPr/>
              </p14:nvContentPartPr>
              <p14:xfrm>
                <a:off x="660177" y="2889278"/>
                <a:ext cx="37800" cy="125280"/>
              </p14:xfrm>
            </p:contentPart>
          </mc:Choice>
          <mc:Fallback xmlns="">
            <p:pic>
              <p:nvPicPr>
                <p:cNvPr id="23" name="Ink 22">
                  <a:extLst>
                    <a:ext uri="{FF2B5EF4-FFF2-40B4-BE49-F238E27FC236}">
                      <a16:creationId xmlns:a16="http://schemas.microsoft.com/office/drawing/2014/main" id="{EB4BAC1B-4F7A-4D56-A8AE-52BAA53BED62}"/>
                    </a:ext>
                  </a:extLst>
                </p:cNvPr>
                <p:cNvPicPr/>
                <p:nvPr/>
              </p:nvPicPr>
              <p:blipFill>
                <a:blip r:embed="rId23"/>
                <a:stretch>
                  <a:fillRect/>
                </a:stretch>
              </p:blipFill>
              <p:spPr>
                <a:xfrm>
                  <a:off x="655857" y="2884958"/>
                  <a:ext cx="46440" cy="13392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26" name="Ink 25">
                  <a:extLst>
                    <a:ext uri="{FF2B5EF4-FFF2-40B4-BE49-F238E27FC236}">
                      <a16:creationId xmlns:a16="http://schemas.microsoft.com/office/drawing/2014/main" id="{B66B6A31-3D97-4A0C-A2EB-9697A5137218}"/>
                    </a:ext>
                  </a:extLst>
                </p14:cNvPr>
                <p14:cNvContentPartPr/>
                <p14:nvPr/>
              </p14:nvContentPartPr>
              <p14:xfrm>
                <a:off x="970497" y="2714678"/>
                <a:ext cx="6840" cy="76680"/>
              </p14:xfrm>
            </p:contentPart>
          </mc:Choice>
          <mc:Fallback xmlns="">
            <p:pic>
              <p:nvPicPr>
                <p:cNvPr id="26" name="Ink 25">
                  <a:extLst>
                    <a:ext uri="{FF2B5EF4-FFF2-40B4-BE49-F238E27FC236}">
                      <a16:creationId xmlns:a16="http://schemas.microsoft.com/office/drawing/2014/main" id="{B66B6A31-3D97-4A0C-A2EB-9697A5137218}"/>
                    </a:ext>
                  </a:extLst>
                </p:cNvPr>
                <p:cNvPicPr/>
                <p:nvPr/>
              </p:nvPicPr>
              <p:blipFill>
                <a:blip r:embed="rId25"/>
                <a:stretch>
                  <a:fillRect/>
                </a:stretch>
              </p:blipFill>
              <p:spPr>
                <a:xfrm>
                  <a:off x="966177" y="2710358"/>
                  <a:ext cx="15480" cy="8532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27" name="Ink 26">
                  <a:extLst>
                    <a:ext uri="{FF2B5EF4-FFF2-40B4-BE49-F238E27FC236}">
                      <a16:creationId xmlns:a16="http://schemas.microsoft.com/office/drawing/2014/main" id="{19ED34EB-BF86-44FD-BC89-488EA6E66ABF}"/>
                    </a:ext>
                  </a:extLst>
                </p14:cNvPr>
                <p14:cNvContentPartPr/>
                <p14:nvPr/>
              </p14:nvContentPartPr>
              <p14:xfrm>
                <a:off x="948897" y="2749598"/>
                <a:ext cx="40680" cy="7560"/>
              </p14:xfrm>
            </p:contentPart>
          </mc:Choice>
          <mc:Fallback xmlns="">
            <p:pic>
              <p:nvPicPr>
                <p:cNvPr id="27" name="Ink 26">
                  <a:extLst>
                    <a:ext uri="{FF2B5EF4-FFF2-40B4-BE49-F238E27FC236}">
                      <a16:creationId xmlns:a16="http://schemas.microsoft.com/office/drawing/2014/main" id="{19ED34EB-BF86-44FD-BC89-488EA6E66ABF}"/>
                    </a:ext>
                  </a:extLst>
                </p:cNvPr>
                <p:cNvPicPr/>
                <p:nvPr/>
              </p:nvPicPr>
              <p:blipFill>
                <a:blip r:embed="rId27"/>
                <a:stretch>
                  <a:fillRect/>
                </a:stretch>
              </p:blipFill>
              <p:spPr>
                <a:xfrm>
                  <a:off x="944577" y="2745278"/>
                  <a:ext cx="49320" cy="16200"/>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29" name="Ink 28">
                  <a:extLst>
                    <a:ext uri="{FF2B5EF4-FFF2-40B4-BE49-F238E27FC236}">
                      <a16:creationId xmlns:a16="http://schemas.microsoft.com/office/drawing/2014/main" id="{958D456E-D080-40F6-AAF6-58B13AC96704}"/>
                    </a:ext>
                  </a:extLst>
                </p14:cNvPr>
                <p14:cNvContentPartPr/>
                <p14:nvPr/>
              </p14:nvContentPartPr>
              <p14:xfrm>
                <a:off x="1243377" y="2617118"/>
                <a:ext cx="20160" cy="83160"/>
              </p14:xfrm>
            </p:contentPart>
          </mc:Choice>
          <mc:Fallback xmlns="">
            <p:pic>
              <p:nvPicPr>
                <p:cNvPr id="29" name="Ink 28">
                  <a:extLst>
                    <a:ext uri="{FF2B5EF4-FFF2-40B4-BE49-F238E27FC236}">
                      <a16:creationId xmlns:a16="http://schemas.microsoft.com/office/drawing/2014/main" id="{958D456E-D080-40F6-AAF6-58B13AC96704}"/>
                    </a:ext>
                  </a:extLst>
                </p:cNvPr>
                <p:cNvPicPr/>
                <p:nvPr/>
              </p:nvPicPr>
              <p:blipFill>
                <a:blip r:embed="rId29"/>
                <a:stretch>
                  <a:fillRect/>
                </a:stretch>
              </p:blipFill>
              <p:spPr>
                <a:xfrm>
                  <a:off x="1239057" y="2612798"/>
                  <a:ext cx="28800" cy="91800"/>
                </a:xfrm>
                <a:prstGeom prst="rect">
                  <a:avLst/>
                </a:prstGeom>
              </p:spPr>
            </p:pic>
          </mc:Fallback>
        </mc:AlternateContent>
        <mc:AlternateContent xmlns:mc="http://schemas.openxmlformats.org/markup-compatibility/2006" xmlns:p14="http://schemas.microsoft.com/office/powerpoint/2010/main">
          <mc:Choice Requires="p14">
            <p:contentPart p14:bwMode="auto" r:id="rId30">
              <p14:nvContentPartPr>
                <p14:cNvPr id="30" name="Ink 29">
                  <a:extLst>
                    <a:ext uri="{FF2B5EF4-FFF2-40B4-BE49-F238E27FC236}">
                      <a16:creationId xmlns:a16="http://schemas.microsoft.com/office/drawing/2014/main" id="{7F3C5EC0-6AAC-4326-8F00-D53A917C07D7}"/>
                    </a:ext>
                  </a:extLst>
                </p14:cNvPr>
                <p14:cNvContentPartPr/>
                <p14:nvPr/>
              </p14:nvContentPartPr>
              <p14:xfrm>
                <a:off x="1130337" y="2748518"/>
                <a:ext cx="279720" cy="8640"/>
              </p14:xfrm>
            </p:contentPart>
          </mc:Choice>
          <mc:Fallback xmlns="">
            <p:pic>
              <p:nvPicPr>
                <p:cNvPr id="30" name="Ink 29">
                  <a:extLst>
                    <a:ext uri="{FF2B5EF4-FFF2-40B4-BE49-F238E27FC236}">
                      <a16:creationId xmlns:a16="http://schemas.microsoft.com/office/drawing/2014/main" id="{7F3C5EC0-6AAC-4326-8F00-D53A917C07D7}"/>
                    </a:ext>
                  </a:extLst>
                </p:cNvPr>
                <p:cNvPicPr/>
                <p:nvPr/>
              </p:nvPicPr>
              <p:blipFill>
                <a:blip r:embed="rId31"/>
                <a:stretch>
                  <a:fillRect/>
                </a:stretch>
              </p:blipFill>
              <p:spPr>
                <a:xfrm>
                  <a:off x="1126017" y="2744198"/>
                  <a:ext cx="288360" cy="1728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32">
            <p14:nvContentPartPr>
              <p14:cNvPr id="51" name="Ink 50">
                <a:extLst>
                  <a:ext uri="{FF2B5EF4-FFF2-40B4-BE49-F238E27FC236}">
                    <a16:creationId xmlns:a16="http://schemas.microsoft.com/office/drawing/2014/main" id="{147E4D44-176A-4371-91BB-08E459C0414E}"/>
                  </a:ext>
                </a:extLst>
              </p14:cNvPr>
              <p14:cNvContentPartPr/>
              <p14:nvPr/>
            </p14:nvContentPartPr>
            <p14:xfrm>
              <a:off x="1180737" y="2869838"/>
              <a:ext cx="77040" cy="117360"/>
            </p14:xfrm>
          </p:contentPart>
        </mc:Choice>
        <mc:Fallback xmlns="">
          <p:pic>
            <p:nvPicPr>
              <p:cNvPr id="51" name="Ink 50">
                <a:extLst>
                  <a:ext uri="{FF2B5EF4-FFF2-40B4-BE49-F238E27FC236}">
                    <a16:creationId xmlns:a16="http://schemas.microsoft.com/office/drawing/2014/main" id="{147E4D44-176A-4371-91BB-08E459C0414E}"/>
                  </a:ext>
                </a:extLst>
              </p:cNvPr>
              <p:cNvPicPr/>
              <p:nvPr/>
            </p:nvPicPr>
            <p:blipFill>
              <a:blip r:embed="rId33"/>
              <a:stretch>
                <a:fillRect/>
              </a:stretch>
            </p:blipFill>
            <p:spPr>
              <a:xfrm>
                <a:off x="1176417" y="2865518"/>
                <a:ext cx="85680" cy="126000"/>
              </a:xfrm>
              <a:prstGeom prst="rect">
                <a:avLst/>
              </a:prstGeom>
            </p:spPr>
          </p:pic>
        </mc:Fallback>
      </mc:AlternateContent>
      <p:grpSp>
        <p:nvGrpSpPr>
          <p:cNvPr id="60" name="Group 59">
            <a:extLst>
              <a:ext uri="{FF2B5EF4-FFF2-40B4-BE49-F238E27FC236}">
                <a16:creationId xmlns:a16="http://schemas.microsoft.com/office/drawing/2014/main" id="{5500A8B3-627B-44F8-A466-699BAAE65DAB}"/>
              </a:ext>
            </a:extLst>
          </p:cNvPr>
          <p:cNvGrpSpPr/>
          <p:nvPr/>
        </p:nvGrpSpPr>
        <p:grpSpPr>
          <a:xfrm>
            <a:off x="1486737" y="2589398"/>
            <a:ext cx="495720" cy="335880"/>
            <a:chOff x="1486737" y="2589398"/>
            <a:chExt cx="495720" cy="335880"/>
          </a:xfrm>
        </p:grpSpPr>
        <mc:AlternateContent xmlns:mc="http://schemas.openxmlformats.org/markup-compatibility/2006" xmlns:p14="http://schemas.microsoft.com/office/powerpoint/2010/main">
          <mc:Choice Requires="p14">
            <p:contentPart p14:bwMode="auto" r:id="rId34">
              <p14:nvContentPartPr>
                <p14:cNvPr id="52" name="Ink 51">
                  <a:extLst>
                    <a:ext uri="{FF2B5EF4-FFF2-40B4-BE49-F238E27FC236}">
                      <a16:creationId xmlns:a16="http://schemas.microsoft.com/office/drawing/2014/main" id="{8FA09571-9A51-4CE5-873F-9A52DAFC1104}"/>
                    </a:ext>
                  </a:extLst>
                </p14:cNvPr>
                <p14:cNvContentPartPr/>
                <p14:nvPr/>
              </p14:nvContentPartPr>
              <p14:xfrm>
                <a:off x="1567017" y="2678678"/>
                <a:ext cx="3240" cy="86040"/>
              </p14:xfrm>
            </p:contentPart>
          </mc:Choice>
          <mc:Fallback xmlns="">
            <p:pic>
              <p:nvPicPr>
                <p:cNvPr id="52" name="Ink 51">
                  <a:extLst>
                    <a:ext uri="{FF2B5EF4-FFF2-40B4-BE49-F238E27FC236}">
                      <a16:creationId xmlns:a16="http://schemas.microsoft.com/office/drawing/2014/main" id="{8FA09571-9A51-4CE5-873F-9A52DAFC1104}"/>
                    </a:ext>
                  </a:extLst>
                </p:cNvPr>
                <p:cNvPicPr/>
                <p:nvPr/>
              </p:nvPicPr>
              <p:blipFill>
                <a:blip r:embed="rId35"/>
                <a:stretch>
                  <a:fillRect/>
                </a:stretch>
              </p:blipFill>
              <p:spPr>
                <a:xfrm>
                  <a:off x="1562697" y="2674358"/>
                  <a:ext cx="11880" cy="94680"/>
                </a:xfrm>
                <a:prstGeom prst="rect">
                  <a:avLst/>
                </a:prstGeom>
              </p:spPr>
            </p:pic>
          </mc:Fallback>
        </mc:AlternateContent>
        <mc:AlternateContent xmlns:mc="http://schemas.openxmlformats.org/markup-compatibility/2006" xmlns:p14="http://schemas.microsoft.com/office/powerpoint/2010/main">
          <mc:Choice Requires="p14">
            <p:contentPart p14:bwMode="auto" r:id="rId36">
              <p14:nvContentPartPr>
                <p14:cNvPr id="53" name="Ink 52">
                  <a:extLst>
                    <a:ext uri="{FF2B5EF4-FFF2-40B4-BE49-F238E27FC236}">
                      <a16:creationId xmlns:a16="http://schemas.microsoft.com/office/drawing/2014/main" id="{1A8E33E0-5E67-451F-AF01-FFF4767A37F0}"/>
                    </a:ext>
                  </a:extLst>
                </p14:cNvPr>
                <p14:cNvContentPartPr/>
                <p14:nvPr/>
              </p14:nvContentPartPr>
              <p14:xfrm>
                <a:off x="1486737" y="2714678"/>
                <a:ext cx="123840" cy="360"/>
              </p14:xfrm>
            </p:contentPart>
          </mc:Choice>
          <mc:Fallback xmlns="">
            <p:pic>
              <p:nvPicPr>
                <p:cNvPr id="53" name="Ink 52">
                  <a:extLst>
                    <a:ext uri="{FF2B5EF4-FFF2-40B4-BE49-F238E27FC236}">
                      <a16:creationId xmlns:a16="http://schemas.microsoft.com/office/drawing/2014/main" id="{1A8E33E0-5E67-451F-AF01-FFF4767A37F0}"/>
                    </a:ext>
                  </a:extLst>
                </p:cNvPr>
                <p:cNvPicPr/>
                <p:nvPr/>
              </p:nvPicPr>
              <p:blipFill>
                <a:blip r:embed="rId37"/>
                <a:stretch>
                  <a:fillRect/>
                </a:stretch>
              </p:blipFill>
              <p:spPr>
                <a:xfrm>
                  <a:off x="1482417" y="2710358"/>
                  <a:ext cx="13248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38">
              <p14:nvContentPartPr>
                <p14:cNvPr id="55" name="Ink 54">
                  <a:extLst>
                    <a:ext uri="{FF2B5EF4-FFF2-40B4-BE49-F238E27FC236}">
                      <a16:creationId xmlns:a16="http://schemas.microsoft.com/office/drawing/2014/main" id="{7977434D-220A-4EFB-BC3F-55598BA839DF}"/>
                    </a:ext>
                  </a:extLst>
                </p14:cNvPr>
                <p14:cNvContentPartPr/>
                <p14:nvPr/>
              </p14:nvContentPartPr>
              <p14:xfrm>
                <a:off x="1814697" y="2589398"/>
                <a:ext cx="21240" cy="118080"/>
              </p14:xfrm>
            </p:contentPart>
          </mc:Choice>
          <mc:Fallback xmlns="">
            <p:pic>
              <p:nvPicPr>
                <p:cNvPr id="55" name="Ink 54">
                  <a:extLst>
                    <a:ext uri="{FF2B5EF4-FFF2-40B4-BE49-F238E27FC236}">
                      <a16:creationId xmlns:a16="http://schemas.microsoft.com/office/drawing/2014/main" id="{7977434D-220A-4EFB-BC3F-55598BA839DF}"/>
                    </a:ext>
                  </a:extLst>
                </p:cNvPr>
                <p:cNvPicPr/>
                <p:nvPr/>
              </p:nvPicPr>
              <p:blipFill>
                <a:blip r:embed="rId39"/>
                <a:stretch>
                  <a:fillRect/>
                </a:stretch>
              </p:blipFill>
              <p:spPr>
                <a:xfrm>
                  <a:off x="1810377" y="2585078"/>
                  <a:ext cx="29880" cy="126720"/>
                </a:xfrm>
                <a:prstGeom prst="rect">
                  <a:avLst/>
                </a:prstGeom>
              </p:spPr>
            </p:pic>
          </mc:Fallback>
        </mc:AlternateContent>
        <mc:AlternateContent xmlns:mc="http://schemas.openxmlformats.org/markup-compatibility/2006" xmlns:p14="http://schemas.microsoft.com/office/powerpoint/2010/main">
          <mc:Choice Requires="p14">
            <p:contentPart p14:bwMode="auto" r:id="rId40">
              <p14:nvContentPartPr>
                <p14:cNvPr id="56" name="Ink 55">
                  <a:extLst>
                    <a:ext uri="{FF2B5EF4-FFF2-40B4-BE49-F238E27FC236}">
                      <a16:creationId xmlns:a16="http://schemas.microsoft.com/office/drawing/2014/main" id="{34C9B2D5-82D6-4C61-AA2F-9DB4139C99F2}"/>
                    </a:ext>
                  </a:extLst>
                </p14:cNvPr>
                <p14:cNvContentPartPr/>
                <p14:nvPr/>
              </p14:nvContentPartPr>
              <p14:xfrm>
                <a:off x="1723617" y="2721878"/>
                <a:ext cx="258840" cy="28080"/>
              </p14:xfrm>
            </p:contentPart>
          </mc:Choice>
          <mc:Fallback xmlns="">
            <p:pic>
              <p:nvPicPr>
                <p:cNvPr id="56" name="Ink 55">
                  <a:extLst>
                    <a:ext uri="{FF2B5EF4-FFF2-40B4-BE49-F238E27FC236}">
                      <a16:creationId xmlns:a16="http://schemas.microsoft.com/office/drawing/2014/main" id="{34C9B2D5-82D6-4C61-AA2F-9DB4139C99F2}"/>
                    </a:ext>
                  </a:extLst>
                </p:cNvPr>
                <p:cNvPicPr/>
                <p:nvPr/>
              </p:nvPicPr>
              <p:blipFill>
                <a:blip r:embed="rId41"/>
                <a:stretch>
                  <a:fillRect/>
                </a:stretch>
              </p:blipFill>
              <p:spPr>
                <a:xfrm>
                  <a:off x="1719297" y="2717558"/>
                  <a:ext cx="267480" cy="36720"/>
                </a:xfrm>
                <a:prstGeom prst="rect">
                  <a:avLst/>
                </a:prstGeom>
              </p:spPr>
            </p:pic>
          </mc:Fallback>
        </mc:AlternateContent>
        <mc:AlternateContent xmlns:mc="http://schemas.openxmlformats.org/markup-compatibility/2006" xmlns:p14="http://schemas.microsoft.com/office/powerpoint/2010/main">
          <mc:Choice Requires="p14">
            <p:contentPart p14:bwMode="auto" r:id="rId42">
              <p14:nvContentPartPr>
                <p14:cNvPr id="58" name="Ink 57">
                  <a:extLst>
                    <a:ext uri="{FF2B5EF4-FFF2-40B4-BE49-F238E27FC236}">
                      <a16:creationId xmlns:a16="http://schemas.microsoft.com/office/drawing/2014/main" id="{CA821B2D-06F0-48D0-83A3-75445FC3F964}"/>
                    </a:ext>
                  </a:extLst>
                </p14:cNvPr>
                <p14:cNvContentPartPr/>
                <p14:nvPr/>
              </p14:nvContentPartPr>
              <p14:xfrm>
                <a:off x="1706697" y="2828078"/>
                <a:ext cx="117360" cy="97200"/>
              </p14:xfrm>
            </p:contentPart>
          </mc:Choice>
          <mc:Fallback xmlns="">
            <p:pic>
              <p:nvPicPr>
                <p:cNvPr id="58" name="Ink 57">
                  <a:extLst>
                    <a:ext uri="{FF2B5EF4-FFF2-40B4-BE49-F238E27FC236}">
                      <a16:creationId xmlns:a16="http://schemas.microsoft.com/office/drawing/2014/main" id="{CA821B2D-06F0-48D0-83A3-75445FC3F964}"/>
                    </a:ext>
                  </a:extLst>
                </p:cNvPr>
                <p:cNvPicPr/>
                <p:nvPr/>
              </p:nvPicPr>
              <p:blipFill>
                <a:blip r:embed="rId43"/>
                <a:stretch>
                  <a:fillRect/>
                </a:stretch>
              </p:blipFill>
              <p:spPr>
                <a:xfrm>
                  <a:off x="1702377" y="2823758"/>
                  <a:ext cx="126000" cy="105840"/>
                </a:xfrm>
                <a:prstGeom prst="rect">
                  <a:avLst/>
                </a:prstGeom>
              </p:spPr>
            </p:pic>
          </mc:Fallback>
        </mc:AlternateContent>
        <mc:AlternateContent xmlns:mc="http://schemas.openxmlformats.org/markup-compatibility/2006" xmlns:p14="http://schemas.microsoft.com/office/powerpoint/2010/main">
          <mc:Choice Requires="p14">
            <p:contentPart p14:bwMode="auto" r:id="rId44">
              <p14:nvContentPartPr>
                <p14:cNvPr id="59" name="Ink 58">
                  <a:extLst>
                    <a:ext uri="{FF2B5EF4-FFF2-40B4-BE49-F238E27FC236}">
                      <a16:creationId xmlns:a16="http://schemas.microsoft.com/office/drawing/2014/main" id="{47C56DC8-4860-43BE-9987-8909F6894683}"/>
                    </a:ext>
                  </a:extLst>
                </p14:cNvPr>
                <p14:cNvContentPartPr/>
                <p14:nvPr/>
              </p14:nvContentPartPr>
              <p14:xfrm>
                <a:off x="1891377" y="2841398"/>
                <a:ext cx="71280" cy="77040"/>
              </p14:xfrm>
            </p:contentPart>
          </mc:Choice>
          <mc:Fallback xmlns="">
            <p:pic>
              <p:nvPicPr>
                <p:cNvPr id="59" name="Ink 58">
                  <a:extLst>
                    <a:ext uri="{FF2B5EF4-FFF2-40B4-BE49-F238E27FC236}">
                      <a16:creationId xmlns:a16="http://schemas.microsoft.com/office/drawing/2014/main" id="{47C56DC8-4860-43BE-9987-8909F6894683}"/>
                    </a:ext>
                  </a:extLst>
                </p:cNvPr>
                <p:cNvPicPr/>
                <p:nvPr/>
              </p:nvPicPr>
              <p:blipFill>
                <a:blip r:embed="rId45"/>
                <a:stretch>
                  <a:fillRect/>
                </a:stretch>
              </p:blipFill>
              <p:spPr>
                <a:xfrm>
                  <a:off x="1887057" y="2837078"/>
                  <a:ext cx="79920" cy="85680"/>
                </a:xfrm>
                <a:prstGeom prst="rect">
                  <a:avLst/>
                </a:prstGeom>
              </p:spPr>
            </p:pic>
          </mc:Fallback>
        </mc:AlternateContent>
      </p:grpSp>
      <p:grpSp>
        <p:nvGrpSpPr>
          <p:cNvPr id="65" name="Group 64">
            <a:extLst>
              <a:ext uri="{FF2B5EF4-FFF2-40B4-BE49-F238E27FC236}">
                <a16:creationId xmlns:a16="http://schemas.microsoft.com/office/drawing/2014/main" id="{B21D57C7-8482-4DD6-AF96-719B98630E9F}"/>
              </a:ext>
            </a:extLst>
          </p:cNvPr>
          <p:cNvGrpSpPr/>
          <p:nvPr/>
        </p:nvGrpSpPr>
        <p:grpSpPr>
          <a:xfrm>
            <a:off x="1103697" y="2261438"/>
            <a:ext cx="156600" cy="132480"/>
            <a:chOff x="1103697" y="2261438"/>
            <a:chExt cx="156600" cy="132480"/>
          </a:xfrm>
        </p:grpSpPr>
        <mc:AlternateContent xmlns:mc="http://schemas.openxmlformats.org/markup-compatibility/2006" xmlns:p14="http://schemas.microsoft.com/office/powerpoint/2010/main">
          <mc:Choice Requires="p14">
            <p:contentPart p14:bwMode="auto" r:id="rId46">
              <p14:nvContentPartPr>
                <p14:cNvPr id="61" name="Ink 60">
                  <a:extLst>
                    <a:ext uri="{FF2B5EF4-FFF2-40B4-BE49-F238E27FC236}">
                      <a16:creationId xmlns:a16="http://schemas.microsoft.com/office/drawing/2014/main" id="{480E3E99-EF3A-4C88-93F3-6D77EB41F963}"/>
                    </a:ext>
                  </a:extLst>
                </p14:cNvPr>
                <p14:cNvContentPartPr/>
                <p14:nvPr/>
              </p14:nvContentPartPr>
              <p14:xfrm>
                <a:off x="1103697" y="2261438"/>
                <a:ext cx="156600" cy="92520"/>
              </p14:xfrm>
            </p:contentPart>
          </mc:Choice>
          <mc:Fallback xmlns="">
            <p:pic>
              <p:nvPicPr>
                <p:cNvPr id="61" name="Ink 60">
                  <a:extLst>
                    <a:ext uri="{FF2B5EF4-FFF2-40B4-BE49-F238E27FC236}">
                      <a16:creationId xmlns:a16="http://schemas.microsoft.com/office/drawing/2014/main" id="{480E3E99-EF3A-4C88-93F3-6D77EB41F963}"/>
                    </a:ext>
                  </a:extLst>
                </p:cNvPr>
                <p:cNvPicPr/>
                <p:nvPr/>
              </p:nvPicPr>
              <p:blipFill>
                <a:blip r:embed="rId47"/>
                <a:stretch>
                  <a:fillRect/>
                </a:stretch>
              </p:blipFill>
              <p:spPr>
                <a:xfrm>
                  <a:off x="1099377" y="2257118"/>
                  <a:ext cx="165240" cy="101160"/>
                </a:xfrm>
                <a:prstGeom prst="rect">
                  <a:avLst/>
                </a:prstGeom>
              </p:spPr>
            </p:pic>
          </mc:Fallback>
        </mc:AlternateContent>
        <mc:AlternateContent xmlns:mc="http://schemas.openxmlformats.org/markup-compatibility/2006" xmlns:p14="http://schemas.microsoft.com/office/powerpoint/2010/main">
          <mc:Choice Requires="p14">
            <p:contentPart p14:bwMode="auto" r:id="rId48">
              <p14:nvContentPartPr>
                <p14:cNvPr id="62" name="Ink 61">
                  <a:extLst>
                    <a:ext uri="{FF2B5EF4-FFF2-40B4-BE49-F238E27FC236}">
                      <a16:creationId xmlns:a16="http://schemas.microsoft.com/office/drawing/2014/main" id="{87064BBA-9E69-46B3-A4EE-110E2D5BCC62}"/>
                    </a:ext>
                  </a:extLst>
                </p14:cNvPr>
                <p14:cNvContentPartPr/>
                <p14:nvPr/>
              </p14:nvContentPartPr>
              <p14:xfrm>
                <a:off x="1160937" y="2261438"/>
                <a:ext cx="11880" cy="100080"/>
              </p14:xfrm>
            </p:contentPart>
          </mc:Choice>
          <mc:Fallback xmlns="">
            <p:pic>
              <p:nvPicPr>
                <p:cNvPr id="62" name="Ink 61">
                  <a:extLst>
                    <a:ext uri="{FF2B5EF4-FFF2-40B4-BE49-F238E27FC236}">
                      <a16:creationId xmlns:a16="http://schemas.microsoft.com/office/drawing/2014/main" id="{87064BBA-9E69-46B3-A4EE-110E2D5BCC62}"/>
                    </a:ext>
                  </a:extLst>
                </p:cNvPr>
                <p:cNvPicPr/>
                <p:nvPr/>
              </p:nvPicPr>
              <p:blipFill>
                <a:blip r:embed="rId49"/>
                <a:stretch>
                  <a:fillRect/>
                </a:stretch>
              </p:blipFill>
              <p:spPr>
                <a:xfrm>
                  <a:off x="1156617" y="2257118"/>
                  <a:ext cx="20520" cy="108720"/>
                </a:xfrm>
                <a:prstGeom prst="rect">
                  <a:avLst/>
                </a:prstGeom>
              </p:spPr>
            </p:pic>
          </mc:Fallback>
        </mc:AlternateContent>
        <mc:AlternateContent xmlns:mc="http://schemas.openxmlformats.org/markup-compatibility/2006" xmlns:p14="http://schemas.microsoft.com/office/powerpoint/2010/main">
          <mc:Choice Requires="p14">
            <p:contentPart p14:bwMode="auto" r:id="rId50">
              <p14:nvContentPartPr>
                <p14:cNvPr id="64" name="Ink 63">
                  <a:extLst>
                    <a:ext uri="{FF2B5EF4-FFF2-40B4-BE49-F238E27FC236}">
                      <a16:creationId xmlns:a16="http://schemas.microsoft.com/office/drawing/2014/main" id="{043A83EE-DB33-4020-B958-C79356266DCB}"/>
                    </a:ext>
                  </a:extLst>
                </p14:cNvPr>
                <p14:cNvContentPartPr/>
                <p14:nvPr/>
              </p14:nvContentPartPr>
              <p14:xfrm>
                <a:off x="1165257" y="2344958"/>
                <a:ext cx="6120" cy="48960"/>
              </p14:xfrm>
            </p:contentPart>
          </mc:Choice>
          <mc:Fallback xmlns="">
            <p:pic>
              <p:nvPicPr>
                <p:cNvPr id="64" name="Ink 63">
                  <a:extLst>
                    <a:ext uri="{FF2B5EF4-FFF2-40B4-BE49-F238E27FC236}">
                      <a16:creationId xmlns:a16="http://schemas.microsoft.com/office/drawing/2014/main" id="{043A83EE-DB33-4020-B958-C79356266DCB}"/>
                    </a:ext>
                  </a:extLst>
                </p:cNvPr>
                <p:cNvPicPr/>
                <p:nvPr/>
              </p:nvPicPr>
              <p:blipFill>
                <a:blip r:embed="rId51"/>
                <a:stretch>
                  <a:fillRect/>
                </a:stretch>
              </p:blipFill>
              <p:spPr>
                <a:xfrm>
                  <a:off x="1160937" y="2340638"/>
                  <a:ext cx="14760" cy="57600"/>
                </a:xfrm>
                <a:prstGeom prst="rect">
                  <a:avLst/>
                </a:prstGeom>
              </p:spPr>
            </p:pic>
          </mc:Fallback>
        </mc:AlternateContent>
      </p:grpSp>
      <p:grpSp>
        <p:nvGrpSpPr>
          <p:cNvPr id="69" name="Group 68">
            <a:extLst>
              <a:ext uri="{FF2B5EF4-FFF2-40B4-BE49-F238E27FC236}">
                <a16:creationId xmlns:a16="http://schemas.microsoft.com/office/drawing/2014/main" id="{1EB69986-8F72-4419-98F3-B23336B89302}"/>
              </a:ext>
            </a:extLst>
          </p:cNvPr>
          <p:cNvGrpSpPr/>
          <p:nvPr/>
        </p:nvGrpSpPr>
        <p:grpSpPr>
          <a:xfrm>
            <a:off x="2324097" y="2421638"/>
            <a:ext cx="92520" cy="70200"/>
            <a:chOff x="2324097" y="2421638"/>
            <a:chExt cx="92520" cy="70200"/>
          </a:xfrm>
        </p:grpSpPr>
        <mc:AlternateContent xmlns:mc="http://schemas.openxmlformats.org/markup-compatibility/2006" xmlns:p14="http://schemas.microsoft.com/office/powerpoint/2010/main">
          <mc:Choice Requires="p14">
            <p:contentPart p14:bwMode="auto" r:id="rId52">
              <p14:nvContentPartPr>
                <p14:cNvPr id="66" name="Ink 65">
                  <a:extLst>
                    <a:ext uri="{FF2B5EF4-FFF2-40B4-BE49-F238E27FC236}">
                      <a16:creationId xmlns:a16="http://schemas.microsoft.com/office/drawing/2014/main" id="{6CE74AAD-E46E-48EC-979F-BE10F983C6F4}"/>
                    </a:ext>
                  </a:extLst>
                </p14:cNvPr>
                <p14:cNvContentPartPr/>
                <p14:nvPr/>
              </p14:nvContentPartPr>
              <p14:xfrm>
                <a:off x="2400777" y="2421638"/>
                <a:ext cx="15840" cy="360"/>
              </p14:xfrm>
            </p:contentPart>
          </mc:Choice>
          <mc:Fallback xmlns="">
            <p:pic>
              <p:nvPicPr>
                <p:cNvPr id="66" name="Ink 65">
                  <a:extLst>
                    <a:ext uri="{FF2B5EF4-FFF2-40B4-BE49-F238E27FC236}">
                      <a16:creationId xmlns:a16="http://schemas.microsoft.com/office/drawing/2014/main" id="{6CE74AAD-E46E-48EC-979F-BE10F983C6F4}"/>
                    </a:ext>
                  </a:extLst>
                </p:cNvPr>
                <p:cNvPicPr/>
                <p:nvPr/>
              </p:nvPicPr>
              <p:blipFill>
                <a:blip r:embed="rId53"/>
                <a:stretch>
                  <a:fillRect/>
                </a:stretch>
              </p:blipFill>
              <p:spPr>
                <a:xfrm>
                  <a:off x="2396457" y="2417318"/>
                  <a:ext cx="2448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54">
              <p14:nvContentPartPr>
                <p14:cNvPr id="67" name="Ink 66">
                  <a:extLst>
                    <a:ext uri="{FF2B5EF4-FFF2-40B4-BE49-F238E27FC236}">
                      <a16:creationId xmlns:a16="http://schemas.microsoft.com/office/drawing/2014/main" id="{1EA26F19-E686-436D-A93F-0CC403F15E5F}"/>
                    </a:ext>
                  </a:extLst>
                </p14:cNvPr>
                <p14:cNvContentPartPr/>
                <p14:nvPr/>
              </p14:nvContentPartPr>
              <p14:xfrm>
                <a:off x="2324097" y="2491478"/>
                <a:ext cx="76680" cy="360"/>
              </p14:xfrm>
            </p:contentPart>
          </mc:Choice>
          <mc:Fallback xmlns="">
            <p:pic>
              <p:nvPicPr>
                <p:cNvPr id="67" name="Ink 66">
                  <a:extLst>
                    <a:ext uri="{FF2B5EF4-FFF2-40B4-BE49-F238E27FC236}">
                      <a16:creationId xmlns:a16="http://schemas.microsoft.com/office/drawing/2014/main" id="{1EA26F19-E686-436D-A93F-0CC403F15E5F}"/>
                    </a:ext>
                  </a:extLst>
                </p:cNvPr>
                <p:cNvPicPr/>
                <p:nvPr/>
              </p:nvPicPr>
              <p:blipFill>
                <a:blip r:embed="rId55"/>
                <a:stretch>
                  <a:fillRect/>
                </a:stretch>
              </p:blipFill>
              <p:spPr>
                <a:xfrm>
                  <a:off x="2319777" y="2487158"/>
                  <a:ext cx="8532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56">
              <p14:nvContentPartPr>
                <p14:cNvPr id="68" name="Ink 67">
                  <a:extLst>
                    <a:ext uri="{FF2B5EF4-FFF2-40B4-BE49-F238E27FC236}">
                      <a16:creationId xmlns:a16="http://schemas.microsoft.com/office/drawing/2014/main" id="{F9EF1054-8C28-4C16-A6FA-50DD1ED26A21}"/>
                    </a:ext>
                  </a:extLst>
                </p14:cNvPr>
                <p14:cNvContentPartPr/>
                <p14:nvPr/>
              </p14:nvContentPartPr>
              <p14:xfrm>
                <a:off x="2344977" y="2421638"/>
                <a:ext cx="47880" cy="21240"/>
              </p14:xfrm>
            </p:contentPart>
          </mc:Choice>
          <mc:Fallback xmlns="">
            <p:pic>
              <p:nvPicPr>
                <p:cNvPr id="68" name="Ink 67">
                  <a:extLst>
                    <a:ext uri="{FF2B5EF4-FFF2-40B4-BE49-F238E27FC236}">
                      <a16:creationId xmlns:a16="http://schemas.microsoft.com/office/drawing/2014/main" id="{F9EF1054-8C28-4C16-A6FA-50DD1ED26A21}"/>
                    </a:ext>
                  </a:extLst>
                </p:cNvPr>
                <p:cNvPicPr/>
                <p:nvPr/>
              </p:nvPicPr>
              <p:blipFill>
                <a:blip r:embed="rId57"/>
                <a:stretch>
                  <a:fillRect/>
                </a:stretch>
              </p:blipFill>
              <p:spPr>
                <a:xfrm>
                  <a:off x="2340657" y="2417318"/>
                  <a:ext cx="56520" cy="29880"/>
                </a:xfrm>
                <a:prstGeom prst="rect">
                  <a:avLst/>
                </a:prstGeom>
              </p:spPr>
            </p:pic>
          </mc:Fallback>
        </mc:AlternateContent>
      </p:grpSp>
      <p:grpSp>
        <p:nvGrpSpPr>
          <p:cNvPr id="73" name="Group 72">
            <a:extLst>
              <a:ext uri="{FF2B5EF4-FFF2-40B4-BE49-F238E27FC236}">
                <a16:creationId xmlns:a16="http://schemas.microsoft.com/office/drawing/2014/main" id="{4424BF29-E655-4E00-9CEF-396E97441723}"/>
              </a:ext>
            </a:extLst>
          </p:cNvPr>
          <p:cNvGrpSpPr/>
          <p:nvPr/>
        </p:nvGrpSpPr>
        <p:grpSpPr>
          <a:xfrm>
            <a:off x="2945097" y="2191238"/>
            <a:ext cx="1828440" cy="356400"/>
            <a:chOff x="2945097" y="2191238"/>
            <a:chExt cx="1828440" cy="356400"/>
          </a:xfrm>
        </p:grpSpPr>
        <mc:AlternateContent xmlns:mc="http://schemas.openxmlformats.org/markup-compatibility/2006" xmlns:p14="http://schemas.microsoft.com/office/powerpoint/2010/main">
          <mc:Choice Requires="p14">
            <p:contentPart p14:bwMode="auto" r:id="rId58">
              <p14:nvContentPartPr>
                <p14:cNvPr id="70" name="Ink 69">
                  <a:extLst>
                    <a:ext uri="{FF2B5EF4-FFF2-40B4-BE49-F238E27FC236}">
                      <a16:creationId xmlns:a16="http://schemas.microsoft.com/office/drawing/2014/main" id="{4317C1E6-A60C-4D3F-B40E-FB6A28C6716C}"/>
                    </a:ext>
                  </a:extLst>
                </p14:cNvPr>
                <p14:cNvContentPartPr/>
                <p14:nvPr/>
              </p14:nvContentPartPr>
              <p14:xfrm>
                <a:off x="3479337" y="2198438"/>
                <a:ext cx="206280" cy="154080"/>
              </p14:xfrm>
            </p:contentPart>
          </mc:Choice>
          <mc:Fallback xmlns="">
            <p:pic>
              <p:nvPicPr>
                <p:cNvPr id="70" name="Ink 69">
                  <a:extLst>
                    <a:ext uri="{FF2B5EF4-FFF2-40B4-BE49-F238E27FC236}">
                      <a16:creationId xmlns:a16="http://schemas.microsoft.com/office/drawing/2014/main" id="{4317C1E6-A60C-4D3F-B40E-FB6A28C6716C}"/>
                    </a:ext>
                  </a:extLst>
                </p:cNvPr>
                <p:cNvPicPr/>
                <p:nvPr/>
              </p:nvPicPr>
              <p:blipFill>
                <a:blip r:embed="rId59"/>
                <a:stretch>
                  <a:fillRect/>
                </a:stretch>
              </p:blipFill>
              <p:spPr>
                <a:xfrm>
                  <a:off x="3475017" y="2194118"/>
                  <a:ext cx="214920" cy="162720"/>
                </a:xfrm>
                <a:prstGeom prst="rect">
                  <a:avLst/>
                </a:prstGeom>
              </p:spPr>
            </p:pic>
          </mc:Fallback>
        </mc:AlternateContent>
        <mc:AlternateContent xmlns:mc="http://schemas.openxmlformats.org/markup-compatibility/2006" xmlns:p14="http://schemas.microsoft.com/office/powerpoint/2010/main">
          <mc:Choice Requires="p14">
            <p:contentPart p14:bwMode="auto" r:id="rId60">
              <p14:nvContentPartPr>
                <p14:cNvPr id="71" name="Ink 70">
                  <a:extLst>
                    <a:ext uri="{FF2B5EF4-FFF2-40B4-BE49-F238E27FC236}">
                      <a16:creationId xmlns:a16="http://schemas.microsoft.com/office/drawing/2014/main" id="{9ABBD5C8-320C-4FD3-B16D-DF9709F0A3F9}"/>
                    </a:ext>
                  </a:extLst>
                </p14:cNvPr>
                <p14:cNvContentPartPr/>
                <p14:nvPr/>
              </p14:nvContentPartPr>
              <p14:xfrm>
                <a:off x="3545577" y="2191238"/>
                <a:ext cx="77040" cy="223920"/>
              </p14:xfrm>
            </p:contentPart>
          </mc:Choice>
          <mc:Fallback xmlns="">
            <p:pic>
              <p:nvPicPr>
                <p:cNvPr id="71" name="Ink 70">
                  <a:extLst>
                    <a:ext uri="{FF2B5EF4-FFF2-40B4-BE49-F238E27FC236}">
                      <a16:creationId xmlns:a16="http://schemas.microsoft.com/office/drawing/2014/main" id="{9ABBD5C8-320C-4FD3-B16D-DF9709F0A3F9}"/>
                    </a:ext>
                  </a:extLst>
                </p:cNvPr>
                <p:cNvPicPr/>
                <p:nvPr/>
              </p:nvPicPr>
              <p:blipFill>
                <a:blip r:embed="rId61"/>
                <a:stretch>
                  <a:fillRect/>
                </a:stretch>
              </p:blipFill>
              <p:spPr>
                <a:xfrm>
                  <a:off x="3541257" y="2186918"/>
                  <a:ext cx="85680" cy="232560"/>
                </a:xfrm>
                <a:prstGeom prst="rect">
                  <a:avLst/>
                </a:prstGeom>
              </p:spPr>
            </p:pic>
          </mc:Fallback>
        </mc:AlternateContent>
        <mc:AlternateContent xmlns:mc="http://schemas.openxmlformats.org/markup-compatibility/2006" xmlns:p14="http://schemas.microsoft.com/office/powerpoint/2010/main">
          <mc:Choice Requires="p14">
            <p:contentPart p14:bwMode="auto" r:id="rId62">
              <p14:nvContentPartPr>
                <p14:cNvPr id="72" name="Ink 71">
                  <a:extLst>
                    <a:ext uri="{FF2B5EF4-FFF2-40B4-BE49-F238E27FC236}">
                      <a16:creationId xmlns:a16="http://schemas.microsoft.com/office/drawing/2014/main" id="{242EB795-7C6E-40FE-A792-B604ADDC4D6F}"/>
                    </a:ext>
                  </a:extLst>
                </p14:cNvPr>
                <p14:cNvContentPartPr/>
                <p14:nvPr/>
              </p14:nvContentPartPr>
              <p14:xfrm>
                <a:off x="2945097" y="2463038"/>
                <a:ext cx="1828440" cy="84600"/>
              </p14:xfrm>
            </p:contentPart>
          </mc:Choice>
          <mc:Fallback xmlns="">
            <p:pic>
              <p:nvPicPr>
                <p:cNvPr id="72" name="Ink 71">
                  <a:extLst>
                    <a:ext uri="{FF2B5EF4-FFF2-40B4-BE49-F238E27FC236}">
                      <a16:creationId xmlns:a16="http://schemas.microsoft.com/office/drawing/2014/main" id="{242EB795-7C6E-40FE-A792-B604ADDC4D6F}"/>
                    </a:ext>
                  </a:extLst>
                </p:cNvPr>
                <p:cNvPicPr/>
                <p:nvPr/>
              </p:nvPicPr>
              <p:blipFill>
                <a:blip r:embed="rId63"/>
                <a:stretch>
                  <a:fillRect/>
                </a:stretch>
              </p:blipFill>
              <p:spPr>
                <a:xfrm>
                  <a:off x="2940777" y="2458718"/>
                  <a:ext cx="1837080" cy="93240"/>
                </a:xfrm>
                <a:prstGeom prst="rect">
                  <a:avLst/>
                </a:prstGeom>
              </p:spPr>
            </p:pic>
          </mc:Fallback>
        </mc:AlternateContent>
      </p:grpSp>
      <p:grpSp>
        <p:nvGrpSpPr>
          <p:cNvPr id="87" name="Group 86">
            <a:extLst>
              <a:ext uri="{FF2B5EF4-FFF2-40B4-BE49-F238E27FC236}">
                <a16:creationId xmlns:a16="http://schemas.microsoft.com/office/drawing/2014/main" id="{AF082C2C-E264-4EDF-91E8-19018BEA3604}"/>
              </a:ext>
            </a:extLst>
          </p:cNvPr>
          <p:cNvGrpSpPr/>
          <p:nvPr/>
        </p:nvGrpSpPr>
        <p:grpSpPr>
          <a:xfrm>
            <a:off x="2940417" y="2666078"/>
            <a:ext cx="1247400" cy="171720"/>
            <a:chOff x="2940417" y="2666078"/>
            <a:chExt cx="1247400" cy="171720"/>
          </a:xfrm>
        </p:grpSpPr>
        <mc:AlternateContent xmlns:mc="http://schemas.openxmlformats.org/markup-compatibility/2006" xmlns:p14="http://schemas.microsoft.com/office/powerpoint/2010/main">
          <mc:Choice Requires="p14">
            <p:contentPart p14:bwMode="auto" r:id="rId64">
              <p14:nvContentPartPr>
                <p14:cNvPr id="74" name="Ink 73">
                  <a:extLst>
                    <a:ext uri="{FF2B5EF4-FFF2-40B4-BE49-F238E27FC236}">
                      <a16:creationId xmlns:a16="http://schemas.microsoft.com/office/drawing/2014/main" id="{E2DC2372-3F00-4641-A310-766F79B8828F}"/>
                    </a:ext>
                  </a:extLst>
                </p14:cNvPr>
                <p14:cNvContentPartPr/>
                <p14:nvPr/>
              </p14:nvContentPartPr>
              <p14:xfrm>
                <a:off x="2940417" y="2749598"/>
                <a:ext cx="68040" cy="88200"/>
              </p14:xfrm>
            </p:contentPart>
          </mc:Choice>
          <mc:Fallback xmlns="">
            <p:pic>
              <p:nvPicPr>
                <p:cNvPr id="74" name="Ink 73">
                  <a:extLst>
                    <a:ext uri="{FF2B5EF4-FFF2-40B4-BE49-F238E27FC236}">
                      <a16:creationId xmlns:a16="http://schemas.microsoft.com/office/drawing/2014/main" id="{E2DC2372-3F00-4641-A310-766F79B8828F}"/>
                    </a:ext>
                  </a:extLst>
                </p:cNvPr>
                <p:cNvPicPr/>
                <p:nvPr/>
              </p:nvPicPr>
              <p:blipFill>
                <a:blip r:embed="rId65"/>
                <a:stretch>
                  <a:fillRect/>
                </a:stretch>
              </p:blipFill>
              <p:spPr>
                <a:xfrm>
                  <a:off x="2936097" y="2745278"/>
                  <a:ext cx="76680" cy="96840"/>
                </a:xfrm>
                <a:prstGeom prst="rect">
                  <a:avLst/>
                </a:prstGeom>
              </p:spPr>
            </p:pic>
          </mc:Fallback>
        </mc:AlternateContent>
        <mc:AlternateContent xmlns:mc="http://schemas.openxmlformats.org/markup-compatibility/2006" xmlns:p14="http://schemas.microsoft.com/office/powerpoint/2010/main">
          <mc:Choice Requires="p14">
            <p:contentPart p14:bwMode="auto" r:id="rId66">
              <p14:nvContentPartPr>
                <p14:cNvPr id="75" name="Ink 74">
                  <a:extLst>
                    <a:ext uri="{FF2B5EF4-FFF2-40B4-BE49-F238E27FC236}">
                      <a16:creationId xmlns:a16="http://schemas.microsoft.com/office/drawing/2014/main" id="{82CD5D70-D9AD-439F-ABA1-74AD526D5D66}"/>
                    </a:ext>
                  </a:extLst>
                </p14:cNvPr>
                <p14:cNvContentPartPr/>
                <p14:nvPr/>
              </p14:nvContentPartPr>
              <p14:xfrm>
                <a:off x="3082257" y="2784878"/>
                <a:ext cx="3240" cy="360"/>
              </p14:xfrm>
            </p:contentPart>
          </mc:Choice>
          <mc:Fallback xmlns="">
            <p:pic>
              <p:nvPicPr>
                <p:cNvPr id="75" name="Ink 74">
                  <a:extLst>
                    <a:ext uri="{FF2B5EF4-FFF2-40B4-BE49-F238E27FC236}">
                      <a16:creationId xmlns:a16="http://schemas.microsoft.com/office/drawing/2014/main" id="{82CD5D70-D9AD-439F-ABA1-74AD526D5D66}"/>
                    </a:ext>
                  </a:extLst>
                </p:cNvPr>
                <p:cNvPicPr/>
                <p:nvPr/>
              </p:nvPicPr>
              <p:blipFill>
                <a:blip r:embed="rId67"/>
                <a:stretch>
                  <a:fillRect/>
                </a:stretch>
              </p:blipFill>
              <p:spPr>
                <a:xfrm>
                  <a:off x="3077937" y="2780558"/>
                  <a:ext cx="1188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68">
              <p14:nvContentPartPr>
                <p14:cNvPr id="76" name="Ink 75">
                  <a:extLst>
                    <a:ext uri="{FF2B5EF4-FFF2-40B4-BE49-F238E27FC236}">
                      <a16:creationId xmlns:a16="http://schemas.microsoft.com/office/drawing/2014/main" id="{A96F12AE-A523-459C-AFEE-917B9CDF547F}"/>
                    </a:ext>
                  </a:extLst>
                </p14:cNvPr>
                <p14:cNvContentPartPr/>
                <p14:nvPr/>
              </p14:nvContentPartPr>
              <p14:xfrm>
                <a:off x="3121857" y="2721518"/>
                <a:ext cx="56520" cy="106200"/>
              </p14:xfrm>
            </p:contentPart>
          </mc:Choice>
          <mc:Fallback xmlns="">
            <p:pic>
              <p:nvPicPr>
                <p:cNvPr id="76" name="Ink 75">
                  <a:extLst>
                    <a:ext uri="{FF2B5EF4-FFF2-40B4-BE49-F238E27FC236}">
                      <a16:creationId xmlns:a16="http://schemas.microsoft.com/office/drawing/2014/main" id="{A96F12AE-A523-459C-AFEE-917B9CDF547F}"/>
                    </a:ext>
                  </a:extLst>
                </p:cNvPr>
                <p:cNvPicPr/>
                <p:nvPr/>
              </p:nvPicPr>
              <p:blipFill>
                <a:blip r:embed="rId69"/>
                <a:stretch>
                  <a:fillRect/>
                </a:stretch>
              </p:blipFill>
              <p:spPr>
                <a:xfrm>
                  <a:off x="3117537" y="2717198"/>
                  <a:ext cx="65160" cy="114840"/>
                </a:xfrm>
                <a:prstGeom prst="rect">
                  <a:avLst/>
                </a:prstGeom>
              </p:spPr>
            </p:pic>
          </mc:Fallback>
        </mc:AlternateContent>
        <mc:AlternateContent xmlns:mc="http://schemas.openxmlformats.org/markup-compatibility/2006" xmlns:p14="http://schemas.microsoft.com/office/powerpoint/2010/main">
          <mc:Choice Requires="p14">
            <p:contentPart p14:bwMode="auto" r:id="rId70">
              <p14:nvContentPartPr>
                <p14:cNvPr id="77" name="Ink 76">
                  <a:extLst>
                    <a:ext uri="{FF2B5EF4-FFF2-40B4-BE49-F238E27FC236}">
                      <a16:creationId xmlns:a16="http://schemas.microsoft.com/office/drawing/2014/main" id="{61C33078-B810-4587-A6A4-42D84EE583FB}"/>
                    </a:ext>
                  </a:extLst>
                </p14:cNvPr>
                <p14:cNvContentPartPr/>
                <p14:nvPr/>
              </p14:nvContentPartPr>
              <p14:xfrm>
                <a:off x="3133737" y="2721518"/>
                <a:ext cx="73800" cy="7920"/>
              </p14:xfrm>
            </p:contentPart>
          </mc:Choice>
          <mc:Fallback xmlns="">
            <p:pic>
              <p:nvPicPr>
                <p:cNvPr id="77" name="Ink 76">
                  <a:extLst>
                    <a:ext uri="{FF2B5EF4-FFF2-40B4-BE49-F238E27FC236}">
                      <a16:creationId xmlns:a16="http://schemas.microsoft.com/office/drawing/2014/main" id="{61C33078-B810-4587-A6A4-42D84EE583FB}"/>
                    </a:ext>
                  </a:extLst>
                </p:cNvPr>
                <p:cNvPicPr/>
                <p:nvPr/>
              </p:nvPicPr>
              <p:blipFill>
                <a:blip r:embed="rId71"/>
                <a:stretch>
                  <a:fillRect/>
                </a:stretch>
              </p:blipFill>
              <p:spPr>
                <a:xfrm>
                  <a:off x="3129417" y="2717198"/>
                  <a:ext cx="82440" cy="16560"/>
                </a:xfrm>
                <a:prstGeom prst="rect">
                  <a:avLst/>
                </a:prstGeom>
              </p:spPr>
            </p:pic>
          </mc:Fallback>
        </mc:AlternateContent>
        <mc:AlternateContent xmlns:mc="http://schemas.openxmlformats.org/markup-compatibility/2006" xmlns:p14="http://schemas.microsoft.com/office/powerpoint/2010/main">
          <mc:Choice Requires="p14">
            <p:contentPart p14:bwMode="auto" r:id="rId72">
              <p14:nvContentPartPr>
                <p14:cNvPr id="79" name="Ink 78">
                  <a:extLst>
                    <a:ext uri="{FF2B5EF4-FFF2-40B4-BE49-F238E27FC236}">
                      <a16:creationId xmlns:a16="http://schemas.microsoft.com/office/drawing/2014/main" id="{5C9CABE6-4E9B-4141-83E3-87F86B150E5B}"/>
                    </a:ext>
                  </a:extLst>
                </p14:cNvPr>
                <p14:cNvContentPartPr/>
                <p14:nvPr/>
              </p14:nvContentPartPr>
              <p14:xfrm>
                <a:off x="3392217" y="2693798"/>
                <a:ext cx="28080" cy="104040"/>
              </p14:xfrm>
            </p:contentPart>
          </mc:Choice>
          <mc:Fallback xmlns="">
            <p:pic>
              <p:nvPicPr>
                <p:cNvPr id="79" name="Ink 78">
                  <a:extLst>
                    <a:ext uri="{FF2B5EF4-FFF2-40B4-BE49-F238E27FC236}">
                      <a16:creationId xmlns:a16="http://schemas.microsoft.com/office/drawing/2014/main" id="{5C9CABE6-4E9B-4141-83E3-87F86B150E5B}"/>
                    </a:ext>
                  </a:extLst>
                </p:cNvPr>
                <p:cNvPicPr/>
                <p:nvPr/>
              </p:nvPicPr>
              <p:blipFill>
                <a:blip r:embed="rId73"/>
                <a:stretch>
                  <a:fillRect/>
                </a:stretch>
              </p:blipFill>
              <p:spPr>
                <a:xfrm>
                  <a:off x="3387897" y="2689478"/>
                  <a:ext cx="36720" cy="112680"/>
                </a:xfrm>
                <a:prstGeom prst="rect">
                  <a:avLst/>
                </a:prstGeom>
              </p:spPr>
            </p:pic>
          </mc:Fallback>
        </mc:AlternateContent>
        <mc:AlternateContent xmlns:mc="http://schemas.openxmlformats.org/markup-compatibility/2006" xmlns:p14="http://schemas.microsoft.com/office/powerpoint/2010/main">
          <mc:Choice Requires="p14">
            <p:contentPart p14:bwMode="auto" r:id="rId74">
              <p14:nvContentPartPr>
                <p14:cNvPr id="80" name="Ink 79">
                  <a:extLst>
                    <a:ext uri="{FF2B5EF4-FFF2-40B4-BE49-F238E27FC236}">
                      <a16:creationId xmlns:a16="http://schemas.microsoft.com/office/drawing/2014/main" id="{B58D5708-C6CE-436E-992C-2154E0E86019}"/>
                    </a:ext>
                  </a:extLst>
                </p14:cNvPr>
                <p14:cNvContentPartPr/>
                <p14:nvPr/>
              </p14:nvContentPartPr>
              <p14:xfrm>
                <a:off x="3350097" y="2749598"/>
                <a:ext cx="83520" cy="360"/>
              </p14:xfrm>
            </p:contentPart>
          </mc:Choice>
          <mc:Fallback xmlns="">
            <p:pic>
              <p:nvPicPr>
                <p:cNvPr id="80" name="Ink 79">
                  <a:extLst>
                    <a:ext uri="{FF2B5EF4-FFF2-40B4-BE49-F238E27FC236}">
                      <a16:creationId xmlns:a16="http://schemas.microsoft.com/office/drawing/2014/main" id="{B58D5708-C6CE-436E-992C-2154E0E86019}"/>
                    </a:ext>
                  </a:extLst>
                </p:cNvPr>
                <p:cNvPicPr/>
                <p:nvPr/>
              </p:nvPicPr>
              <p:blipFill>
                <a:blip r:embed="rId75"/>
                <a:stretch>
                  <a:fillRect/>
                </a:stretch>
              </p:blipFill>
              <p:spPr>
                <a:xfrm>
                  <a:off x="3345777" y="2745278"/>
                  <a:ext cx="9216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76">
              <p14:nvContentPartPr>
                <p14:cNvPr id="81" name="Ink 80">
                  <a:extLst>
                    <a:ext uri="{FF2B5EF4-FFF2-40B4-BE49-F238E27FC236}">
                      <a16:creationId xmlns:a16="http://schemas.microsoft.com/office/drawing/2014/main" id="{766E1BF5-C8AF-47F3-A2CC-CF96E0B3DCBC}"/>
                    </a:ext>
                  </a:extLst>
                </p14:cNvPr>
                <p14:cNvContentPartPr/>
                <p14:nvPr/>
              </p14:nvContentPartPr>
              <p14:xfrm>
                <a:off x="3566817" y="2704598"/>
                <a:ext cx="85320" cy="97920"/>
              </p14:xfrm>
            </p:contentPart>
          </mc:Choice>
          <mc:Fallback xmlns="">
            <p:pic>
              <p:nvPicPr>
                <p:cNvPr id="81" name="Ink 80">
                  <a:extLst>
                    <a:ext uri="{FF2B5EF4-FFF2-40B4-BE49-F238E27FC236}">
                      <a16:creationId xmlns:a16="http://schemas.microsoft.com/office/drawing/2014/main" id="{766E1BF5-C8AF-47F3-A2CC-CF96E0B3DCBC}"/>
                    </a:ext>
                  </a:extLst>
                </p:cNvPr>
                <p:cNvPicPr/>
                <p:nvPr/>
              </p:nvPicPr>
              <p:blipFill>
                <a:blip r:embed="rId77"/>
                <a:stretch>
                  <a:fillRect/>
                </a:stretch>
              </p:blipFill>
              <p:spPr>
                <a:xfrm>
                  <a:off x="3562497" y="2700278"/>
                  <a:ext cx="93960" cy="106560"/>
                </a:xfrm>
                <a:prstGeom prst="rect">
                  <a:avLst/>
                </a:prstGeom>
              </p:spPr>
            </p:pic>
          </mc:Fallback>
        </mc:AlternateContent>
        <mc:AlternateContent xmlns:mc="http://schemas.openxmlformats.org/markup-compatibility/2006" xmlns:p14="http://schemas.microsoft.com/office/powerpoint/2010/main">
          <mc:Choice Requires="p14">
            <p:contentPart p14:bwMode="auto" r:id="rId78">
              <p14:nvContentPartPr>
                <p14:cNvPr id="82" name="Ink 81">
                  <a:extLst>
                    <a:ext uri="{FF2B5EF4-FFF2-40B4-BE49-F238E27FC236}">
                      <a16:creationId xmlns:a16="http://schemas.microsoft.com/office/drawing/2014/main" id="{8493DB77-04CA-44B7-A3CF-5B2B78681B2F}"/>
                    </a:ext>
                  </a:extLst>
                </p14:cNvPr>
                <p14:cNvContentPartPr/>
                <p14:nvPr/>
              </p14:nvContentPartPr>
              <p14:xfrm>
                <a:off x="3733857" y="2742758"/>
                <a:ext cx="360" cy="360"/>
              </p14:xfrm>
            </p:contentPart>
          </mc:Choice>
          <mc:Fallback xmlns="">
            <p:pic>
              <p:nvPicPr>
                <p:cNvPr id="82" name="Ink 81">
                  <a:extLst>
                    <a:ext uri="{FF2B5EF4-FFF2-40B4-BE49-F238E27FC236}">
                      <a16:creationId xmlns:a16="http://schemas.microsoft.com/office/drawing/2014/main" id="{8493DB77-04CA-44B7-A3CF-5B2B78681B2F}"/>
                    </a:ext>
                  </a:extLst>
                </p:cNvPr>
                <p:cNvPicPr/>
                <p:nvPr/>
              </p:nvPicPr>
              <p:blipFill>
                <a:blip r:embed="rId3"/>
                <a:stretch>
                  <a:fillRect/>
                </a:stretch>
              </p:blipFill>
              <p:spPr>
                <a:xfrm>
                  <a:off x="3729537" y="273843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79">
              <p14:nvContentPartPr>
                <p14:cNvPr id="83" name="Ink 82">
                  <a:extLst>
                    <a:ext uri="{FF2B5EF4-FFF2-40B4-BE49-F238E27FC236}">
                      <a16:creationId xmlns:a16="http://schemas.microsoft.com/office/drawing/2014/main" id="{7717E4D3-1A14-4BD6-BB56-CC41BA460A6B}"/>
                    </a:ext>
                  </a:extLst>
                </p14:cNvPr>
                <p14:cNvContentPartPr/>
                <p14:nvPr/>
              </p14:nvContentPartPr>
              <p14:xfrm>
                <a:off x="3808737" y="2676878"/>
                <a:ext cx="92160" cy="114480"/>
              </p14:xfrm>
            </p:contentPart>
          </mc:Choice>
          <mc:Fallback xmlns="">
            <p:pic>
              <p:nvPicPr>
                <p:cNvPr id="83" name="Ink 82">
                  <a:extLst>
                    <a:ext uri="{FF2B5EF4-FFF2-40B4-BE49-F238E27FC236}">
                      <a16:creationId xmlns:a16="http://schemas.microsoft.com/office/drawing/2014/main" id="{7717E4D3-1A14-4BD6-BB56-CC41BA460A6B}"/>
                    </a:ext>
                  </a:extLst>
                </p:cNvPr>
                <p:cNvPicPr/>
                <p:nvPr/>
              </p:nvPicPr>
              <p:blipFill>
                <a:blip r:embed="rId80"/>
                <a:stretch>
                  <a:fillRect/>
                </a:stretch>
              </p:blipFill>
              <p:spPr>
                <a:xfrm>
                  <a:off x="3804417" y="2672558"/>
                  <a:ext cx="100800" cy="123120"/>
                </a:xfrm>
                <a:prstGeom prst="rect">
                  <a:avLst/>
                </a:prstGeom>
              </p:spPr>
            </p:pic>
          </mc:Fallback>
        </mc:AlternateContent>
        <mc:AlternateContent xmlns:mc="http://schemas.openxmlformats.org/markup-compatibility/2006" xmlns:p14="http://schemas.microsoft.com/office/powerpoint/2010/main">
          <mc:Choice Requires="p14">
            <p:contentPart p14:bwMode="auto" r:id="rId81">
              <p14:nvContentPartPr>
                <p14:cNvPr id="84" name="Ink 83">
                  <a:extLst>
                    <a:ext uri="{FF2B5EF4-FFF2-40B4-BE49-F238E27FC236}">
                      <a16:creationId xmlns:a16="http://schemas.microsoft.com/office/drawing/2014/main" id="{2305226F-A32F-4E0D-BEB4-09C8163BBC31}"/>
                    </a:ext>
                  </a:extLst>
                </p14:cNvPr>
                <p14:cNvContentPartPr/>
                <p14:nvPr/>
              </p14:nvContentPartPr>
              <p14:xfrm>
                <a:off x="3888657" y="2666078"/>
                <a:ext cx="103320" cy="112680"/>
              </p14:xfrm>
            </p:contentPart>
          </mc:Choice>
          <mc:Fallback xmlns="">
            <p:pic>
              <p:nvPicPr>
                <p:cNvPr id="84" name="Ink 83">
                  <a:extLst>
                    <a:ext uri="{FF2B5EF4-FFF2-40B4-BE49-F238E27FC236}">
                      <a16:creationId xmlns:a16="http://schemas.microsoft.com/office/drawing/2014/main" id="{2305226F-A32F-4E0D-BEB4-09C8163BBC31}"/>
                    </a:ext>
                  </a:extLst>
                </p:cNvPr>
                <p:cNvPicPr/>
                <p:nvPr/>
              </p:nvPicPr>
              <p:blipFill>
                <a:blip r:embed="rId82"/>
                <a:stretch>
                  <a:fillRect/>
                </a:stretch>
              </p:blipFill>
              <p:spPr>
                <a:xfrm>
                  <a:off x="3884337" y="2661758"/>
                  <a:ext cx="111960" cy="121320"/>
                </a:xfrm>
                <a:prstGeom prst="rect">
                  <a:avLst/>
                </a:prstGeom>
              </p:spPr>
            </p:pic>
          </mc:Fallback>
        </mc:AlternateContent>
        <mc:AlternateContent xmlns:mc="http://schemas.openxmlformats.org/markup-compatibility/2006" xmlns:p14="http://schemas.microsoft.com/office/powerpoint/2010/main">
          <mc:Choice Requires="p14">
            <p:contentPart p14:bwMode="auto" r:id="rId83">
              <p14:nvContentPartPr>
                <p14:cNvPr id="85" name="Ink 84">
                  <a:extLst>
                    <a:ext uri="{FF2B5EF4-FFF2-40B4-BE49-F238E27FC236}">
                      <a16:creationId xmlns:a16="http://schemas.microsoft.com/office/drawing/2014/main" id="{D5EE0536-0E3B-4A6B-81D1-EB3FFB91D185}"/>
                    </a:ext>
                  </a:extLst>
                </p14:cNvPr>
                <p14:cNvContentPartPr/>
                <p14:nvPr/>
              </p14:nvContentPartPr>
              <p14:xfrm>
                <a:off x="4105017" y="2686958"/>
                <a:ext cx="20160" cy="82800"/>
              </p14:xfrm>
            </p:contentPart>
          </mc:Choice>
          <mc:Fallback xmlns="">
            <p:pic>
              <p:nvPicPr>
                <p:cNvPr id="85" name="Ink 84">
                  <a:extLst>
                    <a:ext uri="{FF2B5EF4-FFF2-40B4-BE49-F238E27FC236}">
                      <a16:creationId xmlns:a16="http://schemas.microsoft.com/office/drawing/2014/main" id="{D5EE0536-0E3B-4A6B-81D1-EB3FFB91D185}"/>
                    </a:ext>
                  </a:extLst>
                </p:cNvPr>
                <p:cNvPicPr/>
                <p:nvPr/>
              </p:nvPicPr>
              <p:blipFill>
                <a:blip r:embed="rId29"/>
                <a:stretch>
                  <a:fillRect/>
                </a:stretch>
              </p:blipFill>
              <p:spPr>
                <a:xfrm>
                  <a:off x="4100697" y="2682638"/>
                  <a:ext cx="28800" cy="91440"/>
                </a:xfrm>
                <a:prstGeom prst="rect">
                  <a:avLst/>
                </a:prstGeom>
              </p:spPr>
            </p:pic>
          </mc:Fallback>
        </mc:AlternateContent>
        <mc:AlternateContent xmlns:mc="http://schemas.openxmlformats.org/markup-compatibility/2006" xmlns:p14="http://schemas.microsoft.com/office/powerpoint/2010/main">
          <mc:Choice Requires="p14">
            <p:contentPart p14:bwMode="auto" r:id="rId84">
              <p14:nvContentPartPr>
                <p14:cNvPr id="86" name="Ink 85">
                  <a:extLst>
                    <a:ext uri="{FF2B5EF4-FFF2-40B4-BE49-F238E27FC236}">
                      <a16:creationId xmlns:a16="http://schemas.microsoft.com/office/drawing/2014/main" id="{EFD931F9-B7D6-4A0C-ADF2-48A294C2F01D}"/>
                    </a:ext>
                  </a:extLst>
                </p14:cNvPr>
                <p14:cNvContentPartPr/>
                <p14:nvPr/>
              </p14:nvContentPartPr>
              <p14:xfrm>
                <a:off x="4062177" y="2716118"/>
                <a:ext cx="125640" cy="12960"/>
              </p14:xfrm>
            </p:contentPart>
          </mc:Choice>
          <mc:Fallback xmlns="">
            <p:pic>
              <p:nvPicPr>
                <p:cNvPr id="86" name="Ink 85">
                  <a:extLst>
                    <a:ext uri="{FF2B5EF4-FFF2-40B4-BE49-F238E27FC236}">
                      <a16:creationId xmlns:a16="http://schemas.microsoft.com/office/drawing/2014/main" id="{EFD931F9-B7D6-4A0C-ADF2-48A294C2F01D}"/>
                    </a:ext>
                  </a:extLst>
                </p:cNvPr>
                <p:cNvPicPr/>
                <p:nvPr/>
              </p:nvPicPr>
              <p:blipFill>
                <a:blip r:embed="rId85"/>
                <a:stretch>
                  <a:fillRect/>
                </a:stretch>
              </p:blipFill>
              <p:spPr>
                <a:xfrm>
                  <a:off x="4057857" y="2711798"/>
                  <a:ext cx="134280" cy="21600"/>
                </a:xfrm>
                <a:prstGeom prst="rect">
                  <a:avLst/>
                </a:prstGeom>
              </p:spPr>
            </p:pic>
          </mc:Fallback>
        </mc:AlternateContent>
      </p:grpSp>
      <p:grpSp>
        <p:nvGrpSpPr>
          <p:cNvPr id="100" name="Group 99">
            <a:extLst>
              <a:ext uri="{FF2B5EF4-FFF2-40B4-BE49-F238E27FC236}">
                <a16:creationId xmlns:a16="http://schemas.microsoft.com/office/drawing/2014/main" id="{A9F4159A-25B1-4432-866A-4E7FB4FD22E7}"/>
              </a:ext>
            </a:extLst>
          </p:cNvPr>
          <p:cNvGrpSpPr/>
          <p:nvPr/>
        </p:nvGrpSpPr>
        <p:grpSpPr>
          <a:xfrm>
            <a:off x="4300137" y="2589398"/>
            <a:ext cx="990000" cy="161640"/>
            <a:chOff x="4300137" y="2589398"/>
            <a:chExt cx="990000" cy="161640"/>
          </a:xfrm>
        </p:grpSpPr>
        <mc:AlternateContent xmlns:mc="http://schemas.openxmlformats.org/markup-compatibility/2006" xmlns:p14="http://schemas.microsoft.com/office/powerpoint/2010/main">
          <mc:Choice Requires="p14">
            <p:contentPart p14:bwMode="auto" r:id="rId86">
              <p14:nvContentPartPr>
                <p14:cNvPr id="88" name="Ink 87">
                  <a:extLst>
                    <a:ext uri="{FF2B5EF4-FFF2-40B4-BE49-F238E27FC236}">
                      <a16:creationId xmlns:a16="http://schemas.microsoft.com/office/drawing/2014/main" id="{7150333E-B932-465E-BDB6-198191C88484}"/>
                    </a:ext>
                  </a:extLst>
                </p14:cNvPr>
                <p14:cNvContentPartPr/>
                <p14:nvPr/>
              </p14:nvContentPartPr>
              <p14:xfrm>
                <a:off x="4300137" y="2671838"/>
                <a:ext cx="68400" cy="79200"/>
              </p14:xfrm>
            </p:contentPart>
          </mc:Choice>
          <mc:Fallback xmlns="">
            <p:pic>
              <p:nvPicPr>
                <p:cNvPr id="88" name="Ink 87">
                  <a:extLst>
                    <a:ext uri="{FF2B5EF4-FFF2-40B4-BE49-F238E27FC236}">
                      <a16:creationId xmlns:a16="http://schemas.microsoft.com/office/drawing/2014/main" id="{7150333E-B932-465E-BDB6-198191C88484}"/>
                    </a:ext>
                  </a:extLst>
                </p:cNvPr>
                <p:cNvPicPr/>
                <p:nvPr/>
              </p:nvPicPr>
              <p:blipFill>
                <a:blip r:embed="rId87"/>
                <a:stretch>
                  <a:fillRect/>
                </a:stretch>
              </p:blipFill>
              <p:spPr>
                <a:xfrm>
                  <a:off x="4295817" y="2667518"/>
                  <a:ext cx="77040" cy="87840"/>
                </a:xfrm>
                <a:prstGeom prst="rect">
                  <a:avLst/>
                </a:prstGeom>
              </p:spPr>
            </p:pic>
          </mc:Fallback>
        </mc:AlternateContent>
        <mc:AlternateContent xmlns:mc="http://schemas.openxmlformats.org/markup-compatibility/2006" xmlns:p14="http://schemas.microsoft.com/office/powerpoint/2010/main">
          <mc:Choice Requires="p14">
            <p:contentPart p14:bwMode="auto" r:id="rId88">
              <p14:nvContentPartPr>
                <p14:cNvPr id="89" name="Ink 88">
                  <a:extLst>
                    <a:ext uri="{FF2B5EF4-FFF2-40B4-BE49-F238E27FC236}">
                      <a16:creationId xmlns:a16="http://schemas.microsoft.com/office/drawing/2014/main" id="{903AD705-D9ED-4493-9168-511B1DDDD9F4}"/>
                    </a:ext>
                  </a:extLst>
                </p14:cNvPr>
                <p14:cNvContentPartPr/>
                <p14:nvPr/>
              </p14:nvContentPartPr>
              <p14:xfrm>
                <a:off x="4411017" y="2729078"/>
                <a:ext cx="360" cy="2880"/>
              </p14:xfrm>
            </p:contentPart>
          </mc:Choice>
          <mc:Fallback xmlns="">
            <p:pic>
              <p:nvPicPr>
                <p:cNvPr id="89" name="Ink 88">
                  <a:extLst>
                    <a:ext uri="{FF2B5EF4-FFF2-40B4-BE49-F238E27FC236}">
                      <a16:creationId xmlns:a16="http://schemas.microsoft.com/office/drawing/2014/main" id="{903AD705-D9ED-4493-9168-511B1DDDD9F4}"/>
                    </a:ext>
                  </a:extLst>
                </p:cNvPr>
                <p:cNvPicPr/>
                <p:nvPr/>
              </p:nvPicPr>
              <p:blipFill>
                <a:blip r:embed="rId89"/>
                <a:stretch>
                  <a:fillRect/>
                </a:stretch>
              </p:blipFill>
              <p:spPr>
                <a:xfrm>
                  <a:off x="4406697" y="2724758"/>
                  <a:ext cx="9000" cy="11520"/>
                </a:xfrm>
                <a:prstGeom prst="rect">
                  <a:avLst/>
                </a:prstGeom>
              </p:spPr>
            </p:pic>
          </mc:Fallback>
        </mc:AlternateContent>
        <mc:AlternateContent xmlns:mc="http://schemas.openxmlformats.org/markup-compatibility/2006" xmlns:p14="http://schemas.microsoft.com/office/powerpoint/2010/main">
          <mc:Choice Requires="p14">
            <p:contentPart p14:bwMode="auto" r:id="rId90">
              <p14:nvContentPartPr>
                <p14:cNvPr id="90" name="Ink 89">
                  <a:extLst>
                    <a:ext uri="{FF2B5EF4-FFF2-40B4-BE49-F238E27FC236}">
                      <a16:creationId xmlns:a16="http://schemas.microsoft.com/office/drawing/2014/main" id="{864DAD99-776D-47A1-A649-B066EA8886B1}"/>
                    </a:ext>
                  </a:extLst>
                </p14:cNvPr>
                <p14:cNvContentPartPr/>
                <p14:nvPr/>
              </p14:nvContentPartPr>
              <p14:xfrm>
                <a:off x="4452777" y="2652398"/>
                <a:ext cx="7920" cy="90000"/>
              </p14:xfrm>
            </p:contentPart>
          </mc:Choice>
          <mc:Fallback xmlns="">
            <p:pic>
              <p:nvPicPr>
                <p:cNvPr id="90" name="Ink 89">
                  <a:extLst>
                    <a:ext uri="{FF2B5EF4-FFF2-40B4-BE49-F238E27FC236}">
                      <a16:creationId xmlns:a16="http://schemas.microsoft.com/office/drawing/2014/main" id="{864DAD99-776D-47A1-A649-B066EA8886B1}"/>
                    </a:ext>
                  </a:extLst>
                </p:cNvPr>
                <p:cNvPicPr/>
                <p:nvPr/>
              </p:nvPicPr>
              <p:blipFill>
                <a:blip r:embed="rId91"/>
                <a:stretch>
                  <a:fillRect/>
                </a:stretch>
              </p:blipFill>
              <p:spPr>
                <a:xfrm>
                  <a:off x="4448457" y="2648078"/>
                  <a:ext cx="16560" cy="98640"/>
                </a:xfrm>
                <a:prstGeom prst="rect">
                  <a:avLst/>
                </a:prstGeom>
              </p:spPr>
            </p:pic>
          </mc:Fallback>
        </mc:AlternateContent>
        <mc:AlternateContent xmlns:mc="http://schemas.openxmlformats.org/markup-compatibility/2006" xmlns:p14="http://schemas.microsoft.com/office/powerpoint/2010/main">
          <mc:Choice Requires="p14">
            <p:contentPart p14:bwMode="auto" r:id="rId92">
              <p14:nvContentPartPr>
                <p14:cNvPr id="91" name="Ink 90">
                  <a:extLst>
                    <a:ext uri="{FF2B5EF4-FFF2-40B4-BE49-F238E27FC236}">
                      <a16:creationId xmlns:a16="http://schemas.microsoft.com/office/drawing/2014/main" id="{6322F807-6C41-42E6-A1B0-4C5F248B647A}"/>
                    </a:ext>
                  </a:extLst>
                </p14:cNvPr>
                <p14:cNvContentPartPr/>
                <p14:nvPr/>
              </p14:nvContentPartPr>
              <p14:xfrm>
                <a:off x="4506417" y="2652038"/>
                <a:ext cx="65160" cy="78480"/>
              </p14:xfrm>
            </p:contentPart>
          </mc:Choice>
          <mc:Fallback xmlns="">
            <p:pic>
              <p:nvPicPr>
                <p:cNvPr id="91" name="Ink 90">
                  <a:extLst>
                    <a:ext uri="{FF2B5EF4-FFF2-40B4-BE49-F238E27FC236}">
                      <a16:creationId xmlns:a16="http://schemas.microsoft.com/office/drawing/2014/main" id="{6322F807-6C41-42E6-A1B0-4C5F248B647A}"/>
                    </a:ext>
                  </a:extLst>
                </p:cNvPr>
                <p:cNvPicPr/>
                <p:nvPr/>
              </p:nvPicPr>
              <p:blipFill>
                <a:blip r:embed="rId93"/>
                <a:stretch>
                  <a:fillRect/>
                </a:stretch>
              </p:blipFill>
              <p:spPr>
                <a:xfrm>
                  <a:off x="4502097" y="2647718"/>
                  <a:ext cx="73800" cy="87120"/>
                </a:xfrm>
                <a:prstGeom prst="rect">
                  <a:avLst/>
                </a:prstGeom>
              </p:spPr>
            </p:pic>
          </mc:Fallback>
        </mc:AlternateContent>
        <mc:AlternateContent xmlns:mc="http://schemas.openxmlformats.org/markup-compatibility/2006" xmlns:p14="http://schemas.microsoft.com/office/powerpoint/2010/main">
          <mc:Choice Requires="p14">
            <p:contentPart p14:bwMode="auto" r:id="rId94">
              <p14:nvContentPartPr>
                <p14:cNvPr id="92" name="Ink 91">
                  <a:extLst>
                    <a:ext uri="{FF2B5EF4-FFF2-40B4-BE49-F238E27FC236}">
                      <a16:creationId xmlns:a16="http://schemas.microsoft.com/office/drawing/2014/main" id="{570943C6-E320-44AB-8D76-5609F373ABED}"/>
                    </a:ext>
                  </a:extLst>
                </p14:cNvPr>
                <p14:cNvContentPartPr/>
                <p14:nvPr/>
              </p14:nvContentPartPr>
              <p14:xfrm>
                <a:off x="4612257" y="2642678"/>
                <a:ext cx="58320" cy="104040"/>
              </p14:xfrm>
            </p:contentPart>
          </mc:Choice>
          <mc:Fallback xmlns="">
            <p:pic>
              <p:nvPicPr>
                <p:cNvPr id="92" name="Ink 91">
                  <a:extLst>
                    <a:ext uri="{FF2B5EF4-FFF2-40B4-BE49-F238E27FC236}">
                      <a16:creationId xmlns:a16="http://schemas.microsoft.com/office/drawing/2014/main" id="{570943C6-E320-44AB-8D76-5609F373ABED}"/>
                    </a:ext>
                  </a:extLst>
                </p:cNvPr>
                <p:cNvPicPr/>
                <p:nvPr/>
              </p:nvPicPr>
              <p:blipFill>
                <a:blip r:embed="rId95"/>
                <a:stretch>
                  <a:fillRect/>
                </a:stretch>
              </p:blipFill>
              <p:spPr>
                <a:xfrm>
                  <a:off x="4607937" y="2638358"/>
                  <a:ext cx="66960" cy="112680"/>
                </a:xfrm>
                <a:prstGeom prst="rect">
                  <a:avLst/>
                </a:prstGeom>
              </p:spPr>
            </p:pic>
          </mc:Fallback>
        </mc:AlternateContent>
        <mc:AlternateContent xmlns:mc="http://schemas.openxmlformats.org/markup-compatibility/2006" xmlns:p14="http://schemas.microsoft.com/office/powerpoint/2010/main">
          <mc:Choice Requires="p14">
            <p:contentPart p14:bwMode="auto" r:id="rId96">
              <p14:nvContentPartPr>
                <p14:cNvPr id="93" name="Ink 92">
                  <a:extLst>
                    <a:ext uri="{FF2B5EF4-FFF2-40B4-BE49-F238E27FC236}">
                      <a16:creationId xmlns:a16="http://schemas.microsoft.com/office/drawing/2014/main" id="{9D44812A-A5A3-42E5-AF55-F1205B0D3AEA}"/>
                    </a:ext>
                  </a:extLst>
                </p14:cNvPr>
                <p14:cNvContentPartPr/>
                <p14:nvPr/>
              </p14:nvContentPartPr>
              <p14:xfrm>
                <a:off x="4767057" y="2624318"/>
                <a:ext cx="7920" cy="90360"/>
              </p14:xfrm>
            </p:contentPart>
          </mc:Choice>
          <mc:Fallback xmlns="">
            <p:pic>
              <p:nvPicPr>
                <p:cNvPr id="93" name="Ink 92">
                  <a:extLst>
                    <a:ext uri="{FF2B5EF4-FFF2-40B4-BE49-F238E27FC236}">
                      <a16:creationId xmlns:a16="http://schemas.microsoft.com/office/drawing/2014/main" id="{9D44812A-A5A3-42E5-AF55-F1205B0D3AEA}"/>
                    </a:ext>
                  </a:extLst>
                </p:cNvPr>
                <p:cNvPicPr/>
                <p:nvPr/>
              </p:nvPicPr>
              <p:blipFill>
                <a:blip r:embed="rId97"/>
                <a:stretch>
                  <a:fillRect/>
                </a:stretch>
              </p:blipFill>
              <p:spPr>
                <a:xfrm>
                  <a:off x="4762737" y="2619998"/>
                  <a:ext cx="16560" cy="99000"/>
                </a:xfrm>
                <a:prstGeom prst="rect">
                  <a:avLst/>
                </a:prstGeom>
              </p:spPr>
            </p:pic>
          </mc:Fallback>
        </mc:AlternateContent>
        <mc:AlternateContent xmlns:mc="http://schemas.openxmlformats.org/markup-compatibility/2006" xmlns:p14="http://schemas.microsoft.com/office/powerpoint/2010/main">
          <mc:Choice Requires="p14">
            <p:contentPart p14:bwMode="auto" r:id="rId98">
              <p14:nvContentPartPr>
                <p14:cNvPr id="94" name="Ink 93">
                  <a:extLst>
                    <a:ext uri="{FF2B5EF4-FFF2-40B4-BE49-F238E27FC236}">
                      <a16:creationId xmlns:a16="http://schemas.microsoft.com/office/drawing/2014/main" id="{3E07791C-A239-417F-BCCC-C715632EBAC4}"/>
                    </a:ext>
                  </a:extLst>
                </p14:cNvPr>
                <p14:cNvContentPartPr/>
                <p14:nvPr/>
              </p14:nvContentPartPr>
              <p14:xfrm>
                <a:off x="4725297" y="2673278"/>
                <a:ext cx="76320" cy="14040"/>
              </p14:xfrm>
            </p:contentPart>
          </mc:Choice>
          <mc:Fallback xmlns="">
            <p:pic>
              <p:nvPicPr>
                <p:cNvPr id="94" name="Ink 93">
                  <a:extLst>
                    <a:ext uri="{FF2B5EF4-FFF2-40B4-BE49-F238E27FC236}">
                      <a16:creationId xmlns:a16="http://schemas.microsoft.com/office/drawing/2014/main" id="{3E07791C-A239-417F-BCCC-C715632EBAC4}"/>
                    </a:ext>
                  </a:extLst>
                </p:cNvPr>
                <p:cNvPicPr/>
                <p:nvPr/>
              </p:nvPicPr>
              <p:blipFill>
                <a:blip r:embed="rId99"/>
                <a:stretch>
                  <a:fillRect/>
                </a:stretch>
              </p:blipFill>
              <p:spPr>
                <a:xfrm>
                  <a:off x="4720977" y="2668958"/>
                  <a:ext cx="84960" cy="22680"/>
                </a:xfrm>
                <a:prstGeom prst="rect">
                  <a:avLst/>
                </a:prstGeom>
              </p:spPr>
            </p:pic>
          </mc:Fallback>
        </mc:AlternateContent>
        <mc:AlternateContent xmlns:mc="http://schemas.openxmlformats.org/markup-compatibility/2006" xmlns:p14="http://schemas.microsoft.com/office/powerpoint/2010/main">
          <mc:Choice Requires="p14">
            <p:contentPart p14:bwMode="auto" r:id="rId100">
              <p14:nvContentPartPr>
                <p14:cNvPr id="96" name="Ink 95">
                  <a:extLst>
                    <a:ext uri="{FF2B5EF4-FFF2-40B4-BE49-F238E27FC236}">
                      <a16:creationId xmlns:a16="http://schemas.microsoft.com/office/drawing/2014/main" id="{45EEE506-88A2-4193-9C54-8C8449DFE730}"/>
                    </a:ext>
                  </a:extLst>
                </p14:cNvPr>
                <p14:cNvContentPartPr/>
                <p14:nvPr/>
              </p14:nvContentPartPr>
              <p14:xfrm>
                <a:off x="4936617" y="2603798"/>
                <a:ext cx="95760" cy="85320"/>
              </p14:xfrm>
            </p:contentPart>
          </mc:Choice>
          <mc:Fallback xmlns="">
            <p:pic>
              <p:nvPicPr>
                <p:cNvPr id="96" name="Ink 95">
                  <a:extLst>
                    <a:ext uri="{FF2B5EF4-FFF2-40B4-BE49-F238E27FC236}">
                      <a16:creationId xmlns:a16="http://schemas.microsoft.com/office/drawing/2014/main" id="{45EEE506-88A2-4193-9C54-8C8449DFE730}"/>
                    </a:ext>
                  </a:extLst>
                </p:cNvPr>
                <p:cNvPicPr/>
                <p:nvPr/>
              </p:nvPicPr>
              <p:blipFill>
                <a:blip r:embed="rId101"/>
                <a:stretch>
                  <a:fillRect/>
                </a:stretch>
              </p:blipFill>
              <p:spPr>
                <a:xfrm>
                  <a:off x="4932297" y="2599478"/>
                  <a:ext cx="104400" cy="93960"/>
                </a:xfrm>
                <a:prstGeom prst="rect">
                  <a:avLst/>
                </a:prstGeom>
              </p:spPr>
            </p:pic>
          </mc:Fallback>
        </mc:AlternateContent>
        <mc:AlternateContent xmlns:mc="http://schemas.openxmlformats.org/markup-compatibility/2006" xmlns:p14="http://schemas.microsoft.com/office/powerpoint/2010/main">
          <mc:Choice Requires="p14">
            <p:contentPart p14:bwMode="auto" r:id="rId102">
              <p14:nvContentPartPr>
                <p14:cNvPr id="97" name="Ink 96">
                  <a:extLst>
                    <a:ext uri="{FF2B5EF4-FFF2-40B4-BE49-F238E27FC236}">
                      <a16:creationId xmlns:a16="http://schemas.microsoft.com/office/drawing/2014/main" id="{B715EBB9-3E3F-4D08-ACA5-9DC3F8F6B292}"/>
                    </a:ext>
                  </a:extLst>
                </p14:cNvPr>
                <p14:cNvContentPartPr/>
                <p14:nvPr/>
              </p14:nvContentPartPr>
              <p14:xfrm>
                <a:off x="5088177" y="2666078"/>
                <a:ext cx="360" cy="360"/>
              </p14:xfrm>
            </p:contentPart>
          </mc:Choice>
          <mc:Fallback xmlns="">
            <p:pic>
              <p:nvPicPr>
                <p:cNvPr id="97" name="Ink 96">
                  <a:extLst>
                    <a:ext uri="{FF2B5EF4-FFF2-40B4-BE49-F238E27FC236}">
                      <a16:creationId xmlns:a16="http://schemas.microsoft.com/office/drawing/2014/main" id="{B715EBB9-3E3F-4D08-ACA5-9DC3F8F6B292}"/>
                    </a:ext>
                  </a:extLst>
                </p:cNvPr>
                <p:cNvPicPr/>
                <p:nvPr/>
              </p:nvPicPr>
              <p:blipFill>
                <a:blip r:embed="rId3"/>
                <a:stretch>
                  <a:fillRect/>
                </a:stretch>
              </p:blipFill>
              <p:spPr>
                <a:xfrm>
                  <a:off x="5083857" y="266175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03">
              <p14:nvContentPartPr>
                <p14:cNvPr id="98" name="Ink 97">
                  <a:extLst>
                    <a:ext uri="{FF2B5EF4-FFF2-40B4-BE49-F238E27FC236}">
                      <a16:creationId xmlns:a16="http://schemas.microsoft.com/office/drawing/2014/main" id="{D3A830D0-F0D6-44F5-B9F2-36FF45C191DB}"/>
                    </a:ext>
                  </a:extLst>
                </p14:cNvPr>
                <p14:cNvContentPartPr/>
                <p14:nvPr/>
              </p14:nvContentPartPr>
              <p14:xfrm>
                <a:off x="5131737" y="2589398"/>
                <a:ext cx="61920" cy="89280"/>
              </p14:xfrm>
            </p:contentPart>
          </mc:Choice>
          <mc:Fallback xmlns="">
            <p:pic>
              <p:nvPicPr>
                <p:cNvPr id="98" name="Ink 97">
                  <a:extLst>
                    <a:ext uri="{FF2B5EF4-FFF2-40B4-BE49-F238E27FC236}">
                      <a16:creationId xmlns:a16="http://schemas.microsoft.com/office/drawing/2014/main" id="{D3A830D0-F0D6-44F5-B9F2-36FF45C191DB}"/>
                    </a:ext>
                  </a:extLst>
                </p:cNvPr>
                <p:cNvPicPr/>
                <p:nvPr/>
              </p:nvPicPr>
              <p:blipFill>
                <a:blip r:embed="rId104"/>
                <a:stretch>
                  <a:fillRect/>
                </a:stretch>
              </p:blipFill>
              <p:spPr>
                <a:xfrm>
                  <a:off x="5127417" y="2585078"/>
                  <a:ext cx="70560" cy="97920"/>
                </a:xfrm>
                <a:prstGeom prst="rect">
                  <a:avLst/>
                </a:prstGeom>
              </p:spPr>
            </p:pic>
          </mc:Fallback>
        </mc:AlternateContent>
        <mc:AlternateContent xmlns:mc="http://schemas.openxmlformats.org/markup-compatibility/2006" xmlns:p14="http://schemas.microsoft.com/office/powerpoint/2010/main">
          <mc:Choice Requires="p14">
            <p:contentPart p14:bwMode="auto" r:id="rId105">
              <p14:nvContentPartPr>
                <p14:cNvPr id="99" name="Ink 98">
                  <a:extLst>
                    <a:ext uri="{FF2B5EF4-FFF2-40B4-BE49-F238E27FC236}">
                      <a16:creationId xmlns:a16="http://schemas.microsoft.com/office/drawing/2014/main" id="{20F5E6BA-171F-4F0C-A1E4-124FE3399DBA}"/>
                    </a:ext>
                  </a:extLst>
                </p14:cNvPr>
                <p14:cNvContentPartPr/>
                <p14:nvPr/>
              </p14:nvContentPartPr>
              <p14:xfrm>
                <a:off x="5229297" y="2595518"/>
                <a:ext cx="60840" cy="72360"/>
              </p14:xfrm>
            </p:contentPart>
          </mc:Choice>
          <mc:Fallback xmlns="">
            <p:pic>
              <p:nvPicPr>
                <p:cNvPr id="99" name="Ink 98">
                  <a:extLst>
                    <a:ext uri="{FF2B5EF4-FFF2-40B4-BE49-F238E27FC236}">
                      <a16:creationId xmlns:a16="http://schemas.microsoft.com/office/drawing/2014/main" id="{20F5E6BA-171F-4F0C-A1E4-124FE3399DBA}"/>
                    </a:ext>
                  </a:extLst>
                </p:cNvPr>
                <p:cNvPicPr/>
                <p:nvPr/>
              </p:nvPicPr>
              <p:blipFill>
                <a:blip r:embed="rId106"/>
                <a:stretch>
                  <a:fillRect/>
                </a:stretch>
              </p:blipFill>
              <p:spPr>
                <a:xfrm>
                  <a:off x="5224977" y="2591198"/>
                  <a:ext cx="69480" cy="8100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107">
            <p14:nvContentPartPr>
              <p14:cNvPr id="101" name="Ink 100">
                <a:extLst>
                  <a:ext uri="{FF2B5EF4-FFF2-40B4-BE49-F238E27FC236}">
                    <a16:creationId xmlns:a16="http://schemas.microsoft.com/office/drawing/2014/main" id="{D9CAB537-CA15-47F7-898B-A67370E7504E}"/>
                  </a:ext>
                </a:extLst>
              </p14:cNvPr>
              <p14:cNvContentPartPr/>
              <p14:nvPr/>
            </p14:nvContentPartPr>
            <p14:xfrm>
              <a:off x="5576697" y="2351798"/>
              <a:ext cx="88920" cy="360"/>
            </p14:xfrm>
          </p:contentPart>
        </mc:Choice>
        <mc:Fallback xmlns="">
          <p:pic>
            <p:nvPicPr>
              <p:cNvPr id="101" name="Ink 100">
                <a:extLst>
                  <a:ext uri="{FF2B5EF4-FFF2-40B4-BE49-F238E27FC236}">
                    <a16:creationId xmlns:a16="http://schemas.microsoft.com/office/drawing/2014/main" id="{D9CAB537-CA15-47F7-898B-A67370E7504E}"/>
                  </a:ext>
                </a:extLst>
              </p:cNvPr>
              <p:cNvPicPr/>
              <p:nvPr/>
            </p:nvPicPr>
            <p:blipFill>
              <a:blip r:embed="rId108"/>
              <a:stretch>
                <a:fillRect/>
              </a:stretch>
            </p:blipFill>
            <p:spPr>
              <a:xfrm>
                <a:off x="5572377" y="2347478"/>
                <a:ext cx="97560" cy="9000"/>
              </a:xfrm>
              <a:prstGeom prst="rect">
                <a:avLst/>
              </a:prstGeom>
            </p:spPr>
          </p:pic>
        </mc:Fallback>
      </mc:AlternateContent>
      <p:grpSp>
        <p:nvGrpSpPr>
          <p:cNvPr id="104" name="Group 103">
            <a:extLst>
              <a:ext uri="{FF2B5EF4-FFF2-40B4-BE49-F238E27FC236}">
                <a16:creationId xmlns:a16="http://schemas.microsoft.com/office/drawing/2014/main" id="{673549E1-D675-42AA-BE35-08B353582A17}"/>
              </a:ext>
            </a:extLst>
          </p:cNvPr>
          <p:cNvGrpSpPr/>
          <p:nvPr/>
        </p:nvGrpSpPr>
        <p:grpSpPr>
          <a:xfrm>
            <a:off x="5583897" y="2416238"/>
            <a:ext cx="111600" cy="5760"/>
            <a:chOff x="5583897" y="2416238"/>
            <a:chExt cx="111600" cy="5760"/>
          </a:xfrm>
        </p:grpSpPr>
        <mc:AlternateContent xmlns:mc="http://schemas.openxmlformats.org/markup-compatibility/2006" xmlns:p14="http://schemas.microsoft.com/office/powerpoint/2010/main">
          <mc:Choice Requires="p14">
            <p:contentPart p14:bwMode="auto" r:id="rId109">
              <p14:nvContentPartPr>
                <p14:cNvPr id="102" name="Ink 101">
                  <a:extLst>
                    <a:ext uri="{FF2B5EF4-FFF2-40B4-BE49-F238E27FC236}">
                      <a16:creationId xmlns:a16="http://schemas.microsoft.com/office/drawing/2014/main" id="{385105F5-29F1-4053-8C51-F613A2E39263}"/>
                    </a:ext>
                  </a:extLst>
                </p14:cNvPr>
                <p14:cNvContentPartPr/>
                <p14:nvPr/>
              </p14:nvContentPartPr>
              <p14:xfrm>
                <a:off x="5583897" y="2416238"/>
                <a:ext cx="37440" cy="5760"/>
              </p14:xfrm>
            </p:contentPart>
          </mc:Choice>
          <mc:Fallback xmlns="">
            <p:pic>
              <p:nvPicPr>
                <p:cNvPr id="102" name="Ink 101">
                  <a:extLst>
                    <a:ext uri="{FF2B5EF4-FFF2-40B4-BE49-F238E27FC236}">
                      <a16:creationId xmlns:a16="http://schemas.microsoft.com/office/drawing/2014/main" id="{385105F5-29F1-4053-8C51-F613A2E39263}"/>
                    </a:ext>
                  </a:extLst>
                </p:cNvPr>
                <p:cNvPicPr/>
                <p:nvPr/>
              </p:nvPicPr>
              <p:blipFill>
                <a:blip r:embed="rId110"/>
                <a:stretch>
                  <a:fillRect/>
                </a:stretch>
              </p:blipFill>
              <p:spPr>
                <a:xfrm>
                  <a:off x="5579577" y="2411918"/>
                  <a:ext cx="46080" cy="14400"/>
                </a:xfrm>
                <a:prstGeom prst="rect">
                  <a:avLst/>
                </a:prstGeom>
              </p:spPr>
            </p:pic>
          </mc:Fallback>
        </mc:AlternateContent>
        <mc:AlternateContent xmlns:mc="http://schemas.openxmlformats.org/markup-compatibility/2006" xmlns:p14="http://schemas.microsoft.com/office/powerpoint/2010/main">
          <mc:Choice Requires="p14">
            <p:contentPart p14:bwMode="auto" r:id="rId111">
              <p14:nvContentPartPr>
                <p14:cNvPr id="103" name="Ink 102">
                  <a:extLst>
                    <a:ext uri="{FF2B5EF4-FFF2-40B4-BE49-F238E27FC236}">
                      <a16:creationId xmlns:a16="http://schemas.microsoft.com/office/drawing/2014/main" id="{397FCE79-ED80-4ED5-A468-FF0165DA9002}"/>
                    </a:ext>
                  </a:extLst>
                </p14:cNvPr>
                <p14:cNvContentPartPr/>
                <p14:nvPr/>
              </p14:nvContentPartPr>
              <p14:xfrm>
                <a:off x="5597937" y="2421638"/>
                <a:ext cx="97560" cy="360"/>
              </p14:xfrm>
            </p:contentPart>
          </mc:Choice>
          <mc:Fallback xmlns="">
            <p:pic>
              <p:nvPicPr>
                <p:cNvPr id="103" name="Ink 102">
                  <a:extLst>
                    <a:ext uri="{FF2B5EF4-FFF2-40B4-BE49-F238E27FC236}">
                      <a16:creationId xmlns:a16="http://schemas.microsoft.com/office/drawing/2014/main" id="{397FCE79-ED80-4ED5-A468-FF0165DA9002}"/>
                    </a:ext>
                  </a:extLst>
                </p:cNvPr>
                <p:cNvPicPr/>
                <p:nvPr/>
              </p:nvPicPr>
              <p:blipFill>
                <a:blip r:embed="rId112"/>
                <a:stretch>
                  <a:fillRect/>
                </a:stretch>
              </p:blipFill>
              <p:spPr>
                <a:xfrm>
                  <a:off x="5593617" y="2417318"/>
                  <a:ext cx="106200" cy="900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113">
            <p14:nvContentPartPr>
              <p14:cNvPr id="2" name="Ink 1">
                <a:extLst>
                  <a:ext uri="{FF2B5EF4-FFF2-40B4-BE49-F238E27FC236}">
                    <a16:creationId xmlns:a16="http://schemas.microsoft.com/office/drawing/2014/main" id="{DD060C0D-4EE0-46ED-BEEC-AFBB86C2C785}"/>
                  </a:ext>
                </a:extLst>
              </p14:cNvPr>
              <p14:cNvContentPartPr/>
              <p14:nvPr/>
            </p14:nvContentPartPr>
            <p14:xfrm>
              <a:off x="866880" y="333360"/>
              <a:ext cx="7415640" cy="3976920"/>
            </p14:xfrm>
          </p:contentPart>
        </mc:Choice>
        <mc:Fallback xmlns="">
          <p:pic>
            <p:nvPicPr>
              <p:cNvPr id="2" name="Ink 1">
                <a:extLst>
                  <a:ext uri="{FF2B5EF4-FFF2-40B4-BE49-F238E27FC236}">
                    <a16:creationId xmlns:a16="http://schemas.microsoft.com/office/drawing/2014/main" id="{DD060C0D-4EE0-46ED-BEEC-AFBB86C2C785}"/>
                  </a:ext>
                </a:extLst>
              </p:cNvPr>
              <p:cNvPicPr/>
              <p:nvPr/>
            </p:nvPicPr>
            <p:blipFill>
              <a:blip r:embed="rId114"/>
              <a:stretch>
                <a:fillRect/>
              </a:stretch>
            </p:blipFill>
            <p:spPr>
              <a:xfrm>
                <a:off x="857520" y="324000"/>
                <a:ext cx="7434360" cy="3995640"/>
              </a:xfrm>
              <a:prstGeom prst="rect">
                <a:avLst/>
              </a:prstGeom>
            </p:spPr>
          </p:pic>
        </mc:Fallback>
      </mc:AlternateContent>
    </p:spTree>
    <p:extLst>
      <p:ext uri="{BB962C8B-B14F-4D97-AF65-F5344CB8AC3E}">
        <p14:creationId xmlns:p14="http://schemas.microsoft.com/office/powerpoint/2010/main" val="1236711108"/>
      </p:ext>
    </p:extLst>
  </p:cSld>
  <p:clrMapOvr>
    <a:masterClrMapping/>
  </p:clrMapOvr>
  <p:transition spd="med">
    <p:wipe dir="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EECB27-EAA2-4EE0-A357-855C3ABB6A5B}"/>
              </a:ext>
            </a:extLst>
          </p:cNvPr>
          <p:cNvSpPr>
            <a:spLocks noGrp="1"/>
          </p:cNvSpPr>
          <p:nvPr>
            <p:ph type="title"/>
          </p:nvPr>
        </p:nvSpPr>
        <p:spPr>
          <a:xfrm>
            <a:off x="0" y="0"/>
            <a:ext cx="7955280" cy="640080"/>
          </a:xfrm>
        </p:spPr>
        <p:txBody>
          <a:bodyPr/>
          <a:lstStyle/>
          <a:p>
            <a:r>
              <a:rPr lang="en-US" dirty="0"/>
              <a:t>Harmonic Mean - </a:t>
            </a:r>
            <a:r>
              <a:rPr lang="en-US" sz="2400" dirty="0">
                <a:solidFill>
                  <a:schemeClr val="bg2">
                    <a:lumMod val="50000"/>
                    <a:lumOff val="50000"/>
                  </a:schemeClr>
                </a:solidFill>
              </a:rPr>
              <a:t>Continued</a:t>
            </a:r>
            <a:endParaRPr lang="en-US" dirty="0">
              <a:solidFill>
                <a:schemeClr val="bg2">
                  <a:lumMod val="50000"/>
                  <a:lumOff val="50000"/>
                </a:schemeClr>
              </a:solidFill>
            </a:endParaRPr>
          </a:p>
        </p:txBody>
      </p:sp>
      <p:sp>
        <p:nvSpPr>
          <p:cNvPr id="4" name="Content Placeholder 3">
            <a:extLst>
              <a:ext uri="{FF2B5EF4-FFF2-40B4-BE49-F238E27FC236}">
                <a16:creationId xmlns:a16="http://schemas.microsoft.com/office/drawing/2014/main" id="{B5302A69-3D48-4326-8584-D4306A30249E}"/>
              </a:ext>
            </a:extLst>
          </p:cNvPr>
          <p:cNvSpPr>
            <a:spLocks noGrp="1"/>
          </p:cNvSpPr>
          <p:nvPr>
            <p:ph sz="half" idx="1"/>
          </p:nvPr>
        </p:nvSpPr>
        <p:spPr>
          <a:xfrm>
            <a:off x="176598" y="854632"/>
            <a:ext cx="7955280" cy="3811163"/>
          </a:xfrm>
        </p:spPr>
        <p:txBody>
          <a:bodyPr/>
          <a:lstStyle/>
          <a:p>
            <a:r>
              <a:rPr lang="en-US" dirty="0">
                <a:solidFill>
                  <a:schemeClr val="bg2">
                    <a:lumMod val="50000"/>
                    <a:lumOff val="50000"/>
                  </a:schemeClr>
                </a:solidFill>
                <a:latin typeface="Inter"/>
              </a:rPr>
              <a:t>The Harmonic mean is the reciprocal of the average of the reciprocals</a:t>
            </a:r>
          </a:p>
          <a:p>
            <a:r>
              <a:rPr lang="en-US" dirty="0">
                <a:solidFill>
                  <a:schemeClr val="bg2">
                    <a:lumMod val="50000"/>
                    <a:lumOff val="50000"/>
                  </a:schemeClr>
                </a:solidFill>
                <a:latin typeface="Inter"/>
              </a:rPr>
              <a:t>The formula is : </a:t>
            </a:r>
          </a:p>
          <a:p>
            <a:pPr lvl="1"/>
            <a:endParaRPr lang="en-US" dirty="0"/>
          </a:p>
        </p:txBody>
      </p:sp>
      <p:pic>
        <p:nvPicPr>
          <p:cNvPr id="6" name="Picture 5">
            <a:extLst>
              <a:ext uri="{FF2B5EF4-FFF2-40B4-BE49-F238E27FC236}">
                <a16:creationId xmlns:a16="http://schemas.microsoft.com/office/drawing/2014/main" id="{1E1A9138-205F-4B7A-8E4D-495313CAAA7C}"/>
              </a:ext>
            </a:extLst>
          </p:cNvPr>
          <p:cNvPicPr>
            <a:picLocks noChangeAspect="1"/>
          </p:cNvPicPr>
          <p:nvPr/>
        </p:nvPicPr>
        <p:blipFill>
          <a:blip r:embed="rId2"/>
          <a:stretch>
            <a:fillRect/>
          </a:stretch>
        </p:blipFill>
        <p:spPr>
          <a:xfrm>
            <a:off x="947555" y="1570570"/>
            <a:ext cx="5791147" cy="537436"/>
          </a:xfrm>
          <a:prstGeom prst="rect">
            <a:avLst/>
          </a:prstGeom>
        </p:spPr>
      </p:pic>
      <p:sp>
        <p:nvSpPr>
          <p:cNvPr id="7" name="TextBox 6">
            <a:extLst>
              <a:ext uri="{FF2B5EF4-FFF2-40B4-BE49-F238E27FC236}">
                <a16:creationId xmlns:a16="http://schemas.microsoft.com/office/drawing/2014/main" id="{DDA14BC5-E68B-44F9-AF61-3F4A96899004}"/>
              </a:ext>
            </a:extLst>
          </p:cNvPr>
          <p:cNvSpPr txBox="1"/>
          <p:nvPr/>
        </p:nvSpPr>
        <p:spPr>
          <a:xfrm>
            <a:off x="2132117" y="2014781"/>
            <a:ext cx="5003026" cy="307777"/>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q"/>
            </a:pPr>
            <a:r>
              <a:rPr lang="en-US" sz="1400" i="1" dirty="0">
                <a:solidFill>
                  <a:schemeClr val="bg2"/>
                </a:solidFill>
                <a:latin typeface="+mn-lt"/>
              </a:rPr>
              <a:t>a1, a2,a3,.. are the values and n being how many values</a:t>
            </a:r>
          </a:p>
        </p:txBody>
      </p:sp>
      <p:sp>
        <p:nvSpPr>
          <p:cNvPr id="9" name="TextBox 8">
            <a:extLst>
              <a:ext uri="{FF2B5EF4-FFF2-40B4-BE49-F238E27FC236}">
                <a16:creationId xmlns:a16="http://schemas.microsoft.com/office/drawing/2014/main" id="{E971881A-FAFB-4FE7-9BFB-69C4060B8AA2}"/>
              </a:ext>
            </a:extLst>
          </p:cNvPr>
          <p:cNvSpPr txBox="1"/>
          <p:nvPr/>
        </p:nvSpPr>
        <p:spPr>
          <a:xfrm>
            <a:off x="69800" y="2553863"/>
            <a:ext cx="8669351" cy="1200329"/>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bg2">
                    <a:lumMod val="50000"/>
                    <a:lumOff val="50000"/>
                  </a:schemeClr>
                </a:solidFill>
                <a:latin typeface="Inter"/>
                <a:cs typeface="Arial" panose="020B0604020202020204" pitchFamily="34" charset="0"/>
              </a:rPr>
              <a:t>Why Harmonic Mean ?</a:t>
            </a:r>
          </a:p>
          <a:p>
            <a:pPr>
              <a:spcBef>
                <a:spcPts val="0"/>
              </a:spcBef>
              <a:spcAft>
                <a:spcPts val="0"/>
              </a:spcAft>
              <a:buClr>
                <a:schemeClr val="bg1"/>
              </a:buClr>
            </a:pPr>
            <a:endParaRPr lang="en-US" sz="1800" dirty="0">
              <a:solidFill>
                <a:schemeClr val="bg2">
                  <a:lumMod val="50000"/>
                  <a:lumOff val="50000"/>
                </a:schemeClr>
              </a:solidFill>
              <a:latin typeface="Inter"/>
              <a:cs typeface="Arial" panose="020B0604020202020204" pitchFamily="34" charset="0"/>
            </a:endParaRPr>
          </a:p>
          <a:p>
            <a:pPr marL="285750" indent="-285750">
              <a:spcBef>
                <a:spcPts val="0"/>
              </a:spcBef>
              <a:spcAft>
                <a:spcPts val="0"/>
              </a:spcAft>
              <a:buClr>
                <a:schemeClr val="bg1"/>
              </a:buClr>
              <a:buFont typeface="Wingdings" panose="05000000000000000000" pitchFamily="2" charset="2"/>
              <a:buChar char="q"/>
            </a:pPr>
            <a:r>
              <a:rPr lang="en-US" sz="1800" dirty="0">
                <a:solidFill>
                  <a:schemeClr val="bg2">
                    <a:lumMod val="50000"/>
                    <a:lumOff val="50000"/>
                  </a:schemeClr>
                </a:solidFill>
                <a:latin typeface="Inter"/>
                <a:cs typeface="Arial" panose="020B0604020202020204" pitchFamily="34" charset="0"/>
              </a:rPr>
              <a:t>Ex : Example : A car is travelling at 80 km/</a:t>
            </a:r>
            <a:r>
              <a:rPr lang="en-US" sz="1800" dirty="0" err="1">
                <a:solidFill>
                  <a:schemeClr val="bg2">
                    <a:lumMod val="50000"/>
                    <a:lumOff val="50000"/>
                  </a:schemeClr>
                </a:solidFill>
                <a:latin typeface="Inter"/>
                <a:cs typeface="Arial" panose="020B0604020202020204" pitchFamily="34" charset="0"/>
              </a:rPr>
              <a:t>hr</a:t>
            </a:r>
            <a:r>
              <a:rPr lang="en-US" sz="1800" dirty="0">
                <a:solidFill>
                  <a:schemeClr val="bg2">
                    <a:lumMod val="50000"/>
                    <a:lumOff val="50000"/>
                  </a:schemeClr>
                </a:solidFill>
                <a:latin typeface="Inter"/>
                <a:cs typeface="Arial" panose="020B0604020202020204" pitchFamily="34" charset="0"/>
              </a:rPr>
              <a:t> for 20km and then a another 20km at 50 km/</a:t>
            </a:r>
            <a:r>
              <a:rPr lang="en-US" sz="1800" dirty="0" err="1">
                <a:solidFill>
                  <a:schemeClr val="bg2">
                    <a:lumMod val="50000"/>
                    <a:lumOff val="50000"/>
                  </a:schemeClr>
                </a:solidFill>
                <a:latin typeface="Inter"/>
                <a:cs typeface="Arial" panose="020B0604020202020204" pitchFamily="34" charset="0"/>
              </a:rPr>
              <a:t>hr</a:t>
            </a:r>
            <a:r>
              <a:rPr lang="en-US" sz="1800" dirty="0">
                <a:solidFill>
                  <a:schemeClr val="bg2">
                    <a:lumMod val="50000"/>
                    <a:lumOff val="50000"/>
                  </a:schemeClr>
                </a:solidFill>
                <a:latin typeface="Inter"/>
                <a:cs typeface="Arial" panose="020B0604020202020204" pitchFamily="34" charset="0"/>
              </a:rPr>
              <a:t>, what is cars average speed? </a:t>
            </a:r>
          </a:p>
        </p:txBody>
      </p:sp>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4B5C6167-B34C-4551-ABA6-A7898103D1E1}"/>
                  </a:ext>
                </a:extLst>
              </p14:cNvPr>
              <p14:cNvContentPartPr/>
              <p14:nvPr/>
            </p14:nvContentPartPr>
            <p14:xfrm>
              <a:off x="419040" y="138240"/>
              <a:ext cx="8720640" cy="4677120"/>
            </p14:xfrm>
          </p:contentPart>
        </mc:Choice>
        <mc:Fallback xmlns="">
          <p:pic>
            <p:nvPicPr>
              <p:cNvPr id="2" name="Ink 1">
                <a:extLst>
                  <a:ext uri="{FF2B5EF4-FFF2-40B4-BE49-F238E27FC236}">
                    <a16:creationId xmlns:a16="http://schemas.microsoft.com/office/drawing/2014/main" id="{4B5C6167-B34C-4551-ABA6-A7898103D1E1}"/>
                  </a:ext>
                </a:extLst>
              </p:cNvPr>
              <p:cNvPicPr/>
              <p:nvPr/>
            </p:nvPicPr>
            <p:blipFill>
              <a:blip r:embed="rId4"/>
              <a:stretch>
                <a:fillRect/>
              </a:stretch>
            </p:blipFill>
            <p:spPr>
              <a:xfrm>
                <a:off x="409680" y="128880"/>
                <a:ext cx="8739360" cy="4695840"/>
              </a:xfrm>
              <a:prstGeom prst="rect">
                <a:avLst/>
              </a:prstGeom>
            </p:spPr>
          </p:pic>
        </mc:Fallback>
      </mc:AlternateContent>
    </p:spTree>
    <p:extLst>
      <p:ext uri="{BB962C8B-B14F-4D97-AF65-F5344CB8AC3E}">
        <p14:creationId xmlns:p14="http://schemas.microsoft.com/office/powerpoint/2010/main" val="3158841867"/>
      </p:ext>
    </p:extLst>
  </p:cSld>
  <p:clrMapOvr>
    <a:masterClrMapping/>
  </p:clrMapOvr>
  <p:transition spd="med">
    <p:wipe dir="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CFC01E-EA6B-43E8-BBC9-193147DFA0CA}"/>
              </a:ext>
            </a:extLst>
          </p:cNvPr>
          <p:cNvSpPr>
            <a:spLocks noGrp="1"/>
          </p:cNvSpPr>
          <p:nvPr>
            <p:ph type="title"/>
          </p:nvPr>
        </p:nvSpPr>
        <p:spPr>
          <a:xfrm>
            <a:off x="99816" y="27981"/>
            <a:ext cx="7955280" cy="640080"/>
          </a:xfrm>
        </p:spPr>
        <p:txBody>
          <a:bodyPr/>
          <a:lstStyle/>
          <a:p>
            <a:r>
              <a:rPr lang="en-US" dirty="0"/>
              <a:t>Harmonic Mean</a:t>
            </a:r>
          </a:p>
        </p:txBody>
      </p:sp>
      <p:sp>
        <p:nvSpPr>
          <p:cNvPr id="4" name="Content Placeholder 3">
            <a:extLst>
              <a:ext uri="{FF2B5EF4-FFF2-40B4-BE49-F238E27FC236}">
                <a16:creationId xmlns:a16="http://schemas.microsoft.com/office/drawing/2014/main" id="{E713E63C-EBD1-4963-862B-4E27D9C33808}"/>
              </a:ext>
            </a:extLst>
          </p:cNvPr>
          <p:cNvSpPr>
            <a:spLocks noGrp="1"/>
          </p:cNvSpPr>
          <p:nvPr>
            <p:ph sz="half" idx="1"/>
          </p:nvPr>
        </p:nvSpPr>
        <p:spPr>
          <a:xfrm>
            <a:off x="99816" y="640691"/>
            <a:ext cx="8967402" cy="3862118"/>
          </a:xfrm>
        </p:spPr>
        <p:txBody>
          <a:bodyPr/>
          <a:lstStyle/>
          <a:p>
            <a:pPr>
              <a:buFont typeface="Wingdings" panose="05000000000000000000" pitchFamily="2" charset="2"/>
              <a:buChar char="q"/>
            </a:pPr>
            <a:r>
              <a:rPr lang="en-US" sz="2000" b="1" dirty="0">
                <a:solidFill>
                  <a:schemeClr val="bg2">
                    <a:lumMod val="50000"/>
                    <a:lumOff val="50000"/>
                  </a:schemeClr>
                </a:solidFill>
                <a:latin typeface="Inter"/>
                <a:cs typeface="Arial" panose="020B0604020202020204" pitchFamily="34" charset="0"/>
              </a:rPr>
              <a:t>Find harmonic mean of 4, 6, 8, 100  </a:t>
            </a:r>
          </a:p>
          <a:p>
            <a:endParaRPr lang="en-US" dirty="0">
              <a:solidFill>
                <a:schemeClr val="bg2">
                  <a:lumMod val="50000"/>
                  <a:lumOff val="50000"/>
                </a:schemeClr>
              </a:solidFill>
              <a:latin typeface="Inter"/>
            </a:endParaRPr>
          </a:p>
        </p:txBody>
      </p:sp>
      <mc:AlternateContent xmlns:mc="http://schemas.openxmlformats.org/markup-compatibility/2006" xmlns:p14="http://schemas.microsoft.com/office/powerpoint/2010/main">
        <mc:Choice Requires="p14">
          <p:contentPart p14:bwMode="auto" r:id="rId2">
            <p14:nvContentPartPr>
              <p14:cNvPr id="2" name="Ink 1">
                <a:extLst>
                  <a:ext uri="{FF2B5EF4-FFF2-40B4-BE49-F238E27FC236}">
                    <a16:creationId xmlns:a16="http://schemas.microsoft.com/office/drawing/2014/main" id="{0828B5E3-E750-4B8B-8479-F399A5A7B460}"/>
                  </a:ext>
                </a:extLst>
              </p14:cNvPr>
              <p14:cNvContentPartPr/>
              <p14:nvPr/>
            </p14:nvContentPartPr>
            <p14:xfrm>
              <a:off x="2581200" y="190440"/>
              <a:ext cx="3281760" cy="2115000"/>
            </p14:xfrm>
          </p:contentPart>
        </mc:Choice>
        <mc:Fallback xmlns="">
          <p:pic>
            <p:nvPicPr>
              <p:cNvPr id="2" name="Ink 1">
                <a:extLst>
                  <a:ext uri="{FF2B5EF4-FFF2-40B4-BE49-F238E27FC236}">
                    <a16:creationId xmlns:a16="http://schemas.microsoft.com/office/drawing/2014/main" id="{0828B5E3-E750-4B8B-8479-F399A5A7B460}"/>
                  </a:ext>
                </a:extLst>
              </p:cNvPr>
              <p:cNvPicPr/>
              <p:nvPr/>
            </p:nvPicPr>
            <p:blipFill>
              <a:blip r:embed="rId3"/>
              <a:stretch>
                <a:fillRect/>
              </a:stretch>
            </p:blipFill>
            <p:spPr>
              <a:xfrm>
                <a:off x="2571840" y="181080"/>
                <a:ext cx="3300480" cy="2133720"/>
              </a:xfrm>
              <a:prstGeom prst="rect">
                <a:avLst/>
              </a:prstGeom>
            </p:spPr>
          </p:pic>
        </mc:Fallback>
      </mc:AlternateContent>
    </p:spTree>
    <p:extLst>
      <p:ext uri="{BB962C8B-B14F-4D97-AF65-F5344CB8AC3E}">
        <p14:creationId xmlns:p14="http://schemas.microsoft.com/office/powerpoint/2010/main" val="3983213857"/>
      </p:ext>
    </p:extLst>
  </p:cSld>
  <p:clrMapOvr>
    <a:masterClrMapping/>
  </p:clrMapOvr>
  <p:transition spd="med">
    <p:wipe dir="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0CBCE88-F32A-46E6-B441-39E55F5DE739}"/>
              </a:ext>
            </a:extLst>
          </p:cNvPr>
          <p:cNvSpPr>
            <a:spLocks noGrp="1"/>
          </p:cNvSpPr>
          <p:nvPr>
            <p:ph type="title"/>
          </p:nvPr>
        </p:nvSpPr>
        <p:spPr>
          <a:xfrm>
            <a:off x="0" y="0"/>
            <a:ext cx="7955280" cy="640080"/>
          </a:xfrm>
        </p:spPr>
        <p:txBody>
          <a:bodyPr/>
          <a:lstStyle/>
          <a:p>
            <a:r>
              <a:rPr lang="en-US" dirty="0"/>
              <a:t>Conclusion : Mean, Median, Mode</a:t>
            </a:r>
          </a:p>
        </p:txBody>
      </p:sp>
      <p:sp>
        <p:nvSpPr>
          <p:cNvPr id="4" name="Content Placeholder 3">
            <a:extLst>
              <a:ext uri="{FF2B5EF4-FFF2-40B4-BE49-F238E27FC236}">
                <a16:creationId xmlns:a16="http://schemas.microsoft.com/office/drawing/2014/main" id="{0A4320CA-59D2-4476-A3FC-D912E3A0EBDE}"/>
              </a:ext>
            </a:extLst>
          </p:cNvPr>
          <p:cNvSpPr>
            <a:spLocks noGrp="1"/>
          </p:cNvSpPr>
          <p:nvPr>
            <p:ph sz="half" idx="1"/>
          </p:nvPr>
        </p:nvSpPr>
        <p:spPr>
          <a:xfrm>
            <a:off x="155657" y="744781"/>
            <a:ext cx="7955280" cy="3017520"/>
          </a:xfrm>
        </p:spPr>
        <p:txBody>
          <a:bodyPr>
            <a:normAutofit lnSpcReduction="10000"/>
          </a:bodyPr>
          <a:lstStyle/>
          <a:p>
            <a:r>
              <a:rPr lang="en-US" sz="2800" b="1" dirty="0">
                <a:solidFill>
                  <a:schemeClr val="bg2">
                    <a:lumMod val="50000"/>
                    <a:lumOff val="50000"/>
                  </a:schemeClr>
                </a:solidFill>
              </a:rPr>
              <a:t>A measure of central tendency is a measure that tells us where the middle of a bunch of data lies. The three most common measures of central tendency are the mean, the median, and the mode.</a:t>
            </a:r>
          </a:p>
          <a:p>
            <a:r>
              <a:rPr lang="en-US" sz="2800" b="1" dirty="0">
                <a:solidFill>
                  <a:schemeClr val="bg2">
                    <a:lumMod val="50000"/>
                    <a:lumOff val="50000"/>
                  </a:schemeClr>
                </a:solidFill>
              </a:rPr>
              <a:t>Use the one that best suits your data. Or better still use all three !</a:t>
            </a:r>
          </a:p>
        </p:txBody>
      </p:sp>
      <mc:AlternateContent xmlns:mc="http://schemas.openxmlformats.org/markup-compatibility/2006" xmlns:p14="http://schemas.microsoft.com/office/powerpoint/2010/main">
        <mc:Choice Requires="p14">
          <p:contentPart p14:bwMode="auto" r:id="rId2">
            <p14:nvContentPartPr>
              <p14:cNvPr id="2" name="Ink 1">
                <a:extLst>
                  <a:ext uri="{FF2B5EF4-FFF2-40B4-BE49-F238E27FC236}">
                    <a16:creationId xmlns:a16="http://schemas.microsoft.com/office/drawing/2014/main" id="{7684C96B-8943-47AA-BBBF-F472FCF2CE93}"/>
                  </a:ext>
                </a:extLst>
              </p14:cNvPr>
              <p14:cNvContentPartPr/>
              <p14:nvPr/>
            </p14:nvContentPartPr>
            <p14:xfrm>
              <a:off x="385920" y="461880"/>
              <a:ext cx="8425080" cy="4057920"/>
            </p14:xfrm>
          </p:contentPart>
        </mc:Choice>
        <mc:Fallback xmlns="">
          <p:pic>
            <p:nvPicPr>
              <p:cNvPr id="2" name="Ink 1">
                <a:extLst>
                  <a:ext uri="{FF2B5EF4-FFF2-40B4-BE49-F238E27FC236}">
                    <a16:creationId xmlns:a16="http://schemas.microsoft.com/office/drawing/2014/main" id="{7684C96B-8943-47AA-BBBF-F472FCF2CE93}"/>
                  </a:ext>
                </a:extLst>
              </p:cNvPr>
              <p:cNvPicPr/>
              <p:nvPr/>
            </p:nvPicPr>
            <p:blipFill>
              <a:blip r:embed="rId3"/>
              <a:stretch>
                <a:fillRect/>
              </a:stretch>
            </p:blipFill>
            <p:spPr>
              <a:xfrm>
                <a:off x="376560" y="452520"/>
                <a:ext cx="8443800" cy="4076640"/>
              </a:xfrm>
              <a:prstGeom prst="rect">
                <a:avLst/>
              </a:prstGeom>
            </p:spPr>
          </p:pic>
        </mc:Fallback>
      </mc:AlternateContent>
    </p:spTree>
    <p:extLst>
      <p:ext uri="{BB962C8B-B14F-4D97-AF65-F5344CB8AC3E}">
        <p14:creationId xmlns:p14="http://schemas.microsoft.com/office/powerpoint/2010/main" val="142900990"/>
      </p:ext>
    </p:extLst>
  </p:cSld>
  <p:clrMapOvr>
    <a:masterClrMapping/>
  </p:clrMapOvr>
  <p:transition spd="med">
    <p:wipe dir="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6C462B2-9098-4F9E-B15A-40E3AA3A6352}"/>
              </a:ext>
            </a:extLst>
          </p:cNvPr>
          <p:cNvSpPr>
            <a:spLocks noGrp="1"/>
          </p:cNvSpPr>
          <p:nvPr>
            <p:ph type="title"/>
          </p:nvPr>
        </p:nvSpPr>
        <p:spPr>
          <a:xfrm>
            <a:off x="0" y="27981"/>
            <a:ext cx="7955280" cy="640080"/>
          </a:xfrm>
        </p:spPr>
        <p:txBody>
          <a:bodyPr/>
          <a:lstStyle/>
          <a:p>
            <a:r>
              <a:rPr lang="en-US" dirty="0"/>
              <a:t>The Mean from a Frequency Table</a:t>
            </a:r>
          </a:p>
        </p:txBody>
      </p:sp>
      <p:sp>
        <p:nvSpPr>
          <p:cNvPr id="4" name="Content Placeholder 3">
            <a:extLst>
              <a:ext uri="{FF2B5EF4-FFF2-40B4-BE49-F238E27FC236}">
                <a16:creationId xmlns:a16="http://schemas.microsoft.com/office/drawing/2014/main" id="{71B3E98E-0974-4A9D-8EB5-A9CB714EE14D}"/>
              </a:ext>
            </a:extLst>
          </p:cNvPr>
          <p:cNvSpPr>
            <a:spLocks noGrp="1"/>
          </p:cNvSpPr>
          <p:nvPr>
            <p:ph sz="half" idx="1"/>
          </p:nvPr>
        </p:nvSpPr>
        <p:spPr>
          <a:xfrm>
            <a:off x="48861" y="765783"/>
            <a:ext cx="6728867" cy="1251481"/>
          </a:xfrm>
        </p:spPr>
        <p:txBody>
          <a:bodyPr/>
          <a:lstStyle/>
          <a:p>
            <a:r>
              <a:rPr lang="en-US" dirty="0">
                <a:solidFill>
                  <a:schemeClr val="bg2">
                    <a:lumMod val="50000"/>
                    <a:lumOff val="50000"/>
                  </a:schemeClr>
                </a:solidFill>
                <a:latin typeface="Inter"/>
              </a:rPr>
              <a:t>It is easy to calculate Mean : Add up all the numbers, then divide by how many numbers there are. </a:t>
            </a:r>
          </a:p>
          <a:p>
            <a:pPr lvl="1"/>
            <a:r>
              <a:rPr lang="en-US" sz="1400" dirty="0">
                <a:solidFill>
                  <a:schemeClr val="bg2">
                    <a:lumMod val="50000"/>
                    <a:lumOff val="50000"/>
                  </a:schemeClr>
                </a:solidFill>
                <a:latin typeface="Inter"/>
              </a:rPr>
              <a:t>Ex : What is the Mean of these numbers?</a:t>
            </a:r>
          </a:p>
          <a:p>
            <a:pPr lvl="2"/>
            <a:r>
              <a:rPr lang="en-US" sz="1400" dirty="0">
                <a:solidFill>
                  <a:schemeClr val="bg2">
                    <a:lumMod val="50000"/>
                    <a:lumOff val="50000"/>
                  </a:schemeClr>
                </a:solidFill>
                <a:latin typeface="Inter"/>
              </a:rPr>
              <a:t>6, 11, 7</a:t>
            </a:r>
          </a:p>
          <a:p>
            <a:pPr lvl="2"/>
            <a:r>
              <a:rPr lang="en-US" sz="1400" dirty="0">
                <a:solidFill>
                  <a:schemeClr val="bg2">
                    <a:lumMod val="50000"/>
                    <a:lumOff val="50000"/>
                  </a:schemeClr>
                </a:solidFill>
                <a:latin typeface="Inter"/>
              </a:rPr>
              <a:t>Add the numbers &amp; Divide by 3 : (6 + 11 + 7) / 3. </a:t>
            </a:r>
            <a:r>
              <a:rPr lang="en-US" sz="1400" b="1" i="1" dirty="0">
                <a:solidFill>
                  <a:schemeClr val="bg2">
                    <a:lumMod val="50000"/>
                    <a:lumOff val="50000"/>
                  </a:schemeClr>
                </a:solidFill>
                <a:latin typeface="Inter"/>
              </a:rPr>
              <a:t>Mean is 8 </a:t>
            </a:r>
          </a:p>
          <a:p>
            <a:pPr lvl="2"/>
            <a:endParaRPr lang="en-US" sz="1400" b="1" i="1" dirty="0">
              <a:solidFill>
                <a:schemeClr val="bg2">
                  <a:lumMod val="50000"/>
                  <a:lumOff val="50000"/>
                </a:schemeClr>
              </a:solidFill>
              <a:latin typeface="Inter"/>
            </a:endParaRPr>
          </a:p>
          <a:p>
            <a:pPr lvl="2"/>
            <a:endParaRPr lang="en-US" sz="1400" b="1" i="1" dirty="0">
              <a:solidFill>
                <a:schemeClr val="bg2">
                  <a:lumMod val="50000"/>
                  <a:lumOff val="50000"/>
                </a:schemeClr>
              </a:solidFill>
              <a:latin typeface="Inter"/>
            </a:endParaRPr>
          </a:p>
        </p:txBody>
      </p:sp>
      <p:sp>
        <p:nvSpPr>
          <p:cNvPr id="7" name="TextBox 6">
            <a:extLst>
              <a:ext uri="{FF2B5EF4-FFF2-40B4-BE49-F238E27FC236}">
                <a16:creationId xmlns:a16="http://schemas.microsoft.com/office/drawing/2014/main" id="{CBFD15FC-B763-4689-A555-569FEEEBA5DC}"/>
              </a:ext>
            </a:extLst>
          </p:cNvPr>
          <p:cNvSpPr txBox="1"/>
          <p:nvPr/>
        </p:nvSpPr>
        <p:spPr>
          <a:xfrm>
            <a:off x="48860" y="2205512"/>
            <a:ext cx="6950779"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But sometimes we don't have a simple list of numbers, it might be a </a:t>
            </a:r>
            <a:r>
              <a:rPr lang="en-US" sz="1400" b="1" dirty="0">
                <a:solidFill>
                  <a:schemeClr val="bg2">
                    <a:lumMod val="50000"/>
                    <a:lumOff val="50000"/>
                  </a:schemeClr>
                </a:solidFill>
                <a:latin typeface="Inter"/>
                <a:cs typeface="Arial" panose="020B0604020202020204" pitchFamily="34" charset="0"/>
              </a:rPr>
              <a:t>frequency table </a:t>
            </a:r>
            <a:r>
              <a:rPr lang="en-US" sz="1400" dirty="0">
                <a:solidFill>
                  <a:schemeClr val="bg2">
                    <a:lumMod val="50000"/>
                    <a:lumOff val="50000"/>
                  </a:schemeClr>
                </a:solidFill>
                <a:latin typeface="Inter"/>
                <a:cs typeface="Arial" panose="020B0604020202020204" pitchFamily="34" charset="0"/>
              </a:rPr>
              <a:t>like this (the "frequency" says how often they occur):</a:t>
            </a:r>
            <a:endParaRPr lang="en-US" sz="1400" dirty="0">
              <a:solidFill>
                <a:schemeClr val="bg2"/>
              </a:solidFill>
              <a:latin typeface="+mn-lt"/>
            </a:endParaRPr>
          </a:p>
        </p:txBody>
      </p:sp>
      <p:pic>
        <p:nvPicPr>
          <p:cNvPr id="9" name="Picture 8">
            <a:extLst>
              <a:ext uri="{FF2B5EF4-FFF2-40B4-BE49-F238E27FC236}">
                <a16:creationId xmlns:a16="http://schemas.microsoft.com/office/drawing/2014/main" id="{05C3B33C-63E7-4CA8-AE9F-A05162C62A6E}"/>
              </a:ext>
            </a:extLst>
          </p:cNvPr>
          <p:cNvPicPr>
            <a:picLocks noChangeAspect="1"/>
          </p:cNvPicPr>
          <p:nvPr/>
        </p:nvPicPr>
        <p:blipFill>
          <a:blip r:embed="rId2"/>
          <a:stretch>
            <a:fillRect/>
          </a:stretch>
        </p:blipFill>
        <p:spPr>
          <a:xfrm>
            <a:off x="6924311" y="1689362"/>
            <a:ext cx="2219689" cy="1878713"/>
          </a:xfrm>
          <a:prstGeom prst="rect">
            <a:avLst/>
          </a:prstGeom>
        </p:spPr>
      </p:pic>
      <p:sp>
        <p:nvSpPr>
          <p:cNvPr id="13" name="TextBox 12">
            <a:extLst>
              <a:ext uri="{FF2B5EF4-FFF2-40B4-BE49-F238E27FC236}">
                <a16:creationId xmlns:a16="http://schemas.microsoft.com/office/drawing/2014/main" id="{0A0536CE-DB43-41F4-904B-13D49F0C36A6}"/>
              </a:ext>
            </a:extLst>
          </p:cNvPr>
          <p:cNvSpPr txBox="1"/>
          <p:nvPr/>
        </p:nvSpPr>
        <p:spPr>
          <a:xfrm>
            <a:off x="160543" y="2916980"/>
            <a:ext cx="7063915" cy="369332"/>
          </a:xfrm>
          <a:prstGeom prst="rect">
            <a:avLst/>
          </a:prstGeom>
          <a:noFill/>
        </p:spPr>
        <p:txBody>
          <a:bodyPr wrap="square" rtlCol="0">
            <a:spAutoFit/>
          </a:bodyPr>
          <a:lstStyle/>
          <a:p>
            <a:pPr>
              <a:spcBef>
                <a:spcPts val="0"/>
              </a:spcBef>
              <a:spcAft>
                <a:spcPts val="0"/>
              </a:spcAft>
              <a:buClr>
                <a:schemeClr val="bg1"/>
              </a:buClr>
            </a:pPr>
            <a:r>
              <a:rPr lang="en-US" sz="1800" b="1" dirty="0">
                <a:solidFill>
                  <a:srgbClr val="007DB8"/>
                </a:solidFill>
                <a:latin typeface="Arial" panose="020B0604020202020204" pitchFamily="34" charset="0"/>
                <a:cs typeface="Arial" panose="020B0604020202020204" pitchFamily="34" charset="0"/>
              </a:rPr>
              <a:t>Method 1 : </a:t>
            </a:r>
            <a:r>
              <a:rPr lang="en-US" sz="1800" b="1" dirty="0">
                <a:solidFill>
                  <a:schemeClr val="bg2">
                    <a:lumMod val="50000"/>
                    <a:lumOff val="50000"/>
                  </a:schemeClr>
                </a:solidFill>
                <a:latin typeface="Arial" panose="020B0604020202020204" pitchFamily="34" charset="0"/>
                <a:cs typeface="Arial" panose="020B0604020202020204" pitchFamily="34" charset="0"/>
              </a:rPr>
              <a:t>We can list all the numbers</a:t>
            </a:r>
          </a:p>
        </p:txBody>
      </p:sp>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33B7FFDE-C6F7-4358-9BB6-C15C4252D3B7}"/>
                  </a:ext>
                </a:extLst>
              </p14:cNvPr>
              <p14:cNvContentPartPr/>
              <p14:nvPr/>
            </p14:nvContentPartPr>
            <p14:xfrm>
              <a:off x="366840" y="4680"/>
              <a:ext cx="7939440" cy="4710600"/>
            </p14:xfrm>
          </p:contentPart>
        </mc:Choice>
        <mc:Fallback xmlns="">
          <p:pic>
            <p:nvPicPr>
              <p:cNvPr id="2" name="Ink 1">
                <a:extLst>
                  <a:ext uri="{FF2B5EF4-FFF2-40B4-BE49-F238E27FC236}">
                    <a16:creationId xmlns:a16="http://schemas.microsoft.com/office/drawing/2014/main" id="{33B7FFDE-C6F7-4358-9BB6-C15C4252D3B7}"/>
                  </a:ext>
                </a:extLst>
              </p:cNvPr>
              <p:cNvPicPr/>
              <p:nvPr/>
            </p:nvPicPr>
            <p:blipFill>
              <a:blip r:embed="rId4"/>
              <a:stretch>
                <a:fillRect/>
              </a:stretch>
            </p:blipFill>
            <p:spPr>
              <a:xfrm>
                <a:off x="357480" y="-4680"/>
                <a:ext cx="7958160" cy="4729320"/>
              </a:xfrm>
              <a:prstGeom prst="rect">
                <a:avLst/>
              </a:prstGeom>
            </p:spPr>
          </p:pic>
        </mc:Fallback>
      </mc:AlternateContent>
    </p:spTree>
    <p:extLst>
      <p:ext uri="{BB962C8B-B14F-4D97-AF65-F5344CB8AC3E}">
        <p14:creationId xmlns:p14="http://schemas.microsoft.com/office/powerpoint/2010/main" val="4077311094"/>
      </p:ext>
    </p:extLst>
  </p:cSld>
  <p:clrMapOvr>
    <a:masterClrMapping/>
  </p:clrMapOvr>
  <p:transition spd="med">
    <p:wipe dir="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247FCC-648D-405D-B74C-DC5AA1A2FA39}"/>
              </a:ext>
            </a:extLst>
          </p:cNvPr>
          <p:cNvSpPr>
            <a:spLocks noGrp="1"/>
          </p:cNvSpPr>
          <p:nvPr>
            <p:ph type="title"/>
          </p:nvPr>
        </p:nvSpPr>
        <p:spPr>
          <a:xfrm>
            <a:off x="0" y="0"/>
            <a:ext cx="7955280" cy="640080"/>
          </a:xfrm>
        </p:spPr>
        <p:txBody>
          <a:bodyPr/>
          <a:lstStyle/>
          <a:p>
            <a:r>
              <a:rPr lang="en-US" dirty="0"/>
              <a:t>The Mean from a Frequency Table - </a:t>
            </a:r>
            <a:r>
              <a:rPr lang="en-US" b="1" dirty="0">
                <a:solidFill>
                  <a:schemeClr val="bg2">
                    <a:lumMod val="50000"/>
                    <a:lumOff val="50000"/>
                  </a:schemeClr>
                </a:solidFill>
              </a:rPr>
              <a:t>Continued</a:t>
            </a:r>
          </a:p>
        </p:txBody>
      </p:sp>
      <p:sp>
        <p:nvSpPr>
          <p:cNvPr id="5" name="Content Placeholder 4">
            <a:extLst>
              <a:ext uri="{FF2B5EF4-FFF2-40B4-BE49-F238E27FC236}">
                <a16:creationId xmlns:a16="http://schemas.microsoft.com/office/drawing/2014/main" id="{CF1C8607-03FF-4056-8357-79E38FF403FC}"/>
              </a:ext>
            </a:extLst>
          </p:cNvPr>
          <p:cNvSpPr txBox="1">
            <a:spLocks noGrp="1"/>
          </p:cNvSpPr>
          <p:nvPr>
            <p:ph sz="half" idx="1"/>
          </p:nvPr>
        </p:nvSpPr>
        <p:spPr>
          <a:xfrm>
            <a:off x="121305" y="697773"/>
            <a:ext cx="7954963" cy="276999"/>
          </a:xfrm>
          <a:prstGeom prst="rect">
            <a:avLst/>
          </a:prstGeom>
          <a:noFill/>
        </p:spPr>
        <p:txBody>
          <a:bodyPr wrap="square" rtlCol="0">
            <a:spAutoFit/>
          </a:bodyPr>
          <a:lstStyle/>
          <a:p>
            <a:pPr marL="0" indent="0">
              <a:spcBef>
                <a:spcPts val="0"/>
              </a:spcBef>
              <a:spcAft>
                <a:spcPts val="0"/>
              </a:spcAft>
              <a:buClr>
                <a:schemeClr val="bg1"/>
              </a:buClr>
              <a:buNone/>
            </a:pPr>
            <a:r>
              <a:rPr lang="en-US" sz="1800" b="1" dirty="0">
                <a:solidFill>
                  <a:srgbClr val="007DB8"/>
                </a:solidFill>
                <a:latin typeface="Arial" panose="020B0604020202020204" pitchFamily="34" charset="0"/>
                <a:cs typeface="Arial" panose="020B0604020202020204" pitchFamily="34" charset="0"/>
              </a:rPr>
              <a:t>Method </a:t>
            </a:r>
            <a:r>
              <a:rPr lang="en-US" sz="1800" b="1" dirty="0">
                <a:solidFill>
                  <a:srgbClr val="007DB8"/>
                </a:solidFill>
              </a:rPr>
              <a:t>2</a:t>
            </a:r>
            <a:r>
              <a:rPr lang="en-US" sz="1800" b="1" dirty="0">
                <a:solidFill>
                  <a:srgbClr val="007DB8"/>
                </a:solidFill>
                <a:latin typeface="Arial" panose="020B0604020202020204" pitchFamily="34" charset="0"/>
                <a:cs typeface="Arial" panose="020B0604020202020204" pitchFamily="34" charset="0"/>
              </a:rPr>
              <a:t> : </a:t>
            </a:r>
            <a:r>
              <a:rPr lang="en-US" sz="1800" b="1" dirty="0">
                <a:solidFill>
                  <a:schemeClr val="bg2">
                    <a:lumMod val="50000"/>
                    <a:lumOff val="50000"/>
                  </a:schemeClr>
                </a:solidFill>
              </a:rPr>
              <a:t>It is easier to use multiplication: </a:t>
            </a:r>
            <a:endParaRPr lang="en-US" sz="1800" b="1" dirty="0">
              <a:solidFill>
                <a:schemeClr val="bg2">
                  <a:lumMod val="50000"/>
                  <a:lumOff val="50000"/>
                </a:schemeClr>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D12F7D83-572C-4B8E-B64D-C75A5FADBC65}"/>
              </a:ext>
            </a:extLst>
          </p:cNvPr>
          <p:cNvPicPr>
            <a:picLocks noChangeAspect="1"/>
          </p:cNvPicPr>
          <p:nvPr/>
        </p:nvPicPr>
        <p:blipFill>
          <a:blip r:embed="rId2"/>
          <a:stretch>
            <a:fillRect/>
          </a:stretch>
        </p:blipFill>
        <p:spPr>
          <a:xfrm>
            <a:off x="6845435" y="751822"/>
            <a:ext cx="2219689" cy="1878713"/>
          </a:xfrm>
          <a:prstGeom prst="rect">
            <a:avLst/>
          </a:prstGeom>
        </p:spPr>
      </p:pic>
      <p:pic>
        <p:nvPicPr>
          <p:cNvPr id="8" name="Picture 7">
            <a:extLst>
              <a:ext uri="{FF2B5EF4-FFF2-40B4-BE49-F238E27FC236}">
                <a16:creationId xmlns:a16="http://schemas.microsoft.com/office/drawing/2014/main" id="{C513CFDB-808F-4A44-B1A6-71130FF08E65}"/>
              </a:ext>
            </a:extLst>
          </p:cNvPr>
          <p:cNvPicPr>
            <a:picLocks noChangeAspect="1"/>
          </p:cNvPicPr>
          <p:nvPr/>
        </p:nvPicPr>
        <p:blipFill>
          <a:blip r:embed="rId3"/>
          <a:stretch>
            <a:fillRect/>
          </a:stretch>
        </p:blipFill>
        <p:spPr>
          <a:xfrm>
            <a:off x="1719262" y="3832562"/>
            <a:ext cx="3431381" cy="1039474"/>
          </a:xfrm>
          <a:prstGeom prst="rect">
            <a:avLst/>
          </a:prstGeom>
        </p:spPr>
      </p:pic>
      <p:sp>
        <p:nvSpPr>
          <p:cNvPr id="9" name="TextBox 8">
            <a:extLst>
              <a:ext uri="{FF2B5EF4-FFF2-40B4-BE49-F238E27FC236}">
                <a16:creationId xmlns:a16="http://schemas.microsoft.com/office/drawing/2014/main" id="{45E930DC-77C7-4B7D-8DBE-B633640ED210}"/>
              </a:ext>
            </a:extLst>
          </p:cNvPr>
          <p:cNvSpPr txBox="1"/>
          <p:nvPr/>
        </p:nvSpPr>
        <p:spPr>
          <a:xfrm>
            <a:off x="309769" y="4167633"/>
            <a:ext cx="1336020" cy="369332"/>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accent1"/>
                </a:solidFill>
                <a:latin typeface="+mn-lt"/>
              </a:rPr>
              <a:t>Notation : </a:t>
            </a:r>
            <a:endParaRPr lang="en-US" sz="1400" b="1" dirty="0">
              <a:solidFill>
                <a:schemeClr val="accent1"/>
              </a:solidFill>
              <a:latin typeface="+mn-lt"/>
            </a:endParaRPr>
          </a:p>
        </p:txBody>
      </p:sp>
      <mc:AlternateContent xmlns:mc="http://schemas.openxmlformats.org/markup-compatibility/2006" xmlns:p14="http://schemas.microsoft.com/office/powerpoint/2010/main">
        <mc:Choice Requires="p14">
          <p:contentPart p14:bwMode="auto" r:id="rId4">
            <p14:nvContentPartPr>
              <p14:cNvPr id="2" name="Ink 1">
                <a:extLst>
                  <a:ext uri="{FF2B5EF4-FFF2-40B4-BE49-F238E27FC236}">
                    <a16:creationId xmlns:a16="http://schemas.microsoft.com/office/drawing/2014/main" id="{7B78826B-2AB2-445C-91F3-F77272FC7428}"/>
                  </a:ext>
                </a:extLst>
              </p14:cNvPr>
              <p14:cNvContentPartPr/>
              <p14:nvPr/>
            </p14:nvContentPartPr>
            <p14:xfrm>
              <a:off x="1338120" y="1162080"/>
              <a:ext cx="7801560" cy="3576960"/>
            </p14:xfrm>
          </p:contentPart>
        </mc:Choice>
        <mc:Fallback xmlns="">
          <p:pic>
            <p:nvPicPr>
              <p:cNvPr id="2" name="Ink 1">
                <a:extLst>
                  <a:ext uri="{FF2B5EF4-FFF2-40B4-BE49-F238E27FC236}">
                    <a16:creationId xmlns:a16="http://schemas.microsoft.com/office/drawing/2014/main" id="{7B78826B-2AB2-445C-91F3-F77272FC7428}"/>
                  </a:ext>
                </a:extLst>
              </p:cNvPr>
              <p:cNvPicPr/>
              <p:nvPr/>
            </p:nvPicPr>
            <p:blipFill>
              <a:blip r:embed="rId5"/>
              <a:stretch>
                <a:fillRect/>
              </a:stretch>
            </p:blipFill>
            <p:spPr>
              <a:xfrm>
                <a:off x="1328760" y="1152720"/>
                <a:ext cx="7820280" cy="359568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4" name="Ink 3">
                <a:extLst>
                  <a:ext uri="{FF2B5EF4-FFF2-40B4-BE49-F238E27FC236}">
                    <a16:creationId xmlns:a16="http://schemas.microsoft.com/office/drawing/2014/main" id="{9B5A94DA-EECB-4AD6-871B-EC237D9B2AAF}"/>
                  </a:ext>
                </a:extLst>
              </p14:cNvPr>
              <p14:cNvContentPartPr/>
              <p14:nvPr/>
            </p14:nvContentPartPr>
            <p14:xfrm>
              <a:off x="4591080" y="538200"/>
              <a:ext cx="3615120" cy="1848240"/>
            </p14:xfrm>
          </p:contentPart>
        </mc:Choice>
        <mc:Fallback xmlns="">
          <p:pic>
            <p:nvPicPr>
              <p:cNvPr id="4" name="Ink 3">
                <a:extLst>
                  <a:ext uri="{FF2B5EF4-FFF2-40B4-BE49-F238E27FC236}">
                    <a16:creationId xmlns:a16="http://schemas.microsoft.com/office/drawing/2014/main" id="{9B5A94DA-EECB-4AD6-871B-EC237D9B2AAF}"/>
                  </a:ext>
                </a:extLst>
              </p:cNvPr>
              <p:cNvPicPr/>
              <p:nvPr/>
            </p:nvPicPr>
            <p:blipFill>
              <a:blip r:embed="rId7"/>
              <a:stretch>
                <a:fillRect/>
              </a:stretch>
            </p:blipFill>
            <p:spPr>
              <a:xfrm>
                <a:off x="4581720" y="528840"/>
                <a:ext cx="3633840" cy="1866960"/>
              </a:xfrm>
              <a:prstGeom prst="rect">
                <a:avLst/>
              </a:prstGeom>
            </p:spPr>
          </p:pic>
        </mc:Fallback>
      </mc:AlternateContent>
    </p:spTree>
    <p:extLst>
      <p:ext uri="{BB962C8B-B14F-4D97-AF65-F5344CB8AC3E}">
        <p14:creationId xmlns:p14="http://schemas.microsoft.com/office/powerpoint/2010/main" val="1490276767"/>
      </p:ext>
    </p:extLst>
  </p:cSld>
  <p:clrMapOvr>
    <a:masterClrMapping/>
  </p:clrMapOvr>
  <p:transition spd="med">
    <p:wipe dir="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D7F4E04-8B25-441E-9B3E-D8CC37F76D72}"/>
              </a:ext>
            </a:extLst>
          </p:cNvPr>
          <p:cNvSpPr>
            <a:spLocks noGrp="1"/>
          </p:cNvSpPr>
          <p:nvPr>
            <p:ph type="title"/>
          </p:nvPr>
        </p:nvSpPr>
        <p:spPr>
          <a:xfrm>
            <a:off x="0" y="62480"/>
            <a:ext cx="7955280" cy="640080"/>
          </a:xfrm>
        </p:spPr>
        <p:txBody>
          <a:bodyPr/>
          <a:lstStyle/>
          <a:p>
            <a:r>
              <a:rPr lang="en-US" dirty="0"/>
              <a:t>Another example of Mean from a Freq Table</a:t>
            </a:r>
          </a:p>
        </p:txBody>
      </p:sp>
      <p:sp>
        <p:nvSpPr>
          <p:cNvPr id="4" name="Content Placeholder 3">
            <a:extLst>
              <a:ext uri="{FF2B5EF4-FFF2-40B4-BE49-F238E27FC236}">
                <a16:creationId xmlns:a16="http://schemas.microsoft.com/office/drawing/2014/main" id="{29F6A6DF-D96F-4002-BBEA-EFA3FFF52633}"/>
              </a:ext>
            </a:extLst>
          </p:cNvPr>
          <p:cNvSpPr>
            <a:spLocks noGrp="1"/>
          </p:cNvSpPr>
          <p:nvPr>
            <p:ph sz="half" idx="1"/>
          </p:nvPr>
        </p:nvSpPr>
        <p:spPr>
          <a:xfrm>
            <a:off x="85856" y="821564"/>
            <a:ext cx="7955280" cy="3017520"/>
          </a:xfrm>
        </p:spPr>
        <p:txBody>
          <a:bodyPr/>
          <a:lstStyle/>
          <a:p>
            <a:pPr marL="0" indent="0">
              <a:buNone/>
            </a:pPr>
            <a:r>
              <a:rPr lang="en-US" dirty="0">
                <a:solidFill>
                  <a:schemeClr val="bg2">
                    <a:lumMod val="50000"/>
                    <a:lumOff val="50000"/>
                  </a:schemeClr>
                </a:solidFill>
                <a:latin typeface="Inter"/>
              </a:rPr>
              <a:t>Isabella went up and down the street to find out how many parking spaces each house has. Here are her results:</a:t>
            </a:r>
          </a:p>
          <a:p>
            <a:endParaRPr lang="en-US" dirty="0">
              <a:solidFill>
                <a:srgbClr val="333333"/>
              </a:solidFill>
              <a:latin typeface="Verdana" panose="020B0604030504040204" pitchFamily="34" charset="0"/>
            </a:endParaRPr>
          </a:p>
          <a:p>
            <a:pPr marL="0" indent="0">
              <a:buNone/>
            </a:pPr>
            <a:r>
              <a:rPr lang="en-US" dirty="0">
                <a:solidFill>
                  <a:schemeClr val="bg2">
                    <a:lumMod val="50000"/>
                    <a:lumOff val="50000"/>
                  </a:schemeClr>
                </a:solidFill>
                <a:latin typeface="Inter"/>
              </a:rPr>
              <a:t>What is the mean number of Parking Spaces?</a:t>
            </a:r>
          </a:p>
        </p:txBody>
      </p:sp>
      <p:pic>
        <p:nvPicPr>
          <p:cNvPr id="6" name="Picture 5">
            <a:extLst>
              <a:ext uri="{FF2B5EF4-FFF2-40B4-BE49-F238E27FC236}">
                <a16:creationId xmlns:a16="http://schemas.microsoft.com/office/drawing/2014/main" id="{56085063-4095-4C3B-B988-BF3C9872C324}"/>
              </a:ext>
            </a:extLst>
          </p:cNvPr>
          <p:cNvPicPr>
            <a:picLocks noChangeAspect="1"/>
          </p:cNvPicPr>
          <p:nvPr/>
        </p:nvPicPr>
        <p:blipFill>
          <a:blip r:embed="rId2"/>
          <a:stretch>
            <a:fillRect/>
          </a:stretch>
        </p:blipFill>
        <p:spPr>
          <a:xfrm>
            <a:off x="6878768" y="1114905"/>
            <a:ext cx="2179375" cy="1732997"/>
          </a:xfrm>
          <a:prstGeom prst="rect">
            <a:avLst/>
          </a:prstGeom>
        </p:spPr>
      </p:pic>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CC537CBC-E885-420B-870F-A84720773BCD}"/>
                  </a:ext>
                </a:extLst>
              </p14:cNvPr>
              <p14:cNvContentPartPr/>
              <p14:nvPr/>
            </p14:nvContentPartPr>
            <p14:xfrm>
              <a:off x="223920" y="795240"/>
              <a:ext cx="8687160" cy="2986560"/>
            </p14:xfrm>
          </p:contentPart>
        </mc:Choice>
        <mc:Fallback xmlns="">
          <p:pic>
            <p:nvPicPr>
              <p:cNvPr id="2" name="Ink 1">
                <a:extLst>
                  <a:ext uri="{FF2B5EF4-FFF2-40B4-BE49-F238E27FC236}">
                    <a16:creationId xmlns:a16="http://schemas.microsoft.com/office/drawing/2014/main" id="{CC537CBC-E885-420B-870F-A84720773BCD}"/>
                  </a:ext>
                </a:extLst>
              </p:cNvPr>
              <p:cNvPicPr/>
              <p:nvPr/>
            </p:nvPicPr>
            <p:blipFill>
              <a:blip r:embed="rId4"/>
              <a:stretch>
                <a:fillRect/>
              </a:stretch>
            </p:blipFill>
            <p:spPr>
              <a:xfrm>
                <a:off x="214560" y="785880"/>
                <a:ext cx="8705880" cy="3005280"/>
              </a:xfrm>
              <a:prstGeom prst="rect">
                <a:avLst/>
              </a:prstGeom>
            </p:spPr>
          </p:pic>
        </mc:Fallback>
      </mc:AlternateContent>
    </p:spTree>
    <p:extLst>
      <p:ext uri="{BB962C8B-B14F-4D97-AF65-F5344CB8AC3E}">
        <p14:creationId xmlns:p14="http://schemas.microsoft.com/office/powerpoint/2010/main" val="832144514"/>
      </p:ext>
    </p:extLst>
  </p:cSld>
  <p:clrMapOvr>
    <a:masterClrMapping/>
  </p:clrMapOvr>
  <p:transition spd="med">
    <p:wipe dir="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78465CC-6FD4-40D5-ABD5-0BE485707A80}"/>
              </a:ext>
            </a:extLst>
          </p:cNvPr>
          <p:cNvSpPr>
            <a:spLocks noGrp="1"/>
          </p:cNvSpPr>
          <p:nvPr>
            <p:ph type="title"/>
          </p:nvPr>
        </p:nvSpPr>
        <p:spPr>
          <a:xfrm>
            <a:off x="0" y="27981"/>
            <a:ext cx="7955280" cy="640080"/>
          </a:xfrm>
        </p:spPr>
        <p:txBody>
          <a:bodyPr/>
          <a:lstStyle/>
          <a:p>
            <a:r>
              <a:rPr lang="en-US" dirty="0"/>
              <a:t>Weighted Mean</a:t>
            </a:r>
          </a:p>
        </p:txBody>
      </p:sp>
      <p:sp>
        <p:nvSpPr>
          <p:cNvPr id="4" name="Content Placeholder 3">
            <a:extLst>
              <a:ext uri="{FF2B5EF4-FFF2-40B4-BE49-F238E27FC236}">
                <a16:creationId xmlns:a16="http://schemas.microsoft.com/office/drawing/2014/main" id="{51F75A8C-3E42-4490-9BF3-6D0824C8CED9}"/>
              </a:ext>
            </a:extLst>
          </p:cNvPr>
          <p:cNvSpPr>
            <a:spLocks noGrp="1"/>
          </p:cNvSpPr>
          <p:nvPr>
            <p:ph sz="half" idx="1"/>
          </p:nvPr>
        </p:nvSpPr>
        <p:spPr>
          <a:xfrm>
            <a:off x="0" y="779086"/>
            <a:ext cx="7754950" cy="3771377"/>
          </a:xfrm>
        </p:spPr>
        <p:txBody>
          <a:bodyPr/>
          <a:lstStyle/>
          <a:p>
            <a:pPr algn="l"/>
            <a:r>
              <a:rPr lang="en-US" dirty="0">
                <a:solidFill>
                  <a:schemeClr val="bg2">
                    <a:lumMod val="50000"/>
                    <a:lumOff val="50000"/>
                  </a:schemeClr>
                </a:solidFill>
                <a:latin typeface="Inter"/>
              </a:rPr>
              <a:t>When we do a simple </a:t>
            </a:r>
            <a:r>
              <a:rPr lang="en-US" dirty="0">
                <a:solidFill>
                  <a:schemeClr val="bg2">
                    <a:lumMod val="50000"/>
                    <a:lumOff val="50000"/>
                  </a:schemeClr>
                </a:solidFill>
                <a:latin typeface="Inter"/>
                <a:hlinkClick r:id="rId2">
                  <a:extLst>
                    <a:ext uri="{A12FA001-AC4F-418D-AE19-62706E023703}">
                      <ahyp:hlinkClr xmlns:ahyp="http://schemas.microsoft.com/office/drawing/2018/hyperlinkcolor" val="tx"/>
                    </a:ext>
                  </a:extLst>
                </a:hlinkClick>
              </a:rPr>
              <a:t>mean</a:t>
            </a:r>
            <a:r>
              <a:rPr lang="en-US" dirty="0">
                <a:solidFill>
                  <a:schemeClr val="bg2">
                    <a:lumMod val="50000"/>
                    <a:lumOff val="50000"/>
                  </a:schemeClr>
                </a:solidFill>
                <a:latin typeface="Inter"/>
              </a:rPr>
              <a:t> (or average), we give equal weight to each number.</a:t>
            </a:r>
          </a:p>
          <a:p>
            <a:pPr algn="l"/>
            <a:r>
              <a:rPr lang="en-US" dirty="0">
                <a:solidFill>
                  <a:schemeClr val="bg2">
                    <a:lumMod val="50000"/>
                    <a:lumOff val="50000"/>
                  </a:schemeClr>
                </a:solidFill>
                <a:latin typeface="Inter"/>
              </a:rPr>
              <a:t>What is the mean of 1, 2, 3 and 4 ? </a:t>
            </a:r>
          </a:p>
          <a:p>
            <a:endParaRPr lang="en-US" dirty="0"/>
          </a:p>
        </p:txBody>
      </p:sp>
      <p:pic>
        <p:nvPicPr>
          <p:cNvPr id="6" name="Picture 5">
            <a:extLst>
              <a:ext uri="{FF2B5EF4-FFF2-40B4-BE49-F238E27FC236}">
                <a16:creationId xmlns:a16="http://schemas.microsoft.com/office/drawing/2014/main" id="{37AAEF72-07AA-4AF0-B6D5-AC806A1EAAEA}"/>
              </a:ext>
            </a:extLst>
          </p:cNvPr>
          <p:cNvPicPr>
            <a:picLocks noChangeAspect="1"/>
          </p:cNvPicPr>
          <p:nvPr/>
        </p:nvPicPr>
        <p:blipFill>
          <a:blip r:embed="rId3"/>
          <a:stretch>
            <a:fillRect/>
          </a:stretch>
        </p:blipFill>
        <p:spPr>
          <a:xfrm>
            <a:off x="7586231" y="779086"/>
            <a:ext cx="1557769" cy="1077635"/>
          </a:xfrm>
          <a:prstGeom prst="rect">
            <a:avLst/>
          </a:prstGeom>
        </p:spPr>
      </p:pic>
      <mc:AlternateContent xmlns:mc="http://schemas.openxmlformats.org/markup-compatibility/2006" xmlns:p14="http://schemas.microsoft.com/office/powerpoint/2010/main">
        <mc:Choice Requires="p14">
          <p:contentPart p14:bwMode="auto" r:id="rId4">
            <p14:nvContentPartPr>
              <p14:cNvPr id="2" name="Ink 1">
                <a:extLst>
                  <a:ext uri="{FF2B5EF4-FFF2-40B4-BE49-F238E27FC236}">
                    <a16:creationId xmlns:a16="http://schemas.microsoft.com/office/drawing/2014/main" id="{8B2C858F-AA62-4F36-B4AC-4D049E163C01}"/>
                  </a:ext>
                </a:extLst>
              </p14:cNvPr>
              <p14:cNvContentPartPr/>
              <p14:nvPr/>
            </p14:nvContentPartPr>
            <p14:xfrm>
              <a:off x="85680" y="104760"/>
              <a:ext cx="8777520" cy="4862880"/>
            </p14:xfrm>
          </p:contentPart>
        </mc:Choice>
        <mc:Fallback xmlns="">
          <p:pic>
            <p:nvPicPr>
              <p:cNvPr id="2" name="Ink 1">
                <a:extLst>
                  <a:ext uri="{FF2B5EF4-FFF2-40B4-BE49-F238E27FC236}">
                    <a16:creationId xmlns:a16="http://schemas.microsoft.com/office/drawing/2014/main" id="{8B2C858F-AA62-4F36-B4AC-4D049E163C01}"/>
                  </a:ext>
                </a:extLst>
              </p:cNvPr>
              <p:cNvPicPr/>
              <p:nvPr/>
            </p:nvPicPr>
            <p:blipFill>
              <a:blip r:embed="rId5"/>
              <a:stretch>
                <a:fillRect/>
              </a:stretch>
            </p:blipFill>
            <p:spPr>
              <a:xfrm>
                <a:off x="76320" y="95400"/>
                <a:ext cx="8796240" cy="488160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5" name="Ink 4">
                <a:extLst>
                  <a:ext uri="{FF2B5EF4-FFF2-40B4-BE49-F238E27FC236}">
                    <a16:creationId xmlns:a16="http://schemas.microsoft.com/office/drawing/2014/main" id="{9334584B-2D91-46EF-A105-AC75F6D330ED}"/>
                  </a:ext>
                </a:extLst>
              </p14:cNvPr>
              <p14:cNvContentPartPr/>
              <p14:nvPr/>
            </p14:nvContentPartPr>
            <p14:xfrm>
              <a:off x="4896000" y="338040"/>
              <a:ext cx="3905640" cy="3115080"/>
            </p14:xfrm>
          </p:contentPart>
        </mc:Choice>
        <mc:Fallback xmlns="">
          <p:pic>
            <p:nvPicPr>
              <p:cNvPr id="5" name="Ink 4">
                <a:extLst>
                  <a:ext uri="{FF2B5EF4-FFF2-40B4-BE49-F238E27FC236}">
                    <a16:creationId xmlns:a16="http://schemas.microsoft.com/office/drawing/2014/main" id="{9334584B-2D91-46EF-A105-AC75F6D330ED}"/>
                  </a:ext>
                </a:extLst>
              </p:cNvPr>
              <p:cNvPicPr/>
              <p:nvPr/>
            </p:nvPicPr>
            <p:blipFill>
              <a:blip r:embed="rId7"/>
              <a:stretch>
                <a:fillRect/>
              </a:stretch>
            </p:blipFill>
            <p:spPr>
              <a:xfrm>
                <a:off x="4886640" y="328680"/>
                <a:ext cx="3924360" cy="3133800"/>
              </a:xfrm>
              <a:prstGeom prst="rect">
                <a:avLst/>
              </a:prstGeom>
            </p:spPr>
          </p:pic>
        </mc:Fallback>
      </mc:AlternateContent>
    </p:spTree>
    <p:extLst>
      <p:ext uri="{BB962C8B-B14F-4D97-AF65-F5344CB8AC3E}">
        <p14:creationId xmlns:p14="http://schemas.microsoft.com/office/powerpoint/2010/main" val="421686646"/>
      </p:ext>
    </p:extLst>
  </p:cSld>
  <p:clrMapOvr>
    <a:masterClrMapping/>
  </p:clrMapOvr>
  <p:transition spd="med">
    <p:wipe dir="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007897-F972-49B5-A559-CC66DAECA555}"/>
              </a:ext>
            </a:extLst>
          </p:cNvPr>
          <p:cNvSpPr>
            <a:spLocks noGrp="1"/>
          </p:cNvSpPr>
          <p:nvPr>
            <p:ph type="title"/>
          </p:nvPr>
        </p:nvSpPr>
        <p:spPr>
          <a:xfrm>
            <a:off x="71894" y="27981"/>
            <a:ext cx="7955280" cy="640080"/>
          </a:xfrm>
        </p:spPr>
        <p:txBody>
          <a:bodyPr/>
          <a:lstStyle/>
          <a:p>
            <a:r>
              <a:rPr lang="en-US" dirty="0"/>
              <a:t>Weighted Mean</a:t>
            </a:r>
          </a:p>
        </p:txBody>
      </p:sp>
      <p:sp>
        <p:nvSpPr>
          <p:cNvPr id="4" name="Content Placeholder 3">
            <a:extLst>
              <a:ext uri="{FF2B5EF4-FFF2-40B4-BE49-F238E27FC236}">
                <a16:creationId xmlns:a16="http://schemas.microsoft.com/office/drawing/2014/main" id="{8B99626D-700C-462B-8E1D-46027AF50B0A}"/>
              </a:ext>
            </a:extLst>
          </p:cNvPr>
          <p:cNvSpPr>
            <a:spLocks noGrp="1"/>
          </p:cNvSpPr>
          <p:nvPr>
            <p:ph sz="half" idx="1"/>
          </p:nvPr>
        </p:nvSpPr>
        <p:spPr>
          <a:xfrm>
            <a:off x="71894" y="758742"/>
            <a:ext cx="8255428" cy="3017520"/>
          </a:xfrm>
        </p:spPr>
        <p:txBody>
          <a:bodyPr/>
          <a:lstStyle/>
          <a:p>
            <a:r>
              <a:rPr lang="en-US" dirty="0">
                <a:solidFill>
                  <a:schemeClr val="bg2">
                    <a:lumMod val="50000"/>
                    <a:lumOff val="50000"/>
                  </a:schemeClr>
                </a:solidFill>
                <a:latin typeface="Inter"/>
              </a:rPr>
              <a:t>Now let's change the weight of 3 to 0.7, and the weights of the other numbers to 0.1 </a:t>
            </a:r>
            <a:r>
              <a:rPr lang="en-US" sz="1800" b="1" dirty="0">
                <a:solidFill>
                  <a:schemeClr val="bg2">
                    <a:lumMod val="50000"/>
                    <a:lumOff val="50000"/>
                  </a:schemeClr>
                </a:solidFill>
                <a:latin typeface="Inter"/>
              </a:rPr>
              <a:t>so the total of the weights is still 1:</a:t>
            </a:r>
            <a:endParaRPr lang="en-US" b="1" dirty="0">
              <a:solidFill>
                <a:schemeClr val="bg2">
                  <a:lumMod val="50000"/>
                  <a:lumOff val="50000"/>
                </a:schemeClr>
              </a:solidFill>
              <a:latin typeface="Inter"/>
            </a:endParaRPr>
          </a:p>
        </p:txBody>
      </p:sp>
      <p:pic>
        <p:nvPicPr>
          <p:cNvPr id="6" name="Picture 5">
            <a:extLst>
              <a:ext uri="{FF2B5EF4-FFF2-40B4-BE49-F238E27FC236}">
                <a16:creationId xmlns:a16="http://schemas.microsoft.com/office/drawing/2014/main" id="{0A5A856D-0F57-43ED-9EC3-EAA12B3858F9}"/>
              </a:ext>
            </a:extLst>
          </p:cNvPr>
          <p:cNvPicPr>
            <a:picLocks noChangeAspect="1"/>
          </p:cNvPicPr>
          <p:nvPr/>
        </p:nvPicPr>
        <p:blipFill>
          <a:blip r:embed="rId2"/>
          <a:stretch>
            <a:fillRect/>
          </a:stretch>
        </p:blipFill>
        <p:spPr>
          <a:xfrm>
            <a:off x="7217079" y="1356077"/>
            <a:ext cx="1926921" cy="1589548"/>
          </a:xfrm>
          <a:prstGeom prst="rect">
            <a:avLst/>
          </a:prstGeom>
        </p:spPr>
      </p:pic>
      <p:sp>
        <p:nvSpPr>
          <p:cNvPr id="7" name="TextBox 6">
            <a:extLst>
              <a:ext uri="{FF2B5EF4-FFF2-40B4-BE49-F238E27FC236}">
                <a16:creationId xmlns:a16="http://schemas.microsoft.com/office/drawing/2014/main" id="{586C4650-B4D2-4078-9665-6627666C6CB4}"/>
              </a:ext>
            </a:extLst>
          </p:cNvPr>
          <p:cNvSpPr txBox="1"/>
          <p:nvPr/>
        </p:nvSpPr>
        <p:spPr>
          <a:xfrm>
            <a:off x="1383115" y="4481258"/>
            <a:ext cx="5332837" cy="369332"/>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accent1"/>
                </a:solidFill>
                <a:latin typeface="+mn-lt"/>
              </a:rPr>
              <a:t>When should I use Weighted mean ? </a:t>
            </a:r>
          </a:p>
        </p:txBody>
      </p:sp>
      <p:pic>
        <p:nvPicPr>
          <p:cNvPr id="9" name="Picture 8">
            <a:extLst>
              <a:ext uri="{FF2B5EF4-FFF2-40B4-BE49-F238E27FC236}">
                <a16:creationId xmlns:a16="http://schemas.microsoft.com/office/drawing/2014/main" id="{515CA4EC-C0A9-4FF0-B09F-3C87F72A0003}"/>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5500359" y="4054287"/>
            <a:ext cx="1716720" cy="1015010"/>
          </a:xfrm>
          <a:prstGeom prst="rect">
            <a:avLst/>
          </a:prstGeom>
        </p:spPr>
      </p:pic>
      <mc:AlternateContent xmlns:mc="http://schemas.openxmlformats.org/markup-compatibility/2006" xmlns:p14="http://schemas.microsoft.com/office/powerpoint/2010/main">
        <mc:Choice Requires="p14">
          <p:contentPart p14:bwMode="auto" r:id="rId5">
            <p14:nvContentPartPr>
              <p14:cNvPr id="2" name="Ink 1">
                <a:extLst>
                  <a:ext uri="{FF2B5EF4-FFF2-40B4-BE49-F238E27FC236}">
                    <a16:creationId xmlns:a16="http://schemas.microsoft.com/office/drawing/2014/main" id="{B217ACEC-1E94-49D4-8367-7DAD3973966E}"/>
                  </a:ext>
                </a:extLst>
              </p14:cNvPr>
              <p14:cNvContentPartPr/>
              <p14:nvPr/>
            </p14:nvContentPartPr>
            <p14:xfrm>
              <a:off x="590400" y="1257120"/>
              <a:ext cx="7677720" cy="3724920"/>
            </p14:xfrm>
          </p:contentPart>
        </mc:Choice>
        <mc:Fallback xmlns="">
          <p:pic>
            <p:nvPicPr>
              <p:cNvPr id="2" name="Ink 1">
                <a:extLst>
                  <a:ext uri="{FF2B5EF4-FFF2-40B4-BE49-F238E27FC236}">
                    <a16:creationId xmlns:a16="http://schemas.microsoft.com/office/drawing/2014/main" id="{B217ACEC-1E94-49D4-8367-7DAD3973966E}"/>
                  </a:ext>
                </a:extLst>
              </p:cNvPr>
              <p:cNvPicPr/>
              <p:nvPr/>
            </p:nvPicPr>
            <p:blipFill>
              <a:blip r:embed="rId6"/>
              <a:stretch>
                <a:fillRect/>
              </a:stretch>
            </p:blipFill>
            <p:spPr>
              <a:xfrm>
                <a:off x="581040" y="1247760"/>
                <a:ext cx="7696440" cy="374364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5" name="Ink 4">
                <a:extLst>
                  <a:ext uri="{FF2B5EF4-FFF2-40B4-BE49-F238E27FC236}">
                    <a16:creationId xmlns:a16="http://schemas.microsoft.com/office/drawing/2014/main" id="{40181A34-DD86-43D3-9A99-37499CAADE63}"/>
                  </a:ext>
                </a:extLst>
              </p14:cNvPr>
              <p14:cNvContentPartPr/>
              <p14:nvPr/>
            </p14:nvContentPartPr>
            <p14:xfrm>
              <a:off x="2176560" y="123840"/>
              <a:ext cx="4634280" cy="3343680"/>
            </p14:xfrm>
          </p:contentPart>
        </mc:Choice>
        <mc:Fallback xmlns="">
          <p:pic>
            <p:nvPicPr>
              <p:cNvPr id="5" name="Ink 4">
                <a:extLst>
                  <a:ext uri="{FF2B5EF4-FFF2-40B4-BE49-F238E27FC236}">
                    <a16:creationId xmlns:a16="http://schemas.microsoft.com/office/drawing/2014/main" id="{40181A34-DD86-43D3-9A99-37499CAADE63}"/>
                  </a:ext>
                </a:extLst>
              </p:cNvPr>
              <p:cNvPicPr/>
              <p:nvPr/>
            </p:nvPicPr>
            <p:blipFill>
              <a:blip r:embed="rId8"/>
              <a:stretch>
                <a:fillRect/>
              </a:stretch>
            </p:blipFill>
            <p:spPr>
              <a:xfrm>
                <a:off x="2167200" y="114480"/>
                <a:ext cx="4653000" cy="3362400"/>
              </a:xfrm>
              <a:prstGeom prst="rect">
                <a:avLst/>
              </a:prstGeom>
            </p:spPr>
          </p:pic>
        </mc:Fallback>
      </mc:AlternateContent>
    </p:spTree>
    <p:extLst>
      <p:ext uri="{BB962C8B-B14F-4D97-AF65-F5344CB8AC3E}">
        <p14:creationId xmlns:p14="http://schemas.microsoft.com/office/powerpoint/2010/main" val="3603259149"/>
      </p:ext>
    </p:extLst>
  </p:cSld>
  <p:clrMapOvr>
    <a:masterClrMapping/>
  </p:clrMapOvr>
  <p:transition spd="med">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B1651A-6ED4-4C8B-8D44-5EDBA939BABF}"/>
              </a:ext>
            </a:extLst>
          </p:cNvPr>
          <p:cNvSpPr>
            <a:spLocks noGrp="1"/>
          </p:cNvSpPr>
          <p:nvPr>
            <p:ph type="title"/>
          </p:nvPr>
        </p:nvSpPr>
        <p:spPr/>
        <p:txBody>
          <a:bodyPr/>
          <a:lstStyle/>
          <a:p>
            <a:r>
              <a:rPr lang="en-US" dirty="0"/>
              <a:t>What is Statistics ? </a:t>
            </a:r>
          </a:p>
        </p:txBody>
      </p:sp>
      <p:sp>
        <p:nvSpPr>
          <p:cNvPr id="3" name="Content Placeholder 2">
            <a:extLst>
              <a:ext uri="{FF2B5EF4-FFF2-40B4-BE49-F238E27FC236}">
                <a16:creationId xmlns:a16="http://schemas.microsoft.com/office/drawing/2014/main" id="{E8A42226-9FEF-40B1-B486-27D94ECAAFDE}"/>
              </a:ext>
            </a:extLst>
          </p:cNvPr>
          <p:cNvSpPr>
            <a:spLocks noGrp="1"/>
          </p:cNvSpPr>
          <p:nvPr>
            <p:ph sz="half" idx="1"/>
          </p:nvPr>
        </p:nvSpPr>
        <p:spPr/>
        <p:txBody>
          <a:bodyPr/>
          <a:lstStyle/>
          <a:p>
            <a:r>
              <a:rPr lang="en-US" sz="18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Uncertainty is rampant ! we use statistics to answer questions about things that are unknown (e.g. : number of cars in Bangalore ?) , but just as importantly, we use statistics to get an idea of how sure we are of our answers. Sometimes it is useful to know that you don’t know.!! </a:t>
            </a:r>
          </a:p>
          <a:p>
            <a:endParaRPr lang="en-US" dirty="0">
              <a:solidFill>
                <a:schemeClr val="bg2">
                  <a:lumMod val="50000"/>
                  <a:lumOff val="50000"/>
                </a:schemeClr>
              </a:solidFill>
            </a:endParaRPr>
          </a:p>
          <a:p>
            <a:endParaRPr lang="en-US" dirty="0">
              <a:solidFill>
                <a:schemeClr val="bg2">
                  <a:lumMod val="50000"/>
                  <a:lumOff val="50000"/>
                </a:schemeClr>
              </a:solidFill>
            </a:endParaRPr>
          </a:p>
          <a:p>
            <a:r>
              <a:rPr lang="en-US" sz="18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Statistical tools are used to make most out of limited information!! </a:t>
            </a:r>
          </a:p>
          <a:p>
            <a:endParaRPr lang="en-US" dirty="0"/>
          </a:p>
        </p:txBody>
      </p:sp>
      <p:pic>
        <p:nvPicPr>
          <p:cNvPr id="5" name="Picture 4" descr="Text, whiteboard&#10;&#10;Description automatically generated">
            <a:extLst>
              <a:ext uri="{FF2B5EF4-FFF2-40B4-BE49-F238E27FC236}">
                <a16:creationId xmlns:a16="http://schemas.microsoft.com/office/drawing/2014/main" id="{51F1782B-1A57-4E62-8628-08331F40875E}"/>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1521911" y="174424"/>
            <a:ext cx="1465548" cy="977032"/>
          </a:xfrm>
          <a:prstGeom prst="rect">
            <a:avLst/>
          </a:prstGeom>
        </p:spPr>
      </p:pic>
    </p:spTree>
    <p:extLst>
      <p:ext uri="{BB962C8B-B14F-4D97-AF65-F5344CB8AC3E}">
        <p14:creationId xmlns:p14="http://schemas.microsoft.com/office/powerpoint/2010/main" val="2976966562"/>
      </p:ext>
    </p:extLst>
  </p:cSld>
  <p:clrMapOvr>
    <a:masterClrMapping/>
  </p:clrMapOvr>
  <p:transition spd="med">
    <p:wipe dir="r"/>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E8170F-5441-4F00-8D1A-03BC63DB25FC}"/>
              </a:ext>
            </a:extLst>
          </p:cNvPr>
          <p:cNvSpPr>
            <a:spLocks noGrp="1"/>
          </p:cNvSpPr>
          <p:nvPr>
            <p:ph type="title"/>
          </p:nvPr>
        </p:nvSpPr>
        <p:spPr>
          <a:xfrm>
            <a:off x="0" y="0"/>
            <a:ext cx="7955280" cy="640080"/>
          </a:xfrm>
        </p:spPr>
        <p:txBody>
          <a:bodyPr/>
          <a:lstStyle/>
          <a:p>
            <a:r>
              <a:rPr lang="en-US" dirty="0"/>
              <a:t>Weighted Mean – Example </a:t>
            </a:r>
          </a:p>
        </p:txBody>
      </p:sp>
      <p:pic>
        <p:nvPicPr>
          <p:cNvPr id="6" name="Content Placeholder 5" descr="A camera on a tripod&#10;&#10;Description automatically generated">
            <a:extLst>
              <a:ext uri="{FF2B5EF4-FFF2-40B4-BE49-F238E27FC236}">
                <a16:creationId xmlns:a16="http://schemas.microsoft.com/office/drawing/2014/main" id="{5FA604C4-BA58-4823-9F14-A808A90C3613}"/>
              </a:ext>
            </a:extLst>
          </p:cNvPr>
          <p:cNvPicPr>
            <a:picLocks noGrp="1" noChangeAspect="1"/>
          </p:cNvPicPr>
          <p:nvPr>
            <p:ph sz="half" idx="1"/>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428594" y="1281936"/>
            <a:ext cx="2631645" cy="2026655"/>
          </a:xfrm>
        </p:spPr>
      </p:pic>
      <p:sp>
        <p:nvSpPr>
          <p:cNvPr id="7" name="TextBox 6">
            <a:extLst>
              <a:ext uri="{FF2B5EF4-FFF2-40B4-BE49-F238E27FC236}">
                <a16:creationId xmlns:a16="http://schemas.microsoft.com/office/drawing/2014/main" id="{9BE58714-D8FF-4A6D-B0FC-0DB2E076BB69}"/>
              </a:ext>
            </a:extLst>
          </p:cNvPr>
          <p:cNvSpPr txBox="1"/>
          <p:nvPr/>
        </p:nvSpPr>
        <p:spPr>
          <a:xfrm>
            <a:off x="0" y="640080"/>
            <a:ext cx="6428594" cy="2154436"/>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Weighted means can help with decisions where some things are more important than others:</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r>
              <a:rPr lang="en-US" sz="1400" b="1" dirty="0">
                <a:solidFill>
                  <a:schemeClr val="bg2">
                    <a:lumMod val="50000"/>
                    <a:lumOff val="50000"/>
                  </a:schemeClr>
                </a:solidFill>
                <a:latin typeface="Inter"/>
                <a:cs typeface="Arial" panose="020B0604020202020204" pitchFamily="34" charset="0"/>
              </a:rPr>
              <a:t>Question : </a:t>
            </a:r>
            <a:r>
              <a:rPr lang="en-US" sz="1400" dirty="0">
                <a:solidFill>
                  <a:schemeClr val="bg2">
                    <a:lumMod val="50000"/>
                    <a:lumOff val="50000"/>
                  </a:schemeClr>
                </a:solidFill>
                <a:latin typeface="Inter"/>
                <a:cs typeface="Arial" panose="020B0604020202020204" pitchFamily="34" charset="0"/>
              </a:rPr>
              <a:t>Mike wants to buy a new camera, and decides on the following rating system:</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Image Quality </a:t>
            </a:r>
            <a:r>
              <a:rPr lang="en-US" sz="1400" b="1" dirty="0">
                <a:solidFill>
                  <a:schemeClr val="bg2">
                    <a:lumMod val="50000"/>
                    <a:lumOff val="50000"/>
                  </a:schemeClr>
                </a:solidFill>
                <a:latin typeface="Inter"/>
                <a:cs typeface="Arial" panose="020B0604020202020204" pitchFamily="34" charset="0"/>
              </a:rPr>
              <a:t>50%</a:t>
            </a: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Battery Life     </a:t>
            </a:r>
            <a:r>
              <a:rPr lang="en-US" sz="1400" b="1" dirty="0">
                <a:solidFill>
                  <a:schemeClr val="bg2">
                    <a:lumMod val="50000"/>
                    <a:lumOff val="50000"/>
                  </a:schemeClr>
                </a:solidFill>
                <a:latin typeface="Inter"/>
                <a:cs typeface="Arial" panose="020B0604020202020204" pitchFamily="34" charset="0"/>
              </a:rPr>
              <a:t>30%</a:t>
            </a: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Zoom Range   </a:t>
            </a:r>
            <a:r>
              <a:rPr lang="en-US" sz="1400" b="1" dirty="0">
                <a:solidFill>
                  <a:schemeClr val="bg2">
                    <a:lumMod val="50000"/>
                    <a:lumOff val="50000"/>
                  </a:schemeClr>
                </a:solidFill>
                <a:latin typeface="Inter"/>
                <a:cs typeface="Arial" panose="020B0604020202020204" pitchFamily="34" charset="0"/>
              </a:rPr>
              <a:t>20%</a:t>
            </a:r>
          </a:p>
          <a:p>
            <a:pPr>
              <a:spcBef>
                <a:spcPts val="0"/>
              </a:spcBef>
              <a:spcAft>
                <a:spcPts val="0"/>
              </a:spcAft>
              <a:buClr>
                <a:schemeClr val="bg1"/>
              </a:buClr>
            </a:pPr>
            <a:endParaRPr lang="en-US" sz="1400" dirty="0">
              <a:solidFill>
                <a:schemeClr val="bg2"/>
              </a:solidFill>
              <a:latin typeface="+mn-lt"/>
            </a:endParaRPr>
          </a:p>
        </p:txBody>
      </p:sp>
      <mc:AlternateContent xmlns:mc="http://schemas.openxmlformats.org/markup-compatibility/2006" xmlns:p14="http://schemas.microsoft.com/office/powerpoint/2010/main">
        <mc:Choice Requires="p14">
          <p:contentPart p14:bwMode="auto" r:id="rId4">
            <p14:nvContentPartPr>
              <p14:cNvPr id="2" name="Ink 1">
                <a:extLst>
                  <a:ext uri="{FF2B5EF4-FFF2-40B4-BE49-F238E27FC236}">
                    <a16:creationId xmlns:a16="http://schemas.microsoft.com/office/drawing/2014/main" id="{5745B832-0CDF-4DAD-872E-0858578F4D40}"/>
                  </a:ext>
                </a:extLst>
              </p14:cNvPr>
              <p14:cNvContentPartPr/>
              <p14:nvPr/>
            </p14:nvContentPartPr>
            <p14:xfrm>
              <a:off x="281160" y="328680"/>
              <a:ext cx="8482320" cy="4610520"/>
            </p14:xfrm>
          </p:contentPart>
        </mc:Choice>
        <mc:Fallback xmlns="">
          <p:pic>
            <p:nvPicPr>
              <p:cNvPr id="2" name="Ink 1">
                <a:extLst>
                  <a:ext uri="{FF2B5EF4-FFF2-40B4-BE49-F238E27FC236}">
                    <a16:creationId xmlns:a16="http://schemas.microsoft.com/office/drawing/2014/main" id="{5745B832-0CDF-4DAD-872E-0858578F4D40}"/>
                  </a:ext>
                </a:extLst>
              </p:cNvPr>
              <p:cNvPicPr/>
              <p:nvPr/>
            </p:nvPicPr>
            <p:blipFill>
              <a:blip r:embed="rId5"/>
              <a:stretch>
                <a:fillRect/>
              </a:stretch>
            </p:blipFill>
            <p:spPr>
              <a:xfrm>
                <a:off x="271800" y="319320"/>
                <a:ext cx="8501040" cy="4629240"/>
              </a:xfrm>
              <a:prstGeom prst="rect">
                <a:avLst/>
              </a:prstGeom>
            </p:spPr>
          </p:pic>
        </mc:Fallback>
      </mc:AlternateContent>
    </p:spTree>
    <p:extLst>
      <p:ext uri="{BB962C8B-B14F-4D97-AF65-F5344CB8AC3E}">
        <p14:creationId xmlns:p14="http://schemas.microsoft.com/office/powerpoint/2010/main" val="2701245991"/>
      </p:ext>
    </p:extLst>
  </p:cSld>
  <p:clrMapOvr>
    <a:masterClrMapping/>
  </p:clrMapOvr>
  <p:transition spd="med">
    <p:wipe dir="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978E4DC-81E1-4BC8-9DB3-611736E8964A}"/>
              </a:ext>
            </a:extLst>
          </p:cNvPr>
          <p:cNvSpPr>
            <a:spLocks noGrp="1"/>
          </p:cNvSpPr>
          <p:nvPr>
            <p:ph type="title"/>
          </p:nvPr>
        </p:nvSpPr>
        <p:spPr>
          <a:xfrm>
            <a:off x="302240" y="232918"/>
            <a:ext cx="7955280" cy="640080"/>
          </a:xfrm>
        </p:spPr>
        <p:txBody>
          <a:bodyPr/>
          <a:lstStyle/>
          <a:p>
            <a:r>
              <a:rPr lang="en-US" dirty="0"/>
              <a:t>What if the weights don’t add to 1 ?</a:t>
            </a:r>
          </a:p>
        </p:txBody>
      </p:sp>
      <p:pic>
        <p:nvPicPr>
          <p:cNvPr id="6" name="Content Placeholder 5" descr="A yellow hat with black text&#10;&#10;Description automatically generated with low confidence">
            <a:extLst>
              <a:ext uri="{FF2B5EF4-FFF2-40B4-BE49-F238E27FC236}">
                <a16:creationId xmlns:a16="http://schemas.microsoft.com/office/drawing/2014/main" id="{B1B54872-4DCF-42B3-BC9A-C2750AC2AF53}"/>
              </a:ext>
            </a:extLst>
          </p:cNvPr>
          <p:cNvPicPr>
            <a:picLocks noGrp="1" noChangeAspect="1"/>
          </p:cNvPicPr>
          <p:nvPr>
            <p:ph sz="half" idx="1"/>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156173" y="90401"/>
            <a:ext cx="921701" cy="925115"/>
          </a:xfrm>
        </p:spPr>
      </p:pic>
      <p:sp>
        <p:nvSpPr>
          <p:cNvPr id="2" name="TextBox 1">
            <a:extLst>
              <a:ext uri="{FF2B5EF4-FFF2-40B4-BE49-F238E27FC236}">
                <a16:creationId xmlns:a16="http://schemas.microsoft.com/office/drawing/2014/main" id="{AE6428D7-E78E-45E0-A9C6-6B3B8B9B4A7E}"/>
              </a:ext>
            </a:extLst>
          </p:cNvPr>
          <p:cNvSpPr txBox="1"/>
          <p:nvPr/>
        </p:nvSpPr>
        <p:spPr>
          <a:xfrm>
            <a:off x="181484" y="1015515"/>
            <a:ext cx="6728867" cy="30623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When the weights don't add to 1, divide by the sum of weights.</a:t>
            </a:r>
          </a:p>
          <a:p>
            <a:pPr>
              <a:spcBef>
                <a:spcPts val="0"/>
              </a:spcBef>
              <a:spcAft>
                <a:spcPts val="0"/>
              </a:spcAft>
              <a:buClr>
                <a:schemeClr val="bg1"/>
              </a:buClr>
            </a:pPr>
            <a:endParaRPr lang="en-US" sz="14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Example: Adrian usually eats lunch 7 times a week, but some weeks only gets 1, 2, or 5 lunches.</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lgn="l"/>
            <a:r>
              <a:rPr lang="en-US" sz="1400" dirty="0">
                <a:solidFill>
                  <a:schemeClr val="bg2">
                    <a:lumMod val="50000"/>
                    <a:lumOff val="50000"/>
                  </a:schemeClr>
                </a:solidFill>
                <a:latin typeface="Inter"/>
                <a:cs typeface="Arial" panose="020B0604020202020204" pitchFamily="34" charset="0"/>
              </a:rPr>
              <a:t>Alex had lunch:</a:t>
            </a:r>
          </a:p>
          <a:p>
            <a:pPr marL="285750" indent="-285750" algn="l">
              <a:buFont typeface="Arial" panose="020B0604020202020204" pitchFamily="34" charset="0"/>
              <a:buChar char="•"/>
            </a:pPr>
            <a:r>
              <a:rPr lang="en-US" sz="1400" dirty="0">
                <a:solidFill>
                  <a:schemeClr val="bg2">
                    <a:lumMod val="50000"/>
                    <a:lumOff val="50000"/>
                  </a:schemeClr>
                </a:solidFill>
                <a:latin typeface="Inter"/>
                <a:cs typeface="Arial" panose="020B0604020202020204" pitchFamily="34" charset="0"/>
              </a:rPr>
              <a:t>on 2 weeks: only one lunch for the whole week</a:t>
            </a:r>
          </a:p>
          <a:p>
            <a:pPr marL="285750" indent="-285750" algn="l">
              <a:buFont typeface="Arial" panose="020B0604020202020204" pitchFamily="34" charset="0"/>
              <a:buChar char="•"/>
            </a:pPr>
            <a:r>
              <a:rPr lang="en-US" sz="1400" dirty="0">
                <a:solidFill>
                  <a:schemeClr val="bg2">
                    <a:lumMod val="50000"/>
                    <a:lumOff val="50000"/>
                  </a:schemeClr>
                </a:solidFill>
                <a:latin typeface="Inter"/>
                <a:cs typeface="Arial" panose="020B0604020202020204" pitchFamily="34" charset="0"/>
              </a:rPr>
              <a:t>on 14 weeks: 2 lunches each week</a:t>
            </a:r>
          </a:p>
          <a:p>
            <a:pPr marL="285750" indent="-285750" algn="l">
              <a:buFont typeface="Arial" panose="020B0604020202020204" pitchFamily="34" charset="0"/>
              <a:buChar char="•"/>
            </a:pPr>
            <a:r>
              <a:rPr lang="en-US" sz="1400" dirty="0">
                <a:solidFill>
                  <a:schemeClr val="bg2">
                    <a:lumMod val="50000"/>
                    <a:lumOff val="50000"/>
                  </a:schemeClr>
                </a:solidFill>
                <a:latin typeface="Inter"/>
                <a:cs typeface="Arial" panose="020B0604020202020204" pitchFamily="34" charset="0"/>
              </a:rPr>
              <a:t>on 8 weeks: 5 lunches each week</a:t>
            </a:r>
          </a:p>
          <a:p>
            <a:pPr marL="285750" indent="-285750" algn="l">
              <a:buFont typeface="Arial" panose="020B0604020202020204" pitchFamily="34" charset="0"/>
              <a:buChar char="•"/>
            </a:pPr>
            <a:r>
              <a:rPr lang="en-US" sz="1400" dirty="0">
                <a:solidFill>
                  <a:schemeClr val="bg2">
                    <a:lumMod val="50000"/>
                    <a:lumOff val="50000"/>
                  </a:schemeClr>
                </a:solidFill>
                <a:latin typeface="Inter"/>
                <a:cs typeface="Arial" panose="020B0604020202020204" pitchFamily="34" charset="0"/>
              </a:rPr>
              <a:t>on 32 weeks: 7 lunches each week</a:t>
            </a:r>
          </a:p>
          <a:p>
            <a:pPr>
              <a:spcBef>
                <a:spcPts val="0"/>
              </a:spcBef>
              <a:spcAft>
                <a:spcPts val="0"/>
              </a:spcAft>
              <a:buClr>
                <a:schemeClr val="bg1"/>
              </a:buClr>
            </a:pPr>
            <a:endParaRPr lang="en-US" sz="14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endParaRPr lang="en-US" sz="14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What is the mean number of lunches Alex having each week?</a:t>
            </a:r>
          </a:p>
          <a:p>
            <a:pPr>
              <a:spcBef>
                <a:spcPts val="0"/>
              </a:spcBef>
              <a:spcAft>
                <a:spcPts val="0"/>
              </a:spcAft>
              <a:buClr>
                <a:schemeClr val="bg1"/>
              </a:buClr>
            </a:pPr>
            <a:endParaRPr lang="en-US" sz="1400" dirty="0">
              <a:solidFill>
                <a:schemeClr val="bg2"/>
              </a:solidFill>
              <a:latin typeface="+mn-lt"/>
            </a:endParaRPr>
          </a:p>
        </p:txBody>
      </p:sp>
      <mc:AlternateContent xmlns:mc="http://schemas.openxmlformats.org/markup-compatibility/2006" xmlns:p14="http://schemas.microsoft.com/office/powerpoint/2010/main">
        <mc:Choice Requires="p14">
          <p:contentPart p14:bwMode="auto" r:id="rId4">
            <p14:nvContentPartPr>
              <p14:cNvPr id="4" name="Ink 3">
                <a:extLst>
                  <a:ext uri="{FF2B5EF4-FFF2-40B4-BE49-F238E27FC236}">
                    <a16:creationId xmlns:a16="http://schemas.microsoft.com/office/drawing/2014/main" id="{0AC85E4E-0685-42AA-90C2-F8767939EB23}"/>
                  </a:ext>
                </a:extLst>
              </p14:cNvPr>
              <p14:cNvContentPartPr/>
              <p14:nvPr/>
            </p14:nvContentPartPr>
            <p14:xfrm>
              <a:off x="7067520" y="804960"/>
              <a:ext cx="2067480" cy="4334040"/>
            </p14:xfrm>
          </p:contentPart>
        </mc:Choice>
        <mc:Fallback xmlns="">
          <p:pic>
            <p:nvPicPr>
              <p:cNvPr id="4" name="Ink 3">
                <a:extLst>
                  <a:ext uri="{FF2B5EF4-FFF2-40B4-BE49-F238E27FC236}">
                    <a16:creationId xmlns:a16="http://schemas.microsoft.com/office/drawing/2014/main" id="{0AC85E4E-0685-42AA-90C2-F8767939EB23}"/>
                  </a:ext>
                </a:extLst>
              </p:cNvPr>
              <p:cNvPicPr/>
              <p:nvPr/>
            </p:nvPicPr>
            <p:blipFill>
              <a:blip r:embed="rId5"/>
              <a:stretch>
                <a:fillRect/>
              </a:stretch>
            </p:blipFill>
            <p:spPr>
              <a:xfrm>
                <a:off x="7058160" y="795600"/>
                <a:ext cx="2086200" cy="435276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5" name="Ink 4">
                <a:extLst>
                  <a:ext uri="{FF2B5EF4-FFF2-40B4-BE49-F238E27FC236}">
                    <a16:creationId xmlns:a16="http://schemas.microsoft.com/office/drawing/2014/main" id="{E31F3D7E-6695-4ECF-BE53-E5A64D1A03BC}"/>
                  </a:ext>
                </a:extLst>
              </p14:cNvPr>
              <p14:cNvContentPartPr/>
              <p14:nvPr/>
            </p14:nvContentPartPr>
            <p14:xfrm>
              <a:off x="233280" y="695160"/>
              <a:ext cx="7877520" cy="3972600"/>
            </p14:xfrm>
          </p:contentPart>
        </mc:Choice>
        <mc:Fallback xmlns="">
          <p:pic>
            <p:nvPicPr>
              <p:cNvPr id="5" name="Ink 4">
                <a:extLst>
                  <a:ext uri="{FF2B5EF4-FFF2-40B4-BE49-F238E27FC236}">
                    <a16:creationId xmlns:a16="http://schemas.microsoft.com/office/drawing/2014/main" id="{E31F3D7E-6695-4ECF-BE53-E5A64D1A03BC}"/>
                  </a:ext>
                </a:extLst>
              </p:cNvPr>
              <p:cNvPicPr/>
              <p:nvPr/>
            </p:nvPicPr>
            <p:blipFill>
              <a:blip r:embed="rId7"/>
              <a:stretch>
                <a:fillRect/>
              </a:stretch>
            </p:blipFill>
            <p:spPr>
              <a:xfrm>
                <a:off x="223920" y="685800"/>
                <a:ext cx="7896240" cy="3991320"/>
              </a:xfrm>
              <a:prstGeom prst="rect">
                <a:avLst/>
              </a:prstGeom>
            </p:spPr>
          </p:pic>
        </mc:Fallback>
      </mc:AlternateContent>
    </p:spTree>
    <p:extLst>
      <p:ext uri="{BB962C8B-B14F-4D97-AF65-F5344CB8AC3E}">
        <p14:creationId xmlns:p14="http://schemas.microsoft.com/office/powerpoint/2010/main" val="1541171692"/>
      </p:ext>
    </p:extLst>
  </p:cSld>
  <p:clrMapOvr>
    <a:masterClrMapping/>
  </p:clrMapOvr>
  <p:transition spd="med">
    <p:wipe dir="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463494-2B80-433F-975F-08D7A84349CD}"/>
              </a:ext>
            </a:extLst>
          </p:cNvPr>
          <p:cNvSpPr>
            <a:spLocks noGrp="1"/>
          </p:cNvSpPr>
          <p:nvPr>
            <p:ph type="title"/>
          </p:nvPr>
        </p:nvSpPr>
        <p:spPr>
          <a:xfrm>
            <a:off x="0" y="83421"/>
            <a:ext cx="7955280" cy="640080"/>
          </a:xfrm>
        </p:spPr>
        <p:txBody>
          <a:bodyPr/>
          <a:lstStyle/>
          <a:p>
            <a:r>
              <a:rPr lang="en-US" dirty="0"/>
              <a:t>What if the weights don’t add to 1 ?</a:t>
            </a:r>
          </a:p>
        </p:txBody>
      </p:sp>
      <p:pic>
        <p:nvPicPr>
          <p:cNvPr id="6" name="Content Placeholder 5">
            <a:extLst>
              <a:ext uri="{FF2B5EF4-FFF2-40B4-BE49-F238E27FC236}">
                <a16:creationId xmlns:a16="http://schemas.microsoft.com/office/drawing/2014/main" id="{4EB52728-6157-4065-A402-BCEDE421A612}"/>
              </a:ext>
            </a:extLst>
          </p:cNvPr>
          <p:cNvPicPr>
            <a:picLocks noGrp="1" noChangeAspect="1"/>
          </p:cNvPicPr>
          <p:nvPr>
            <p:ph sz="half" idx="1"/>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841269" y="0"/>
            <a:ext cx="1688223" cy="998162"/>
          </a:xfrm>
        </p:spPr>
      </p:pic>
      <p:sp>
        <p:nvSpPr>
          <p:cNvPr id="8" name="TextBox 7">
            <a:extLst>
              <a:ext uri="{FF2B5EF4-FFF2-40B4-BE49-F238E27FC236}">
                <a16:creationId xmlns:a16="http://schemas.microsoft.com/office/drawing/2014/main" id="{9B2D573D-0295-44A9-AEDB-1A984B1AD36C}"/>
              </a:ext>
            </a:extLst>
          </p:cNvPr>
          <p:cNvSpPr txBox="1"/>
          <p:nvPr/>
        </p:nvSpPr>
        <p:spPr>
          <a:xfrm>
            <a:off x="104702" y="1081583"/>
            <a:ext cx="6428594" cy="1338828"/>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q"/>
            </a:pPr>
            <a:r>
              <a:rPr lang="en-US" sz="1400" dirty="0">
                <a:solidFill>
                  <a:schemeClr val="bg2">
                    <a:lumMod val="50000"/>
                    <a:lumOff val="50000"/>
                  </a:schemeClr>
                </a:solidFill>
                <a:latin typeface="Inter"/>
                <a:cs typeface="Arial" panose="020B0604020202020204" pitchFamily="34" charset="0"/>
              </a:rPr>
              <a:t>Use “Weeks” as the weighting</a:t>
            </a:r>
          </a:p>
          <a:p>
            <a:pPr marL="285750" indent="-285750">
              <a:spcBef>
                <a:spcPts val="0"/>
              </a:spcBef>
              <a:spcAft>
                <a:spcPts val="0"/>
              </a:spcAft>
              <a:buClr>
                <a:schemeClr val="bg1"/>
              </a:buClr>
              <a:buFont typeface="Wingdings" panose="05000000000000000000" pitchFamily="2" charset="2"/>
              <a:buChar char="q"/>
            </a:pPr>
            <a:endParaRPr lang="en-US" sz="1400" dirty="0">
              <a:solidFill>
                <a:schemeClr val="bg2">
                  <a:lumMod val="50000"/>
                  <a:lumOff val="50000"/>
                </a:schemeClr>
              </a:solidFill>
              <a:latin typeface="Inter"/>
              <a:cs typeface="Arial" panose="020B0604020202020204" pitchFamily="34" charset="0"/>
            </a:endParaRPr>
          </a:p>
          <a:p>
            <a:pPr marL="285750" indent="-285750">
              <a:spcBef>
                <a:spcPts val="0"/>
              </a:spcBef>
              <a:spcAft>
                <a:spcPts val="0"/>
              </a:spcAft>
              <a:buClr>
                <a:schemeClr val="bg1"/>
              </a:buClr>
              <a:buFont typeface="Wingdings" panose="05000000000000000000" pitchFamily="2" charset="2"/>
              <a:buChar char="q"/>
            </a:pPr>
            <a:endParaRPr lang="en-US" sz="14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400" b="1" dirty="0">
                <a:solidFill>
                  <a:schemeClr val="bg2">
                    <a:lumMod val="50000"/>
                    <a:lumOff val="50000"/>
                  </a:schemeClr>
                </a:solidFill>
                <a:latin typeface="Inter"/>
                <a:cs typeface="Arial" panose="020B0604020202020204" pitchFamily="34" charset="0"/>
              </a:rPr>
              <a:t>Solution : </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endParaRPr lang="en-US" sz="1400" dirty="0">
              <a:solidFill>
                <a:schemeClr val="bg2"/>
              </a:solidFill>
              <a:latin typeface="+mn-lt"/>
            </a:endParaRPr>
          </a:p>
        </p:txBody>
      </p:sp>
      <p:pic>
        <p:nvPicPr>
          <p:cNvPr id="10" name="Picture 9">
            <a:extLst>
              <a:ext uri="{FF2B5EF4-FFF2-40B4-BE49-F238E27FC236}">
                <a16:creationId xmlns:a16="http://schemas.microsoft.com/office/drawing/2014/main" id="{4E664255-7746-4696-9615-CC824F9301BD}"/>
              </a:ext>
            </a:extLst>
          </p:cNvPr>
          <p:cNvPicPr>
            <a:picLocks noChangeAspect="1"/>
          </p:cNvPicPr>
          <p:nvPr/>
        </p:nvPicPr>
        <p:blipFill>
          <a:blip r:embed="rId4"/>
          <a:stretch>
            <a:fillRect/>
          </a:stretch>
        </p:blipFill>
        <p:spPr>
          <a:xfrm>
            <a:off x="5752099" y="3070904"/>
            <a:ext cx="3233429" cy="1619759"/>
          </a:xfrm>
          <a:prstGeom prst="rect">
            <a:avLst/>
          </a:prstGeom>
        </p:spPr>
      </p:pic>
      <mc:AlternateContent xmlns:mc="http://schemas.openxmlformats.org/markup-compatibility/2006" xmlns:p14="http://schemas.microsoft.com/office/powerpoint/2010/main">
        <mc:Choice Requires="p14">
          <p:contentPart p14:bwMode="auto" r:id="rId5">
            <p14:nvContentPartPr>
              <p14:cNvPr id="2" name="Ink 1">
                <a:extLst>
                  <a:ext uri="{FF2B5EF4-FFF2-40B4-BE49-F238E27FC236}">
                    <a16:creationId xmlns:a16="http://schemas.microsoft.com/office/drawing/2014/main" id="{D2340ECD-9639-4923-B4E2-1BE9802A0A37}"/>
                  </a:ext>
                </a:extLst>
              </p14:cNvPr>
              <p14:cNvContentPartPr/>
              <p14:nvPr/>
            </p14:nvContentPartPr>
            <p14:xfrm>
              <a:off x="2328840" y="2238480"/>
              <a:ext cx="6739200" cy="2795760"/>
            </p14:xfrm>
          </p:contentPart>
        </mc:Choice>
        <mc:Fallback xmlns="">
          <p:pic>
            <p:nvPicPr>
              <p:cNvPr id="2" name="Ink 1">
                <a:extLst>
                  <a:ext uri="{FF2B5EF4-FFF2-40B4-BE49-F238E27FC236}">
                    <a16:creationId xmlns:a16="http://schemas.microsoft.com/office/drawing/2014/main" id="{D2340ECD-9639-4923-B4E2-1BE9802A0A37}"/>
                  </a:ext>
                </a:extLst>
              </p:cNvPr>
              <p:cNvPicPr/>
              <p:nvPr/>
            </p:nvPicPr>
            <p:blipFill>
              <a:blip r:embed="rId6"/>
              <a:stretch>
                <a:fillRect/>
              </a:stretch>
            </p:blipFill>
            <p:spPr>
              <a:xfrm>
                <a:off x="2319480" y="2229120"/>
                <a:ext cx="6757920" cy="2814480"/>
              </a:xfrm>
              <a:prstGeom prst="rect">
                <a:avLst/>
              </a:prstGeom>
            </p:spPr>
          </p:pic>
        </mc:Fallback>
      </mc:AlternateContent>
    </p:spTree>
    <p:extLst>
      <p:ext uri="{BB962C8B-B14F-4D97-AF65-F5344CB8AC3E}">
        <p14:creationId xmlns:p14="http://schemas.microsoft.com/office/powerpoint/2010/main" val="2216126519"/>
      </p:ext>
    </p:extLst>
  </p:cSld>
  <p:clrMapOvr>
    <a:masterClrMapping/>
  </p:clrMapOvr>
  <p:transition spd="med">
    <p:wipe dir="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C7D7890-7B45-4CAF-9C2B-2740282A16C3}"/>
              </a:ext>
            </a:extLst>
          </p:cNvPr>
          <p:cNvSpPr>
            <a:spLocks noGrp="1"/>
          </p:cNvSpPr>
          <p:nvPr>
            <p:ph type="title"/>
          </p:nvPr>
        </p:nvSpPr>
        <p:spPr>
          <a:xfrm>
            <a:off x="0" y="27981"/>
            <a:ext cx="7955280" cy="640080"/>
          </a:xfrm>
        </p:spPr>
        <p:txBody>
          <a:bodyPr/>
          <a:lstStyle/>
          <a:p>
            <a:r>
              <a:rPr lang="en-US" dirty="0"/>
              <a:t>What if the weights don’t add to 1 ?</a:t>
            </a:r>
          </a:p>
        </p:txBody>
      </p:sp>
      <p:sp>
        <p:nvSpPr>
          <p:cNvPr id="4" name="Content Placeholder 3">
            <a:extLst>
              <a:ext uri="{FF2B5EF4-FFF2-40B4-BE49-F238E27FC236}">
                <a16:creationId xmlns:a16="http://schemas.microsoft.com/office/drawing/2014/main" id="{C00C7600-583F-4D5F-8694-F5771CA467EA}"/>
              </a:ext>
            </a:extLst>
          </p:cNvPr>
          <p:cNvSpPr>
            <a:spLocks noGrp="1"/>
          </p:cNvSpPr>
          <p:nvPr>
            <p:ph sz="half" idx="1"/>
          </p:nvPr>
        </p:nvSpPr>
        <p:spPr>
          <a:xfrm>
            <a:off x="99816" y="856465"/>
            <a:ext cx="7955280" cy="3017520"/>
          </a:xfrm>
        </p:spPr>
        <p:txBody>
          <a:bodyPr/>
          <a:lstStyle/>
          <a:p>
            <a:r>
              <a:rPr lang="en-US" sz="2000" kern="1200" dirty="0">
                <a:solidFill>
                  <a:schemeClr val="bg2">
                    <a:lumMod val="50000"/>
                    <a:lumOff val="50000"/>
                  </a:schemeClr>
                </a:solidFill>
                <a:latin typeface="Inter"/>
                <a:ea typeface="+mn-ea"/>
              </a:rPr>
              <a:t>But it is often better to use a table to make sure you have all the numbers correct:</a:t>
            </a:r>
          </a:p>
          <a:p>
            <a:pPr marL="0" indent="0" algn="l">
              <a:buNone/>
            </a:pPr>
            <a:r>
              <a:rPr lang="en-US" sz="2000" b="1" kern="1200" dirty="0">
                <a:solidFill>
                  <a:schemeClr val="bg2">
                    <a:lumMod val="50000"/>
                    <a:lumOff val="50000"/>
                  </a:schemeClr>
                </a:solidFill>
                <a:latin typeface="Inter"/>
                <a:ea typeface="+mn-ea"/>
              </a:rPr>
              <a:t>Example (continued):</a:t>
            </a:r>
          </a:p>
          <a:p>
            <a:pPr algn="l"/>
            <a:r>
              <a:rPr lang="en-US" sz="2000" kern="1200" dirty="0">
                <a:solidFill>
                  <a:schemeClr val="bg2">
                    <a:lumMod val="50000"/>
                    <a:lumOff val="50000"/>
                  </a:schemeClr>
                </a:solidFill>
                <a:latin typeface="Inter"/>
                <a:ea typeface="+mn-ea"/>
              </a:rPr>
              <a:t>Let's use:</a:t>
            </a:r>
          </a:p>
          <a:p>
            <a:pPr algn="l">
              <a:buFont typeface="Arial" panose="020B0604020202020204" pitchFamily="34" charset="0"/>
              <a:buChar char="•"/>
            </a:pPr>
            <a:r>
              <a:rPr lang="en-US" sz="2000" b="1" kern="1200" dirty="0">
                <a:solidFill>
                  <a:schemeClr val="bg2">
                    <a:lumMod val="50000"/>
                    <a:lumOff val="50000"/>
                  </a:schemeClr>
                </a:solidFill>
                <a:latin typeface="Inter"/>
                <a:ea typeface="+mn-ea"/>
              </a:rPr>
              <a:t>w</a:t>
            </a:r>
            <a:r>
              <a:rPr lang="en-US" sz="2000" kern="1200" dirty="0">
                <a:solidFill>
                  <a:schemeClr val="bg2">
                    <a:lumMod val="50000"/>
                    <a:lumOff val="50000"/>
                  </a:schemeClr>
                </a:solidFill>
                <a:latin typeface="Inter"/>
                <a:ea typeface="+mn-ea"/>
              </a:rPr>
              <a:t> for the number of weeks (the weight)</a:t>
            </a:r>
          </a:p>
          <a:p>
            <a:pPr algn="l">
              <a:buFont typeface="Arial" panose="020B0604020202020204" pitchFamily="34" charset="0"/>
              <a:buChar char="•"/>
            </a:pPr>
            <a:r>
              <a:rPr lang="en-US" sz="2000" b="1" kern="1200" dirty="0">
                <a:solidFill>
                  <a:schemeClr val="bg2">
                    <a:lumMod val="50000"/>
                    <a:lumOff val="50000"/>
                  </a:schemeClr>
                </a:solidFill>
                <a:latin typeface="Inter"/>
                <a:ea typeface="+mn-ea"/>
              </a:rPr>
              <a:t>x</a:t>
            </a:r>
            <a:r>
              <a:rPr lang="en-US" sz="2000" kern="1200" dirty="0">
                <a:solidFill>
                  <a:schemeClr val="bg2">
                    <a:lumMod val="50000"/>
                    <a:lumOff val="50000"/>
                  </a:schemeClr>
                </a:solidFill>
                <a:latin typeface="Inter"/>
                <a:ea typeface="+mn-ea"/>
              </a:rPr>
              <a:t> for lunches (the value we want the mean of)</a:t>
            </a:r>
          </a:p>
          <a:p>
            <a:pPr algn="l"/>
            <a:r>
              <a:rPr lang="en-US" sz="2000" kern="1200" dirty="0">
                <a:solidFill>
                  <a:schemeClr val="bg2">
                    <a:lumMod val="50000"/>
                    <a:lumOff val="50000"/>
                  </a:schemeClr>
                </a:solidFill>
                <a:latin typeface="Inter"/>
                <a:ea typeface="+mn-ea"/>
              </a:rPr>
              <a:t>Multiply </a:t>
            </a:r>
            <a:r>
              <a:rPr lang="en-US" sz="2000" b="1" kern="1200" dirty="0">
                <a:solidFill>
                  <a:schemeClr val="bg2">
                    <a:lumMod val="50000"/>
                    <a:lumOff val="50000"/>
                  </a:schemeClr>
                </a:solidFill>
                <a:latin typeface="Inter"/>
                <a:ea typeface="+mn-ea"/>
              </a:rPr>
              <a:t>w</a:t>
            </a:r>
            <a:r>
              <a:rPr lang="en-US" sz="2000" kern="1200" dirty="0">
                <a:solidFill>
                  <a:schemeClr val="bg2">
                    <a:lumMod val="50000"/>
                    <a:lumOff val="50000"/>
                  </a:schemeClr>
                </a:solidFill>
                <a:latin typeface="Inter"/>
                <a:ea typeface="+mn-ea"/>
              </a:rPr>
              <a:t> by </a:t>
            </a:r>
            <a:r>
              <a:rPr lang="en-US" sz="2000" b="1" kern="1200" dirty="0">
                <a:solidFill>
                  <a:schemeClr val="bg2">
                    <a:lumMod val="50000"/>
                    <a:lumOff val="50000"/>
                  </a:schemeClr>
                </a:solidFill>
                <a:latin typeface="Inter"/>
                <a:ea typeface="+mn-ea"/>
              </a:rPr>
              <a:t>x</a:t>
            </a:r>
            <a:r>
              <a:rPr lang="en-US" sz="2000" kern="1200" dirty="0">
                <a:solidFill>
                  <a:schemeClr val="bg2">
                    <a:lumMod val="50000"/>
                    <a:lumOff val="50000"/>
                  </a:schemeClr>
                </a:solidFill>
                <a:latin typeface="Inter"/>
                <a:ea typeface="+mn-ea"/>
              </a:rPr>
              <a:t>, sum up </a:t>
            </a:r>
            <a:r>
              <a:rPr lang="en-US" sz="2000" b="1" kern="1200" dirty="0">
                <a:solidFill>
                  <a:schemeClr val="bg2">
                    <a:lumMod val="50000"/>
                    <a:lumOff val="50000"/>
                  </a:schemeClr>
                </a:solidFill>
                <a:latin typeface="Inter"/>
                <a:ea typeface="+mn-ea"/>
              </a:rPr>
              <a:t>w</a:t>
            </a:r>
            <a:r>
              <a:rPr lang="en-US" sz="2000" kern="1200" dirty="0">
                <a:solidFill>
                  <a:schemeClr val="bg2">
                    <a:lumMod val="50000"/>
                    <a:lumOff val="50000"/>
                  </a:schemeClr>
                </a:solidFill>
                <a:latin typeface="Inter"/>
                <a:ea typeface="+mn-ea"/>
              </a:rPr>
              <a:t> and sum up </a:t>
            </a:r>
            <a:r>
              <a:rPr lang="en-US" sz="2000" b="1" kern="1200" dirty="0" err="1">
                <a:solidFill>
                  <a:schemeClr val="bg2">
                    <a:lumMod val="50000"/>
                    <a:lumOff val="50000"/>
                  </a:schemeClr>
                </a:solidFill>
                <a:latin typeface="Inter"/>
                <a:ea typeface="+mn-ea"/>
              </a:rPr>
              <a:t>wx</a:t>
            </a:r>
            <a:endParaRPr lang="en-US" sz="2000" kern="1200" dirty="0">
              <a:solidFill>
                <a:schemeClr val="bg2">
                  <a:lumMod val="50000"/>
                  <a:lumOff val="50000"/>
                </a:schemeClr>
              </a:solidFill>
              <a:latin typeface="Inter"/>
              <a:ea typeface="+mn-ea"/>
            </a:endParaRPr>
          </a:p>
          <a:p>
            <a:pPr marL="0" indent="0">
              <a:buNone/>
            </a:pPr>
            <a:endParaRPr lang="en-US" dirty="0"/>
          </a:p>
        </p:txBody>
      </p:sp>
      <mc:AlternateContent xmlns:mc="http://schemas.openxmlformats.org/markup-compatibility/2006" xmlns:p14="http://schemas.microsoft.com/office/powerpoint/2010/main">
        <mc:Choice Requires="p14">
          <p:contentPart p14:bwMode="auto" r:id="rId2">
            <p14:nvContentPartPr>
              <p14:cNvPr id="2" name="Ink 1">
                <a:extLst>
                  <a:ext uri="{FF2B5EF4-FFF2-40B4-BE49-F238E27FC236}">
                    <a16:creationId xmlns:a16="http://schemas.microsoft.com/office/drawing/2014/main" id="{8E844E4F-3E42-40D2-B6B6-515DDE3B16E2}"/>
                  </a:ext>
                </a:extLst>
              </p14:cNvPr>
              <p14:cNvContentPartPr/>
              <p14:nvPr/>
            </p14:nvContentPartPr>
            <p14:xfrm>
              <a:off x="324000" y="1104840"/>
              <a:ext cx="5781960" cy="2767320"/>
            </p14:xfrm>
          </p:contentPart>
        </mc:Choice>
        <mc:Fallback xmlns="">
          <p:pic>
            <p:nvPicPr>
              <p:cNvPr id="2" name="Ink 1">
                <a:extLst>
                  <a:ext uri="{FF2B5EF4-FFF2-40B4-BE49-F238E27FC236}">
                    <a16:creationId xmlns:a16="http://schemas.microsoft.com/office/drawing/2014/main" id="{8E844E4F-3E42-40D2-B6B6-515DDE3B16E2}"/>
                  </a:ext>
                </a:extLst>
              </p:cNvPr>
              <p:cNvPicPr/>
              <p:nvPr/>
            </p:nvPicPr>
            <p:blipFill>
              <a:blip r:embed="rId3"/>
              <a:stretch>
                <a:fillRect/>
              </a:stretch>
            </p:blipFill>
            <p:spPr>
              <a:xfrm>
                <a:off x="314640" y="1095480"/>
                <a:ext cx="5800680" cy="2786040"/>
              </a:xfrm>
              <a:prstGeom prst="rect">
                <a:avLst/>
              </a:prstGeom>
            </p:spPr>
          </p:pic>
        </mc:Fallback>
      </mc:AlternateContent>
    </p:spTree>
    <p:extLst>
      <p:ext uri="{BB962C8B-B14F-4D97-AF65-F5344CB8AC3E}">
        <p14:creationId xmlns:p14="http://schemas.microsoft.com/office/powerpoint/2010/main" val="2167338885"/>
      </p:ext>
    </p:extLst>
  </p:cSld>
  <p:clrMapOvr>
    <a:masterClrMapping/>
  </p:clrMapOvr>
  <p:transition spd="med">
    <p:wipe dir="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502489-34AB-4B78-A9F8-548C875B7302}"/>
              </a:ext>
            </a:extLst>
          </p:cNvPr>
          <p:cNvSpPr>
            <a:spLocks noGrp="1"/>
          </p:cNvSpPr>
          <p:nvPr>
            <p:ph type="title"/>
          </p:nvPr>
        </p:nvSpPr>
        <p:spPr>
          <a:xfrm>
            <a:off x="0" y="0"/>
            <a:ext cx="7955280" cy="640080"/>
          </a:xfrm>
        </p:spPr>
        <p:txBody>
          <a:bodyPr/>
          <a:lstStyle/>
          <a:p>
            <a:r>
              <a:rPr lang="en-US" dirty="0"/>
              <a:t>What if the weights don’t add to 1 ?</a:t>
            </a:r>
          </a:p>
        </p:txBody>
      </p:sp>
      <p:pic>
        <p:nvPicPr>
          <p:cNvPr id="6" name="Content Placeholder 5">
            <a:extLst>
              <a:ext uri="{FF2B5EF4-FFF2-40B4-BE49-F238E27FC236}">
                <a16:creationId xmlns:a16="http://schemas.microsoft.com/office/drawing/2014/main" id="{D782ECDC-620D-4681-B615-F5287CCEE213}"/>
              </a:ext>
            </a:extLst>
          </p:cNvPr>
          <p:cNvPicPr>
            <a:picLocks noGrp="1" noChangeAspect="1"/>
          </p:cNvPicPr>
          <p:nvPr>
            <p:ph sz="half" idx="1"/>
          </p:nvPr>
        </p:nvPicPr>
        <p:blipFill>
          <a:blip r:embed="rId2"/>
          <a:stretch>
            <a:fillRect/>
          </a:stretch>
        </p:blipFill>
        <p:spPr>
          <a:xfrm>
            <a:off x="369948" y="755247"/>
            <a:ext cx="3395776" cy="2463603"/>
          </a:xfrm>
        </p:spPr>
      </p:pic>
      <p:sp>
        <p:nvSpPr>
          <p:cNvPr id="7" name="TextBox 6">
            <a:extLst>
              <a:ext uri="{FF2B5EF4-FFF2-40B4-BE49-F238E27FC236}">
                <a16:creationId xmlns:a16="http://schemas.microsoft.com/office/drawing/2014/main" id="{D6C86B2D-9211-4100-BBC8-0EF99C9983B8}"/>
              </a:ext>
            </a:extLst>
          </p:cNvPr>
          <p:cNvSpPr txBox="1"/>
          <p:nvPr/>
        </p:nvSpPr>
        <p:spPr>
          <a:xfrm>
            <a:off x="4213395" y="808998"/>
            <a:ext cx="4204669" cy="261610"/>
          </a:xfrm>
          <a:prstGeom prst="rect">
            <a:avLst/>
          </a:prstGeom>
          <a:noFill/>
        </p:spPr>
        <p:txBody>
          <a:bodyPr wrap="square" rtlCol="0">
            <a:spAutoFit/>
          </a:bodyPr>
          <a:lstStyle/>
          <a:p>
            <a:pPr>
              <a:spcBef>
                <a:spcPts val="0"/>
              </a:spcBef>
              <a:spcAft>
                <a:spcPts val="0"/>
              </a:spcAft>
              <a:buClr>
                <a:schemeClr val="bg1"/>
              </a:buClr>
            </a:pPr>
            <a:r>
              <a:rPr lang="en-US" sz="1100" b="0" i="0" dirty="0">
                <a:solidFill>
                  <a:srgbClr val="333333"/>
                </a:solidFill>
                <a:effectLst/>
                <a:latin typeface="Verdana" panose="020B0604030504040204" pitchFamily="34" charset="0"/>
              </a:rPr>
              <a:t>Divide </a:t>
            </a:r>
            <a:r>
              <a:rPr lang="el-GR" sz="1100" b="1" i="0" dirty="0">
                <a:solidFill>
                  <a:srgbClr val="333333"/>
                </a:solidFill>
                <a:effectLst/>
                <a:latin typeface="Verdana" panose="020B0604030504040204" pitchFamily="34" charset="0"/>
              </a:rPr>
              <a:t>Σ</a:t>
            </a:r>
            <a:r>
              <a:rPr lang="en-US" sz="1100" b="1" i="0" dirty="0" err="1">
                <a:solidFill>
                  <a:srgbClr val="333333"/>
                </a:solidFill>
                <a:effectLst/>
                <a:latin typeface="Verdana" panose="020B0604030504040204" pitchFamily="34" charset="0"/>
              </a:rPr>
              <a:t>wx</a:t>
            </a:r>
            <a:r>
              <a:rPr lang="en-US" sz="1100" b="0" i="0" dirty="0">
                <a:solidFill>
                  <a:srgbClr val="333333"/>
                </a:solidFill>
                <a:effectLst/>
                <a:latin typeface="Verdana" panose="020B0604030504040204" pitchFamily="34" charset="0"/>
              </a:rPr>
              <a:t> by </a:t>
            </a:r>
            <a:r>
              <a:rPr lang="el-GR" sz="1100" b="1" i="0" dirty="0">
                <a:solidFill>
                  <a:srgbClr val="333333"/>
                </a:solidFill>
                <a:effectLst/>
                <a:latin typeface="Verdana" panose="020B0604030504040204" pitchFamily="34" charset="0"/>
              </a:rPr>
              <a:t>Σ</a:t>
            </a:r>
            <a:r>
              <a:rPr lang="en-US" sz="1100" b="1" i="0" dirty="0">
                <a:solidFill>
                  <a:srgbClr val="333333"/>
                </a:solidFill>
                <a:effectLst/>
                <a:latin typeface="Verdana" panose="020B0604030504040204" pitchFamily="34" charset="0"/>
              </a:rPr>
              <a:t>w</a:t>
            </a:r>
            <a:r>
              <a:rPr lang="en-US" sz="1100" b="0" i="0" dirty="0">
                <a:solidFill>
                  <a:srgbClr val="333333"/>
                </a:solidFill>
                <a:effectLst/>
                <a:latin typeface="Verdana" panose="020B0604030504040204" pitchFamily="34" charset="0"/>
              </a:rPr>
              <a:t>:</a:t>
            </a:r>
            <a:endParaRPr lang="en-US" sz="1400" dirty="0">
              <a:solidFill>
                <a:schemeClr val="bg2"/>
              </a:solidFill>
              <a:latin typeface="+mn-lt"/>
            </a:endParaRPr>
          </a:p>
        </p:txBody>
      </p:sp>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6FC24906-052A-4808-8F12-9D6C937E3B08}"/>
                  </a:ext>
                </a:extLst>
              </p14:cNvPr>
              <p14:cNvContentPartPr/>
              <p14:nvPr/>
            </p14:nvContentPartPr>
            <p14:xfrm>
              <a:off x="6024600" y="1728720"/>
              <a:ext cx="447840" cy="262440"/>
            </p14:xfrm>
          </p:contentPart>
        </mc:Choice>
        <mc:Fallback xmlns="">
          <p:pic>
            <p:nvPicPr>
              <p:cNvPr id="2" name="Ink 1">
                <a:extLst>
                  <a:ext uri="{FF2B5EF4-FFF2-40B4-BE49-F238E27FC236}">
                    <a16:creationId xmlns:a16="http://schemas.microsoft.com/office/drawing/2014/main" id="{6FC24906-052A-4808-8F12-9D6C937E3B08}"/>
                  </a:ext>
                </a:extLst>
              </p:cNvPr>
              <p:cNvPicPr/>
              <p:nvPr/>
            </p:nvPicPr>
            <p:blipFill>
              <a:blip r:embed="rId4"/>
              <a:stretch>
                <a:fillRect/>
              </a:stretch>
            </p:blipFill>
            <p:spPr>
              <a:xfrm>
                <a:off x="6015240" y="1719360"/>
                <a:ext cx="466560" cy="281160"/>
              </a:xfrm>
              <a:prstGeom prst="rect">
                <a:avLst/>
              </a:prstGeom>
            </p:spPr>
          </p:pic>
        </mc:Fallback>
      </mc:AlternateContent>
    </p:spTree>
    <p:extLst>
      <p:ext uri="{BB962C8B-B14F-4D97-AF65-F5344CB8AC3E}">
        <p14:creationId xmlns:p14="http://schemas.microsoft.com/office/powerpoint/2010/main" val="2987937793"/>
      </p:ext>
    </p:extLst>
  </p:cSld>
  <p:clrMapOvr>
    <a:masterClrMapping/>
  </p:clrMapOvr>
  <p:transition spd="med">
    <p:wipe dir="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8A6EC3-9EEB-4520-A0E7-3537EBC315EA}"/>
              </a:ext>
            </a:extLst>
          </p:cNvPr>
          <p:cNvSpPr>
            <a:spLocks noGrp="1"/>
          </p:cNvSpPr>
          <p:nvPr>
            <p:ph type="title"/>
          </p:nvPr>
        </p:nvSpPr>
        <p:spPr>
          <a:xfrm>
            <a:off x="0" y="0"/>
            <a:ext cx="7955280" cy="640080"/>
          </a:xfrm>
        </p:spPr>
        <p:txBody>
          <a:bodyPr/>
          <a:lstStyle/>
          <a:p>
            <a:r>
              <a:rPr lang="en-US" dirty="0"/>
              <a:t>Weighted Mean : Summary</a:t>
            </a:r>
          </a:p>
        </p:txBody>
      </p:sp>
      <p:sp>
        <p:nvSpPr>
          <p:cNvPr id="4" name="Content Placeholder 3">
            <a:extLst>
              <a:ext uri="{FF2B5EF4-FFF2-40B4-BE49-F238E27FC236}">
                <a16:creationId xmlns:a16="http://schemas.microsoft.com/office/drawing/2014/main" id="{CF701619-2E8D-4182-BCFA-D371984D8E07}"/>
              </a:ext>
            </a:extLst>
          </p:cNvPr>
          <p:cNvSpPr>
            <a:spLocks noGrp="1"/>
          </p:cNvSpPr>
          <p:nvPr>
            <p:ph sz="half" idx="1"/>
          </p:nvPr>
        </p:nvSpPr>
        <p:spPr>
          <a:xfrm>
            <a:off x="62822" y="711976"/>
            <a:ext cx="8229600" cy="4020568"/>
          </a:xfrm>
        </p:spPr>
        <p:txBody>
          <a:bodyPr>
            <a:normAutofit/>
          </a:bodyPr>
          <a:lstStyle/>
          <a:p>
            <a:pPr>
              <a:buFont typeface="Arial" panose="020B0604020202020204" pitchFamily="34" charset="0"/>
              <a:buChar char="•"/>
            </a:pPr>
            <a:r>
              <a:rPr lang="en-US" sz="2400" b="1" kern="1200" dirty="0">
                <a:solidFill>
                  <a:schemeClr val="bg2">
                    <a:lumMod val="50000"/>
                    <a:lumOff val="50000"/>
                  </a:schemeClr>
                </a:solidFill>
                <a:latin typeface="Inter"/>
                <a:ea typeface="+mn-ea"/>
              </a:rPr>
              <a:t>Weighted Mean: </a:t>
            </a:r>
            <a:r>
              <a:rPr lang="en-US" sz="2400" kern="1200" dirty="0">
                <a:solidFill>
                  <a:schemeClr val="bg2">
                    <a:lumMod val="50000"/>
                    <a:lumOff val="50000"/>
                  </a:schemeClr>
                </a:solidFill>
                <a:latin typeface="Inter"/>
                <a:ea typeface="+mn-ea"/>
              </a:rPr>
              <a:t>A mean where some values contribute more than others.</a:t>
            </a:r>
          </a:p>
          <a:p>
            <a:pPr>
              <a:buFont typeface="Arial" panose="020B0604020202020204" pitchFamily="34" charset="0"/>
              <a:buChar char="•"/>
            </a:pPr>
            <a:r>
              <a:rPr lang="en-US" sz="2400" kern="1200" dirty="0">
                <a:solidFill>
                  <a:schemeClr val="bg2">
                    <a:lumMod val="50000"/>
                    <a:lumOff val="50000"/>
                  </a:schemeClr>
                </a:solidFill>
                <a:latin typeface="Inter"/>
                <a:ea typeface="+mn-ea"/>
              </a:rPr>
              <a:t>When the weights add to 1: just multiply each weight by the matching value and sum it all up</a:t>
            </a:r>
          </a:p>
          <a:p>
            <a:pPr>
              <a:buFont typeface="Arial" panose="020B0604020202020204" pitchFamily="34" charset="0"/>
              <a:buChar char="•"/>
            </a:pPr>
            <a:r>
              <a:rPr lang="en-US" sz="2400" kern="1200" dirty="0">
                <a:solidFill>
                  <a:schemeClr val="bg2">
                    <a:lumMod val="50000"/>
                    <a:lumOff val="50000"/>
                  </a:schemeClr>
                </a:solidFill>
                <a:latin typeface="Inter"/>
                <a:ea typeface="+mn-ea"/>
              </a:rPr>
              <a:t>Otherwise, multiply each weight </a:t>
            </a:r>
            <a:r>
              <a:rPr lang="en-US" sz="2400" b="1" kern="1200" dirty="0">
                <a:solidFill>
                  <a:schemeClr val="bg2">
                    <a:lumMod val="50000"/>
                    <a:lumOff val="50000"/>
                  </a:schemeClr>
                </a:solidFill>
                <a:latin typeface="Inter"/>
                <a:ea typeface="+mn-ea"/>
              </a:rPr>
              <a:t>w</a:t>
            </a:r>
            <a:r>
              <a:rPr lang="en-US" sz="2400" kern="1200" dirty="0">
                <a:solidFill>
                  <a:schemeClr val="bg2">
                    <a:lumMod val="50000"/>
                    <a:lumOff val="50000"/>
                  </a:schemeClr>
                </a:solidFill>
                <a:latin typeface="Inter"/>
                <a:ea typeface="+mn-ea"/>
              </a:rPr>
              <a:t> by its matching value </a:t>
            </a:r>
            <a:r>
              <a:rPr lang="en-US" sz="2400" b="1" kern="1200" dirty="0">
                <a:solidFill>
                  <a:schemeClr val="bg2">
                    <a:lumMod val="50000"/>
                    <a:lumOff val="50000"/>
                  </a:schemeClr>
                </a:solidFill>
                <a:latin typeface="Inter"/>
                <a:ea typeface="+mn-ea"/>
              </a:rPr>
              <a:t>x</a:t>
            </a:r>
            <a:r>
              <a:rPr lang="en-US" sz="2400" kern="1200" dirty="0">
                <a:solidFill>
                  <a:schemeClr val="bg2">
                    <a:lumMod val="50000"/>
                    <a:lumOff val="50000"/>
                  </a:schemeClr>
                </a:solidFill>
                <a:latin typeface="Inter"/>
                <a:ea typeface="+mn-ea"/>
              </a:rPr>
              <a:t>, sum that all up, and divide by the sum of weights:</a:t>
            </a:r>
          </a:p>
        </p:txBody>
      </p:sp>
      <p:pic>
        <p:nvPicPr>
          <p:cNvPr id="5" name="Picture 4">
            <a:extLst>
              <a:ext uri="{FF2B5EF4-FFF2-40B4-BE49-F238E27FC236}">
                <a16:creationId xmlns:a16="http://schemas.microsoft.com/office/drawing/2014/main" id="{0D4ADD21-A252-44ED-9CF5-2BCC2F3D1F9E}"/>
              </a:ext>
            </a:extLst>
          </p:cNvPr>
          <p:cNvPicPr>
            <a:picLocks noChangeAspect="1"/>
          </p:cNvPicPr>
          <p:nvPr/>
        </p:nvPicPr>
        <p:blipFill>
          <a:blip r:embed="rId2"/>
          <a:stretch>
            <a:fillRect/>
          </a:stretch>
        </p:blipFill>
        <p:spPr>
          <a:xfrm>
            <a:off x="2463122" y="3393299"/>
            <a:ext cx="3429000" cy="1038225"/>
          </a:xfrm>
          <a:prstGeom prst="rect">
            <a:avLst/>
          </a:prstGeom>
        </p:spPr>
      </p:pic>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0B7488B4-A8EF-4FEA-A559-C19F24E4692E}"/>
                  </a:ext>
                </a:extLst>
              </p14:cNvPr>
              <p14:cNvContentPartPr/>
              <p14:nvPr/>
            </p14:nvContentPartPr>
            <p14:xfrm>
              <a:off x="247680" y="9360"/>
              <a:ext cx="8344080" cy="3396240"/>
            </p14:xfrm>
          </p:contentPart>
        </mc:Choice>
        <mc:Fallback xmlns="">
          <p:pic>
            <p:nvPicPr>
              <p:cNvPr id="2" name="Ink 1">
                <a:extLst>
                  <a:ext uri="{FF2B5EF4-FFF2-40B4-BE49-F238E27FC236}">
                    <a16:creationId xmlns:a16="http://schemas.microsoft.com/office/drawing/2014/main" id="{0B7488B4-A8EF-4FEA-A559-C19F24E4692E}"/>
                  </a:ext>
                </a:extLst>
              </p:cNvPr>
              <p:cNvPicPr/>
              <p:nvPr/>
            </p:nvPicPr>
            <p:blipFill>
              <a:blip r:embed="rId4"/>
              <a:stretch>
                <a:fillRect/>
              </a:stretch>
            </p:blipFill>
            <p:spPr>
              <a:xfrm>
                <a:off x="238320" y="0"/>
                <a:ext cx="8362800" cy="3414960"/>
              </a:xfrm>
              <a:prstGeom prst="rect">
                <a:avLst/>
              </a:prstGeom>
            </p:spPr>
          </p:pic>
        </mc:Fallback>
      </mc:AlternateContent>
    </p:spTree>
    <p:extLst>
      <p:ext uri="{BB962C8B-B14F-4D97-AF65-F5344CB8AC3E}">
        <p14:creationId xmlns:p14="http://schemas.microsoft.com/office/powerpoint/2010/main" val="2486453715"/>
      </p:ext>
    </p:extLst>
  </p:cSld>
  <p:clrMapOvr>
    <a:masterClrMapping/>
  </p:clrMapOvr>
  <p:transition spd="med">
    <p:wipe dir="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4106" name="think-cell Slide" r:id="rId6" imgW="529" imgH="530" progId="TCLayout.ActiveDocument.1">
                  <p:embed/>
                </p:oleObj>
              </mc:Choice>
              <mc:Fallback>
                <p:oleObj name="think-cell Slide" r:id="rId6"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7"/>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pic>
        <p:nvPicPr>
          <p:cNvPr id="18" name="Picture 17" descr="Diagram&#10;&#10;Description automatically generated with medium confidence">
            <a:extLst>
              <a:ext uri="{FF2B5EF4-FFF2-40B4-BE49-F238E27FC236}">
                <a16:creationId xmlns:a16="http://schemas.microsoft.com/office/drawing/2014/main" id="{E58CA81C-C243-431A-9819-E31BF6C52308}"/>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0" y="0"/>
            <a:ext cx="9144000" cy="5143500"/>
          </a:xfrm>
          <a:prstGeom prst="rect">
            <a:avLst/>
          </a:prstGeom>
        </p:spPr>
      </p:pic>
      <p:sp>
        <p:nvSpPr>
          <p:cNvPr id="22" name="Title 32">
            <a:extLst>
              <a:ext uri="{FF2B5EF4-FFF2-40B4-BE49-F238E27FC236}">
                <a16:creationId xmlns:a16="http://schemas.microsoft.com/office/drawing/2014/main" id="{7DE4F7AF-87AC-4CE0-9C4D-A5C0A40E4C2E}"/>
              </a:ext>
            </a:extLst>
          </p:cNvPr>
          <p:cNvSpPr>
            <a:spLocks noGrp="1"/>
          </p:cNvSpPr>
          <p:nvPr>
            <p:ph type="title"/>
          </p:nvPr>
        </p:nvSpPr>
        <p:spPr>
          <a:xfrm>
            <a:off x="75610" y="1249967"/>
            <a:ext cx="8992779" cy="3035543"/>
          </a:xfrm>
        </p:spPr>
        <p:txBody>
          <a:bodyPr/>
          <a:lstStyle/>
          <a:p>
            <a:r>
              <a:rPr lang="en-US" sz="4800" dirty="0">
                <a:solidFill>
                  <a:schemeClr val="tx2"/>
                </a:solidFill>
              </a:rPr>
              <a:t>Measure of  </a:t>
            </a:r>
            <a:br>
              <a:rPr lang="en-US" sz="4800" dirty="0">
                <a:solidFill>
                  <a:schemeClr val="tx2"/>
                </a:solidFill>
              </a:rPr>
            </a:br>
            <a:r>
              <a:rPr lang="en-US" sz="4800" dirty="0">
                <a:solidFill>
                  <a:schemeClr val="tx2"/>
                </a:solidFill>
              </a:rPr>
              <a:t>Variability</a:t>
            </a:r>
            <a:br>
              <a:rPr lang="en-US" dirty="0"/>
            </a:br>
            <a:br>
              <a:rPr lang="en-US" dirty="0"/>
            </a:br>
            <a:r>
              <a:rPr lang="en-US" dirty="0"/>
              <a:t> </a:t>
            </a:r>
          </a:p>
        </p:txBody>
      </p:sp>
      <mc:AlternateContent xmlns:mc="http://schemas.openxmlformats.org/markup-compatibility/2006" xmlns:p14="http://schemas.microsoft.com/office/powerpoint/2010/main">
        <mc:Choice Requires="p14">
          <p:contentPart p14:bwMode="auto" r:id="rId10">
            <p14:nvContentPartPr>
              <p14:cNvPr id="2" name="Ink 1">
                <a:extLst>
                  <a:ext uri="{FF2B5EF4-FFF2-40B4-BE49-F238E27FC236}">
                    <a16:creationId xmlns:a16="http://schemas.microsoft.com/office/drawing/2014/main" id="{86828DE9-D34D-4436-A8F2-C3BC4BFF241A}"/>
                  </a:ext>
                </a:extLst>
              </p14:cNvPr>
              <p14:cNvContentPartPr/>
              <p14:nvPr/>
            </p14:nvContentPartPr>
            <p14:xfrm>
              <a:off x="1166760" y="119160"/>
              <a:ext cx="2867400" cy="2481480"/>
            </p14:xfrm>
          </p:contentPart>
        </mc:Choice>
        <mc:Fallback xmlns="">
          <p:pic>
            <p:nvPicPr>
              <p:cNvPr id="2" name="Ink 1">
                <a:extLst>
                  <a:ext uri="{FF2B5EF4-FFF2-40B4-BE49-F238E27FC236}">
                    <a16:creationId xmlns:a16="http://schemas.microsoft.com/office/drawing/2014/main" id="{86828DE9-D34D-4436-A8F2-C3BC4BFF241A}"/>
                  </a:ext>
                </a:extLst>
              </p:cNvPr>
              <p:cNvPicPr/>
              <p:nvPr/>
            </p:nvPicPr>
            <p:blipFill>
              <a:blip r:embed="rId11"/>
              <a:stretch>
                <a:fillRect/>
              </a:stretch>
            </p:blipFill>
            <p:spPr>
              <a:xfrm>
                <a:off x="1157400" y="109800"/>
                <a:ext cx="2886120" cy="2500200"/>
              </a:xfrm>
              <a:prstGeom prst="rect">
                <a:avLst/>
              </a:prstGeom>
            </p:spPr>
          </p:pic>
        </mc:Fallback>
      </mc:AlternateContent>
    </p:spTree>
    <p:extLst>
      <p:ext uri="{BB962C8B-B14F-4D97-AF65-F5344CB8AC3E}">
        <p14:creationId xmlns:p14="http://schemas.microsoft.com/office/powerpoint/2010/main" val="2675433104"/>
      </p:ext>
    </p:extLst>
  </p:cSld>
  <p:clrMapOvr>
    <a:masterClrMapping/>
  </p:clrMapOvr>
  <p:transition spd="med">
    <p:wipe dir="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93D5C2-409B-4595-BFEF-49120103B5E7}"/>
              </a:ext>
            </a:extLst>
          </p:cNvPr>
          <p:cNvSpPr>
            <a:spLocks noGrp="1"/>
          </p:cNvSpPr>
          <p:nvPr>
            <p:ph type="title"/>
          </p:nvPr>
        </p:nvSpPr>
        <p:spPr>
          <a:xfrm>
            <a:off x="0" y="49589"/>
            <a:ext cx="8229600" cy="637794"/>
          </a:xfrm>
        </p:spPr>
        <p:txBody>
          <a:bodyPr/>
          <a:lstStyle/>
          <a:p>
            <a:r>
              <a:rPr lang="en-US" dirty="0"/>
              <a:t>Measure of Variability </a:t>
            </a:r>
          </a:p>
        </p:txBody>
      </p:sp>
      <p:sp>
        <p:nvSpPr>
          <p:cNvPr id="3" name="TextBox 2">
            <a:extLst>
              <a:ext uri="{FF2B5EF4-FFF2-40B4-BE49-F238E27FC236}">
                <a16:creationId xmlns:a16="http://schemas.microsoft.com/office/drawing/2014/main" id="{8B0A8520-70DC-4944-9F76-6EF1C18E6612}"/>
              </a:ext>
            </a:extLst>
          </p:cNvPr>
          <p:cNvSpPr txBox="1"/>
          <p:nvPr/>
        </p:nvSpPr>
        <p:spPr>
          <a:xfrm>
            <a:off x="104701" y="687383"/>
            <a:ext cx="8732171" cy="3862596"/>
          </a:xfrm>
          <a:prstGeom prst="rect">
            <a:avLst/>
          </a:prstGeom>
          <a:noFill/>
        </p:spPr>
        <p:txBody>
          <a:bodyPr wrap="square" rtlCol="0">
            <a:spAutoFit/>
          </a:bodyPr>
          <a:lstStyle/>
          <a:p>
            <a:pPr>
              <a:spcBef>
                <a:spcPts val="0"/>
              </a:spcBef>
              <a:spcAft>
                <a:spcPts val="0"/>
              </a:spcAft>
              <a:buClr>
                <a:schemeClr val="bg1"/>
              </a:buClr>
            </a:pPr>
            <a:r>
              <a:rPr lang="en-US" sz="2000" b="1" dirty="0">
                <a:solidFill>
                  <a:schemeClr val="bg2">
                    <a:lumMod val="50000"/>
                    <a:lumOff val="50000"/>
                  </a:schemeClr>
                </a:solidFill>
                <a:latin typeface="Inter"/>
                <a:cs typeface="Arial" panose="020B0604020202020204" pitchFamily="34" charset="0"/>
              </a:rPr>
              <a:t>Variability</a:t>
            </a:r>
            <a:r>
              <a:rPr lang="en-US" sz="2000" dirty="0">
                <a:solidFill>
                  <a:schemeClr val="bg2">
                    <a:lumMod val="50000"/>
                    <a:lumOff val="50000"/>
                  </a:schemeClr>
                </a:solidFill>
                <a:latin typeface="Inter"/>
                <a:cs typeface="Arial" panose="020B0604020202020204" pitchFamily="34" charset="0"/>
              </a:rPr>
              <a:t> describes how </a:t>
            </a:r>
            <a:r>
              <a:rPr lang="en-US" sz="2000" b="1" i="1" dirty="0">
                <a:solidFill>
                  <a:schemeClr val="bg2">
                    <a:lumMod val="50000"/>
                    <a:lumOff val="50000"/>
                  </a:schemeClr>
                </a:solidFill>
                <a:latin typeface="Inter"/>
                <a:cs typeface="Arial" panose="020B0604020202020204" pitchFamily="34" charset="0"/>
              </a:rPr>
              <a:t>far apart data points lie from each other </a:t>
            </a:r>
            <a:r>
              <a:rPr lang="en-US" sz="2000" dirty="0">
                <a:solidFill>
                  <a:schemeClr val="bg2">
                    <a:lumMod val="50000"/>
                    <a:lumOff val="50000"/>
                  </a:schemeClr>
                </a:solidFill>
                <a:latin typeface="Inter"/>
                <a:cs typeface="Arial" panose="020B0604020202020204" pitchFamily="34" charset="0"/>
              </a:rPr>
              <a:t>and from the center of a distribution. Along with measures of central tendency, measures of variability give you descriptive statistics that summarize your data.</a:t>
            </a:r>
          </a:p>
          <a:p>
            <a:pPr>
              <a:spcBef>
                <a:spcPts val="0"/>
              </a:spcBef>
              <a:spcAft>
                <a:spcPts val="0"/>
              </a:spcAft>
              <a:buClr>
                <a:schemeClr val="bg1"/>
              </a:buClr>
            </a:pPr>
            <a:endParaRPr lang="en-US" sz="1100" b="1" dirty="0">
              <a:solidFill>
                <a:srgbClr val="000000"/>
              </a:solidFill>
              <a:latin typeface="Lato" panose="020F0502020204030203" pitchFamily="34" charset="0"/>
            </a:endParaRPr>
          </a:p>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Variability is also referred to as </a:t>
            </a:r>
            <a:r>
              <a:rPr lang="en-US" sz="2000" b="1" dirty="0">
                <a:solidFill>
                  <a:schemeClr val="bg2">
                    <a:lumMod val="50000"/>
                    <a:lumOff val="50000"/>
                  </a:schemeClr>
                </a:solidFill>
                <a:latin typeface="Inter"/>
                <a:cs typeface="Arial" panose="020B0604020202020204" pitchFamily="34" charset="0"/>
              </a:rPr>
              <a:t>spread</a:t>
            </a:r>
            <a:r>
              <a:rPr lang="en-US" sz="2000" dirty="0">
                <a:solidFill>
                  <a:schemeClr val="bg2">
                    <a:lumMod val="50000"/>
                    <a:lumOff val="50000"/>
                  </a:schemeClr>
                </a:solidFill>
                <a:latin typeface="Inter"/>
                <a:cs typeface="Arial" panose="020B0604020202020204" pitchFamily="34" charset="0"/>
              </a:rPr>
              <a:t>, </a:t>
            </a:r>
            <a:r>
              <a:rPr lang="en-US" sz="2000" b="1" dirty="0">
                <a:solidFill>
                  <a:schemeClr val="bg2">
                    <a:lumMod val="50000"/>
                    <a:lumOff val="50000"/>
                  </a:schemeClr>
                </a:solidFill>
                <a:latin typeface="Inter"/>
                <a:cs typeface="Arial" panose="020B0604020202020204" pitchFamily="34" charset="0"/>
              </a:rPr>
              <a:t>scatter</a:t>
            </a:r>
            <a:r>
              <a:rPr lang="en-US" sz="2000" dirty="0">
                <a:solidFill>
                  <a:schemeClr val="bg2">
                    <a:lumMod val="50000"/>
                    <a:lumOff val="50000"/>
                  </a:schemeClr>
                </a:solidFill>
                <a:latin typeface="Inter"/>
                <a:cs typeface="Arial" panose="020B0604020202020204" pitchFamily="34" charset="0"/>
              </a:rPr>
              <a:t> or </a:t>
            </a:r>
            <a:r>
              <a:rPr lang="en-US" sz="2000" b="1" dirty="0">
                <a:solidFill>
                  <a:schemeClr val="bg2">
                    <a:lumMod val="50000"/>
                    <a:lumOff val="50000"/>
                  </a:schemeClr>
                </a:solidFill>
                <a:latin typeface="Inter"/>
                <a:cs typeface="Arial" panose="020B0604020202020204" pitchFamily="34" charset="0"/>
              </a:rPr>
              <a:t>dispersion</a:t>
            </a:r>
            <a:r>
              <a:rPr lang="en-US" sz="2000" dirty="0">
                <a:solidFill>
                  <a:schemeClr val="bg2">
                    <a:lumMod val="50000"/>
                    <a:lumOff val="50000"/>
                  </a:schemeClr>
                </a:solidFill>
                <a:latin typeface="Inter"/>
                <a:cs typeface="Arial" panose="020B0604020202020204" pitchFamily="34" charset="0"/>
              </a:rPr>
              <a:t>. It is most commonly measured with the following:</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2000" b="1" dirty="0">
                <a:solidFill>
                  <a:schemeClr val="accent1"/>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Range</a:t>
            </a:r>
            <a:r>
              <a:rPr lang="en-US" sz="2000" b="1" dirty="0">
                <a:solidFill>
                  <a:schemeClr val="accent1"/>
                </a:solidFill>
                <a:latin typeface="Inter"/>
                <a:cs typeface="Arial" panose="020B0604020202020204" pitchFamily="34" charset="0"/>
              </a:rPr>
              <a:t>: </a:t>
            </a:r>
            <a:r>
              <a:rPr lang="en-US" sz="2000" b="1" dirty="0">
                <a:solidFill>
                  <a:schemeClr val="bg2">
                    <a:lumMod val="50000"/>
                    <a:lumOff val="50000"/>
                  </a:schemeClr>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		the difference between the highest and lowest values</a:t>
            </a:r>
          </a:p>
          <a:p>
            <a:pPr>
              <a:spcBef>
                <a:spcPts val="0"/>
              </a:spcBef>
              <a:spcAft>
                <a:spcPts val="0"/>
              </a:spcAft>
              <a:buClr>
                <a:schemeClr val="bg1"/>
              </a:buClr>
            </a:pPr>
            <a:r>
              <a:rPr lang="en-US" sz="2000" b="1" u="sng" dirty="0">
                <a:solidFill>
                  <a:schemeClr val="accent1"/>
                </a:solidFill>
                <a:latin typeface="Inter"/>
                <a:cs typeface="Arial" panose="020B0604020202020204" pitchFamily="34" charset="0"/>
              </a:rPr>
              <a:t>Quartile:</a:t>
            </a:r>
            <a:r>
              <a:rPr lang="en-US" sz="2000" dirty="0">
                <a:solidFill>
                  <a:schemeClr val="bg2">
                    <a:lumMod val="50000"/>
                    <a:lumOff val="50000"/>
                  </a:schemeClr>
                </a:solidFill>
                <a:latin typeface="Inter"/>
                <a:cs typeface="Arial" panose="020B0604020202020204" pitchFamily="34" charset="0"/>
              </a:rPr>
              <a:t> 		that divide a list of numbers into quarters</a:t>
            </a:r>
            <a:endParaRPr lang="en-US" sz="2000" b="1" u="sng" dirty="0">
              <a:solidFill>
                <a:schemeClr val="accent1"/>
              </a:solidFill>
              <a:latin typeface="Inter"/>
              <a:cs typeface="Arial" panose="020B0604020202020204" pitchFamily="34" charset="0"/>
            </a:endParaRPr>
          </a:p>
          <a:p>
            <a:pPr>
              <a:spcBef>
                <a:spcPts val="0"/>
              </a:spcBef>
              <a:spcAft>
                <a:spcPts val="0"/>
              </a:spcAft>
              <a:buClr>
                <a:schemeClr val="bg1"/>
              </a:buClr>
            </a:pPr>
            <a:r>
              <a:rPr lang="en-US" sz="2000" b="1" dirty="0">
                <a:solidFill>
                  <a:schemeClr val="accent1"/>
                </a:solidFill>
                <a:latin typeface="Inter"/>
                <a:cs typeface="Arial" panose="020B0604020202020204" pitchFamily="34" charset="0"/>
                <a:hlinkClick r:id="rId3">
                  <a:extLst>
                    <a:ext uri="{A12FA001-AC4F-418D-AE19-62706E023703}">
                      <ahyp:hlinkClr xmlns:ahyp="http://schemas.microsoft.com/office/drawing/2018/hyperlinkcolor" val="tx"/>
                    </a:ext>
                  </a:extLst>
                </a:hlinkClick>
              </a:rPr>
              <a:t>Interquartile range</a:t>
            </a:r>
            <a:r>
              <a:rPr lang="en-US" sz="2000" b="1" dirty="0">
                <a:solidFill>
                  <a:schemeClr val="accent1"/>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	the range of the middle half of a distribution</a:t>
            </a:r>
          </a:p>
          <a:p>
            <a:pPr>
              <a:spcBef>
                <a:spcPts val="0"/>
              </a:spcBef>
              <a:spcAft>
                <a:spcPts val="0"/>
              </a:spcAft>
              <a:buClr>
                <a:schemeClr val="bg1"/>
              </a:buClr>
            </a:pPr>
            <a:r>
              <a:rPr lang="en-US" sz="2000" b="1" dirty="0">
                <a:solidFill>
                  <a:schemeClr val="accent1"/>
                </a:solidFill>
                <a:latin typeface="Inter"/>
                <a:cs typeface="Arial" panose="020B0604020202020204" pitchFamily="34" charset="0"/>
                <a:hlinkClick r:id="rId4">
                  <a:extLst>
                    <a:ext uri="{A12FA001-AC4F-418D-AE19-62706E023703}">
                      <ahyp:hlinkClr xmlns:ahyp="http://schemas.microsoft.com/office/drawing/2018/hyperlinkcolor" val="tx"/>
                    </a:ext>
                  </a:extLst>
                </a:hlinkClick>
              </a:rPr>
              <a:t>Standard deviation</a:t>
            </a:r>
            <a:r>
              <a:rPr lang="en-US" sz="2000" b="1" dirty="0">
                <a:solidFill>
                  <a:schemeClr val="accent1"/>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	average distance from the mean</a:t>
            </a:r>
          </a:p>
          <a:p>
            <a:pPr>
              <a:spcBef>
                <a:spcPts val="0"/>
              </a:spcBef>
              <a:spcAft>
                <a:spcPts val="0"/>
              </a:spcAft>
              <a:buClr>
                <a:schemeClr val="bg1"/>
              </a:buClr>
            </a:pPr>
            <a:r>
              <a:rPr lang="en-US" sz="2000" b="1" dirty="0">
                <a:solidFill>
                  <a:schemeClr val="accent1"/>
                </a:solidFill>
                <a:latin typeface="Inter"/>
                <a:cs typeface="Arial" panose="020B0604020202020204" pitchFamily="34" charset="0"/>
                <a:hlinkClick r:id="rId5">
                  <a:extLst>
                    <a:ext uri="{A12FA001-AC4F-418D-AE19-62706E023703}">
                      <ahyp:hlinkClr xmlns:ahyp="http://schemas.microsoft.com/office/drawing/2018/hyperlinkcolor" val="tx"/>
                    </a:ext>
                  </a:extLst>
                </a:hlinkClick>
              </a:rPr>
              <a:t>Variance</a:t>
            </a:r>
            <a:r>
              <a:rPr lang="en-US" sz="2000" b="1" dirty="0">
                <a:solidFill>
                  <a:schemeClr val="accent1"/>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		average of squared distances from the mean</a:t>
            </a:r>
          </a:p>
          <a:p>
            <a:pPr>
              <a:spcBef>
                <a:spcPts val="0"/>
              </a:spcBef>
              <a:spcAft>
                <a:spcPts val="0"/>
              </a:spcAft>
              <a:buClr>
                <a:schemeClr val="bg1"/>
              </a:buClr>
            </a:pPr>
            <a:endParaRPr lang="en-US" sz="1400" dirty="0">
              <a:solidFill>
                <a:schemeClr val="bg2"/>
              </a:solidFill>
              <a:latin typeface="+mn-lt"/>
            </a:endParaRPr>
          </a:p>
        </p:txBody>
      </p:sp>
      <mc:AlternateContent xmlns:mc="http://schemas.openxmlformats.org/markup-compatibility/2006" xmlns:p14="http://schemas.microsoft.com/office/powerpoint/2010/main">
        <mc:Choice Requires="p14">
          <p:contentPart p14:bwMode="auto" r:id="rId6">
            <p14:nvContentPartPr>
              <p14:cNvPr id="4" name="Ink 3">
                <a:extLst>
                  <a:ext uri="{FF2B5EF4-FFF2-40B4-BE49-F238E27FC236}">
                    <a16:creationId xmlns:a16="http://schemas.microsoft.com/office/drawing/2014/main" id="{64540063-DACA-436E-AE11-E535A539D055}"/>
                  </a:ext>
                </a:extLst>
              </p14:cNvPr>
              <p14:cNvContentPartPr/>
              <p14:nvPr/>
            </p14:nvContentPartPr>
            <p14:xfrm>
              <a:off x="61920" y="85680"/>
              <a:ext cx="8606160" cy="4477320"/>
            </p14:xfrm>
          </p:contentPart>
        </mc:Choice>
        <mc:Fallback xmlns="">
          <p:pic>
            <p:nvPicPr>
              <p:cNvPr id="4" name="Ink 3">
                <a:extLst>
                  <a:ext uri="{FF2B5EF4-FFF2-40B4-BE49-F238E27FC236}">
                    <a16:creationId xmlns:a16="http://schemas.microsoft.com/office/drawing/2014/main" id="{64540063-DACA-436E-AE11-E535A539D055}"/>
                  </a:ext>
                </a:extLst>
              </p:cNvPr>
              <p:cNvPicPr/>
              <p:nvPr/>
            </p:nvPicPr>
            <p:blipFill>
              <a:blip r:embed="rId7"/>
              <a:stretch>
                <a:fillRect/>
              </a:stretch>
            </p:blipFill>
            <p:spPr>
              <a:xfrm>
                <a:off x="52560" y="76320"/>
                <a:ext cx="8624880" cy="4496040"/>
              </a:xfrm>
              <a:prstGeom prst="rect">
                <a:avLst/>
              </a:prstGeom>
            </p:spPr>
          </p:pic>
        </mc:Fallback>
      </mc:AlternateContent>
    </p:spTree>
    <p:extLst>
      <p:ext uri="{BB962C8B-B14F-4D97-AF65-F5344CB8AC3E}">
        <p14:creationId xmlns:p14="http://schemas.microsoft.com/office/powerpoint/2010/main" val="891461818"/>
      </p:ext>
    </p:extLst>
  </p:cSld>
  <p:clrMapOvr>
    <a:masterClrMapping/>
  </p:clrMapOvr>
  <p:transition spd="med">
    <p:wipe dir="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D8BA4-EE20-4594-86BE-1831B7FC5366}"/>
              </a:ext>
            </a:extLst>
          </p:cNvPr>
          <p:cNvSpPr>
            <a:spLocks noGrp="1"/>
          </p:cNvSpPr>
          <p:nvPr>
            <p:ph type="title"/>
          </p:nvPr>
        </p:nvSpPr>
        <p:spPr>
          <a:xfrm>
            <a:off x="0" y="0"/>
            <a:ext cx="8229600" cy="637794"/>
          </a:xfrm>
        </p:spPr>
        <p:txBody>
          <a:bodyPr/>
          <a:lstStyle/>
          <a:p>
            <a:r>
              <a:rPr lang="en-US" dirty="0"/>
              <a:t>Why does variability matters? </a:t>
            </a:r>
          </a:p>
        </p:txBody>
      </p:sp>
      <p:pic>
        <p:nvPicPr>
          <p:cNvPr id="4" name="Picture 3">
            <a:extLst>
              <a:ext uri="{FF2B5EF4-FFF2-40B4-BE49-F238E27FC236}">
                <a16:creationId xmlns:a16="http://schemas.microsoft.com/office/drawing/2014/main" id="{B28A3692-9C0A-4265-A9CA-4E9ADB430840}"/>
              </a:ext>
            </a:extLst>
          </p:cNvPr>
          <p:cNvPicPr>
            <a:picLocks noChangeAspect="1"/>
          </p:cNvPicPr>
          <p:nvPr/>
        </p:nvPicPr>
        <p:blipFill>
          <a:blip r:embed="rId2"/>
          <a:stretch>
            <a:fillRect/>
          </a:stretch>
        </p:blipFill>
        <p:spPr>
          <a:xfrm>
            <a:off x="5535261" y="832512"/>
            <a:ext cx="3280672" cy="2508493"/>
          </a:xfrm>
          <a:prstGeom prst="rect">
            <a:avLst/>
          </a:prstGeom>
        </p:spPr>
      </p:pic>
      <p:sp>
        <p:nvSpPr>
          <p:cNvPr id="5" name="TextBox 4">
            <a:extLst>
              <a:ext uri="{FF2B5EF4-FFF2-40B4-BE49-F238E27FC236}">
                <a16:creationId xmlns:a16="http://schemas.microsoft.com/office/drawing/2014/main" id="{C16DED31-9843-4D58-962A-5B07E801B359}"/>
              </a:ext>
            </a:extLst>
          </p:cNvPr>
          <p:cNvSpPr txBox="1"/>
          <p:nvPr/>
        </p:nvSpPr>
        <p:spPr>
          <a:xfrm>
            <a:off x="-1" y="481631"/>
            <a:ext cx="5349651" cy="4170372"/>
          </a:xfrm>
          <a:prstGeom prst="rect">
            <a:avLst/>
          </a:prstGeom>
          <a:noFill/>
        </p:spPr>
        <p:txBody>
          <a:bodyPr wrap="square" rtlCol="0">
            <a:spAutoFit/>
          </a:bodyPr>
          <a:lstStyle/>
          <a:p>
            <a:pPr>
              <a:spcBef>
                <a:spcPts val="0"/>
              </a:spcBef>
              <a:spcAft>
                <a:spcPts val="0"/>
              </a:spcAft>
              <a:buClr>
                <a:schemeClr val="bg1"/>
              </a:buClr>
            </a:pPr>
            <a:r>
              <a:rPr lang="en-US" dirty="0">
                <a:solidFill>
                  <a:schemeClr val="bg2">
                    <a:lumMod val="50000"/>
                    <a:lumOff val="50000"/>
                  </a:schemeClr>
                </a:solidFill>
                <a:latin typeface="Inter"/>
                <a:cs typeface="Arial" panose="020B0604020202020204" pitchFamily="34" charset="0"/>
              </a:rPr>
              <a:t>Ex : Variability in normal distribution </a:t>
            </a:r>
          </a:p>
          <a:p>
            <a:pPr>
              <a:spcBef>
                <a:spcPts val="0"/>
              </a:spcBef>
              <a:spcAft>
                <a:spcPts val="0"/>
              </a:spcAft>
              <a:buClr>
                <a:schemeClr val="bg1"/>
              </a:buClr>
            </a:pPr>
            <a:endParaRPr lang="en-US" dirty="0">
              <a:solidFill>
                <a:schemeClr val="bg2">
                  <a:lumMod val="50000"/>
                  <a:lumOff val="50000"/>
                </a:schemeClr>
              </a:solidFill>
              <a:latin typeface="Inter"/>
              <a:cs typeface="Arial" panose="020B0604020202020204" pitchFamily="34" charset="0"/>
            </a:endParaRPr>
          </a:p>
          <a:p>
            <a:pPr algn="l"/>
            <a:r>
              <a:rPr lang="en-US" dirty="0">
                <a:solidFill>
                  <a:schemeClr val="bg2">
                    <a:lumMod val="50000"/>
                    <a:lumOff val="50000"/>
                  </a:schemeClr>
                </a:solidFill>
                <a:latin typeface="Inter"/>
                <a:cs typeface="Arial" panose="020B0604020202020204" pitchFamily="34" charset="0"/>
              </a:rPr>
              <a:t>Using </a:t>
            </a:r>
            <a:r>
              <a:rPr lang="en-US" dirty="0">
                <a:solidFill>
                  <a:schemeClr val="bg2">
                    <a:lumMod val="50000"/>
                    <a:lumOff val="50000"/>
                  </a:schemeClr>
                </a:solidFill>
                <a:latin typeface="Inter"/>
                <a:cs typeface="Arial" panose="020B0604020202020204" pitchFamily="34" charset="0"/>
                <a:hlinkClick r:id="rId3">
                  <a:extLst>
                    <a:ext uri="{A12FA001-AC4F-418D-AE19-62706E023703}">
                      <ahyp:hlinkClr xmlns:ahyp="http://schemas.microsoft.com/office/drawing/2018/hyperlinkcolor" val="tx"/>
                    </a:ext>
                  </a:extLst>
                </a:hlinkClick>
              </a:rPr>
              <a:t>simple random samples</a:t>
            </a:r>
            <a:r>
              <a:rPr lang="en-US" dirty="0">
                <a:solidFill>
                  <a:schemeClr val="bg2">
                    <a:lumMod val="50000"/>
                    <a:lumOff val="50000"/>
                  </a:schemeClr>
                </a:solidFill>
                <a:latin typeface="Inter"/>
                <a:cs typeface="Arial" panose="020B0604020202020204" pitchFamily="34" charset="0"/>
              </a:rPr>
              <a:t>, you collect data from 3 groups:</a:t>
            </a:r>
          </a:p>
          <a:p>
            <a:pPr algn="l"/>
            <a:endParaRPr lang="en-US" dirty="0">
              <a:solidFill>
                <a:schemeClr val="bg2">
                  <a:lumMod val="50000"/>
                  <a:lumOff val="50000"/>
                </a:schemeClr>
              </a:solidFill>
              <a:latin typeface="Inter"/>
              <a:cs typeface="Arial" panose="020B0604020202020204" pitchFamily="34" charset="0"/>
            </a:endParaRPr>
          </a:p>
          <a:p>
            <a:pPr algn="l"/>
            <a:r>
              <a:rPr lang="en-US" dirty="0">
                <a:solidFill>
                  <a:schemeClr val="accent1"/>
                </a:solidFill>
                <a:latin typeface="Inter"/>
                <a:cs typeface="Arial" panose="020B0604020202020204" pitchFamily="34" charset="0"/>
              </a:rPr>
              <a:t>Sample A: </a:t>
            </a:r>
            <a:r>
              <a:rPr lang="en-US" dirty="0">
                <a:solidFill>
                  <a:schemeClr val="bg2">
                    <a:lumMod val="50000"/>
                    <a:lumOff val="50000"/>
                  </a:schemeClr>
                </a:solidFill>
                <a:latin typeface="Inter"/>
                <a:cs typeface="Arial" panose="020B0604020202020204" pitchFamily="34" charset="0"/>
              </a:rPr>
              <a:t>high school students,</a:t>
            </a:r>
          </a:p>
          <a:p>
            <a:pPr algn="l"/>
            <a:r>
              <a:rPr lang="en-US" dirty="0">
                <a:solidFill>
                  <a:schemeClr val="accent1"/>
                </a:solidFill>
                <a:latin typeface="Inter"/>
                <a:cs typeface="Arial" panose="020B0604020202020204" pitchFamily="34" charset="0"/>
              </a:rPr>
              <a:t>Sample B: </a:t>
            </a:r>
            <a:r>
              <a:rPr lang="en-US" dirty="0">
                <a:solidFill>
                  <a:schemeClr val="bg2">
                    <a:lumMod val="50000"/>
                    <a:lumOff val="50000"/>
                  </a:schemeClr>
                </a:solidFill>
                <a:latin typeface="Inter"/>
                <a:cs typeface="Arial" panose="020B0604020202020204" pitchFamily="34" charset="0"/>
              </a:rPr>
              <a:t>college students,</a:t>
            </a:r>
          </a:p>
          <a:p>
            <a:pPr algn="l"/>
            <a:r>
              <a:rPr lang="en-US" dirty="0">
                <a:solidFill>
                  <a:schemeClr val="accent1"/>
                </a:solidFill>
                <a:latin typeface="Inter"/>
                <a:cs typeface="Arial" panose="020B0604020202020204" pitchFamily="34" charset="0"/>
              </a:rPr>
              <a:t>Sample C: </a:t>
            </a:r>
            <a:r>
              <a:rPr lang="en-US" dirty="0">
                <a:solidFill>
                  <a:schemeClr val="bg2">
                    <a:lumMod val="50000"/>
                    <a:lumOff val="50000"/>
                  </a:schemeClr>
                </a:solidFill>
                <a:latin typeface="Inter"/>
                <a:cs typeface="Arial" panose="020B0604020202020204" pitchFamily="34" charset="0"/>
              </a:rPr>
              <a:t>adult full-time employees.</a:t>
            </a:r>
          </a:p>
          <a:p>
            <a:pPr algn="l">
              <a:buFont typeface="Arial" panose="020B0604020202020204" pitchFamily="34" charset="0"/>
              <a:buChar char="•"/>
            </a:pPr>
            <a:endParaRPr lang="en-US" dirty="0">
              <a:solidFill>
                <a:schemeClr val="bg2">
                  <a:lumMod val="50000"/>
                  <a:lumOff val="50000"/>
                </a:schemeClr>
              </a:solidFill>
              <a:latin typeface="Inter"/>
              <a:cs typeface="Arial" panose="020B0604020202020204" pitchFamily="34" charset="0"/>
            </a:endParaRPr>
          </a:p>
          <a:p>
            <a:pPr algn="l">
              <a:buFont typeface="Arial" panose="020B0604020202020204" pitchFamily="34" charset="0"/>
              <a:buChar char="•"/>
            </a:pPr>
            <a:endParaRPr lang="en-US" dirty="0">
              <a:solidFill>
                <a:schemeClr val="bg2">
                  <a:lumMod val="50000"/>
                  <a:lumOff val="50000"/>
                </a:schemeClr>
              </a:solidFill>
              <a:latin typeface="Inter"/>
              <a:cs typeface="Arial" panose="020B0604020202020204" pitchFamily="34" charset="0"/>
            </a:endParaRPr>
          </a:p>
          <a:p>
            <a:pPr algn="l">
              <a:buFont typeface="Arial" panose="020B0604020202020204" pitchFamily="34" charset="0"/>
              <a:buChar char="•"/>
            </a:pPr>
            <a:endParaRPr lang="en-US" sz="1100" b="0" i="0" dirty="0">
              <a:solidFill>
                <a:srgbClr val="0D405F"/>
              </a:solidFill>
              <a:effectLst/>
              <a:latin typeface="Inter"/>
            </a:endParaRPr>
          </a:p>
          <a:p>
            <a:pPr>
              <a:spcBef>
                <a:spcPts val="0"/>
              </a:spcBef>
              <a:spcAft>
                <a:spcPts val="0"/>
              </a:spcAft>
              <a:buClr>
                <a:schemeClr val="bg1"/>
              </a:buClr>
            </a:pPr>
            <a:endParaRPr lang="en-US" sz="1400" dirty="0" err="1">
              <a:solidFill>
                <a:schemeClr val="bg2"/>
              </a:solidFill>
              <a:latin typeface="+mn-lt"/>
            </a:endParaRPr>
          </a:p>
        </p:txBody>
      </p:sp>
      <p:sp>
        <p:nvSpPr>
          <p:cNvPr id="6" name="TextBox 5">
            <a:extLst>
              <a:ext uri="{FF2B5EF4-FFF2-40B4-BE49-F238E27FC236}">
                <a16:creationId xmlns:a16="http://schemas.microsoft.com/office/drawing/2014/main" id="{DA648542-B575-4307-A4F5-A40FCCDE0A16}"/>
              </a:ext>
            </a:extLst>
          </p:cNvPr>
          <p:cNvSpPr txBox="1"/>
          <p:nvPr/>
        </p:nvSpPr>
        <p:spPr>
          <a:xfrm>
            <a:off x="62821" y="3657600"/>
            <a:ext cx="8829894" cy="1384995"/>
          </a:xfrm>
          <a:prstGeom prst="rect">
            <a:avLst/>
          </a:prstGeom>
          <a:noFill/>
        </p:spPr>
        <p:txBody>
          <a:bodyPr wrap="square" rtlCol="0">
            <a:spAutoFit/>
          </a:bodyPr>
          <a:lstStyle/>
          <a:p>
            <a:pPr algn="l"/>
            <a:r>
              <a:rPr lang="en-US" sz="1400" dirty="0">
                <a:solidFill>
                  <a:schemeClr val="bg2">
                    <a:lumMod val="50000"/>
                    <a:lumOff val="50000"/>
                  </a:schemeClr>
                </a:solidFill>
                <a:latin typeface="Inter"/>
                <a:cs typeface="Arial" panose="020B0604020202020204" pitchFamily="34" charset="0"/>
              </a:rPr>
              <a:t>All three of your samples have the same average phone use, at 195 minutes or 3 hours and 15 minutes. This is the x-axis value where the peak of the curves are.</a:t>
            </a:r>
          </a:p>
          <a:p>
            <a:pPr algn="l"/>
            <a:endParaRPr lang="en-US" sz="1400" dirty="0">
              <a:solidFill>
                <a:schemeClr val="bg2">
                  <a:lumMod val="50000"/>
                  <a:lumOff val="50000"/>
                </a:schemeClr>
              </a:solidFill>
              <a:latin typeface="Inter"/>
              <a:cs typeface="Arial" panose="020B0604020202020204" pitchFamily="34" charset="0"/>
            </a:endParaRPr>
          </a:p>
          <a:p>
            <a:pPr algn="l"/>
            <a:r>
              <a:rPr lang="en-US" sz="1400" dirty="0">
                <a:solidFill>
                  <a:schemeClr val="bg2">
                    <a:lumMod val="50000"/>
                    <a:lumOff val="50000"/>
                  </a:schemeClr>
                </a:solidFill>
                <a:latin typeface="Inter"/>
                <a:cs typeface="Arial" panose="020B0604020202020204" pitchFamily="34" charset="0"/>
              </a:rPr>
              <a:t>Although the data follows a </a:t>
            </a:r>
            <a:r>
              <a:rPr lang="en-US" sz="1400" dirty="0">
                <a:solidFill>
                  <a:schemeClr val="bg2">
                    <a:lumMod val="50000"/>
                    <a:lumOff val="50000"/>
                  </a:schemeClr>
                </a:solidFill>
                <a:latin typeface="Inter"/>
                <a:cs typeface="Arial" panose="020B0604020202020204" pitchFamily="34" charset="0"/>
                <a:hlinkClick r:id="rId4">
                  <a:extLst>
                    <a:ext uri="{A12FA001-AC4F-418D-AE19-62706E023703}">
                      <ahyp:hlinkClr xmlns:ahyp="http://schemas.microsoft.com/office/drawing/2018/hyperlinkcolor" val="tx"/>
                    </a:ext>
                  </a:extLst>
                </a:hlinkClick>
              </a:rPr>
              <a:t>normal distribution</a:t>
            </a:r>
            <a:r>
              <a:rPr lang="en-US" sz="1400" dirty="0">
                <a:solidFill>
                  <a:schemeClr val="bg2">
                    <a:lumMod val="50000"/>
                    <a:lumOff val="50000"/>
                  </a:schemeClr>
                </a:solidFill>
                <a:latin typeface="Inter"/>
                <a:cs typeface="Arial" panose="020B0604020202020204" pitchFamily="34" charset="0"/>
              </a:rPr>
              <a:t>, each sample has different spreads. Sample A has the largest variability while Sample C has the smallest variability.</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xmlns:p14="http://schemas.microsoft.com/office/powerpoint/2010/main">
        <mc:Choice Requires="p14">
          <p:contentPart p14:bwMode="auto" r:id="rId5">
            <p14:nvContentPartPr>
              <p14:cNvPr id="3" name="Ink 2">
                <a:extLst>
                  <a:ext uri="{FF2B5EF4-FFF2-40B4-BE49-F238E27FC236}">
                    <a16:creationId xmlns:a16="http://schemas.microsoft.com/office/drawing/2014/main" id="{0331FB34-3312-44A7-AB17-A33983143F96}"/>
                  </a:ext>
                </a:extLst>
              </p14:cNvPr>
              <p14:cNvContentPartPr/>
              <p14:nvPr/>
            </p14:nvContentPartPr>
            <p14:xfrm>
              <a:off x="290520" y="142920"/>
              <a:ext cx="8701560" cy="4067640"/>
            </p14:xfrm>
          </p:contentPart>
        </mc:Choice>
        <mc:Fallback xmlns="">
          <p:pic>
            <p:nvPicPr>
              <p:cNvPr id="3" name="Ink 2">
                <a:extLst>
                  <a:ext uri="{FF2B5EF4-FFF2-40B4-BE49-F238E27FC236}">
                    <a16:creationId xmlns:a16="http://schemas.microsoft.com/office/drawing/2014/main" id="{0331FB34-3312-44A7-AB17-A33983143F96}"/>
                  </a:ext>
                </a:extLst>
              </p:cNvPr>
              <p:cNvPicPr/>
              <p:nvPr/>
            </p:nvPicPr>
            <p:blipFill>
              <a:blip r:embed="rId6"/>
              <a:stretch>
                <a:fillRect/>
              </a:stretch>
            </p:blipFill>
            <p:spPr>
              <a:xfrm>
                <a:off x="281160" y="133560"/>
                <a:ext cx="8720280" cy="4086360"/>
              </a:xfrm>
              <a:prstGeom prst="rect">
                <a:avLst/>
              </a:prstGeom>
            </p:spPr>
          </p:pic>
        </mc:Fallback>
      </mc:AlternateContent>
    </p:spTree>
    <p:extLst>
      <p:ext uri="{BB962C8B-B14F-4D97-AF65-F5344CB8AC3E}">
        <p14:creationId xmlns:p14="http://schemas.microsoft.com/office/powerpoint/2010/main" val="1306192768"/>
      </p:ext>
    </p:extLst>
  </p:cSld>
  <p:clrMapOvr>
    <a:masterClrMapping/>
  </p:clrMapOvr>
  <p:transition spd="med">
    <p:wipe dir="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97BF18-BDD0-4811-8BF9-7AA8D82CBE88}"/>
              </a:ext>
            </a:extLst>
          </p:cNvPr>
          <p:cNvSpPr>
            <a:spLocks noGrp="1"/>
          </p:cNvSpPr>
          <p:nvPr>
            <p:ph type="title"/>
          </p:nvPr>
        </p:nvSpPr>
        <p:spPr>
          <a:xfrm>
            <a:off x="101213" y="77509"/>
            <a:ext cx="8229600" cy="637794"/>
          </a:xfrm>
        </p:spPr>
        <p:txBody>
          <a:bodyPr/>
          <a:lstStyle/>
          <a:p>
            <a:r>
              <a:rPr lang="en-US" dirty="0"/>
              <a:t>Range</a:t>
            </a:r>
          </a:p>
        </p:txBody>
      </p:sp>
      <p:sp>
        <p:nvSpPr>
          <p:cNvPr id="3" name="TextBox 2">
            <a:extLst>
              <a:ext uri="{FF2B5EF4-FFF2-40B4-BE49-F238E27FC236}">
                <a16:creationId xmlns:a16="http://schemas.microsoft.com/office/drawing/2014/main" id="{B75B9029-80C6-49D8-8997-614ABF93772C}"/>
              </a:ext>
            </a:extLst>
          </p:cNvPr>
          <p:cNvSpPr txBox="1"/>
          <p:nvPr/>
        </p:nvSpPr>
        <p:spPr>
          <a:xfrm>
            <a:off x="41881" y="663114"/>
            <a:ext cx="8885734" cy="2277547"/>
          </a:xfrm>
          <a:prstGeom prst="rect">
            <a:avLst/>
          </a:prstGeom>
          <a:noFill/>
        </p:spPr>
        <p:txBody>
          <a:bodyPr wrap="square" rtlCol="0">
            <a:spAutoFit/>
          </a:bodyPr>
          <a:lstStyle/>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The range tells you the spread of your data from the lowest to the highest value in the distribution. It’s the easiest measure of variability to calculate.</a:t>
            </a:r>
          </a:p>
          <a:p>
            <a:pPr marL="342900" indent="-342900">
              <a:spcBef>
                <a:spcPts val="0"/>
              </a:spcBef>
              <a:spcAft>
                <a:spcPts val="0"/>
              </a:spcAft>
              <a:buClr>
                <a:schemeClr val="bg1"/>
              </a:buClr>
              <a:buFont typeface="Wingdings" panose="05000000000000000000" pitchFamily="2" charset="2"/>
              <a:buChar char="Ø"/>
            </a:pPr>
            <a:r>
              <a:rPr lang="en-US" sz="2000" dirty="0">
                <a:solidFill>
                  <a:schemeClr val="bg2">
                    <a:lumMod val="50000"/>
                    <a:lumOff val="50000"/>
                  </a:schemeClr>
                </a:solidFill>
                <a:latin typeface="Inter"/>
                <a:cs typeface="Arial" panose="020B0604020202020204" pitchFamily="34" charset="0"/>
              </a:rPr>
              <a:t>To </a:t>
            </a:r>
            <a:r>
              <a:rPr lang="en-US" sz="2000" b="1" i="1" dirty="0">
                <a:solidFill>
                  <a:schemeClr val="bg2">
                    <a:lumMod val="50000"/>
                    <a:lumOff val="50000"/>
                  </a:schemeClr>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find the range</a:t>
            </a:r>
            <a:r>
              <a:rPr lang="en-US" sz="2000" dirty="0">
                <a:solidFill>
                  <a:schemeClr val="bg2">
                    <a:lumMod val="50000"/>
                    <a:lumOff val="50000"/>
                  </a:schemeClr>
                </a:solidFill>
                <a:latin typeface="Inter"/>
                <a:cs typeface="Arial" panose="020B0604020202020204" pitchFamily="34" charset="0"/>
              </a:rPr>
              <a:t>, simply subtract the lowest value from the highest value in the data set.</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Ex: you have 8 data points from Sample A</a:t>
            </a:r>
          </a:p>
          <a:p>
            <a:pPr>
              <a:spcBef>
                <a:spcPts val="0"/>
              </a:spcBef>
              <a:spcAft>
                <a:spcPts val="0"/>
              </a:spcAft>
              <a:buClr>
                <a:schemeClr val="bg1"/>
              </a:buClr>
            </a:pPr>
            <a:endParaRPr lang="en-US" sz="1100" dirty="0">
              <a:solidFill>
                <a:srgbClr val="0D405F"/>
              </a:solidFill>
              <a:latin typeface="Inter"/>
            </a:endParaRPr>
          </a:p>
          <a:p>
            <a:pPr>
              <a:spcBef>
                <a:spcPts val="0"/>
              </a:spcBef>
              <a:spcAft>
                <a:spcPts val="0"/>
              </a:spcAft>
              <a:buClr>
                <a:schemeClr val="bg1"/>
              </a:buClr>
            </a:pPr>
            <a:r>
              <a:rPr lang="en-US" sz="1100" b="1" dirty="0">
                <a:solidFill>
                  <a:schemeClr val="accent1"/>
                </a:solidFill>
                <a:latin typeface="Inter"/>
              </a:rPr>
              <a:t>Data (Minutes) 		72	110	134	190	238	287	305	324</a:t>
            </a:r>
            <a:endParaRPr lang="en-US" sz="1400" b="1" dirty="0">
              <a:solidFill>
                <a:schemeClr val="accent1"/>
              </a:solidFill>
              <a:latin typeface="+mn-lt"/>
            </a:endParaRPr>
          </a:p>
        </p:txBody>
      </p:sp>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EB971332-BA72-428A-9BCF-077C490F0185}"/>
                  </a:ext>
                </a:extLst>
              </p14:cNvPr>
              <p14:cNvContentPartPr/>
              <p14:nvPr/>
            </p14:nvContentPartPr>
            <p14:xfrm>
              <a:off x="2909880" y="947880"/>
              <a:ext cx="4872240" cy="4186440"/>
            </p14:xfrm>
          </p:contentPart>
        </mc:Choice>
        <mc:Fallback xmlns="">
          <p:pic>
            <p:nvPicPr>
              <p:cNvPr id="4" name="Ink 3">
                <a:extLst>
                  <a:ext uri="{FF2B5EF4-FFF2-40B4-BE49-F238E27FC236}">
                    <a16:creationId xmlns:a16="http://schemas.microsoft.com/office/drawing/2014/main" id="{EB971332-BA72-428A-9BCF-077C490F0185}"/>
                  </a:ext>
                </a:extLst>
              </p:cNvPr>
              <p:cNvPicPr/>
              <p:nvPr/>
            </p:nvPicPr>
            <p:blipFill>
              <a:blip r:embed="rId4"/>
              <a:stretch>
                <a:fillRect/>
              </a:stretch>
            </p:blipFill>
            <p:spPr>
              <a:xfrm>
                <a:off x="2900520" y="938520"/>
                <a:ext cx="4890960" cy="4205160"/>
              </a:xfrm>
              <a:prstGeom prst="rect">
                <a:avLst/>
              </a:prstGeom>
            </p:spPr>
          </p:pic>
        </mc:Fallback>
      </mc:AlternateContent>
    </p:spTree>
    <p:extLst>
      <p:ext uri="{BB962C8B-B14F-4D97-AF65-F5344CB8AC3E}">
        <p14:creationId xmlns:p14="http://schemas.microsoft.com/office/powerpoint/2010/main" val="3012658408"/>
      </p:ext>
    </p:extLst>
  </p:cSld>
  <p:clrMapOvr>
    <a:masterClrMapping/>
  </p:clrMapOvr>
  <p:transition spd="med">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9C1809-55AB-431A-963D-57F0E70BE161}"/>
              </a:ext>
            </a:extLst>
          </p:cNvPr>
          <p:cNvSpPr>
            <a:spLocks noGrp="1"/>
          </p:cNvSpPr>
          <p:nvPr>
            <p:ph type="title"/>
          </p:nvPr>
        </p:nvSpPr>
        <p:spPr>
          <a:xfrm>
            <a:off x="73902" y="52680"/>
            <a:ext cx="7955280" cy="640080"/>
          </a:xfrm>
        </p:spPr>
        <p:txBody>
          <a:bodyPr/>
          <a:lstStyle/>
          <a:p>
            <a:r>
              <a:rPr lang="en-US" dirty="0"/>
              <a:t>Terminology </a:t>
            </a:r>
            <a:r>
              <a:rPr lang="en-US" sz="1600" b="1" dirty="0">
                <a:solidFill>
                  <a:schemeClr val="bg2">
                    <a:lumMod val="50000"/>
                    <a:lumOff val="50000"/>
                  </a:schemeClr>
                </a:solidFill>
              </a:rPr>
              <a:t>commonly used terminology in the discipline of statistics</a:t>
            </a:r>
            <a:br>
              <a:rPr lang="en-US" dirty="0"/>
            </a:br>
            <a:endParaRPr lang="en-US" dirty="0"/>
          </a:p>
        </p:txBody>
      </p:sp>
      <p:sp>
        <p:nvSpPr>
          <p:cNvPr id="3" name="Content Placeholder 2">
            <a:extLst>
              <a:ext uri="{FF2B5EF4-FFF2-40B4-BE49-F238E27FC236}">
                <a16:creationId xmlns:a16="http://schemas.microsoft.com/office/drawing/2014/main" id="{3F6397B1-9B77-4F28-B578-85539A60E080}"/>
              </a:ext>
            </a:extLst>
          </p:cNvPr>
          <p:cNvSpPr>
            <a:spLocks noGrp="1"/>
          </p:cNvSpPr>
          <p:nvPr>
            <p:ph sz="half" idx="1"/>
          </p:nvPr>
        </p:nvSpPr>
        <p:spPr>
          <a:xfrm>
            <a:off x="73903" y="692760"/>
            <a:ext cx="7898914" cy="2351065"/>
          </a:xfrm>
        </p:spPr>
        <p:txBody>
          <a:bodyPr/>
          <a:lstStyle/>
          <a:p>
            <a:r>
              <a:rPr lang="en-US" b="1" dirty="0">
                <a:solidFill>
                  <a:schemeClr val="bg1"/>
                </a:solidFill>
              </a:rPr>
              <a:t>Variable : </a:t>
            </a:r>
            <a:r>
              <a:rPr lang="en-US" dirty="0">
                <a:solidFill>
                  <a:schemeClr val="bg2">
                    <a:lumMod val="50000"/>
                    <a:lumOff val="50000"/>
                  </a:schemeClr>
                </a:solidFill>
              </a:rPr>
              <a:t>A variable is defined as an attribute of an object of study. Choosing which variables to measure is central to good experimental design.</a:t>
            </a:r>
          </a:p>
          <a:p>
            <a:pPr marL="0" indent="0">
              <a:buNone/>
            </a:pPr>
            <a:endParaRPr lang="en-US" dirty="0">
              <a:solidFill>
                <a:schemeClr val="bg2">
                  <a:lumMod val="50000"/>
                  <a:lumOff val="50000"/>
                </a:schemeClr>
              </a:solidFill>
            </a:endParaRPr>
          </a:p>
          <a:p>
            <a:pPr lvl="1"/>
            <a:r>
              <a:rPr lang="en-US" dirty="0">
                <a:solidFill>
                  <a:schemeClr val="bg2">
                    <a:lumMod val="50000"/>
                    <a:lumOff val="50000"/>
                  </a:schemeClr>
                </a:solidFill>
              </a:rPr>
              <a:t>Ex : You are collecting data of weight of adults of male living in Australia, here our variable is weight</a:t>
            </a:r>
          </a:p>
          <a:p>
            <a:pPr lvl="1"/>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B4B84EB2-DAE0-4A07-91E6-E8997FB9F357}"/>
              </a:ext>
            </a:extLst>
          </p:cNvPr>
          <p:cNvPicPr>
            <a:picLocks noChangeAspect="1"/>
          </p:cNvPicPr>
          <p:nvPr/>
        </p:nvPicPr>
        <p:blipFill>
          <a:blip r:embed="rId2"/>
          <a:stretch>
            <a:fillRect/>
          </a:stretch>
        </p:blipFill>
        <p:spPr>
          <a:xfrm>
            <a:off x="73902" y="1730931"/>
            <a:ext cx="7427934" cy="702642"/>
          </a:xfrm>
          <a:prstGeom prst="rect">
            <a:avLst/>
          </a:prstGeom>
        </p:spPr>
      </p:pic>
      <p:sp>
        <p:nvSpPr>
          <p:cNvPr id="6" name="TextBox 5">
            <a:extLst>
              <a:ext uri="{FF2B5EF4-FFF2-40B4-BE49-F238E27FC236}">
                <a16:creationId xmlns:a16="http://schemas.microsoft.com/office/drawing/2014/main" id="{9D05D184-28F2-4052-BB33-D236DFC4C405}"/>
              </a:ext>
            </a:extLst>
          </p:cNvPr>
          <p:cNvSpPr txBox="1"/>
          <p:nvPr/>
        </p:nvSpPr>
        <p:spPr>
          <a:xfrm>
            <a:off x="73902" y="2863869"/>
            <a:ext cx="8575320" cy="1766446"/>
          </a:xfrm>
          <a:prstGeom prst="rect">
            <a:avLst/>
          </a:prstGeom>
          <a:noFill/>
        </p:spPr>
        <p:txBody>
          <a:bodyPr wrap="square" rtlCol="0">
            <a:spAutoFit/>
          </a:bodyPr>
          <a:lstStyle/>
          <a:p>
            <a:pPr marL="285750" marR="0" indent="-285750">
              <a:lnSpc>
                <a:spcPct val="107000"/>
              </a:lnSpc>
              <a:spcBef>
                <a:spcPts val="0"/>
              </a:spcBef>
              <a:spcAft>
                <a:spcPts val="800"/>
              </a:spcAft>
              <a:buFont typeface="Wingdings" panose="05000000000000000000" pitchFamily="2" charset="2"/>
              <a:buChar char="Ø"/>
            </a:pPr>
            <a:r>
              <a:rPr lang="en-US" sz="1400" dirty="0">
                <a:solidFill>
                  <a:schemeClr val="bg2">
                    <a:lumMod val="50000"/>
                    <a:lumOff val="50000"/>
                  </a:schemeClr>
                </a:solidFill>
                <a:latin typeface="Arial" panose="020B0604020202020204" pitchFamily="34" charset="0"/>
                <a:cs typeface="Arial" panose="020B0604020202020204" pitchFamily="34" charset="0"/>
              </a:rPr>
              <a:t>A </a:t>
            </a:r>
            <a:r>
              <a:rPr lang="en-US" sz="1400" dirty="0">
                <a:solidFill>
                  <a:schemeClr val="bg1"/>
                </a:solidFill>
                <a:latin typeface="Arial" panose="020B0604020202020204" pitchFamily="34" charset="0"/>
                <a:cs typeface="Arial" panose="020B0604020202020204" pitchFamily="34" charset="0"/>
              </a:rPr>
              <a:t>Variables</a:t>
            </a:r>
            <a:r>
              <a:rPr lang="en-US" sz="1400" dirty="0">
                <a:solidFill>
                  <a:schemeClr val="bg2">
                    <a:lumMod val="50000"/>
                    <a:lumOff val="50000"/>
                  </a:schemeClr>
                </a:solidFill>
                <a:latin typeface="Arial" panose="020B0604020202020204" pitchFamily="34" charset="0"/>
                <a:cs typeface="Arial" panose="020B0604020202020204" pitchFamily="34" charset="0"/>
              </a:rPr>
              <a:t> are things you measure, manipulate and control in statistics and research. </a:t>
            </a:r>
          </a:p>
          <a:p>
            <a:pPr marL="285750" marR="0" indent="-285750">
              <a:lnSpc>
                <a:spcPct val="107000"/>
              </a:lnSpc>
              <a:spcBef>
                <a:spcPts val="0"/>
              </a:spcBef>
              <a:spcAft>
                <a:spcPts val="800"/>
              </a:spcAft>
              <a:buFont typeface="Wingdings" panose="05000000000000000000" pitchFamily="2" charset="2"/>
              <a:buChar char="Ø"/>
            </a:pPr>
            <a:r>
              <a:rPr lang="en-US" sz="1400" dirty="0">
                <a:solidFill>
                  <a:schemeClr val="bg2">
                    <a:lumMod val="50000"/>
                    <a:lumOff val="50000"/>
                  </a:schemeClr>
                </a:solidFill>
                <a:latin typeface="Arial" panose="020B0604020202020204" pitchFamily="34" charset="0"/>
                <a:cs typeface="Arial" panose="020B0604020202020204" pitchFamily="34" charset="0"/>
              </a:rPr>
              <a:t>All studies analyze a variable, which can describe a person, place, thing or idea. A variable's value can change between groups or over time. </a:t>
            </a:r>
          </a:p>
          <a:p>
            <a:pPr marL="285750" marR="0" indent="-285750">
              <a:lnSpc>
                <a:spcPct val="107000"/>
              </a:lnSpc>
              <a:spcBef>
                <a:spcPts val="0"/>
              </a:spcBef>
              <a:spcAft>
                <a:spcPts val="800"/>
              </a:spcAft>
              <a:buFont typeface="Wingdings" panose="05000000000000000000" pitchFamily="2" charset="2"/>
              <a:buChar char="Ø"/>
            </a:pPr>
            <a:r>
              <a:rPr lang="en-US" sz="1400" dirty="0">
                <a:solidFill>
                  <a:schemeClr val="bg2">
                    <a:lumMod val="50000"/>
                    <a:lumOff val="50000"/>
                  </a:schemeClr>
                </a:solidFill>
                <a:latin typeface="Arial" panose="020B0604020202020204" pitchFamily="34" charset="0"/>
                <a:cs typeface="Arial" panose="020B0604020202020204" pitchFamily="34" charset="0"/>
              </a:rPr>
              <a:t>A variable can also be called as a data item</a:t>
            </a:r>
          </a:p>
          <a:p>
            <a:pPr marL="742950" lvl="1" indent="-285750">
              <a:lnSpc>
                <a:spcPct val="107000"/>
              </a:lnSpc>
              <a:spcBef>
                <a:spcPts val="0"/>
              </a:spcBef>
              <a:spcAft>
                <a:spcPts val="800"/>
              </a:spcAft>
              <a:buFont typeface="Arial" panose="020B0604020202020204" pitchFamily="34" charset="0"/>
              <a:buChar char="•"/>
            </a:pPr>
            <a:r>
              <a:rPr lang="en-US" sz="1400" i="1" dirty="0">
                <a:solidFill>
                  <a:schemeClr val="bg2">
                    <a:lumMod val="50000"/>
                    <a:lumOff val="50000"/>
                  </a:schemeClr>
                </a:solidFill>
                <a:latin typeface="Arial" panose="020B0604020202020204" pitchFamily="34" charset="0"/>
                <a:cs typeface="Arial" panose="020B0604020202020204" pitchFamily="34" charset="0"/>
              </a:rPr>
              <a:t>Another example :  if the variable in an experiment is a person's eye color, its value can change from brown to blue to green from person to person</a:t>
            </a:r>
            <a:r>
              <a:rPr lang="en-US" sz="1400" dirty="0">
                <a:solidFill>
                  <a:schemeClr val="bg2">
                    <a:lumMod val="50000"/>
                    <a:lumOff val="50000"/>
                  </a:schemeClr>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508532574"/>
      </p:ext>
    </p:extLst>
  </p:cSld>
  <p:clrMapOvr>
    <a:masterClrMapping/>
  </p:clrMapOvr>
  <p:transition spd="med">
    <p:wipe dir="r"/>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571A17D-7635-493B-AB43-E07EB5D146FF}"/>
              </a:ext>
            </a:extLst>
          </p:cNvPr>
          <p:cNvSpPr/>
          <p:nvPr/>
        </p:nvSpPr>
        <p:spPr>
          <a:xfrm>
            <a:off x="614252" y="2968157"/>
            <a:ext cx="7915493" cy="459098"/>
          </a:xfrm>
          <a:prstGeom prst="rect">
            <a:avLst/>
          </a:prstGeom>
          <a:noFill/>
          <a:ln w="12700" cmpd="sng">
            <a:solidFill>
              <a:schemeClr val="bg2"/>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2" name="Title 1">
            <a:extLst>
              <a:ext uri="{FF2B5EF4-FFF2-40B4-BE49-F238E27FC236}">
                <a16:creationId xmlns:a16="http://schemas.microsoft.com/office/drawing/2014/main" id="{1E17F21F-77D2-498D-ACC0-34D5250C6951}"/>
              </a:ext>
            </a:extLst>
          </p:cNvPr>
          <p:cNvSpPr>
            <a:spLocks noGrp="1"/>
          </p:cNvSpPr>
          <p:nvPr>
            <p:ph type="title"/>
          </p:nvPr>
        </p:nvSpPr>
        <p:spPr>
          <a:xfrm>
            <a:off x="66311" y="0"/>
            <a:ext cx="8229600" cy="637794"/>
          </a:xfrm>
        </p:spPr>
        <p:txBody>
          <a:bodyPr/>
          <a:lstStyle/>
          <a:p>
            <a:r>
              <a:rPr lang="en-US" dirty="0"/>
              <a:t>Range can be misleading</a:t>
            </a:r>
          </a:p>
        </p:txBody>
      </p:sp>
      <p:sp>
        <p:nvSpPr>
          <p:cNvPr id="3" name="TextBox 2">
            <a:extLst>
              <a:ext uri="{FF2B5EF4-FFF2-40B4-BE49-F238E27FC236}">
                <a16:creationId xmlns:a16="http://schemas.microsoft.com/office/drawing/2014/main" id="{82F50FE0-C1C2-4BB0-B826-A9131CC07860}"/>
              </a:ext>
            </a:extLst>
          </p:cNvPr>
          <p:cNvSpPr txBox="1"/>
          <p:nvPr/>
        </p:nvSpPr>
        <p:spPr>
          <a:xfrm>
            <a:off x="160544" y="704996"/>
            <a:ext cx="8592567" cy="1323439"/>
          </a:xfrm>
          <a:prstGeom prst="rect">
            <a:avLst/>
          </a:prstGeom>
          <a:noFill/>
        </p:spPr>
        <p:txBody>
          <a:bodyPr wrap="square" rtlCol="0">
            <a:spAutoFit/>
          </a:bodyPr>
          <a:lstStyle/>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Because only 2 numbers are used, the range is influenced by </a:t>
            </a:r>
            <a:r>
              <a:rPr lang="en-US" sz="2000" dirty="0">
                <a:solidFill>
                  <a:schemeClr val="bg2">
                    <a:lumMod val="50000"/>
                    <a:lumOff val="50000"/>
                  </a:schemeClr>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outliers</a:t>
            </a:r>
            <a:r>
              <a:rPr lang="en-US" sz="2000" dirty="0">
                <a:solidFill>
                  <a:schemeClr val="bg2">
                    <a:lumMod val="50000"/>
                    <a:lumOff val="50000"/>
                  </a:schemeClr>
                </a:solidFill>
                <a:latin typeface="Inter"/>
                <a:cs typeface="Arial" panose="020B0604020202020204" pitchFamily="34" charset="0"/>
              </a:rPr>
              <a:t> and doesn’t give you any information about the distribution of values. </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It’s best used in combination with other measures.</a:t>
            </a:r>
          </a:p>
        </p:txBody>
      </p:sp>
      <p:sp>
        <p:nvSpPr>
          <p:cNvPr id="4" name="TextBox 3">
            <a:extLst>
              <a:ext uri="{FF2B5EF4-FFF2-40B4-BE49-F238E27FC236}">
                <a16:creationId xmlns:a16="http://schemas.microsoft.com/office/drawing/2014/main" id="{85E3C32C-D87E-4DEA-9465-5133B118800A}"/>
              </a:ext>
            </a:extLst>
          </p:cNvPr>
          <p:cNvSpPr txBox="1"/>
          <p:nvPr/>
        </p:nvSpPr>
        <p:spPr>
          <a:xfrm>
            <a:off x="614253" y="2968157"/>
            <a:ext cx="7915493" cy="400110"/>
          </a:xfrm>
          <a:prstGeom prst="rect">
            <a:avLst/>
          </a:prstGeom>
          <a:noFill/>
        </p:spPr>
        <p:txBody>
          <a:bodyPr wrap="square" rtlCol="0">
            <a:spAutoFit/>
          </a:bodyPr>
          <a:lstStyle/>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So, we may be better off using </a:t>
            </a:r>
            <a:r>
              <a:rPr lang="en-US" sz="2000" b="1" dirty="0">
                <a:solidFill>
                  <a:schemeClr val="accent1"/>
                </a:solidFill>
                <a:latin typeface="Inter"/>
                <a:cs typeface="Arial" panose="020B0604020202020204" pitchFamily="34" charset="0"/>
              </a:rPr>
              <a:t>Interquartile Range </a:t>
            </a:r>
            <a:r>
              <a:rPr lang="en-US" sz="2000" dirty="0">
                <a:solidFill>
                  <a:schemeClr val="bg2">
                    <a:lumMod val="50000"/>
                    <a:lumOff val="50000"/>
                  </a:schemeClr>
                </a:solidFill>
                <a:latin typeface="Inter"/>
                <a:cs typeface="Arial" panose="020B0604020202020204" pitchFamily="34" charset="0"/>
              </a:rPr>
              <a:t>or </a:t>
            </a:r>
            <a:r>
              <a:rPr lang="en-US" sz="2000" b="1" dirty="0">
                <a:solidFill>
                  <a:schemeClr val="accent1"/>
                </a:solidFill>
                <a:latin typeface="Inter"/>
                <a:cs typeface="Arial" panose="020B0604020202020204" pitchFamily="34" charset="0"/>
              </a:rPr>
              <a:t>Standard Deviation</a:t>
            </a:r>
          </a:p>
        </p:txBody>
      </p:sp>
      <mc:AlternateContent xmlns:mc="http://schemas.openxmlformats.org/markup-compatibility/2006" xmlns:p14="http://schemas.microsoft.com/office/powerpoint/2010/main">
        <mc:Choice Requires="p14">
          <p:contentPart p14:bwMode="auto" r:id="rId3">
            <p14:nvContentPartPr>
              <p14:cNvPr id="6" name="Ink 5">
                <a:extLst>
                  <a:ext uri="{FF2B5EF4-FFF2-40B4-BE49-F238E27FC236}">
                    <a16:creationId xmlns:a16="http://schemas.microsoft.com/office/drawing/2014/main" id="{A5508B8C-2EDD-4CF4-86A6-B1FEED186F1F}"/>
                  </a:ext>
                </a:extLst>
              </p14:cNvPr>
              <p14:cNvContentPartPr/>
              <p14:nvPr/>
            </p14:nvContentPartPr>
            <p14:xfrm>
              <a:off x="162000" y="133200"/>
              <a:ext cx="8801280" cy="5005800"/>
            </p14:xfrm>
          </p:contentPart>
        </mc:Choice>
        <mc:Fallback xmlns="">
          <p:pic>
            <p:nvPicPr>
              <p:cNvPr id="6" name="Ink 5">
                <a:extLst>
                  <a:ext uri="{FF2B5EF4-FFF2-40B4-BE49-F238E27FC236}">
                    <a16:creationId xmlns:a16="http://schemas.microsoft.com/office/drawing/2014/main" id="{A5508B8C-2EDD-4CF4-86A6-B1FEED186F1F}"/>
                  </a:ext>
                </a:extLst>
              </p:cNvPr>
              <p:cNvPicPr/>
              <p:nvPr/>
            </p:nvPicPr>
            <p:blipFill>
              <a:blip r:embed="rId4"/>
              <a:stretch>
                <a:fillRect/>
              </a:stretch>
            </p:blipFill>
            <p:spPr>
              <a:xfrm>
                <a:off x="152640" y="123840"/>
                <a:ext cx="8820000" cy="5024520"/>
              </a:xfrm>
              <a:prstGeom prst="rect">
                <a:avLst/>
              </a:prstGeom>
            </p:spPr>
          </p:pic>
        </mc:Fallback>
      </mc:AlternateContent>
    </p:spTree>
    <p:extLst>
      <p:ext uri="{BB962C8B-B14F-4D97-AF65-F5344CB8AC3E}">
        <p14:creationId xmlns:p14="http://schemas.microsoft.com/office/powerpoint/2010/main" val="1368213410"/>
      </p:ext>
    </p:extLst>
  </p:cSld>
  <p:clrMapOvr>
    <a:masterClrMapping/>
  </p:clrMapOvr>
  <p:transition spd="med">
    <p:wipe dir="r"/>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C3BF71-DFC5-427E-A65C-107910B8233F}"/>
              </a:ext>
            </a:extLst>
          </p:cNvPr>
          <p:cNvSpPr>
            <a:spLocks noGrp="1"/>
          </p:cNvSpPr>
          <p:nvPr>
            <p:ph type="title"/>
          </p:nvPr>
        </p:nvSpPr>
        <p:spPr>
          <a:xfrm>
            <a:off x="73291" y="98450"/>
            <a:ext cx="8229600" cy="637794"/>
          </a:xfrm>
        </p:spPr>
        <p:txBody>
          <a:bodyPr/>
          <a:lstStyle/>
          <a:p>
            <a:r>
              <a:rPr lang="en-US" dirty="0"/>
              <a:t>Quartiles</a:t>
            </a:r>
          </a:p>
        </p:txBody>
      </p:sp>
      <p:sp>
        <p:nvSpPr>
          <p:cNvPr id="3" name="TextBox 2">
            <a:extLst>
              <a:ext uri="{FF2B5EF4-FFF2-40B4-BE49-F238E27FC236}">
                <a16:creationId xmlns:a16="http://schemas.microsoft.com/office/drawing/2014/main" id="{BB64782E-BA76-46E6-BA36-C05EB80808B3}"/>
              </a:ext>
            </a:extLst>
          </p:cNvPr>
          <p:cNvSpPr txBox="1"/>
          <p:nvPr/>
        </p:nvSpPr>
        <p:spPr>
          <a:xfrm>
            <a:off x="125643" y="795736"/>
            <a:ext cx="8055096" cy="2246769"/>
          </a:xfrm>
          <a:prstGeom prst="rect">
            <a:avLst/>
          </a:prstGeom>
          <a:noFill/>
        </p:spPr>
        <p:txBody>
          <a:bodyPr wrap="square" rtlCol="0">
            <a:spAutoFit/>
          </a:bodyPr>
          <a:lstStyle/>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Quartiles are the values that divide a list of numbers into quarters:</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Put the list of numbers in order</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Then cut the list into four equal parts</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The Quartiles are at the "cuts"</a:t>
            </a:r>
          </a:p>
        </p:txBody>
      </p:sp>
      <p:pic>
        <p:nvPicPr>
          <p:cNvPr id="5" name="Picture 4" descr="Icon&#10;&#10;Description automatically generated">
            <a:extLst>
              <a:ext uri="{FF2B5EF4-FFF2-40B4-BE49-F238E27FC236}">
                <a16:creationId xmlns:a16="http://schemas.microsoft.com/office/drawing/2014/main" id="{C0D2230B-C88E-42F0-8B61-73C227906A06}"/>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315823" y="1919120"/>
            <a:ext cx="3046400" cy="3046400"/>
          </a:xfrm>
          <a:prstGeom prst="rect">
            <a:avLst/>
          </a:prstGeom>
        </p:spPr>
      </p:pic>
      <mc:AlternateContent xmlns:mc="http://schemas.openxmlformats.org/markup-compatibility/2006" xmlns:p14="http://schemas.microsoft.com/office/powerpoint/2010/main">
        <mc:Choice Requires="p14">
          <p:contentPart p14:bwMode="auto" r:id="rId4">
            <p14:nvContentPartPr>
              <p14:cNvPr id="4" name="Ink 3">
                <a:extLst>
                  <a:ext uri="{FF2B5EF4-FFF2-40B4-BE49-F238E27FC236}">
                    <a16:creationId xmlns:a16="http://schemas.microsoft.com/office/drawing/2014/main" id="{25DE0A93-0D76-4FD2-91EB-005257CB4349}"/>
                  </a:ext>
                </a:extLst>
              </p14:cNvPr>
              <p14:cNvContentPartPr/>
              <p14:nvPr/>
            </p14:nvContentPartPr>
            <p14:xfrm>
              <a:off x="76320" y="690480"/>
              <a:ext cx="8372880" cy="2567520"/>
            </p14:xfrm>
          </p:contentPart>
        </mc:Choice>
        <mc:Fallback xmlns="">
          <p:pic>
            <p:nvPicPr>
              <p:cNvPr id="4" name="Ink 3">
                <a:extLst>
                  <a:ext uri="{FF2B5EF4-FFF2-40B4-BE49-F238E27FC236}">
                    <a16:creationId xmlns:a16="http://schemas.microsoft.com/office/drawing/2014/main" id="{25DE0A93-0D76-4FD2-91EB-005257CB4349}"/>
                  </a:ext>
                </a:extLst>
              </p:cNvPr>
              <p:cNvPicPr/>
              <p:nvPr/>
            </p:nvPicPr>
            <p:blipFill>
              <a:blip r:embed="rId5"/>
              <a:stretch>
                <a:fillRect/>
              </a:stretch>
            </p:blipFill>
            <p:spPr>
              <a:xfrm>
                <a:off x="66960" y="681120"/>
                <a:ext cx="8391600" cy="2586240"/>
              </a:xfrm>
              <a:prstGeom prst="rect">
                <a:avLst/>
              </a:prstGeom>
            </p:spPr>
          </p:pic>
        </mc:Fallback>
      </mc:AlternateContent>
    </p:spTree>
    <p:extLst>
      <p:ext uri="{BB962C8B-B14F-4D97-AF65-F5344CB8AC3E}">
        <p14:creationId xmlns:p14="http://schemas.microsoft.com/office/powerpoint/2010/main" val="3035897662"/>
      </p:ext>
    </p:extLst>
  </p:cSld>
  <p:clrMapOvr>
    <a:masterClrMapping/>
  </p:clrMapOvr>
  <p:transition spd="med">
    <p:wipe dir="r"/>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96CD2-A218-41FD-81FB-068327F9D7E8}"/>
              </a:ext>
            </a:extLst>
          </p:cNvPr>
          <p:cNvSpPr>
            <a:spLocks noGrp="1"/>
          </p:cNvSpPr>
          <p:nvPr>
            <p:ph type="title"/>
          </p:nvPr>
        </p:nvSpPr>
        <p:spPr>
          <a:xfrm>
            <a:off x="0" y="0"/>
            <a:ext cx="8229600" cy="637794"/>
          </a:xfrm>
        </p:spPr>
        <p:txBody>
          <a:bodyPr/>
          <a:lstStyle/>
          <a:p>
            <a:r>
              <a:rPr lang="en-US" dirty="0"/>
              <a:t>Quartile</a:t>
            </a:r>
          </a:p>
        </p:txBody>
      </p:sp>
      <p:sp>
        <p:nvSpPr>
          <p:cNvPr id="4" name="TextBox 3">
            <a:extLst>
              <a:ext uri="{FF2B5EF4-FFF2-40B4-BE49-F238E27FC236}">
                <a16:creationId xmlns:a16="http://schemas.microsoft.com/office/drawing/2014/main" id="{51564A6B-0B9B-4B53-869D-F275C99CECAC}"/>
              </a:ext>
            </a:extLst>
          </p:cNvPr>
          <p:cNvSpPr txBox="1"/>
          <p:nvPr/>
        </p:nvSpPr>
        <p:spPr>
          <a:xfrm>
            <a:off x="55841" y="540425"/>
            <a:ext cx="8173759" cy="2031325"/>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bg2">
                    <a:lumMod val="50000"/>
                    <a:lumOff val="50000"/>
                  </a:schemeClr>
                </a:solidFill>
                <a:latin typeface="Inter"/>
                <a:cs typeface="Arial" panose="020B0604020202020204" pitchFamily="34" charset="0"/>
              </a:rPr>
              <a:t>Ex : 5, 7, 4, 4, 6, 2, 8</a:t>
            </a:r>
          </a:p>
          <a:p>
            <a:pPr>
              <a:spcBef>
                <a:spcPts val="0"/>
              </a:spcBef>
              <a:spcAft>
                <a:spcPts val="0"/>
              </a:spcAft>
              <a:buClr>
                <a:schemeClr val="bg1"/>
              </a:buClr>
            </a:pPr>
            <a:endParaRPr lang="en-US" sz="1800" b="1"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800" b="1" dirty="0">
                <a:solidFill>
                  <a:schemeClr val="bg2">
                    <a:lumMod val="50000"/>
                    <a:lumOff val="50000"/>
                  </a:schemeClr>
                </a:solidFill>
                <a:latin typeface="Inter"/>
                <a:cs typeface="Arial" panose="020B0604020202020204" pitchFamily="34" charset="0"/>
              </a:rPr>
              <a:t>Put them in order </a:t>
            </a:r>
            <a:r>
              <a:rPr lang="en-US" sz="1800" dirty="0">
                <a:solidFill>
                  <a:schemeClr val="bg2">
                    <a:lumMod val="50000"/>
                    <a:lumOff val="50000"/>
                  </a:schemeClr>
                </a:solidFill>
                <a:latin typeface="Inter"/>
                <a:cs typeface="Arial" panose="020B0604020202020204" pitchFamily="34" charset="0"/>
              </a:rPr>
              <a:t>: 2, 4, 4, 5, 6, 7, 8</a:t>
            </a:r>
          </a:p>
          <a:p>
            <a:pPr>
              <a:spcBef>
                <a:spcPts val="0"/>
              </a:spcBef>
              <a:spcAft>
                <a:spcPts val="0"/>
              </a:spcAft>
              <a:buClr>
                <a:schemeClr val="bg1"/>
              </a:buClr>
            </a:pPr>
            <a:endParaRPr lang="en-US" sz="1800" b="1"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800" b="1" dirty="0">
                <a:solidFill>
                  <a:schemeClr val="bg2">
                    <a:lumMod val="50000"/>
                    <a:lumOff val="50000"/>
                  </a:schemeClr>
                </a:solidFill>
                <a:latin typeface="Inter"/>
                <a:cs typeface="Arial" panose="020B0604020202020204" pitchFamily="34" charset="0"/>
              </a:rPr>
              <a:t>Cut the List into Quarters : </a:t>
            </a:r>
          </a:p>
          <a:p>
            <a:pPr>
              <a:spcBef>
                <a:spcPts val="0"/>
              </a:spcBef>
              <a:spcAft>
                <a:spcPts val="0"/>
              </a:spcAft>
              <a:buClr>
                <a:schemeClr val="bg1"/>
              </a:buClr>
            </a:pPr>
            <a:endParaRPr lang="en-US" sz="1800" b="1"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endParaRPr lang="en-US" sz="1800" b="1" dirty="0">
              <a:solidFill>
                <a:schemeClr val="bg2"/>
              </a:solidFill>
              <a:latin typeface="+mn-lt"/>
            </a:endParaRPr>
          </a:p>
        </p:txBody>
      </p:sp>
      <p:pic>
        <p:nvPicPr>
          <p:cNvPr id="6" name="Picture 5">
            <a:extLst>
              <a:ext uri="{FF2B5EF4-FFF2-40B4-BE49-F238E27FC236}">
                <a16:creationId xmlns:a16="http://schemas.microsoft.com/office/drawing/2014/main" id="{1B565FA1-179B-418E-89CE-CB7A5FE56550}"/>
              </a:ext>
            </a:extLst>
          </p:cNvPr>
          <p:cNvPicPr>
            <a:picLocks noChangeAspect="1"/>
          </p:cNvPicPr>
          <p:nvPr/>
        </p:nvPicPr>
        <p:blipFill>
          <a:blip r:embed="rId2"/>
          <a:stretch>
            <a:fillRect/>
          </a:stretch>
        </p:blipFill>
        <p:spPr>
          <a:xfrm>
            <a:off x="2272803" y="2132338"/>
            <a:ext cx="3080974" cy="1440083"/>
          </a:xfrm>
          <a:prstGeom prst="rect">
            <a:avLst/>
          </a:prstGeom>
        </p:spPr>
      </p:pic>
      <mc:AlternateContent xmlns:mc="http://schemas.openxmlformats.org/markup-compatibility/2006" xmlns:p14="http://schemas.microsoft.com/office/powerpoint/2010/main">
        <mc:Choice Requires="p14">
          <p:contentPart p14:bwMode="auto" r:id="rId3">
            <p14:nvContentPartPr>
              <p14:cNvPr id="3" name="Ink 2">
                <a:extLst>
                  <a:ext uri="{FF2B5EF4-FFF2-40B4-BE49-F238E27FC236}">
                    <a16:creationId xmlns:a16="http://schemas.microsoft.com/office/drawing/2014/main" id="{302BFC89-8434-4802-89CB-E3A9CFA413FA}"/>
                  </a:ext>
                </a:extLst>
              </p14:cNvPr>
              <p14:cNvContentPartPr/>
              <p14:nvPr/>
            </p14:nvContentPartPr>
            <p14:xfrm>
              <a:off x="19080" y="361800"/>
              <a:ext cx="4991400" cy="3548520"/>
            </p14:xfrm>
          </p:contentPart>
        </mc:Choice>
        <mc:Fallback xmlns="">
          <p:pic>
            <p:nvPicPr>
              <p:cNvPr id="3" name="Ink 2">
                <a:extLst>
                  <a:ext uri="{FF2B5EF4-FFF2-40B4-BE49-F238E27FC236}">
                    <a16:creationId xmlns:a16="http://schemas.microsoft.com/office/drawing/2014/main" id="{302BFC89-8434-4802-89CB-E3A9CFA413FA}"/>
                  </a:ext>
                </a:extLst>
              </p:cNvPr>
              <p:cNvPicPr/>
              <p:nvPr/>
            </p:nvPicPr>
            <p:blipFill>
              <a:blip r:embed="rId4"/>
              <a:stretch>
                <a:fillRect/>
              </a:stretch>
            </p:blipFill>
            <p:spPr>
              <a:xfrm>
                <a:off x="9720" y="352440"/>
                <a:ext cx="5010120" cy="3567240"/>
              </a:xfrm>
              <a:prstGeom prst="rect">
                <a:avLst/>
              </a:prstGeom>
            </p:spPr>
          </p:pic>
        </mc:Fallback>
      </mc:AlternateContent>
    </p:spTree>
    <p:extLst>
      <p:ext uri="{BB962C8B-B14F-4D97-AF65-F5344CB8AC3E}">
        <p14:creationId xmlns:p14="http://schemas.microsoft.com/office/powerpoint/2010/main" val="610422850"/>
      </p:ext>
    </p:extLst>
  </p:cSld>
  <p:clrMapOvr>
    <a:masterClrMapping/>
  </p:clrMapOvr>
  <p:transition spd="med">
    <p:wipe dir="r"/>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88B1DF-923A-42F7-BB0D-328499793335}"/>
              </a:ext>
            </a:extLst>
          </p:cNvPr>
          <p:cNvSpPr>
            <a:spLocks noGrp="1"/>
          </p:cNvSpPr>
          <p:nvPr>
            <p:ph type="title"/>
          </p:nvPr>
        </p:nvSpPr>
        <p:spPr>
          <a:xfrm>
            <a:off x="0" y="56569"/>
            <a:ext cx="8229600" cy="637794"/>
          </a:xfrm>
        </p:spPr>
        <p:txBody>
          <a:bodyPr/>
          <a:lstStyle/>
          <a:p>
            <a:r>
              <a:rPr lang="en-US" dirty="0"/>
              <a:t>Quartile</a:t>
            </a:r>
          </a:p>
        </p:txBody>
      </p:sp>
      <p:sp>
        <p:nvSpPr>
          <p:cNvPr id="3" name="TextBox 2">
            <a:extLst>
              <a:ext uri="{FF2B5EF4-FFF2-40B4-BE49-F238E27FC236}">
                <a16:creationId xmlns:a16="http://schemas.microsoft.com/office/drawing/2014/main" id="{6D6F2D4B-88D4-4088-AF08-0BC82059D804}"/>
              </a:ext>
            </a:extLst>
          </p:cNvPr>
          <p:cNvSpPr txBox="1"/>
          <p:nvPr/>
        </p:nvSpPr>
        <p:spPr>
          <a:xfrm>
            <a:off x="0" y="459033"/>
            <a:ext cx="9018357" cy="4909036"/>
          </a:xfrm>
          <a:prstGeom prst="rect">
            <a:avLst/>
          </a:prstGeom>
          <a:noFill/>
        </p:spPr>
        <p:txBody>
          <a:bodyPr wrap="square" rtlCol="0">
            <a:spAutoFit/>
          </a:bodyPr>
          <a:lstStyle/>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Sometimes a "cut" is between two numbers ... the Quartile is the average of the two numbers</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algn="l"/>
            <a:r>
              <a:rPr lang="en-US" sz="1800" b="1" dirty="0">
                <a:solidFill>
                  <a:schemeClr val="bg2">
                    <a:lumMod val="50000"/>
                    <a:lumOff val="50000"/>
                  </a:schemeClr>
                </a:solidFill>
                <a:latin typeface="Inter"/>
                <a:cs typeface="Arial" panose="020B0604020202020204" pitchFamily="34" charset="0"/>
              </a:rPr>
              <a:t>Example: 1, 3, 3, 4, 5, 6, 6, 7, 8, 8</a:t>
            </a:r>
          </a:p>
          <a:p>
            <a:pPr marL="285750" indent="-285750" algn="l">
              <a:buFont typeface="Wingdings" panose="05000000000000000000" pitchFamily="2" charset="2"/>
              <a:buChar char="Ø"/>
            </a:pPr>
            <a:r>
              <a:rPr lang="en-US" sz="1800" dirty="0">
                <a:solidFill>
                  <a:schemeClr val="bg2">
                    <a:lumMod val="50000"/>
                    <a:lumOff val="50000"/>
                  </a:schemeClr>
                </a:solidFill>
                <a:latin typeface="Inter"/>
                <a:cs typeface="Arial" panose="020B0604020202020204" pitchFamily="34" charset="0"/>
              </a:rPr>
              <a:t>The numbers are already in order</a:t>
            </a:r>
          </a:p>
          <a:p>
            <a:pPr marL="285750" indent="-285750" algn="l">
              <a:buFont typeface="Wingdings" panose="05000000000000000000" pitchFamily="2" charset="2"/>
              <a:buChar char="Ø"/>
            </a:pPr>
            <a:r>
              <a:rPr lang="en-US" sz="1800" dirty="0">
                <a:solidFill>
                  <a:schemeClr val="bg2">
                    <a:lumMod val="50000"/>
                    <a:lumOff val="50000"/>
                  </a:schemeClr>
                </a:solidFill>
                <a:latin typeface="Inter"/>
                <a:cs typeface="Arial" panose="020B0604020202020204" pitchFamily="34" charset="0"/>
              </a:rPr>
              <a:t>Cut the list into quarters:</a:t>
            </a:r>
          </a:p>
          <a:p>
            <a:pPr marL="285750" indent="-285750" algn="l">
              <a:buFont typeface="Wingdings" panose="05000000000000000000" pitchFamily="2" charset="2"/>
              <a:buChar char="Ø"/>
            </a:pPr>
            <a:endParaRPr lang="en-US" sz="1800" dirty="0">
              <a:solidFill>
                <a:schemeClr val="bg2">
                  <a:lumMod val="50000"/>
                  <a:lumOff val="50000"/>
                </a:schemeClr>
              </a:solidFill>
              <a:latin typeface="Inter"/>
              <a:cs typeface="Arial" panose="020B0604020202020204" pitchFamily="34" charset="0"/>
            </a:endParaRPr>
          </a:p>
          <a:p>
            <a:pPr algn="l"/>
            <a:endParaRPr lang="en-US" sz="1800" dirty="0">
              <a:solidFill>
                <a:schemeClr val="bg2">
                  <a:lumMod val="50000"/>
                  <a:lumOff val="50000"/>
                </a:schemeClr>
              </a:solidFill>
              <a:latin typeface="Inter"/>
              <a:cs typeface="Arial" panose="020B0604020202020204" pitchFamily="34" charset="0"/>
            </a:endParaRPr>
          </a:p>
          <a:p>
            <a:pPr algn="l"/>
            <a:r>
              <a:rPr lang="en-US" sz="2000" dirty="0">
                <a:solidFill>
                  <a:schemeClr val="bg2">
                    <a:lumMod val="50000"/>
                    <a:lumOff val="50000"/>
                  </a:schemeClr>
                </a:solidFill>
                <a:latin typeface="Inter"/>
                <a:cs typeface="Arial" panose="020B0604020202020204" pitchFamily="34" charset="0"/>
              </a:rPr>
              <a:t>In this case Quartile 2 is halfway between 5 and 6:</a:t>
            </a:r>
          </a:p>
          <a:p>
            <a:pPr algn="l"/>
            <a:r>
              <a:rPr lang="en-US" sz="2000" dirty="0">
                <a:solidFill>
                  <a:schemeClr val="bg2">
                    <a:lumMod val="50000"/>
                    <a:lumOff val="50000"/>
                  </a:schemeClr>
                </a:solidFill>
                <a:latin typeface="Inter"/>
                <a:cs typeface="Arial" panose="020B0604020202020204" pitchFamily="34" charset="0"/>
              </a:rPr>
              <a:t>		Q2 = (5+6)/2 = 5.5</a:t>
            </a:r>
          </a:p>
          <a:p>
            <a:pPr algn="l"/>
            <a:r>
              <a:rPr lang="en-US" sz="2000" b="1" i="1" dirty="0">
                <a:solidFill>
                  <a:schemeClr val="bg2">
                    <a:lumMod val="50000"/>
                    <a:lumOff val="50000"/>
                  </a:schemeClr>
                </a:solidFill>
                <a:latin typeface="Inter"/>
                <a:cs typeface="Arial" panose="020B0604020202020204" pitchFamily="34" charset="0"/>
              </a:rPr>
              <a:t>And the result is:</a:t>
            </a:r>
          </a:p>
          <a:p>
            <a:pPr algn="l"/>
            <a:r>
              <a:rPr lang="en-US" sz="2000" dirty="0">
                <a:solidFill>
                  <a:schemeClr val="bg2">
                    <a:lumMod val="50000"/>
                    <a:lumOff val="50000"/>
                  </a:schemeClr>
                </a:solidFill>
                <a:latin typeface="Inter"/>
                <a:cs typeface="Arial" panose="020B0604020202020204" pitchFamily="34" charset="0"/>
              </a:rPr>
              <a:t>Quartile 1 (Q1) = 3</a:t>
            </a:r>
          </a:p>
          <a:p>
            <a:pPr algn="l"/>
            <a:r>
              <a:rPr lang="en-US" sz="2000" dirty="0">
                <a:solidFill>
                  <a:schemeClr val="bg2">
                    <a:lumMod val="50000"/>
                    <a:lumOff val="50000"/>
                  </a:schemeClr>
                </a:solidFill>
                <a:latin typeface="Inter"/>
                <a:cs typeface="Arial" panose="020B0604020202020204" pitchFamily="34" charset="0"/>
              </a:rPr>
              <a:t>Quartile 2 (Q2) = 5.5</a:t>
            </a:r>
          </a:p>
          <a:p>
            <a:pPr algn="l"/>
            <a:r>
              <a:rPr lang="en-US" sz="2000" dirty="0">
                <a:solidFill>
                  <a:schemeClr val="bg2">
                    <a:lumMod val="50000"/>
                    <a:lumOff val="50000"/>
                  </a:schemeClr>
                </a:solidFill>
                <a:latin typeface="Inter"/>
                <a:cs typeface="Arial" panose="020B0604020202020204" pitchFamily="34" charset="0"/>
              </a:rPr>
              <a:t>Quartile 3 (Q3) = 7</a:t>
            </a:r>
          </a:p>
          <a:p>
            <a:pPr marL="285750" indent="-285750" algn="l">
              <a:buFont typeface="Wingdings" panose="05000000000000000000" pitchFamily="2" charset="2"/>
              <a:buChar char="Ø"/>
            </a:pPr>
            <a:endParaRPr lang="en-US" sz="18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endParaRPr lang="en-US" sz="1400" dirty="0">
              <a:solidFill>
                <a:schemeClr val="bg2"/>
              </a:solidFill>
              <a:latin typeface="+mn-lt"/>
            </a:endParaRPr>
          </a:p>
        </p:txBody>
      </p:sp>
      <p:pic>
        <p:nvPicPr>
          <p:cNvPr id="5" name="Picture 4">
            <a:extLst>
              <a:ext uri="{FF2B5EF4-FFF2-40B4-BE49-F238E27FC236}">
                <a16:creationId xmlns:a16="http://schemas.microsoft.com/office/drawing/2014/main" id="{B8D3FA8A-E1F8-48C3-893C-09F0E75760C3}"/>
              </a:ext>
            </a:extLst>
          </p:cNvPr>
          <p:cNvPicPr>
            <a:picLocks noChangeAspect="1"/>
          </p:cNvPicPr>
          <p:nvPr/>
        </p:nvPicPr>
        <p:blipFill>
          <a:blip r:embed="rId2"/>
          <a:stretch>
            <a:fillRect/>
          </a:stretch>
        </p:blipFill>
        <p:spPr>
          <a:xfrm>
            <a:off x="4114800" y="1155395"/>
            <a:ext cx="4204561" cy="1515671"/>
          </a:xfrm>
          <a:prstGeom prst="rect">
            <a:avLst/>
          </a:prstGeom>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01194AE4-C1AA-4BB6-A381-76C8C03A2832}"/>
                  </a:ext>
                </a:extLst>
              </p14:cNvPr>
              <p14:cNvContentPartPr/>
              <p14:nvPr/>
            </p14:nvContentPartPr>
            <p14:xfrm>
              <a:off x="1047600" y="1700280"/>
              <a:ext cx="1824480" cy="81360"/>
            </p14:xfrm>
          </p:contentPart>
        </mc:Choice>
        <mc:Fallback xmlns="">
          <p:pic>
            <p:nvPicPr>
              <p:cNvPr id="4" name="Ink 3">
                <a:extLst>
                  <a:ext uri="{FF2B5EF4-FFF2-40B4-BE49-F238E27FC236}">
                    <a16:creationId xmlns:a16="http://schemas.microsoft.com/office/drawing/2014/main" id="{01194AE4-C1AA-4BB6-A381-76C8C03A2832}"/>
                  </a:ext>
                </a:extLst>
              </p:cNvPr>
              <p:cNvPicPr/>
              <p:nvPr/>
            </p:nvPicPr>
            <p:blipFill>
              <a:blip r:embed="rId4"/>
              <a:stretch>
                <a:fillRect/>
              </a:stretch>
            </p:blipFill>
            <p:spPr>
              <a:xfrm>
                <a:off x="1038240" y="1690920"/>
                <a:ext cx="1843200" cy="100080"/>
              </a:xfrm>
              <a:prstGeom prst="rect">
                <a:avLst/>
              </a:prstGeom>
            </p:spPr>
          </p:pic>
        </mc:Fallback>
      </mc:AlternateContent>
    </p:spTree>
    <p:extLst>
      <p:ext uri="{BB962C8B-B14F-4D97-AF65-F5344CB8AC3E}">
        <p14:creationId xmlns:p14="http://schemas.microsoft.com/office/powerpoint/2010/main" val="480427111"/>
      </p:ext>
    </p:extLst>
  </p:cSld>
  <p:clrMapOvr>
    <a:masterClrMapping/>
  </p:clrMapOvr>
  <p:transition spd="med">
    <p:wipe dir="r"/>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919C6A-64C3-4584-B1ED-A04DC1EC1D56}"/>
              </a:ext>
            </a:extLst>
          </p:cNvPr>
          <p:cNvSpPr>
            <a:spLocks noGrp="1"/>
          </p:cNvSpPr>
          <p:nvPr>
            <p:ph type="title"/>
          </p:nvPr>
        </p:nvSpPr>
        <p:spPr>
          <a:xfrm>
            <a:off x="0" y="0"/>
            <a:ext cx="9144000" cy="637794"/>
          </a:xfrm>
        </p:spPr>
        <p:txBody>
          <a:bodyPr/>
          <a:lstStyle/>
          <a:p>
            <a:r>
              <a:rPr lang="en-US" dirty="0"/>
              <a:t>How to find Q1, Q2, Q3 ? lets do a small example to get the understanding</a:t>
            </a:r>
            <a:br>
              <a:rPr lang="en-US" sz="1800" dirty="0">
                <a:effectLst/>
                <a:latin typeface="Calibri" panose="020F0502020204030204" pitchFamily="34" charset="0"/>
                <a:ea typeface="DengXian" panose="02010600030101010101" pitchFamily="2" charset="-122"/>
                <a:cs typeface="Times New Roman" panose="02020603050405020304" pitchFamily="18" charset="0"/>
              </a:rPr>
            </a:br>
            <a:endParaRPr lang="en-US" dirty="0"/>
          </a:p>
        </p:txBody>
      </p:sp>
      <mc:AlternateContent xmlns:mc="http://schemas.openxmlformats.org/markup-compatibility/2006" xmlns:p14="http://schemas.microsoft.com/office/powerpoint/2010/main">
        <mc:Choice Requires="p14">
          <p:contentPart p14:bwMode="auto" r:id="rId2">
            <p14:nvContentPartPr>
              <p14:cNvPr id="3" name="Ink 2">
                <a:extLst>
                  <a:ext uri="{FF2B5EF4-FFF2-40B4-BE49-F238E27FC236}">
                    <a16:creationId xmlns:a16="http://schemas.microsoft.com/office/drawing/2014/main" id="{701AEE92-7881-4B6A-BBFA-D2FE4ED165EB}"/>
                  </a:ext>
                </a:extLst>
              </p14:cNvPr>
              <p14:cNvContentPartPr/>
              <p14:nvPr/>
            </p14:nvContentPartPr>
            <p14:xfrm>
              <a:off x="604800" y="809640"/>
              <a:ext cx="7444080" cy="3524760"/>
            </p14:xfrm>
          </p:contentPart>
        </mc:Choice>
        <mc:Fallback xmlns="">
          <p:pic>
            <p:nvPicPr>
              <p:cNvPr id="3" name="Ink 2">
                <a:extLst>
                  <a:ext uri="{FF2B5EF4-FFF2-40B4-BE49-F238E27FC236}">
                    <a16:creationId xmlns:a16="http://schemas.microsoft.com/office/drawing/2014/main" id="{701AEE92-7881-4B6A-BBFA-D2FE4ED165EB}"/>
                  </a:ext>
                </a:extLst>
              </p:cNvPr>
              <p:cNvPicPr/>
              <p:nvPr/>
            </p:nvPicPr>
            <p:blipFill>
              <a:blip r:embed="rId3"/>
              <a:stretch>
                <a:fillRect/>
              </a:stretch>
            </p:blipFill>
            <p:spPr>
              <a:xfrm>
                <a:off x="595440" y="800280"/>
                <a:ext cx="7462800" cy="3543480"/>
              </a:xfrm>
              <a:prstGeom prst="rect">
                <a:avLst/>
              </a:prstGeom>
            </p:spPr>
          </p:pic>
        </mc:Fallback>
      </mc:AlternateContent>
    </p:spTree>
    <p:extLst>
      <p:ext uri="{BB962C8B-B14F-4D97-AF65-F5344CB8AC3E}">
        <p14:creationId xmlns:p14="http://schemas.microsoft.com/office/powerpoint/2010/main" val="770549809"/>
      </p:ext>
    </p:extLst>
  </p:cSld>
  <p:clrMapOvr>
    <a:masterClrMapping/>
  </p:clrMapOvr>
  <p:transition spd="med">
    <p:wipe dir="r"/>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C3DDF7-9977-4F1F-89F2-D84EB59C0B30}"/>
              </a:ext>
            </a:extLst>
          </p:cNvPr>
          <p:cNvSpPr>
            <a:spLocks noGrp="1"/>
          </p:cNvSpPr>
          <p:nvPr>
            <p:ph type="title"/>
          </p:nvPr>
        </p:nvSpPr>
        <p:spPr>
          <a:xfrm>
            <a:off x="0" y="0"/>
            <a:ext cx="8229600" cy="637794"/>
          </a:xfrm>
        </p:spPr>
        <p:txBody>
          <a:bodyPr/>
          <a:lstStyle/>
          <a:p>
            <a:r>
              <a:rPr lang="en-US" dirty="0"/>
              <a:t>Interquartile Range</a:t>
            </a:r>
          </a:p>
        </p:txBody>
      </p:sp>
      <p:sp>
        <p:nvSpPr>
          <p:cNvPr id="3" name="TextBox 2">
            <a:extLst>
              <a:ext uri="{FF2B5EF4-FFF2-40B4-BE49-F238E27FC236}">
                <a16:creationId xmlns:a16="http://schemas.microsoft.com/office/drawing/2014/main" id="{EC723DC2-7B90-4304-AAC3-E683C7BC140B}"/>
              </a:ext>
            </a:extLst>
          </p:cNvPr>
          <p:cNvSpPr txBox="1"/>
          <p:nvPr/>
        </p:nvSpPr>
        <p:spPr>
          <a:xfrm>
            <a:off x="0" y="637794"/>
            <a:ext cx="9060238" cy="1846659"/>
          </a:xfrm>
          <a:prstGeom prst="rect">
            <a:avLst/>
          </a:prstGeom>
          <a:noFill/>
        </p:spPr>
        <p:txBody>
          <a:bodyPr wrap="square" rtlCol="0">
            <a:spAutoFit/>
          </a:bodyPr>
          <a:lstStyle/>
          <a:p>
            <a:pPr marL="342900" indent="-342900" algn="l">
              <a:buFont typeface="Wingdings" panose="05000000000000000000" pitchFamily="2" charset="2"/>
              <a:buChar char="Ø"/>
            </a:pPr>
            <a:r>
              <a:rPr lang="en-US" sz="2000" dirty="0">
                <a:solidFill>
                  <a:schemeClr val="bg2">
                    <a:lumMod val="50000"/>
                    <a:lumOff val="50000"/>
                  </a:schemeClr>
                </a:solidFill>
                <a:latin typeface="Inter"/>
                <a:cs typeface="Arial" panose="020B0604020202020204" pitchFamily="34" charset="0"/>
              </a:rPr>
              <a:t>The</a:t>
            </a:r>
            <a:r>
              <a:rPr lang="en-US" sz="2000" dirty="0">
                <a:solidFill>
                  <a:schemeClr val="bg2">
                    <a:lumMod val="50000"/>
                    <a:lumOff val="50000"/>
                  </a:schemeClr>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 </a:t>
            </a:r>
            <a:r>
              <a:rPr lang="en-US" sz="2000" b="1" dirty="0">
                <a:solidFill>
                  <a:schemeClr val="bg2">
                    <a:lumMod val="50000"/>
                    <a:lumOff val="50000"/>
                  </a:schemeClr>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interquartile range</a:t>
            </a:r>
            <a:r>
              <a:rPr lang="en-US" sz="2000" b="1" dirty="0">
                <a:solidFill>
                  <a:schemeClr val="bg2">
                    <a:lumMod val="50000"/>
                    <a:lumOff val="50000"/>
                  </a:schemeClr>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gives you the spread of the middle of your distribution.</a:t>
            </a:r>
          </a:p>
          <a:p>
            <a:pPr marL="342900" indent="-342900" algn="l">
              <a:buFont typeface="Wingdings" panose="05000000000000000000" pitchFamily="2" charset="2"/>
              <a:buChar char="Ø"/>
            </a:pPr>
            <a:endParaRPr lang="en-US" sz="2000" dirty="0">
              <a:solidFill>
                <a:schemeClr val="bg2">
                  <a:lumMod val="50000"/>
                  <a:lumOff val="50000"/>
                </a:schemeClr>
              </a:solidFill>
              <a:latin typeface="Inter"/>
              <a:cs typeface="Arial" panose="020B0604020202020204" pitchFamily="34" charset="0"/>
            </a:endParaRPr>
          </a:p>
          <a:p>
            <a:pPr marL="342900" indent="-342900" algn="l">
              <a:buFont typeface="Wingdings" panose="05000000000000000000" pitchFamily="2" charset="2"/>
              <a:buChar char="Ø"/>
            </a:pPr>
            <a:r>
              <a:rPr lang="en-US" sz="2000" dirty="0">
                <a:solidFill>
                  <a:schemeClr val="bg2">
                    <a:lumMod val="50000"/>
                    <a:lumOff val="50000"/>
                  </a:schemeClr>
                </a:solidFill>
                <a:latin typeface="Inter"/>
                <a:cs typeface="Arial" panose="020B0604020202020204" pitchFamily="34" charset="0"/>
              </a:rPr>
              <a:t>For any distribution that’s ordered from low to high, the interquartile range contains half of the values. While the first quartile (Q1) contains the first 25% of values, the fourth quartile (Q4) contains the last 25% of values.</a:t>
            </a: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D92FD61A-25F3-4C72-BB82-FCCE08F21D34}"/>
              </a:ext>
            </a:extLst>
          </p:cNvPr>
          <p:cNvPicPr>
            <a:picLocks noChangeAspect="1"/>
          </p:cNvPicPr>
          <p:nvPr/>
        </p:nvPicPr>
        <p:blipFill>
          <a:blip r:embed="rId3"/>
          <a:stretch>
            <a:fillRect/>
          </a:stretch>
        </p:blipFill>
        <p:spPr>
          <a:xfrm>
            <a:off x="2287928" y="2661167"/>
            <a:ext cx="4043392" cy="2032355"/>
          </a:xfrm>
          <a:prstGeom prst="rect">
            <a:avLst/>
          </a:prstGeom>
        </p:spPr>
      </p:pic>
      <mc:AlternateContent xmlns:mc="http://schemas.openxmlformats.org/markup-compatibility/2006" xmlns:p14="http://schemas.microsoft.com/office/powerpoint/2010/main">
        <mc:Choice Requires="p14">
          <p:contentPart p14:bwMode="auto" r:id="rId4">
            <p14:nvContentPartPr>
              <p14:cNvPr id="4" name="Ink 3">
                <a:extLst>
                  <a:ext uri="{FF2B5EF4-FFF2-40B4-BE49-F238E27FC236}">
                    <a16:creationId xmlns:a16="http://schemas.microsoft.com/office/drawing/2014/main" id="{735B0BDA-55AF-47EE-8FCB-01A8D6EB176F}"/>
                  </a:ext>
                </a:extLst>
              </p14:cNvPr>
              <p14:cNvContentPartPr/>
              <p14:nvPr/>
            </p14:nvContentPartPr>
            <p14:xfrm>
              <a:off x="71280" y="147600"/>
              <a:ext cx="8791920" cy="4667760"/>
            </p14:xfrm>
          </p:contentPart>
        </mc:Choice>
        <mc:Fallback xmlns="">
          <p:pic>
            <p:nvPicPr>
              <p:cNvPr id="4" name="Ink 3">
                <a:extLst>
                  <a:ext uri="{FF2B5EF4-FFF2-40B4-BE49-F238E27FC236}">
                    <a16:creationId xmlns:a16="http://schemas.microsoft.com/office/drawing/2014/main" id="{735B0BDA-55AF-47EE-8FCB-01A8D6EB176F}"/>
                  </a:ext>
                </a:extLst>
              </p:cNvPr>
              <p:cNvPicPr/>
              <p:nvPr/>
            </p:nvPicPr>
            <p:blipFill>
              <a:blip r:embed="rId5"/>
              <a:stretch>
                <a:fillRect/>
              </a:stretch>
            </p:blipFill>
            <p:spPr>
              <a:xfrm>
                <a:off x="61920" y="138240"/>
                <a:ext cx="8810640" cy="4686480"/>
              </a:xfrm>
              <a:prstGeom prst="rect">
                <a:avLst/>
              </a:prstGeom>
            </p:spPr>
          </p:pic>
        </mc:Fallback>
      </mc:AlternateContent>
    </p:spTree>
    <p:extLst>
      <p:ext uri="{BB962C8B-B14F-4D97-AF65-F5344CB8AC3E}">
        <p14:creationId xmlns:p14="http://schemas.microsoft.com/office/powerpoint/2010/main" val="1056268501"/>
      </p:ext>
    </p:extLst>
  </p:cSld>
  <p:clrMapOvr>
    <a:masterClrMapping/>
  </p:clrMapOvr>
  <p:transition spd="med">
    <p:wipe dir="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F6D149-A19F-47BE-87C4-806F1BF7BC68}"/>
              </a:ext>
            </a:extLst>
          </p:cNvPr>
          <p:cNvSpPr>
            <a:spLocks noGrp="1"/>
          </p:cNvSpPr>
          <p:nvPr>
            <p:ph type="title"/>
          </p:nvPr>
        </p:nvSpPr>
        <p:spPr>
          <a:xfrm>
            <a:off x="0" y="0"/>
            <a:ext cx="8229600" cy="637794"/>
          </a:xfrm>
        </p:spPr>
        <p:txBody>
          <a:bodyPr/>
          <a:lstStyle/>
          <a:p>
            <a:r>
              <a:rPr lang="en-US" dirty="0"/>
              <a:t>Interquartile Range</a:t>
            </a:r>
          </a:p>
        </p:txBody>
      </p:sp>
      <p:sp>
        <p:nvSpPr>
          <p:cNvPr id="3" name="TextBox 2">
            <a:extLst>
              <a:ext uri="{FF2B5EF4-FFF2-40B4-BE49-F238E27FC236}">
                <a16:creationId xmlns:a16="http://schemas.microsoft.com/office/drawing/2014/main" id="{AC999203-3FC5-457B-83C4-A1677B14ED3D}"/>
              </a:ext>
            </a:extLst>
          </p:cNvPr>
          <p:cNvSpPr txBox="1"/>
          <p:nvPr/>
        </p:nvSpPr>
        <p:spPr>
          <a:xfrm>
            <a:off x="0" y="725937"/>
            <a:ext cx="9144000" cy="1169551"/>
          </a:xfrm>
          <a:prstGeom prst="rect">
            <a:avLst/>
          </a:prstGeom>
          <a:noFill/>
        </p:spPr>
        <p:txBody>
          <a:bodyPr wrap="square" rtlCol="0">
            <a:spAutoFit/>
          </a:bodyPr>
          <a:lstStyle/>
          <a:p>
            <a:pPr>
              <a:spcBef>
                <a:spcPts val="0"/>
              </a:spcBef>
              <a:spcAft>
                <a:spcPts val="0"/>
              </a:spcAft>
              <a:buClr>
                <a:schemeClr val="bg1"/>
              </a:buClr>
            </a:pPr>
            <a:r>
              <a:rPr lang="en-US" sz="2800" dirty="0">
                <a:solidFill>
                  <a:schemeClr val="bg2">
                    <a:lumMod val="50000"/>
                    <a:lumOff val="50000"/>
                  </a:schemeClr>
                </a:solidFill>
                <a:latin typeface="Inter"/>
                <a:cs typeface="Arial" panose="020B0604020202020204" pitchFamily="34" charset="0"/>
              </a:rPr>
              <a:t>Ex: you have 8 data points from Sample A</a:t>
            </a:r>
          </a:p>
          <a:p>
            <a:pPr>
              <a:spcBef>
                <a:spcPts val="0"/>
              </a:spcBef>
              <a:spcAft>
                <a:spcPts val="0"/>
              </a:spcAft>
              <a:buClr>
                <a:schemeClr val="bg1"/>
              </a:buClr>
            </a:pPr>
            <a:endParaRPr lang="en-US" sz="1400" dirty="0">
              <a:solidFill>
                <a:srgbClr val="0D405F"/>
              </a:solidFill>
              <a:latin typeface="Inter"/>
            </a:endParaRPr>
          </a:p>
          <a:p>
            <a:pPr>
              <a:spcBef>
                <a:spcPts val="0"/>
              </a:spcBef>
              <a:spcAft>
                <a:spcPts val="0"/>
              </a:spcAft>
              <a:buClr>
                <a:schemeClr val="bg1"/>
              </a:buClr>
            </a:pPr>
            <a:r>
              <a:rPr lang="en-US" sz="1400" b="1" dirty="0">
                <a:solidFill>
                  <a:schemeClr val="accent1"/>
                </a:solidFill>
                <a:latin typeface="Inter"/>
              </a:rPr>
              <a:t>Data (Minutes) 	72	110	134	190	238	287	305	324</a:t>
            </a:r>
            <a:endParaRPr lang="en-US" sz="1800" b="1" dirty="0">
              <a:solidFill>
                <a:schemeClr val="accent1"/>
              </a:solidFill>
              <a:latin typeface="+mn-lt"/>
            </a:endParaRP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7C81B745-02DC-41D6-A1AF-6ADC24F9920F}"/>
                  </a:ext>
                </a:extLst>
              </p14:cNvPr>
              <p14:cNvContentPartPr/>
              <p14:nvPr/>
            </p14:nvContentPartPr>
            <p14:xfrm>
              <a:off x="1452600" y="1305000"/>
              <a:ext cx="7687080" cy="1738440"/>
            </p14:xfrm>
          </p:contentPart>
        </mc:Choice>
        <mc:Fallback xmlns="">
          <p:pic>
            <p:nvPicPr>
              <p:cNvPr id="4" name="Ink 3">
                <a:extLst>
                  <a:ext uri="{FF2B5EF4-FFF2-40B4-BE49-F238E27FC236}">
                    <a16:creationId xmlns:a16="http://schemas.microsoft.com/office/drawing/2014/main" id="{7C81B745-02DC-41D6-A1AF-6ADC24F9920F}"/>
                  </a:ext>
                </a:extLst>
              </p:cNvPr>
              <p:cNvPicPr/>
              <p:nvPr/>
            </p:nvPicPr>
            <p:blipFill>
              <a:blip r:embed="rId3"/>
              <a:stretch>
                <a:fillRect/>
              </a:stretch>
            </p:blipFill>
            <p:spPr>
              <a:xfrm>
                <a:off x="1443240" y="1295640"/>
                <a:ext cx="7705800" cy="1757160"/>
              </a:xfrm>
              <a:prstGeom prst="rect">
                <a:avLst/>
              </a:prstGeom>
            </p:spPr>
          </p:pic>
        </mc:Fallback>
      </mc:AlternateContent>
    </p:spTree>
    <p:extLst>
      <p:ext uri="{BB962C8B-B14F-4D97-AF65-F5344CB8AC3E}">
        <p14:creationId xmlns:p14="http://schemas.microsoft.com/office/powerpoint/2010/main" val="1015857233"/>
      </p:ext>
    </p:extLst>
  </p:cSld>
  <p:clrMapOvr>
    <a:masterClrMapping/>
  </p:clrMapOvr>
  <p:transition spd="med">
    <p:wipe dir="r"/>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086A2A-E07A-42CE-BF96-41BC3D022BD0}"/>
              </a:ext>
            </a:extLst>
          </p:cNvPr>
          <p:cNvSpPr>
            <a:spLocks noGrp="1"/>
          </p:cNvSpPr>
          <p:nvPr>
            <p:ph type="title"/>
          </p:nvPr>
        </p:nvSpPr>
        <p:spPr>
          <a:xfrm>
            <a:off x="0" y="0"/>
            <a:ext cx="8229600" cy="637794"/>
          </a:xfrm>
        </p:spPr>
        <p:txBody>
          <a:bodyPr/>
          <a:lstStyle/>
          <a:p>
            <a:r>
              <a:rPr lang="en-US" dirty="0"/>
              <a:t>Interquartile Range</a:t>
            </a:r>
          </a:p>
        </p:txBody>
      </p:sp>
      <p:sp>
        <p:nvSpPr>
          <p:cNvPr id="3" name="TextBox 2">
            <a:extLst>
              <a:ext uri="{FF2B5EF4-FFF2-40B4-BE49-F238E27FC236}">
                <a16:creationId xmlns:a16="http://schemas.microsoft.com/office/drawing/2014/main" id="{AB8E5736-46E3-4A0C-8877-A0E746A30E1C}"/>
              </a:ext>
            </a:extLst>
          </p:cNvPr>
          <p:cNvSpPr txBox="1"/>
          <p:nvPr/>
        </p:nvSpPr>
        <p:spPr>
          <a:xfrm>
            <a:off x="56087" y="582111"/>
            <a:ext cx="8117426" cy="954107"/>
          </a:xfrm>
          <a:prstGeom prst="rect">
            <a:avLst/>
          </a:prstGeom>
          <a:noFill/>
        </p:spPr>
        <p:txBody>
          <a:bodyPr wrap="square" rtlCol="0">
            <a:spAutoFit/>
          </a:bodyPr>
          <a:lstStyle/>
          <a:p>
            <a:pPr>
              <a:spcBef>
                <a:spcPts val="0"/>
              </a:spcBef>
              <a:spcAft>
                <a:spcPts val="0"/>
              </a:spcAft>
              <a:buClr>
                <a:schemeClr val="bg1"/>
              </a:buClr>
            </a:pPr>
            <a:r>
              <a:rPr lang="en-US" sz="2800" dirty="0">
                <a:solidFill>
                  <a:schemeClr val="bg2">
                    <a:lumMod val="50000"/>
                    <a:lumOff val="50000"/>
                  </a:schemeClr>
                </a:solidFill>
                <a:latin typeface="Inter"/>
                <a:cs typeface="Arial" panose="020B0604020202020204" pitchFamily="34" charset="0"/>
              </a:rPr>
              <a:t>Ex : To calculate it just subtract Quartile 1 from Quartile 3, like this:</a:t>
            </a:r>
          </a:p>
        </p:txBody>
      </p:sp>
      <p:pic>
        <p:nvPicPr>
          <p:cNvPr id="5" name="Picture 4">
            <a:extLst>
              <a:ext uri="{FF2B5EF4-FFF2-40B4-BE49-F238E27FC236}">
                <a16:creationId xmlns:a16="http://schemas.microsoft.com/office/drawing/2014/main" id="{88C503D7-DF26-4859-ABAA-04EB3D0015F5}"/>
              </a:ext>
            </a:extLst>
          </p:cNvPr>
          <p:cNvPicPr>
            <a:picLocks noChangeAspect="1"/>
          </p:cNvPicPr>
          <p:nvPr/>
        </p:nvPicPr>
        <p:blipFill>
          <a:blip r:embed="rId2"/>
          <a:stretch>
            <a:fillRect/>
          </a:stretch>
        </p:blipFill>
        <p:spPr>
          <a:xfrm>
            <a:off x="1571517" y="1726261"/>
            <a:ext cx="4166170" cy="1881022"/>
          </a:xfrm>
          <a:prstGeom prst="rect">
            <a:avLst/>
          </a:prstGeom>
        </p:spPr>
      </p:pic>
      <p:sp>
        <p:nvSpPr>
          <p:cNvPr id="6" name="TextBox 5">
            <a:extLst>
              <a:ext uri="{FF2B5EF4-FFF2-40B4-BE49-F238E27FC236}">
                <a16:creationId xmlns:a16="http://schemas.microsoft.com/office/drawing/2014/main" id="{F8E18E6A-F867-4A4B-A86D-75A83FA49F2F}"/>
              </a:ext>
            </a:extLst>
          </p:cNvPr>
          <p:cNvSpPr txBox="1"/>
          <p:nvPr/>
        </p:nvSpPr>
        <p:spPr>
          <a:xfrm>
            <a:off x="237325" y="3869546"/>
            <a:ext cx="6707927" cy="646331"/>
          </a:xfrm>
          <a:prstGeom prst="rect">
            <a:avLst/>
          </a:prstGeom>
          <a:noFill/>
        </p:spPr>
        <p:txBody>
          <a:bodyPr wrap="square" rtlCol="0">
            <a:spAutoFit/>
          </a:bodyPr>
          <a:lstStyle/>
          <a:p>
            <a:pPr algn="l"/>
            <a:r>
              <a:rPr lang="en-US" sz="1100" b="0" i="0" dirty="0">
                <a:solidFill>
                  <a:schemeClr val="bg2">
                    <a:lumMod val="50000"/>
                    <a:lumOff val="50000"/>
                  </a:schemeClr>
                </a:solidFill>
                <a:effectLst/>
                <a:latin typeface="Verdana" panose="020B0604030504040204" pitchFamily="34" charset="0"/>
              </a:rPr>
              <a:t>The </a:t>
            </a:r>
            <a:r>
              <a:rPr lang="en-US" sz="1100" b="1" i="0" dirty="0">
                <a:solidFill>
                  <a:schemeClr val="bg2">
                    <a:lumMod val="50000"/>
                    <a:lumOff val="50000"/>
                  </a:schemeClr>
                </a:solidFill>
                <a:effectLst/>
                <a:latin typeface="Verdana" panose="020B0604030504040204" pitchFamily="34" charset="0"/>
              </a:rPr>
              <a:t>Interquartile Range</a:t>
            </a:r>
            <a:r>
              <a:rPr lang="en-US" sz="1100" b="0" i="0" dirty="0">
                <a:solidFill>
                  <a:schemeClr val="bg2">
                    <a:lumMod val="50000"/>
                    <a:lumOff val="50000"/>
                  </a:schemeClr>
                </a:solidFill>
                <a:effectLst/>
                <a:latin typeface="Verdana" panose="020B0604030504040204" pitchFamily="34" charset="0"/>
              </a:rPr>
              <a:t> is:</a:t>
            </a:r>
          </a:p>
          <a:p>
            <a:pPr algn="ctr"/>
            <a:r>
              <a:rPr lang="en-US" sz="1100" b="0" i="0" dirty="0">
                <a:solidFill>
                  <a:schemeClr val="bg2">
                    <a:lumMod val="50000"/>
                    <a:lumOff val="50000"/>
                  </a:schemeClr>
                </a:solidFill>
                <a:effectLst/>
                <a:latin typeface="Verdana" panose="020B0604030504040204" pitchFamily="34" charset="0"/>
              </a:rPr>
              <a:t>Q3 − Q1 = 7 − 4 = </a:t>
            </a:r>
            <a:r>
              <a:rPr lang="en-US" sz="1100" b="1" i="0" dirty="0">
                <a:solidFill>
                  <a:schemeClr val="bg2">
                    <a:lumMod val="50000"/>
                    <a:lumOff val="50000"/>
                  </a:schemeClr>
                </a:solidFill>
                <a:effectLst/>
                <a:latin typeface="Verdana" panose="020B0604030504040204" pitchFamily="34" charset="0"/>
              </a:rPr>
              <a:t>3</a:t>
            </a:r>
            <a:endParaRPr lang="en-US" sz="1100" b="0" i="0" dirty="0">
              <a:solidFill>
                <a:schemeClr val="bg2">
                  <a:lumMod val="50000"/>
                  <a:lumOff val="50000"/>
                </a:schemeClr>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1597251860"/>
      </p:ext>
    </p:extLst>
  </p:cSld>
  <p:clrMapOvr>
    <a:masterClrMapping/>
  </p:clrMapOvr>
  <p:transition spd="med">
    <p:wipe dir="r"/>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37706E-BE1F-4177-844F-8FEA64AD4A0C}"/>
              </a:ext>
            </a:extLst>
          </p:cNvPr>
          <p:cNvSpPr>
            <a:spLocks noGrp="1"/>
          </p:cNvSpPr>
          <p:nvPr>
            <p:ph type="title"/>
          </p:nvPr>
        </p:nvSpPr>
        <p:spPr>
          <a:xfrm>
            <a:off x="143093" y="105430"/>
            <a:ext cx="8229600" cy="637794"/>
          </a:xfrm>
        </p:spPr>
        <p:txBody>
          <a:bodyPr/>
          <a:lstStyle/>
          <a:p>
            <a:r>
              <a:rPr lang="en-US" dirty="0"/>
              <a:t>Worksheet</a:t>
            </a:r>
          </a:p>
        </p:txBody>
      </p:sp>
    </p:spTree>
    <p:extLst>
      <p:ext uri="{BB962C8B-B14F-4D97-AF65-F5344CB8AC3E}">
        <p14:creationId xmlns:p14="http://schemas.microsoft.com/office/powerpoint/2010/main" val="2405108307"/>
      </p:ext>
    </p:extLst>
  </p:cSld>
  <p:clrMapOvr>
    <a:masterClrMapping/>
  </p:clrMapOvr>
  <p:transition spd="med">
    <p:wipe dir="r"/>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302B98-D68B-4822-8A33-AA6F189B8061}"/>
              </a:ext>
            </a:extLst>
          </p:cNvPr>
          <p:cNvSpPr>
            <a:spLocks noGrp="1"/>
          </p:cNvSpPr>
          <p:nvPr>
            <p:ph type="title"/>
          </p:nvPr>
        </p:nvSpPr>
        <p:spPr>
          <a:xfrm>
            <a:off x="0" y="56569"/>
            <a:ext cx="8229600" cy="637794"/>
          </a:xfrm>
        </p:spPr>
        <p:txBody>
          <a:bodyPr/>
          <a:lstStyle/>
          <a:p>
            <a:r>
              <a:rPr lang="en-US" dirty="0"/>
              <a:t>Box and Whiskers Plot</a:t>
            </a:r>
          </a:p>
        </p:txBody>
      </p:sp>
      <p:sp>
        <p:nvSpPr>
          <p:cNvPr id="3" name="TextBox 2">
            <a:extLst>
              <a:ext uri="{FF2B5EF4-FFF2-40B4-BE49-F238E27FC236}">
                <a16:creationId xmlns:a16="http://schemas.microsoft.com/office/drawing/2014/main" id="{5CE3D9A2-4611-47A0-ADFC-F45B7CD82AC5}"/>
              </a:ext>
            </a:extLst>
          </p:cNvPr>
          <p:cNvSpPr txBox="1"/>
          <p:nvPr/>
        </p:nvSpPr>
        <p:spPr>
          <a:xfrm>
            <a:off x="181482" y="694363"/>
            <a:ext cx="7664209" cy="307777"/>
          </a:xfrm>
          <a:prstGeom prst="rect">
            <a:avLst/>
          </a:prstGeom>
          <a:noFill/>
        </p:spPr>
        <p:txBody>
          <a:bodyPr wrap="square" rtlCol="0">
            <a:spAutoFit/>
          </a:bodyPr>
          <a:lstStyle/>
          <a:p>
            <a:pPr>
              <a:spcBef>
                <a:spcPts val="0"/>
              </a:spcBef>
              <a:spcAft>
                <a:spcPts val="0"/>
              </a:spcAft>
              <a:buClr>
                <a:schemeClr val="bg1"/>
              </a:buClr>
            </a:pPr>
            <a:r>
              <a:rPr lang="en-US" sz="1400" b="0" i="0" dirty="0">
                <a:solidFill>
                  <a:schemeClr val="bg2">
                    <a:lumMod val="50000"/>
                    <a:lumOff val="50000"/>
                  </a:schemeClr>
                </a:solidFill>
                <a:effectLst/>
                <a:latin typeface="Verdana" panose="020B0604030504040204" pitchFamily="34" charset="0"/>
              </a:rPr>
              <a:t>We can show all the important values in a "Box and Whisker Plot", like this:</a:t>
            </a:r>
            <a:endParaRPr lang="en-US" sz="1800" dirty="0">
              <a:solidFill>
                <a:schemeClr val="bg2">
                  <a:lumMod val="50000"/>
                  <a:lumOff val="50000"/>
                </a:schemeClr>
              </a:solidFill>
              <a:latin typeface="+mn-lt"/>
            </a:endParaRPr>
          </a:p>
        </p:txBody>
      </p:sp>
      <p:pic>
        <p:nvPicPr>
          <p:cNvPr id="5" name="Picture 4">
            <a:extLst>
              <a:ext uri="{FF2B5EF4-FFF2-40B4-BE49-F238E27FC236}">
                <a16:creationId xmlns:a16="http://schemas.microsoft.com/office/drawing/2014/main" id="{ECFC2D9A-0771-4355-9746-A1CDB752DECD}"/>
              </a:ext>
            </a:extLst>
          </p:cNvPr>
          <p:cNvPicPr>
            <a:picLocks noChangeAspect="1"/>
          </p:cNvPicPr>
          <p:nvPr/>
        </p:nvPicPr>
        <p:blipFill>
          <a:blip r:embed="rId2"/>
          <a:stretch>
            <a:fillRect/>
          </a:stretch>
        </p:blipFill>
        <p:spPr>
          <a:xfrm>
            <a:off x="1771177" y="1639934"/>
            <a:ext cx="4280615" cy="1314520"/>
          </a:xfrm>
          <a:prstGeom prst="rect">
            <a:avLst/>
          </a:prstGeom>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461DD368-FAC4-4C39-AB66-5235CC1EE88D}"/>
                  </a:ext>
                </a:extLst>
              </p14:cNvPr>
              <p14:cNvContentPartPr/>
              <p14:nvPr/>
            </p14:nvContentPartPr>
            <p14:xfrm>
              <a:off x="1347840" y="1271520"/>
              <a:ext cx="7077240" cy="2605680"/>
            </p14:xfrm>
          </p:contentPart>
        </mc:Choice>
        <mc:Fallback xmlns="">
          <p:pic>
            <p:nvPicPr>
              <p:cNvPr id="4" name="Ink 3">
                <a:extLst>
                  <a:ext uri="{FF2B5EF4-FFF2-40B4-BE49-F238E27FC236}">
                    <a16:creationId xmlns:a16="http://schemas.microsoft.com/office/drawing/2014/main" id="{461DD368-FAC4-4C39-AB66-5235CC1EE88D}"/>
                  </a:ext>
                </a:extLst>
              </p:cNvPr>
              <p:cNvPicPr/>
              <p:nvPr/>
            </p:nvPicPr>
            <p:blipFill>
              <a:blip r:embed="rId4"/>
              <a:stretch>
                <a:fillRect/>
              </a:stretch>
            </p:blipFill>
            <p:spPr>
              <a:xfrm>
                <a:off x="1338480" y="1262160"/>
                <a:ext cx="7095960" cy="2624400"/>
              </a:xfrm>
              <a:prstGeom prst="rect">
                <a:avLst/>
              </a:prstGeom>
            </p:spPr>
          </p:pic>
        </mc:Fallback>
      </mc:AlternateContent>
    </p:spTree>
    <p:extLst>
      <p:ext uri="{BB962C8B-B14F-4D97-AF65-F5344CB8AC3E}">
        <p14:creationId xmlns:p14="http://schemas.microsoft.com/office/powerpoint/2010/main" val="47765115"/>
      </p:ext>
    </p:extLst>
  </p:cSld>
  <p:clrMapOvr>
    <a:masterClrMapping/>
  </p:clrMapOvr>
  <p:transition spd="med">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75DF89-A4C5-4804-873A-9C2CF1B53371}"/>
              </a:ext>
            </a:extLst>
          </p:cNvPr>
          <p:cNvSpPr>
            <a:spLocks noGrp="1"/>
          </p:cNvSpPr>
          <p:nvPr>
            <p:ph type="title"/>
          </p:nvPr>
        </p:nvSpPr>
        <p:spPr>
          <a:xfrm>
            <a:off x="0" y="22860"/>
            <a:ext cx="7955280" cy="640080"/>
          </a:xfrm>
        </p:spPr>
        <p:txBody>
          <a:bodyPr/>
          <a:lstStyle/>
          <a:p>
            <a:r>
              <a:rPr lang="en-US" dirty="0"/>
              <a:t>Types of Variables</a:t>
            </a:r>
          </a:p>
        </p:txBody>
      </p:sp>
      <p:sp>
        <p:nvSpPr>
          <p:cNvPr id="4" name="Rectangle: Rounded Corners 3">
            <a:extLst>
              <a:ext uri="{FF2B5EF4-FFF2-40B4-BE49-F238E27FC236}">
                <a16:creationId xmlns:a16="http://schemas.microsoft.com/office/drawing/2014/main" id="{BECC6AA8-F4E3-4A94-9BD8-274D67D0E341}"/>
              </a:ext>
            </a:extLst>
          </p:cNvPr>
          <p:cNvSpPr/>
          <p:nvPr/>
        </p:nvSpPr>
        <p:spPr>
          <a:xfrm>
            <a:off x="3846931" y="544882"/>
            <a:ext cx="1484335"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Variable</a:t>
            </a:r>
          </a:p>
        </p:txBody>
      </p:sp>
      <p:sp>
        <p:nvSpPr>
          <p:cNvPr id="5" name="Rectangle: Rounded Corners 4">
            <a:extLst>
              <a:ext uri="{FF2B5EF4-FFF2-40B4-BE49-F238E27FC236}">
                <a16:creationId xmlns:a16="http://schemas.microsoft.com/office/drawing/2014/main" id="{B64A9950-C095-4508-A8D1-BCDB18FD97C6}"/>
              </a:ext>
            </a:extLst>
          </p:cNvPr>
          <p:cNvSpPr/>
          <p:nvPr/>
        </p:nvSpPr>
        <p:spPr>
          <a:xfrm>
            <a:off x="1025045" y="1436317"/>
            <a:ext cx="1728591"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Quantitative</a:t>
            </a:r>
          </a:p>
        </p:txBody>
      </p:sp>
      <p:sp>
        <p:nvSpPr>
          <p:cNvPr id="6" name="Rectangle: Rounded Corners 5">
            <a:extLst>
              <a:ext uri="{FF2B5EF4-FFF2-40B4-BE49-F238E27FC236}">
                <a16:creationId xmlns:a16="http://schemas.microsoft.com/office/drawing/2014/main" id="{EBE4729C-1083-4C4B-A47A-5656FE677822}"/>
              </a:ext>
            </a:extLst>
          </p:cNvPr>
          <p:cNvSpPr/>
          <p:nvPr/>
        </p:nvSpPr>
        <p:spPr>
          <a:xfrm>
            <a:off x="5697256" y="1436317"/>
            <a:ext cx="1728591"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Qualitative</a:t>
            </a:r>
          </a:p>
        </p:txBody>
      </p:sp>
      <p:sp>
        <p:nvSpPr>
          <p:cNvPr id="7" name="Rectangle: Rounded Corners 6">
            <a:extLst>
              <a:ext uri="{FF2B5EF4-FFF2-40B4-BE49-F238E27FC236}">
                <a16:creationId xmlns:a16="http://schemas.microsoft.com/office/drawing/2014/main" id="{61D08891-F878-4FDF-B9A0-8D80D90B40A7}"/>
              </a:ext>
            </a:extLst>
          </p:cNvPr>
          <p:cNvSpPr/>
          <p:nvPr/>
        </p:nvSpPr>
        <p:spPr>
          <a:xfrm>
            <a:off x="62629" y="2557137"/>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Discrete</a:t>
            </a:r>
          </a:p>
        </p:txBody>
      </p:sp>
      <p:sp>
        <p:nvSpPr>
          <p:cNvPr id="8" name="Rectangle: Rounded Corners 7">
            <a:extLst>
              <a:ext uri="{FF2B5EF4-FFF2-40B4-BE49-F238E27FC236}">
                <a16:creationId xmlns:a16="http://schemas.microsoft.com/office/drawing/2014/main" id="{F4AC69C5-E593-414D-A1C2-B3A0A0562FEC}"/>
              </a:ext>
            </a:extLst>
          </p:cNvPr>
          <p:cNvSpPr/>
          <p:nvPr/>
        </p:nvSpPr>
        <p:spPr>
          <a:xfrm>
            <a:off x="1889341" y="2557137"/>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Continuous</a:t>
            </a:r>
          </a:p>
        </p:txBody>
      </p:sp>
      <p:sp>
        <p:nvSpPr>
          <p:cNvPr id="9" name="Rectangle: Rounded Corners 8">
            <a:extLst>
              <a:ext uri="{FF2B5EF4-FFF2-40B4-BE49-F238E27FC236}">
                <a16:creationId xmlns:a16="http://schemas.microsoft.com/office/drawing/2014/main" id="{CEBE0F36-E7A6-4554-AC12-BB9D6401B2AD}"/>
              </a:ext>
            </a:extLst>
          </p:cNvPr>
          <p:cNvSpPr/>
          <p:nvPr/>
        </p:nvSpPr>
        <p:spPr>
          <a:xfrm>
            <a:off x="3907079" y="2571750"/>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Nominal</a:t>
            </a:r>
          </a:p>
        </p:txBody>
      </p:sp>
      <p:sp>
        <p:nvSpPr>
          <p:cNvPr id="10" name="Rectangle: Rounded Corners 9">
            <a:extLst>
              <a:ext uri="{FF2B5EF4-FFF2-40B4-BE49-F238E27FC236}">
                <a16:creationId xmlns:a16="http://schemas.microsoft.com/office/drawing/2014/main" id="{9BF4BCFE-0120-4B93-9D0A-C9340569D1E9}"/>
              </a:ext>
            </a:extLst>
          </p:cNvPr>
          <p:cNvSpPr/>
          <p:nvPr/>
        </p:nvSpPr>
        <p:spPr>
          <a:xfrm>
            <a:off x="5733791" y="2571750"/>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Ordinal</a:t>
            </a:r>
          </a:p>
        </p:txBody>
      </p:sp>
      <p:cxnSp>
        <p:nvCxnSpPr>
          <p:cNvPr id="12" name="Straight Arrow Connector 11">
            <a:extLst>
              <a:ext uri="{FF2B5EF4-FFF2-40B4-BE49-F238E27FC236}">
                <a16:creationId xmlns:a16="http://schemas.microsoft.com/office/drawing/2014/main" id="{323013C9-7B22-4459-8F28-57188F3D6C86}"/>
              </a:ext>
            </a:extLst>
          </p:cNvPr>
          <p:cNvCxnSpPr>
            <a:stCxn id="4" idx="2"/>
            <a:endCxn id="5" idx="0"/>
          </p:cNvCxnSpPr>
          <p:nvPr/>
        </p:nvCxnSpPr>
        <p:spPr>
          <a:xfrm flipH="1">
            <a:off x="1889341" y="926926"/>
            <a:ext cx="2699758" cy="509391"/>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E48DFC0C-56EA-44CD-A6EF-93B7072AA5E3}"/>
              </a:ext>
            </a:extLst>
          </p:cNvPr>
          <p:cNvCxnSpPr>
            <a:stCxn id="4" idx="2"/>
            <a:endCxn id="6" idx="0"/>
          </p:cNvCxnSpPr>
          <p:nvPr/>
        </p:nvCxnSpPr>
        <p:spPr>
          <a:xfrm>
            <a:off x="4589099" y="926926"/>
            <a:ext cx="1972453" cy="509391"/>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C2D531C1-8606-4599-84EB-2A76929B7660}"/>
              </a:ext>
            </a:extLst>
          </p:cNvPr>
          <p:cNvCxnSpPr>
            <a:stCxn id="5" idx="2"/>
            <a:endCxn id="7" idx="0"/>
          </p:cNvCxnSpPr>
          <p:nvPr/>
        </p:nvCxnSpPr>
        <p:spPr>
          <a:xfrm flipH="1">
            <a:off x="890391" y="1818361"/>
            <a:ext cx="998950" cy="738776"/>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109B3A31-CC3D-40E6-9F48-2572EFF66818}"/>
              </a:ext>
            </a:extLst>
          </p:cNvPr>
          <p:cNvCxnSpPr>
            <a:stCxn id="5" idx="2"/>
            <a:endCxn id="8" idx="0"/>
          </p:cNvCxnSpPr>
          <p:nvPr/>
        </p:nvCxnSpPr>
        <p:spPr>
          <a:xfrm>
            <a:off x="1889341" y="1818361"/>
            <a:ext cx="827762" cy="738776"/>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24F81249-C776-473E-A656-690BABC69384}"/>
              </a:ext>
            </a:extLst>
          </p:cNvPr>
          <p:cNvCxnSpPr>
            <a:stCxn id="6" idx="2"/>
            <a:endCxn id="9" idx="0"/>
          </p:cNvCxnSpPr>
          <p:nvPr/>
        </p:nvCxnSpPr>
        <p:spPr>
          <a:xfrm flipH="1">
            <a:off x="4734841" y="1818361"/>
            <a:ext cx="1826711" cy="753389"/>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40A44C45-020F-4EC0-9ABC-F2019CABD76E}"/>
              </a:ext>
            </a:extLst>
          </p:cNvPr>
          <p:cNvCxnSpPr>
            <a:stCxn id="6" idx="2"/>
            <a:endCxn id="10" idx="0"/>
          </p:cNvCxnSpPr>
          <p:nvPr/>
        </p:nvCxnSpPr>
        <p:spPr>
          <a:xfrm>
            <a:off x="6561552" y="1818361"/>
            <a:ext cx="1" cy="753389"/>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93415D3D-289F-475B-8CC7-72AF925B85AF}"/>
              </a:ext>
            </a:extLst>
          </p:cNvPr>
          <p:cNvSpPr txBox="1"/>
          <p:nvPr/>
        </p:nvSpPr>
        <p:spPr>
          <a:xfrm>
            <a:off x="104702" y="3329533"/>
            <a:ext cx="593313"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Ex: </a:t>
            </a:r>
          </a:p>
        </p:txBody>
      </p:sp>
      <p:sp>
        <p:nvSpPr>
          <p:cNvPr id="36" name="Rectangle: Rounded Corners 35">
            <a:extLst>
              <a:ext uri="{FF2B5EF4-FFF2-40B4-BE49-F238E27FC236}">
                <a16:creationId xmlns:a16="http://schemas.microsoft.com/office/drawing/2014/main" id="{D1006B51-EEAC-497A-B4E7-A2CD7FFAAEF9}"/>
              </a:ext>
            </a:extLst>
          </p:cNvPr>
          <p:cNvSpPr/>
          <p:nvPr/>
        </p:nvSpPr>
        <p:spPr>
          <a:xfrm>
            <a:off x="7425848" y="2571750"/>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Binary</a:t>
            </a:r>
          </a:p>
        </p:txBody>
      </p:sp>
      <p:cxnSp>
        <p:nvCxnSpPr>
          <p:cNvPr id="40" name="Straight Arrow Connector 39">
            <a:extLst>
              <a:ext uri="{FF2B5EF4-FFF2-40B4-BE49-F238E27FC236}">
                <a16:creationId xmlns:a16="http://schemas.microsoft.com/office/drawing/2014/main" id="{7B8FE297-E963-4754-B22F-8F1EFC3DF06E}"/>
              </a:ext>
            </a:extLst>
          </p:cNvPr>
          <p:cNvCxnSpPr>
            <a:cxnSpLocks/>
            <a:stCxn id="6" idx="2"/>
            <a:endCxn id="36" idx="0"/>
          </p:cNvCxnSpPr>
          <p:nvPr/>
        </p:nvCxnSpPr>
        <p:spPr>
          <a:xfrm>
            <a:off x="6561552" y="1818361"/>
            <a:ext cx="1692058" cy="753389"/>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89912247"/>
      </p:ext>
    </p:extLst>
  </p:cSld>
  <p:clrMapOvr>
    <a:masterClrMapping/>
  </p:clrMapOvr>
  <p:transition spd="med">
    <p:wipe dir="r"/>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F826E-42FE-413B-94F5-930FD1324A21}"/>
              </a:ext>
            </a:extLst>
          </p:cNvPr>
          <p:cNvSpPr>
            <a:spLocks noGrp="1"/>
          </p:cNvSpPr>
          <p:nvPr>
            <p:ph type="title"/>
          </p:nvPr>
        </p:nvSpPr>
        <p:spPr>
          <a:xfrm>
            <a:off x="0" y="0"/>
            <a:ext cx="9144000" cy="637794"/>
          </a:xfrm>
        </p:spPr>
        <p:txBody>
          <a:bodyPr/>
          <a:lstStyle/>
          <a:p>
            <a:r>
              <a:rPr lang="en-US" dirty="0"/>
              <a:t>Putting it all together – Quartiles &amp; Box and Whisker Plot</a:t>
            </a:r>
          </a:p>
        </p:txBody>
      </p:sp>
      <p:sp>
        <p:nvSpPr>
          <p:cNvPr id="3" name="TextBox 2">
            <a:extLst>
              <a:ext uri="{FF2B5EF4-FFF2-40B4-BE49-F238E27FC236}">
                <a16:creationId xmlns:a16="http://schemas.microsoft.com/office/drawing/2014/main" id="{732EC174-2DD3-4269-88F1-B18EC6E5775D}"/>
              </a:ext>
            </a:extLst>
          </p:cNvPr>
          <p:cNvSpPr txBox="1"/>
          <p:nvPr/>
        </p:nvSpPr>
        <p:spPr>
          <a:xfrm>
            <a:off x="69801" y="401925"/>
            <a:ext cx="8550687" cy="4508927"/>
          </a:xfrm>
          <a:prstGeom prst="rect">
            <a:avLst/>
          </a:prstGeom>
          <a:noFill/>
        </p:spPr>
        <p:txBody>
          <a:bodyPr wrap="square" rtlCol="0">
            <a:spAutoFit/>
          </a:bodyPr>
          <a:lstStyle/>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Example: </a:t>
            </a:r>
            <a:r>
              <a:rPr lang="en-US" sz="1100" b="1" i="0" dirty="0">
                <a:solidFill>
                  <a:schemeClr val="bg2">
                    <a:lumMod val="50000"/>
                    <a:lumOff val="50000"/>
                  </a:schemeClr>
                </a:solidFill>
                <a:effectLst/>
                <a:latin typeface="Verdana" panose="020B0604030504040204" pitchFamily="34" charset="0"/>
              </a:rPr>
              <a:t>Box and Whisker Plot and Interquartile Range</a:t>
            </a:r>
            <a:r>
              <a:rPr lang="en-US" sz="1100" b="0" i="0" dirty="0">
                <a:solidFill>
                  <a:schemeClr val="bg2">
                    <a:lumMod val="50000"/>
                    <a:lumOff val="50000"/>
                  </a:schemeClr>
                </a:solidFill>
                <a:effectLst/>
                <a:latin typeface="Verdana" panose="020B0604030504040204" pitchFamily="34" charset="0"/>
              </a:rPr>
              <a:t> for</a:t>
            </a:r>
          </a:p>
          <a:p>
            <a:pPr algn="l"/>
            <a:endParaRPr lang="en-US" sz="1100" dirty="0">
              <a:solidFill>
                <a:schemeClr val="bg2">
                  <a:lumMod val="50000"/>
                  <a:lumOff val="50000"/>
                </a:schemeClr>
              </a:solidFill>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4, 17, 7, 14, 18, 12, 3, 16, 10, 4, 4, 11</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1" i="0" dirty="0">
                <a:solidFill>
                  <a:schemeClr val="bg2">
                    <a:lumMod val="50000"/>
                    <a:lumOff val="50000"/>
                  </a:schemeClr>
                </a:solidFill>
                <a:effectLst/>
                <a:latin typeface="Verdana" panose="020B0604030504040204" pitchFamily="34" charset="0"/>
              </a:rPr>
              <a:t>Put them in order:   </a:t>
            </a:r>
            <a:r>
              <a:rPr lang="en-US" sz="1100" b="0" i="0" dirty="0">
                <a:solidFill>
                  <a:schemeClr val="bg2">
                    <a:lumMod val="50000"/>
                    <a:lumOff val="50000"/>
                  </a:schemeClr>
                </a:solidFill>
                <a:effectLst/>
                <a:latin typeface="Verdana" panose="020B0604030504040204" pitchFamily="34" charset="0"/>
              </a:rPr>
              <a:t>3, 4, 4, 4, 7, 10, 11, 12, 14, 16, 17, 18</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1" i="0" dirty="0">
                <a:solidFill>
                  <a:schemeClr val="bg2">
                    <a:lumMod val="50000"/>
                    <a:lumOff val="50000"/>
                  </a:schemeClr>
                </a:solidFill>
                <a:effectLst/>
                <a:latin typeface="Verdana" panose="020B0604030504040204" pitchFamily="34" charset="0"/>
              </a:rPr>
              <a:t>Cut it into quarters:  </a:t>
            </a:r>
            <a:r>
              <a:rPr lang="en-US" sz="1100" b="0" i="0" dirty="0">
                <a:solidFill>
                  <a:schemeClr val="bg2">
                    <a:lumMod val="50000"/>
                    <a:lumOff val="50000"/>
                  </a:schemeClr>
                </a:solidFill>
                <a:effectLst/>
                <a:latin typeface="Verdana" panose="020B0604030504040204" pitchFamily="34" charset="0"/>
              </a:rPr>
              <a:t>3, 4, 4 | 4, 7, 10 | 11, 12, 14 | 16, 17, 18</a:t>
            </a:r>
          </a:p>
          <a:p>
            <a:pPr algn="l"/>
            <a:endParaRPr lang="en-US" sz="1100" b="0" i="0" dirty="0">
              <a:solidFill>
                <a:schemeClr val="bg2">
                  <a:lumMod val="50000"/>
                  <a:lumOff val="50000"/>
                </a:schemeClr>
              </a:solidFill>
              <a:effectLst/>
              <a:latin typeface="Verdana" panose="020B0604030504040204" pitchFamily="34" charset="0"/>
            </a:endParaRP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In this case all the quartiles are between numbers:</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Quartile 1 (Q1) = (4+4)/2 = </a:t>
            </a:r>
            <a:r>
              <a:rPr lang="en-US" sz="1100" b="1" i="0" dirty="0">
                <a:solidFill>
                  <a:schemeClr val="bg2">
                    <a:lumMod val="50000"/>
                    <a:lumOff val="50000"/>
                  </a:schemeClr>
                </a:solidFill>
                <a:effectLst/>
                <a:latin typeface="Verdana" panose="020B0604030504040204" pitchFamily="34" charset="0"/>
              </a:rPr>
              <a:t>4</a:t>
            </a:r>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Quartile 2 (Q2) = (10+11)/2 = </a:t>
            </a:r>
            <a:r>
              <a:rPr lang="en-US" sz="1100" b="1" i="0" dirty="0">
                <a:solidFill>
                  <a:schemeClr val="bg2">
                    <a:lumMod val="50000"/>
                    <a:lumOff val="50000"/>
                  </a:schemeClr>
                </a:solidFill>
                <a:effectLst/>
                <a:latin typeface="Verdana" panose="020B0604030504040204" pitchFamily="34" charset="0"/>
              </a:rPr>
              <a:t>10.5</a:t>
            </a:r>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Quartile 3 (Q3) = (14+16)/2 = </a:t>
            </a:r>
            <a:r>
              <a:rPr lang="en-US" sz="1100" b="1" i="0" dirty="0">
                <a:solidFill>
                  <a:schemeClr val="bg2">
                    <a:lumMod val="50000"/>
                    <a:lumOff val="50000"/>
                  </a:schemeClr>
                </a:solidFill>
                <a:effectLst/>
                <a:latin typeface="Verdana" panose="020B0604030504040204" pitchFamily="34" charset="0"/>
              </a:rPr>
              <a:t>15</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Also:</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The Lowest Value is </a:t>
            </a:r>
            <a:r>
              <a:rPr lang="en-US" sz="1100" b="1" i="0" dirty="0">
                <a:solidFill>
                  <a:schemeClr val="bg2">
                    <a:lumMod val="50000"/>
                    <a:lumOff val="50000"/>
                  </a:schemeClr>
                </a:solidFill>
                <a:effectLst/>
                <a:latin typeface="Verdana" panose="020B0604030504040204" pitchFamily="34" charset="0"/>
              </a:rPr>
              <a:t>3</a:t>
            </a:r>
            <a:r>
              <a:rPr lang="en-US" sz="1100" b="0" i="0" dirty="0">
                <a:solidFill>
                  <a:schemeClr val="bg2">
                    <a:lumMod val="50000"/>
                    <a:lumOff val="50000"/>
                  </a:schemeClr>
                </a:solidFill>
                <a:effectLst/>
                <a:latin typeface="Verdana" panose="020B0604030504040204" pitchFamily="34" charset="0"/>
              </a:rPr>
              <a:t>,</a:t>
            </a:r>
          </a:p>
          <a:p>
            <a:pPr algn="l"/>
            <a:r>
              <a:rPr lang="en-US" sz="1100" b="0" i="0" dirty="0">
                <a:solidFill>
                  <a:schemeClr val="bg2">
                    <a:lumMod val="50000"/>
                    <a:lumOff val="50000"/>
                  </a:schemeClr>
                </a:solidFill>
                <a:effectLst/>
                <a:latin typeface="Verdana" panose="020B0604030504040204" pitchFamily="34" charset="0"/>
              </a:rPr>
              <a:t>The Highest Value is </a:t>
            </a:r>
            <a:r>
              <a:rPr lang="en-US" sz="1100" b="1" i="0" dirty="0">
                <a:solidFill>
                  <a:schemeClr val="bg2">
                    <a:lumMod val="50000"/>
                    <a:lumOff val="50000"/>
                  </a:schemeClr>
                </a:solidFill>
                <a:effectLst/>
                <a:latin typeface="Verdana" panose="020B0604030504040204" pitchFamily="34" charset="0"/>
              </a:rPr>
              <a:t>18</a:t>
            </a:r>
          </a:p>
          <a:p>
            <a:pPr algn="l"/>
            <a:endParaRPr lang="en-US" sz="1100" b="1" dirty="0">
              <a:solidFill>
                <a:schemeClr val="bg2">
                  <a:lumMod val="50000"/>
                  <a:lumOff val="50000"/>
                </a:schemeClr>
              </a:solidFill>
              <a:latin typeface="Verdana" panose="020B0604030504040204" pitchFamily="34" charset="0"/>
            </a:endParaRPr>
          </a:p>
          <a:p>
            <a:pPr algn="l"/>
            <a:endParaRPr lang="en-US" sz="1100" b="1" i="0" dirty="0">
              <a:solidFill>
                <a:schemeClr val="bg2">
                  <a:lumMod val="50000"/>
                  <a:lumOff val="50000"/>
                </a:schemeClr>
              </a:solidFill>
              <a:effectLst/>
              <a:latin typeface="Verdana" panose="020B0604030504040204" pitchFamily="34" charset="0"/>
            </a:endParaRPr>
          </a:p>
          <a:p>
            <a:pPr algn="l"/>
            <a:endParaRPr lang="en-US" sz="1000" b="0" i="0" dirty="0">
              <a:solidFill>
                <a:schemeClr val="bg2">
                  <a:lumMod val="50000"/>
                  <a:lumOff val="50000"/>
                </a:schemeClr>
              </a:solidFill>
              <a:effectLst/>
              <a:latin typeface="Verdana" panose="020B0604030504040204" pitchFamily="34" charset="0"/>
            </a:endParaRPr>
          </a:p>
          <a:p>
            <a:pPr algn="l"/>
            <a:r>
              <a:rPr lang="en-US" sz="1000" b="0" i="0" dirty="0">
                <a:solidFill>
                  <a:schemeClr val="bg2">
                    <a:lumMod val="50000"/>
                    <a:lumOff val="50000"/>
                  </a:schemeClr>
                </a:solidFill>
                <a:effectLst/>
                <a:latin typeface="Verdana" panose="020B0604030504040204" pitchFamily="34" charset="0"/>
              </a:rPr>
              <a:t>And the </a:t>
            </a:r>
            <a:r>
              <a:rPr lang="en-US" sz="1000" b="1" i="0" dirty="0">
                <a:solidFill>
                  <a:schemeClr val="bg2">
                    <a:lumMod val="50000"/>
                    <a:lumOff val="50000"/>
                  </a:schemeClr>
                </a:solidFill>
                <a:effectLst/>
                <a:latin typeface="Verdana" panose="020B0604030504040204" pitchFamily="34" charset="0"/>
              </a:rPr>
              <a:t>Interquartile Range</a:t>
            </a:r>
            <a:r>
              <a:rPr lang="en-US" sz="1000" b="0" i="0" dirty="0">
                <a:solidFill>
                  <a:schemeClr val="bg2">
                    <a:lumMod val="50000"/>
                    <a:lumOff val="50000"/>
                  </a:schemeClr>
                </a:solidFill>
                <a:effectLst/>
                <a:latin typeface="Verdana" panose="020B0604030504040204" pitchFamily="34" charset="0"/>
              </a:rPr>
              <a:t> is:  Q3 − Q1 = 15 − 4 = </a:t>
            </a:r>
            <a:r>
              <a:rPr lang="en-US" sz="1000" b="1" i="0" dirty="0">
                <a:solidFill>
                  <a:schemeClr val="bg2">
                    <a:lumMod val="50000"/>
                    <a:lumOff val="50000"/>
                  </a:schemeClr>
                </a:solidFill>
                <a:effectLst/>
                <a:latin typeface="Verdana" panose="020B0604030504040204" pitchFamily="34" charset="0"/>
              </a:rPr>
              <a:t>11</a:t>
            </a:r>
            <a:endParaRPr lang="en-US" sz="1000" b="0" i="0" dirty="0">
              <a:solidFill>
                <a:schemeClr val="bg2">
                  <a:lumMod val="50000"/>
                  <a:lumOff val="50000"/>
                </a:schemeClr>
              </a:solidFill>
              <a:effectLst/>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855912B2-43D3-466B-8818-DA5069B7543D}"/>
              </a:ext>
            </a:extLst>
          </p:cNvPr>
          <p:cNvPicPr>
            <a:picLocks noChangeAspect="1"/>
          </p:cNvPicPr>
          <p:nvPr/>
        </p:nvPicPr>
        <p:blipFill>
          <a:blip r:embed="rId2"/>
          <a:stretch>
            <a:fillRect/>
          </a:stretch>
        </p:blipFill>
        <p:spPr>
          <a:xfrm>
            <a:off x="2563059" y="3011718"/>
            <a:ext cx="6388986" cy="1080553"/>
          </a:xfrm>
          <a:prstGeom prst="rect">
            <a:avLst/>
          </a:prstGeom>
        </p:spPr>
      </p:pic>
      <p:sp>
        <p:nvSpPr>
          <p:cNvPr id="6" name="Rectangle 5">
            <a:extLst>
              <a:ext uri="{FF2B5EF4-FFF2-40B4-BE49-F238E27FC236}">
                <a16:creationId xmlns:a16="http://schemas.microsoft.com/office/drawing/2014/main" id="{78A0F166-87FB-4E04-AA2E-A971A56754AB}"/>
              </a:ext>
            </a:extLst>
          </p:cNvPr>
          <p:cNvSpPr/>
          <p:nvPr/>
        </p:nvSpPr>
        <p:spPr>
          <a:xfrm>
            <a:off x="69801" y="4174131"/>
            <a:ext cx="4020568" cy="432770"/>
          </a:xfrm>
          <a:prstGeom prst="rect">
            <a:avLst/>
          </a:prstGeom>
          <a:noFill/>
          <a:ln w="1905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B7CF6BBD-4D1E-4DB9-8113-C833E83AD9EF}"/>
                  </a:ext>
                </a:extLst>
              </p14:cNvPr>
              <p14:cNvContentPartPr/>
              <p14:nvPr/>
            </p14:nvContentPartPr>
            <p14:xfrm>
              <a:off x="4290840" y="819000"/>
              <a:ext cx="4029480" cy="3805920"/>
            </p14:xfrm>
          </p:contentPart>
        </mc:Choice>
        <mc:Fallback xmlns="">
          <p:pic>
            <p:nvPicPr>
              <p:cNvPr id="4" name="Ink 3">
                <a:extLst>
                  <a:ext uri="{FF2B5EF4-FFF2-40B4-BE49-F238E27FC236}">
                    <a16:creationId xmlns:a16="http://schemas.microsoft.com/office/drawing/2014/main" id="{B7CF6BBD-4D1E-4DB9-8113-C833E83AD9EF}"/>
                  </a:ext>
                </a:extLst>
              </p:cNvPr>
              <p:cNvPicPr/>
              <p:nvPr/>
            </p:nvPicPr>
            <p:blipFill>
              <a:blip r:embed="rId4"/>
              <a:stretch>
                <a:fillRect/>
              </a:stretch>
            </p:blipFill>
            <p:spPr>
              <a:xfrm>
                <a:off x="4281480" y="809640"/>
                <a:ext cx="4048200" cy="3824640"/>
              </a:xfrm>
              <a:prstGeom prst="rect">
                <a:avLst/>
              </a:prstGeom>
            </p:spPr>
          </p:pic>
        </mc:Fallback>
      </mc:AlternateContent>
    </p:spTree>
    <p:extLst>
      <p:ext uri="{BB962C8B-B14F-4D97-AF65-F5344CB8AC3E}">
        <p14:creationId xmlns:p14="http://schemas.microsoft.com/office/powerpoint/2010/main" val="1053432518"/>
      </p:ext>
    </p:extLst>
  </p:cSld>
  <p:clrMapOvr>
    <a:masterClrMapping/>
  </p:clrMapOvr>
  <p:transition spd="med">
    <p:wipe dir="r"/>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A7FB37-7364-4C6E-8104-4B3F120F068C}"/>
              </a:ext>
            </a:extLst>
          </p:cNvPr>
          <p:cNvSpPr>
            <a:spLocks noGrp="1"/>
          </p:cNvSpPr>
          <p:nvPr>
            <p:ph type="title"/>
          </p:nvPr>
        </p:nvSpPr>
        <p:spPr>
          <a:xfrm>
            <a:off x="0" y="0"/>
            <a:ext cx="8229600" cy="637794"/>
          </a:xfrm>
        </p:spPr>
        <p:txBody>
          <a:bodyPr/>
          <a:lstStyle/>
          <a:p>
            <a:r>
              <a:rPr lang="en-US" dirty="0"/>
              <a:t>Quartile – Five-number summary</a:t>
            </a:r>
          </a:p>
        </p:txBody>
      </p:sp>
      <p:sp>
        <p:nvSpPr>
          <p:cNvPr id="3" name="TextBox 2">
            <a:extLst>
              <a:ext uri="{FF2B5EF4-FFF2-40B4-BE49-F238E27FC236}">
                <a16:creationId xmlns:a16="http://schemas.microsoft.com/office/drawing/2014/main" id="{6AA95D92-9A44-4080-BA36-19FFE96B6405}"/>
              </a:ext>
            </a:extLst>
          </p:cNvPr>
          <p:cNvSpPr txBox="1"/>
          <p:nvPr/>
        </p:nvSpPr>
        <p:spPr>
          <a:xfrm>
            <a:off x="0" y="809698"/>
            <a:ext cx="8927615" cy="2862322"/>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mn-lt"/>
              </a:rPr>
              <a:t>Every distribution can be organized using a five-number summary:</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Lowest value</a:t>
            </a:r>
          </a:p>
          <a:p>
            <a:pPr>
              <a:spcBef>
                <a:spcPts val="0"/>
              </a:spcBef>
              <a:spcAft>
                <a:spcPts val="0"/>
              </a:spcAft>
              <a:buClr>
                <a:schemeClr val="bg1"/>
              </a:buClr>
            </a:pPr>
            <a:r>
              <a:rPr lang="en-US" sz="1800" dirty="0">
                <a:solidFill>
                  <a:schemeClr val="bg2">
                    <a:lumMod val="50000"/>
                    <a:lumOff val="50000"/>
                  </a:schemeClr>
                </a:solidFill>
                <a:latin typeface="+mn-lt"/>
              </a:rPr>
              <a:t>Q1: 25th percentile</a:t>
            </a:r>
          </a:p>
          <a:p>
            <a:pPr>
              <a:spcBef>
                <a:spcPts val="0"/>
              </a:spcBef>
              <a:spcAft>
                <a:spcPts val="0"/>
              </a:spcAft>
              <a:buClr>
                <a:schemeClr val="bg1"/>
              </a:buClr>
            </a:pPr>
            <a:r>
              <a:rPr lang="en-US" sz="1800" dirty="0">
                <a:solidFill>
                  <a:schemeClr val="bg2">
                    <a:lumMod val="50000"/>
                    <a:lumOff val="50000"/>
                  </a:schemeClr>
                </a:solidFill>
                <a:latin typeface="+mn-lt"/>
              </a:rPr>
              <a:t>Q2: the median</a:t>
            </a:r>
          </a:p>
          <a:p>
            <a:pPr>
              <a:spcBef>
                <a:spcPts val="0"/>
              </a:spcBef>
              <a:spcAft>
                <a:spcPts val="0"/>
              </a:spcAft>
              <a:buClr>
                <a:schemeClr val="bg1"/>
              </a:buClr>
            </a:pPr>
            <a:r>
              <a:rPr lang="en-US" sz="1800" dirty="0">
                <a:solidFill>
                  <a:schemeClr val="bg2">
                    <a:lumMod val="50000"/>
                    <a:lumOff val="50000"/>
                  </a:schemeClr>
                </a:solidFill>
                <a:latin typeface="+mn-lt"/>
              </a:rPr>
              <a:t>Q3: 75th percentile</a:t>
            </a:r>
          </a:p>
          <a:p>
            <a:pPr>
              <a:spcBef>
                <a:spcPts val="0"/>
              </a:spcBef>
              <a:spcAft>
                <a:spcPts val="0"/>
              </a:spcAft>
              <a:buClr>
                <a:schemeClr val="bg1"/>
              </a:buClr>
            </a:pPr>
            <a:r>
              <a:rPr lang="en-US" sz="1800" dirty="0">
                <a:solidFill>
                  <a:schemeClr val="bg2">
                    <a:lumMod val="50000"/>
                    <a:lumOff val="50000"/>
                  </a:schemeClr>
                </a:solidFill>
                <a:latin typeface="+mn-lt"/>
              </a:rPr>
              <a:t>Highest value (Q4)</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These five-number summaries can be easily visualized using box and whisker plots</a:t>
            </a:r>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D5CA3271-C133-4C25-A431-A24521DBE619}"/>
                  </a:ext>
                </a:extLst>
              </p14:cNvPr>
              <p14:cNvContentPartPr/>
              <p14:nvPr/>
            </p14:nvContentPartPr>
            <p14:xfrm>
              <a:off x="1014480" y="1238400"/>
              <a:ext cx="7839360" cy="3772080"/>
            </p14:xfrm>
          </p:contentPart>
        </mc:Choice>
        <mc:Fallback xmlns="">
          <p:pic>
            <p:nvPicPr>
              <p:cNvPr id="4" name="Ink 3">
                <a:extLst>
                  <a:ext uri="{FF2B5EF4-FFF2-40B4-BE49-F238E27FC236}">
                    <a16:creationId xmlns:a16="http://schemas.microsoft.com/office/drawing/2014/main" id="{D5CA3271-C133-4C25-A431-A24521DBE619}"/>
                  </a:ext>
                </a:extLst>
              </p:cNvPr>
              <p:cNvPicPr/>
              <p:nvPr/>
            </p:nvPicPr>
            <p:blipFill>
              <a:blip r:embed="rId3"/>
              <a:stretch>
                <a:fillRect/>
              </a:stretch>
            </p:blipFill>
            <p:spPr>
              <a:xfrm>
                <a:off x="1005120" y="1229040"/>
                <a:ext cx="7858080" cy="3790800"/>
              </a:xfrm>
              <a:prstGeom prst="rect">
                <a:avLst/>
              </a:prstGeom>
            </p:spPr>
          </p:pic>
        </mc:Fallback>
      </mc:AlternateContent>
    </p:spTree>
    <p:extLst>
      <p:ext uri="{BB962C8B-B14F-4D97-AF65-F5344CB8AC3E}">
        <p14:creationId xmlns:p14="http://schemas.microsoft.com/office/powerpoint/2010/main" val="1785345867"/>
      </p:ext>
    </p:extLst>
  </p:cSld>
  <p:clrMapOvr>
    <a:masterClrMapping/>
  </p:clrMapOvr>
  <p:transition spd="med">
    <p:wipe dir="r"/>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9DBF01-355E-4D2A-A767-72CDC43D1AE0}"/>
              </a:ext>
            </a:extLst>
          </p:cNvPr>
          <p:cNvSpPr>
            <a:spLocks noGrp="1"/>
          </p:cNvSpPr>
          <p:nvPr>
            <p:ph type="title"/>
          </p:nvPr>
        </p:nvSpPr>
        <p:spPr>
          <a:xfrm>
            <a:off x="0" y="0"/>
            <a:ext cx="8229600" cy="637794"/>
          </a:xfrm>
        </p:spPr>
        <p:txBody>
          <a:bodyPr/>
          <a:lstStyle/>
          <a:p>
            <a:r>
              <a:rPr lang="en-US" dirty="0"/>
              <a:t>Mean Deviation</a:t>
            </a:r>
          </a:p>
        </p:txBody>
      </p:sp>
      <p:sp>
        <p:nvSpPr>
          <p:cNvPr id="3" name="TextBox 2">
            <a:extLst>
              <a:ext uri="{FF2B5EF4-FFF2-40B4-BE49-F238E27FC236}">
                <a16:creationId xmlns:a16="http://schemas.microsoft.com/office/drawing/2014/main" id="{43EE8FE4-39C7-4BD2-BE1E-E79137AD0F9D}"/>
              </a:ext>
            </a:extLst>
          </p:cNvPr>
          <p:cNvSpPr txBox="1"/>
          <p:nvPr/>
        </p:nvSpPr>
        <p:spPr>
          <a:xfrm>
            <a:off x="0" y="659770"/>
            <a:ext cx="8836873" cy="3416320"/>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mn-lt"/>
              </a:rPr>
              <a:t>How far, on average, all values are from the middle</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b="1" dirty="0">
                <a:solidFill>
                  <a:schemeClr val="bg2">
                    <a:lumMod val="50000"/>
                    <a:lumOff val="50000"/>
                  </a:schemeClr>
                </a:solidFill>
                <a:latin typeface="+mn-lt"/>
              </a:rPr>
              <a:t>Calculation Steps : </a:t>
            </a:r>
          </a:p>
          <a:p>
            <a:pPr>
              <a:spcBef>
                <a:spcPts val="0"/>
              </a:spcBef>
              <a:spcAft>
                <a:spcPts val="0"/>
              </a:spcAft>
              <a:buClr>
                <a:schemeClr val="bg1"/>
              </a:buClr>
            </a:pPr>
            <a:endParaRPr lang="en-US" sz="1800" dirty="0">
              <a:solidFill>
                <a:schemeClr val="bg2">
                  <a:lumMod val="50000"/>
                  <a:lumOff val="50000"/>
                </a:schemeClr>
              </a:solidFill>
              <a:latin typeface="+mn-lt"/>
            </a:endParaRPr>
          </a:p>
          <a:p>
            <a:pPr marL="342900" indent="-342900" algn="l">
              <a:buAutoNum type="arabicPeriod"/>
            </a:pPr>
            <a:r>
              <a:rPr lang="en-US" sz="1800" dirty="0">
                <a:solidFill>
                  <a:schemeClr val="bg2">
                    <a:lumMod val="50000"/>
                    <a:lumOff val="50000"/>
                  </a:schemeClr>
                </a:solidFill>
                <a:latin typeface="+mn-lt"/>
              </a:rPr>
              <a:t>Find the </a:t>
            </a:r>
            <a:r>
              <a:rPr lang="en-US" sz="1800" dirty="0">
                <a:solidFill>
                  <a:schemeClr val="bg2">
                    <a:lumMod val="50000"/>
                    <a:lumOff val="50000"/>
                  </a:schemeClr>
                </a:solidFill>
                <a:latin typeface="+mn-lt"/>
                <a:hlinkClick r:id="rId2">
                  <a:extLst>
                    <a:ext uri="{A12FA001-AC4F-418D-AE19-62706E023703}">
                      <ahyp:hlinkClr xmlns:ahyp="http://schemas.microsoft.com/office/drawing/2018/hyperlinkcolor" val="tx"/>
                    </a:ext>
                  </a:extLst>
                </a:hlinkClick>
              </a:rPr>
              <a:t>mean</a:t>
            </a:r>
            <a:r>
              <a:rPr lang="en-US" sz="1800" dirty="0">
                <a:solidFill>
                  <a:schemeClr val="bg2">
                    <a:lumMod val="50000"/>
                    <a:lumOff val="50000"/>
                  </a:schemeClr>
                </a:solidFill>
                <a:latin typeface="+mn-lt"/>
              </a:rPr>
              <a:t> of all values</a:t>
            </a:r>
          </a:p>
          <a:p>
            <a:pPr algn="l"/>
            <a:endParaRPr lang="en-US" sz="1800" dirty="0">
              <a:solidFill>
                <a:schemeClr val="bg2">
                  <a:lumMod val="50000"/>
                  <a:lumOff val="50000"/>
                </a:schemeClr>
              </a:solidFill>
              <a:latin typeface="+mn-lt"/>
            </a:endParaRPr>
          </a:p>
          <a:p>
            <a:pPr algn="l"/>
            <a:r>
              <a:rPr lang="en-US" sz="1800" dirty="0">
                <a:solidFill>
                  <a:schemeClr val="bg2">
                    <a:lumMod val="50000"/>
                    <a:lumOff val="50000"/>
                  </a:schemeClr>
                </a:solidFill>
                <a:latin typeface="+mn-lt"/>
              </a:rPr>
              <a:t>2. Find the distance of each value from that mean (subtract the mean from each value, ignore minus signs)</a:t>
            </a:r>
          </a:p>
          <a:p>
            <a:pPr algn="l"/>
            <a:endParaRPr lang="en-US" sz="1800" dirty="0">
              <a:solidFill>
                <a:schemeClr val="bg2">
                  <a:lumMod val="50000"/>
                  <a:lumOff val="50000"/>
                </a:schemeClr>
              </a:solidFill>
              <a:latin typeface="+mn-lt"/>
            </a:endParaRPr>
          </a:p>
          <a:p>
            <a:pPr algn="l"/>
            <a:r>
              <a:rPr lang="en-US" sz="1800" dirty="0">
                <a:solidFill>
                  <a:schemeClr val="bg2">
                    <a:lumMod val="50000"/>
                    <a:lumOff val="50000"/>
                  </a:schemeClr>
                </a:solidFill>
                <a:latin typeface="+mn-lt"/>
              </a:rPr>
              <a:t>3. Then find the mean of those distances</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endParaRPr lang="en-US" sz="1400" dirty="0">
              <a:solidFill>
                <a:schemeClr val="bg2"/>
              </a:solidFill>
              <a:latin typeface="+mn-lt"/>
            </a:endParaRPr>
          </a:p>
        </p:txBody>
      </p:sp>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D7A88A66-DCB9-47F9-AFD5-3C2BD7A822F7}"/>
                  </a:ext>
                </a:extLst>
              </p14:cNvPr>
              <p14:cNvContentPartPr/>
              <p14:nvPr/>
            </p14:nvContentPartPr>
            <p14:xfrm>
              <a:off x="266760" y="181080"/>
              <a:ext cx="7548840" cy="3405600"/>
            </p14:xfrm>
          </p:contentPart>
        </mc:Choice>
        <mc:Fallback xmlns="">
          <p:pic>
            <p:nvPicPr>
              <p:cNvPr id="4" name="Ink 3">
                <a:extLst>
                  <a:ext uri="{FF2B5EF4-FFF2-40B4-BE49-F238E27FC236}">
                    <a16:creationId xmlns:a16="http://schemas.microsoft.com/office/drawing/2014/main" id="{D7A88A66-DCB9-47F9-AFD5-3C2BD7A822F7}"/>
                  </a:ext>
                </a:extLst>
              </p:cNvPr>
              <p:cNvPicPr/>
              <p:nvPr/>
            </p:nvPicPr>
            <p:blipFill>
              <a:blip r:embed="rId4"/>
              <a:stretch>
                <a:fillRect/>
              </a:stretch>
            </p:blipFill>
            <p:spPr>
              <a:xfrm>
                <a:off x="257400" y="171720"/>
                <a:ext cx="7567560" cy="3424320"/>
              </a:xfrm>
              <a:prstGeom prst="rect">
                <a:avLst/>
              </a:prstGeom>
            </p:spPr>
          </p:pic>
        </mc:Fallback>
      </mc:AlternateContent>
    </p:spTree>
    <p:extLst>
      <p:ext uri="{BB962C8B-B14F-4D97-AF65-F5344CB8AC3E}">
        <p14:creationId xmlns:p14="http://schemas.microsoft.com/office/powerpoint/2010/main" val="4175273265"/>
      </p:ext>
    </p:extLst>
  </p:cSld>
  <p:clrMapOvr>
    <a:masterClrMapping/>
  </p:clrMapOvr>
  <p:transition spd="med">
    <p:wipe dir="r"/>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ED8774-87C9-418D-9F90-90226D8612B0}"/>
              </a:ext>
            </a:extLst>
          </p:cNvPr>
          <p:cNvSpPr>
            <a:spLocks noGrp="1"/>
          </p:cNvSpPr>
          <p:nvPr>
            <p:ph type="title"/>
          </p:nvPr>
        </p:nvSpPr>
        <p:spPr>
          <a:xfrm>
            <a:off x="0" y="0"/>
            <a:ext cx="8229600" cy="637794"/>
          </a:xfrm>
        </p:spPr>
        <p:txBody>
          <a:bodyPr/>
          <a:lstStyle/>
          <a:p>
            <a:r>
              <a:rPr lang="en-US" dirty="0"/>
              <a:t>Mean Deviation</a:t>
            </a:r>
          </a:p>
        </p:txBody>
      </p:sp>
      <p:sp>
        <p:nvSpPr>
          <p:cNvPr id="3" name="TextBox 2">
            <a:extLst>
              <a:ext uri="{FF2B5EF4-FFF2-40B4-BE49-F238E27FC236}">
                <a16:creationId xmlns:a16="http://schemas.microsoft.com/office/drawing/2014/main" id="{C774A8E0-6B14-40F1-88E8-69C5C2BF46A0}"/>
              </a:ext>
            </a:extLst>
          </p:cNvPr>
          <p:cNvSpPr txBox="1"/>
          <p:nvPr/>
        </p:nvSpPr>
        <p:spPr>
          <a:xfrm>
            <a:off x="139603" y="637794"/>
            <a:ext cx="8229600" cy="2246769"/>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mn-lt"/>
              </a:rPr>
              <a:t>Example: the Mean Deviation of 3, 6, 6, 7, 8, 11, 15, 16</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Step 1 : Find the mean:</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Step 2 : Find the distance of each value from mean</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	</a:t>
            </a:r>
            <a:r>
              <a:rPr lang="en-US" sz="1800" b="1" i="1" dirty="0">
                <a:solidFill>
                  <a:schemeClr val="bg2">
                    <a:lumMod val="50000"/>
                    <a:lumOff val="50000"/>
                  </a:schemeClr>
                </a:solidFill>
                <a:latin typeface="+mn-lt"/>
              </a:rPr>
              <a:t>Which looks like :  </a:t>
            </a: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2C18772C-952A-41C0-AA17-DDB5486D696E}"/>
              </a:ext>
            </a:extLst>
          </p:cNvPr>
          <p:cNvPicPr>
            <a:picLocks noChangeAspect="1"/>
          </p:cNvPicPr>
          <p:nvPr/>
        </p:nvPicPr>
        <p:blipFill>
          <a:blip r:embed="rId2"/>
          <a:stretch>
            <a:fillRect/>
          </a:stretch>
        </p:blipFill>
        <p:spPr>
          <a:xfrm>
            <a:off x="7017017" y="719932"/>
            <a:ext cx="1676119" cy="2248427"/>
          </a:xfrm>
          <a:prstGeom prst="rect">
            <a:avLst/>
          </a:prstGeom>
        </p:spPr>
      </p:pic>
      <p:pic>
        <p:nvPicPr>
          <p:cNvPr id="8" name="Picture 7">
            <a:extLst>
              <a:ext uri="{FF2B5EF4-FFF2-40B4-BE49-F238E27FC236}">
                <a16:creationId xmlns:a16="http://schemas.microsoft.com/office/drawing/2014/main" id="{8B3BB222-15D4-4D90-87BE-DC4A27AF5518}"/>
              </a:ext>
            </a:extLst>
          </p:cNvPr>
          <p:cNvPicPr>
            <a:picLocks noChangeAspect="1"/>
          </p:cNvPicPr>
          <p:nvPr/>
        </p:nvPicPr>
        <p:blipFill>
          <a:blip r:embed="rId3"/>
          <a:stretch>
            <a:fillRect/>
          </a:stretch>
        </p:blipFill>
        <p:spPr>
          <a:xfrm>
            <a:off x="1146671" y="2733363"/>
            <a:ext cx="5658979" cy="1683827"/>
          </a:xfrm>
          <a:prstGeom prst="rect">
            <a:avLst/>
          </a:prstGeom>
        </p:spPr>
      </p:pic>
      <mc:AlternateContent xmlns:mc="http://schemas.openxmlformats.org/markup-compatibility/2006" xmlns:p14="http://schemas.microsoft.com/office/powerpoint/2010/main">
        <mc:Choice Requires="p14">
          <p:contentPart p14:bwMode="auto" r:id="rId4">
            <p14:nvContentPartPr>
              <p14:cNvPr id="4" name="Ink 3">
                <a:extLst>
                  <a:ext uri="{FF2B5EF4-FFF2-40B4-BE49-F238E27FC236}">
                    <a16:creationId xmlns:a16="http://schemas.microsoft.com/office/drawing/2014/main" id="{C31121C3-16EA-4095-87BE-F428BFED2988}"/>
                  </a:ext>
                </a:extLst>
              </p14:cNvPr>
              <p14:cNvContentPartPr/>
              <p14:nvPr/>
            </p14:nvContentPartPr>
            <p14:xfrm>
              <a:off x="2762280" y="419040"/>
              <a:ext cx="6058080" cy="3729600"/>
            </p14:xfrm>
          </p:contentPart>
        </mc:Choice>
        <mc:Fallback xmlns="">
          <p:pic>
            <p:nvPicPr>
              <p:cNvPr id="4" name="Ink 3">
                <a:extLst>
                  <a:ext uri="{FF2B5EF4-FFF2-40B4-BE49-F238E27FC236}">
                    <a16:creationId xmlns:a16="http://schemas.microsoft.com/office/drawing/2014/main" id="{C31121C3-16EA-4095-87BE-F428BFED2988}"/>
                  </a:ext>
                </a:extLst>
              </p:cNvPr>
              <p:cNvPicPr/>
              <p:nvPr/>
            </p:nvPicPr>
            <p:blipFill>
              <a:blip r:embed="rId5"/>
              <a:stretch>
                <a:fillRect/>
              </a:stretch>
            </p:blipFill>
            <p:spPr>
              <a:xfrm>
                <a:off x="2752920" y="409680"/>
                <a:ext cx="6076800" cy="3748320"/>
              </a:xfrm>
              <a:prstGeom prst="rect">
                <a:avLst/>
              </a:prstGeom>
            </p:spPr>
          </p:pic>
        </mc:Fallback>
      </mc:AlternateContent>
    </p:spTree>
    <p:extLst>
      <p:ext uri="{BB962C8B-B14F-4D97-AF65-F5344CB8AC3E}">
        <p14:creationId xmlns:p14="http://schemas.microsoft.com/office/powerpoint/2010/main" val="1775430889"/>
      </p:ext>
    </p:extLst>
  </p:cSld>
  <p:clrMapOvr>
    <a:masterClrMapping/>
  </p:clrMapOvr>
  <p:transition spd="med">
    <p:wipe dir="r"/>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623591-2BA9-4893-BBCB-23008C088B94}"/>
              </a:ext>
            </a:extLst>
          </p:cNvPr>
          <p:cNvSpPr>
            <a:spLocks noGrp="1"/>
          </p:cNvSpPr>
          <p:nvPr>
            <p:ph type="title"/>
          </p:nvPr>
        </p:nvSpPr>
        <p:spPr>
          <a:xfrm>
            <a:off x="0" y="0"/>
            <a:ext cx="8229600" cy="637794"/>
          </a:xfrm>
        </p:spPr>
        <p:txBody>
          <a:bodyPr/>
          <a:lstStyle/>
          <a:p>
            <a:r>
              <a:rPr lang="en-US" dirty="0"/>
              <a:t>Mean Deviation</a:t>
            </a:r>
          </a:p>
        </p:txBody>
      </p:sp>
      <p:sp>
        <p:nvSpPr>
          <p:cNvPr id="3" name="TextBox 2">
            <a:extLst>
              <a:ext uri="{FF2B5EF4-FFF2-40B4-BE49-F238E27FC236}">
                <a16:creationId xmlns:a16="http://schemas.microsoft.com/office/drawing/2014/main" id="{189569A4-57DB-4D58-AAEC-08366E824698}"/>
              </a:ext>
            </a:extLst>
          </p:cNvPr>
          <p:cNvSpPr txBox="1"/>
          <p:nvPr/>
        </p:nvSpPr>
        <p:spPr>
          <a:xfrm>
            <a:off x="97723" y="571202"/>
            <a:ext cx="8229600" cy="1785104"/>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mn-lt"/>
              </a:rPr>
              <a:t>Step 3 : Find the mean of those distances : </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400" b="1" i="0" dirty="0">
                <a:solidFill>
                  <a:schemeClr val="bg2">
                    <a:lumMod val="50000"/>
                    <a:lumOff val="50000"/>
                  </a:schemeClr>
                </a:solidFill>
                <a:effectLst/>
                <a:latin typeface="Verdana" panose="020B0604030504040204" pitchFamily="34" charset="0"/>
              </a:rPr>
              <a:t>Mean Deviation</a:t>
            </a:r>
            <a:r>
              <a:rPr lang="en-US" sz="1400" b="0" i="0" dirty="0">
                <a:solidFill>
                  <a:schemeClr val="bg2">
                    <a:lumMod val="50000"/>
                    <a:lumOff val="50000"/>
                  </a:schemeClr>
                </a:solidFill>
                <a:effectLst/>
                <a:latin typeface="Verdana" panose="020B0604030504040204" pitchFamily="34" charset="0"/>
              </a:rPr>
              <a:t> =  </a:t>
            </a:r>
            <a:r>
              <a:rPr lang="en-US" sz="1400" b="0" i="1" dirty="0">
                <a:solidFill>
                  <a:schemeClr val="bg2">
                    <a:lumMod val="50000"/>
                    <a:lumOff val="50000"/>
                  </a:schemeClr>
                </a:solidFill>
                <a:effectLst/>
                <a:latin typeface="Verdana" panose="020B0604030504040204" pitchFamily="34" charset="0"/>
              </a:rPr>
              <a:t>6 + 3 + 3 + </a:t>
            </a:r>
            <a:r>
              <a:rPr lang="en-US" sz="1400" i="1" dirty="0">
                <a:solidFill>
                  <a:schemeClr val="bg2">
                    <a:lumMod val="50000"/>
                    <a:lumOff val="50000"/>
                  </a:schemeClr>
                </a:solidFill>
                <a:effectLst/>
                <a:latin typeface="Verdana" panose="020B0604030504040204" pitchFamily="34" charset="0"/>
              </a:rPr>
              <a:t>2 + 1 + 2 + 6 + 7</a:t>
            </a:r>
            <a:r>
              <a:rPr lang="en-US" sz="1400" i="0" dirty="0">
                <a:solidFill>
                  <a:schemeClr val="bg2">
                    <a:lumMod val="50000"/>
                    <a:lumOff val="50000"/>
                  </a:schemeClr>
                </a:solidFill>
                <a:effectLst/>
                <a:latin typeface="Verdana" panose="020B0604030504040204" pitchFamily="34" charset="0"/>
              </a:rPr>
              <a:t>8  =  </a:t>
            </a:r>
            <a:r>
              <a:rPr lang="en-US" sz="1400" i="1" dirty="0">
                <a:solidFill>
                  <a:schemeClr val="bg2">
                    <a:lumMod val="50000"/>
                    <a:lumOff val="50000"/>
                  </a:schemeClr>
                </a:solidFill>
                <a:effectLst/>
                <a:latin typeface="Verdana" panose="020B0604030504040204" pitchFamily="34" charset="0"/>
              </a:rPr>
              <a:t>30</a:t>
            </a:r>
            <a:r>
              <a:rPr lang="en-US" sz="1400" i="0" dirty="0">
                <a:solidFill>
                  <a:schemeClr val="bg2">
                    <a:lumMod val="50000"/>
                    <a:lumOff val="50000"/>
                  </a:schemeClr>
                </a:solidFill>
                <a:effectLst/>
                <a:latin typeface="Verdana" panose="020B0604030504040204" pitchFamily="34" charset="0"/>
              </a:rPr>
              <a:t>8  = 3.75</a:t>
            </a:r>
          </a:p>
          <a:p>
            <a:pPr>
              <a:spcBef>
                <a:spcPts val="0"/>
              </a:spcBef>
              <a:spcAft>
                <a:spcPts val="0"/>
              </a:spcAft>
              <a:buClr>
                <a:schemeClr val="bg1"/>
              </a:buClr>
            </a:pPr>
            <a:endParaRPr lang="en-US" sz="1400" b="1"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400" b="1"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400" b="1" dirty="0">
                <a:solidFill>
                  <a:schemeClr val="bg2">
                    <a:lumMod val="50000"/>
                    <a:lumOff val="50000"/>
                  </a:schemeClr>
                </a:solidFill>
                <a:latin typeface="Verdana" panose="020B0604030504040204" pitchFamily="34" charset="0"/>
              </a:rPr>
              <a:t>So, the mean = 9, and the mean deviation = 3.75</a:t>
            </a:r>
            <a:endParaRPr lang="en-US" sz="1800" dirty="0">
              <a:solidFill>
                <a:schemeClr val="bg2">
                  <a:lumMod val="50000"/>
                  <a:lumOff val="50000"/>
                </a:schemeClr>
              </a:solidFill>
              <a:latin typeface="+mn-lt"/>
            </a:endParaRPr>
          </a:p>
        </p:txBody>
      </p:sp>
      <p:sp>
        <p:nvSpPr>
          <p:cNvPr id="4" name="TextBox 3">
            <a:extLst>
              <a:ext uri="{FF2B5EF4-FFF2-40B4-BE49-F238E27FC236}">
                <a16:creationId xmlns:a16="http://schemas.microsoft.com/office/drawing/2014/main" id="{7BA168E8-C891-4961-BA65-96DC95B11E16}"/>
              </a:ext>
            </a:extLst>
          </p:cNvPr>
          <p:cNvSpPr txBox="1"/>
          <p:nvPr/>
        </p:nvSpPr>
        <p:spPr>
          <a:xfrm>
            <a:off x="97723" y="2673399"/>
            <a:ext cx="7524604" cy="1846659"/>
          </a:xfrm>
          <a:prstGeom prst="rect">
            <a:avLst/>
          </a:prstGeom>
          <a:noFill/>
        </p:spPr>
        <p:txBody>
          <a:bodyPr wrap="square" rtlCol="0">
            <a:spAutoFit/>
          </a:bodyPr>
          <a:lstStyle/>
          <a:p>
            <a:pPr>
              <a:spcBef>
                <a:spcPts val="0"/>
              </a:spcBef>
              <a:spcAft>
                <a:spcPts val="0"/>
              </a:spcAft>
              <a:buClr>
                <a:schemeClr val="bg1"/>
              </a:buClr>
            </a:pPr>
            <a:r>
              <a:rPr lang="en-US" sz="2800" dirty="0">
                <a:solidFill>
                  <a:schemeClr val="bg1"/>
                </a:solidFill>
                <a:latin typeface="+mj-lt"/>
                <a:cs typeface="+mj-cs"/>
              </a:rPr>
              <a:t>What does Mean Deviation say ? </a:t>
            </a:r>
          </a:p>
          <a:p>
            <a:pPr>
              <a:spcBef>
                <a:spcPts val="0"/>
              </a:spcBef>
              <a:spcAft>
                <a:spcPts val="0"/>
              </a:spcAft>
              <a:buClr>
                <a:schemeClr val="bg1"/>
              </a:buClr>
            </a:pPr>
            <a:endParaRPr lang="en-US" sz="1800" dirty="0">
              <a:solidFill>
                <a:schemeClr val="bg2">
                  <a:lumMod val="50000"/>
                  <a:lumOff val="50000"/>
                </a:schemeClr>
              </a:solidFill>
              <a:latin typeface="+mn-lt"/>
            </a:endParaRPr>
          </a:p>
          <a:p>
            <a:pPr marL="285750" indent="-285750" algn="l">
              <a:buFont typeface="Wingdings" panose="05000000000000000000" pitchFamily="2" charset="2"/>
              <a:buChar char="q"/>
            </a:pPr>
            <a:r>
              <a:rPr lang="en-US" sz="1800" dirty="0">
                <a:solidFill>
                  <a:schemeClr val="bg2">
                    <a:lumMod val="50000"/>
                    <a:lumOff val="50000"/>
                  </a:schemeClr>
                </a:solidFill>
                <a:latin typeface="+mn-lt"/>
              </a:rPr>
              <a:t>It tells us how far, on average, all values are from the middle.</a:t>
            </a:r>
          </a:p>
          <a:p>
            <a:pPr marL="285750" indent="-285750" algn="l">
              <a:buFont typeface="Wingdings" panose="05000000000000000000" pitchFamily="2" charset="2"/>
              <a:buChar char="q"/>
            </a:pPr>
            <a:r>
              <a:rPr lang="en-US" sz="1800" dirty="0">
                <a:solidFill>
                  <a:schemeClr val="bg2">
                    <a:lumMod val="50000"/>
                    <a:lumOff val="50000"/>
                  </a:schemeClr>
                </a:solidFill>
                <a:latin typeface="+mn-lt"/>
              </a:rPr>
              <a:t>In that example the values are, on average, 3.75 away from the middle</a:t>
            </a:r>
          </a:p>
          <a:p>
            <a:pPr>
              <a:spcBef>
                <a:spcPts val="0"/>
              </a:spcBef>
              <a:spcAft>
                <a:spcPts val="0"/>
              </a:spcAft>
              <a:buClr>
                <a:schemeClr val="bg1"/>
              </a:buClr>
            </a:pPr>
            <a:endParaRPr lang="en-US" sz="1400" dirty="0" err="1">
              <a:solidFill>
                <a:schemeClr val="bg2"/>
              </a:solidFill>
              <a:latin typeface="+mn-lt"/>
            </a:endParaRPr>
          </a:p>
        </p:txBody>
      </p:sp>
      <p:sp>
        <p:nvSpPr>
          <p:cNvPr id="5" name="Rectangle 4">
            <a:extLst>
              <a:ext uri="{FF2B5EF4-FFF2-40B4-BE49-F238E27FC236}">
                <a16:creationId xmlns:a16="http://schemas.microsoft.com/office/drawing/2014/main" id="{5FC14057-7159-4E30-ABC8-355D937DF3A5}"/>
              </a:ext>
            </a:extLst>
          </p:cNvPr>
          <p:cNvSpPr/>
          <p:nvPr/>
        </p:nvSpPr>
        <p:spPr>
          <a:xfrm>
            <a:off x="97723" y="2673399"/>
            <a:ext cx="8948554" cy="1668256"/>
          </a:xfrm>
          <a:prstGeom prst="rect">
            <a:avLst/>
          </a:prstGeom>
          <a:noFill/>
          <a:ln w="28575"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mc:AlternateContent xmlns:mc="http://schemas.openxmlformats.org/markup-compatibility/2006" xmlns:p14="http://schemas.microsoft.com/office/powerpoint/2010/main">
        <mc:Choice Requires="p14">
          <p:contentPart p14:bwMode="auto" r:id="rId2">
            <p14:nvContentPartPr>
              <p14:cNvPr id="6" name="Ink 5">
                <a:extLst>
                  <a:ext uri="{FF2B5EF4-FFF2-40B4-BE49-F238E27FC236}">
                    <a16:creationId xmlns:a16="http://schemas.microsoft.com/office/drawing/2014/main" id="{F6C5B896-394D-4C30-9DF4-53BF77E957A3}"/>
                  </a:ext>
                </a:extLst>
              </p14:cNvPr>
              <p14:cNvContentPartPr/>
              <p14:nvPr/>
            </p14:nvContentPartPr>
            <p14:xfrm>
              <a:off x="1076400" y="133200"/>
              <a:ext cx="7834680" cy="3834360"/>
            </p14:xfrm>
          </p:contentPart>
        </mc:Choice>
        <mc:Fallback xmlns="">
          <p:pic>
            <p:nvPicPr>
              <p:cNvPr id="6" name="Ink 5">
                <a:extLst>
                  <a:ext uri="{FF2B5EF4-FFF2-40B4-BE49-F238E27FC236}">
                    <a16:creationId xmlns:a16="http://schemas.microsoft.com/office/drawing/2014/main" id="{F6C5B896-394D-4C30-9DF4-53BF77E957A3}"/>
                  </a:ext>
                </a:extLst>
              </p:cNvPr>
              <p:cNvPicPr/>
              <p:nvPr/>
            </p:nvPicPr>
            <p:blipFill>
              <a:blip r:embed="rId3"/>
              <a:stretch>
                <a:fillRect/>
              </a:stretch>
            </p:blipFill>
            <p:spPr>
              <a:xfrm>
                <a:off x="1067040" y="123840"/>
                <a:ext cx="7853400" cy="3853080"/>
              </a:xfrm>
              <a:prstGeom prst="rect">
                <a:avLst/>
              </a:prstGeom>
            </p:spPr>
          </p:pic>
        </mc:Fallback>
      </mc:AlternateContent>
    </p:spTree>
    <p:extLst>
      <p:ext uri="{BB962C8B-B14F-4D97-AF65-F5344CB8AC3E}">
        <p14:creationId xmlns:p14="http://schemas.microsoft.com/office/powerpoint/2010/main" val="206333337"/>
      </p:ext>
    </p:extLst>
  </p:cSld>
  <p:clrMapOvr>
    <a:masterClrMapping/>
  </p:clrMapOvr>
  <p:transition spd="med">
    <p:wipe dir="r"/>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65446A-7FBF-4270-B3F9-3C9E47FD1AB0}"/>
              </a:ext>
            </a:extLst>
          </p:cNvPr>
          <p:cNvSpPr>
            <a:spLocks noGrp="1"/>
          </p:cNvSpPr>
          <p:nvPr>
            <p:ph type="title"/>
          </p:nvPr>
        </p:nvSpPr>
        <p:spPr>
          <a:xfrm>
            <a:off x="0" y="0"/>
            <a:ext cx="8229600" cy="637794"/>
          </a:xfrm>
        </p:spPr>
        <p:txBody>
          <a:bodyPr/>
          <a:lstStyle/>
          <a:p>
            <a:r>
              <a:rPr lang="en-US" dirty="0"/>
              <a:t>Mean Deviation - Formula</a:t>
            </a:r>
          </a:p>
        </p:txBody>
      </p:sp>
      <p:sp>
        <p:nvSpPr>
          <p:cNvPr id="3" name="TextBox 2">
            <a:extLst>
              <a:ext uri="{FF2B5EF4-FFF2-40B4-BE49-F238E27FC236}">
                <a16:creationId xmlns:a16="http://schemas.microsoft.com/office/drawing/2014/main" id="{6D3F6156-DC35-41C3-BD79-96AB55011EF8}"/>
              </a:ext>
            </a:extLst>
          </p:cNvPr>
          <p:cNvSpPr txBox="1"/>
          <p:nvPr/>
        </p:nvSpPr>
        <p:spPr>
          <a:xfrm>
            <a:off x="160543" y="637794"/>
            <a:ext cx="8725191" cy="3077766"/>
          </a:xfrm>
          <a:prstGeom prst="rect">
            <a:avLst/>
          </a:prstGeom>
          <a:noFill/>
        </p:spPr>
        <p:txBody>
          <a:bodyPr wrap="square" rtlCol="0">
            <a:spAutoFit/>
          </a:bodyPr>
          <a:lstStyle/>
          <a:p>
            <a:pPr algn="l"/>
            <a:r>
              <a:rPr lang="en-US" sz="1800" dirty="0">
                <a:solidFill>
                  <a:schemeClr val="bg2">
                    <a:lumMod val="50000"/>
                    <a:lumOff val="50000"/>
                  </a:schemeClr>
                </a:solidFill>
                <a:latin typeface="+mn-lt"/>
              </a:rPr>
              <a:t>The formula is:</a:t>
            </a:r>
          </a:p>
          <a:p>
            <a:pPr algn="ctr"/>
            <a:endParaRPr lang="en-US" sz="1800" dirty="0">
              <a:solidFill>
                <a:schemeClr val="bg2">
                  <a:lumMod val="50000"/>
                  <a:lumOff val="50000"/>
                </a:schemeClr>
              </a:solidFill>
              <a:latin typeface="+mn-lt"/>
            </a:endParaRPr>
          </a:p>
          <a:p>
            <a:pPr algn="ctr"/>
            <a:endParaRPr lang="en-US" sz="1800" dirty="0">
              <a:solidFill>
                <a:schemeClr val="bg2">
                  <a:lumMod val="50000"/>
                  <a:lumOff val="50000"/>
                </a:schemeClr>
              </a:solidFill>
              <a:latin typeface="+mn-lt"/>
            </a:endParaRPr>
          </a:p>
          <a:p>
            <a:pPr algn="ctr"/>
            <a:endParaRPr lang="en-US" sz="1800" dirty="0">
              <a:solidFill>
                <a:schemeClr val="bg2">
                  <a:lumMod val="50000"/>
                  <a:lumOff val="50000"/>
                </a:schemeClr>
              </a:solidFill>
              <a:latin typeface="+mn-lt"/>
            </a:endParaRPr>
          </a:p>
          <a:p>
            <a:pPr algn="ctr"/>
            <a:endParaRPr lang="en-US" sz="1800" dirty="0">
              <a:solidFill>
                <a:schemeClr val="bg2">
                  <a:lumMod val="50000"/>
                  <a:lumOff val="50000"/>
                </a:schemeClr>
              </a:solidFill>
              <a:latin typeface="+mn-lt"/>
            </a:endParaRPr>
          </a:p>
          <a:p>
            <a:pPr marL="285750" indent="-285750" algn="l">
              <a:buFont typeface="Arial" panose="020B0604020202020204" pitchFamily="34" charset="0"/>
              <a:buChar char="•"/>
            </a:pPr>
            <a:r>
              <a:rPr lang="en-US" sz="1800" dirty="0">
                <a:solidFill>
                  <a:schemeClr val="bg2">
                    <a:lumMod val="50000"/>
                    <a:lumOff val="50000"/>
                  </a:schemeClr>
                </a:solidFill>
                <a:latin typeface="+mn-lt"/>
              </a:rPr>
              <a:t>Σ is </a:t>
            </a:r>
            <a:r>
              <a:rPr lang="en-US" sz="1800" dirty="0">
                <a:solidFill>
                  <a:schemeClr val="bg2">
                    <a:lumMod val="50000"/>
                    <a:lumOff val="50000"/>
                  </a:schemeClr>
                </a:solidFill>
                <a:latin typeface="+mn-lt"/>
                <a:hlinkClick r:id="rId2">
                  <a:extLst>
                    <a:ext uri="{A12FA001-AC4F-418D-AE19-62706E023703}">
                      <ahyp:hlinkClr xmlns:ahyp="http://schemas.microsoft.com/office/drawing/2018/hyperlinkcolor" val="tx"/>
                    </a:ext>
                  </a:extLst>
                </a:hlinkClick>
              </a:rPr>
              <a:t>Sigma</a:t>
            </a:r>
            <a:r>
              <a:rPr lang="en-US" sz="1800" dirty="0">
                <a:solidFill>
                  <a:schemeClr val="bg2">
                    <a:lumMod val="50000"/>
                    <a:lumOff val="50000"/>
                  </a:schemeClr>
                </a:solidFill>
                <a:latin typeface="+mn-lt"/>
              </a:rPr>
              <a:t>, which means to sum up</a:t>
            </a:r>
          </a:p>
          <a:p>
            <a:pPr marL="285750" indent="-285750" algn="l">
              <a:buFont typeface="Arial" panose="020B0604020202020204" pitchFamily="34" charset="0"/>
              <a:buChar char="•"/>
            </a:pPr>
            <a:r>
              <a:rPr lang="en-US" sz="1800" dirty="0">
                <a:solidFill>
                  <a:schemeClr val="bg2">
                    <a:lumMod val="50000"/>
                    <a:lumOff val="50000"/>
                  </a:schemeClr>
                </a:solidFill>
                <a:latin typeface="+mn-lt"/>
              </a:rPr>
              <a:t>|| (the vertical bars) mean </a:t>
            </a:r>
            <a:r>
              <a:rPr lang="en-US" sz="1800" dirty="0">
                <a:solidFill>
                  <a:schemeClr val="bg2">
                    <a:lumMod val="50000"/>
                    <a:lumOff val="50000"/>
                  </a:schemeClr>
                </a:solidFill>
                <a:latin typeface="+mn-lt"/>
                <a:hlinkClick r:id="rId3">
                  <a:extLst>
                    <a:ext uri="{A12FA001-AC4F-418D-AE19-62706E023703}">
                      <ahyp:hlinkClr xmlns:ahyp="http://schemas.microsoft.com/office/drawing/2018/hyperlinkcolor" val="tx"/>
                    </a:ext>
                  </a:extLst>
                </a:hlinkClick>
              </a:rPr>
              <a:t>Absolute Value</a:t>
            </a:r>
            <a:r>
              <a:rPr lang="en-US" sz="1800" dirty="0">
                <a:solidFill>
                  <a:schemeClr val="bg2">
                    <a:lumMod val="50000"/>
                    <a:lumOff val="50000"/>
                  </a:schemeClr>
                </a:solidFill>
                <a:latin typeface="+mn-lt"/>
              </a:rPr>
              <a:t>, basically to ignore minus signs</a:t>
            </a:r>
          </a:p>
          <a:p>
            <a:pPr marL="285750" indent="-285750" algn="l">
              <a:buFont typeface="Arial" panose="020B0604020202020204" pitchFamily="34" charset="0"/>
              <a:buChar char="•"/>
            </a:pPr>
            <a:r>
              <a:rPr lang="en-US" sz="1800" dirty="0">
                <a:solidFill>
                  <a:schemeClr val="bg2">
                    <a:lumMod val="50000"/>
                    <a:lumOff val="50000"/>
                  </a:schemeClr>
                </a:solidFill>
                <a:latin typeface="+mn-lt"/>
              </a:rPr>
              <a:t>x is each value (such as 3 or 16)</a:t>
            </a:r>
          </a:p>
          <a:p>
            <a:pPr marL="285750" indent="-285750" algn="l">
              <a:buFont typeface="Arial" panose="020B0604020202020204" pitchFamily="34" charset="0"/>
              <a:buChar char="•"/>
            </a:pPr>
            <a:r>
              <a:rPr lang="en-US" sz="1800" dirty="0">
                <a:solidFill>
                  <a:schemeClr val="bg2">
                    <a:lumMod val="50000"/>
                    <a:lumOff val="50000"/>
                  </a:schemeClr>
                </a:solidFill>
                <a:latin typeface="+mn-lt"/>
              </a:rPr>
              <a:t>μ is the mean (in our example μ = 9)</a:t>
            </a:r>
          </a:p>
          <a:p>
            <a:pPr marL="285750" indent="-285750" algn="l">
              <a:buFont typeface="Arial" panose="020B0604020202020204" pitchFamily="34" charset="0"/>
              <a:buChar char="•"/>
            </a:pPr>
            <a:r>
              <a:rPr lang="en-US" sz="1800" dirty="0">
                <a:solidFill>
                  <a:schemeClr val="bg2">
                    <a:lumMod val="50000"/>
                    <a:lumOff val="50000"/>
                  </a:schemeClr>
                </a:solidFill>
                <a:latin typeface="+mn-lt"/>
              </a:rPr>
              <a:t>N is the number of values (in our example N = 8)</a:t>
            </a:r>
          </a:p>
          <a:p>
            <a:pPr>
              <a:spcBef>
                <a:spcPts val="0"/>
              </a:spcBef>
              <a:spcAft>
                <a:spcPts val="0"/>
              </a:spcAft>
              <a:buClr>
                <a:schemeClr val="bg1"/>
              </a:buClr>
            </a:pPr>
            <a:endParaRPr lang="en-US" sz="1400" dirty="0" err="1">
              <a:solidFill>
                <a:schemeClr val="bg2"/>
              </a:solidFill>
              <a:latin typeface="+mn-lt"/>
            </a:endParaRPr>
          </a:p>
        </p:txBody>
      </p:sp>
      <p:pic>
        <p:nvPicPr>
          <p:cNvPr id="6" name="Picture 5">
            <a:extLst>
              <a:ext uri="{FF2B5EF4-FFF2-40B4-BE49-F238E27FC236}">
                <a16:creationId xmlns:a16="http://schemas.microsoft.com/office/drawing/2014/main" id="{B12533B2-36D3-4DB7-AA9E-F31226F4C8E3}"/>
              </a:ext>
            </a:extLst>
          </p:cNvPr>
          <p:cNvPicPr>
            <a:picLocks noChangeAspect="1"/>
          </p:cNvPicPr>
          <p:nvPr/>
        </p:nvPicPr>
        <p:blipFill>
          <a:blip r:embed="rId4"/>
          <a:stretch>
            <a:fillRect/>
          </a:stretch>
        </p:blipFill>
        <p:spPr>
          <a:xfrm>
            <a:off x="2143271" y="1015177"/>
            <a:ext cx="2714915" cy="769032"/>
          </a:xfrm>
          <a:prstGeom prst="rect">
            <a:avLst/>
          </a:prstGeom>
        </p:spPr>
      </p:pic>
      <p:sp>
        <p:nvSpPr>
          <p:cNvPr id="7" name="TextBox 6">
            <a:extLst>
              <a:ext uri="{FF2B5EF4-FFF2-40B4-BE49-F238E27FC236}">
                <a16:creationId xmlns:a16="http://schemas.microsoft.com/office/drawing/2014/main" id="{72CE07EA-D6D8-4715-8606-26366D32D3E3}"/>
              </a:ext>
            </a:extLst>
          </p:cNvPr>
          <p:cNvSpPr txBox="1"/>
          <p:nvPr/>
        </p:nvSpPr>
        <p:spPr>
          <a:xfrm>
            <a:off x="160543" y="3797203"/>
            <a:ext cx="8069057" cy="523220"/>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lumMod val="50000"/>
                    <a:lumOff val="50000"/>
                  </a:schemeClr>
                </a:solidFill>
                <a:latin typeface="+mn-lt"/>
              </a:rPr>
              <a:t>**Note : </a:t>
            </a:r>
            <a:r>
              <a:rPr lang="en-US" sz="1400" i="1" dirty="0">
                <a:solidFill>
                  <a:schemeClr val="bg2">
                    <a:lumMod val="50000"/>
                    <a:lumOff val="50000"/>
                  </a:schemeClr>
                </a:solidFill>
                <a:latin typeface="+mn-lt"/>
              </a:rPr>
              <a:t>The “</a:t>
            </a:r>
            <a:r>
              <a:rPr lang="en-US" sz="1400" b="1" i="1" dirty="0">
                <a:solidFill>
                  <a:schemeClr val="bg2">
                    <a:lumMod val="50000"/>
                    <a:lumOff val="50000"/>
                  </a:schemeClr>
                </a:solidFill>
                <a:latin typeface="+mn-lt"/>
              </a:rPr>
              <a:t>Mean Deviation” </a:t>
            </a:r>
            <a:r>
              <a:rPr lang="en-US" sz="1400" i="1" dirty="0">
                <a:solidFill>
                  <a:schemeClr val="bg2">
                    <a:lumMod val="50000"/>
                    <a:lumOff val="50000"/>
                  </a:schemeClr>
                </a:solidFill>
                <a:latin typeface="+mn-lt"/>
              </a:rPr>
              <a:t>is sometimes called the </a:t>
            </a:r>
            <a:r>
              <a:rPr lang="en-US" sz="1400" b="1" i="1" dirty="0">
                <a:solidFill>
                  <a:schemeClr val="bg2">
                    <a:lumMod val="50000"/>
                    <a:lumOff val="50000"/>
                  </a:schemeClr>
                </a:solidFill>
                <a:latin typeface="+mn-lt"/>
              </a:rPr>
              <a:t>“Mean Absolute Deviation”</a:t>
            </a:r>
            <a:r>
              <a:rPr lang="en-US" sz="1400" i="1" dirty="0">
                <a:solidFill>
                  <a:schemeClr val="bg2">
                    <a:lumMod val="50000"/>
                    <a:lumOff val="50000"/>
                  </a:schemeClr>
                </a:solidFill>
                <a:latin typeface="+mn-lt"/>
              </a:rPr>
              <a:t> (MAD) because it is the mean of the absolute deviations</a:t>
            </a:r>
          </a:p>
        </p:txBody>
      </p:sp>
      <mc:AlternateContent xmlns:mc="http://schemas.openxmlformats.org/markup-compatibility/2006" xmlns:p14="http://schemas.microsoft.com/office/powerpoint/2010/main">
        <mc:Choice Requires="p14">
          <p:contentPart p14:bwMode="auto" r:id="rId5">
            <p14:nvContentPartPr>
              <p14:cNvPr id="4" name="Ink 3">
                <a:extLst>
                  <a:ext uri="{FF2B5EF4-FFF2-40B4-BE49-F238E27FC236}">
                    <a16:creationId xmlns:a16="http://schemas.microsoft.com/office/drawing/2014/main" id="{B8242243-1851-4288-81EC-8CA97CD17036}"/>
                  </a:ext>
                </a:extLst>
              </p14:cNvPr>
              <p14:cNvContentPartPr/>
              <p14:nvPr/>
            </p14:nvContentPartPr>
            <p14:xfrm>
              <a:off x="1409760" y="852480"/>
              <a:ext cx="7506000" cy="3286440"/>
            </p14:xfrm>
          </p:contentPart>
        </mc:Choice>
        <mc:Fallback xmlns="">
          <p:pic>
            <p:nvPicPr>
              <p:cNvPr id="4" name="Ink 3">
                <a:extLst>
                  <a:ext uri="{FF2B5EF4-FFF2-40B4-BE49-F238E27FC236}">
                    <a16:creationId xmlns:a16="http://schemas.microsoft.com/office/drawing/2014/main" id="{B8242243-1851-4288-81EC-8CA97CD17036}"/>
                  </a:ext>
                </a:extLst>
              </p:cNvPr>
              <p:cNvPicPr/>
              <p:nvPr/>
            </p:nvPicPr>
            <p:blipFill>
              <a:blip r:embed="rId6"/>
              <a:stretch>
                <a:fillRect/>
              </a:stretch>
            </p:blipFill>
            <p:spPr>
              <a:xfrm>
                <a:off x="1400400" y="843120"/>
                <a:ext cx="7524720" cy="3305160"/>
              </a:xfrm>
              <a:prstGeom prst="rect">
                <a:avLst/>
              </a:prstGeom>
            </p:spPr>
          </p:pic>
        </mc:Fallback>
      </mc:AlternateContent>
    </p:spTree>
    <p:extLst>
      <p:ext uri="{BB962C8B-B14F-4D97-AF65-F5344CB8AC3E}">
        <p14:creationId xmlns:p14="http://schemas.microsoft.com/office/powerpoint/2010/main" val="4202863261"/>
      </p:ext>
    </p:extLst>
  </p:cSld>
  <p:clrMapOvr>
    <a:masterClrMapping/>
  </p:clrMapOvr>
  <p:transition spd="med">
    <p:wipe dir="r"/>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63DDC-6903-4E07-98B9-95FDD97BD569}"/>
              </a:ext>
            </a:extLst>
          </p:cNvPr>
          <p:cNvSpPr>
            <a:spLocks noGrp="1"/>
          </p:cNvSpPr>
          <p:nvPr>
            <p:ph type="title"/>
          </p:nvPr>
        </p:nvSpPr>
        <p:spPr>
          <a:xfrm>
            <a:off x="0" y="0"/>
            <a:ext cx="8229600" cy="637794"/>
          </a:xfrm>
        </p:spPr>
        <p:txBody>
          <a:bodyPr/>
          <a:lstStyle/>
          <a:p>
            <a:r>
              <a:rPr lang="en-US" dirty="0"/>
              <a:t>Mean Deviation – Real life example </a:t>
            </a:r>
          </a:p>
        </p:txBody>
      </p:sp>
      <p:sp>
        <p:nvSpPr>
          <p:cNvPr id="3" name="TextBox 2">
            <a:extLst>
              <a:ext uri="{FF2B5EF4-FFF2-40B4-BE49-F238E27FC236}">
                <a16:creationId xmlns:a16="http://schemas.microsoft.com/office/drawing/2014/main" id="{64CEE453-977A-4B43-8454-41EFE9BF1B1F}"/>
              </a:ext>
            </a:extLst>
          </p:cNvPr>
          <p:cNvSpPr txBox="1"/>
          <p:nvPr/>
        </p:nvSpPr>
        <p:spPr>
          <a:xfrm>
            <a:off x="216385" y="579353"/>
            <a:ext cx="8159798" cy="2893100"/>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Ex : </a:t>
            </a:r>
            <a:r>
              <a:rPr lang="en-US" sz="1400" dirty="0">
                <a:solidFill>
                  <a:schemeClr val="bg2">
                    <a:lumMod val="50000"/>
                    <a:lumOff val="50000"/>
                  </a:schemeClr>
                </a:solidFill>
                <a:latin typeface="+mn-lt"/>
              </a:rPr>
              <a:t>A group of friends have just measured the heights of their dogs ( in millimeters) </a:t>
            </a:r>
          </a:p>
          <a:p>
            <a:pPr>
              <a:spcBef>
                <a:spcPts val="0"/>
              </a:spcBef>
              <a:spcAft>
                <a:spcPts val="0"/>
              </a:spcAft>
              <a:buClr>
                <a:schemeClr val="bg1"/>
              </a:buCl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lumMod val="50000"/>
                    <a:lumOff val="50000"/>
                  </a:schemeClr>
                </a:solidFill>
                <a:latin typeface="+mn-lt"/>
              </a:rPr>
              <a:t>The heights at shoulders are : 600mm, 470mm, 170mm, 430mm and 300mm</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b="1" dirty="0">
                <a:solidFill>
                  <a:schemeClr val="bg2">
                    <a:lumMod val="50000"/>
                    <a:lumOff val="50000"/>
                  </a:schemeClr>
                </a:solidFill>
                <a:latin typeface="+mn-lt"/>
              </a:rPr>
              <a:t>Step 1 : </a:t>
            </a:r>
            <a:r>
              <a:rPr lang="en-US" sz="1400" dirty="0">
                <a:solidFill>
                  <a:schemeClr val="bg2">
                    <a:lumMod val="50000"/>
                    <a:lumOff val="50000"/>
                  </a:schemeClr>
                </a:solidFill>
                <a:latin typeface="+mn-lt"/>
              </a:rPr>
              <a:t>Find </a:t>
            </a:r>
            <a:r>
              <a:rPr lang="en-US" sz="1400" b="1" dirty="0">
                <a:solidFill>
                  <a:schemeClr val="bg2">
                    <a:lumMod val="50000"/>
                    <a:lumOff val="50000"/>
                  </a:schemeClr>
                </a:solidFill>
                <a:latin typeface="+mn-lt"/>
              </a:rPr>
              <a:t>mean </a:t>
            </a: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b="1" dirty="0">
                <a:solidFill>
                  <a:schemeClr val="bg2">
                    <a:lumMod val="50000"/>
                    <a:lumOff val="50000"/>
                  </a:schemeClr>
                </a:solidFill>
                <a:latin typeface="+mn-lt"/>
              </a:rPr>
              <a:t>Step 2 : </a:t>
            </a:r>
            <a:r>
              <a:rPr lang="en-US" sz="1400" dirty="0">
                <a:solidFill>
                  <a:schemeClr val="bg2">
                    <a:lumMod val="50000"/>
                    <a:lumOff val="50000"/>
                  </a:schemeClr>
                </a:solidFill>
                <a:latin typeface="+mn-lt"/>
              </a:rPr>
              <a:t>Find the </a:t>
            </a:r>
            <a:r>
              <a:rPr lang="en-US" sz="1400" b="1" dirty="0">
                <a:solidFill>
                  <a:schemeClr val="bg2">
                    <a:lumMod val="50000"/>
                    <a:lumOff val="50000"/>
                  </a:schemeClr>
                </a:solidFill>
                <a:latin typeface="+mn-lt"/>
              </a:rPr>
              <a:t>absolute Deviations</a:t>
            </a: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p:txBody>
      </p:sp>
      <p:pic>
        <p:nvPicPr>
          <p:cNvPr id="5" name="Picture 4">
            <a:extLst>
              <a:ext uri="{FF2B5EF4-FFF2-40B4-BE49-F238E27FC236}">
                <a16:creationId xmlns:a16="http://schemas.microsoft.com/office/drawing/2014/main" id="{959516F1-D246-4E8C-A73E-475C71B1491B}"/>
              </a:ext>
            </a:extLst>
          </p:cNvPr>
          <p:cNvPicPr>
            <a:picLocks noChangeAspect="1"/>
          </p:cNvPicPr>
          <p:nvPr/>
        </p:nvPicPr>
        <p:blipFill>
          <a:blip r:embed="rId2"/>
          <a:stretch>
            <a:fillRect/>
          </a:stretch>
        </p:blipFill>
        <p:spPr>
          <a:xfrm>
            <a:off x="5916553" y="2812641"/>
            <a:ext cx="2230667" cy="1919030"/>
          </a:xfrm>
          <a:prstGeom prst="rect">
            <a:avLst/>
          </a:prstGeom>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6833B48B-A26A-4855-B73C-8420911DC1A7}"/>
                  </a:ext>
                </a:extLst>
              </p14:cNvPr>
              <p14:cNvContentPartPr/>
              <p14:nvPr/>
            </p14:nvContentPartPr>
            <p14:xfrm>
              <a:off x="719280" y="480960"/>
              <a:ext cx="7353360" cy="4477320"/>
            </p14:xfrm>
          </p:contentPart>
        </mc:Choice>
        <mc:Fallback xmlns="">
          <p:pic>
            <p:nvPicPr>
              <p:cNvPr id="4" name="Ink 3">
                <a:extLst>
                  <a:ext uri="{FF2B5EF4-FFF2-40B4-BE49-F238E27FC236}">
                    <a16:creationId xmlns:a16="http://schemas.microsoft.com/office/drawing/2014/main" id="{6833B48B-A26A-4855-B73C-8420911DC1A7}"/>
                  </a:ext>
                </a:extLst>
              </p:cNvPr>
              <p:cNvPicPr/>
              <p:nvPr/>
            </p:nvPicPr>
            <p:blipFill>
              <a:blip r:embed="rId4"/>
              <a:stretch>
                <a:fillRect/>
              </a:stretch>
            </p:blipFill>
            <p:spPr>
              <a:xfrm>
                <a:off x="709920" y="471600"/>
                <a:ext cx="7372080" cy="4496040"/>
              </a:xfrm>
              <a:prstGeom prst="rect">
                <a:avLst/>
              </a:prstGeom>
            </p:spPr>
          </p:pic>
        </mc:Fallback>
      </mc:AlternateContent>
    </p:spTree>
    <p:extLst>
      <p:ext uri="{BB962C8B-B14F-4D97-AF65-F5344CB8AC3E}">
        <p14:creationId xmlns:p14="http://schemas.microsoft.com/office/powerpoint/2010/main" val="4012045956"/>
      </p:ext>
    </p:extLst>
  </p:cSld>
  <p:clrMapOvr>
    <a:masterClrMapping/>
  </p:clrMapOvr>
  <p:transition spd="med">
    <p:wipe dir="r"/>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A0F8C7-2815-423B-9CFE-F3DB4C4B33CF}"/>
              </a:ext>
            </a:extLst>
          </p:cNvPr>
          <p:cNvSpPr>
            <a:spLocks noGrp="1"/>
          </p:cNvSpPr>
          <p:nvPr>
            <p:ph type="title"/>
          </p:nvPr>
        </p:nvSpPr>
        <p:spPr>
          <a:xfrm>
            <a:off x="0" y="0"/>
            <a:ext cx="8229600" cy="637794"/>
          </a:xfrm>
        </p:spPr>
        <p:txBody>
          <a:bodyPr/>
          <a:lstStyle/>
          <a:p>
            <a:r>
              <a:rPr lang="en-US" dirty="0"/>
              <a:t>Mean Deviation – Ex continued</a:t>
            </a:r>
          </a:p>
        </p:txBody>
      </p:sp>
      <p:pic>
        <p:nvPicPr>
          <p:cNvPr id="4" name="Picture 3">
            <a:extLst>
              <a:ext uri="{FF2B5EF4-FFF2-40B4-BE49-F238E27FC236}">
                <a16:creationId xmlns:a16="http://schemas.microsoft.com/office/drawing/2014/main" id="{2684BAC9-2977-493F-A4C0-32B4E221651D}"/>
              </a:ext>
            </a:extLst>
          </p:cNvPr>
          <p:cNvPicPr>
            <a:picLocks noChangeAspect="1"/>
          </p:cNvPicPr>
          <p:nvPr/>
        </p:nvPicPr>
        <p:blipFill>
          <a:blip r:embed="rId2"/>
          <a:stretch>
            <a:fillRect/>
          </a:stretch>
        </p:blipFill>
        <p:spPr>
          <a:xfrm>
            <a:off x="1400866" y="461163"/>
            <a:ext cx="4748649" cy="1563833"/>
          </a:xfrm>
          <a:prstGeom prst="rect">
            <a:avLst/>
          </a:prstGeom>
        </p:spPr>
      </p:pic>
      <p:sp>
        <p:nvSpPr>
          <p:cNvPr id="5" name="TextBox 4">
            <a:extLst>
              <a:ext uri="{FF2B5EF4-FFF2-40B4-BE49-F238E27FC236}">
                <a16:creationId xmlns:a16="http://schemas.microsoft.com/office/drawing/2014/main" id="{4CE2C01F-5298-4DEC-97A3-7B7C756EFFAE}"/>
              </a:ext>
            </a:extLst>
          </p:cNvPr>
          <p:cNvSpPr txBox="1"/>
          <p:nvPr/>
        </p:nvSpPr>
        <p:spPr>
          <a:xfrm>
            <a:off x="439750" y="2324391"/>
            <a:ext cx="5709765" cy="738664"/>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Step 3 : </a:t>
            </a:r>
            <a:r>
              <a:rPr lang="en-US" sz="1400" dirty="0">
                <a:solidFill>
                  <a:schemeClr val="bg2">
                    <a:lumMod val="50000"/>
                    <a:lumOff val="50000"/>
                  </a:schemeClr>
                </a:solidFill>
                <a:latin typeface="+mn-lt"/>
              </a:rPr>
              <a:t>find the Mean Deviation </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endParaRPr lang="en-US" sz="1400" dirty="0" err="1">
              <a:solidFill>
                <a:schemeClr val="bg2"/>
              </a:solidFill>
              <a:latin typeface="+mn-lt"/>
            </a:endParaRPr>
          </a:p>
        </p:txBody>
      </p:sp>
      <p:pic>
        <p:nvPicPr>
          <p:cNvPr id="7" name="Picture 6">
            <a:extLst>
              <a:ext uri="{FF2B5EF4-FFF2-40B4-BE49-F238E27FC236}">
                <a16:creationId xmlns:a16="http://schemas.microsoft.com/office/drawing/2014/main" id="{BED417EC-550A-4790-A918-98F4535E60BC}"/>
              </a:ext>
            </a:extLst>
          </p:cNvPr>
          <p:cNvPicPr>
            <a:picLocks noChangeAspect="1"/>
          </p:cNvPicPr>
          <p:nvPr/>
        </p:nvPicPr>
        <p:blipFill>
          <a:blip r:embed="rId3"/>
          <a:stretch>
            <a:fillRect/>
          </a:stretch>
        </p:blipFill>
        <p:spPr>
          <a:xfrm>
            <a:off x="1146745" y="2689879"/>
            <a:ext cx="6124575" cy="857250"/>
          </a:xfrm>
          <a:prstGeom prst="rect">
            <a:avLst/>
          </a:prstGeom>
        </p:spPr>
      </p:pic>
      <p:sp>
        <p:nvSpPr>
          <p:cNvPr id="8" name="TextBox 7">
            <a:extLst>
              <a:ext uri="{FF2B5EF4-FFF2-40B4-BE49-F238E27FC236}">
                <a16:creationId xmlns:a16="http://schemas.microsoft.com/office/drawing/2014/main" id="{3C987945-4DA9-48F4-89A9-BA2AEE0435B6}"/>
              </a:ext>
            </a:extLst>
          </p:cNvPr>
          <p:cNvSpPr txBox="1"/>
          <p:nvPr/>
        </p:nvSpPr>
        <p:spPr>
          <a:xfrm>
            <a:off x="349008" y="3776263"/>
            <a:ext cx="6707926" cy="261610"/>
          </a:xfrm>
          <a:prstGeom prst="rect">
            <a:avLst/>
          </a:prstGeom>
          <a:noFill/>
        </p:spPr>
        <p:txBody>
          <a:bodyPr wrap="square" rtlCol="0">
            <a:spAutoFit/>
          </a:bodyPr>
          <a:lstStyle/>
          <a:p>
            <a:pPr>
              <a:spcBef>
                <a:spcPts val="0"/>
              </a:spcBef>
              <a:spcAft>
                <a:spcPts val="0"/>
              </a:spcAft>
              <a:buClr>
                <a:schemeClr val="bg1"/>
              </a:buClr>
            </a:pPr>
            <a:r>
              <a:rPr lang="en-US" sz="1100" i="0" dirty="0">
                <a:solidFill>
                  <a:schemeClr val="bg2">
                    <a:lumMod val="50000"/>
                    <a:lumOff val="50000"/>
                  </a:schemeClr>
                </a:solidFill>
                <a:effectLst/>
                <a:latin typeface="Verdana" panose="020B0604030504040204" pitchFamily="34" charset="0"/>
              </a:rPr>
              <a:t>So, on average, the dogs' heights are </a:t>
            </a:r>
            <a:r>
              <a:rPr lang="en-US" sz="1100" b="1" i="0" dirty="0">
                <a:solidFill>
                  <a:schemeClr val="bg2">
                    <a:lumMod val="50000"/>
                    <a:lumOff val="50000"/>
                  </a:schemeClr>
                </a:solidFill>
                <a:effectLst/>
                <a:latin typeface="Verdana" panose="020B0604030504040204" pitchFamily="34" charset="0"/>
              </a:rPr>
              <a:t>127.2 mm from the mean</a:t>
            </a:r>
            <a:endParaRPr lang="en-US" sz="1400" dirty="0">
              <a:solidFill>
                <a:schemeClr val="bg2">
                  <a:lumMod val="50000"/>
                  <a:lumOff val="50000"/>
                </a:schemeClr>
              </a:solidFill>
              <a:latin typeface="+mn-lt"/>
            </a:endParaRPr>
          </a:p>
        </p:txBody>
      </p:sp>
      <mc:AlternateContent xmlns:mc="http://schemas.openxmlformats.org/markup-compatibility/2006" xmlns:p14="http://schemas.microsoft.com/office/powerpoint/2010/main">
        <mc:Choice Requires="p14">
          <p:contentPart p14:bwMode="auto" r:id="rId4">
            <p14:nvContentPartPr>
              <p14:cNvPr id="3" name="Ink 2">
                <a:extLst>
                  <a:ext uri="{FF2B5EF4-FFF2-40B4-BE49-F238E27FC236}">
                    <a16:creationId xmlns:a16="http://schemas.microsoft.com/office/drawing/2014/main" id="{A4D2435D-EB63-4680-95EF-2FAD32EEBBB8}"/>
                  </a:ext>
                </a:extLst>
              </p14:cNvPr>
              <p14:cNvContentPartPr/>
              <p14:nvPr/>
            </p14:nvContentPartPr>
            <p14:xfrm>
              <a:off x="2443320" y="76320"/>
              <a:ext cx="6519960" cy="5019840"/>
            </p14:xfrm>
          </p:contentPart>
        </mc:Choice>
        <mc:Fallback xmlns="">
          <p:pic>
            <p:nvPicPr>
              <p:cNvPr id="3" name="Ink 2">
                <a:extLst>
                  <a:ext uri="{FF2B5EF4-FFF2-40B4-BE49-F238E27FC236}">
                    <a16:creationId xmlns:a16="http://schemas.microsoft.com/office/drawing/2014/main" id="{A4D2435D-EB63-4680-95EF-2FAD32EEBBB8}"/>
                  </a:ext>
                </a:extLst>
              </p:cNvPr>
              <p:cNvPicPr/>
              <p:nvPr/>
            </p:nvPicPr>
            <p:blipFill>
              <a:blip r:embed="rId5"/>
              <a:stretch>
                <a:fillRect/>
              </a:stretch>
            </p:blipFill>
            <p:spPr>
              <a:xfrm>
                <a:off x="2433960" y="66960"/>
                <a:ext cx="6538680" cy="5038560"/>
              </a:xfrm>
              <a:prstGeom prst="rect">
                <a:avLst/>
              </a:prstGeom>
            </p:spPr>
          </p:pic>
        </mc:Fallback>
      </mc:AlternateContent>
    </p:spTree>
    <p:extLst>
      <p:ext uri="{BB962C8B-B14F-4D97-AF65-F5344CB8AC3E}">
        <p14:creationId xmlns:p14="http://schemas.microsoft.com/office/powerpoint/2010/main" val="399566643"/>
      </p:ext>
    </p:extLst>
  </p:cSld>
  <p:clrMapOvr>
    <a:masterClrMapping/>
  </p:clrMapOvr>
  <p:transition spd="med">
    <p:wipe dir="r"/>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489719-CCE8-4F09-B981-E32155DA1634}"/>
              </a:ext>
            </a:extLst>
          </p:cNvPr>
          <p:cNvSpPr>
            <a:spLocks noGrp="1"/>
          </p:cNvSpPr>
          <p:nvPr>
            <p:ph type="title"/>
          </p:nvPr>
        </p:nvSpPr>
        <p:spPr>
          <a:xfrm>
            <a:off x="0" y="0"/>
            <a:ext cx="8229600" cy="637794"/>
          </a:xfrm>
        </p:spPr>
        <p:txBody>
          <a:bodyPr/>
          <a:lstStyle/>
          <a:p>
            <a:r>
              <a:rPr lang="en-US" dirty="0"/>
              <a:t>Mean Deviation – A useful check</a:t>
            </a:r>
          </a:p>
        </p:txBody>
      </p:sp>
      <p:sp>
        <p:nvSpPr>
          <p:cNvPr id="3" name="TextBox 2">
            <a:extLst>
              <a:ext uri="{FF2B5EF4-FFF2-40B4-BE49-F238E27FC236}">
                <a16:creationId xmlns:a16="http://schemas.microsoft.com/office/drawing/2014/main" id="{41132D9F-766F-4798-993F-23A0FC08EC07}"/>
              </a:ext>
            </a:extLst>
          </p:cNvPr>
          <p:cNvSpPr txBox="1"/>
          <p:nvPr/>
        </p:nvSpPr>
        <p:spPr>
          <a:xfrm>
            <a:off x="195444" y="637794"/>
            <a:ext cx="7692129" cy="2400657"/>
          </a:xfrm>
          <a:prstGeom prst="rect">
            <a:avLst/>
          </a:prstGeom>
          <a:noFill/>
        </p:spPr>
        <p:txBody>
          <a:bodyPr wrap="square" rtlCol="0">
            <a:spAutoFit/>
          </a:bodyPr>
          <a:lstStyle/>
          <a:p>
            <a:pPr algn="l"/>
            <a:r>
              <a:rPr lang="en-US" sz="1600" b="0" i="0" dirty="0">
                <a:solidFill>
                  <a:schemeClr val="bg2">
                    <a:lumMod val="50000"/>
                    <a:lumOff val="50000"/>
                  </a:schemeClr>
                </a:solidFill>
                <a:effectLst/>
                <a:latin typeface="Verdana" panose="020B0604030504040204" pitchFamily="34" charset="0"/>
              </a:rPr>
              <a:t>The deviations on </a:t>
            </a:r>
            <a:r>
              <a:rPr lang="en-US" sz="1600" b="1" i="0" dirty="0">
                <a:solidFill>
                  <a:schemeClr val="bg2">
                    <a:lumMod val="50000"/>
                    <a:lumOff val="50000"/>
                  </a:schemeClr>
                </a:solidFill>
                <a:effectLst/>
                <a:latin typeface="Verdana" panose="020B0604030504040204" pitchFamily="34" charset="0"/>
              </a:rPr>
              <a:t>one side</a:t>
            </a:r>
            <a:r>
              <a:rPr lang="en-US" sz="1600" b="0" i="0" dirty="0">
                <a:solidFill>
                  <a:schemeClr val="bg2">
                    <a:lumMod val="50000"/>
                    <a:lumOff val="50000"/>
                  </a:schemeClr>
                </a:solidFill>
                <a:effectLst/>
                <a:latin typeface="Verdana" panose="020B0604030504040204" pitchFamily="34" charset="0"/>
              </a:rPr>
              <a:t> of the mean should equal the deviations on the </a:t>
            </a:r>
            <a:r>
              <a:rPr lang="en-US" sz="1600" b="1" i="0" dirty="0">
                <a:solidFill>
                  <a:schemeClr val="bg2">
                    <a:lumMod val="50000"/>
                    <a:lumOff val="50000"/>
                  </a:schemeClr>
                </a:solidFill>
                <a:effectLst/>
                <a:latin typeface="Verdana" panose="020B0604030504040204" pitchFamily="34" charset="0"/>
              </a:rPr>
              <a:t>other side</a:t>
            </a:r>
            <a:r>
              <a:rPr lang="en-US" sz="1600" b="0" i="0" dirty="0">
                <a:solidFill>
                  <a:schemeClr val="bg2">
                    <a:lumMod val="50000"/>
                    <a:lumOff val="50000"/>
                  </a:schemeClr>
                </a:solidFill>
                <a:effectLst/>
                <a:latin typeface="Verdana" panose="020B0604030504040204" pitchFamily="34" charset="0"/>
              </a:rPr>
              <a:t>.</a:t>
            </a:r>
          </a:p>
          <a:p>
            <a:pPr algn="l"/>
            <a:r>
              <a:rPr lang="en-US" sz="1600" b="0" i="0" dirty="0">
                <a:solidFill>
                  <a:schemeClr val="bg2">
                    <a:lumMod val="50000"/>
                    <a:lumOff val="50000"/>
                  </a:schemeClr>
                </a:solidFill>
                <a:effectLst/>
                <a:latin typeface="Verdana" panose="020B0604030504040204" pitchFamily="34" charset="0"/>
              </a:rPr>
              <a:t>From our first example:</a:t>
            </a:r>
          </a:p>
          <a:p>
            <a:pPr algn="l"/>
            <a:endParaRPr lang="en-US" sz="1600" dirty="0">
              <a:solidFill>
                <a:schemeClr val="bg2">
                  <a:lumMod val="50000"/>
                  <a:lumOff val="50000"/>
                </a:schemeClr>
              </a:solidFill>
              <a:latin typeface="Verdana" panose="020B0604030504040204" pitchFamily="34" charset="0"/>
            </a:endParaRPr>
          </a:p>
          <a:p>
            <a:r>
              <a:rPr lang="en-US" sz="1200" b="0" i="0" dirty="0">
                <a:solidFill>
                  <a:schemeClr val="bg2">
                    <a:lumMod val="50000"/>
                    <a:lumOff val="50000"/>
                  </a:schemeClr>
                </a:solidFill>
                <a:effectLst/>
                <a:latin typeface="Verdana" panose="020B0604030504040204" pitchFamily="34" charset="0"/>
              </a:rPr>
              <a:t>Example: 3, 6, 6, 7, 8, 11, 15, 16</a:t>
            </a:r>
          </a:p>
          <a:p>
            <a:pPr algn="l"/>
            <a:endParaRPr lang="en-US" sz="1600" b="0" i="0" dirty="0">
              <a:solidFill>
                <a:schemeClr val="bg2">
                  <a:lumMod val="50000"/>
                  <a:lumOff val="50000"/>
                </a:schemeClr>
              </a:solidFill>
              <a:effectLst/>
              <a:latin typeface="Verdana" panose="020B0604030504040204" pitchFamily="34" charset="0"/>
            </a:endParaRPr>
          </a:p>
          <a:p>
            <a:pPr algn="l"/>
            <a:r>
              <a:rPr lang="en-US" sz="1200" b="0" i="0" dirty="0">
                <a:solidFill>
                  <a:schemeClr val="bg2">
                    <a:lumMod val="50000"/>
                    <a:lumOff val="50000"/>
                  </a:schemeClr>
                </a:solidFill>
                <a:effectLst/>
                <a:latin typeface="Verdana" panose="020B0604030504040204" pitchFamily="34" charset="0"/>
              </a:rPr>
              <a:t>The deviations are:</a:t>
            </a:r>
            <a:endParaRPr lang="en-US" sz="1600" dirty="0">
              <a:solidFill>
                <a:schemeClr val="bg2">
                  <a:lumMod val="50000"/>
                  <a:lumOff val="50000"/>
                </a:schemeClr>
              </a:solidFill>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lgn="l"/>
            <a:endParaRPr lang="en-US" sz="1100" dirty="0">
              <a:solidFill>
                <a:srgbClr val="333333"/>
              </a:solidFill>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369B5A84-C0D5-47C8-A231-D0A8C134B5C9}"/>
              </a:ext>
            </a:extLst>
          </p:cNvPr>
          <p:cNvPicPr>
            <a:picLocks noChangeAspect="1"/>
          </p:cNvPicPr>
          <p:nvPr/>
        </p:nvPicPr>
        <p:blipFill>
          <a:blip r:embed="rId2"/>
          <a:stretch>
            <a:fillRect/>
          </a:stretch>
        </p:blipFill>
        <p:spPr>
          <a:xfrm>
            <a:off x="691507" y="2448298"/>
            <a:ext cx="6846585" cy="1960685"/>
          </a:xfrm>
          <a:prstGeom prst="rect">
            <a:avLst/>
          </a:prstGeom>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AF58C9FC-BA6E-41BF-A862-AD0FCC116891}"/>
                  </a:ext>
                </a:extLst>
              </p14:cNvPr>
              <p14:cNvContentPartPr/>
              <p14:nvPr/>
            </p14:nvContentPartPr>
            <p14:xfrm>
              <a:off x="1009800" y="947880"/>
              <a:ext cx="5062680" cy="3195720"/>
            </p14:xfrm>
          </p:contentPart>
        </mc:Choice>
        <mc:Fallback xmlns="">
          <p:pic>
            <p:nvPicPr>
              <p:cNvPr id="4" name="Ink 3">
                <a:extLst>
                  <a:ext uri="{FF2B5EF4-FFF2-40B4-BE49-F238E27FC236}">
                    <a16:creationId xmlns:a16="http://schemas.microsoft.com/office/drawing/2014/main" id="{AF58C9FC-BA6E-41BF-A862-AD0FCC116891}"/>
                  </a:ext>
                </a:extLst>
              </p:cNvPr>
              <p:cNvPicPr/>
              <p:nvPr/>
            </p:nvPicPr>
            <p:blipFill>
              <a:blip r:embed="rId4"/>
              <a:stretch>
                <a:fillRect/>
              </a:stretch>
            </p:blipFill>
            <p:spPr>
              <a:xfrm>
                <a:off x="1000440" y="938520"/>
                <a:ext cx="5081400" cy="3214440"/>
              </a:xfrm>
              <a:prstGeom prst="rect">
                <a:avLst/>
              </a:prstGeom>
            </p:spPr>
          </p:pic>
        </mc:Fallback>
      </mc:AlternateContent>
    </p:spTree>
    <p:extLst>
      <p:ext uri="{BB962C8B-B14F-4D97-AF65-F5344CB8AC3E}">
        <p14:creationId xmlns:p14="http://schemas.microsoft.com/office/powerpoint/2010/main" val="2909785245"/>
      </p:ext>
    </p:extLst>
  </p:cSld>
  <p:clrMapOvr>
    <a:masterClrMapping/>
  </p:clrMapOvr>
  <p:transition spd="med">
    <p:wipe dir="r"/>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7166426-5C59-4886-8DCD-BEF36302222C}"/>
              </a:ext>
            </a:extLst>
          </p:cNvPr>
          <p:cNvSpPr>
            <a:spLocks noGrp="1"/>
          </p:cNvSpPr>
          <p:nvPr>
            <p:ph type="title"/>
          </p:nvPr>
        </p:nvSpPr>
        <p:spPr>
          <a:xfrm>
            <a:off x="0" y="0"/>
            <a:ext cx="8229600" cy="637794"/>
          </a:xfrm>
        </p:spPr>
        <p:txBody>
          <a:bodyPr/>
          <a:lstStyle/>
          <a:p>
            <a:r>
              <a:rPr lang="en-US" dirty="0"/>
              <a:t>Mean Deviation – A useful check</a:t>
            </a:r>
          </a:p>
        </p:txBody>
      </p:sp>
      <p:sp>
        <p:nvSpPr>
          <p:cNvPr id="4" name="TextBox 3">
            <a:extLst>
              <a:ext uri="{FF2B5EF4-FFF2-40B4-BE49-F238E27FC236}">
                <a16:creationId xmlns:a16="http://schemas.microsoft.com/office/drawing/2014/main" id="{013FE25D-0A7C-4193-959C-38B6A985FB32}"/>
              </a:ext>
            </a:extLst>
          </p:cNvPr>
          <p:cNvSpPr txBox="1"/>
          <p:nvPr/>
        </p:nvSpPr>
        <p:spPr>
          <a:xfrm>
            <a:off x="219875" y="725937"/>
            <a:ext cx="7789850" cy="1846659"/>
          </a:xfrm>
          <a:prstGeom prst="rect">
            <a:avLst/>
          </a:prstGeom>
          <a:noFill/>
        </p:spPr>
        <p:txBody>
          <a:bodyPr wrap="square" rtlCol="0">
            <a:spAutoFit/>
          </a:bodyPr>
          <a:lstStyle/>
          <a:p>
            <a:pPr algn="l"/>
            <a:r>
              <a:rPr lang="en-US" sz="2000" b="0" i="0" dirty="0">
                <a:solidFill>
                  <a:schemeClr val="bg2">
                    <a:lumMod val="50000"/>
                    <a:lumOff val="50000"/>
                  </a:schemeClr>
                </a:solidFill>
                <a:effectLst/>
                <a:latin typeface="Verdana" panose="020B0604030504040204" pitchFamily="34" charset="0"/>
              </a:rPr>
              <a:t>Example: Dogs</a:t>
            </a:r>
          </a:p>
          <a:p>
            <a:pPr algn="l"/>
            <a:endParaRPr lang="en-US" sz="2000" b="0" i="0" dirty="0">
              <a:solidFill>
                <a:schemeClr val="bg2">
                  <a:lumMod val="50000"/>
                  <a:lumOff val="50000"/>
                </a:schemeClr>
              </a:solidFill>
              <a:effectLst/>
              <a:latin typeface="Verdana" panose="020B0604030504040204" pitchFamily="34" charset="0"/>
            </a:endParaRPr>
          </a:p>
          <a:p>
            <a:pPr algn="l"/>
            <a:r>
              <a:rPr lang="en-US" sz="2000" b="0" i="0" dirty="0">
                <a:solidFill>
                  <a:schemeClr val="bg2">
                    <a:lumMod val="50000"/>
                    <a:lumOff val="50000"/>
                  </a:schemeClr>
                </a:solidFill>
                <a:effectLst/>
                <a:latin typeface="Verdana" panose="020B0604030504040204" pitchFamily="34" charset="0"/>
              </a:rPr>
              <a:t>Deviations left of mean: 224 + 94 = </a:t>
            </a:r>
            <a:r>
              <a:rPr lang="en-US" sz="2000" b="1" i="0" dirty="0">
                <a:solidFill>
                  <a:schemeClr val="bg2">
                    <a:lumMod val="50000"/>
                    <a:lumOff val="50000"/>
                  </a:schemeClr>
                </a:solidFill>
                <a:effectLst/>
                <a:latin typeface="Verdana" panose="020B0604030504040204" pitchFamily="34" charset="0"/>
              </a:rPr>
              <a:t>318</a:t>
            </a:r>
          </a:p>
          <a:p>
            <a:pPr algn="l"/>
            <a:endParaRPr lang="en-US" sz="2000" b="0" i="0" dirty="0">
              <a:solidFill>
                <a:schemeClr val="bg2">
                  <a:lumMod val="50000"/>
                  <a:lumOff val="50000"/>
                </a:schemeClr>
              </a:solidFill>
              <a:effectLst/>
              <a:latin typeface="Verdana" panose="020B0604030504040204" pitchFamily="34" charset="0"/>
            </a:endParaRPr>
          </a:p>
          <a:p>
            <a:pPr algn="l"/>
            <a:r>
              <a:rPr lang="en-US" sz="2000" b="0" i="0" dirty="0">
                <a:solidFill>
                  <a:schemeClr val="bg2">
                    <a:lumMod val="50000"/>
                    <a:lumOff val="50000"/>
                  </a:schemeClr>
                </a:solidFill>
                <a:effectLst/>
                <a:latin typeface="Verdana" panose="020B0604030504040204" pitchFamily="34" charset="0"/>
              </a:rPr>
              <a:t>Deviations right of mean: 206 + 76 + 36 = </a:t>
            </a:r>
            <a:r>
              <a:rPr lang="en-US" sz="2000" b="1" i="0" dirty="0">
                <a:solidFill>
                  <a:schemeClr val="bg2">
                    <a:lumMod val="50000"/>
                    <a:lumOff val="50000"/>
                  </a:schemeClr>
                </a:solidFill>
                <a:effectLst/>
                <a:latin typeface="Verdana" panose="020B0604030504040204" pitchFamily="34" charset="0"/>
              </a:rPr>
              <a:t>318</a:t>
            </a:r>
            <a:endParaRPr lang="en-US" sz="2000" b="0" i="0" dirty="0">
              <a:solidFill>
                <a:schemeClr val="bg2">
                  <a:lumMod val="50000"/>
                  <a:lumOff val="50000"/>
                </a:schemeClr>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56F994EE-7A03-4F69-85C5-BCFF19B3B248}"/>
              </a:ext>
            </a:extLst>
          </p:cNvPr>
          <p:cNvPicPr>
            <a:picLocks noChangeAspect="1"/>
          </p:cNvPicPr>
          <p:nvPr/>
        </p:nvPicPr>
        <p:blipFill>
          <a:blip r:embed="rId2"/>
          <a:stretch>
            <a:fillRect/>
          </a:stretch>
        </p:blipFill>
        <p:spPr>
          <a:xfrm>
            <a:off x="402704" y="2660739"/>
            <a:ext cx="4748649" cy="1563833"/>
          </a:xfrm>
          <a:prstGeom prst="rect">
            <a:avLst/>
          </a:prstGeom>
        </p:spPr>
      </p:pic>
      <p:sp>
        <p:nvSpPr>
          <p:cNvPr id="6" name="TextBox 5">
            <a:extLst>
              <a:ext uri="{FF2B5EF4-FFF2-40B4-BE49-F238E27FC236}">
                <a16:creationId xmlns:a16="http://schemas.microsoft.com/office/drawing/2014/main" id="{E9DACB1E-93D8-4B68-B0FE-167B63C7A201}"/>
              </a:ext>
            </a:extLst>
          </p:cNvPr>
          <p:cNvSpPr txBox="1"/>
          <p:nvPr/>
        </p:nvSpPr>
        <p:spPr>
          <a:xfrm>
            <a:off x="5681844" y="2987505"/>
            <a:ext cx="3141069" cy="1569660"/>
          </a:xfrm>
          <a:prstGeom prst="rect">
            <a:avLst/>
          </a:prstGeom>
          <a:noFill/>
        </p:spPr>
        <p:txBody>
          <a:bodyPr wrap="square" rtlCol="0">
            <a:spAutoFit/>
          </a:bodyPr>
          <a:lstStyle/>
          <a:p>
            <a:pPr>
              <a:spcBef>
                <a:spcPts val="0"/>
              </a:spcBef>
              <a:spcAft>
                <a:spcPts val="0"/>
              </a:spcAft>
              <a:buClr>
                <a:schemeClr val="bg1"/>
              </a:buClr>
            </a:pPr>
            <a:r>
              <a:rPr lang="en-US" b="0" i="0" dirty="0">
                <a:solidFill>
                  <a:schemeClr val="bg2">
                    <a:lumMod val="50000"/>
                    <a:lumOff val="50000"/>
                  </a:schemeClr>
                </a:solidFill>
                <a:effectLst/>
                <a:latin typeface="Verdana" panose="020B0604030504040204" pitchFamily="34" charset="0"/>
              </a:rPr>
              <a:t>If they are not equal ... you may have made a mistake!</a:t>
            </a:r>
            <a:endParaRPr lang="en-US" sz="3200" dirty="0">
              <a:solidFill>
                <a:schemeClr val="bg2">
                  <a:lumMod val="50000"/>
                  <a:lumOff val="50000"/>
                </a:schemeClr>
              </a:solidFill>
              <a:latin typeface="+mn-lt"/>
            </a:endParaRPr>
          </a:p>
        </p:txBody>
      </p:sp>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67522392-11C6-4286-B1FF-DA7BB75D5125}"/>
                  </a:ext>
                </a:extLst>
              </p14:cNvPr>
              <p14:cNvContentPartPr/>
              <p14:nvPr/>
            </p14:nvContentPartPr>
            <p14:xfrm>
              <a:off x="3490920" y="1181160"/>
              <a:ext cx="3291120" cy="1348200"/>
            </p14:xfrm>
          </p:contentPart>
        </mc:Choice>
        <mc:Fallback xmlns="">
          <p:pic>
            <p:nvPicPr>
              <p:cNvPr id="2" name="Ink 1">
                <a:extLst>
                  <a:ext uri="{FF2B5EF4-FFF2-40B4-BE49-F238E27FC236}">
                    <a16:creationId xmlns:a16="http://schemas.microsoft.com/office/drawing/2014/main" id="{67522392-11C6-4286-B1FF-DA7BB75D5125}"/>
                  </a:ext>
                </a:extLst>
              </p:cNvPr>
              <p:cNvPicPr/>
              <p:nvPr/>
            </p:nvPicPr>
            <p:blipFill>
              <a:blip r:embed="rId4"/>
              <a:stretch>
                <a:fillRect/>
              </a:stretch>
            </p:blipFill>
            <p:spPr>
              <a:xfrm>
                <a:off x="3481560" y="1171800"/>
                <a:ext cx="3309840" cy="1366920"/>
              </a:xfrm>
              <a:prstGeom prst="rect">
                <a:avLst/>
              </a:prstGeom>
            </p:spPr>
          </p:pic>
        </mc:Fallback>
      </mc:AlternateContent>
    </p:spTree>
    <p:extLst>
      <p:ext uri="{BB962C8B-B14F-4D97-AF65-F5344CB8AC3E}">
        <p14:creationId xmlns:p14="http://schemas.microsoft.com/office/powerpoint/2010/main" val="2913282969"/>
      </p:ext>
    </p:extLst>
  </p:cSld>
  <p:clrMapOvr>
    <a:masterClrMapping/>
  </p:clrMapOvr>
  <p:transition spd="med">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8846AE-501D-4355-A8E1-28F43339BBB6}"/>
              </a:ext>
            </a:extLst>
          </p:cNvPr>
          <p:cNvSpPr>
            <a:spLocks noGrp="1"/>
          </p:cNvSpPr>
          <p:nvPr>
            <p:ph type="title"/>
          </p:nvPr>
        </p:nvSpPr>
        <p:spPr/>
        <p:txBody>
          <a:bodyPr/>
          <a:lstStyle/>
          <a:p>
            <a:r>
              <a:rPr lang="en-US" dirty="0"/>
              <a:t>Quick exercise – Identify type of Data</a:t>
            </a:r>
          </a:p>
        </p:txBody>
      </p:sp>
      <p:pic>
        <p:nvPicPr>
          <p:cNvPr id="5" name="Picture 4">
            <a:extLst>
              <a:ext uri="{FF2B5EF4-FFF2-40B4-BE49-F238E27FC236}">
                <a16:creationId xmlns:a16="http://schemas.microsoft.com/office/drawing/2014/main" id="{28799CAD-4172-4A37-BF57-65BC88923644}"/>
              </a:ext>
            </a:extLst>
          </p:cNvPr>
          <p:cNvPicPr>
            <a:picLocks noChangeAspect="1"/>
          </p:cNvPicPr>
          <p:nvPr/>
        </p:nvPicPr>
        <p:blipFill>
          <a:blip r:embed="rId2"/>
          <a:stretch>
            <a:fillRect/>
          </a:stretch>
        </p:blipFill>
        <p:spPr>
          <a:xfrm>
            <a:off x="274319" y="1002708"/>
            <a:ext cx="8141239" cy="756290"/>
          </a:xfrm>
          <a:prstGeom prst="rect">
            <a:avLst/>
          </a:prstGeom>
        </p:spPr>
      </p:pic>
    </p:spTree>
    <p:extLst>
      <p:ext uri="{BB962C8B-B14F-4D97-AF65-F5344CB8AC3E}">
        <p14:creationId xmlns:p14="http://schemas.microsoft.com/office/powerpoint/2010/main" val="347885641"/>
      </p:ext>
    </p:extLst>
  </p:cSld>
  <p:clrMapOvr>
    <a:masterClrMapping/>
  </p:clrMapOvr>
  <p:transition spd="med">
    <p:wipe dir="r"/>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4A5D55-9AAA-45E4-8915-A63077E621F6}"/>
              </a:ext>
            </a:extLst>
          </p:cNvPr>
          <p:cNvSpPr>
            <a:spLocks noGrp="1"/>
          </p:cNvSpPr>
          <p:nvPr>
            <p:ph type="title"/>
          </p:nvPr>
        </p:nvSpPr>
        <p:spPr>
          <a:xfrm>
            <a:off x="0" y="0"/>
            <a:ext cx="8229600" cy="637794"/>
          </a:xfrm>
        </p:spPr>
        <p:txBody>
          <a:bodyPr/>
          <a:lstStyle/>
          <a:p>
            <a:r>
              <a:rPr lang="en-US" dirty="0"/>
              <a:t>Standard Deviation</a:t>
            </a:r>
          </a:p>
        </p:txBody>
      </p:sp>
      <p:sp>
        <p:nvSpPr>
          <p:cNvPr id="3" name="TextBox 2">
            <a:extLst>
              <a:ext uri="{FF2B5EF4-FFF2-40B4-BE49-F238E27FC236}">
                <a16:creationId xmlns:a16="http://schemas.microsoft.com/office/drawing/2014/main" id="{8CB960C2-872D-4418-91E5-6829B760044F}"/>
              </a:ext>
            </a:extLst>
          </p:cNvPr>
          <p:cNvSpPr txBox="1"/>
          <p:nvPr/>
        </p:nvSpPr>
        <p:spPr>
          <a:xfrm>
            <a:off x="62820" y="572373"/>
            <a:ext cx="7629307" cy="1692771"/>
          </a:xfrm>
          <a:prstGeom prst="rect">
            <a:avLst/>
          </a:prstGeom>
          <a:noFill/>
        </p:spPr>
        <p:txBody>
          <a:bodyPr wrap="square" rtlCol="0">
            <a:spAutoFit/>
          </a:bodyPr>
          <a:lstStyle/>
          <a:p>
            <a:pPr marL="285750" indent="-285750" algn="l">
              <a:buFont typeface="Arial" panose="020B0604020202020204" pitchFamily="34" charset="0"/>
              <a:buChar char="•"/>
            </a:pPr>
            <a:r>
              <a:rPr lang="en-US" sz="1800" b="0" i="0" dirty="0">
                <a:solidFill>
                  <a:schemeClr val="bg2">
                    <a:lumMod val="50000"/>
                    <a:lumOff val="50000"/>
                  </a:schemeClr>
                </a:solidFill>
                <a:effectLst/>
                <a:latin typeface="Verdana" panose="020B0604030504040204" pitchFamily="34" charset="0"/>
              </a:rPr>
              <a:t>The Standard Deviation is a measure of how spread-out numbers are.</a:t>
            </a:r>
          </a:p>
          <a:p>
            <a:pPr marL="285750" indent="-285750" algn="l">
              <a:buFont typeface="Arial" panose="020B0604020202020204" pitchFamily="34" charset="0"/>
              <a:buChar char="•"/>
            </a:pPr>
            <a:r>
              <a:rPr lang="en-US" sz="1800" b="0" i="0" dirty="0">
                <a:solidFill>
                  <a:schemeClr val="bg2">
                    <a:lumMod val="50000"/>
                    <a:lumOff val="50000"/>
                  </a:schemeClr>
                </a:solidFill>
                <a:effectLst/>
                <a:latin typeface="Verdana" panose="020B0604030504040204" pitchFamily="34" charset="0"/>
              </a:rPr>
              <a:t>Its symbol is </a:t>
            </a:r>
            <a:r>
              <a:rPr lang="en-US" sz="1800" b="1" i="0" dirty="0">
                <a:solidFill>
                  <a:schemeClr val="bg2">
                    <a:lumMod val="50000"/>
                    <a:lumOff val="50000"/>
                  </a:schemeClr>
                </a:solidFill>
                <a:effectLst/>
                <a:latin typeface="Verdana" panose="020B0604030504040204" pitchFamily="34" charset="0"/>
              </a:rPr>
              <a:t>σ</a:t>
            </a:r>
            <a:r>
              <a:rPr lang="en-US" sz="1800" b="0" i="0" dirty="0">
                <a:solidFill>
                  <a:schemeClr val="bg2">
                    <a:lumMod val="50000"/>
                    <a:lumOff val="50000"/>
                  </a:schemeClr>
                </a:solidFill>
                <a:effectLst/>
                <a:latin typeface="Verdana" panose="020B0604030504040204" pitchFamily="34" charset="0"/>
              </a:rPr>
              <a:t> (the </a:t>
            </a:r>
            <a:r>
              <a:rPr lang="en-US" sz="1800" b="0" i="0" dirty="0" err="1">
                <a:solidFill>
                  <a:schemeClr val="bg2">
                    <a:lumMod val="50000"/>
                    <a:lumOff val="50000"/>
                  </a:schemeClr>
                </a:solidFill>
                <a:effectLst/>
                <a:latin typeface="Verdana" panose="020B0604030504040204" pitchFamily="34" charset="0"/>
              </a:rPr>
              <a:t>greek</a:t>
            </a:r>
            <a:r>
              <a:rPr lang="en-US" sz="1800" b="0" i="0" dirty="0">
                <a:solidFill>
                  <a:schemeClr val="bg2">
                    <a:lumMod val="50000"/>
                    <a:lumOff val="50000"/>
                  </a:schemeClr>
                </a:solidFill>
                <a:effectLst/>
                <a:latin typeface="Verdana" panose="020B0604030504040204" pitchFamily="34" charset="0"/>
              </a:rPr>
              <a:t> letter sigma)</a:t>
            </a:r>
          </a:p>
          <a:p>
            <a:pPr marL="285750" indent="-285750" algn="l">
              <a:buFont typeface="Arial" panose="020B0604020202020204" pitchFamily="34" charset="0"/>
              <a:buChar char="•"/>
            </a:pPr>
            <a:r>
              <a:rPr lang="en-US" sz="1800" b="0" i="0" dirty="0">
                <a:solidFill>
                  <a:schemeClr val="bg2">
                    <a:lumMod val="50000"/>
                    <a:lumOff val="50000"/>
                  </a:schemeClr>
                </a:solidFill>
                <a:effectLst/>
                <a:latin typeface="Verdana" panose="020B0604030504040204" pitchFamily="34" charset="0"/>
              </a:rPr>
              <a:t>The formula is easy: it is the</a:t>
            </a:r>
            <a:r>
              <a:rPr lang="en-US" sz="1800" b="1" i="0" dirty="0">
                <a:solidFill>
                  <a:schemeClr val="bg2">
                    <a:lumMod val="50000"/>
                    <a:lumOff val="50000"/>
                  </a:schemeClr>
                </a:solidFill>
                <a:effectLst/>
                <a:latin typeface="Verdana" panose="020B0604030504040204" pitchFamily="34" charset="0"/>
              </a:rPr>
              <a:t> square root</a:t>
            </a:r>
            <a:r>
              <a:rPr lang="en-US" sz="1800" b="0" i="0" dirty="0">
                <a:solidFill>
                  <a:schemeClr val="bg2">
                    <a:lumMod val="50000"/>
                    <a:lumOff val="50000"/>
                  </a:schemeClr>
                </a:solidFill>
                <a:effectLst/>
                <a:latin typeface="Verdana" panose="020B0604030504040204" pitchFamily="34" charset="0"/>
              </a:rPr>
              <a:t> of the </a:t>
            </a:r>
            <a:r>
              <a:rPr lang="en-US" sz="1800" b="1" i="0" dirty="0">
                <a:solidFill>
                  <a:schemeClr val="bg2">
                    <a:lumMod val="50000"/>
                    <a:lumOff val="50000"/>
                  </a:schemeClr>
                </a:solidFill>
                <a:effectLst/>
                <a:latin typeface="Verdana" panose="020B0604030504040204" pitchFamily="34" charset="0"/>
              </a:rPr>
              <a:t>Variance.</a:t>
            </a:r>
            <a:r>
              <a:rPr lang="en-US" sz="1800" b="0" i="0" dirty="0">
                <a:solidFill>
                  <a:schemeClr val="bg2">
                    <a:lumMod val="50000"/>
                    <a:lumOff val="50000"/>
                  </a:schemeClr>
                </a:solidFill>
                <a:effectLst/>
                <a:latin typeface="Verdana" panose="020B0604030504040204" pitchFamily="34" charset="0"/>
              </a:rPr>
              <a:t> So now you ask, "What is the Variance?"</a:t>
            </a:r>
          </a:p>
          <a:p>
            <a:pPr>
              <a:spcBef>
                <a:spcPts val="0"/>
              </a:spcBef>
              <a:spcAft>
                <a:spcPts val="0"/>
              </a:spcAft>
              <a:buClr>
                <a:schemeClr val="bg1"/>
              </a:buClr>
            </a:pPr>
            <a:endParaRPr lang="en-US" sz="1400" dirty="0" err="1">
              <a:solidFill>
                <a:schemeClr val="bg2"/>
              </a:solidFill>
              <a:latin typeface="+mn-lt"/>
            </a:endParaRPr>
          </a:p>
        </p:txBody>
      </p:sp>
      <p:sp>
        <p:nvSpPr>
          <p:cNvPr id="4" name="Title 1">
            <a:extLst>
              <a:ext uri="{FF2B5EF4-FFF2-40B4-BE49-F238E27FC236}">
                <a16:creationId xmlns:a16="http://schemas.microsoft.com/office/drawing/2014/main" id="{F1DDCECB-FE11-4385-B2D3-479150F5E6FA}"/>
              </a:ext>
            </a:extLst>
          </p:cNvPr>
          <p:cNvSpPr txBox="1">
            <a:spLocks/>
          </p:cNvSpPr>
          <p:nvPr/>
        </p:nvSpPr>
        <p:spPr>
          <a:xfrm>
            <a:off x="62820" y="2106694"/>
            <a:ext cx="8229600" cy="637794"/>
          </a:xfrm>
          <a:prstGeom prst="rect">
            <a:avLst/>
          </a:prstGeom>
        </p:spPr>
        <p:txBody>
          <a:bodyPr/>
          <a:lst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r>
              <a:rPr lang="en-US" kern="0" dirty="0"/>
              <a:t>Variance</a:t>
            </a:r>
          </a:p>
        </p:txBody>
      </p:sp>
      <p:sp>
        <p:nvSpPr>
          <p:cNvPr id="6" name="TextBox 5">
            <a:extLst>
              <a:ext uri="{FF2B5EF4-FFF2-40B4-BE49-F238E27FC236}">
                <a16:creationId xmlns:a16="http://schemas.microsoft.com/office/drawing/2014/main" id="{2F44518A-41CB-4383-A7A5-39A317FE295D}"/>
              </a:ext>
            </a:extLst>
          </p:cNvPr>
          <p:cNvSpPr txBox="1"/>
          <p:nvPr/>
        </p:nvSpPr>
        <p:spPr>
          <a:xfrm>
            <a:off x="62820" y="2564606"/>
            <a:ext cx="9081180" cy="1138773"/>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Verdana" panose="020B0604030504040204" pitchFamily="34" charset="0"/>
              </a:rPr>
              <a:t>The Variance is defined as: The average of the squared differences from the Mean.</a:t>
            </a:r>
          </a:p>
          <a:p>
            <a:pPr>
              <a:spcBef>
                <a:spcPts val="0"/>
              </a:spcBef>
              <a:spcAft>
                <a:spcPts val="0"/>
              </a:spcAft>
              <a:buClr>
                <a:schemeClr val="bg1"/>
              </a:buClr>
            </a:pPr>
            <a:endParaRPr lang="en-US" sz="18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sp>
        <p:nvSpPr>
          <p:cNvPr id="11" name="Rectangle 4">
            <a:extLst>
              <a:ext uri="{FF2B5EF4-FFF2-40B4-BE49-F238E27FC236}">
                <a16:creationId xmlns:a16="http://schemas.microsoft.com/office/drawing/2014/main" id="{AB2D2E9B-99A2-44F3-B1E4-1D521B26FC9C}"/>
              </a:ext>
            </a:extLst>
          </p:cNvPr>
          <p:cNvSpPr>
            <a:spLocks noChangeArrowheads="1"/>
          </p:cNvSpPr>
          <p:nvPr/>
        </p:nvSpPr>
        <p:spPr bwMode="auto">
          <a:xfrm>
            <a:off x="693544" y="3202622"/>
            <a:ext cx="8229600"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285750" marR="0" lvl="0" indent="-285750" defTabSz="914400" eaLnBrk="0" latinLnBrk="0" hangingPunct="0">
              <a:lnSpc>
                <a:spcPct val="100000"/>
              </a:lnSpc>
              <a:buClrTx/>
              <a:buSzTx/>
              <a:buFont typeface="Arial" panose="020B0604020202020204" pitchFamily="34" charset="0"/>
              <a:buChar char="•"/>
              <a:tabLst/>
            </a:pPr>
            <a:r>
              <a:rPr lang="en-US" altLang="en-US" sz="1600" dirty="0">
                <a:solidFill>
                  <a:schemeClr val="accent1"/>
                </a:solidFill>
                <a:latin typeface="Verdana" panose="020B0604030504040204" pitchFamily="34" charset="0"/>
              </a:rPr>
              <a:t>To calculate the variance, follow these steps:</a:t>
            </a:r>
          </a:p>
          <a:p>
            <a:pPr marL="285750" marR="0" lvl="0" indent="-285750" defTabSz="914400" eaLnBrk="0" latinLnBrk="0" hangingPunct="0">
              <a:lnSpc>
                <a:spcPct val="100000"/>
              </a:lnSpc>
              <a:buClrTx/>
              <a:buSzTx/>
              <a:buFont typeface="Arial" panose="020B0604020202020204" pitchFamily="34" charset="0"/>
              <a:buChar char="•"/>
              <a:tabLst/>
            </a:pPr>
            <a:r>
              <a:rPr lang="en-US" altLang="en-US" sz="1600" dirty="0">
                <a:solidFill>
                  <a:schemeClr val="accent1"/>
                </a:solidFill>
                <a:latin typeface="Verdana" panose="020B0604030504040204" pitchFamily="34" charset="0"/>
              </a:rPr>
              <a:t>Work out the </a:t>
            </a:r>
            <a:r>
              <a:rPr lang="en-US" altLang="en-US" sz="1600" dirty="0">
                <a:solidFill>
                  <a:schemeClr val="accent1"/>
                </a:solidFill>
                <a:latin typeface="Verdana" panose="020B0604030504040204" pitchFamily="34" charset="0"/>
                <a:hlinkClick r:id="rId2">
                  <a:extLst>
                    <a:ext uri="{A12FA001-AC4F-418D-AE19-62706E023703}">
                      <ahyp:hlinkClr xmlns:ahyp="http://schemas.microsoft.com/office/drawing/2018/hyperlinkcolor" val="tx"/>
                    </a:ext>
                  </a:extLst>
                </a:hlinkClick>
              </a:rPr>
              <a:t>Mean</a:t>
            </a:r>
            <a:r>
              <a:rPr lang="en-US" altLang="en-US" sz="1600" dirty="0">
                <a:solidFill>
                  <a:schemeClr val="accent1"/>
                </a:solidFill>
                <a:latin typeface="Verdana" panose="020B0604030504040204" pitchFamily="34" charset="0"/>
              </a:rPr>
              <a:t> (the simple average of the numbers)</a:t>
            </a:r>
          </a:p>
          <a:p>
            <a:pPr marL="285750" marR="0" lvl="0" indent="-285750" defTabSz="914400" eaLnBrk="0" latinLnBrk="0" hangingPunct="0">
              <a:lnSpc>
                <a:spcPct val="100000"/>
              </a:lnSpc>
              <a:buClrTx/>
              <a:buSzTx/>
              <a:buFont typeface="Arial" panose="020B0604020202020204" pitchFamily="34" charset="0"/>
              <a:buChar char="•"/>
              <a:tabLst/>
            </a:pPr>
            <a:r>
              <a:rPr lang="en-US" altLang="en-US" sz="1600" dirty="0">
                <a:solidFill>
                  <a:schemeClr val="accent1"/>
                </a:solidFill>
                <a:latin typeface="Verdana" panose="020B0604030504040204" pitchFamily="34" charset="0"/>
              </a:rPr>
              <a:t>Then for each number: subtract the Mean and square the result (the squared difference).</a:t>
            </a:r>
          </a:p>
          <a:p>
            <a:pPr marL="285750" marR="0" lvl="0" indent="-285750" defTabSz="914400" eaLnBrk="0" latinLnBrk="0" hangingPunct="0">
              <a:lnSpc>
                <a:spcPct val="100000"/>
              </a:lnSpc>
              <a:buClrTx/>
              <a:buSzTx/>
              <a:buFont typeface="Arial" panose="020B0604020202020204" pitchFamily="34" charset="0"/>
              <a:buChar char="•"/>
              <a:tabLst/>
            </a:pPr>
            <a:r>
              <a:rPr lang="en-US" altLang="en-US" sz="1600" dirty="0">
                <a:solidFill>
                  <a:schemeClr val="accent1"/>
                </a:solidFill>
                <a:latin typeface="Verdana" panose="020B0604030504040204" pitchFamily="34" charset="0"/>
              </a:rPr>
              <a:t>Then work out the average of those squared differences. (</a:t>
            </a:r>
            <a:r>
              <a:rPr lang="en-US" altLang="en-US" sz="1600" dirty="0">
                <a:solidFill>
                  <a:schemeClr val="accent1"/>
                </a:solidFill>
                <a:latin typeface="Verdana" panose="020B0604030504040204" pitchFamily="34" charset="0"/>
                <a:hlinkClick r:id="rId3">
                  <a:extLst>
                    <a:ext uri="{A12FA001-AC4F-418D-AE19-62706E023703}">
                      <ahyp:hlinkClr xmlns:ahyp="http://schemas.microsoft.com/office/drawing/2018/hyperlinkcolor" val="tx"/>
                    </a:ext>
                  </a:extLst>
                </a:hlinkClick>
              </a:rPr>
              <a:t>Why Square?</a:t>
            </a:r>
            <a:r>
              <a:rPr lang="en-US" altLang="en-US" sz="1600" dirty="0">
                <a:solidFill>
                  <a:schemeClr val="accent1"/>
                </a:solidFill>
                <a:latin typeface="Verdana" panose="020B0604030504040204" pitchFamily="34" charset="0"/>
              </a:rPr>
              <a:t>)</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mc:AlternateContent xmlns:mc="http://schemas.openxmlformats.org/markup-compatibility/2006" xmlns:p14="http://schemas.microsoft.com/office/powerpoint/2010/main">
        <mc:Choice Requires="p14">
          <p:contentPart p14:bwMode="auto" r:id="rId4">
            <p14:nvContentPartPr>
              <p14:cNvPr id="5" name="Ink 4">
                <a:extLst>
                  <a:ext uri="{FF2B5EF4-FFF2-40B4-BE49-F238E27FC236}">
                    <a16:creationId xmlns:a16="http://schemas.microsoft.com/office/drawing/2014/main" id="{419FBE2D-306E-4655-9A7A-0FF889868E61}"/>
                  </a:ext>
                </a:extLst>
              </p14:cNvPr>
              <p14:cNvContentPartPr/>
              <p14:nvPr/>
            </p14:nvContentPartPr>
            <p14:xfrm>
              <a:off x="19080" y="38160"/>
              <a:ext cx="8987040" cy="4667400"/>
            </p14:xfrm>
          </p:contentPart>
        </mc:Choice>
        <mc:Fallback xmlns="">
          <p:pic>
            <p:nvPicPr>
              <p:cNvPr id="5" name="Ink 4">
                <a:extLst>
                  <a:ext uri="{FF2B5EF4-FFF2-40B4-BE49-F238E27FC236}">
                    <a16:creationId xmlns:a16="http://schemas.microsoft.com/office/drawing/2014/main" id="{419FBE2D-306E-4655-9A7A-0FF889868E61}"/>
                  </a:ext>
                </a:extLst>
              </p:cNvPr>
              <p:cNvPicPr/>
              <p:nvPr/>
            </p:nvPicPr>
            <p:blipFill>
              <a:blip r:embed="rId5"/>
              <a:stretch>
                <a:fillRect/>
              </a:stretch>
            </p:blipFill>
            <p:spPr>
              <a:xfrm>
                <a:off x="9720" y="28800"/>
                <a:ext cx="9005760" cy="4686120"/>
              </a:xfrm>
              <a:prstGeom prst="rect">
                <a:avLst/>
              </a:prstGeom>
            </p:spPr>
          </p:pic>
        </mc:Fallback>
      </mc:AlternateContent>
    </p:spTree>
    <p:extLst>
      <p:ext uri="{BB962C8B-B14F-4D97-AF65-F5344CB8AC3E}">
        <p14:creationId xmlns:p14="http://schemas.microsoft.com/office/powerpoint/2010/main" val="1288610285"/>
      </p:ext>
    </p:extLst>
  </p:cSld>
  <p:clrMapOvr>
    <a:masterClrMapping/>
  </p:clrMapOvr>
  <p:transition spd="med">
    <p:wipe dir="r"/>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AF2294-467A-462C-83C7-3043808D6D56}"/>
              </a:ext>
            </a:extLst>
          </p:cNvPr>
          <p:cNvSpPr>
            <a:spLocks noGrp="1"/>
          </p:cNvSpPr>
          <p:nvPr>
            <p:ph type="title"/>
          </p:nvPr>
        </p:nvSpPr>
        <p:spPr>
          <a:xfrm>
            <a:off x="0" y="0"/>
            <a:ext cx="8229600" cy="637794"/>
          </a:xfrm>
        </p:spPr>
        <p:txBody>
          <a:bodyPr/>
          <a:lstStyle/>
          <a:p>
            <a:r>
              <a:rPr lang="en-US" dirty="0"/>
              <a:t>Variance - Ex</a:t>
            </a:r>
          </a:p>
        </p:txBody>
      </p:sp>
      <p:pic>
        <p:nvPicPr>
          <p:cNvPr id="4" name="Picture 3">
            <a:extLst>
              <a:ext uri="{FF2B5EF4-FFF2-40B4-BE49-F238E27FC236}">
                <a16:creationId xmlns:a16="http://schemas.microsoft.com/office/drawing/2014/main" id="{1D437307-14BE-4815-A5C1-396AAFF9B2EB}"/>
              </a:ext>
            </a:extLst>
          </p:cNvPr>
          <p:cNvPicPr>
            <a:picLocks noChangeAspect="1"/>
          </p:cNvPicPr>
          <p:nvPr/>
        </p:nvPicPr>
        <p:blipFill>
          <a:blip r:embed="rId2"/>
          <a:stretch>
            <a:fillRect/>
          </a:stretch>
        </p:blipFill>
        <p:spPr>
          <a:xfrm>
            <a:off x="716247" y="862066"/>
            <a:ext cx="5796235" cy="1573442"/>
          </a:xfrm>
          <a:prstGeom prst="rect">
            <a:avLst/>
          </a:prstGeom>
        </p:spPr>
      </p:pic>
      <p:sp>
        <p:nvSpPr>
          <p:cNvPr id="5" name="TextBox 4">
            <a:extLst>
              <a:ext uri="{FF2B5EF4-FFF2-40B4-BE49-F238E27FC236}">
                <a16:creationId xmlns:a16="http://schemas.microsoft.com/office/drawing/2014/main" id="{A32434E3-AF65-400B-AE8B-C5EBA451E0F8}"/>
              </a:ext>
            </a:extLst>
          </p:cNvPr>
          <p:cNvSpPr txBox="1"/>
          <p:nvPr/>
        </p:nvSpPr>
        <p:spPr>
          <a:xfrm>
            <a:off x="230344" y="523511"/>
            <a:ext cx="6519463" cy="338554"/>
          </a:xfrm>
          <a:prstGeom prst="rect">
            <a:avLst/>
          </a:prstGeom>
          <a:noFill/>
        </p:spPr>
        <p:txBody>
          <a:bodyPr wrap="square" rtlCol="0">
            <a:spAutoFit/>
          </a:bodyPr>
          <a:lstStyle/>
          <a:p>
            <a:pPr>
              <a:spcBef>
                <a:spcPts val="0"/>
              </a:spcBef>
              <a:spcAft>
                <a:spcPts val="0"/>
              </a:spcAft>
              <a:buClr>
                <a:schemeClr val="bg1"/>
              </a:buClr>
            </a:pPr>
            <a:r>
              <a:rPr lang="en-US" sz="1600" b="0" i="0" dirty="0">
                <a:solidFill>
                  <a:schemeClr val="bg2">
                    <a:lumMod val="50000"/>
                    <a:lumOff val="50000"/>
                  </a:schemeClr>
                </a:solidFill>
                <a:effectLst/>
                <a:latin typeface="Verdana" panose="020B0604030504040204" pitchFamily="34" charset="0"/>
              </a:rPr>
              <a:t>Now we calculate each dog's difference from the Mean:</a:t>
            </a:r>
            <a:endParaRPr lang="en-US" sz="2000" dirty="0">
              <a:solidFill>
                <a:schemeClr val="bg2">
                  <a:lumMod val="50000"/>
                  <a:lumOff val="50000"/>
                </a:schemeClr>
              </a:solidFill>
              <a:latin typeface="+mn-lt"/>
            </a:endParaRPr>
          </a:p>
        </p:txBody>
      </p:sp>
      <p:sp>
        <p:nvSpPr>
          <p:cNvPr id="6" name="TextBox 5">
            <a:extLst>
              <a:ext uri="{FF2B5EF4-FFF2-40B4-BE49-F238E27FC236}">
                <a16:creationId xmlns:a16="http://schemas.microsoft.com/office/drawing/2014/main" id="{0CD470DC-9FC8-468B-BA20-CF437AFC230F}"/>
              </a:ext>
            </a:extLst>
          </p:cNvPr>
          <p:cNvSpPr txBox="1"/>
          <p:nvPr/>
        </p:nvSpPr>
        <p:spPr>
          <a:xfrm>
            <a:off x="90740" y="2571750"/>
            <a:ext cx="8794993" cy="584775"/>
          </a:xfrm>
          <a:prstGeom prst="rect">
            <a:avLst/>
          </a:prstGeom>
          <a:noFill/>
        </p:spPr>
        <p:txBody>
          <a:bodyPr wrap="square" rtlCol="0">
            <a:spAutoFit/>
          </a:bodyPr>
          <a:lstStyle/>
          <a:p>
            <a:pPr>
              <a:spcBef>
                <a:spcPts val="0"/>
              </a:spcBef>
              <a:spcAft>
                <a:spcPts val="0"/>
              </a:spcAft>
              <a:buClr>
                <a:schemeClr val="bg1"/>
              </a:buClr>
            </a:pPr>
            <a:r>
              <a:rPr lang="en-US" sz="1600" dirty="0">
                <a:solidFill>
                  <a:schemeClr val="bg2">
                    <a:lumMod val="50000"/>
                    <a:lumOff val="50000"/>
                  </a:schemeClr>
                </a:solidFill>
                <a:latin typeface="Verdana" panose="020B0604030504040204" pitchFamily="34" charset="0"/>
              </a:rPr>
              <a:t>To calculate the Variance, take each difference, square it, and then average the result:</a:t>
            </a:r>
          </a:p>
        </p:txBody>
      </p:sp>
      <mc:AlternateContent xmlns:mc="http://schemas.openxmlformats.org/markup-compatibility/2006" xmlns:p14="http://schemas.microsoft.com/office/powerpoint/2010/main">
        <mc:Choice Requires="p14">
          <p:contentPart p14:bwMode="auto" r:id="rId3">
            <p14:nvContentPartPr>
              <p14:cNvPr id="3" name="Ink 2">
                <a:extLst>
                  <a:ext uri="{FF2B5EF4-FFF2-40B4-BE49-F238E27FC236}">
                    <a16:creationId xmlns:a16="http://schemas.microsoft.com/office/drawing/2014/main" id="{45A5E52C-B9FF-4656-8545-781A384ADD63}"/>
                  </a:ext>
                </a:extLst>
              </p14:cNvPr>
              <p14:cNvContentPartPr/>
              <p14:nvPr/>
            </p14:nvContentPartPr>
            <p14:xfrm>
              <a:off x="1257120" y="171360"/>
              <a:ext cx="7877880" cy="4862880"/>
            </p14:xfrm>
          </p:contentPart>
        </mc:Choice>
        <mc:Fallback xmlns="">
          <p:pic>
            <p:nvPicPr>
              <p:cNvPr id="3" name="Ink 2">
                <a:extLst>
                  <a:ext uri="{FF2B5EF4-FFF2-40B4-BE49-F238E27FC236}">
                    <a16:creationId xmlns:a16="http://schemas.microsoft.com/office/drawing/2014/main" id="{45A5E52C-B9FF-4656-8545-781A384ADD63}"/>
                  </a:ext>
                </a:extLst>
              </p:cNvPr>
              <p:cNvPicPr/>
              <p:nvPr/>
            </p:nvPicPr>
            <p:blipFill>
              <a:blip r:embed="rId4"/>
              <a:stretch>
                <a:fillRect/>
              </a:stretch>
            </p:blipFill>
            <p:spPr>
              <a:xfrm>
                <a:off x="1247760" y="162000"/>
                <a:ext cx="7896600" cy="4881600"/>
              </a:xfrm>
              <a:prstGeom prst="rect">
                <a:avLst/>
              </a:prstGeom>
            </p:spPr>
          </p:pic>
        </mc:Fallback>
      </mc:AlternateContent>
    </p:spTree>
    <p:extLst>
      <p:ext uri="{BB962C8B-B14F-4D97-AF65-F5344CB8AC3E}">
        <p14:creationId xmlns:p14="http://schemas.microsoft.com/office/powerpoint/2010/main" val="4213750322"/>
      </p:ext>
    </p:extLst>
  </p:cSld>
  <p:clrMapOvr>
    <a:masterClrMapping/>
  </p:clrMapOvr>
  <p:transition spd="med">
    <p:wipe dir="r"/>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26779-CD6A-4E57-AE1B-EF50594A725F}"/>
              </a:ext>
            </a:extLst>
          </p:cNvPr>
          <p:cNvSpPr>
            <a:spLocks noGrp="1"/>
          </p:cNvSpPr>
          <p:nvPr>
            <p:ph type="title"/>
          </p:nvPr>
        </p:nvSpPr>
        <p:spPr>
          <a:xfrm>
            <a:off x="0" y="0"/>
            <a:ext cx="8229600" cy="637794"/>
          </a:xfrm>
        </p:spPr>
        <p:txBody>
          <a:bodyPr/>
          <a:lstStyle/>
          <a:p>
            <a:r>
              <a:rPr lang="en-US" dirty="0"/>
              <a:t>Variance – Ex continued</a:t>
            </a:r>
          </a:p>
        </p:txBody>
      </p:sp>
      <p:pic>
        <p:nvPicPr>
          <p:cNvPr id="4" name="Picture 3">
            <a:extLst>
              <a:ext uri="{FF2B5EF4-FFF2-40B4-BE49-F238E27FC236}">
                <a16:creationId xmlns:a16="http://schemas.microsoft.com/office/drawing/2014/main" id="{1A86875E-99D1-4F9C-A42B-BF8A9B27E777}"/>
              </a:ext>
            </a:extLst>
          </p:cNvPr>
          <p:cNvPicPr>
            <a:picLocks noChangeAspect="1"/>
          </p:cNvPicPr>
          <p:nvPr/>
        </p:nvPicPr>
        <p:blipFill>
          <a:blip r:embed="rId2"/>
          <a:stretch>
            <a:fillRect/>
          </a:stretch>
        </p:blipFill>
        <p:spPr>
          <a:xfrm>
            <a:off x="1409627" y="1022430"/>
            <a:ext cx="4809689" cy="2271632"/>
          </a:xfrm>
          <a:prstGeom prst="rect">
            <a:avLst/>
          </a:prstGeom>
        </p:spPr>
      </p:pic>
      <p:sp>
        <p:nvSpPr>
          <p:cNvPr id="5" name="TextBox 4">
            <a:extLst>
              <a:ext uri="{FF2B5EF4-FFF2-40B4-BE49-F238E27FC236}">
                <a16:creationId xmlns:a16="http://schemas.microsoft.com/office/drawing/2014/main" id="{E8670F94-D7F9-4415-86ED-4018DED05897}"/>
              </a:ext>
            </a:extLst>
          </p:cNvPr>
          <p:cNvSpPr txBox="1"/>
          <p:nvPr/>
        </p:nvSpPr>
        <p:spPr>
          <a:xfrm>
            <a:off x="551432" y="3769282"/>
            <a:ext cx="4690663" cy="261610"/>
          </a:xfrm>
          <a:prstGeom prst="rect">
            <a:avLst/>
          </a:prstGeom>
          <a:noFill/>
        </p:spPr>
        <p:txBody>
          <a:bodyPr wrap="square" rtlCol="0">
            <a:spAutoFit/>
          </a:bodyPr>
          <a:lstStyle/>
          <a:p>
            <a:pPr>
              <a:spcBef>
                <a:spcPts val="0"/>
              </a:spcBef>
              <a:spcAft>
                <a:spcPts val="0"/>
              </a:spcAft>
              <a:buClr>
                <a:schemeClr val="bg1"/>
              </a:buClr>
            </a:pPr>
            <a:r>
              <a:rPr lang="en-US" sz="1100" b="0" i="0" dirty="0">
                <a:solidFill>
                  <a:schemeClr val="bg2">
                    <a:lumMod val="50000"/>
                    <a:lumOff val="50000"/>
                  </a:schemeClr>
                </a:solidFill>
                <a:effectLst/>
                <a:latin typeface="Verdana" panose="020B0604030504040204" pitchFamily="34" charset="0"/>
              </a:rPr>
              <a:t>So, the Variance is </a:t>
            </a:r>
            <a:r>
              <a:rPr lang="en-US" sz="1100" b="1" i="0" dirty="0">
                <a:solidFill>
                  <a:schemeClr val="bg2">
                    <a:lumMod val="50000"/>
                    <a:lumOff val="50000"/>
                  </a:schemeClr>
                </a:solidFill>
                <a:effectLst/>
                <a:latin typeface="Verdana" panose="020B0604030504040204" pitchFamily="34" charset="0"/>
              </a:rPr>
              <a:t>21,704</a:t>
            </a:r>
            <a:endParaRPr lang="en-US" sz="1400" dirty="0">
              <a:solidFill>
                <a:schemeClr val="bg2">
                  <a:lumMod val="50000"/>
                  <a:lumOff val="50000"/>
                </a:schemeClr>
              </a:solidFill>
              <a:latin typeface="+mn-lt"/>
            </a:endParaRPr>
          </a:p>
        </p:txBody>
      </p:sp>
      <mc:AlternateContent xmlns:mc="http://schemas.openxmlformats.org/markup-compatibility/2006" xmlns:p14="http://schemas.microsoft.com/office/powerpoint/2010/main">
        <mc:Choice Requires="p14">
          <p:contentPart p14:bwMode="auto" r:id="rId3">
            <p14:nvContentPartPr>
              <p14:cNvPr id="3" name="Ink 2">
                <a:extLst>
                  <a:ext uri="{FF2B5EF4-FFF2-40B4-BE49-F238E27FC236}">
                    <a16:creationId xmlns:a16="http://schemas.microsoft.com/office/drawing/2014/main" id="{ADC53C65-893F-476F-93E2-5DFE6F86F3CE}"/>
                  </a:ext>
                </a:extLst>
              </p14:cNvPr>
              <p14:cNvContentPartPr/>
              <p14:nvPr/>
            </p14:nvContentPartPr>
            <p14:xfrm>
              <a:off x="1819440" y="71280"/>
              <a:ext cx="6320160" cy="4725000"/>
            </p14:xfrm>
          </p:contentPart>
        </mc:Choice>
        <mc:Fallback xmlns="">
          <p:pic>
            <p:nvPicPr>
              <p:cNvPr id="3" name="Ink 2">
                <a:extLst>
                  <a:ext uri="{FF2B5EF4-FFF2-40B4-BE49-F238E27FC236}">
                    <a16:creationId xmlns:a16="http://schemas.microsoft.com/office/drawing/2014/main" id="{ADC53C65-893F-476F-93E2-5DFE6F86F3CE}"/>
                  </a:ext>
                </a:extLst>
              </p:cNvPr>
              <p:cNvPicPr/>
              <p:nvPr/>
            </p:nvPicPr>
            <p:blipFill>
              <a:blip r:embed="rId4"/>
              <a:stretch>
                <a:fillRect/>
              </a:stretch>
            </p:blipFill>
            <p:spPr>
              <a:xfrm>
                <a:off x="1810080" y="61920"/>
                <a:ext cx="6338880" cy="4743720"/>
              </a:xfrm>
              <a:prstGeom prst="rect">
                <a:avLst/>
              </a:prstGeom>
            </p:spPr>
          </p:pic>
        </mc:Fallback>
      </mc:AlternateContent>
    </p:spTree>
    <p:extLst>
      <p:ext uri="{BB962C8B-B14F-4D97-AF65-F5344CB8AC3E}">
        <p14:creationId xmlns:p14="http://schemas.microsoft.com/office/powerpoint/2010/main" val="799166285"/>
      </p:ext>
    </p:extLst>
  </p:cSld>
  <p:clrMapOvr>
    <a:masterClrMapping/>
  </p:clrMapOvr>
  <p:transition spd="med">
    <p:wipe dir="r"/>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3F620B-98F5-4335-AD5A-53E05E2B254D}"/>
              </a:ext>
            </a:extLst>
          </p:cNvPr>
          <p:cNvSpPr>
            <a:spLocks noGrp="1"/>
          </p:cNvSpPr>
          <p:nvPr>
            <p:ph type="title"/>
          </p:nvPr>
        </p:nvSpPr>
        <p:spPr>
          <a:xfrm>
            <a:off x="0" y="0"/>
            <a:ext cx="8229600" cy="637794"/>
          </a:xfrm>
        </p:spPr>
        <p:txBody>
          <a:bodyPr/>
          <a:lstStyle/>
          <a:p>
            <a:r>
              <a:rPr lang="en-US" dirty="0"/>
              <a:t>Standard Deviation </a:t>
            </a:r>
          </a:p>
        </p:txBody>
      </p:sp>
      <p:sp>
        <p:nvSpPr>
          <p:cNvPr id="3" name="TextBox 2">
            <a:extLst>
              <a:ext uri="{FF2B5EF4-FFF2-40B4-BE49-F238E27FC236}">
                <a16:creationId xmlns:a16="http://schemas.microsoft.com/office/drawing/2014/main" id="{AE4C90B8-F407-49EC-A54D-E9774AA2C94F}"/>
              </a:ext>
            </a:extLst>
          </p:cNvPr>
          <p:cNvSpPr txBox="1"/>
          <p:nvPr/>
        </p:nvSpPr>
        <p:spPr>
          <a:xfrm>
            <a:off x="0" y="579353"/>
            <a:ext cx="7489704" cy="307777"/>
          </a:xfrm>
          <a:prstGeom prst="rect">
            <a:avLst/>
          </a:prstGeom>
          <a:noFill/>
        </p:spPr>
        <p:txBody>
          <a:bodyPr wrap="square" rtlCol="0">
            <a:spAutoFit/>
          </a:bodyPr>
          <a:lstStyle/>
          <a:p>
            <a:pPr>
              <a:spcBef>
                <a:spcPts val="0"/>
              </a:spcBef>
              <a:spcAft>
                <a:spcPts val="0"/>
              </a:spcAft>
              <a:buClr>
                <a:schemeClr val="bg1"/>
              </a:buClr>
            </a:pPr>
            <a:r>
              <a:rPr lang="en-US" sz="1400" b="0" i="0" dirty="0">
                <a:solidFill>
                  <a:schemeClr val="bg2">
                    <a:lumMod val="50000"/>
                    <a:lumOff val="50000"/>
                  </a:schemeClr>
                </a:solidFill>
                <a:effectLst/>
                <a:latin typeface="Verdana" panose="020B0604030504040204" pitchFamily="34" charset="0"/>
              </a:rPr>
              <a:t>And the Standard Deviation is just the square root of Variance, so:</a:t>
            </a:r>
            <a:endParaRPr lang="en-US" sz="1800" dirty="0">
              <a:solidFill>
                <a:schemeClr val="bg2">
                  <a:lumMod val="50000"/>
                  <a:lumOff val="50000"/>
                </a:schemeClr>
              </a:solidFill>
              <a:latin typeface="+mn-lt"/>
            </a:endParaRPr>
          </a:p>
        </p:txBody>
      </p:sp>
      <p:pic>
        <p:nvPicPr>
          <p:cNvPr id="5" name="Picture 4">
            <a:extLst>
              <a:ext uri="{FF2B5EF4-FFF2-40B4-BE49-F238E27FC236}">
                <a16:creationId xmlns:a16="http://schemas.microsoft.com/office/drawing/2014/main" id="{E5BC06AD-C58E-4108-9D27-4A78A855F4A5}"/>
              </a:ext>
            </a:extLst>
          </p:cNvPr>
          <p:cNvPicPr>
            <a:picLocks noChangeAspect="1"/>
          </p:cNvPicPr>
          <p:nvPr/>
        </p:nvPicPr>
        <p:blipFill>
          <a:blip r:embed="rId2"/>
          <a:stretch>
            <a:fillRect/>
          </a:stretch>
        </p:blipFill>
        <p:spPr>
          <a:xfrm>
            <a:off x="1986179" y="887130"/>
            <a:ext cx="2983690" cy="1263533"/>
          </a:xfrm>
          <a:prstGeom prst="rect">
            <a:avLst/>
          </a:prstGeom>
        </p:spPr>
      </p:pic>
      <p:pic>
        <p:nvPicPr>
          <p:cNvPr id="7" name="Picture 6">
            <a:extLst>
              <a:ext uri="{FF2B5EF4-FFF2-40B4-BE49-F238E27FC236}">
                <a16:creationId xmlns:a16="http://schemas.microsoft.com/office/drawing/2014/main" id="{931D458C-A0C9-4716-86D8-0E33FCB322A4}"/>
              </a:ext>
            </a:extLst>
          </p:cNvPr>
          <p:cNvPicPr>
            <a:picLocks noChangeAspect="1"/>
          </p:cNvPicPr>
          <p:nvPr/>
        </p:nvPicPr>
        <p:blipFill>
          <a:blip r:embed="rId3"/>
          <a:stretch>
            <a:fillRect/>
          </a:stretch>
        </p:blipFill>
        <p:spPr>
          <a:xfrm>
            <a:off x="211949" y="2966341"/>
            <a:ext cx="4904502" cy="1648486"/>
          </a:xfrm>
          <a:prstGeom prst="rect">
            <a:avLst/>
          </a:prstGeom>
        </p:spPr>
      </p:pic>
      <p:sp>
        <p:nvSpPr>
          <p:cNvPr id="8" name="TextBox 7">
            <a:extLst>
              <a:ext uri="{FF2B5EF4-FFF2-40B4-BE49-F238E27FC236}">
                <a16:creationId xmlns:a16="http://schemas.microsoft.com/office/drawing/2014/main" id="{E92EE6A2-F38C-4E19-BEA8-F4669A0C412E}"/>
              </a:ext>
            </a:extLst>
          </p:cNvPr>
          <p:cNvSpPr txBox="1"/>
          <p:nvPr/>
        </p:nvSpPr>
        <p:spPr>
          <a:xfrm>
            <a:off x="0" y="2387248"/>
            <a:ext cx="6324018" cy="430887"/>
          </a:xfrm>
          <a:prstGeom prst="rect">
            <a:avLst/>
          </a:prstGeom>
          <a:noFill/>
        </p:spPr>
        <p:txBody>
          <a:bodyPr wrap="square" rtlCol="0">
            <a:spAutoFit/>
          </a:bodyPr>
          <a:lstStyle/>
          <a:p>
            <a:pPr>
              <a:spcBef>
                <a:spcPts val="0"/>
              </a:spcBef>
              <a:spcAft>
                <a:spcPts val="0"/>
              </a:spcAft>
              <a:buClr>
                <a:schemeClr val="bg1"/>
              </a:buClr>
            </a:pPr>
            <a:r>
              <a:rPr lang="en-US" sz="1100" b="0" i="0" dirty="0">
                <a:solidFill>
                  <a:schemeClr val="bg2">
                    <a:lumMod val="50000"/>
                    <a:lumOff val="50000"/>
                  </a:schemeClr>
                </a:solidFill>
                <a:effectLst/>
                <a:latin typeface="Verdana" panose="020B0604030504040204" pitchFamily="34" charset="0"/>
              </a:rPr>
              <a:t>And the good thing about the Standard Deviation is that it is useful. Now we can show which heights are within one Standard Deviation (147mm) of the Mean:</a:t>
            </a:r>
            <a:endParaRPr lang="en-US" sz="1400" dirty="0">
              <a:solidFill>
                <a:schemeClr val="bg2">
                  <a:lumMod val="50000"/>
                  <a:lumOff val="50000"/>
                </a:schemeClr>
              </a:solidFill>
              <a:latin typeface="+mn-lt"/>
            </a:endParaRPr>
          </a:p>
        </p:txBody>
      </p:sp>
      <p:sp>
        <p:nvSpPr>
          <p:cNvPr id="10" name="TextBox 9">
            <a:extLst>
              <a:ext uri="{FF2B5EF4-FFF2-40B4-BE49-F238E27FC236}">
                <a16:creationId xmlns:a16="http://schemas.microsoft.com/office/drawing/2014/main" id="{98B8F9D4-2C7B-451C-A083-7F06BA7A3569}"/>
              </a:ext>
            </a:extLst>
          </p:cNvPr>
          <p:cNvSpPr txBox="1"/>
          <p:nvPr/>
        </p:nvSpPr>
        <p:spPr>
          <a:xfrm>
            <a:off x="5263035" y="3462156"/>
            <a:ext cx="3880965" cy="738664"/>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accent1"/>
                </a:solidFill>
                <a:latin typeface="+mn-lt"/>
              </a:rPr>
              <a:t>So, using the Standard Deviation we have a "standard" way of knowing what is normal, and what is extra large or extra small.</a:t>
            </a:r>
          </a:p>
        </p:txBody>
      </p:sp>
      <mc:AlternateContent xmlns:mc="http://schemas.openxmlformats.org/markup-compatibility/2006" xmlns:p14="http://schemas.microsoft.com/office/powerpoint/2010/main">
        <mc:Choice Requires="p14">
          <p:contentPart p14:bwMode="auto" r:id="rId4">
            <p14:nvContentPartPr>
              <p14:cNvPr id="4" name="Ink 3">
                <a:extLst>
                  <a:ext uri="{FF2B5EF4-FFF2-40B4-BE49-F238E27FC236}">
                    <a16:creationId xmlns:a16="http://schemas.microsoft.com/office/drawing/2014/main" id="{BAA78D34-9055-47F4-91A0-8A6E14A99CD8}"/>
                  </a:ext>
                </a:extLst>
              </p14:cNvPr>
              <p14:cNvContentPartPr/>
              <p14:nvPr/>
            </p14:nvContentPartPr>
            <p14:xfrm>
              <a:off x="171360" y="4680"/>
              <a:ext cx="8758800" cy="4786920"/>
            </p14:xfrm>
          </p:contentPart>
        </mc:Choice>
        <mc:Fallback xmlns="">
          <p:pic>
            <p:nvPicPr>
              <p:cNvPr id="4" name="Ink 3">
                <a:extLst>
                  <a:ext uri="{FF2B5EF4-FFF2-40B4-BE49-F238E27FC236}">
                    <a16:creationId xmlns:a16="http://schemas.microsoft.com/office/drawing/2014/main" id="{BAA78D34-9055-47F4-91A0-8A6E14A99CD8}"/>
                  </a:ext>
                </a:extLst>
              </p:cNvPr>
              <p:cNvPicPr/>
              <p:nvPr/>
            </p:nvPicPr>
            <p:blipFill>
              <a:blip r:embed="rId5"/>
              <a:stretch>
                <a:fillRect/>
              </a:stretch>
            </p:blipFill>
            <p:spPr>
              <a:xfrm>
                <a:off x="162000" y="-4680"/>
                <a:ext cx="8777520" cy="4805640"/>
              </a:xfrm>
              <a:prstGeom prst="rect">
                <a:avLst/>
              </a:prstGeom>
            </p:spPr>
          </p:pic>
        </mc:Fallback>
      </mc:AlternateContent>
    </p:spTree>
    <p:extLst>
      <p:ext uri="{BB962C8B-B14F-4D97-AF65-F5344CB8AC3E}">
        <p14:creationId xmlns:p14="http://schemas.microsoft.com/office/powerpoint/2010/main" val="2062386995"/>
      </p:ext>
    </p:extLst>
  </p:cSld>
  <p:clrMapOvr>
    <a:masterClrMapping/>
  </p:clrMapOvr>
  <p:transition spd="med">
    <p:wipe dir="r"/>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FDA2E5-19BC-41C1-9716-CDA111BFDC1E}"/>
              </a:ext>
            </a:extLst>
          </p:cNvPr>
          <p:cNvSpPr>
            <a:spLocks noGrp="1"/>
          </p:cNvSpPr>
          <p:nvPr>
            <p:ph type="title"/>
          </p:nvPr>
        </p:nvSpPr>
        <p:spPr>
          <a:xfrm>
            <a:off x="171014" y="126370"/>
            <a:ext cx="8229600" cy="637794"/>
          </a:xfrm>
        </p:spPr>
        <p:txBody>
          <a:bodyPr/>
          <a:lstStyle/>
          <a:p>
            <a:r>
              <a:rPr lang="en-US" dirty="0"/>
              <a:t>Another Example – Standard Deviation </a:t>
            </a:r>
          </a:p>
        </p:txBody>
      </p:sp>
    </p:spTree>
    <p:extLst>
      <p:ext uri="{BB962C8B-B14F-4D97-AF65-F5344CB8AC3E}">
        <p14:creationId xmlns:p14="http://schemas.microsoft.com/office/powerpoint/2010/main" val="1577341905"/>
      </p:ext>
    </p:extLst>
  </p:cSld>
  <p:clrMapOvr>
    <a:masterClrMapping/>
  </p:clrMapOvr>
  <p:transition spd="med">
    <p:wipe dir="r"/>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C7E8FC-E53A-4E79-8F5A-821A8B64772A}"/>
              </a:ext>
            </a:extLst>
          </p:cNvPr>
          <p:cNvSpPr>
            <a:spLocks noGrp="1"/>
          </p:cNvSpPr>
          <p:nvPr>
            <p:ph type="title"/>
          </p:nvPr>
        </p:nvSpPr>
        <p:spPr>
          <a:xfrm>
            <a:off x="0" y="0"/>
            <a:ext cx="8229600" cy="637794"/>
          </a:xfrm>
        </p:spPr>
        <p:txBody>
          <a:bodyPr/>
          <a:lstStyle/>
          <a:p>
            <a:r>
              <a:rPr lang="en-US" dirty="0"/>
              <a:t>Standard Deviation – Population &amp; Sample</a:t>
            </a:r>
          </a:p>
        </p:txBody>
      </p:sp>
      <p:sp>
        <p:nvSpPr>
          <p:cNvPr id="3" name="TextBox 2">
            <a:extLst>
              <a:ext uri="{FF2B5EF4-FFF2-40B4-BE49-F238E27FC236}">
                <a16:creationId xmlns:a16="http://schemas.microsoft.com/office/drawing/2014/main" id="{FD0A08EA-D57C-4F83-A00F-9136C8E975A8}"/>
              </a:ext>
            </a:extLst>
          </p:cNvPr>
          <p:cNvSpPr txBox="1"/>
          <p:nvPr/>
        </p:nvSpPr>
        <p:spPr>
          <a:xfrm>
            <a:off x="97723" y="903040"/>
            <a:ext cx="8418064" cy="3077766"/>
          </a:xfrm>
          <a:prstGeom prst="rect">
            <a:avLst/>
          </a:prstGeom>
          <a:noFill/>
        </p:spPr>
        <p:txBody>
          <a:bodyPr wrap="square" rtlCol="0">
            <a:spAutoFit/>
          </a:bodyPr>
          <a:lstStyle/>
          <a:p>
            <a:pPr marL="457200" indent="-457200" algn="l">
              <a:buFont typeface="Wingdings" panose="05000000000000000000" pitchFamily="2" charset="2"/>
              <a:buChar char="q"/>
            </a:pPr>
            <a:r>
              <a:rPr lang="en-US" sz="2000" b="0" i="0" dirty="0">
                <a:solidFill>
                  <a:schemeClr val="bg2">
                    <a:lumMod val="50000"/>
                    <a:lumOff val="50000"/>
                  </a:schemeClr>
                </a:solidFill>
                <a:effectLst/>
                <a:latin typeface="Verdana" panose="020B0604030504040204" pitchFamily="34" charset="0"/>
              </a:rPr>
              <a:t>Example: if our 5 dogs are just a </a:t>
            </a:r>
            <a:r>
              <a:rPr lang="en-US" sz="2000" b="1" i="0" dirty="0">
                <a:solidFill>
                  <a:schemeClr val="bg2">
                    <a:lumMod val="50000"/>
                    <a:lumOff val="50000"/>
                  </a:schemeClr>
                </a:solidFill>
                <a:effectLst/>
                <a:latin typeface="Verdana" panose="020B0604030504040204" pitchFamily="34" charset="0"/>
              </a:rPr>
              <a:t>sample</a:t>
            </a:r>
            <a:r>
              <a:rPr lang="en-US" sz="2000" b="0" i="0" dirty="0">
                <a:solidFill>
                  <a:schemeClr val="bg2">
                    <a:lumMod val="50000"/>
                    <a:lumOff val="50000"/>
                  </a:schemeClr>
                </a:solidFill>
                <a:effectLst/>
                <a:latin typeface="Verdana" panose="020B0604030504040204" pitchFamily="34" charset="0"/>
              </a:rPr>
              <a:t> of a bigger population of dogs, we divide by </a:t>
            </a:r>
            <a:r>
              <a:rPr lang="en-US" sz="2000" b="1" i="0" dirty="0">
                <a:solidFill>
                  <a:schemeClr val="bg2">
                    <a:lumMod val="50000"/>
                    <a:lumOff val="50000"/>
                  </a:schemeClr>
                </a:solidFill>
                <a:effectLst/>
                <a:latin typeface="Verdana" panose="020B0604030504040204" pitchFamily="34" charset="0"/>
              </a:rPr>
              <a:t>4 instead of 5</a:t>
            </a:r>
            <a:r>
              <a:rPr lang="en-US" sz="2000" b="0" i="0" dirty="0">
                <a:solidFill>
                  <a:schemeClr val="bg2">
                    <a:lumMod val="50000"/>
                    <a:lumOff val="50000"/>
                  </a:schemeClr>
                </a:solidFill>
                <a:effectLst/>
                <a:latin typeface="Verdana" panose="020B0604030504040204" pitchFamily="34" charset="0"/>
              </a:rPr>
              <a:t> like this:</a:t>
            </a:r>
          </a:p>
          <a:p>
            <a:pPr algn="l"/>
            <a:endParaRPr lang="en-US" sz="2000" b="0" i="0" dirty="0">
              <a:solidFill>
                <a:schemeClr val="bg2">
                  <a:lumMod val="50000"/>
                  <a:lumOff val="50000"/>
                </a:schemeClr>
              </a:solidFill>
              <a:effectLst/>
              <a:latin typeface="Verdana" panose="020B0604030504040204" pitchFamily="34" charset="0"/>
            </a:endParaRPr>
          </a:p>
          <a:p>
            <a:pPr marL="457200" indent="-457200" algn="l">
              <a:buFont typeface="Wingdings" panose="05000000000000000000" pitchFamily="2" charset="2"/>
              <a:buChar char="q"/>
            </a:pPr>
            <a:r>
              <a:rPr lang="en-US" sz="2000" b="0" i="0" dirty="0">
                <a:solidFill>
                  <a:schemeClr val="bg2">
                    <a:lumMod val="50000"/>
                    <a:lumOff val="50000"/>
                  </a:schemeClr>
                </a:solidFill>
                <a:effectLst/>
                <a:latin typeface="Verdana" panose="020B0604030504040204" pitchFamily="34" charset="0"/>
              </a:rPr>
              <a:t>Sample Variance = 108,520 / </a:t>
            </a:r>
            <a:r>
              <a:rPr lang="en-US" sz="2000" b="1" i="0" dirty="0">
                <a:solidFill>
                  <a:schemeClr val="bg2">
                    <a:lumMod val="50000"/>
                    <a:lumOff val="50000"/>
                  </a:schemeClr>
                </a:solidFill>
                <a:effectLst/>
                <a:latin typeface="Verdana" panose="020B0604030504040204" pitchFamily="34" charset="0"/>
              </a:rPr>
              <a:t>4</a:t>
            </a:r>
            <a:r>
              <a:rPr lang="en-US" sz="2000" b="0" i="0" dirty="0">
                <a:solidFill>
                  <a:schemeClr val="bg2">
                    <a:lumMod val="50000"/>
                    <a:lumOff val="50000"/>
                  </a:schemeClr>
                </a:solidFill>
                <a:effectLst/>
                <a:latin typeface="Verdana" panose="020B0604030504040204" pitchFamily="34" charset="0"/>
              </a:rPr>
              <a:t> = </a:t>
            </a:r>
            <a:r>
              <a:rPr lang="en-US" sz="2000" b="1" i="0" dirty="0">
                <a:solidFill>
                  <a:schemeClr val="bg2">
                    <a:lumMod val="50000"/>
                    <a:lumOff val="50000"/>
                  </a:schemeClr>
                </a:solidFill>
                <a:effectLst/>
                <a:latin typeface="Verdana" panose="020B0604030504040204" pitchFamily="34" charset="0"/>
              </a:rPr>
              <a:t>27,130</a:t>
            </a:r>
          </a:p>
          <a:p>
            <a:pPr algn="l"/>
            <a:endParaRPr lang="en-US" sz="2000" b="0" i="0" dirty="0">
              <a:solidFill>
                <a:schemeClr val="bg2">
                  <a:lumMod val="50000"/>
                  <a:lumOff val="50000"/>
                </a:schemeClr>
              </a:solidFill>
              <a:effectLst/>
              <a:latin typeface="Verdana" panose="020B0604030504040204" pitchFamily="34" charset="0"/>
            </a:endParaRPr>
          </a:p>
          <a:p>
            <a:pPr marL="457200" indent="-457200" algn="l">
              <a:buFont typeface="Wingdings" panose="05000000000000000000" pitchFamily="2" charset="2"/>
              <a:buChar char="q"/>
            </a:pPr>
            <a:r>
              <a:rPr lang="en-US" sz="2000" b="0" i="0" dirty="0">
                <a:solidFill>
                  <a:schemeClr val="bg2">
                    <a:lumMod val="50000"/>
                    <a:lumOff val="50000"/>
                  </a:schemeClr>
                </a:solidFill>
                <a:effectLst/>
                <a:latin typeface="Verdana" panose="020B0604030504040204" pitchFamily="34" charset="0"/>
              </a:rPr>
              <a:t>Sample Standard Deviation = √27,130 = </a:t>
            </a:r>
            <a:r>
              <a:rPr lang="en-US" sz="2000" b="1" i="0" dirty="0">
                <a:solidFill>
                  <a:schemeClr val="bg2">
                    <a:lumMod val="50000"/>
                    <a:lumOff val="50000"/>
                  </a:schemeClr>
                </a:solidFill>
                <a:effectLst/>
                <a:latin typeface="Verdana" panose="020B0604030504040204" pitchFamily="34" charset="0"/>
              </a:rPr>
              <a:t>165</a:t>
            </a:r>
            <a:r>
              <a:rPr lang="en-US" sz="2000" b="0" i="0" dirty="0">
                <a:solidFill>
                  <a:schemeClr val="bg2">
                    <a:lumMod val="50000"/>
                    <a:lumOff val="50000"/>
                  </a:schemeClr>
                </a:solidFill>
                <a:effectLst/>
                <a:latin typeface="Verdana" panose="020B0604030504040204" pitchFamily="34" charset="0"/>
              </a:rPr>
              <a:t> (to the nearest mm)</a:t>
            </a:r>
          </a:p>
          <a:p>
            <a:pPr algn="l"/>
            <a:endParaRPr lang="en-US" sz="2000" b="0" i="0" dirty="0">
              <a:solidFill>
                <a:schemeClr val="bg2">
                  <a:lumMod val="50000"/>
                  <a:lumOff val="50000"/>
                </a:schemeClr>
              </a:solidFill>
              <a:effectLst/>
              <a:latin typeface="Verdana" panose="020B0604030504040204" pitchFamily="34" charset="0"/>
            </a:endParaRPr>
          </a:p>
          <a:p>
            <a:pPr marL="342900" indent="-342900" algn="l">
              <a:buFont typeface="Wingdings" panose="05000000000000000000" pitchFamily="2" charset="2"/>
              <a:buChar char="q"/>
            </a:pPr>
            <a:r>
              <a:rPr lang="en-US" sz="2000" b="0" i="0" dirty="0">
                <a:solidFill>
                  <a:schemeClr val="bg2">
                    <a:lumMod val="50000"/>
                    <a:lumOff val="50000"/>
                  </a:schemeClr>
                </a:solidFill>
                <a:effectLst/>
                <a:latin typeface="Verdana" panose="020B0604030504040204" pitchFamily="34" charset="0"/>
              </a:rPr>
              <a:t>Think of it as a "correction" when your data is only a sample.</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1892214900"/>
      </p:ext>
    </p:extLst>
  </p:cSld>
  <p:clrMapOvr>
    <a:masterClrMapping/>
  </p:clrMapOvr>
  <p:transition spd="med">
    <p:wipe dir="r"/>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18C4E3-6B94-4D41-9DB2-4A1A4413DA08}"/>
              </a:ext>
            </a:extLst>
          </p:cNvPr>
          <p:cNvSpPr>
            <a:spLocks noGrp="1"/>
          </p:cNvSpPr>
          <p:nvPr>
            <p:ph type="title"/>
          </p:nvPr>
        </p:nvSpPr>
        <p:spPr>
          <a:xfrm>
            <a:off x="114300" y="112410"/>
            <a:ext cx="8229600" cy="637794"/>
          </a:xfrm>
        </p:spPr>
        <p:txBody>
          <a:bodyPr/>
          <a:lstStyle/>
          <a:p>
            <a:r>
              <a:rPr lang="en-US" dirty="0"/>
              <a:t>Standard Deviation - Formula</a:t>
            </a:r>
          </a:p>
        </p:txBody>
      </p:sp>
      <p:sp>
        <p:nvSpPr>
          <p:cNvPr id="10" name="TextBox 9">
            <a:extLst>
              <a:ext uri="{FF2B5EF4-FFF2-40B4-BE49-F238E27FC236}">
                <a16:creationId xmlns:a16="http://schemas.microsoft.com/office/drawing/2014/main" id="{933A42C8-B9B8-4D5C-B787-BC7681B6E0FD}"/>
              </a:ext>
            </a:extLst>
          </p:cNvPr>
          <p:cNvSpPr txBox="1"/>
          <p:nvPr/>
        </p:nvSpPr>
        <p:spPr>
          <a:xfrm>
            <a:off x="5309278" y="2087065"/>
            <a:ext cx="3720422" cy="1323439"/>
          </a:xfrm>
          <a:prstGeom prst="rect">
            <a:avLst/>
          </a:prstGeom>
          <a:noFill/>
        </p:spPr>
        <p:txBody>
          <a:bodyPr wrap="square" rtlCol="0">
            <a:spAutoFit/>
          </a:bodyPr>
          <a:lstStyle/>
          <a:p>
            <a:pPr>
              <a:spcBef>
                <a:spcPts val="0"/>
              </a:spcBef>
              <a:spcAft>
                <a:spcPts val="0"/>
              </a:spcAft>
              <a:buClr>
                <a:schemeClr val="bg1"/>
              </a:buClr>
            </a:pPr>
            <a:r>
              <a:rPr lang="en-US" sz="1600" b="0" i="0" dirty="0">
                <a:solidFill>
                  <a:schemeClr val="bg2">
                    <a:lumMod val="50000"/>
                    <a:lumOff val="50000"/>
                  </a:schemeClr>
                </a:solidFill>
                <a:effectLst/>
                <a:latin typeface="Verdana" panose="020B0604030504040204" pitchFamily="34" charset="0"/>
              </a:rPr>
              <a:t>Looks complicated, but the important change is to divide by </a:t>
            </a:r>
            <a:r>
              <a:rPr lang="en-US" sz="1600" b="1" i="0" dirty="0">
                <a:solidFill>
                  <a:schemeClr val="bg2">
                    <a:lumMod val="50000"/>
                    <a:lumOff val="50000"/>
                  </a:schemeClr>
                </a:solidFill>
                <a:effectLst/>
                <a:latin typeface="Verdana" panose="020B0604030504040204" pitchFamily="34" charset="0"/>
              </a:rPr>
              <a:t>N-1</a:t>
            </a:r>
            <a:r>
              <a:rPr lang="en-US" sz="1600" b="0" i="0" dirty="0">
                <a:solidFill>
                  <a:schemeClr val="bg2">
                    <a:lumMod val="50000"/>
                    <a:lumOff val="50000"/>
                  </a:schemeClr>
                </a:solidFill>
                <a:effectLst/>
                <a:latin typeface="Verdana" panose="020B0604030504040204" pitchFamily="34" charset="0"/>
              </a:rPr>
              <a:t> (instead of </a:t>
            </a:r>
            <a:r>
              <a:rPr lang="en-US" sz="1600" b="1" i="0" dirty="0">
                <a:solidFill>
                  <a:schemeClr val="bg2">
                    <a:lumMod val="50000"/>
                    <a:lumOff val="50000"/>
                  </a:schemeClr>
                </a:solidFill>
                <a:effectLst/>
                <a:latin typeface="Verdana" panose="020B0604030504040204" pitchFamily="34" charset="0"/>
              </a:rPr>
              <a:t>N</a:t>
            </a:r>
            <a:r>
              <a:rPr lang="en-US" sz="1600" b="0" i="0" dirty="0">
                <a:solidFill>
                  <a:schemeClr val="bg2">
                    <a:lumMod val="50000"/>
                    <a:lumOff val="50000"/>
                  </a:schemeClr>
                </a:solidFill>
                <a:effectLst/>
                <a:latin typeface="Verdana" panose="020B0604030504040204" pitchFamily="34" charset="0"/>
              </a:rPr>
              <a:t>) when calculating a Sample Standard Deviation</a:t>
            </a:r>
            <a:endParaRPr lang="en-US" sz="2000" dirty="0">
              <a:solidFill>
                <a:schemeClr val="bg2">
                  <a:lumMod val="50000"/>
                  <a:lumOff val="50000"/>
                </a:schemeClr>
              </a:solidFill>
              <a:latin typeface="+mn-lt"/>
            </a:endParaRPr>
          </a:p>
        </p:txBody>
      </p:sp>
      <p:pic>
        <p:nvPicPr>
          <p:cNvPr id="12" name="Picture 11">
            <a:extLst>
              <a:ext uri="{FF2B5EF4-FFF2-40B4-BE49-F238E27FC236}">
                <a16:creationId xmlns:a16="http://schemas.microsoft.com/office/drawing/2014/main" id="{653F05E3-1A06-4930-9772-3415C65D5046}"/>
              </a:ext>
            </a:extLst>
          </p:cNvPr>
          <p:cNvPicPr>
            <a:picLocks noChangeAspect="1"/>
          </p:cNvPicPr>
          <p:nvPr/>
        </p:nvPicPr>
        <p:blipFill>
          <a:blip r:embed="rId2"/>
          <a:stretch>
            <a:fillRect/>
          </a:stretch>
        </p:blipFill>
        <p:spPr>
          <a:xfrm>
            <a:off x="114300" y="851297"/>
            <a:ext cx="4724655" cy="1808141"/>
          </a:xfrm>
          <a:prstGeom prst="rect">
            <a:avLst/>
          </a:prstGeom>
        </p:spPr>
      </p:pic>
      <p:pic>
        <p:nvPicPr>
          <p:cNvPr id="14" name="Picture 13">
            <a:extLst>
              <a:ext uri="{FF2B5EF4-FFF2-40B4-BE49-F238E27FC236}">
                <a16:creationId xmlns:a16="http://schemas.microsoft.com/office/drawing/2014/main" id="{B435FB2B-9487-497B-8EF8-99AA21450932}"/>
              </a:ext>
            </a:extLst>
          </p:cNvPr>
          <p:cNvPicPr>
            <a:picLocks noChangeAspect="1"/>
          </p:cNvPicPr>
          <p:nvPr/>
        </p:nvPicPr>
        <p:blipFill>
          <a:blip r:embed="rId3"/>
          <a:stretch>
            <a:fillRect/>
          </a:stretch>
        </p:blipFill>
        <p:spPr>
          <a:xfrm>
            <a:off x="114300" y="2892968"/>
            <a:ext cx="4724655" cy="1672051"/>
          </a:xfrm>
          <a:prstGeom prst="rect">
            <a:avLst/>
          </a:prstGeom>
        </p:spPr>
      </p:pic>
      <mc:AlternateContent xmlns:mc="http://schemas.openxmlformats.org/markup-compatibility/2006" xmlns:p14="http://schemas.microsoft.com/office/powerpoint/2010/main">
        <mc:Choice Requires="p14">
          <p:contentPart p14:bwMode="auto" r:id="rId4">
            <p14:nvContentPartPr>
              <p14:cNvPr id="3" name="Ink 2">
                <a:extLst>
                  <a:ext uri="{FF2B5EF4-FFF2-40B4-BE49-F238E27FC236}">
                    <a16:creationId xmlns:a16="http://schemas.microsoft.com/office/drawing/2014/main" id="{A21A2577-2EFA-46FA-9E43-1EB22A0B9736}"/>
                  </a:ext>
                </a:extLst>
              </p14:cNvPr>
              <p14:cNvContentPartPr/>
              <p14:nvPr/>
            </p14:nvContentPartPr>
            <p14:xfrm>
              <a:off x="271440" y="447840"/>
              <a:ext cx="6910920" cy="3729240"/>
            </p14:xfrm>
          </p:contentPart>
        </mc:Choice>
        <mc:Fallback xmlns="">
          <p:pic>
            <p:nvPicPr>
              <p:cNvPr id="3" name="Ink 2">
                <a:extLst>
                  <a:ext uri="{FF2B5EF4-FFF2-40B4-BE49-F238E27FC236}">
                    <a16:creationId xmlns:a16="http://schemas.microsoft.com/office/drawing/2014/main" id="{A21A2577-2EFA-46FA-9E43-1EB22A0B9736}"/>
                  </a:ext>
                </a:extLst>
              </p:cNvPr>
              <p:cNvPicPr/>
              <p:nvPr/>
            </p:nvPicPr>
            <p:blipFill>
              <a:blip r:embed="rId5"/>
              <a:stretch>
                <a:fillRect/>
              </a:stretch>
            </p:blipFill>
            <p:spPr>
              <a:xfrm>
                <a:off x="262080" y="438480"/>
                <a:ext cx="6929640" cy="3747960"/>
              </a:xfrm>
              <a:prstGeom prst="rect">
                <a:avLst/>
              </a:prstGeom>
            </p:spPr>
          </p:pic>
        </mc:Fallback>
      </mc:AlternateContent>
    </p:spTree>
    <p:extLst>
      <p:ext uri="{BB962C8B-B14F-4D97-AF65-F5344CB8AC3E}">
        <p14:creationId xmlns:p14="http://schemas.microsoft.com/office/powerpoint/2010/main" val="3884285239"/>
      </p:ext>
    </p:extLst>
  </p:cSld>
  <p:clrMapOvr>
    <a:masterClrMapping/>
  </p:clrMapOvr>
  <p:transition spd="med">
    <p:wipe dir="r"/>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5F3A06-D0A1-4D54-8804-1862AD402AE2}"/>
              </a:ext>
            </a:extLst>
          </p:cNvPr>
          <p:cNvSpPr>
            <a:spLocks noGrp="1"/>
          </p:cNvSpPr>
          <p:nvPr>
            <p:ph type="title"/>
          </p:nvPr>
        </p:nvSpPr>
        <p:spPr>
          <a:xfrm>
            <a:off x="0" y="0"/>
            <a:ext cx="8229600" cy="637794"/>
          </a:xfrm>
        </p:spPr>
        <p:txBody>
          <a:bodyPr/>
          <a:lstStyle/>
          <a:p>
            <a:r>
              <a:rPr lang="en-US" dirty="0"/>
              <a:t>Why Square the difference ? </a:t>
            </a:r>
          </a:p>
        </p:txBody>
      </p:sp>
      <p:sp>
        <p:nvSpPr>
          <p:cNvPr id="3" name="TextBox 2">
            <a:extLst>
              <a:ext uri="{FF2B5EF4-FFF2-40B4-BE49-F238E27FC236}">
                <a16:creationId xmlns:a16="http://schemas.microsoft.com/office/drawing/2014/main" id="{335ED887-CF6A-495E-9FF8-79FD8D96C0AD}"/>
              </a:ext>
            </a:extLst>
          </p:cNvPr>
          <p:cNvSpPr txBox="1"/>
          <p:nvPr/>
        </p:nvSpPr>
        <p:spPr>
          <a:xfrm>
            <a:off x="181484" y="558412"/>
            <a:ext cx="8048116" cy="3416320"/>
          </a:xfrm>
          <a:prstGeom prst="rect">
            <a:avLst/>
          </a:prstGeom>
          <a:noFill/>
        </p:spPr>
        <p:txBody>
          <a:bodyPr wrap="square" rtlCol="0">
            <a:spAutoFit/>
          </a:bodyPr>
          <a:lstStyle/>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If we just add up the differences from the mean ... the negatives cancel the positives:</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Ex:</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So that won't work. How about we use </a:t>
            </a:r>
            <a:r>
              <a:rPr lang="en-US" sz="1200" dirty="0">
                <a:solidFill>
                  <a:schemeClr val="bg2">
                    <a:lumMod val="50000"/>
                    <a:lumOff val="50000"/>
                  </a:schemeClr>
                </a:solidFill>
                <a:latin typeface="Verdana" panose="020B0604030504040204" pitchFamily="34" charset="0"/>
                <a:hlinkClick r:id="rId2">
                  <a:extLst>
                    <a:ext uri="{A12FA001-AC4F-418D-AE19-62706E023703}">
                      <ahyp:hlinkClr xmlns:ahyp="http://schemas.microsoft.com/office/drawing/2018/hyperlinkcolor" val="tx"/>
                    </a:ext>
                  </a:extLst>
                </a:hlinkClick>
              </a:rPr>
              <a:t>absolute values</a:t>
            </a:r>
            <a:r>
              <a:rPr lang="en-US" sz="1200" dirty="0">
                <a:solidFill>
                  <a:schemeClr val="bg2">
                    <a:lumMod val="50000"/>
                    <a:lumOff val="50000"/>
                  </a:schemeClr>
                </a:solidFill>
                <a:latin typeface="Verdana" panose="020B0604030504040204" pitchFamily="34" charset="0"/>
              </a:rPr>
              <a:t>?</a:t>
            </a:r>
            <a:br>
              <a:rPr lang="en-US" sz="1200" dirty="0">
                <a:solidFill>
                  <a:schemeClr val="bg2">
                    <a:lumMod val="50000"/>
                    <a:lumOff val="50000"/>
                  </a:schemeClr>
                </a:solidFill>
                <a:latin typeface="Verdana" panose="020B0604030504040204" pitchFamily="34" charset="0"/>
              </a:rPr>
            </a:b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Ex:</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That looks good (and is the </a:t>
            </a:r>
            <a:r>
              <a:rPr lang="en-US" sz="1200" dirty="0">
                <a:solidFill>
                  <a:schemeClr val="bg2">
                    <a:lumMod val="50000"/>
                    <a:lumOff val="50000"/>
                  </a:schemeClr>
                </a:solidFill>
                <a:latin typeface="Verdana" panose="020B0604030504040204" pitchFamily="34" charset="0"/>
                <a:hlinkClick r:id="rId3">
                  <a:extLst>
                    <a:ext uri="{A12FA001-AC4F-418D-AE19-62706E023703}">
                      <ahyp:hlinkClr xmlns:ahyp="http://schemas.microsoft.com/office/drawing/2018/hyperlinkcolor" val="tx"/>
                    </a:ext>
                  </a:extLst>
                </a:hlinkClick>
              </a:rPr>
              <a:t>Mean Deviation</a:t>
            </a:r>
            <a:r>
              <a:rPr lang="en-US" sz="1200" dirty="0">
                <a:solidFill>
                  <a:schemeClr val="bg2">
                    <a:lumMod val="50000"/>
                    <a:lumOff val="50000"/>
                  </a:schemeClr>
                </a:solidFill>
                <a:latin typeface="Verdana" panose="020B0604030504040204" pitchFamily="34" charset="0"/>
              </a:rPr>
              <a:t>), but what about this case:</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Ex:</a:t>
            </a:r>
          </a:p>
        </p:txBody>
      </p:sp>
      <p:pic>
        <p:nvPicPr>
          <p:cNvPr id="5" name="Picture 4">
            <a:extLst>
              <a:ext uri="{FF2B5EF4-FFF2-40B4-BE49-F238E27FC236}">
                <a16:creationId xmlns:a16="http://schemas.microsoft.com/office/drawing/2014/main" id="{46EF63B6-C861-4B4A-BA4A-3E222C70C7D5}"/>
              </a:ext>
            </a:extLst>
          </p:cNvPr>
          <p:cNvPicPr>
            <a:picLocks noChangeAspect="1"/>
          </p:cNvPicPr>
          <p:nvPr/>
        </p:nvPicPr>
        <p:blipFill>
          <a:blip r:embed="rId4"/>
          <a:stretch>
            <a:fillRect/>
          </a:stretch>
        </p:blipFill>
        <p:spPr>
          <a:xfrm>
            <a:off x="654172" y="868666"/>
            <a:ext cx="2130910" cy="880711"/>
          </a:xfrm>
          <a:prstGeom prst="rect">
            <a:avLst/>
          </a:prstGeom>
        </p:spPr>
      </p:pic>
      <p:pic>
        <p:nvPicPr>
          <p:cNvPr id="7" name="Picture 6">
            <a:extLst>
              <a:ext uri="{FF2B5EF4-FFF2-40B4-BE49-F238E27FC236}">
                <a16:creationId xmlns:a16="http://schemas.microsoft.com/office/drawing/2014/main" id="{FF31FC51-1BB6-4110-984E-4ADCFEAD3B9D}"/>
              </a:ext>
            </a:extLst>
          </p:cNvPr>
          <p:cNvPicPr>
            <a:picLocks noChangeAspect="1"/>
          </p:cNvPicPr>
          <p:nvPr/>
        </p:nvPicPr>
        <p:blipFill>
          <a:blip r:embed="rId4"/>
          <a:stretch>
            <a:fillRect/>
          </a:stretch>
        </p:blipFill>
        <p:spPr>
          <a:xfrm>
            <a:off x="654173" y="2183727"/>
            <a:ext cx="2130910" cy="1048037"/>
          </a:xfrm>
          <a:prstGeom prst="rect">
            <a:avLst/>
          </a:prstGeom>
        </p:spPr>
      </p:pic>
      <p:pic>
        <p:nvPicPr>
          <p:cNvPr id="9" name="Picture 8">
            <a:extLst>
              <a:ext uri="{FF2B5EF4-FFF2-40B4-BE49-F238E27FC236}">
                <a16:creationId xmlns:a16="http://schemas.microsoft.com/office/drawing/2014/main" id="{64CAF348-C2B3-4FF9-97C9-997DD4E807AA}"/>
              </a:ext>
            </a:extLst>
          </p:cNvPr>
          <p:cNvPicPr>
            <a:picLocks noChangeAspect="1"/>
          </p:cNvPicPr>
          <p:nvPr/>
        </p:nvPicPr>
        <p:blipFill>
          <a:blip r:embed="rId5"/>
          <a:stretch>
            <a:fillRect/>
          </a:stretch>
        </p:blipFill>
        <p:spPr>
          <a:xfrm>
            <a:off x="654173" y="3666113"/>
            <a:ext cx="2130910" cy="1111583"/>
          </a:xfrm>
          <a:prstGeom prst="rect">
            <a:avLst/>
          </a:prstGeom>
        </p:spPr>
      </p:pic>
      <mc:AlternateContent xmlns:mc="http://schemas.openxmlformats.org/markup-compatibility/2006" xmlns:p14="http://schemas.microsoft.com/office/powerpoint/2010/main">
        <mc:Choice Requires="p14">
          <p:contentPart p14:bwMode="auto" r:id="rId6">
            <p14:nvContentPartPr>
              <p14:cNvPr id="4" name="Ink 3">
                <a:extLst>
                  <a:ext uri="{FF2B5EF4-FFF2-40B4-BE49-F238E27FC236}">
                    <a16:creationId xmlns:a16="http://schemas.microsoft.com/office/drawing/2014/main" id="{CE421595-5DC1-42F4-B379-3A2C40A61845}"/>
                  </a:ext>
                </a:extLst>
              </p14:cNvPr>
              <p14:cNvContentPartPr/>
              <p14:nvPr/>
            </p14:nvContentPartPr>
            <p14:xfrm>
              <a:off x="971640" y="128520"/>
              <a:ext cx="8139240" cy="4896360"/>
            </p14:xfrm>
          </p:contentPart>
        </mc:Choice>
        <mc:Fallback xmlns="">
          <p:pic>
            <p:nvPicPr>
              <p:cNvPr id="4" name="Ink 3">
                <a:extLst>
                  <a:ext uri="{FF2B5EF4-FFF2-40B4-BE49-F238E27FC236}">
                    <a16:creationId xmlns:a16="http://schemas.microsoft.com/office/drawing/2014/main" id="{CE421595-5DC1-42F4-B379-3A2C40A61845}"/>
                  </a:ext>
                </a:extLst>
              </p:cNvPr>
              <p:cNvPicPr/>
              <p:nvPr/>
            </p:nvPicPr>
            <p:blipFill>
              <a:blip r:embed="rId7"/>
              <a:stretch>
                <a:fillRect/>
              </a:stretch>
            </p:blipFill>
            <p:spPr>
              <a:xfrm>
                <a:off x="962280" y="119160"/>
                <a:ext cx="8157960" cy="4915080"/>
              </a:xfrm>
              <a:prstGeom prst="rect">
                <a:avLst/>
              </a:prstGeom>
            </p:spPr>
          </p:pic>
        </mc:Fallback>
      </mc:AlternateContent>
    </p:spTree>
    <p:extLst>
      <p:ext uri="{BB962C8B-B14F-4D97-AF65-F5344CB8AC3E}">
        <p14:creationId xmlns:p14="http://schemas.microsoft.com/office/powerpoint/2010/main" val="1560366396"/>
      </p:ext>
    </p:extLst>
  </p:cSld>
  <p:clrMapOvr>
    <a:masterClrMapping/>
  </p:clrMapOvr>
  <p:transition spd="med">
    <p:wipe dir="r"/>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10AC9D2-C166-483A-A9F8-A47C63C5C8F9}"/>
              </a:ext>
            </a:extLst>
          </p:cNvPr>
          <p:cNvSpPr>
            <a:spLocks noGrp="1"/>
          </p:cNvSpPr>
          <p:nvPr>
            <p:ph type="title"/>
          </p:nvPr>
        </p:nvSpPr>
        <p:spPr>
          <a:xfrm>
            <a:off x="0" y="0"/>
            <a:ext cx="8229600" cy="637794"/>
          </a:xfrm>
        </p:spPr>
        <p:txBody>
          <a:bodyPr/>
          <a:lstStyle/>
          <a:p>
            <a:r>
              <a:rPr lang="en-US" dirty="0"/>
              <a:t>Why Square the difference ? - Continued </a:t>
            </a:r>
          </a:p>
        </p:txBody>
      </p:sp>
      <p:sp>
        <p:nvSpPr>
          <p:cNvPr id="4" name="TextBox 3">
            <a:extLst>
              <a:ext uri="{FF2B5EF4-FFF2-40B4-BE49-F238E27FC236}">
                <a16:creationId xmlns:a16="http://schemas.microsoft.com/office/drawing/2014/main" id="{F548E1AB-BBD9-419A-A5BF-9DF1DF5C418E}"/>
              </a:ext>
            </a:extLst>
          </p:cNvPr>
          <p:cNvSpPr txBox="1"/>
          <p:nvPr/>
        </p:nvSpPr>
        <p:spPr>
          <a:xfrm>
            <a:off x="97722" y="637794"/>
            <a:ext cx="7231438" cy="3970318"/>
          </a:xfrm>
          <a:prstGeom prst="rect">
            <a:avLst/>
          </a:prstGeom>
          <a:noFill/>
        </p:spPr>
        <p:txBody>
          <a:bodyPr wrap="square" rtlCol="0">
            <a:spAutoFit/>
          </a:bodyPr>
          <a:lstStyle/>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So let us try squaring each difference (and taking the square root at the end):</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That is nice! The Standard Deviation is bigger when the differences are more spread out ... just what we want.</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p:txBody>
      </p:sp>
      <p:pic>
        <p:nvPicPr>
          <p:cNvPr id="5" name="Picture 4">
            <a:extLst>
              <a:ext uri="{FF2B5EF4-FFF2-40B4-BE49-F238E27FC236}">
                <a16:creationId xmlns:a16="http://schemas.microsoft.com/office/drawing/2014/main" id="{EA9BD20E-FBEB-49E3-A54D-D22AB7DB24EA}"/>
              </a:ext>
            </a:extLst>
          </p:cNvPr>
          <p:cNvPicPr>
            <a:picLocks noChangeAspect="1"/>
          </p:cNvPicPr>
          <p:nvPr/>
        </p:nvPicPr>
        <p:blipFill>
          <a:blip r:embed="rId2"/>
          <a:stretch>
            <a:fillRect/>
          </a:stretch>
        </p:blipFill>
        <p:spPr>
          <a:xfrm>
            <a:off x="305891" y="967696"/>
            <a:ext cx="1439147" cy="2767590"/>
          </a:xfrm>
          <a:prstGeom prst="rect">
            <a:avLst/>
          </a:prstGeom>
        </p:spPr>
      </p:pic>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36E070C5-9B51-482C-BA63-A10ED165534D}"/>
                  </a:ext>
                </a:extLst>
              </p14:cNvPr>
              <p14:cNvContentPartPr/>
              <p14:nvPr/>
            </p14:nvContentPartPr>
            <p14:xfrm>
              <a:off x="204840" y="1238400"/>
              <a:ext cx="6743880" cy="3167280"/>
            </p14:xfrm>
          </p:contentPart>
        </mc:Choice>
        <mc:Fallback xmlns="">
          <p:pic>
            <p:nvPicPr>
              <p:cNvPr id="2" name="Ink 1">
                <a:extLst>
                  <a:ext uri="{FF2B5EF4-FFF2-40B4-BE49-F238E27FC236}">
                    <a16:creationId xmlns:a16="http://schemas.microsoft.com/office/drawing/2014/main" id="{36E070C5-9B51-482C-BA63-A10ED165534D}"/>
                  </a:ext>
                </a:extLst>
              </p:cNvPr>
              <p:cNvPicPr/>
              <p:nvPr/>
            </p:nvPicPr>
            <p:blipFill>
              <a:blip r:embed="rId4"/>
              <a:stretch>
                <a:fillRect/>
              </a:stretch>
            </p:blipFill>
            <p:spPr>
              <a:xfrm>
                <a:off x="195480" y="1229040"/>
                <a:ext cx="6762600" cy="3186000"/>
              </a:xfrm>
              <a:prstGeom prst="rect">
                <a:avLst/>
              </a:prstGeom>
            </p:spPr>
          </p:pic>
        </mc:Fallback>
      </mc:AlternateContent>
    </p:spTree>
    <p:extLst>
      <p:ext uri="{BB962C8B-B14F-4D97-AF65-F5344CB8AC3E}">
        <p14:creationId xmlns:p14="http://schemas.microsoft.com/office/powerpoint/2010/main" val="2153491599"/>
      </p:ext>
    </p:extLst>
  </p:cSld>
  <p:clrMapOvr>
    <a:masterClrMapping/>
  </p:clrMapOvr>
  <p:transition spd="med">
    <p:wipe dir="r"/>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75BBCD-0354-47E7-94C3-A29794FCA18F}"/>
              </a:ext>
            </a:extLst>
          </p:cNvPr>
          <p:cNvSpPr>
            <a:spLocks noGrp="1"/>
          </p:cNvSpPr>
          <p:nvPr>
            <p:ph type="title"/>
          </p:nvPr>
        </p:nvSpPr>
        <p:spPr>
          <a:xfrm>
            <a:off x="0" y="0"/>
            <a:ext cx="8229600" cy="637794"/>
          </a:xfrm>
        </p:spPr>
        <p:txBody>
          <a:bodyPr/>
          <a:lstStyle/>
          <a:p>
            <a:r>
              <a:rPr lang="en-US" dirty="0"/>
              <a:t>Standard deviation - Example</a:t>
            </a:r>
          </a:p>
        </p:txBody>
      </p:sp>
      <p:sp>
        <p:nvSpPr>
          <p:cNvPr id="3" name="TextBox 2">
            <a:extLst>
              <a:ext uri="{FF2B5EF4-FFF2-40B4-BE49-F238E27FC236}">
                <a16:creationId xmlns:a16="http://schemas.microsoft.com/office/drawing/2014/main" id="{6AFC26AC-E651-4FD1-B690-D878A0FD673F}"/>
              </a:ext>
            </a:extLst>
          </p:cNvPr>
          <p:cNvSpPr txBox="1"/>
          <p:nvPr/>
        </p:nvSpPr>
        <p:spPr>
          <a:xfrm>
            <a:off x="76781" y="637793"/>
            <a:ext cx="7817772" cy="584775"/>
          </a:xfrm>
          <a:prstGeom prst="rect">
            <a:avLst/>
          </a:prstGeom>
          <a:noFill/>
        </p:spPr>
        <p:txBody>
          <a:bodyPr wrap="square" rtlCol="0">
            <a:spAutoFit/>
          </a:bodyPr>
          <a:lstStyle/>
          <a:p>
            <a:pPr>
              <a:spcBef>
                <a:spcPts val="0"/>
              </a:spcBef>
              <a:spcAft>
                <a:spcPts val="0"/>
              </a:spcAft>
              <a:buClr>
                <a:schemeClr val="bg1"/>
              </a:buClr>
            </a:pPr>
            <a:r>
              <a:rPr lang="en-US" sz="1600" b="1" dirty="0">
                <a:solidFill>
                  <a:schemeClr val="bg2">
                    <a:lumMod val="50000"/>
                    <a:lumOff val="50000"/>
                  </a:schemeClr>
                </a:solidFill>
                <a:latin typeface="+mn-lt"/>
              </a:rPr>
              <a:t>Question : </a:t>
            </a:r>
            <a:r>
              <a:rPr lang="en-US" sz="1600" dirty="0">
                <a:solidFill>
                  <a:schemeClr val="bg2">
                    <a:lumMod val="50000"/>
                    <a:lumOff val="50000"/>
                  </a:schemeClr>
                </a:solidFill>
                <a:latin typeface="+mn-lt"/>
              </a:rPr>
              <a:t>95% of student at school are between 1.1m and 1.7m tall. Assuming this data is normally distributed can you calculate the mean and Standard deviation ? </a:t>
            </a:r>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1DCD3053-9E2C-4BBF-B5B7-E91A7CF55708}"/>
                  </a:ext>
                </a:extLst>
              </p14:cNvPr>
              <p14:cNvContentPartPr/>
              <p14:nvPr/>
            </p14:nvContentPartPr>
            <p14:xfrm>
              <a:off x="38160" y="123840"/>
              <a:ext cx="8839440" cy="4524840"/>
            </p14:xfrm>
          </p:contentPart>
        </mc:Choice>
        <mc:Fallback xmlns="">
          <p:pic>
            <p:nvPicPr>
              <p:cNvPr id="4" name="Ink 3">
                <a:extLst>
                  <a:ext uri="{FF2B5EF4-FFF2-40B4-BE49-F238E27FC236}">
                    <a16:creationId xmlns:a16="http://schemas.microsoft.com/office/drawing/2014/main" id="{1DCD3053-9E2C-4BBF-B5B7-E91A7CF55708}"/>
                  </a:ext>
                </a:extLst>
              </p:cNvPr>
              <p:cNvPicPr/>
              <p:nvPr/>
            </p:nvPicPr>
            <p:blipFill>
              <a:blip r:embed="rId3"/>
              <a:stretch>
                <a:fillRect/>
              </a:stretch>
            </p:blipFill>
            <p:spPr>
              <a:xfrm>
                <a:off x="28800" y="114480"/>
                <a:ext cx="8858160" cy="4543560"/>
              </a:xfrm>
              <a:prstGeom prst="rect">
                <a:avLst/>
              </a:prstGeom>
            </p:spPr>
          </p:pic>
        </mc:Fallback>
      </mc:AlternateContent>
    </p:spTree>
    <p:extLst>
      <p:ext uri="{BB962C8B-B14F-4D97-AF65-F5344CB8AC3E}">
        <p14:creationId xmlns:p14="http://schemas.microsoft.com/office/powerpoint/2010/main" val="3141678141"/>
      </p:ext>
    </p:extLst>
  </p:cSld>
  <p:clrMapOvr>
    <a:masterClrMapping/>
  </p:clrMapOvr>
  <p:transition spd="med">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l PPT Theme_201609">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 PPT Theme_201609" id="{FF30C829-293E-4456-BF26-F010FAA61FD1}" vid="{671CC896-344E-4270-8267-102DA59EDDE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3114</TotalTime>
  <Words>12090</Words>
  <Application>Microsoft Office PowerPoint</Application>
  <PresentationFormat>On-screen Show (16:9)</PresentationFormat>
  <Paragraphs>1290</Paragraphs>
  <Slides>208</Slides>
  <Notes>10</Notes>
  <HiddenSlides>0</HiddenSlides>
  <MMClips>0</MMClips>
  <ScaleCrop>false</ScaleCrop>
  <HeadingPairs>
    <vt:vector size="8" baseType="variant">
      <vt:variant>
        <vt:lpstr>Fonts Used</vt:lpstr>
      </vt:variant>
      <vt:variant>
        <vt:i4>17</vt:i4>
      </vt:variant>
      <vt:variant>
        <vt:lpstr>Theme</vt:lpstr>
      </vt:variant>
      <vt:variant>
        <vt:i4>1</vt:i4>
      </vt:variant>
      <vt:variant>
        <vt:lpstr>Embedded OLE Servers</vt:lpstr>
      </vt:variant>
      <vt:variant>
        <vt:i4>1</vt:i4>
      </vt:variant>
      <vt:variant>
        <vt:lpstr>Slide Titles</vt:lpstr>
      </vt:variant>
      <vt:variant>
        <vt:i4>208</vt:i4>
      </vt:variant>
    </vt:vector>
  </HeadingPairs>
  <TitlesOfParts>
    <vt:vector size="227" baseType="lpstr">
      <vt:lpstr>champ</vt:lpstr>
      <vt:lpstr>inherit</vt:lpstr>
      <vt:lpstr>Inter</vt:lpstr>
      <vt:lpstr>Museo For Dell 300</vt:lpstr>
      <vt:lpstr>museo sans for dell</vt:lpstr>
      <vt:lpstr>museo sans for dell</vt:lpstr>
      <vt:lpstr>proxima-nova</vt:lpstr>
      <vt:lpstr>Arial</vt:lpstr>
      <vt:lpstr>Arial Black</vt:lpstr>
      <vt:lpstr>Calibri</vt:lpstr>
      <vt:lpstr>Courier New</vt:lpstr>
      <vt:lpstr>Lato</vt:lpstr>
      <vt:lpstr>Open Sans</vt:lpstr>
      <vt:lpstr>pt sans</vt:lpstr>
      <vt:lpstr>Raleway</vt:lpstr>
      <vt:lpstr>Verdana</vt:lpstr>
      <vt:lpstr>Wingdings</vt:lpstr>
      <vt:lpstr>Dell PPT Theme_201609</vt:lpstr>
      <vt:lpstr>think-cell Slide</vt:lpstr>
      <vt:lpstr>Statistics for  Data Science   </vt:lpstr>
      <vt:lpstr>What is Statistics ? </vt:lpstr>
      <vt:lpstr>Some examples of how statistics shape our life</vt:lpstr>
      <vt:lpstr>Worksheet</vt:lpstr>
      <vt:lpstr>Some statistical statements</vt:lpstr>
      <vt:lpstr>What is Statistics ? </vt:lpstr>
      <vt:lpstr>Terminology commonly used terminology in the discipline of statistics </vt:lpstr>
      <vt:lpstr>Types of Variables</vt:lpstr>
      <vt:lpstr>Quick exercise – Identify type of Data</vt:lpstr>
      <vt:lpstr>Worksheet</vt:lpstr>
      <vt:lpstr>Population &amp; Sample</vt:lpstr>
      <vt:lpstr>Worksheet</vt:lpstr>
      <vt:lpstr>Why Sample should be Random &amp; Representative? </vt:lpstr>
      <vt:lpstr>Bias in sampling : </vt:lpstr>
      <vt:lpstr>Worksheet</vt:lpstr>
      <vt:lpstr>PowerPoint Presentation</vt:lpstr>
      <vt:lpstr>Inferential Statistics</vt:lpstr>
      <vt:lpstr>Descriptive Statistics</vt:lpstr>
      <vt:lpstr>Descriptive Statistics – Example You’ve performed a survey to 40 respondents about their favorite car color. And now you have a spreadsheet with the results.</vt:lpstr>
      <vt:lpstr>Difference between Descriptive &amp; Inferential Statistics</vt:lpstr>
      <vt:lpstr>Independent, Dependent &amp; Control variable</vt:lpstr>
      <vt:lpstr>Types of Statistical Studies</vt:lpstr>
      <vt:lpstr>Understanding Observational Study &amp; Experiment              With an Example</vt:lpstr>
      <vt:lpstr>Understanding Observational Study &amp; Experiment              With an Example</vt:lpstr>
      <vt:lpstr>Understanding Observational Study &amp; Experiment              With an Example</vt:lpstr>
      <vt:lpstr>Control Experiment – drug test example</vt:lpstr>
      <vt:lpstr>Controlled Experiment</vt:lpstr>
      <vt:lpstr>Correlation and Causation</vt:lpstr>
      <vt:lpstr>Confounding Variable</vt:lpstr>
      <vt:lpstr>Confounding variable – another example</vt:lpstr>
      <vt:lpstr>What is hypothesis ? </vt:lpstr>
      <vt:lpstr>Blinding</vt:lpstr>
      <vt:lpstr>Double Blinding</vt:lpstr>
      <vt:lpstr>Why blinding is important in Statistics?</vt:lpstr>
      <vt:lpstr>Describing Data through Statistics   </vt:lpstr>
      <vt:lpstr>Measure of   Central Tendency   </vt:lpstr>
      <vt:lpstr>Finding Central Value</vt:lpstr>
      <vt:lpstr>Measure of Central Tendency</vt:lpstr>
      <vt:lpstr>Ready ??????????????</vt:lpstr>
      <vt:lpstr>Mean </vt:lpstr>
      <vt:lpstr>Median</vt:lpstr>
      <vt:lpstr>Median – Two middle numbers</vt:lpstr>
      <vt:lpstr>Mode</vt:lpstr>
      <vt:lpstr>Mode</vt:lpstr>
      <vt:lpstr>Grouping</vt:lpstr>
      <vt:lpstr>Grouping another example</vt:lpstr>
      <vt:lpstr>Outlier </vt:lpstr>
      <vt:lpstr>Outlier - continued</vt:lpstr>
      <vt:lpstr>Mean – Continued Different types of Mean</vt:lpstr>
      <vt:lpstr>Geometric Mean</vt:lpstr>
      <vt:lpstr>Harmonic Mean</vt:lpstr>
      <vt:lpstr>Harmonic Mean - Continued</vt:lpstr>
      <vt:lpstr>Harmonic Mean</vt:lpstr>
      <vt:lpstr>Conclusion : Mean, Median, Mode</vt:lpstr>
      <vt:lpstr>The Mean from a Frequency Table</vt:lpstr>
      <vt:lpstr>The Mean from a Frequency Table - Continued</vt:lpstr>
      <vt:lpstr>Another example of Mean from a Freq Table</vt:lpstr>
      <vt:lpstr>Weighted Mean</vt:lpstr>
      <vt:lpstr>Weighted Mean</vt:lpstr>
      <vt:lpstr>Weighted Mean – Example </vt:lpstr>
      <vt:lpstr>What if the weights don’t add to 1 ?</vt:lpstr>
      <vt:lpstr>What if the weights don’t add to 1 ?</vt:lpstr>
      <vt:lpstr>What if the weights don’t add to 1 ?</vt:lpstr>
      <vt:lpstr>What if the weights don’t add to 1 ?</vt:lpstr>
      <vt:lpstr>Weighted Mean : Summary</vt:lpstr>
      <vt:lpstr>Measure of   Variability   </vt:lpstr>
      <vt:lpstr>Measure of Variability </vt:lpstr>
      <vt:lpstr>Why does variability matters? </vt:lpstr>
      <vt:lpstr>Range</vt:lpstr>
      <vt:lpstr>Range can be misleading</vt:lpstr>
      <vt:lpstr>Quartiles</vt:lpstr>
      <vt:lpstr>Quartile</vt:lpstr>
      <vt:lpstr>Quartile</vt:lpstr>
      <vt:lpstr>How to find Q1, Q2, Q3 ? lets do a small example to get the understanding </vt:lpstr>
      <vt:lpstr>Interquartile Range</vt:lpstr>
      <vt:lpstr>Interquartile Range</vt:lpstr>
      <vt:lpstr>Interquartile Range</vt:lpstr>
      <vt:lpstr>Worksheet</vt:lpstr>
      <vt:lpstr>Box and Whiskers Plot</vt:lpstr>
      <vt:lpstr>Putting it all together – Quartiles &amp; Box and Whisker Plot</vt:lpstr>
      <vt:lpstr>Quartile – Five-number summary</vt:lpstr>
      <vt:lpstr>Mean Deviation</vt:lpstr>
      <vt:lpstr>Mean Deviation</vt:lpstr>
      <vt:lpstr>Mean Deviation</vt:lpstr>
      <vt:lpstr>Mean Deviation - Formula</vt:lpstr>
      <vt:lpstr>Mean Deviation – Real life example </vt:lpstr>
      <vt:lpstr>Mean Deviation – Ex continued</vt:lpstr>
      <vt:lpstr>Mean Deviation – A useful check</vt:lpstr>
      <vt:lpstr>Mean Deviation – A useful check</vt:lpstr>
      <vt:lpstr>Standard Deviation</vt:lpstr>
      <vt:lpstr>Variance - Ex</vt:lpstr>
      <vt:lpstr>Variance – Ex continued</vt:lpstr>
      <vt:lpstr>Standard Deviation </vt:lpstr>
      <vt:lpstr>Another Example – Standard Deviation </vt:lpstr>
      <vt:lpstr>Standard Deviation – Population &amp; Sample</vt:lpstr>
      <vt:lpstr>Standard Deviation - Formula</vt:lpstr>
      <vt:lpstr>Why Square the difference ? </vt:lpstr>
      <vt:lpstr>Why Square the difference ? - Continued </vt:lpstr>
      <vt:lpstr>Standard deviation - Example</vt:lpstr>
      <vt:lpstr>Range of Standard Deviation/ Empirical Formula</vt:lpstr>
      <vt:lpstr>Coefficient of Variance (CV)</vt:lpstr>
      <vt:lpstr>Example :   The CV is particularly useful when you want to compare results from two different surveys or tests that have different measures or values. For example, if you are comparing the results from two tests that have different scoring mechanisms. </vt:lpstr>
      <vt:lpstr>Standard Scores – Z score</vt:lpstr>
      <vt:lpstr>Standard Scores – Z score</vt:lpstr>
      <vt:lpstr>Histograms</vt:lpstr>
      <vt:lpstr>Histograms</vt:lpstr>
      <vt:lpstr>Difference between Bar chart and Histogram? </vt:lpstr>
      <vt:lpstr>Frequency Histogram</vt:lpstr>
      <vt:lpstr>Normal Distribution</vt:lpstr>
      <vt:lpstr>Normal Distribution - Continued</vt:lpstr>
      <vt:lpstr>Correlation</vt:lpstr>
      <vt:lpstr>Correlation Coefficient</vt:lpstr>
      <vt:lpstr>Correlation - continued</vt:lpstr>
      <vt:lpstr>Correlation is NOT Causation</vt:lpstr>
      <vt:lpstr>Correlation is NOT Causation</vt:lpstr>
      <vt:lpstr>Correlation is NOT Causation – A real case</vt:lpstr>
      <vt:lpstr>Skewness</vt:lpstr>
      <vt:lpstr>Skewness</vt:lpstr>
      <vt:lpstr>Kurtosis</vt:lpstr>
      <vt:lpstr>Kurtosis - Leptokurtic (kurtosis &gt; 3)</vt:lpstr>
      <vt:lpstr>Kurtosis - Platykurtic (kurtosis &lt; 3)</vt:lpstr>
      <vt:lpstr>Kurtosis - Mesokurtic (kurtosis = 3)</vt:lpstr>
      <vt:lpstr>Skewness - Summary</vt:lpstr>
      <vt:lpstr>Central Limit Theorem</vt:lpstr>
      <vt:lpstr>Central Limit Theorem</vt:lpstr>
      <vt:lpstr>Central Limit Theorem</vt:lpstr>
      <vt:lpstr>Central Limit Theorem</vt:lpstr>
      <vt:lpstr>Central Limit Theorem</vt:lpstr>
      <vt:lpstr>Why CLT is important ? </vt:lpstr>
      <vt:lpstr>Probability</vt:lpstr>
      <vt:lpstr>Probability</vt:lpstr>
      <vt:lpstr>Probability Example</vt:lpstr>
      <vt:lpstr>Probability Line</vt:lpstr>
      <vt:lpstr>Probability - Words</vt:lpstr>
      <vt:lpstr>Probability - Words</vt:lpstr>
      <vt:lpstr>Probability - Words</vt:lpstr>
      <vt:lpstr>Probability - Words</vt:lpstr>
      <vt:lpstr>Probability - Words</vt:lpstr>
      <vt:lpstr>Probability – Let’s use the words</vt:lpstr>
      <vt:lpstr>Basic Counting Principle</vt:lpstr>
      <vt:lpstr>Basic Counting Principle</vt:lpstr>
      <vt:lpstr>Basic Counting Principle – Ex continued</vt:lpstr>
      <vt:lpstr>Independent or Dependent </vt:lpstr>
      <vt:lpstr>Independent or Dependent – Ex continued </vt:lpstr>
      <vt:lpstr>Mutually Exclusive Events</vt:lpstr>
      <vt:lpstr>Mutually Exclusive Events</vt:lpstr>
      <vt:lpstr>Mutually Exclusive Events</vt:lpstr>
      <vt:lpstr>Mutually Exclusive Events</vt:lpstr>
      <vt:lpstr>Mutually exclusive events</vt:lpstr>
      <vt:lpstr>When events are not Mutually exclusive – be careful in calculation !! </vt:lpstr>
      <vt:lpstr>When events are not Mutually exclusive – be careful in calculation !!</vt:lpstr>
      <vt:lpstr>Conditional Probability </vt:lpstr>
      <vt:lpstr>Conditional Probability – Example 2  </vt:lpstr>
      <vt:lpstr>Conditional Probability</vt:lpstr>
      <vt:lpstr>Conditional Probability</vt:lpstr>
      <vt:lpstr>Confusion Matrix</vt:lpstr>
      <vt:lpstr>Confusion Matrix</vt:lpstr>
      <vt:lpstr>Confusion Matrix</vt:lpstr>
      <vt:lpstr>Example : Allergy or Not ? </vt:lpstr>
      <vt:lpstr>Question :  </vt:lpstr>
      <vt:lpstr>Solution 1 : Imagine a thousand people</vt:lpstr>
      <vt:lpstr>Solution 2 : Tree Diagram </vt:lpstr>
      <vt:lpstr>Bayes theorem</vt:lpstr>
      <vt:lpstr>Bayes Theorem – When to apply ? </vt:lpstr>
      <vt:lpstr>Bayes theorem - continued</vt:lpstr>
      <vt:lpstr>Bayes theorem – Example 1 </vt:lpstr>
      <vt:lpstr>Bayes theorem – Example 1 </vt:lpstr>
      <vt:lpstr>Bayes theorem – Example 1 </vt:lpstr>
      <vt:lpstr>Bayes theorem – Example 1 </vt:lpstr>
      <vt:lpstr>Bayes theorem – Example 2 </vt:lpstr>
      <vt:lpstr>Solution 3: Hunter’s test &gt; Bayes Theorem</vt:lpstr>
      <vt:lpstr>Solution 3 : Bayes Theorem</vt:lpstr>
      <vt:lpstr>Random Variable</vt:lpstr>
      <vt:lpstr>Random Variable</vt:lpstr>
      <vt:lpstr>Sample Space</vt:lpstr>
      <vt:lpstr>Probability</vt:lpstr>
      <vt:lpstr>Probability - Continued</vt:lpstr>
      <vt:lpstr>Random Variable – Discrete data</vt:lpstr>
      <vt:lpstr>Random Variable – Continuous data</vt:lpstr>
      <vt:lpstr>Confidence Intervals</vt:lpstr>
      <vt:lpstr>Calculating the Confidence Interval</vt:lpstr>
      <vt:lpstr>Calculating the Confidence Interval</vt:lpstr>
      <vt:lpstr>Calculating the Confidence Interval</vt:lpstr>
      <vt:lpstr>Calculating the Confidence Interval</vt:lpstr>
      <vt:lpstr>Calculating the Confidence Interval</vt:lpstr>
      <vt:lpstr>Example 2 : Apple Orchid</vt:lpstr>
      <vt:lpstr>Example 2 : Apple Orchid</vt:lpstr>
      <vt:lpstr>Example 2 : Apple Orchid – True Mean</vt:lpstr>
      <vt:lpstr>Example 2 : Apple Orchid – True Mean</vt:lpstr>
      <vt:lpstr>Example 2 : Apple Orchid – True Mean</vt:lpstr>
      <vt:lpstr>Sampling Techniques</vt:lpstr>
      <vt:lpstr>Importance of p-Value</vt:lpstr>
      <vt:lpstr>Importance of p-Value</vt:lpstr>
      <vt:lpstr>Importance of p-Value</vt:lpstr>
      <vt:lpstr>Linear Algebra     </vt:lpstr>
      <vt:lpstr>Matrix</vt:lpstr>
      <vt:lpstr>Data representation : examples</vt:lpstr>
      <vt:lpstr>Matrix Multiplication</vt:lpstr>
      <vt:lpstr>Matrix multiplication</vt:lpstr>
      <vt:lpstr>Matrix multiplication – Now in reverse</vt:lpstr>
      <vt:lpstr>Matrix multiply by a scalar number</vt:lpstr>
      <vt:lpstr>Multiply a Matrix by Another Matrix</vt:lpstr>
      <vt:lpstr>Matrix multiplication -  Compatibility </vt:lpstr>
      <vt:lpstr>Identity Matrix</vt:lpstr>
      <vt:lpstr>Order of Multiplication </vt:lpstr>
      <vt:lpstr>Factorization</vt:lpstr>
      <vt:lpstr>Why do we use factorization ?</vt:lpstr>
      <vt:lpstr>Prime Factorization</vt:lpstr>
    </vt:vector>
  </TitlesOfParts>
  <Company>Dell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run_r2@dell.com</dc:creator>
  <cp:keywords>Internal Use</cp:keywords>
  <cp:lastModifiedBy>R2, Arun</cp:lastModifiedBy>
  <cp:revision>545</cp:revision>
  <dcterms:created xsi:type="dcterms:W3CDTF">2016-10-16T11:20:54Z</dcterms:created>
  <dcterms:modified xsi:type="dcterms:W3CDTF">2022-04-03T13:32: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c7d0e0ab-4d80-4e64-940a-7bb474d0a4c0</vt:lpwstr>
  </property>
  <property fmtid="{D5CDD505-2E9C-101B-9397-08002B2CF9AE}" pid="3" name="DellClassification">
    <vt:lpwstr>Internal Use</vt:lpwstr>
  </property>
  <property fmtid="{D5CDD505-2E9C-101B-9397-08002B2CF9AE}" pid="4" name="DellSubLabels">
    <vt:lpwstr/>
  </property>
  <property fmtid="{D5CDD505-2E9C-101B-9397-08002B2CF9AE}" pid="5" name="DellVisual Markings (PPT)">
    <vt:lpwstr>Classification Footer</vt:lpwstr>
  </property>
  <property fmtid="{D5CDD505-2E9C-101B-9397-08002B2CF9AE}" pid="6" name="titusconfig">
    <vt:lpwstr>1.3APJ</vt:lpwstr>
  </property>
  <property fmtid="{D5CDD505-2E9C-101B-9397-08002B2CF9AE}" pid="7" name="MSIP_Label_7de70ee2-0cb4-4d60-aee5-75ef2c4c8a90_Enabled">
    <vt:lpwstr>True</vt:lpwstr>
  </property>
  <property fmtid="{D5CDD505-2E9C-101B-9397-08002B2CF9AE}" pid="8" name="MSIP_Label_7de70ee2-0cb4-4d60-aee5-75ef2c4c8a90_SiteId">
    <vt:lpwstr>945c199a-83a2-4e80-9f8c-5a91be5752dd</vt:lpwstr>
  </property>
  <property fmtid="{D5CDD505-2E9C-101B-9397-08002B2CF9AE}" pid="9" name="MSIP_Label_7de70ee2-0cb4-4d60-aee5-75ef2c4c8a90_Owner">
    <vt:lpwstr>Aphidalin_Syiemlieh@DELL.com</vt:lpwstr>
  </property>
  <property fmtid="{D5CDD505-2E9C-101B-9397-08002B2CF9AE}" pid="10" name="MSIP_Label_7de70ee2-0cb4-4d60-aee5-75ef2c4c8a90_SetDate">
    <vt:lpwstr>2019-06-10T23:10:14.0206521Z</vt:lpwstr>
  </property>
  <property fmtid="{D5CDD505-2E9C-101B-9397-08002B2CF9AE}" pid="11" name="MSIP_Label_7de70ee2-0cb4-4d60-aee5-75ef2c4c8a90_Name">
    <vt:lpwstr>Internal Use</vt:lpwstr>
  </property>
  <property fmtid="{D5CDD505-2E9C-101B-9397-08002B2CF9AE}" pid="12" name="MSIP_Label_7de70ee2-0cb4-4d60-aee5-75ef2c4c8a90_Application">
    <vt:lpwstr>Microsoft Azure Information Protection</vt:lpwstr>
  </property>
  <property fmtid="{D5CDD505-2E9C-101B-9397-08002B2CF9AE}" pid="13" name="MSIP_Label_7de70ee2-0cb4-4d60-aee5-75ef2c4c8a90_Extended_MSFT_Method">
    <vt:lpwstr>Manual</vt:lpwstr>
  </property>
  <property fmtid="{D5CDD505-2E9C-101B-9397-08002B2CF9AE}" pid="14" name="MSIP_Label_da6fab74-d5af-4af7-a9a4-78d84655a626_Enabled">
    <vt:lpwstr>True</vt:lpwstr>
  </property>
  <property fmtid="{D5CDD505-2E9C-101B-9397-08002B2CF9AE}" pid="15" name="MSIP_Label_da6fab74-d5af-4af7-a9a4-78d84655a626_SiteId">
    <vt:lpwstr>945c199a-83a2-4e80-9f8c-5a91be5752dd</vt:lpwstr>
  </property>
  <property fmtid="{D5CDD505-2E9C-101B-9397-08002B2CF9AE}" pid="16" name="MSIP_Label_da6fab74-d5af-4af7-a9a4-78d84655a626_Owner">
    <vt:lpwstr>Aphidalin_Syiemlieh@DELL.com</vt:lpwstr>
  </property>
  <property fmtid="{D5CDD505-2E9C-101B-9397-08002B2CF9AE}" pid="17" name="MSIP_Label_da6fab74-d5af-4af7-a9a4-78d84655a626_SetDate">
    <vt:lpwstr>2019-06-10T23:10:14.0206521Z</vt:lpwstr>
  </property>
  <property fmtid="{D5CDD505-2E9C-101B-9397-08002B2CF9AE}" pid="18" name="MSIP_Label_da6fab74-d5af-4af7-a9a4-78d84655a626_Name">
    <vt:lpwstr>Visual Marking</vt:lpwstr>
  </property>
  <property fmtid="{D5CDD505-2E9C-101B-9397-08002B2CF9AE}" pid="19" name="MSIP_Label_da6fab74-d5af-4af7-a9a4-78d84655a626_Application">
    <vt:lpwstr>Microsoft Azure Information Protection</vt:lpwstr>
  </property>
  <property fmtid="{D5CDD505-2E9C-101B-9397-08002B2CF9AE}" pid="20" name="MSIP_Label_da6fab74-d5af-4af7-a9a4-78d84655a626_Parent">
    <vt:lpwstr>7de70ee2-0cb4-4d60-aee5-75ef2c4c8a90</vt:lpwstr>
  </property>
  <property fmtid="{D5CDD505-2E9C-101B-9397-08002B2CF9AE}" pid="21" name="MSIP_Label_da6fab74-d5af-4af7-a9a4-78d84655a626_Extended_MSFT_Method">
    <vt:lpwstr>Manual</vt:lpwstr>
  </property>
  <property fmtid="{D5CDD505-2E9C-101B-9397-08002B2CF9AE}" pid="22" name="aiplabel">
    <vt:lpwstr>Internal Use Visual Marking</vt:lpwstr>
  </property>
</Properties>
</file>